
<file path=[Content_Types].xml><?xml version="1.0" encoding="utf-8"?>
<Types xmlns="http://schemas.openxmlformats.org/package/2006/content-types">
  <Default Extension="jpeg" ContentType="image/jpeg"/>
  <Default Extension="JPG" ContentType="image/.jpg"/>
  <Default Extension="png" ContentType="image/png"/>
  <Default Extension="wdp" ContentType="image/vnd.ms-photo"/>
  <Default Extension="rels" ContentType="application/vnd.openxmlformats-package.relationships+xml"/>
  <Default Extension="xml" ContentType="application/xml"/>
  <Override PartName="/docProps/app.xml" ContentType="application/vnd.openxmlformats-officedocument.extended-properties+xml"/>
  <Override PartName="/docProps/core.xml" ContentType="application/vnd.openxmlformats-package.core-properties+xml"/>
  <Override PartName="/docProps/custom.xml" ContentType="application/vnd.openxmlformats-officedocument.custom-properties+xml"/>
  <Override PartName="/ppt/commentAuthors.xml" ContentType="application/vnd.openxmlformats-officedocument.presentationml.commentAuthors+xml"/>
  <Override PartName="/ppt/diagrams/colors1.xml" ContentType="application/vnd.openxmlformats-officedocument.drawingml.diagramColors+xml"/>
  <Override PartName="/ppt/diagrams/colors2.xml" ContentType="application/vnd.openxmlformats-officedocument.drawingml.diagramColors+xml"/>
  <Override PartName="/ppt/diagrams/colors3.xml" ContentType="application/vnd.openxmlformats-officedocument.drawingml.diagramColors+xml"/>
  <Override PartName="/ppt/diagrams/colors4.xml" ContentType="application/vnd.openxmlformats-officedocument.drawingml.diagramColors+xml"/>
  <Override PartName="/ppt/diagrams/colors5.xml" ContentType="application/vnd.openxmlformats-officedocument.drawingml.diagramColors+xml"/>
  <Override PartName="/ppt/diagrams/colors6.xml" ContentType="application/vnd.openxmlformats-officedocument.drawingml.diagramColors+xml"/>
  <Override PartName="/ppt/diagrams/data1.xml" ContentType="application/vnd.openxmlformats-officedocument.drawingml.diagramData+xml"/>
  <Override PartName="/ppt/diagrams/data2.xml" ContentType="application/vnd.openxmlformats-officedocument.drawingml.diagramData+xml"/>
  <Override PartName="/ppt/diagrams/data3.xml" ContentType="application/vnd.openxmlformats-officedocument.drawingml.diagramData+xml"/>
  <Override PartName="/ppt/diagrams/data4.xml" ContentType="application/vnd.openxmlformats-officedocument.drawingml.diagramData+xml"/>
  <Override PartName="/ppt/diagrams/data5.xml" ContentType="application/vnd.openxmlformats-officedocument.drawingml.diagramData+xml"/>
  <Override PartName="/ppt/diagrams/data6.xml" ContentType="application/vnd.openxmlformats-officedocument.drawingml.diagramData+xml"/>
  <Override PartName="/ppt/diagrams/drawing1.xml" ContentType="application/vnd.ms-office.drawingml.diagramDrawing+xml"/>
  <Override PartName="/ppt/diagrams/drawing2.xml" ContentType="application/vnd.ms-office.drawingml.diagramDrawing+xml"/>
  <Override PartName="/ppt/diagrams/drawing3.xml" ContentType="application/vnd.ms-office.drawingml.diagramDrawing+xml"/>
  <Override PartName="/ppt/diagrams/drawing4.xml" ContentType="application/vnd.ms-office.drawingml.diagramDrawing+xml"/>
  <Override PartName="/ppt/diagrams/drawing5.xml" ContentType="application/vnd.ms-office.drawingml.diagramDrawing+xml"/>
  <Override PartName="/ppt/diagrams/drawing6.xml" ContentType="application/vnd.ms-office.drawingml.diagramDrawing+xml"/>
  <Override PartName="/ppt/diagrams/layout1.xml" ContentType="application/vnd.openxmlformats-officedocument.drawingml.diagramLayout+xml"/>
  <Override PartName="/ppt/diagrams/layout2.xml" ContentType="application/vnd.openxmlformats-officedocument.drawingml.diagramLayout+xml"/>
  <Override PartName="/ppt/diagrams/layout3.xml" ContentType="application/vnd.openxmlformats-officedocument.drawingml.diagramLayout+xml"/>
  <Override PartName="/ppt/diagrams/layout4.xml" ContentType="application/vnd.openxmlformats-officedocument.drawingml.diagramLayout+xml"/>
  <Override PartName="/ppt/diagrams/layout5.xml" ContentType="application/vnd.openxmlformats-officedocument.drawingml.diagramLayout+xml"/>
  <Override PartName="/ppt/diagrams/layout6.xml" ContentType="application/vnd.openxmlformats-officedocument.drawingml.diagramLayout+xml"/>
  <Override PartName="/ppt/diagrams/quickStyle1.xml" ContentType="application/vnd.openxmlformats-officedocument.drawingml.diagramStyle+xml"/>
  <Override PartName="/ppt/diagrams/quickStyle2.xml" ContentType="application/vnd.openxmlformats-officedocument.drawingml.diagramStyle+xml"/>
  <Override PartName="/ppt/diagrams/quickStyle3.xml" ContentType="application/vnd.openxmlformats-officedocument.drawingml.diagramStyle+xml"/>
  <Override PartName="/ppt/diagrams/quickStyle4.xml" ContentType="application/vnd.openxmlformats-officedocument.drawingml.diagramStyle+xml"/>
  <Override PartName="/ppt/diagrams/quickStyle5.xml" ContentType="application/vnd.openxmlformats-officedocument.drawingml.diagramStyle+xml"/>
  <Override PartName="/ppt/diagrams/quickStyle6.xml" ContentType="application/vnd.openxmlformats-officedocument.drawingml.diagramStyle+xml"/>
  <Override PartName="/ppt/fonts/font1.fntdata" ContentType="application/x-fontdata"/>
  <Override PartName="/ppt/fonts/font10.fntdata" ContentType="application/x-fontdata"/>
  <Override PartName="/ppt/fonts/font11.fntdata" ContentType="application/x-fontdata"/>
  <Override PartName="/ppt/fonts/font12.fntdata" ContentType="application/x-fontdata"/>
  <Override PartName="/ppt/fonts/font13.fntdata" ContentType="application/x-fontdata"/>
  <Override PartName="/ppt/fonts/font14.fntdata" ContentType="application/x-fontdata"/>
  <Override PartName="/ppt/fonts/font15.fntdata" ContentType="application/x-fontdata"/>
  <Override PartName="/ppt/fonts/font16.fntdata" ContentType="application/x-fontdata"/>
  <Override PartName="/ppt/fonts/font17.fntdata" ContentType="application/x-fontdata"/>
  <Override PartName="/ppt/fonts/font18.fntdata" ContentType="application/x-fontdata"/>
  <Override PartName="/ppt/fonts/font19.fntdata" ContentType="application/x-fontdata"/>
  <Override PartName="/ppt/fonts/font2.fntdata" ContentType="application/x-fontdata"/>
  <Override PartName="/ppt/fonts/font3.fntdata" ContentType="application/x-fontdata"/>
  <Override PartName="/ppt/fonts/font4.fntdata" ContentType="application/x-fontdata"/>
  <Override PartName="/ppt/fonts/font5.fntdata" ContentType="application/x-fontdata"/>
  <Override PartName="/ppt/fonts/font6.fntdata" ContentType="application/x-fontdata"/>
  <Override PartName="/ppt/fonts/font7.fntdata" ContentType="application/x-fontdata"/>
  <Override PartName="/ppt/fonts/font8.fntdata" ContentType="application/x-fontdata"/>
  <Override PartName="/ppt/fonts/font9.fntdata" ContentType="application/x-fontdata"/>
  <Override PartName="/ppt/handoutMasters/handoutMaster1.xml" ContentType="application/vnd.openxmlformats-officedocument.presentationml.handoutMaster+xml"/>
  <Override PartName="/ppt/notesMasters/notesMaster1.xml" ContentType="application/vnd.openxmlformats-officedocument.presentationml.notesMaster+xml"/>
  <Override PartName="/ppt/notesSlides/notesSlide1.xml" ContentType="application/vnd.openxmlformats-officedocument.presentationml.notesSlide+xml"/>
  <Override PartName="/ppt/presProps.xml" ContentType="application/vnd.openxmlformats-officedocument.presentationml.presProps+xml"/>
  <Override PartName="/ppt/presentation.xml" ContentType="application/vnd.openxmlformats-officedocument.presentationml.presentation.main+xml"/>
  <Override PartName="/ppt/slideLayouts/slideLayout1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s/slide1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.xml" ContentType="application/vnd.openxmlformats-officedocument.presentationml.slide+xml"/>
  <Override PartName="/ppt/slides/slide30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tableStyles.xml" ContentType="application/vnd.openxmlformats-officedocument.presentationml.tableStyles+xml"/>
  <Override PartName="/ppt/tags/tag1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heme/theme1.xml" ContentType="application/vnd.openxmlformats-officedocument.theme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theme/theme5.xml" ContentType="application/vnd.openxmlformats-officedocument.theme+xml"/>
  <Override PartName="/ppt/theme/theme6.xml" ContentType="application/vnd.openxmlformats-officedocument.theme+xml"/>
  <Override PartName="/ppt/theme/theme7.xml" ContentType="application/vnd.openxmlformats-officedocument.theme+xml"/>
  <Override PartName="/ppt/theme/theme8.xml" ContentType="application/vnd.openxmlformats-officedocument.theme+xml"/>
  <Override PartName="/ppt/viewProps.xml" ContentType="application/vnd.openxmlformats-officedocument.presentationml.viewProps+xml"/>
</Types>
</file>

<file path=_rels/.rels><?xml version="1.0" encoding="UTF-8" standalone="yes"?>
<Relationships xmlns="http://schemas.openxmlformats.org/package/2006/relationships"><Relationship Id="rId1" Type="http://schemas.openxmlformats.org/officeDocument/2006/relationships/officeDocument" Target="ppt/presentation.xml"/><Relationship Id="rId4" Type="http://schemas.openxmlformats.org/package/2006/relationships/metadata/thumbnail" Target="docProps/thumbnail.jpeg"/><Relationship Id="rId3" Type="http://schemas.openxmlformats.org/package/2006/relationships/metadata/core-properties" Target="docProps/core.xml"/><Relationship Id="rId2" Type="http://schemas.openxmlformats.org/officeDocument/2006/relationships/extended-properties" Target="docProps/app.xml"/><Relationship Id="rId5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saveSubsetFonts="1">
  <p:sldMasterIdLst>
    <p:sldMasterId id="2147483648" r:id="rId1"/>
    <p:sldMasterId id="2147483657" r:id="rId3"/>
    <p:sldMasterId id="2147483674" r:id="rId4"/>
    <p:sldMasterId id="2147483691" r:id="rId5"/>
    <p:sldMasterId id="2147483706" r:id="rId6"/>
    <p:sldMasterId id="2147483718" r:id="rId7"/>
  </p:sldMasterIdLst>
  <p:notesMasterIdLst>
    <p:notesMasterId r:id="rId12"/>
  </p:notesMasterIdLst>
  <p:handoutMasterIdLst>
    <p:handoutMasterId r:id="rId39"/>
  </p:handoutMasterIdLst>
  <p:sldIdLst>
    <p:sldId id="6040" r:id="rId8"/>
    <p:sldId id="5938" r:id="rId9"/>
    <p:sldId id="6059" r:id="rId10"/>
    <p:sldId id="6036" r:id="rId11"/>
    <p:sldId id="6037" r:id="rId13"/>
    <p:sldId id="6014" r:id="rId14"/>
    <p:sldId id="6016" r:id="rId15"/>
    <p:sldId id="6017" r:id="rId16"/>
    <p:sldId id="6018" r:id="rId17"/>
    <p:sldId id="6019" r:id="rId18"/>
    <p:sldId id="6020" r:id="rId19"/>
    <p:sldId id="6054" r:id="rId20"/>
    <p:sldId id="6062" r:id="rId21"/>
    <p:sldId id="6046" r:id="rId22"/>
    <p:sldId id="6051" r:id="rId23"/>
    <p:sldId id="6052" r:id="rId24"/>
    <p:sldId id="6053" r:id="rId25"/>
    <p:sldId id="6056" r:id="rId26"/>
    <p:sldId id="6064" r:id="rId27"/>
    <p:sldId id="6057" r:id="rId28"/>
    <p:sldId id="6060" r:id="rId29"/>
    <p:sldId id="6058" r:id="rId30"/>
    <p:sldId id="6061" r:id="rId31"/>
    <p:sldId id="6055" r:id="rId32"/>
    <p:sldId id="6043" r:id="rId33"/>
    <p:sldId id="5966" r:id="rId34"/>
    <p:sldId id="5967" r:id="rId35"/>
    <p:sldId id="5968" r:id="rId36"/>
    <p:sldId id="5969" r:id="rId37"/>
    <p:sldId id="5970" r:id="rId38"/>
  </p:sldIdLst>
  <p:sldSz cx="9144000" cy="6858000" type="screen4x3"/>
  <p:notesSz cx="6858000" cy="9144000"/>
  <p:embeddedFontLst>
    <p:embeddedFont>
      <p:font typeface="思源宋体 CN Heavy" panose="02020900000000000000" pitchFamily="18" charset="-122"/>
      <p:bold r:id="rId44"/>
    </p:embeddedFont>
    <p:embeddedFont>
      <p:font typeface="微软雅黑" panose="020B0503020204020204" pitchFamily="34" charset="-122"/>
      <p:regular r:id="rId45"/>
    </p:embeddedFont>
    <p:embeddedFont>
      <p:font typeface="黑体" panose="02010609060101010101" charset="-122"/>
      <p:regular r:id="rId46"/>
    </p:embeddedFont>
    <p:embeddedFont>
      <p:font typeface="Century Gothic" panose="020B0502020202020204" pitchFamily="34" charset="0"/>
      <p:regular r:id="rId47"/>
      <p:bold r:id="rId48"/>
      <p:italic r:id="rId49"/>
      <p:boldItalic r:id="rId50"/>
    </p:embeddedFont>
    <p:embeddedFont>
      <p:font typeface="楷体" panose="02010609060101010101" pitchFamily="49" charset="-122"/>
      <p:regular r:id="rId51"/>
    </p:embeddedFont>
    <p:embeddedFont>
      <p:font typeface="Calibri" panose="020F0502020204030204" charset="0"/>
      <p:regular r:id="rId52"/>
      <p:bold r:id="rId53"/>
      <p:italic r:id="rId54"/>
      <p:boldItalic r:id="rId55"/>
    </p:embeddedFont>
    <p:embeddedFont>
      <p:font typeface="Palatino Linotype" panose="02040502050505030304" charset="0"/>
      <p:regular r:id="rId56"/>
      <p:bold r:id="rId57"/>
      <p:italic r:id="rId58"/>
      <p:boldItalic r:id="rId59"/>
    </p:embeddedFont>
    <p:embeddedFont>
      <p:font typeface="幼圆" panose="02010509060101010101" charset="-122"/>
      <p:regular r:id="rId60"/>
    </p:embeddedFont>
    <p:embeddedFont>
      <p:font typeface="等线 Light" panose="02010600030101010101" charset="-122"/>
      <p:regular r:id="rId61"/>
    </p:embeddedFont>
    <p:embeddedFont>
      <p:font typeface="等线" panose="02010600030101010101" charset="-122"/>
      <p:regular r:id="rId62"/>
    </p:embeddedFont>
  </p:embeddedFontLst>
  <p:custDataLst>
    <p:tags r:id="rId63"/>
  </p:custDataLst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072" userDrawn="1">
          <p15:clr>
            <a:srgbClr val="A4A3A4"/>
          </p15:clr>
        </p15:guide>
        <p15:guide id="2" pos="2887" userDrawn="1">
          <p15:clr>
            <a:srgbClr val="A4A3A4"/>
          </p15:clr>
        </p15:guide>
        <p15:guide id="3" pos="180" userDrawn="1">
          <p15:clr>
            <a:srgbClr val="A4A3A4"/>
          </p15:clr>
        </p15:guide>
        <p15:guide id="4" pos="5710" userDrawn="1">
          <p15:clr>
            <a:srgbClr val="A4A3A4"/>
          </p15:clr>
        </p15:guide>
        <p15:guide id="5" orient="horz" pos="267" userDrawn="1">
          <p15:clr>
            <a:srgbClr val="A4A3A4"/>
          </p15:clr>
        </p15:guide>
        <p15:guide id="6" orient="horz" pos="3986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Administrator" initials="A" lastIdx="14" clrIdx="0"/>
  <p:cmAuthor id="2" name="刘 业凡" initials="刘" lastIdx="1" clrIdx="1"/>
  <p:cmAuthor id="1607851016" name="长亭听雪" initials="长" lastIdx="1" clrIdx="4"/>
  <p:cmAuthor id="3" name="李佳欣" initials="8" lastIdx="4" clrIdx="2"/>
  <p:cmAuthor id="4" name="DianDian" initials="D" lastIdx="1" clrIdx="3"/>
  <p:cmAuthor id="5" name="李 清晨" initials="李" lastIdx="5" clrIdx="4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C00000"/>
    <a:srgbClr val="FFA7A6"/>
    <a:srgbClr val="FFD1D0"/>
    <a:srgbClr val="A22B17"/>
    <a:srgbClr val="DF3A1F"/>
    <a:srgbClr val="F2C68E"/>
    <a:srgbClr val="4472C4"/>
    <a:srgbClr val="F0C080"/>
    <a:srgbClr val="F2C78F"/>
    <a:srgbClr val="0566B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2920" autoAdjust="0"/>
    <p:restoredTop sz="94809" autoAdjust="0"/>
  </p:normalViewPr>
  <p:slideViewPr>
    <p:cSldViewPr snapToGrid="0" showGuides="1">
      <p:cViewPr varScale="1">
        <p:scale>
          <a:sx n="63" d="100"/>
          <a:sy n="63" d="100"/>
        </p:scale>
        <p:origin x="1484" y="52"/>
      </p:cViewPr>
      <p:guideLst>
        <p:guide orient="horz" pos="2072"/>
        <p:guide pos="2887"/>
        <p:guide pos="180"/>
        <p:guide pos="5710"/>
        <p:guide orient="horz" pos="267"/>
        <p:guide orient="horz" pos="3986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4" d="100"/>
          <a:sy n="64" d="100"/>
        </p:scale>
        <p:origin x="3192" y="8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9" Type="http://schemas.openxmlformats.org/officeDocument/2006/relationships/slide" Target="slides/slide2.xml"/><Relationship Id="rId8" Type="http://schemas.openxmlformats.org/officeDocument/2006/relationships/slide" Target="slides/slide1.xml"/><Relationship Id="rId7" Type="http://schemas.openxmlformats.org/officeDocument/2006/relationships/slideMaster" Target="slideMasters/slideMaster6.xml"/><Relationship Id="rId63" Type="http://schemas.openxmlformats.org/officeDocument/2006/relationships/tags" Target="tags/tag94.xml"/><Relationship Id="rId62" Type="http://schemas.openxmlformats.org/officeDocument/2006/relationships/font" Target="fonts/font19.fntdata"/><Relationship Id="rId61" Type="http://schemas.openxmlformats.org/officeDocument/2006/relationships/font" Target="fonts/font18.fntdata"/><Relationship Id="rId60" Type="http://schemas.openxmlformats.org/officeDocument/2006/relationships/font" Target="fonts/font17.fntdata"/><Relationship Id="rId6" Type="http://schemas.openxmlformats.org/officeDocument/2006/relationships/slideMaster" Target="slideMasters/slideMaster5.xml"/><Relationship Id="rId59" Type="http://schemas.openxmlformats.org/officeDocument/2006/relationships/font" Target="fonts/font16.fntdata"/><Relationship Id="rId58" Type="http://schemas.openxmlformats.org/officeDocument/2006/relationships/font" Target="fonts/font15.fntdata"/><Relationship Id="rId57" Type="http://schemas.openxmlformats.org/officeDocument/2006/relationships/font" Target="fonts/font14.fntdata"/><Relationship Id="rId56" Type="http://schemas.openxmlformats.org/officeDocument/2006/relationships/font" Target="fonts/font13.fntdata"/><Relationship Id="rId55" Type="http://schemas.openxmlformats.org/officeDocument/2006/relationships/font" Target="fonts/font12.fntdata"/><Relationship Id="rId54" Type="http://schemas.openxmlformats.org/officeDocument/2006/relationships/font" Target="fonts/font11.fntdata"/><Relationship Id="rId53" Type="http://schemas.openxmlformats.org/officeDocument/2006/relationships/font" Target="fonts/font10.fntdata"/><Relationship Id="rId52" Type="http://schemas.openxmlformats.org/officeDocument/2006/relationships/font" Target="fonts/font9.fntdata"/><Relationship Id="rId51" Type="http://schemas.openxmlformats.org/officeDocument/2006/relationships/font" Target="fonts/font8.fntdata"/><Relationship Id="rId50" Type="http://schemas.openxmlformats.org/officeDocument/2006/relationships/font" Target="fonts/font7.fntdata"/><Relationship Id="rId5" Type="http://schemas.openxmlformats.org/officeDocument/2006/relationships/slideMaster" Target="slideMasters/slideMaster4.xml"/><Relationship Id="rId49" Type="http://schemas.openxmlformats.org/officeDocument/2006/relationships/font" Target="fonts/font6.fntdata"/><Relationship Id="rId48" Type="http://schemas.openxmlformats.org/officeDocument/2006/relationships/font" Target="fonts/font5.fntdata"/><Relationship Id="rId47" Type="http://schemas.openxmlformats.org/officeDocument/2006/relationships/font" Target="fonts/font4.fntdata"/><Relationship Id="rId46" Type="http://schemas.openxmlformats.org/officeDocument/2006/relationships/font" Target="fonts/font3.fntdata"/><Relationship Id="rId45" Type="http://schemas.openxmlformats.org/officeDocument/2006/relationships/font" Target="fonts/font2.fntdata"/><Relationship Id="rId44" Type="http://schemas.openxmlformats.org/officeDocument/2006/relationships/font" Target="fonts/font1.fntdata"/><Relationship Id="rId43" Type="http://schemas.openxmlformats.org/officeDocument/2006/relationships/commentAuthors" Target="commentAuthors.xml"/><Relationship Id="rId42" Type="http://schemas.openxmlformats.org/officeDocument/2006/relationships/tableStyles" Target="tableStyles.xml"/><Relationship Id="rId41" Type="http://schemas.openxmlformats.org/officeDocument/2006/relationships/viewProps" Target="viewProps.xml"/><Relationship Id="rId40" Type="http://schemas.openxmlformats.org/officeDocument/2006/relationships/presProps" Target="presProps.xml"/><Relationship Id="rId4" Type="http://schemas.openxmlformats.org/officeDocument/2006/relationships/slideMaster" Target="slideMasters/slideMaster3.xml"/><Relationship Id="rId39" Type="http://schemas.openxmlformats.org/officeDocument/2006/relationships/handoutMaster" Target="handoutMasters/handoutMaster1.xml"/><Relationship Id="rId38" Type="http://schemas.openxmlformats.org/officeDocument/2006/relationships/slide" Target="slides/slide30.xml"/><Relationship Id="rId37" Type="http://schemas.openxmlformats.org/officeDocument/2006/relationships/slide" Target="slides/slide29.xml"/><Relationship Id="rId36" Type="http://schemas.openxmlformats.org/officeDocument/2006/relationships/slide" Target="slides/slide28.xml"/><Relationship Id="rId35" Type="http://schemas.openxmlformats.org/officeDocument/2006/relationships/slide" Target="slides/slide27.xml"/><Relationship Id="rId34" Type="http://schemas.openxmlformats.org/officeDocument/2006/relationships/slide" Target="slides/slide26.xml"/><Relationship Id="rId33" Type="http://schemas.openxmlformats.org/officeDocument/2006/relationships/slide" Target="slides/slide25.xml"/><Relationship Id="rId32" Type="http://schemas.openxmlformats.org/officeDocument/2006/relationships/slide" Target="slides/slide24.xml"/><Relationship Id="rId31" Type="http://schemas.openxmlformats.org/officeDocument/2006/relationships/slide" Target="slides/slide23.xml"/><Relationship Id="rId30" Type="http://schemas.openxmlformats.org/officeDocument/2006/relationships/slide" Target="slides/slide22.xml"/><Relationship Id="rId3" Type="http://schemas.openxmlformats.org/officeDocument/2006/relationships/slideMaster" Target="slideMasters/slideMaster2.xml"/><Relationship Id="rId29" Type="http://schemas.openxmlformats.org/officeDocument/2006/relationships/slide" Target="slides/slide21.xml"/><Relationship Id="rId28" Type="http://schemas.openxmlformats.org/officeDocument/2006/relationships/slide" Target="slides/slide20.xml"/><Relationship Id="rId27" Type="http://schemas.openxmlformats.org/officeDocument/2006/relationships/slide" Target="slides/slide19.xml"/><Relationship Id="rId26" Type="http://schemas.openxmlformats.org/officeDocument/2006/relationships/slide" Target="slides/slide18.xml"/><Relationship Id="rId25" Type="http://schemas.openxmlformats.org/officeDocument/2006/relationships/slide" Target="slides/slide17.xml"/><Relationship Id="rId24" Type="http://schemas.openxmlformats.org/officeDocument/2006/relationships/slide" Target="slides/slide16.xml"/><Relationship Id="rId23" Type="http://schemas.openxmlformats.org/officeDocument/2006/relationships/slide" Target="slides/slide15.xml"/><Relationship Id="rId22" Type="http://schemas.openxmlformats.org/officeDocument/2006/relationships/slide" Target="slides/slide14.xml"/><Relationship Id="rId21" Type="http://schemas.openxmlformats.org/officeDocument/2006/relationships/slide" Target="slides/slide13.xml"/><Relationship Id="rId20" Type="http://schemas.openxmlformats.org/officeDocument/2006/relationships/slide" Target="slides/slide12.xml"/><Relationship Id="rId2" Type="http://schemas.openxmlformats.org/officeDocument/2006/relationships/theme" Target="theme/theme1.xml"/><Relationship Id="rId19" Type="http://schemas.openxmlformats.org/officeDocument/2006/relationships/slide" Target="slides/slide11.xml"/><Relationship Id="rId18" Type="http://schemas.openxmlformats.org/officeDocument/2006/relationships/slide" Target="slides/slide10.xml"/><Relationship Id="rId17" Type="http://schemas.openxmlformats.org/officeDocument/2006/relationships/slide" Target="slides/slide9.xml"/><Relationship Id="rId16" Type="http://schemas.openxmlformats.org/officeDocument/2006/relationships/slide" Target="slides/slide8.xml"/><Relationship Id="rId15" Type="http://schemas.openxmlformats.org/officeDocument/2006/relationships/slide" Target="slides/slide7.xml"/><Relationship Id="rId14" Type="http://schemas.openxmlformats.org/officeDocument/2006/relationships/slide" Target="slides/slide6.xml"/><Relationship Id="rId13" Type="http://schemas.openxmlformats.org/officeDocument/2006/relationships/slide" Target="slides/slide5.xml"/><Relationship Id="rId12" Type="http://schemas.openxmlformats.org/officeDocument/2006/relationships/notesMaster" Target="notesMasters/notesMaster1.xml"/><Relationship Id="rId11" Type="http://schemas.openxmlformats.org/officeDocument/2006/relationships/slide" Target="slides/slide4.xml"/><Relationship Id="rId10" Type="http://schemas.openxmlformats.org/officeDocument/2006/relationships/slide" Target="slides/slide3.xml"/><Relationship Id="rId1" Type="http://schemas.openxmlformats.org/officeDocument/2006/relationships/slideMaster" Target="slideMasters/slideMaster1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3_3#1">
  <dgm:title val=""/>
  <dgm:desc val=""/>
  <dgm:catLst>
    <dgm:cat type="accent3" pri="11300"/>
  </dgm:catLst>
  <dgm:styleLbl name="alignAcc1">
    <dgm:fillClrLst meth="repeat">
      <a:schemeClr val="lt1">
        <a:alpha val="90000"/>
      </a:schemeClr>
    </dgm:fillClrLst>
    <dgm:linClrLst>
      <a:schemeClr val="accent3">
        <a:shade val="80000"/>
      </a:schemeClr>
      <a:schemeClr val="accent3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3">
        <a:alpha val="90000"/>
        <a:tint val="40000"/>
      </a:schemeClr>
    </dgm:fillClrLst>
    <dgm:linClrLst meth="repeat">
      <a:schemeClr val="accent3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ImgPlace1">
    <dgm:fillClrLst>
      <a:schemeClr val="accent3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Node1">
    <dgm:fillClrLst>
      <a:schemeClr val="accent3">
        <a:shade val="80000"/>
      </a:schemeClr>
      <a:schemeClr val="accent3">
        <a:tint val="70000"/>
      </a:schemeClr>
    </dgm:fillClrLst>
    <dgm:linClrLst>
      <a:schemeClr val="accent3">
        <a:shade val="80000"/>
      </a:schemeClr>
      <a:schemeClr val="accent3">
        <a:tint val="70000"/>
      </a:schemeClr>
    </dgm:linClrLst>
    <dgm:effectClrLst/>
    <dgm:txLinClrLst/>
    <dgm:txFillClrLst/>
    <dgm:txEffectClrLst/>
  </dgm:styleLbl>
  <dgm:styleLbl name="asst0">
    <dgm:fillClrLst meth="repeat">
      <a:schemeClr val="accent3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3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3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3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bgAcc1">
    <dgm:fillClrLst meth="repeat">
      <a:schemeClr val="lt1">
        <a:alpha val="90000"/>
      </a:schemeClr>
    </dgm:fillClrLst>
    <dgm:linClrLst>
      <a:schemeClr val="accent3">
        <a:shade val="80000"/>
      </a:schemeClr>
      <a:schemeClr val="accent3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3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bgImgPlace1">
    <dgm:fillClrLst>
      <a:schemeClr val="accent3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bgSibTrans2D1">
    <dgm:fillClrLst>
      <a:schemeClr val="accent3">
        <a:shade val="90000"/>
      </a:schemeClr>
      <a:schemeClr val="accent3">
        <a:tint val="70000"/>
      </a:schemeClr>
    </dgm:fillClrLst>
    <dgm:linClrLst>
      <a:schemeClr val="accent3">
        <a:shade val="90000"/>
      </a:schemeClr>
      <a:schemeClr val="accent3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callout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3">
        <a:shade val="80000"/>
      </a:schemeClr>
      <a:schemeClr val="accent3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3">
        <a:shade val="80000"/>
      </a:schemeClr>
      <a:schemeClr val="accent3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3">
        <a:tint val="99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3">
        <a:tint val="8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3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3">
        <a:alpha val="90000"/>
        <a:tint val="40000"/>
      </a:schemeClr>
    </dgm:fillClrLst>
    <dgm:linClrLst meth="repeat">
      <a:schemeClr val="accent3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>
      <a:schemeClr val="accent3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SibTrans2D1">
    <dgm:fillClrLst>
      <a:schemeClr val="accent3">
        <a:shade val="90000"/>
      </a:schemeClr>
      <a:schemeClr val="accent3">
        <a:tint val="70000"/>
      </a:schemeClr>
    </dgm:fillClrLst>
    <dgm:linClrLst>
      <a:schemeClr val="accent3">
        <a:shade val="90000"/>
      </a:schemeClr>
      <a:schemeClr val="accent3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lnNode1">
    <dgm:fillClrLst>
      <a:schemeClr val="accent3">
        <a:shade val="80000"/>
      </a:schemeClr>
      <a:schemeClr val="accent3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node0">
    <dgm:fillClrLst meth="repeat">
      <a:schemeClr val="accent3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3">
        <a:shade val="80000"/>
      </a:schemeClr>
      <a:schemeClr val="accent3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3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3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1D1">
    <dgm:fillClrLst meth="repeat">
      <a:schemeClr val="accent3">
        <a:shade val="80000"/>
      </a:schemeClr>
    </dgm:fillClrLst>
    <dgm:linClrLst meth="repeat">
      <a:schemeClr val="accent3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9000"/>
      </a:schemeClr>
    </dgm:fillClrLst>
    <dgm:linClrLst meth="repeat">
      <a:schemeClr val="accent3">
        <a:tint val="99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3">
        <a:tint val="80000"/>
      </a:schemeClr>
    </dgm:fillClrLst>
    <dgm:linClrLst meth="repeat">
      <a:schemeClr val="accent3">
        <a:tint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3">
        <a:tint val="70000"/>
      </a:schemeClr>
    </dgm:fillClrLst>
    <dgm:linClrLst meth="repeat">
      <a:schemeClr val="accent3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>
        <a:tint val="90000"/>
      </a:schemeClr>
    </dgm:fillClrLst>
    <dgm:linClrLst meth="repeat">
      <a:schemeClr val="accent3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3">
        <a:tint val="70000"/>
      </a:schemeClr>
    </dgm:fillClrLst>
    <dgm:linClrLst meth="repeat">
      <a:schemeClr val="accent3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3">
        <a:tint val="50000"/>
      </a:schemeClr>
    </dgm:fillClrLst>
    <dgm:linClrLst meth="repeat">
      <a:schemeClr val="accent3">
        <a:tint val="50000"/>
      </a:schemeClr>
    </dgm:linClrLst>
    <dgm:effectClrLst/>
    <dgm:txLinClrLst/>
    <dgm:txFillClrLst meth="repeat">
      <a:schemeClr val="lt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  <dgm:styleLbl name="sibTrans1D1">
    <dgm:fillClrLst>
      <a:schemeClr val="accent3">
        <a:shade val="90000"/>
      </a:schemeClr>
      <a:schemeClr val="accent3">
        <a:tint val="70000"/>
      </a:schemeClr>
    </dgm:fillClrLst>
    <dgm:linClrLst>
      <a:schemeClr val="accent3">
        <a:shade val="90000"/>
      </a:schemeClr>
      <a:schemeClr val="accent3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sibTrans2D1">
    <dgm:fillClrLst>
      <a:schemeClr val="accent3">
        <a:shade val="90000"/>
      </a:schemeClr>
      <a:schemeClr val="accent3">
        <a:tint val="70000"/>
      </a:schemeClr>
    </dgm:fillClrLst>
    <dgm:linClrLst>
      <a:schemeClr val="accent3">
        <a:shade val="90000"/>
      </a:schemeClr>
      <a:schemeClr val="accent3">
        <a:tint val="70000"/>
      </a:schemeClr>
    </dgm:linClrLst>
    <dgm:effectClrLst/>
    <dgm:txLinClrLst/>
    <dgm:txFillClrLst/>
    <dgm:txEffectClrLst/>
  </dgm:styleLbl>
  <dgm:styleLbl name="solidAlign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3">
        <a:shade val="80000"/>
      </a:schemeClr>
      <a:schemeClr val="accent3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trBgShp">
    <dgm:fillClrLst meth="repeat">
      <a:schemeClr val="accent3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vennNode1">
    <dgm:fillClrLst>
      <a:schemeClr val="accent3">
        <a:shade val="80000"/>
        <a:alpha val="50000"/>
      </a:schemeClr>
      <a:schemeClr val="accent3">
        <a:tint val="7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5#3">
  <dgm:title val=""/>
  <dgm:desc val=""/>
  <dgm:catLst>
    <dgm:cat type="accent1" pri="11500"/>
  </dgm:catLst>
  <dgm:styleLbl name="alignAcc1">
    <dgm:fillClrLst meth="repeat">
      <a:schemeClr val="lt1">
        <a:alpha val="90000"/>
      </a:schemeClr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Node1">
    <dgm:fillClrLst>
      <a:schemeClr val="accent1">
        <a:alpha val="90000"/>
      </a:schemeClr>
      <a:schemeClr val="accent1">
        <a:alpha val="50000"/>
      </a:schemeClr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/>
    <dgm:txEffectClrLst/>
  </dgm:styleLbl>
  <dgm:styleLbl name="asst0">
    <dgm:fillClrLst meth="repeat">
      <a:schemeClr val="accent1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1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1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bgAcc1">
    <dgm:fillClrLst meth="repeat">
      <a:schemeClr val="lt1">
        <a:alpha val="90000"/>
      </a:schemeClr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bg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bgSibTrans2D1">
    <dgm:fillClrLst>
      <a:schemeClr val="accent1">
        <a:shade val="90000"/>
      </a:schemeClr>
      <a:schemeClr val="accent1">
        <a:tint val="50000"/>
      </a:schemeClr>
    </dgm:fillClrLst>
    <dgm:linClrLst>
      <a:schemeClr val="accent1">
        <a:shade val="90000"/>
      </a:schemeClr>
      <a:schemeClr val="accent1">
        <a:tint val="50000"/>
      </a:schemeClr>
    </dgm:linClrLst>
    <dgm:effectClrLst/>
    <dgm:txLinClrLst/>
    <dgm:txFillClrLst/>
    <dgm:txEffectClrLst/>
  </dgm:styleLbl>
  <dgm:styleLbl name="callout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>
        <a:tint val="90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1">
        <a:alpha val="90000"/>
        <a:tint val="40000"/>
      </a:schemeClr>
      <a:schemeClr val="accent1">
        <a:alpha val="5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>
      <a:schemeClr val="accent1">
        <a:tint val="50000"/>
        <a:alpha val="90000"/>
      </a:schemeClr>
      <a:schemeClr val="accent1">
        <a:tint val="20000"/>
        <a:alpha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SibTrans2D1">
    <dgm:fillClrLst>
      <a:schemeClr val="accent1">
        <a:shade val="90000"/>
      </a:schemeClr>
      <a:schemeClr val="accent1">
        <a:tint val="50000"/>
      </a:schemeClr>
    </dgm:fillClrLst>
    <dgm:linClrLst>
      <a:schemeClr val="accent1">
        <a:shade val="90000"/>
      </a:schemeClr>
      <a:schemeClr val="accent1">
        <a:tint val="50000"/>
      </a:schemeClr>
    </dgm:linClrLst>
    <dgm:effectClrLst/>
    <dgm:txLinClrLst/>
    <dgm:txFillClrLst/>
    <dgm:txEffectClrLst/>
  </dgm:styleLbl>
  <dgm:styleLbl name="lnNode1">
    <dgm:fillClrLst>
      <a:schemeClr val="accent1">
        <a:shade val="90000"/>
      </a:schemeClr>
      <a:schemeClr val="accent1">
        <a:alpha val="50000"/>
        <a:tint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0">
    <dgm:fillClrLst meth="cycle">
      <a:schemeClr val="accent1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1">
        <a:alpha val="90000"/>
      </a:schemeClr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1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1">
        <a:alpha val="3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1D1">
    <dgm:fillClrLst meth="repeat">
      <a:schemeClr val="accent1">
        <a:shade val="8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>
        <a:tint val="90000"/>
      </a:schemeClr>
    </dgm:fillClrLst>
    <dgm:linClrLst meth="repeat">
      <a:schemeClr val="accent1">
        <a:tint val="9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>
        <a:tint val="5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parChTrans2D1">
    <dgm:fillClrLst meth="repeat">
      <a:schemeClr val="accent1">
        <a:shade val="80000"/>
      </a:schemeClr>
    </dgm:fillClrLst>
    <dgm:linClrLst meth="repeat">
      <a:schemeClr val="accent1">
        <a:shade val="80000"/>
      </a:schemeClr>
    </dgm:linClrLst>
    <dgm:effectClrLst/>
    <dgm:txLinClrLst/>
    <dgm:txFillClrLst/>
    <dgm:txEffectClrLst/>
  </dgm:styleLbl>
  <dgm:styleLbl name="parChTrans2D2">
    <dgm:fillClrLst meth="repeat">
      <a:schemeClr val="accent1">
        <a:tint val="90000"/>
      </a:schemeClr>
    </dgm:fillClrLst>
    <dgm:linClrLst meth="repeat">
      <a:schemeClr val="accent1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1">
        <a:tint val="5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  <dgm:styleLbl name="sibTrans1D1">
    <dgm:fillClrLst>
      <a:schemeClr val="accent1">
        <a:shade val="90000"/>
      </a:schemeClr>
      <a:schemeClr val="accent1">
        <a:tint val="50000"/>
      </a:schemeClr>
    </dgm:fillClrLst>
    <dgm:linClrLst>
      <a:schemeClr val="accent1">
        <a:shade val="90000"/>
      </a:schemeClr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sibTrans2D1">
    <dgm:fillClrLst>
      <a:schemeClr val="accent1">
        <a:shade val="90000"/>
      </a:schemeClr>
      <a:schemeClr val="accent1">
        <a:tint val="50000"/>
      </a:schemeClr>
    </dgm:fillClrLst>
    <dgm:linClrLst>
      <a:schemeClr val="accent1">
        <a:shade val="90000"/>
      </a:schemeClr>
      <a:schemeClr val="accent1">
        <a:tint val="50000"/>
      </a:schemeClr>
    </dgm:linClrLst>
    <dgm:effectClrLst/>
    <dgm:txLinClrLst/>
    <dgm:txFillClrLst/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vennNode1">
    <dgm:fillClrLst>
      <a:schemeClr val="accent1">
        <a:shade val="80000"/>
        <a:alpha val="50000"/>
      </a:schemeClr>
      <a:schemeClr val="accent1">
        <a:alpha val="80000"/>
      </a:schemeClr>
    </dgm:fillClrLst>
    <dgm:linClrLst meth="repeat">
      <a:schemeClr val="lt1"/>
    </dgm:linClrLst>
    <dgm:effectClrLst/>
    <dgm:txLinClrLst/>
    <dgm:txFillClrLst/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colorful2#1">
  <dgm:title val=""/>
  <dgm:desc val=""/>
  <dgm:catLst>
    <dgm:cat type="colorful" pri="10200"/>
  </dgm:catLst>
  <dgm:styleLbl name="align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Node1">
    <dgm:fillClrLst>
      <a:schemeClr val="accent2"/>
      <a:schemeClr val="accent3"/>
    </dgm:fillClrLst>
    <dgm:linClrLst>
      <a:schemeClr val="accent2"/>
      <a:schemeClr val="accent3"/>
    </dgm:linClrLst>
    <dgm:effectClrLst/>
    <dgm:txLinClrLst/>
    <dgm:txFillClrLst/>
    <dgm:txEffectClrLst/>
  </dgm:styleLbl>
  <dgm:styleLbl name="asst0">
    <dgm:fillClrLst meth="repeat">
      <a:schemeClr val="accent2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b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b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>
      <a:schemeClr val="accent2">
        <a:tint val="50000"/>
      </a:schemeClr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ln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5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  <dgm:styleLbl name="sibTrans1D1">
    <dgm:fillClrLst/>
    <dgm:linClrLst>
      <a:schemeClr val="accent2"/>
      <a:schemeClr val="accent3"/>
    </dgm:linClrLst>
    <dgm:effectClrLst/>
    <dgm:txLinClrLst/>
    <dgm:txFillClrLst meth="repeat">
      <a:schemeClr val="tx1"/>
    </dgm:txFillClrLst>
    <dgm:txEffectClrLst/>
  </dgm:styleLbl>
  <dgm:styleLbl name="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solidAlign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vennNode1">
    <dgm:fillClrLst>
      <a:schemeClr val="accent2">
        <a:alpha val="50000"/>
      </a:schemeClr>
      <a:schemeClr val="accent3">
        <a:alpha val="50000"/>
      </a:schemeClr>
    </dgm:fillClrLst>
    <dgm:linClrLst meth="repeat">
      <a:schemeClr val="lt1"/>
    </dgm:linClrLst>
    <dgm:effectClrLst/>
    <dgm:txLinClrLst/>
    <dgm:txFillClrLst/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1_5#3">
  <dgm:title val=""/>
  <dgm:desc val=""/>
  <dgm:catLst>
    <dgm:cat type="accent1" pri="11500"/>
  </dgm:catLst>
  <dgm:styleLbl name="alignAcc1">
    <dgm:fillClrLst meth="repeat">
      <a:schemeClr val="lt1">
        <a:alpha val="90000"/>
      </a:schemeClr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Node1">
    <dgm:fillClrLst>
      <a:schemeClr val="accent1">
        <a:alpha val="90000"/>
      </a:schemeClr>
      <a:schemeClr val="accent1">
        <a:alpha val="50000"/>
      </a:schemeClr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/>
    <dgm:txEffectClrLst/>
  </dgm:styleLbl>
  <dgm:styleLbl name="asst0">
    <dgm:fillClrLst meth="repeat">
      <a:schemeClr val="accent1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1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1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bgAcc1">
    <dgm:fillClrLst meth="repeat">
      <a:schemeClr val="lt1">
        <a:alpha val="90000"/>
      </a:schemeClr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bg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bgSibTrans2D1">
    <dgm:fillClrLst>
      <a:schemeClr val="accent1">
        <a:shade val="90000"/>
      </a:schemeClr>
      <a:schemeClr val="accent1">
        <a:tint val="50000"/>
      </a:schemeClr>
    </dgm:fillClrLst>
    <dgm:linClrLst>
      <a:schemeClr val="accent1">
        <a:shade val="90000"/>
      </a:schemeClr>
      <a:schemeClr val="accent1">
        <a:tint val="50000"/>
      </a:schemeClr>
    </dgm:linClrLst>
    <dgm:effectClrLst/>
    <dgm:txLinClrLst/>
    <dgm:txFillClrLst/>
    <dgm:txEffectClrLst/>
  </dgm:styleLbl>
  <dgm:styleLbl name="callout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>
        <a:tint val="90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1">
        <a:alpha val="90000"/>
        <a:tint val="40000"/>
      </a:schemeClr>
      <a:schemeClr val="accent1">
        <a:alpha val="5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>
      <a:schemeClr val="accent1">
        <a:tint val="50000"/>
        <a:alpha val="90000"/>
      </a:schemeClr>
      <a:schemeClr val="accent1">
        <a:tint val="20000"/>
        <a:alpha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SibTrans2D1">
    <dgm:fillClrLst>
      <a:schemeClr val="accent1">
        <a:shade val="90000"/>
      </a:schemeClr>
      <a:schemeClr val="accent1">
        <a:tint val="50000"/>
      </a:schemeClr>
    </dgm:fillClrLst>
    <dgm:linClrLst>
      <a:schemeClr val="accent1">
        <a:shade val="90000"/>
      </a:schemeClr>
      <a:schemeClr val="accent1">
        <a:tint val="50000"/>
      </a:schemeClr>
    </dgm:linClrLst>
    <dgm:effectClrLst/>
    <dgm:txLinClrLst/>
    <dgm:txFillClrLst/>
    <dgm:txEffectClrLst/>
  </dgm:styleLbl>
  <dgm:styleLbl name="lnNode1">
    <dgm:fillClrLst>
      <a:schemeClr val="accent1">
        <a:shade val="90000"/>
      </a:schemeClr>
      <a:schemeClr val="accent1">
        <a:alpha val="50000"/>
        <a:tint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0">
    <dgm:fillClrLst meth="cycle">
      <a:schemeClr val="accent1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1">
        <a:alpha val="90000"/>
      </a:schemeClr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1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1">
        <a:alpha val="3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1D1">
    <dgm:fillClrLst meth="repeat">
      <a:schemeClr val="accent1">
        <a:shade val="8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>
        <a:tint val="90000"/>
      </a:schemeClr>
    </dgm:fillClrLst>
    <dgm:linClrLst meth="repeat">
      <a:schemeClr val="accent1">
        <a:tint val="9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>
        <a:tint val="5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parChTrans2D1">
    <dgm:fillClrLst meth="repeat">
      <a:schemeClr val="accent1">
        <a:shade val="80000"/>
      </a:schemeClr>
    </dgm:fillClrLst>
    <dgm:linClrLst meth="repeat">
      <a:schemeClr val="accent1">
        <a:shade val="80000"/>
      </a:schemeClr>
    </dgm:linClrLst>
    <dgm:effectClrLst/>
    <dgm:txLinClrLst/>
    <dgm:txFillClrLst/>
    <dgm:txEffectClrLst/>
  </dgm:styleLbl>
  <dgm:styleLbl name="parChTrans2D2">
    <dgm:fillClrLst meth="repeat">
      <a:schemeClr val="accent1">
        <a:tint val="90000"/>
      </a:schemeClr>
    </dgm:fillClrLst>
    <dgm:linClrLst meth="repeat">
      <a:schemeClr val="accent1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1">
        <a:tint val="5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  <dgm:styleLbl name="sibTrans1D1">
    <dgm:fillClrLst>
      <a:schemeClr val="accent1">
        <a:shade val="90000"/>
      </a:schemeClr>
      <a:schemeClr val="accent1">
        <a:tint val="50000"/>
      </a:schemeClr>
    </dgm:fillClrLst>
    <dgm:linClrLst>
      <a:schemeClr val="accent1">
        <a:shade val="90000"/>
      </a:schemeClr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sibTrans2D1">
    <dgm:fillClrLst>
      <a:schemeClr val="accent1">
        <a:shade val="90000"/>
      </a:schemeClr>
      <a:schemeClr val="accent1">
        <a:tint val="50000"/>
      </a:schemeClr>
    </dgm:fillClrLst>
    <dgm:linClrLst>
      <a:schemeClr val="accent1">
        <a:shade val="90000"/>
      </a:schemeClr>
      <a:schemeClr val="accent1">
        <a:tint val="50000"/>
      </a:schemeClr>
    </dgm:linClrLst>
    <dgm:effectClrLst/>
    <dgm:txLinClrLst/>
    <dgm:txFillClrLst/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vennNode1">
    <dgm:fillClrLst>
      <a:schemeClr val="accent1">
        <a:shade val="80000"/>
        <a:alpha val="50000"/>
      </a:schemeClr>
      <a:schemeClr val="accent1">
        <a:alpha val="80000"/>
      </a:schemeClr>
    </dgm:fillClrLst>
    <dgm:linClrLst meth="repeat">
      <a:schemeClr val="lt1"/>
    </dgm:linClrLst>
    <dgm:effectClrLst/>
    <dgm:txLinClrLst/>
    <dgm:txFillClrLst/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accent1_5#3">
  <dgm:title val=""/>
  <dgm:desc val=""/>
  <dgm:catLst>
    <dgm:cat type="accent1" pri="11500"/>
  </dgm:catLst>
  <dgm:styleLbl name="alignAcc1">
    <dgm:fillClrLst meth="repeat">
      <a:schemeClr val="lt1">
        <a:alpha val="90000"/>
      </a:schemeClr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Node1">
    <dgm:fillClrLst>
      <a:schemeClr val="accent1">
        <a:alpha val="90000"/>
      </a:schemeClr>
      <a:schemeClr val="accent1">
        <a:alpha val="50000"/>
      </a:schemeClr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/>
    <dgm:txEffectClrLst/>
  </dgm:styleLbl>
  <dgm:styleLbl name="asst0">
    <dgm:fillClrLst meth="repeat">
      <a:schemeClr val="accent1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1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1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bgAcc1">
    <dgm:fillClrLst meth="repeat">
      <a:schemeClr val="lt1">
        <a:alpha val="90000"/>
      </a:schemeClr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bg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bgSibTrans2D1">
    <dgm:fillClrLst>
      <a:schemeClr val="accent1">
        <a:shade val="90000"/>
      </a:schemeClr>
      <a:schemeClr val="accent1">
        <a:tint val="50000"/>
      </a:schemeClr>
    </dgm:fillClrLst>
    <dgm:linClrLst>
      <a:schemeClr val="accent1">
        <a:shade val="90000"/>
      </a:schemeClr>
      <a:schemeClr val="accent1">
        <a:tint val="50000"/>
      </a:schemeClr>
    </dgm:linClrLst>
    <dgm:effectClrLst/>
    <dgm:txLinClrLst/>
    <dgm:txFillClrLst/>
    <dgm:txEffectClrLst/>
  </dgm:styleLbl>
  <dgm:styleLbl name="callout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>
        <a:tint val="90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1">
        <a:alpha val="90000"/>
        <a:tint val="40000"/>
      </a:schemeClr>
      <a:schemeClr val="accent1">
        <a:alpha val="5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>
      <a:schemeClr val="accent1">
        <a:tint val="50000"/>
        <a:alpha val="90000"/>
      </a:schemeClr>
      <a:schemeClr val="accent1">
        <a:tint val="20000"/>
        <a:alpha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SibTrans2D1">
    <dgm:fillClrLst>
      <a:schemeClr val="accent1">
        <a:shade val="90000"/>
      </a:schemeClr>
      <a:schemeClr val="accent1">
        <a:tint val="50000"/>
      </a:schemeClr>
    </dgm:fillClrLst>
    <dgm:linClrLst>
      <a:schemeClr val="accent1">
        <a:shade val="90000"/>
      </a:schemeClr>
      <a:schemeClr val="accent1">
        <a:tint val="50000"/>
      </a:schemeClr>
    </dgm:linClrLst>
    <dgm:effectClrLst/>
    <dgm:txLinClrLst/>
    <dgm:txFillClrLst/>
    <dgm:txEffectClrLst/>
  </dgm:styleLbl>
  <dgm:styleLbl name="lnNode1">
    <dgm:fillClrLst>
      <a:schemeClr val="accent1">
        <a:shade val="90000"/>
      </a:schemeClr>
      <a:schemeClr val="accent1">
        <a:alpha val="50000"/>
        <a:tint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0">
    <dgm:fillClrLst meth="cycle">
      <a:schemeClr val="accent1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1">
        <a:alpha val="90000"/>
      </a:schemeClr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1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1">
        <a:alpha val="3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1D1">
    <dgm:fillClrLst meth="repeat">
      <a:schemeClr val="accent1">
        <a:shade val="8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>
        <a:tint val="90000"/>
      </a:schemeClr>
    </dgm:fillClrLst>
    <dgm:linClrLst meth="repeat">
      <a:schemeClr val="accent1">
        <a:tint val="9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>
        <a:tint val="5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parChTrans2D1">
    <dgm:fillClrLst meth="repeat">
      <a:schemeClr val="accent1">
        <a:shade val="80000"/>
      </a:schemeClr>
    </dgm:fillClrLst>
    <dgm:linClrLst meth="repeat">
      <a:schemeClr val="accent1">
        <a:shade val="80000"/>
      </a:schemeClr>
    </dgm:linClrLst>
    <dgm:effectClrLst/>
    <dgm:txLinClrLst/>
    <dgm:txFillClrLst/>
    <dgm:txEffectClrLst/>
  </dgm:styleLbl>
  <dgm:styleLbl name="parChTrans2D2">
    <dgm:fillClrLst meth="repeat">
      <a:schemeClr val="accent1">
        <a:tint val="90000"/>
      </a:schemeClr>
    </dgm:fillClrLst>
    <dgm:linClrLst meth="repeat">
      <a:schemeClr val="accent1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1">
        <a:tint val="5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  <dgm:styleLbl name="sibTrans1D1">
    <dgm:fillClrLst>
      <a:schemeClr val="accent1">
        <a:shade val="90000"/>
      </a:schemeClr>
      <a:schemeClr val="accent1">
        <a:tint val="50000"/>
      </a:schemeClr>
    </dgm:fillClrLst>
    <dgm:linClrLst>
      <a:schemeClr val="accent1">
        <a:shade val="90000"/>
      </a:schemeClr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sibTrans2D1">
    <dgm:fillClrLst>
      <a:schemeClr val="accent1">
        <a:shade val="90000"/>
      </a:schemeClr>
      <a:schemeClr val="accent1">
        <a:tint val="50000"/>
      </a:schemeClr>
    </dgm:fillClrLst>
    <dgm:linClrLst>
      <a:schemeClr val="accent1">
        <a:shade val="90000"/>
      </a:schemeClr>
      <a:schemeClr val="accent1">
        <a:tint val="50000"/>
      </a:schemeClr>
    </dgm:linClrLst>
    <dgm:effectClrLst/>
    <dgm:txLinClrLst/>
    <dgm:txFillClrLst/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vennNode1">
    <dgm:fillClrLst>
      <a:schemeClr val="accent1">
        <a:shade val="80000"/>
        <a:alpha val="50000"/>
      </a:schemeClr>
      <a:schemeClr val="accent1">
        <a:alpha val="80000"/>
      </a:schemeClr>
    </dgm:fillClrLst>
    <dgm:linClrLst meth="repeat">
      <a:schemeClr val="lt1"/>
    </dgm:linClrLst>
    <dgm:effectClrLst/>
    <dgm:txLinClrLst/>
    <dgm:txFillClrLst/>
    <dgm:txEffectClrLst/>
  </dgm:styleLbl>
</dgm:colorsDef>
</file>

<file path=ppt/diagrams/colors6.xml><?xml version="1.0" encoding="utf-8"?>
<dgm:colorsDef xmlns:dgm="http://schemas.openxmlformats.org/drawingml/2006/diagram" xmlns:a="http://schemas.openxmlformats.org/drawingml/2006/main" uniqueId="urn:microsoft.com/office/officeart/2005/8/colors/accent1_5#3">
  <dgm:title val=""/>
  <dgm:desc val=""/>
  <dgm:catLst>
    <dgm:cat type="accent1" pri="11500"/>
  </dgm:catLst>
  <dgm:styleLbl name="alignAcc1">
    <dgm:fillClrLst meth="repeat">
      <a:schemeClr val="lt1">
        <a:alpha val="90000"/>
      </a:schemeClr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Node1">
    <dgm:fillClrLst>
      <a:schemeClr val="accent1">
        <a:alpha val="90000"/>
      </a:schemeClr>
      <a:schemeClr val="accent1">
        <a:alpha val="50000"/>
      </a:schemeClr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/>
    <dgm:txEffectClrLst/>
  </dgm:styleLbl>
  <dgm:styleLbl name="asst0">
    <dgm:fillClrLst meth="repeat">
      <a:schemeClr val="accent1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1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1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bgAcc1">
    <dgm:fillClrLst meth="repeat">
      <a:schemeClr val="lt1">
        <a:alpha val="90000"/>
      </a:schemeClr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bg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bgSibTrans2D1">
    <dgm:fillClrLst>
      <a:schemeClr val="accent1">
        <a:shade val="90000"/>
      </a:schemeClr>
      <a:schemeClr val="accent1">
        <a:tint val="50000"/>
      </a:schemeClr>
    </dgm:fillClrLst>
    <dgm:linClrLst>
      <a:schemeClr val="accent1">
        <a:shade val="90000"/>
      </a:schemeClr>
      <a:schemeClr val="accent1">
        <a:tint val="50000"/>
      </a:schemeClr>
    </dgm:linClrLst>
    <dgm:effectClrLst/>
    <dgm:txLinClrLst/>
    <dgm:txFillClrLst/>
    <dgm:txEffectClrLst/>
  </dgm:styleLbl>
  <dgm:styleLbl name="callout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>
        <a:tint val="90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1">
        <a:alpha val="90000"/>
        <a:tint val="40000"/>
      </a:schemeClr>
      <a:schemeClr val="accent1">
        <a:alpha val="5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>
      <a:schemeClr val="accent1">
        <a:tint val="50000"/>
        <a:alpha val="90000"/>
      </a:schemeClr>
      <a:schemeClr val="accent1">
        <a:tint val="20000"/>
        <a:alpha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SibTrans2D1">
    <dgm:fillClrLst>
      <a:schemeClr val="accent1">
        <a:shade val="90000"/>
      </a:schemeClr>
      <a:schemeClr val="accent1">
        <a:tint val="50000"/>
      </a:schemeClr>
    </dgm:fillClrLst>
    <dgm:linClrLst>
      <a:schemeClr val="accent1">
        <a:shade val="90000"/>
      </a:schemeClr>
      <a:schemeClr val="accent1">
        <a:tint val="50000"/>
      </a:schemeClr>
    </dgm:linClrLst>
    <dgm:effectClrLst/>
    <dgm:txLinClrLst/>
    <dgm:txFillClrLst/>
    <dgm:txEffectClrLst/>
  </dgm:styleLbl>
  <dgm:styleLbl name="lnNode1">
    <dgm:fillClrLst>
      <a:schemeClr val="accent1">
        <a:shade val="90000"/>
      </a:schemeClr>
      <a:schemeClr val="accent1">
        <a:alpha val="50000"/>
        <a:tint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0">
    <dgm:fillClrLst meth="cycle">
      <a:schemeClr val="accent1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1">
        <a:alpha val="90000"/>
      </a:schemeClr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1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1">
        <a:alpha val="3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1D1">
    <dgm:fillClrLst meth="repeat">
      <a:schemeClr val="accent1">
        <a:shade val="8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>
        <a:tint val="90000"/>
      </a:schemeClr>
    </dgm:fillClrLst>
    <dgm:linClrLst meth="repeat">
      <a:schemeClr val="accent1">
        <a:tint val="9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>
        <a:tint val="5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parChTrans2D1">
    <dgm:fillClrLst meth="repeat">
      <a:schemeClr val="accent1">
        <a:shade val="80000"/>
      </a:schemeClr>
    </dgm:fillClrLst>
    <dgm:linClrLst meth="repeat">
      <a:schemeClr val="accent1">
        <a:shade val="80000"/>
      </a:schemeClr>
    </dgm:linClrLst>
    <dgm:effectClrLst/>
    <dgm:txLinClrLst/>
    <dgm:txFillClrLst/>
    <dgm:txEffectClrLst/>
  </dgm:styleLbl>
  <dgm:styleLbl name="parChTrans2D2">
    <dgm:fillClrLst meth="repeat">
      <a:schemeClr val="accent1">
        <a:tint val="90000"/>
      </a:schemeClr>
    </dgm:fillClrLst>
    <dgm:linClrLst meth="repeat">
      <a:schemeClr val="accent1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1">
        <a:tint val="5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  <dgm:styleLbl name="sibTrans1D1">
    <dgm:fillClrLst>
      <a:schemeClr val="accent1">
        <a:shade val="90000"/>
      </a:schemeClr>
      <a:schemeClr val="accent1">
        <a:tint val="50000"/>
      </a:schemeClr>
    </dgm:fillClrLst>
    <dgm:linClrLst>
      <a:schemeClr val="accent1">
        <a:shade val="90000"/>
      </a:schemeClr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sibTrans2D1">
    <dgm:fillClrLst>
      <a:schemeClr val="accent1">
        <a:shade val="90000"/>
      </a:schemeClr>
      <a:schemeClr val="accent1">
        <a:tint val="50000"/>
      </a:schemeClr>
    </dgm:fillClrLst>
    <dgm:linClrLst>
      <a:schemeClr val="accent1">
        <a:shade val="90000"/>
      </a:schemeClr>
      <a:schemeClr val="accent1">
        <a:tint val="50000"/>
      </a:schemeClr>
    </dgm:linClrLst>
    <dgm:effectClrLst/>
    <dgm:txLinClrLst/>
    <dgm:txFillClrLst/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vennNode1">
    <dgm:fillClrLst>
      <a:schemeClr val="accent1">
        <a:shade val="80000"/>
        <a:alpha val="50000"/>
      </a:schemeClr>
      <a:schemeClr val="accent1">
        <a:alpha val="80000"/>
      </a:schemeClr>
    </dgm:fillClrLst>
    <dgm:linClrLst meth="repeat">
      <a:schemeClr val="lt1"/>
    </dgm:linClrLst>
    <dgm:effectClrLst/>
    <dgm:txLinClrLst/>
    <dgm:txFillClrLst/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83D41C22-0D9C-4F9D-8BAC-7CF284EA3958}" type="doc">
      <dgm:prSet loTypeId="urn:microsoft.com/office/officeart/2005/8/layout/vList2#4" loCatId="list" qsTypeId="urn:microsoft.com/office/officeart/2005/8/quickstyle/simple3#2" qsCatId="simple" csTypeId="urn:microsoft.com/office/officeart/2005/8/colors/accent3_3#1" csCatId="accent3" phldr="1"/>
      <dgm:spPr/>
      <dgm:t>
        <a:bodyPr/>
        <a:lstStyle/>
        <a:p>
          <a:endParaRPr lang="zh-CN" altLang="en-US"/>
        </a:p>
      </dgm:t>
    </dgm:pt>
    <dgm:pt modelId="{AA5C85CC-4239-4C6D-A17E-19CA23FC26B1}">
      <dgm:prSet custT="1"/>
      <dgm:spPr>
        <a:xfrm>
          <a:off x="0" y="36331"/>
          <a:ext cx="7143800" cy="553410"/>
        </a:xfrm>
      </dgm:spPr>
      <dgm:t>
        <a:bodyPr/>
        <a:lstStyle/>
        <a:p>
          <a:pPr rtl="0"/>
          <a:r>
            <a:rPr lang="en-US" sz="2400" b="0" dirty="0">
              <a:latin typeface="楷体" panose="02010609060101010101" pitchFamily="49" charset="-122"/>
              <a:ea typeface="楷体" panose="02010609060101010101" pitchFamily="49" charset="-122"/>
              <a:cs typeface="+mn-cs"/>
            </a:rPr>
            <a:t>1</a:t>
          </a:r>
          <a:r>
            <a:rPr lang="en-US" altLang="en-US" sz="2400" b="0" dirty="0">
              <a:latin typeface="楷体" panose="02010609060101010101" pitchFamily="49" charset="-122"/>
              <a:ea typeface="楷体" panose="02010609060101010101" pitchFamily="49" charset="-122"/>
              <a:cs typeface="+mn-cs"/>
            </a:rPr>
            <a:t>. </a:t>
          </a:r>
          <a:r>
            <a:rPr lang="zh-CN" altLang="en-US" sz="2400" b="0" dirty="0">
              <a:latin typeface="楷体" panose="02010609060101010101" pitchFamily="49" charset="-122"/>
              <a:ea typeface="楷体" panose="02010609060101010101" pitchFamily="49" charset="-122"/>
              <a:cs typeface="+mn-cs"/>
            </a:rPr>
            <a:t>选题立意难度及水平</a:t>
          </a:r>
          <a:endParaRPr lang="zh-CN" altLang="en-US" sz="2300" b="0" dirty="0">
            <a:latin typeface="楷体" panose="02010609060101010101" pitchFamily="49" charset="-122"/>
            <a:ea typeface="楷体" panose="02010609060101010101" pitchFamily="49" charset="-122"/>
            <a:cs typeface="+mn-cs"/>
          </a:endParaRPr>
        </a:p>
      </dgm:t>
    </dgm:pt>
    <dgm:pt modelId="{F9A5815C-EC89-45D6-9798-F20C494BDC3C}" cxnId="{2E7BEAAF-1E82-455F-B688-82B9DCAF1361}" type="parTrans">
      <dgm:prSet/>
      <dgm:spPr/>
      <dgm:t>
        <a:bodyPr/>
        <a:lstStyle/>
        <a:p>
          <a:endParaRPr lang="zh-CN" altLang="en-US">
            <a:latin typeface="华文楷体" panose="02010600040101010101" pitchFamily="2" charset="-122"/>
            <a:ea typeface="华文楷体" panose="02010600040101010101" pitchFamily="2" charset="-122"/>
          </a:endParaRPr>
        </a:p>
      </dgm:t>
    </dgm:pt>
    <dgm:pt modelId="{D17A2B93-923A-49B7-9FF4-3AEFDF39DB22}" cxnId="{2E7BEAAF-1E82-455F-B688-82B9DCAF1361}" type="sibTrans">
      <dgm:prSet/>
      <dgm:spPr/>
      <dgm:t>
        <a:bodyPr/>
        <a:lstStyle/>
        <a:p>
          <a:endParaRPr lang="zh-CN" altLang="en-US">
            <a:latin typeface="华文楷体" panose="02010600040101010101" pitchFamily="2" charset="-122"/>
            <a:ea typeface="华文楷体" panose="02010600040101010101" pitchFamily="2" charset="-122"/>
          </a:endParaRPr>
        </a:p>
      </dgm:t>
    </dgm:pt>
    <dgm:pt modelId="{FD22B98E-1BC8-4219-A9A8-35E5E22E0E25}">
      <dgm:prSet custT="1"/>
      <dgm:spPr>
        <a:xfrm>
          <a:off x="0" y="653101"/>
          <a:ext cx="7143800" cy="553410"/>
        </a:xfrm>
      </dgm:spPr>
      <dgm:t>
        <a:bodyPr/>
        <a:lstStyle/>
        <a:p>
          <a:pPr rtl="0"/>
          <a:r>
            <a:rPr lang="en-US" sz="2400" b="0" dirty="0">
              <a:latin typeface="楷体" panose="02010609060101010101" pitchFamily="49" charset="-122"/>
              <a:ea typeface="楷体" panose="02010609060101010101" pitchFamily="49" charset="-122"/>
              <a:cs typeface="+mn-cs"/>
            </a:rPr>
            <a:t>2. </a:t>
          </a:r>
          <a:r>
            <a:rPr lang="zh-CN" altLang="en-US" sz="2400" b="0" dirty="0">
              <a:latin typeface="楷体" panose="02010609060101010101" pitchFamily="49" charset="-122"/>
              <a:ea typeface="楷体" panose="02010609060101010101" pitchFamily="49" charset="-122"/>
              <a:cs typeface="+mn-cs"/>
            </a:rPr>
            <a:t>实践任务量及完成效果</a:t>
          </a:r>
        </a:p>
      </dgm:t>
    </dgm:pt>
    <dgm:pt modelId="{7D8F26A5-621C-4F2C-B714-CF69BF5BFFC1}" cxnId="{CA19E31C-538F-4986-9D27-A0EC09DF7F2B}" type="parTrans">
      <dgm:prSet/>
      <dgm:spPr/>
      <dgm:t>
        <a:bodyPr/>
        <a:lstStyle/>
        <a:p>
          <a:endParaRPr lang="zh-CN" altLang="en-US">
            <a:latin typeface="华文楷体" panose="02010600040101010101" pitchFamily="2" charset="-122"/>
            <a:ea typeface="华文楷体" panose="02010600040101010101" pitchFamily="2" charset="-122"/>
          </a:endParaRPr>
        </a:p>
      </dgm:t>
    </dgm:pt>
    <dgm:pt modelId="{D9466AB2-4F7D-4333-9549-C288D9598DAF}" cxnId="{CA19E31C-538F-4986-9D27-A0EC09DF7F2B}" type="sibTrans">
      <dgm:prSet/>
      <dgm:spPr/>
      <dgm:t>
        <a:bodyPr/>
        <a:lstStyle/>
        <a:p>
          <a:endParaRPr lang="zh-CN" altLang="en-US">
            <a:latin typeface="华文楷体" panose="02010600040101010101" pitchFamily="2" charset="-122"/>
            <a:ea typeface="华文楷体" panose="02010600040101010101" pitchFamily="2" charset="-122"/>
          </a:endParaRPr>
        </a:p>
      </dgm:t>
    </dgm:pt>
    <dgm:pt modelId="{B586321C-40B6-4DE3-A4F3-33191A1727BB}">
      <dgm:prSet custT="1"/>
      <dgm:spPr>
        <a:xfrm>
          <a:off x="0" y="1269872"/>
          <a:ext cx="7143800" cy="553410"/>
        </a:xfrm>
      </dgm:spPr>
      <dgm:t>
        <a:bodyPr/>
        <a:lstStyle/>
        <a:p>
          <a:pPr rtl="0"/>
          <a:r>
            <a:rPr lang="en-US" altLang="en-US" sz="2400" b="0" dirty="0">
              <a:latin typeface="楷体" panose="02010609060101010101" pitchFamily="49" charset="-122"/>
              <a:ea typeface="楷体" panose="02010609060101010101" pitchFamily="49" charset="-122"/>
              <a:cs typeface="+mn-cs"/>
            </a:rPr>
            <a:t>4. </a:t>
          </a:r>
          <a:r>
            <a:rPr lang="zh-CN" altLang="en-US" sz="2400" b="0" dirty="0">
              <a:latin typeface="楷体" panose="02010609060101010101" pitchFamily="49" charset="-122"/>
              <a:ea typeface="楷体" panose="02010609060101010101" pitchFamily="49" charset="-122"/>
              <a:cs typeface="+mn-cs"/>
            </a:rPr>
            <a:t>报告或答辩完成情况</a:t>
          </a:r>
        </a:p>
      </dgm:t>
    </dgm:pt>
    <dgm:pt modelId="{78824F9B-A5FC-4B9F-A6A1-E39B21FC499A}" cxnId="{DC388840-8E09-4EC6-B779-AF56D33179C0}" type="parTrans">
      <dgm:prSet/>
      <dgm:spPr/>
      <dgm:t>
        <a:bodyPr/>
        <a:lstStyle/>
        <a:p>
          <a:endParaRPr lang="zh-CN" altLang="en-US">
            <a:latin typeface="华文楷体" panose="02010600040101010101" pitchFamily="2" charset="-122"/>
            <a:ea typeface="华文楷体" panose="02010600040101010101" pitchFamily="2" charset="-122"/>
          </a:endParaRPr>
        </a:p>
      </dgm:t>
    </dgm:pt>
    <dgm:pt modelId="{9EDA1242-CEFC-4D8B-8057-D7364D94D63F}" cxnId="{DC388840-8E09-4EC6-B779-AF56D33179C0}" type="sibTrans">
      <dgm:prSet/>
      <dgm:spPr/>
      <dgm:t>
        <a:bodyPr/>
        <a:lstStyle/>
        <a:p>
          <a:endParaRPr lang="zh-CN" altLang="en-US">
            <a:latin typeface="华文楷体" panose="02010600040101010101" pitchFamily="2" charset="-122"/>
            <a:ea typeface="华文楷体" panose="02010600040101010101" pitchFamily="2" charset="-122"/>
          </a:endParaRPr>
        </a:p>
      </dgm:t>
    </dgm:pt>
    <dgm:pt modelId="{68DFC77C-AF99-4DCB-999B-EC88289FA10B}">
      <dgm:prSet custT="1"/>
      <dgm:spPr>
        <a:xfrm>
          <a:off x="0" y="653101"/>
          <a:ext cx="7143800" cy="553410"/>
        </a:xfrm>
      </dgm:spPr>
      <dgm:t>
        <a:bodyPr/>
        <a:lstStyle/>
        <a:p>
          <a:pPr rtl="0"/>
          <a:r>
            <a:rPr lang="en-US" sz="2400" b="0" dirty="0">
              <a:latin typeface="楷体" panose="02010609060101010101" pitchFamily="49" charset="-122"/>
              <a:ea typeface="楷体" panose="02010609060101010101" pitchFamily="49" charset="-122"/>
              <a:cs typeface="+mn-cs"/>
            </a:rPr>
            <a:t>3. </a:t>
          </a:r>
          <a:r>
            <a:rPr lang="zh-CN" altLang="en-US" sz="2400" b="0" dirty="0">
              <a:latin typeface="楷体" panose="02010609060101010101" pitchFamily="49" charset="-122"/>
              <a:ea typeface="楷体" panose="02010609060101010101" pitchFamily="49" charset="-122"/>
              <a:cs typeface="+mn-cs"/>
            </a:rPr>
            <a:t>实践价值及社会影响</a:t>
          </a:r>
        </a:p>
      </dgm:t>
    </dgm:pt>
    <dgm:pt modelId="{56DE17D3-9A99-4B4F-952A-2A57CA8B9ECE}" cxnId="{A3482F7D-A96C-4948-B20C-63827EDB8416}" type="parTrans">
      <dgm:prSet/>
      <dgm:spPr/>
      <dgm:t>
        <a:bodyPr/>
        <a:lstStyle/>
        <a:p>
          <a:endParaRPr lang="zh-CN" altLang="en-US">
            <a:latin typeface="华文楷体" panose="02010600040101010101" pitchFamily="2" charset="-122"/>
            <a:ea typeface="华文楷体" panose="02010600040101010101" pitchFamily="2" charset="-122"/>
          </a:endParaRPr>
        </a:p>
      </dgm:t>
    </dgm:pt>
    <dgm:pt modelId="{ECD4510A-27D6-43C1-A424-6A38C2CAFEA9}" cxnId="{A3482F7D-A96C-4948-B20C-63827EDB8416}" type="sibTrans">
      <dgm:prSet/>
      <dgm:spPr/>
      <dgm:t>
        <a:bodyPr/>
        <a:lstStyle/>
        <a:p>
          <a:endParaRPr lang="zh-CN" altLang="en-US">
            <a:latin typeface="华文楷体" panose="02010600040101010101" pitchFamily="2" charset="-122"/>
            <a:ea typeface="华文楷体" panose="02010600040101010101" pitchFamily="2" charset="-122"/>
          </a:endParaRPr>
        </a:p>
      </dgm:t>
    </dgm:pt>
    <dgm:pt modelId="{90236FA5-A3F1-467A-AE5B-51B0CFD9B333}" type="pres">
      <dgm:prSet presAssocID="{83D41C22-0D9C-4F9D-8BAC-7CF284EA3958}" presName="linear" presStyleCnt="0">
        <dgm:presLayoutVars>
          <dgm:animLvl val="lvl"/>
          <dgm:resizeHandles val="exact"/>
        </dgm:presLayoutVars>
      </dgm:prSet>
      <dgm:spPr/>
    </dgm:pt>
    <dgm:pt modelId="{FCAFFF10-DEE8-497E-A1AF-03465EB50B0E}" type="pres">
      <dgm:prSet presAssocID="{AA5C85CC-4239-4C6D-A17E-19CA23FC26B1}" presName="parentText" presStyleLbl="node1" presStyleIdx="0" presStyleCnt="4">
        <dgm:presLayoutVars>
          <dgm:chMax val="0"/>
          <dgm:bulletEnabled val="1"/>
        </dgm:presLayoutVars>
      </dgm:prSet>
      <dgm:spPr>
        <a:prstGeom prst="roundRect">
          <a:avLst/>
        </a:prstGeom>
      </dgm:spPr>
    </dgm:pt>
    <dgm:pt modelId="{D637C0DF-FEB8-4CE1-B175-DCFD8B6EC098}" type="pres">
      <dgm:prSet presAssocID="{D17A2B93-923A-49B7-9FF4-3AEFDF39DB22}" presName="spacer" presStyleCnt="0"/>
      <dgm:spPr/>
    </dgm:pt>
    <dgm:pt modelId="{3D8F3394-6DFD-442D-A77F-C542B8B4AAB4}" type="pres">
      <dgm:prSet presAssocID="{FD22B98E-1BC8-4219-A9A8-35E5E22E0E25}" presName="parentText" presStyleLbl="node1" presStyleIdx="1" presStyleCnt="4" custLinFactNeighborX="-177">
        <dgm:presLayoutVars>
          <dgm:chMax val="0"/>
          <dgm:bulletEnabled val="1"/>
        </dgm:presLayoutVars>
      </dgm:prSet>
      <dgm:spPr>
        <a:prstGeom prst="roundRect">
          <a:avLst/>
        </a:prstGeom>
      </dgm:spPr>
    </dgm:pt>
    <dgm:pt modelId="{B341C832-9AC0-40B6-B9C7-B7AEF1B4AE85}" type="pres">
      <dgm:prSet presAssocID="{D9466AB2-4F7D-4333-9549-C288D9598DAF}" presName="spacer" presStyleCnt="0"/>
      <dgm:spPr/>
    </dgm:pt>
    <dgm:pt modelId="{16EE858B-E297-4C4C-92D2-2B9B0600A589}" type="pres">
      <dgm:prSet presAssocID="{68DFC77C-AF99-4DCB-999B-EC88289FA10B}" presName="parentText" presStyleLbl="node1" presStyleIdx="2" presStyleCnt="4" custLinFactNeighborY="28349">
        <dgm:presLayoutVars>
          <dgm:chMax val="0"/>
          <dgm:bulletEnabled val="1"/>
        </dgm:presLayoutVars>
      </dgm:prSet>
      <dgm:spPr>
        <a:prstGeom prst="roundRect">
          <a:avLst/>
        </a:prstGeom>
      </dgm:spPr>
    </dgm:pt>
    <dgm:pt modelId="{BE4AB288-0F4B-46AF-A40A-F201CCFF72A2}" type="pres">
      <dgm:prSet presAssocID="{ECD4510A-27D6-43C1-A424-6A38C2CAFEA9}" presName="spacer" presStyleCnt="0"/>
      <dgm:spPr/>
    </dgm:pt>
    <dgm:pt modelId="{E5B16347-4A20-4B1D-84D6-39A6182C2627}" type="pres">
      <dgm:prSet presAssocID="{B586321C-40B6-4DE3-A4F3-33191A1727BB}" presName="parentText" presStyleLbl="node1" presStyleIdx="3" presStyleCnt="4">
        <dgm:presLayoutVars>
          <dgm:chMax val="0"/>
          <dgm:bulletEnabled val="1"/>
        </dgm:presLayoutVars>
      </dgm:prSet>
      <dgm:spPr>
        <a:prstGeom prst="roundRect">
          <a:avLst/>
        </a:prstGeom>
      </dgm:spPr>
    </dgm:pt>
  </dgm:ptLst>
  <dgm:cxnLst>
    <dgm:cxn modelId="{CA19E31C-538F-4986-9D27-A0EC09DF7F2B}" srcId="{83D41C22-0D9C-4F9D-8BAC-7CF284EA3958}" destId="{FD22B98E-1BC8-4219-A9A8-35E5E22E0E25}" srcOrd="1" destOrd="0" parTransId="{7D8F26A5-621C-4F2C-B714-CF69BF5BFFC1}" sibTransId="{D9466AB2-4F7D-4333-9549-C288D9598DAF}"/>
    <dgm:cxn modelId="{387D1035-6FC8-427C-9350-A79CF7E52DF9}" type="presOf" srcId="{FD22B98E-1BC8-4219-A9A8-35E5E22E0E25}" destId="{3D8F3394-6DFD-442D-A77F-C542B8B4AAB4}" srcOrd="0" destOrd="0" presId="urn:microsoft.com/office/officeart/2005/8/layout/vList2#4"/>
    <dgm:cxn modelId="{8DFA133E-E150-43DC-BB37-E5DD34AC9635}" type="presOf" srcId="{68DFC77C-AF99-4DCB-999B-EC88289FA10B}" destId="{16EE858B-E297-4C4C-92D2-2B9B0600A589}" srcOrd="0" destOrd="0" presId="urn:microsoft.com/office/officeart/2005/8/layout/vList2#4"/>
    <dgm:cxn modelId="{DC388840-8E09-4EC6-B779-AF56D33179C0}" srcId="{83D41C22-0D9C-4F9D-8BAC-7CF284EA3958}" destId="{B586321C-40B6-4DE3-A4F3-33191A1727BB}" srcOrd="3" destOrd="0" parTransId="{78824F9B-A5FC-4B9F-A6A1-E39B21FC499A}" sibTransId="{9EDA1242-CEFC-4D8B-8057-D7364D94D63F}"/>
    <dgm:cxn modelId="{F99D4F76-D0A3-486B-BA90-7F489F30B94B}" type="presOf" srcId="{AA5C85CC-4239-4C6D-A17E-19CA23FC26B1}" destId="{FCAFFF10-DEE8-497E-A1AF-03465EB50B0E}" srcOrd="0" destOrd="0" presId="urn:microsoft.com/office/officeart/2005/8/layout/vList2#4"/>
    <dgm:cxn modelId="{A3482F7D-A96C-4948-B20C-63827EDB8416}" srcId="{83D41C22-0D9C-4F9D-8BAC-7CF284EA3958}" destId="{68DFC77C-AF99-4DCB-999B-EC88289FA10B}" srcOrd="2" destOrd="0" parTransId="{56DE17D3-9A99-4B4F-952A-2A57CA8B9ECE}" sibTransId="{ECD4510A-27D6-43C1-A424-6A38C2CAFEA9}"/>
    <dgm:cxn modelId="{2E7BEAAF-1E82-455F-B688-82B9DCAF1361}" srcId="{83D41C22-0D9C-4F9D-8BAC-7CF284EA3958}" destId="{AA5C85CC-4239-4C6D-A17E-19CA23FC26B1}" srcOrd="0" destOrd="0" parTransId="{F9A5815C-EC89-45D6-9798-F20C494BDC3C}" sibTransId="{D17A2B93-923A-49B7-9FF4-3AEFDF39DB22}"/>
    <dgm:cxn modelId="{5F8B93D2-24AA-499C-BF45-D24B94502741}" type="presOf" srcId="{B586321C-40B6-4DE3-A4F3-33191A1727BB}" destId="{E5B16347-4A20-4B1D-84D6-39A6182C2627}" srcOrd="0" destOrd="0" presId="urn:microsoft.com/office/officeart/2005/8/layout/vList2#4"/>
    <dgm:cxn modelId="{6ADD2BEA-55A8-4223-B011-761C38C9F50D}" type="presOf" srcId="{83D41C22-0D9C-4F9D-8BAC-7CF284EA3958}" destId="{90236FA5-A3F1-467A-AE5B-51B0CFD9B333}" srcOrd="0" destOrd="0" presId="urn:microsoft.com/office/officeart/2005/8/layout/vList2#4"/>
    <dgm:cxn modelId="{AA479186-7E13-49CE-AE14-C734A9ADC580}" type="presParOf" srcId="{90236FA5-A3F1-467A-AE5B-51B0CFD9B333}" destId="{FCAFFF10-DEE8-497E-A1AF-03465EB50B0E}" srcOrd="0" destOrd="0" presId="urn:microsoft.com/office/officeart/2005/8/layout/vList2#4"/>
    <dgm:cxn modelId="{4378CF80-35A9-46E3-82BB-495ADD676666}" type="presParOf" srcId="{90236FA5-A3F1-467A-AE5B-51B0CFD9B333}" destId="{D637C0DF-FEB8-4CE1-B175-DCFD8B6EC098}" srcOrd="1" destOrd="0" presId="urn:microsoft.com/office/officeart/2005/8/layout/vList2#4"/>
    <dgm:cxn modelId="{3487A186-8D59-4465-B20C-E35901E5FDE3}" type="presParOf" srcId="{90236FA5-A3F1-467A-AE5B-51B0CFD9B333}" destId="{3D8F3394-6DFD-442D-A77F-C542B8B4AAB4}" srcOrd="2" destOrd="0" presId="urn:microsoft.com/office/officeart/2005/8/layout/vList2#4"/>
    <dgm:cxn modelId="{39197C4D-A127-49FE-8B3F-038220C4D91A}" type="presParOf" srcId="{90236FA5-A3F1-467A-AE5B-51B0CFD9B333}" destId="{B341C832-9AC0-40B6-B9C7-B7AEF1B4AE85}" srcOrd="3" destOrd="0" presId="urn:microsoft.com/office/officeart/2005/8/layout/vList2#4"/>
    <dgm:cxn modelId="{B4254C2C-A200-42D8-9024-451047D8BA19}" type="presParOf" srcId="{90236FA5-A3F1-467A-AE5B-51B0CFD9B333}" destId="{16EE858B-E297-4C4C-92D2-2B9B0600A589}" srcOrd="4" destOrd="0" presId="urn:microsoft.com/office/officeart/2005/8/layout/vList2#4"/>
    <dgm:cxn modelId="{8C337878-14EB-4B65-A43F-43F9C57A4575}" type="presParOf" srcId="{90236FA5-A3F1-467A-AE5B-51B0CFD9B333}" destId="{BE4AB288-0F4B-46AF-A40A-F201CCFF72A2}" srcOrd="5" destOrd="0" presId="urn:microsoft.com/office/officeart/2005/8/layout/vList2#4"/>
    <dgm:cxn modelId="{9C17CC99-0E2E-4F06-B95E-295553546250}" type="presParOf" srcId="{90236FA5-A3F1-467A-AE5B-51B0CFD9B333}" destId="{E5B16347-4A20-4B1D-84D6-39A6182C2627}" srcOrd="6" destOrd="0" presId="urn:microsoft.com/office/officeart/2005/8/layout/vList2#4"/>
  </dgm:cxnLst>
  <dgm:bg/>
  <dgm:whole/>
  <dgm:extLst>
    <a:ext uri="http://schemas.microsoft.com/office/drawing/2008/diagram">
      <dsp:dataModelExt xmlns:dsp="http://schemas.microsoft.com/office/drawing/2008/diagram" relId="rId5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24215940-6217-4906-A8B7-37DAD8840395}" type="doc">
      <dgm:prSet loTypeId="urn:microsoft.com/office/officeart/2005/8/layout/vList2#3" loCatId="list" qsTypeId="urn:microsoft.com/office/officeart/2005/8/quickstyle/simple5#3" qsCatId="simple" csTypeId="urn:microsoft.com/office/officeart/2005/8/colors/accent1_5#3" csCatId="accent1" phldr="1"/>
      <dgm:spPr/>
      <dgm:t>
        <a:bodyPr/>
        <a:lstStyle/>
        <a:p>
          <a:endParaRPr lang="zh-CN" altLang="en-US"/>
        </a:p>
      </dgm:t>
    </dgm:pt>
    <dgm:pt modelId="{51567794-658C-437C-BED6-E350433BF24A}" type="pres">
      <dgm:prSet presAssocID="{24215940-6217-4906-A8B7-37DAD8840395}" presName="linear" presStyleCnt="0">
        <dgm:presLayoutVars>
          <dgm:animLvl val="lvl"/>
          <dgm:resizeHandles val="exact"/>
        </dgm:presLayoutVars>
      </dgm:prSet>
      <dgm:spPr/>
    </dgm:pt>
  </dgm:ptLst>
  <dgm:cxnLst>
    <dgm:cxn modelId="{95720CEC-D6A4-4BF0-AB5F-83B127C0B239}" type="presOf" srcId="{24215940-6217-4906-A8B7-37DAD8840395}" destId="{51567794-658C-437C-BED6-E350433BF24A}" srcOrd="0" destOrd="0" presId="urn:microsoft.com/office/officeart/2005/8/layout/vList2#3"/>
  </dgm:cxnLst>
  <dgm:bg/>
  <dgm:whole/>
  <dgm:extLst>
    <a:ext uri="http://schemas.microsoft.com/office/drawing/2008/diagram">
      <dsp:dataModelExt xmlns:dsp="http://schemas.microsoft.com/office/drawing/2008/diagram" relId="rId5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1EB20CED-F7CC-4F7E-943A-EE11B4C4FC5F}" type="doc">
      <dgm:prSet loTypeId="urn:microsoft.com/office/officeart/2005/8/layout/cycle8#1" loCatId="cycle" qsTypeId="urn:microsoft.com/office/officeart/2005/8/quickstyle/3d1#2" qsCatId="3D" csTypeId="urn:microsoft.com/office/officeart/2005/8/colors/colorful2#1" csCatId="colorful" phldr="1"/>
      <dgm:spPr/>
    </dgm:pt>
    <dgm:pt modelId="{18302954-8806-41D6-B32D-BAA14DB52904}">
      <dgm:prSet phldrT="[文本]" custT="1"/>
      <dgm:spPr/>
      <dgm:t>
        <a:bodyPr/>
        <a:lstStyle/>
        <a:p>
          <a:r>
            <a:rPr lang="zh-CN" altLang="en-US" sz="2400" b="1" dirty="0">
              <a:latin typeface="微软雅黑" panose="020B0503020204020204" pitchFamily="34" charset="-122"/>
              <a:ea typeface="微软雅黑" panose="020B0503020204020204" pitchFamily="34" charset="-122"/>
            </a:rPr>
            <a:t>材料评阅</a:t>
          </a:r>
        </a:p>
      </dgm:t>
    </dgm:pt>
    <dgm:pt modelId="{9F49A260-2740-4699-8069-A30528B8E124}" cxnId="{064A5024-31DD-42EB-BA42-9ABF96574699}" type="parTrans">
      <dgm:prSet/>
      <dgm:spPr/>
      <dgm:t>
        <a:bodyPr/>
        <a:lstStyle/>
        <a:p>
          <a:endParaRPr lang="zh-CN" altLang="en-US"/>
        </a:p>
      </dgm:t>
    </dgm:pt>
    <dgm:pt modelId="{4B3551C4-9446-4F10-B82C-EBD55D92DD6B}" cxnId="{064A5024-31DD-42EB-BA42-9ABF96574699}" type="sibTrans">
      <dgm:prSet/>
      <dgm:spPr/>
      <dgm:t>
        <a:bodyPr/>
        <a:lstStyle/>
        <a:p>
          <a:endParaRPr lang="zh-CN" altLang="en-US"/>
        </a:p>
      </dgm:t>
    </dgm:pt>
    <dgm:pt modelId="{3669886F-22AA-4715-857E-8532E33A32AB}">
      <dgm:prSet phldrT="[文本]" custT="1"/>
      <dgm:spPr/>
      <dgm:t>
        <a:bodyPr/>
        <a:lstStyle/>
        <a:p>
          <a:r>
            <a:rPr lang="zh-CN" altLang="en-US" sz="2400" b="1" dirty="0">
              <a:latin typeface="微软雅黑" panose="020B0503020204020204" pitchFamily="34" charset="-122"/>
              <a:ea typeface="微软雅黑" panose="020B0503020204020204" pitchFamily="34" charset="-122"/>
            </a:rPr>
            <a:t>答辩展示</a:t>
          </a:r>
        </a:p>
      </dgm:t>
    </dgm:pt>
    <dgm:pt modelId="{12A2289E-1A6D-4C32-8179-874031F3355E}" cxnId="{EBE03B45-5C23-4830-AF41-A34F86A7EB90}" type="parTrans">
      <dgm:prSet/>
      <dgm:spPr/>
      <dgm:t>
        <a:bodyPr/>
        <a:lstStyle/>
        <a:p>
          <a:endParaRPr lang="zh-CN" altLang="en-US"/>
        </a:p>
      </dgm:t>
    </dgm:pt>
    <dgm:pt modelId="{9F1CE674-CF89-4637-82D7-25B8DB4B9DD7}" cxnId="{EBE03B45-5C23-4830-AF41-A34F86A7EB90}" type="sibTrans">
      <dgm:prSet/>
      <dgm:spPr/>
      <dgm:t>
        <a:bodyPr/>
        <a:lstStyle/>
        <a:p>
          <a:endParaRPr lang="zh-CN" altLang="en-US"/>
        </a:p>
      </dgm:t>
    </dgm:pt>
    <dgm:pt modelId="{B4113C30-D363-42F6-89B5-CEDA360ED247}" type="pres">
      <dgm:prSet presAssocID="{1EB20CED-F7CC-4F7E-943A-EE11B4C4FC5F}" presName="compositeShape" presStyleCnt="0">
        <dgm:presLayoutVars>
          <dgm:chMax val="7"/>
          <dgm:dir/>
          <dgm:resizeHandles val="exact"/>
        </dgm:presLayoutVars>
      </dgm:prSet>
      <dgm:spPr/>
    </dgm:pt>
    <dgm:pt modelId="{B30F19E6-F429-46C6-8EDB-1B247B7D2D5E}" type="pres">
      <dgm:prSet presAssocID="{1EB20CED-F7CC-4F7E-943A-EE11B4C4FC5F}" presName="wedge1" presStyleLbl="node1" presStyleIdx="0" presStyleCnt="2" custLinFactNeighborX="272" custLinFactNeighborY="23639"/>
      <dgm:spPr/>
    </dgm:pt>
    <dgm:pt modelId="{03937221-1F93-440D-8A34-199CB66B8D5F}" type="pres">
      <dgm:prSet presAssocID="{1EB20CED-F7CC-4F7E-943A-EE11B4C4FC5F}" presName="dummy1a" presStyleCnt="0"/>
      <dgm:spPr/>
    </dgm:pt>
    <dgm:pt modelId="{C57A01C6-E19B-4BC8-BCA0-06F99CC33AC7}" type="pres">
      <dgm:prSet presAssocID="{1EB20CED-F7CC-4F7E-943A-EE11B4C4FC5F}" presName="dummy1b" presStyleCnt="0"/>
      <dgm:spPr/>
    </dgm:pt>
    <dgm:pt modelId="{3C7FFFBA-8265-4497-AC7C-A4B2E3C6E413}" type="pres">
      <dgm:prSet presAssocID="{1EB20CED-F7CC-4F7E-943A-EE11B4C4FC5F}" presName="wedge1Tx" presStyleLbl="node1" presStyleIdx="0" presStyleCnt="2">
        <dgm:presLayoutVars>
          <dgm:chMax val="0"/>
          <dgm:chPref val="0"/>
          <dgm:bulletEnabled val="1"/>
        </dgm:presLayoutVars>
      </dgm:prSet>
      <dgm:spPr/>
    </dgm:pt>
    <dgm:pt modelId="{3261B734-869D-4A18-B855-77F6760F9306}" type="pres">
      <dgm:prSet presAssocID="{1EB20CED-F7CC-4F7E-943A-EE11B4C4FC5F}" presName="wedge2" presStyleLbl="node1" presStyleIdx="1" presStyleCnt="2" custLinFactNeighborX="3237" custLinFactNeighborY="24930"/>
      <dgm:spPr/>
    </dgm:pt>
    <dgm:pt modelId="{3BDBF456-F727-4C55-A741-BD56F70AC07D}" type="pres">
      <dgm:prSet presAssocID="{1EB20CED-F7CC-4F7E-943A-EE11B4C4FC5F}" presName="dummy2a" presStyleCnt="0"/>
      <dgm:spPr/>
    </dgm:pt>
    <dgm:pt modelId="{D8E6E712-45CE-4061-80E1-ECF9B648B7EA}" type="pres">
      <dgm:prSet presAssocID="{1EB20CED-F7CC-4F7E-943A-EE11B4C4FC5F}" presName="dummy2b" presStyleCnt="0"/>
      <dgm:spPr/>
    </dgm:pt>
    <dgm:pt modelId="{247176C2-05FF-4C37-9A5B-ABBD8DA063D0}" type="pres">
      <dgm:prSet presAssocID="{1EB20CED-F7CC-4F7E-943A-EE11B4C4FC5F}" presName="wedge2Tx" presStyleLbl="node1" presStyleIdx="1" presStyleCnt="2">
        <dgm:presLayoutVars>
          <dgm:chMax val="0"/>
          <dgm:chPref val="0"/>
          <dgm:bulletEnabled val="1"/>
        </dgm:presLayoutVars>
      </dgm:prSet>
      <dgm:spPr/>
    </dgm:pt>
    <dgm:pt modelId="{24B7A856-B891-4594-ACB2-4BBC37A12AC5}" type="pres">
      <dgm:prSet presAssocID="{4B3551C4-9446-4F10-B82C-EBD55D92DD6B}" presName="arrowWedge1" presStyleLbl="fgSibTrans2D1" presStyleIdx="0" presStyleCnt="2"/>
      <dgm:spPr/>
    </dgm:pt>
    <dgm:pt modelId="{72FE8A93-D6CE-40D5-94CC-C8A245B29072}" type="pres">
      <dgm:prSet presAssocID="{9F1CE674-CF89-4637-82D7-25B8DB4B9DD7}" presName="arrowWedge2" presStyleLbl="fgSibTrans2D1" presStyleIdx="1" presStyleCnt="2"/>
      <dgm:spPr/>
    </dgm:pt>
  </dgm:ptLst>
  <dgm:cxnLst>
    <dgm:cxn modelId="{2BFCEB15-581F-4329-8511-8CBD31F414B7}" type="presOf" srcId="{3669886F-22AA-4715-857E-8532E33A32AB}" destId="{247176C2-05FF-4C37-9A5B-ABBD8DA063D0}" srcOrd="1" destOrd="0" presId="urn:microsoft.com/office/officeart/2005/8/layout/cycle8#1"/>
    <dgm:cxn modelId="{064A5024-31DD-42EB-BA42-9ABF96574699}" srcId="{1EB20CED-F7CC-4F7E-943A-EE11B4C4FC5F}" destId="{18302954-8806-41D6-B32D-BAA14DB52904}" srcOrd="0" destOrd="0" parTransId="{9F49A260-2740-4699-8069-A30528B8E124}" sibTransId="{4B3551C4-9446-4F10-B82C-EBD55D92DD6B}"/>
    <dgm:cxn modelId="{EBE03B45-5C23-4830-AF41-A34F86A7EB90}" srcId="{1EB20CED-F7CC-4F7E-943A-EE11B4C4FC5F}" destId="{3669886F-22AA-4715-857E-8532E33A32AB}" srcOrd="1" destOrd="0" parTransId="{12A2289E-1A6D-4C32-8179-874031F3355E}" sibTransId="{9F1CE674-CF89-4637-82D7-25B8DB4B9DD7}"/>
    <dgm:cxn modelId="{8BEAB475-BE8A-400C-8F83-95935DC00444}" type="presOf" srcId="{18302954-8806-41D6-B32D-BAA14DB52904}" destId="{3C7FFFBA-8265-4497-AC7C-A4B2E3C6E413}" srcOrd="1" destOrd="0" presId="urn:microsoft.com/office/officeart/2005/8/layout/cycle8#1"/>
    <dgm:cxn modelId="{AF447A88-3EB0-4176-8E23-78D67EC0136E}" type="presOf" srcId="{3669886F-22AA-4715-857E-8532E33A32AB}" destId="{3261B734-869D-4A18-B855-77F6760F9306}" srcOrd="0" destOrd="0" presId="urn:microsoft.com/office/officeart/2005/8/layout/cycle8#1"/>
    <dgm:cxn modelId="{C8BCDEF1-7F19-4331-9054-0C5C1A1B3A63}" type="presOf" srcId="{18302954-8806-41D6-B32D-BAA14DB52904}" destId="{B30F19E6-F429-46C6-8EDB-1B247B7D2D5E}" srcOrd="0" destOrd="0" presId="urn:microsoft.com/office/officeart/2005/8/layout/cycle8#1"/>
    <dgm:cxn modelId="{7C9A24F3-66C9-4D91-9D18-3E83202FFDC4}" type="presOf" srcId="{1EB20CED-F7CC-4F7E-943A-EE11B4C4FC5F}" destId="{B4113C30-D363-42F6-89B5-CEDA360ED247}" srcOrd="0" destOrd="0" presId="urn:microsoft.com/office/officeart/2005/8/layout/cycle8#1"/>
    <dgm:cxn modelId="{7631F8C2-170B-4A71-823D-D2DBF9D866A5}" type="presParOf" srcId="{B4113C30-D363-42F6-89B5-CEDA360ED247}" destId="{B30F19E6-F429-46C6-8EDB-1B247B7D2D5E}" srcOrd="0" destOrd="0" presId="urn:microsoft.com/office/officeart/2005/8/layout/cycle8#1"/>
    <dgm:cxn modelId="{115014BA-6F0C-49AA-A17D-58161A60879C}" type="presParOf" srcId="{B4113C30-D363-42F6-89B5-CEDA360ED247}" destId="{03937221-1F93-440D-8A34-199CB66B8D5F}" srcOrd="1" destOrd="0" presId="urn:microsoft.com/office/officeart/2005/8/layout/cycle8#1"/>
    <dgm:cxn modelId="{C97484BD-AAE3-47F3-87B3-EC4102A60FB1}" type="presParOf" srcId="{B4113C30-D363-42F6-89B5-CEDA360ED247}" destId="{C57A01C6-E19B-4BC8-BCA0-06F99CC33AC7}" srcOrd="2" destOrd="0" presId="urn:microsoft.com/office/officeart/2005/8/layout/cycle8#1"/>
    <dgm:cxn modelId="{5392EC7F-1FD1-4B0A-AA35-E189C18A173F}" type="presParOf" srcId="{B4113C30-D363-42F6-89B5-CEDA360ED247}" destId="{3C7FFFBA-8265-4497-AC7C-A4B2E3C6E413}" srcOrd="3" destOrd="0" presId="urn:microsoft.com/office/officeart/2005/8/layout/cycle8#1"/>
    <dgm:cxn modelId="{72D0778C-5C2F-4C57-9C47-2FCB4D6051CF}" type="presParOf" srcId="{B4113C30-D363-42F6-89B5-CEDA360ED247}" destId="{3261B734-869D-4A18-B855-77F6760F9306}" srcOrd="4" destOrd="0" presId="urn:microsoft.com/office/officeart/2005/8/layout/cycle8#1"/>
    <dgm:cxn modelId="{7DE2AF7B-964B-4453-8DC1-73392A2B75AE}" type="presParOf" srcId="{B4113C30-D363-42F6-89B5-CEDA360ED247}" destId="{3BDBF456-F727-4C55-A741-BD56F70AC07D}" srcOrd="5" destOrd="0" presId="urn:microsoft.com/office/officeart/2005/8/layout/cycle8#1"/>
    <dgm:cxn modelId="{FB301FB9-5C3B-46A2-B86A-63D7D32E7195}" type="presParOf" srcId="{B4113C30-D363-42F6-89B5-CEDA360ED247}" destId="{D8E6E712-45CE-4061-80E1-ECF9B648B7EA}" srcOrd="6" destOrd="0" presId="urn:microsoft.com/office/officeart/2005/8/layout/cycle8#1"/>
    <dgm:cxn modelId="{A4DC189F-658F-4EE3-AC61-7251039CA885}" type="presParOf" srcId="{B4113C30-D363-42F6-89B5-CEDA360ED247}" destId="{247176C2-05FF-4C37-9A5B-ABBD8DA063D0}" srcOrd="7" destOrd="0" presId="urn:microsoft.com/office/officeart/2005/8/layout/cycle8#1"/>
    <dgm:cxn modelId="{AA8DFA7F-A215-4FE7-BD3C-6C92249A5E63}" type="presParOf" srcId="{B4113C30-D363-42F6-89B5-CEDA360ED247}" destId="{24B7A856-B891-4594-ACB2-4BBC37A12AC5}" srcOrd="8" destOrd="0" presId="urn:microsoft.com/office/officeart/2005/8/layout/cycle8#1"/>
    <dgm:cxn modelId="{45D29375-371C-4CD7-BBA1-AA75EAF3955C}" type="presParOf" srcId="{B4113C30-D363-42F6-89B5-CEDA360ED247}" destId="{72FE8A93-D6CE-40D5-94CC-C8A245B29072}" srcOrd="9" destOrd="0" presId="urn:microsoft.com/office/officeart/2005/8/layout/cycle8#1"/>
  </dgm:cxnLst>
  <dgm:bg/>
  <dgm:whole/>
  <dgm:extLst>
    <a:ext uri="http://schemas.microsoft.com/office/drawing/2008/diagram">
      <dsp:dataModelExt xmlns:dsp="http://schemas.microsoft.com/office/drawing/2008/diagram" relId="rId10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24215940-6217-4906-A8B7-37DAD8840395}" type="doc">
      <dgm:prSet loTypeId="urn:microsoft.com/office/officeart/2005/8/layout/vList2#3" loCatId="list" qsTypeId="urn:microsoft.com/office/officeart/2005/8/quickstyle/simple5#3" qsCatId="simple" csTypeId="urn:microsoft.com/office/officeart/2005/8/colors/accent1_5#3" csCatId="accent1" phldr="1"/>
      <dgm:spPr/>
      <dgm:t>
        <a:bodyPr/>
        <a:lstStyle/>
        <a:p>
          <a:endParaRPr lang="zh-CN" altLang="en-US"/>
        </a:p>
      </dgm:t>
    </dgm:pt>
    <dgm:pt modelId="{51567794-658C-437C-BED6-E350433BF24A}" type="pres">
      <dgm:prSet presAssocID="{24215940-6217-4906-A8B7-37DAD8840395}" presName="linear" presStyleCnt="0">
        <dgm:presLayoutVars>
          <dgm:animLvl val="lvl"/>
          <dgm:resizeHandles val="exact"/>
        </dgm:presLayoutVars>
      </dgm:prSet>
      <dgm:spPr/>
    </dgm:pt>
  </dgm:ptLst>
  <dgm:cxnLst>
    <dgm:cxn modelId="{95720CEC-D6A4-4BF0-AB5F-83B127C0B239}" type="presOf" srcId="{24215940-6217-4906-A8B7-37DAD8840395}" destId="{51567794-658C-437C-BED6-E350433BF24A}" srcOrd="0" destOrd="0" presId="urn:microsoft.com/office/officeart/2005/8/layout/vList2#3"/>
  </dgm:cxnLst>
  <dgm:bg/>
  <dgm:whole/>
  <dgm:extLst>
    <a:ext uri="http://schemas.microsoft.com/office/drawing/2008/diagram">
      <dsp:dataModelExt xmlns:dsp="http://schemas.microsoft.com/office/drawing/2008/diagram" relId="rId5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24215940-6217-4906-A8B7-37DAD8840395}" type="doc">
      <dgm:prSet loTypeId="urn:microsoft.com/office/officeart/2005/8/layout/vList2#3" loCatId="list" qsTypeId="urn:microsoft.com/office/officeart/2005/8/quickstyle/simple5#3" qsCatId="simple" csTypeId="urn:microsoft.com/office/officeart/2005/8/colors/accent1_5#3" csCatId="accent1" phldr="1"/>
      <dgm:spPr/>
      <dgm:t>
        <a:bodyPr/>
        <a:lstStyle/>
        <a:p>
          <a:endParaRPr lang="zh-CN" altLang="en-US"/>
        </a:p>
      </dgm:t>
    </dgm:pt>
    <dgm:pt modelId="{51567794-658C-437C-BED6-E350433BF24A}" type="pres">
      <dgm:prSet presAssocID="{24215940-6217-4906-A8B7-37DAD8840395}" presName="linear" presStyleCnt="0">
        <dgm:presLayoutVars>
          <dgm:animLvl val="lvl"/>
          <dgm:resizeHandles val="exact"/>
        </dgm:presLayoutVars>
      </dgm:prSet>
      <dgm:spPr/>
    </dgm:pt>
  </dgm:ptLst>
  <dgm:cxnLst>
    <dgm:cxn modelId="{95720CEC-D6A4-4BF0-AB5F-83B127C0B239}" type="presOf" srcId="{24215940-6217-4906-A8B7-37DAD8840395}" destId="{51567794-658C-437C-BED6-E350433BF24A}" srcOrd="0" destOrd="0" presId="urn:microsoft.com/office/officeart/2005/8/layout/vList2#3"/>
  </dgm:cxnLst>
  <dgm:bg/>
  <dgm:whole/>
  <dgm:extLst>
    <a:ext uri="http://schemas.microsoft.com/office/drawing/2008/diagram">
      <dsp:dataModelExt xmlns:dsp="http://schemas.microsoft.com/office/drawing/2008/diagram" relId="rId5" minVer="http://schemas.openxmlformats.org/drawingml/2006/diagram"/>
    </a:ext>
  </dgm:extLst>
</dgm:dataModel>
</file>

<file path=ppt/diagrams/data6.xml><?xml version="1.0" encoding="utf-8"?>
<dgm:dataModel xmlns:dgm="http://schemas.openxmlformats.org/drawingml/2006/diagram" xmlns:a="http://schemas.openxmlformats.org/drawingml/2006/main">
  <dgm:ptLst>
    <dgm:pt modelId="{24215940-6217-4906-A8B7-37DAD8840395}" type="doc">
      <dgm:prSet loTypeId="urn:microsoft.com/office/officeart/2005/8/layout/vList2#3" loCatId="list" qsTypeId="urn:microsoft.com/office/officeart/2005/8/quickstyle/simple5#3" qsCatId="simple" csTypeId="urn:microsoft.com/office/officeart/2005/8/colors/accent1_5#3" csCatId="accent1" phldr="1"/>
      <dgm:spPr/>
      <dgm:t>
        <a:bodyPr/>
        <a:lstStyle/>
        <a:p>
          <a:endParaRPr lang="zh-CN" altLang="en-US"/>
        </a:p>
      </dgm:t>
    </dgm:pt>
    <dgm:pt modelId="{51567794-658C-437C-BED6-E350433BF24A}" type="pres">
      <dgm:prSet presAssocID="{24215940-6217-4906-A8B7-37DAD8840395}" presName="linear" presStyleCnt="0">
        <dgm:presLayoutVars>
          <dgm:animLvl val="lvl"/>
          <dgm:resizeHandles val="exact"/>
        </dgm:presLayoutVars>
      </dgm:prSet>
      <dgm:spPr/>
    </dgm:pt>
  </dgm:ptLst>
  <dgm:cxnLst>
    <dgm:cxn modelId="{95720CEC-D6A4-4BF0-AB5F-83B127C0B239}" type="presOf" srcId="{24215940-6217-4906-A8B7-37DAD8840395}" destId="{51567794-658C-437C-BED6-E350433BF24A}" srcOrd="0" destOrd="0" presId="urn:microsoft.com/office/officeart/2005/8/layout/vList2#3"/>
  </dgm:cxnLst>
  <dgm:bg/>
  <dgm:whole/>
  <dgm:extLst>
    <a:ext uri="http://schemas.microsoft.com/office/drawing/2008/diagram">
      <dsp:dataModelExt xmlns:dsp="http://schemas.microsoft.com/office/drawing/2008/diagram" relId="rId5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 xmlns:r="http://schemas.openxmlformats.org/officeDocument/2006/relationships">
  <dsp:spTree>
    <dsp:nvGrpSpPr>
      <dsp:cNvPr id="2" name="组合 1"/>
      <dsp:cNvGrpSpPr/>
    </dsp:nvGrpSpPr>
    <dsp:grpSpPr>
      <a:xfrm>
        <a:off x="0" y="0"/>
        <a:ext cx="6727082" cy="3024336"/>
        <a:chOff x="0" y="0"/>
        <a:chExt cx="6727082" cy="3024336"/>
      </a:xfrm>
    </dsp:grpSpPr>
    <dsp:sp modelId="{FCAFFF10-DEE8-497E-A1AF-03465EB50B0E}">
      <dsp:nvSpPr>
        <dsp:cNvPr id="3" name="圆角矩形 2"/>
        <dsp:cNvSpPr/>
      </dsp:nvSpPr>
      <dsp:spPr bwMode="white">
        <a:xfrm>
          <a:off x="0" y="8808"/>
          <a:ext cx="6727082" cy="673920"/>
        </a:xfrm>
        <a:prstGeom prst="roundRect">
          <a:avLst/>
        </a:prstGeom>
        <a:sp3d prstMaterial="dkEdge">
          <a:bevelT w="8200" h="38100"/>
        </a:sp3d>
      </dsp:spPr>
      <dsp:style>
        <a:lnRef idx="0">
          <a:schemeClr val="lt1"/>
        </a:lnRef>
        <a:fillRef idx="2">
          <a:schemeClr val="accent3">
            <a:shade val="80000"/>
            <a:hueOff val="0"/>
            <a:satOff val="0"/>
            <a:lumOff val="0"/>
            <a:alpha val="100000"/>
          </a:schemeClr>
        </a:fillRef>
        <a:effectRef idx="1">
          <a:scrgbClr r="0" g="0" b="0"/>
        </a:effectRef>
        <a:fontRef idx="minor">
          <a:schemeClr val="dk1"/>
        </a:fontRef>
      </dsp:style>
      <dsp:txBody>
        <a:bodyPr lIns="91439" tIns="91439" rIns="91439" bIns="91439" anchor="ctr"/>
        <a:lstStyle>
          <a:lvl1pPr algn="l">
            <a:defRPr sz="3600"/>
          </a:lvl1pPr>
          <a:lvl2pPr marL="285750" indent="-285750" algn="l">
            <a:defRPr sz="2800"/>
          </a:lvl2pPr>
          <a:lvl3pPr marL="571500" indent="-285750" algn="l">
            <a:defRPr sz="2800"/>
          </a:lvl3pPr>
          <a:lvl4pPr marL="857250" indent="-285750" algn="l">
            <a:defRPr sz="2800"/>
          </a:lvl4pPr>
          <a:lvl5pPr marL="1143000" indent="-285750" algn="l">
            <a:defRPr sz="2800"/>
          </a:lvl5pPr>
          <a:lvl6pPr marL="1428750" indent="-285750" algn="l">
            <a:defRPr sz="2800"/>
          </a:lvl6pPr>
          <a:lvl7pPr marL="1714500" indent="-285750" algn="l">
            <a:defRPr sz="2800"/>
          </a:lvl7pPr>
          <a:lvl8pPr marL="2000250" indent="-285750" algn="l">
            <a:defRPr sz="2800"/>
          </a:lvl8pPr>
          <a:lvl9pPr marL="2286000" indent="-285750" algn="l">
            <a:defRPr sz="2800"/>
          </a:lvl9pPr>
        </a:lstStyle>
        <a:p>
          <a:pPr lvl="0" rtl="0">
            <a:lnSpc>
              <a:spcPct val="100000"/>
            </a:lnSpc>
            <a:spcBef>
              <a:spcPct val="0"/>
            </a:spcBef>
            <a:spcAft>
              <a:spcPct val="35000"/>
            </a:spcAft>
          </a:pPr>
          <a:r>
            <a:rPr lang="en-US" sz="2400" b="0" dirty="0">
              <a:latin typeface="楷体" panose="02010609060101010101" pitchFamily="49" charset="-122"/>
              <a:ea typeface="楷体" panose="02010609060101010101" pitchFamily="49" charset="-122"/>
              <a:cs typeface="+mn-cs"/>
            </a:rPr>
            <a:t>1</a:t>
          </a:r>
          <a:r>
            <a:rPr lang="en-US" altLang="en-US" sz="2400" b="0" dirty="0">
              <a:latin typeface="楷体" panose="02010609060101010101" pitchFamily="49" charset="-122"/>
              <a:ea typeface="楷体" panose="02010609060101010101" pitchFamily="49" charset="-122"/>
              <a:cs typeface="+mn-cs"/>
            </a:rPr>
            <a:t>. </a:t>
          </a:r>
          <a:r>
            <a:rPr lang="zh-CN" altLang="en-US" sz="2400" b="0" dirty="0">
              <a:latin typeface="楷体" panose="02010609060101010101" pitchFamily="49" charset="-122"/>
              <a:ea typeface="楷体" panose="02010609060101010101" pitchFamily="49" charset="-122"/>
              <a:cs typeface="+mn-cs"/>
            </a:rPr>
            <a:t>选题立意难度及水平</a:t>
          </a:r>
          <a:endParaRPr lang="zh-CN" altLang="en-US" sz="2300" b="0" dirty="0">
            <a:latin typeface="楷体" panose="02010609060101010101" pitchFamily="49" charset="-122"/>
            <a:ea typeface="楷体" panose="02010609060101010101" pitchFamily="49" charset="-122"/>
            <a:cs typeface="+mn-cs"/>
          </a:endParaRPr>
        </a:p>
      </dsp:txBody>
      <dsp:txXfrm>
        <a:off x="0" y="8808"/>
        <a:ext cx="6727082" cy="673920"/>
      </dsp:txXfrm>
    </dsp:sp>
    <dsp:sp modelId="{3D8F3394-6DFD-442D-A77F-C542B8B4AAB4}">
      <dsp:nvSpPr>
        <dsp:cNvPr id="4" name="圆角矩形 3"/>
        <dsp:cNvSpPr/>
      </dsp:nvSpPr>
      <dsp:spPr bwMode="white">
        <a:xfrm>
          <a:off x="0" y="786408"/>
          <a:ext cx="6727082" cy="673920"/>
        </a:xfrm>
        <a:prstGeom prst="roundRect">
          <a:avLst/>
        </a:prstGeom>
        <a:sp3d prstMaterial="dkEdge">
          <a:bevelT w="8200" h="38100"/>
        </a:sp3d>
      </dsp:spPr>
      <dsp:style>
        <a:lnRef idx="0">
          <a:schemeClr val="lt1"/>
        </a:lnRef>
        <a:fillRef idx="2">
          <a:schemeClr val="accent3">
            <a:shade val="80000"/>
            <a:hueOff val="80000"/>
            <a:satOff val="-653"/>
            <a:lumOff val="8235"/>
            <a:alpha val="100000"/>
          </a:schemeClr>
        </a:fillRef>
        <a:effectRef idx="1">
          <a:scrgbClr r="0" g="0" b="0"/>
        </a:effectRef>
        <a:fontRef idx="minor">
          <a:schemeClr val="dk1"/>
        </a:fontRef>
      </dsp:style>
      <dsp:txBody>
        <a:bodyPr lIns="91439" tIns="91439" rIns="91439" bIns="91439" anchor="ctr"/>
        <a:lstStyle>
          <a:lvl1pPr algn="l">
            <a:defRPr sz="3600"/>
          </a:lvl1pPr>
          <a:lvl2pPr marL="285750" indent="-285750" algn="l">
            <a:defRPr sz="2800"/>
          </a:lvl2pPr>
          <a:lvl3pPr marL="571500" indent="-285750" algn="l">
            <a:defRPr sz="2800"/>
          </a:lvl3pPr>
          <a:lvl4pPr marL="857250" indent="-285750" algn="l">
            <a:defRPr sz="2800"/>
          </a:lvl4pPr>
          <a:lvl5pPr marL="1143000" indent="-285750" algn="l">
            <a:defRPr sz="2800"/>
          </a:lvl5pPr>
          <a:lvl6pPr marL="1428750" indent="-285750" algn="l">
            <a:defRPr sz="2800"/>
          </a:lvl6pPr>
          <a:lvl7pPr marL="1714500" indent="-285750" algn="l">
            <a:defRPr sz="2800"/>
          </a:lvl7pPr>
          <a:lvl8pPr marL="2000250" indent="-285750" algn="l">
            <a:defRPr sz="2800"/>
          </a:lvl8pPr>
          <a:lvl9pPr marL="2286000" indent="-285750" algn="l">
            <a:defRPr sz="2800"/>
          </a:lvl9pPr>
        </a:lstStyle>
        <a:p>
          <a:pPr lvl="0" rtl="0">
            <a:lnSpc>
              <a:spcPct val="100000"/>
            </a:lnSpc>
            <a:spcBef>
              <a:spcPct val="0"/>
            </a:spcBef>
            <a:spcAft>
              <a:spcPct val="35000"/>
            </a:spcAft>
          </a:pPr>
          <a:r>
            <a:rPr lang="en-US" sz="2400" b="0" dirty="0">
              <a:latin typeface="楷体" panose="02010609060101010101" pitchFamily="49" charset="-122"/>
              <a:ea typeface="楷体" panose="02010609060101010101" pitchFamily="49" charset="-122"/>
              <a:cs typeface="+mn-cs"/>
            </a:rPr>
            <a:t>2. </a:t>
          </a:r>
          <a:r>
            <a:rPr lang="zh-CN" altLang="en-US" sz="2400" b="0" dirty="0">
              <a:latin typeface="楷体" panose="02010609060101010101" pitchFamily="49" charset="-122"/>
              <a:ea typeface="楷体" panose="02010609060101010101" pitchFamily="49" charset="-122"/>
              <a:cs typeface="+mn-cs"/>
            </a:rPr>
            <a:t>实践任务量及完成效果</a:t>
          </a:r>
        </a:p>
      </dsp:txBody>
      <dsp:txXfrm>
        <a:off x="0" y="786408"/>
        <a:ext cx="6727082" cy="673920"/>
      </dsp:txXfrm>
    </dsp:sp>
    <dsp:sp modelId="{16EE858B-E297-4C4C-92D2-2B9B0600A589}">
      <dsp:nvSpPr>
        <dsp:cNvPr id="5" name="圆角矩形 4"/>
        <dsp:cNvSpPr/>
      </dsp:nvSpPr>
      <dsp:spPr bwMode="white">
        <a:xfrm>
          <a:off x="0" y="1593400"/>
          <a:ext cx="6727082" cy="673920"/>
        </a:xfrm>
        <a:prstGeom prst="roundRect">
          <a:avLst/>
        </a:prstGeom>
        <a:sp3d prstMaterial="dkEdge">
          <a:bevelT w="8200" h="38100"/>
        </a:sp3d>
      </dsp:spPr>
      <dsp:style>
        <a:lnRef idx="0">
          <a:schemeClr val="lt1"/>
        </a:lnRef>
        <a:fillRef idx="2">
          <a:schemeClr val="accent3">
            <a:shade val="80000"/>
            <a:hueOff val="160000"/>
            <a:satOff val="-1306"/>
            <a:lumOff val="16471"/>
            <a:alpha val="100000"/>
          </a:schemeClr>
        </a:fillRef>
        <a:effectRef idx="1">
          <a:scrgbClr r="0" g="0" b="0"/>
        </a:effectRef>
        <a:fontRef idx="minor">
          <a:schemeClr val="dk1"/>
        </a:fontRef>
      </dsp:style>
      <dsp:txBody>
        <a:bodyPr lIns="91439" tIns="91439" rIns="91439" bIns="91439" anchor="ctr"/>
        <a:lstStyle>
          <a:lvl1pPr algn="l">
            <a:defRPr sz="3600"/>
          </a:lvl1pPr>
          <a:lvl2pPr marL="285750" indent="-285750" algn="l">
            <a:defRPr sz="2800"/>
          </a:lvl2pPr>
          <a:lvl3pPr marL="571500" indent="-285750" algn="l">
            <a:defRPr sz="2800"/>
          </a:lvl3pPr>
          <a:lvl4pPr marL="857250" indent="-285750" algn="l">
            <a:defRPr sz="2800"/>
          </a:lvl4pPr>
          <a:lvl5pPr marL="1143000" indent="-285750" algn="l">
            <a:defRPr sz="2800"/>
          </a:lvl5pPr>
          <a:lvl6pPr marL="1428750" indent="-285750" algn="l">
            <a:defRPr sz="2800"/>
          </a:lvl6pPr>
          <a:lvl7pPr marL="1714500" indent="-285750" algn="l">
            <a:defRPr sz="2800"/>
          </a:lvl7pPr>
          <a:lvl8pPr marL="2000250" indent="-285750" algn="l">
            <a:defRPr sz="2800"/>
          </a:lvl8pPr>
          <a:lvl9pPr marL="2286000" indent="-285750" algn="l">
            <a:defRPr sz="2800"/>
          </a:lvl9pPr>
        </a:lstStyle>
        <a:p>
          <a:pPr lvl="0" rtl="0">
            <a:lnSpc>
              <a:spcPct val="100000"/>
            </a:lnSpc>
            <a:spcBef>
              <a:spcPct val="0"/>
            </a:spcBef>
            <a:spcAft>
              <a:spcPct val="35000"/>
            </a:spcAft>
          </a:pPr>
          <a:r>
            <a:rPr lang="en-US" sz="2400" b="0" dirty="0">
              <a:latin typeface="楷体" panose="02010609060101010101" pitchFamily="49" charset="-122"/>
              <a:ea typeface="楷体" panose="02010609060101010101" pitchFamily="49" charset="-122"/>
              <a:cs typeface="+mn-cs"/>
            </a:rPr>
            <a:t>3. </a:t>
          </a:r>
          <a:r>
            <a:rPr lang="zh-CN" altLang="en-US" sz="2400" b="0" dirty="0">
              <a:latin typeface="楷体" panose="02010609060101010101" pitchFamily="49" charset="-122"/>
              <a:ea typeface="楷体" panose="02010609060101010101" pitchFamily="49" charset="-122"/>
              <a:cs typeface="+mn-cs"/>
            </a:rPr>
            <a:t>实践价值及社会影响</a:t>
          </a:r>
        </a:p>
      </dsp:txBody>
      <dsp:txXfrm>
        <a:off x="0" y="1593400"/>
        <a:ext cx="6727082" cy="673920"/>
      </dsp:txXfrm>
    </dsp:sp>
    <dsp:sp modelId="{E5B16347-4A20-4B1D-84D6-39A6182C2627}">
      <dsp:nvSpPr>
        <dsp:cNvPr id="6" name="圆角矩形 5"/>
        <dsp:cNvSpPr/>
      </dsp:nvSpPr>
      <dsp:spPr bwMode="white">
        <a:xfrm>
          <a:off x="0" y="2341608"/>
          <a:ext cx="6727082" cy="673920"/>
        </a:xfrm>
        <a:prstGeom prst="roundRect">
          <a:avLst/>
        </a:prstGeom>
        <a:sp3d prstMaterial="dkEdge">
          <a:bevelT w="8200" h="38100"/>
        </a:sp3d>
      </dsp:spPr>
      <dsp:style>
        <a:lnRef idx="0">
          <a:schemeClr val="lt1"/>
        </a:lnRef>
        <a:fillRef idx="2">
          <a:schemeClr val="accent3">
            <a:shade val="80000"/>
            <a:hueOff val="240000"/>
            <a:satOff val="-1960"/>
            <a:lumOff val="24706"/>
            <a:alpha val="100000"/>
          </a:schemeClr>
        </a:fillRef>
        <a:effectRef idx="1">
          <a:scrgbClr r="0" g="0" b="0"/>
        </a:effectRef>
        <a:fontRef idx="minor">
          <a:schemeClr val="dk1"/>
        </a:fontRef>
      </dsp:style>
      <dsp:txBody>
        <a:bodyPr lIns="91439" tIns="91439" rIns="91439" bIns="91439" anchor="ctr"/>
        <a:lstStyle>
          <a:lvl1pPr algn="l">
            <a:defRPr sz="3600"/>
          </a:lvl1pPr>
          <a:lvl2pPr marL="285750" indent="-285750" algn="l">
            <a:defRPr sz="2800"/>
          </a:lvl2pPr>
          <a:lvl3pPr marL="571500" indent="-285750" algn="l">
            <a:defRPr sz="2800"/>
          </a:lvl3pPr>
          <a:lvl4pPr marL="857250" indent="-285750" algn="l">
            <a:defRPr sz="2800"/>
          </a:lvl4pPr>
          <a:lvl5pPr marL="1143000" indent="-285750" algn="l">
            <a:defRPr sz="2800"/>
          </a:lvl5pPr>
          <a:lvl6pPr marL="1428750" indent="-285750" algn="l">
            <a:defRPr sz="2800"/>
          </a:lvl6pPr>
          <a:lvl7pPr marL="1714500" indent="-285750" algn="l">
            <a:defRPr sz="2800"/>
          </a:lvl7pPr>
          <a:lvl8pPr marL="2000250" indent="-285750" algn="l">
            <a:defRPr sz="2800"/>
          </a:lvl8pPr>
          <a:lvl9pPr marL="2286000" indent="-285750" algn="l">
            <a:defRPr sz="2800"/>
          </a:lvl9pPr>
        </a:lstStyle>
        <a:p>
          <a:pPr lvl="0" rtl="0">
            <a:lnSpc>
              <a:spcPct val="100000"/>
            </a:lnSpc>
            <a:spcBef>
              <a:spcPct val="0"/>
            </a:spcBef>
            <a:spcAft>
              <a:spcPct val="35000"/>
            </a:spcAft>
          </a:pPr>
          <a:r>
            <a:rPr lang="en-US" altLang="en-US" sz="2400" b="0" dirty="0">
              <a:latin typeface="楷体" panose="02010609060101010101" pitchFamily="49" charset="-122"/>
              <a:ea typeface="楷体" panose="02010609060101010101" pitchFamily="49" charset="-122"/>
              <a:cs typeface="+mn-cs"/>
            </a:rPr>
            <a:t>4. </a:t>
          </a:r>
          <a:r>
            <a:rPr lang="zh-CN" altLang="en-US" sz="2400" b="0" dirty="0">
              <a:latin typeface="楷体" panose="02010609060101010101" pitchFamily="49" charset="-122"/>
              <a:ea typeface="楷体" panose="02010609060101010101" pitchFamily="49" charset="-122"/>
              <a:cs typeface="+mn-cs"/>
            </a:rPr>
            <a:t>报告或答辩完成情况</a:t>
          </a:r>
        </a:p>
      </dsp:txBody>
      <dsp:txXfrm>
        <a:off x="0" y="2341608"/>
        <a:ext cx="6727082" cy="673920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 xmlns:r="http://schemas.openxmlformats.org/officeDocument/2006/relationships">
  <dsp:spTree>
    <dsp:nvGrpSpPr>
      <dsp:cNvPr id="2" name="组合 1"/>
      <dsp:cNvGrpSpPr/>
    </dsp:nvGrpSpPr>
    <dsp:grpSpPr>
      <a:xfrm>
        <a:off x="0" y="0"/>
        <a:ext cx="2895294" cy="2895294"/>
        <a:chOff x="0" y="0"/>
        <a:chExt cx="2895294" cy="2895294"/>
      </a:xfrm>
    </dsp:grpSpPr>
    <dsp:sp modelId="{B30F19E6-F429-46C6-8EDB-1B247B7D2D5E}">
      <dsp:nvSpPr>
        <dsp:cNvPr id="3" name="饼形 2"/>
        <dsp:cNvSpPr/>
      </dsp:nvSpPr>
      <dsp:spPr bwMode="white">
        <a:xfrm>
          <a:off x="296145" y="575804"/>
          <a:ext cx="2432047" cy="2432047"/>
        </a:xfrm>
        <a:prstGeom prst="pie">
          <a:avLst>
            <a:gd name="adj1" fmla="val 16200000"/>
            <a:gd name="adj2" fmla="val 5400000"/>
          </a:avLst>
        </a:prstGeom>
        <a:sp3d prstMaterial="plastic">
          <a:bevelT w="120900" h="88900"/>
          <a:bevelB w="88900" h="31750" prst="angle"/>
        </a:sp3d>
      </dsp:spPr>
      <dsp:style>
        <a:lnRef idx="0">
          <a:schemeClr val="lt1"/>
        </a:lnRef>
        <a:fillRef idx="3">
          <a:schemeClr val="accent2">
            <a:hueOff val="0"/>
            <a:satOff val="0"/>
            <a:lumOff val="0"/>
            <a:alpha val="100000"/>
          </a:schemeClr>
        </a:fillRef>
        <a:effectRef idx="2">
          <a:scrgbClr r="0" g="0" b="0"/>
        </a:effectRef>
        <a:fontRef idx="minor">
          <a:schemeClr val="lt1"/>
        </a:fontRef>
      </dsp:style>
      <dsp:txBody>
        <a:bodyPr lIns="30480" tIns="30480" rIns="30480" bIns="30480" anchor="ctr"/>
        <a:lstStyle>
          <a:lvl1pPr algn="ctr">
            <a:defRPr sz="6500"/>
          </a:lvl1pPr>
          <a:lvl2pPr marL="285750" indent="-285750" algn="ctr">
            <a:defRPr sz="5000"/>
          </a:lvl2pPr>
          <a:lvl3pPr marL="571500" indent="-285750" algn="ctr">
            <a:defRPr sz="5000"/>
          </a:lvl3pPr>
          <a:lvl4pPr marL="857250" indent="-285750" algn="ctr">
            <a:defRPr sz="5000"/>
          </a:lvl4pPr>
          <a:lvl5pPr marL="1143000" indent="-285750" algn="ctr">
            <a:defRPr sz="5000"/>
          </a:lvl5pPr>
          <a:lvl6pPr marL="1428750" indent="-285750" algn="ctr">
            <a:defRPr sz="5000"/>
          </a:lvl6pPr>
          <a:lvl7pPr marL="1714500" indent="-285750" algn="ctr">
            <a:defRPr sz="5000"/>
          </a:lvl7pPr>
          <a:lvl8pPr marL="2000250" indent="-285750" algn="ctr">
            <a:defRPr sz="5000"/>
          </a:lvl8pPr>
          <a:lvl9pPr marL="2286000" indent="-285750" algn="ctr">
            <a:defRPr sz="5000"/>
          </a:lvl9pPr>
        </a:lstStyle>
        <a:p>
          <a:pPr lvl="0">
            <a:lnSpc>
              <a:spcPct val="100000"/>
            </a:lnSpc>
            <a:spcBef>
              <a:spcPct val="0"/>
            </a:spcBef>
            <a:spcAft>
              <a:spcPct val="35000"/>
            </a:spcAft>
          </a:pPr>
          <a:r>
            <a:rPr lang="zh-CN" altLang="en-US" sz="2400" b="1" dirty="0">
              <a:latin typeface="微软雅黑" panose="020B0503020204020204" pitchFamily="34" charset="-122"/>
              <a:ea typeface="微软雅黑" panose="020B0503020204020204" pitchFamily="34" charset="-122"/>
            </a:rPr>
            <a:t>材料评阅</a:t>
          </a:r>
        </a:p>
      </dsp:txBody>
      <dsp:txXfrm>
        <a:off x="296145" y="575804"/>
        <a:ext cx="2432047" cy="2432047"/>
      </dsp:txXfrm>
    </dsp:sp>
    <dsp:sp modelId="{3261B734-869D-4A18-B855-77F6760F9306}">
      <dsp:nvSpPr>
        <dsp:cNvPr id="4" name="饼形 3"/>
        <dsp:cNvSpPr/>
      </dsp:nvSpPr>
      <dsp:spPr bwMode="white">
        <a:xfrm>
          <a:off x="252443" y="575804"/>
          <a:ext cx="2432047" cy="2432047"/>
        </a:xfrm>
        <a:prstGeom prst="pie">
          <a:avLst>
            <a:gd name="adj1" fmla="val 5400000"/>
            <a:gd name="adj2" fmla="val 16200000"/>
          </a:avLst>
        </a:prstGeom>
        <a:sp3d prstMaterial="plastic">
          <a:bevelT w="120900" h="88900"/>
          <a:bevelB w="88900" h="31750" prst="angle"/>
        </a:sp3d>
      </dsp:spPr>
      <dsp:style>
        <a:lnRef idx="0">
          <a:schemeClr val="lt1"/>
        </a:lnRef>
        <a:fillRef idx="3">
          <a:schemeClr val="accent2">
            <a:hueOff val="4680000"/>
            <a:satOff val="-5881"/>
            <a:lumOff val="1176"/>
            <a:alpha val="100000"/>
          </a:schemeClr>
        </a:fillRef>
        <a:effectRef idx="2">
          <a:scrgbClr r="0" g="0" b="0"/>
        </a:effectRef>
        <a:fontRef idx="minor">
          <a:schemeClr val="lt1"/>
        </a:fontRef>
      </dsp:style>
      <dsp:txBody>
        <a:bodyPr lIns="30480" tIns="30480" rIns="30480" bIns="30480" anchor="ctr"/>
        <a:lstStyle>
          <a:lvl1pPr algn="ctr">
            <a:defRPr sz="6500"/>
          </a:lvl1pPr>
          <a:lvl2pPr marL="285750" indent="-285750" algn="ctr">
            <a:defRPr sz="5000"/>
          </a:lvl2pPr>
          <a:lvl3pPr marL="571500" indent="-285750" algn="ctr">
            <a:defRPr sz="5000"/>
          </a:lvl3pPr>
          <a:lvl4pPr marL="857250" indent="-285750" algn="ctr">
            <a:defRPr sz="5000"/>
          </a:lvl4pPr>
          <a:lvl5pPr marL="1143000" indent="-285750" algn="ctr">
            <a:defRPr sz="5000"/>
          </a:lvl5pPr>
          <a:lvl6pPr marL="1428750" indent="-285750" algn="ctr">
            <a:defRPr sz="5000"/>
          </a:lvl6pPr>
          <a:lvl7pPr marL="1714500" indent="-285750" algn="ctr">
            <a:defRPr sz="5000"/>
          </a:lvl7pPr>
          <a:lvl8pPr marL="2000250" indent="-285750" algn="ctr">
            <a:defRPr sz="5000"/>
          </a:lvl8pPr>
          <a:lvl9pPr marL="2286000" indent="-285750" algn="ctr">
            <a:defRPr sz="5000"/>
          </a:lvl9pPr>
        </a:lstStyle>
        <a:p>
          <a:pPr lvl="0">
            <a:lnSpc>
              <a:spcPct val="100000"/>
            </a:lnSpc>
            <a:spcBef>
              <a:spcPct val="0"/>
            </a:spcBef>
            <a:spcAft>
              <a:spcPct val="35000"/>
            </a:spcAft>
          </a:pPr>
          <a:r>
            <a:rPr lang="zh-CN" altLang="en-US" sz="2400" b="1" dirty="0">
              <a:latin typeface="微软雅黑" panose="020B0503020204020204" pitchFamily="34" charset="-122"/>
              <a:ea typeface="微软雅黑" panose="020B0503020204020204" pitchFamily="34" charset="-122"/>
            </a:rPr>
            <a:t>答辩展示</a:t>
          </a:r>
        </a:p>
      </dsp:txBody>
      <dsp:txXfrm>
        <a:off x="252443" y="575804"/>
        <a:ext cx="2432047" cy="2432047"/>
      </dsp:txXfrm>
    </dsp:sp>
    <dsp:sp modelId="{24B7A856-B891-4594-ACB2-4BBC37A12AC5}">
      <dsp:nvSpPr>
        <dsp:cNvPr id="5" name="环形箭头 4"/>
        <dsp:cNvSpPr/>
      </dsp:nvSpPr>
      <dsp:spPr bwMode="white">
        <a:xfrm>
          <a:off x="162382" y="442041"/>
          <a:ext cx="2699572" cy="2699572"/>
        </a:xfrm>
        <a:prstGeom prst="circularArrow">
          <a:avLst>
            <a:gd name="adj1" fmla="val 5000"/>
            <a:gd name="adj2" fmla="val 360000"/>
            <a:gd name="adj3" fmla="val 5040000"/>
            <a:gd name="adj4" fmla="val 16200000"/>
            <a:gd name="adj5" fmla="val 5500"/>
          </a:avLst>
        </a:prstGeom>
        <a:sp3d z="127000" prstMaterial="plastic">
          <a:bevelT w="50800" h="50800"/>
          <a:bevelB w="25400" h="25400" prst="angle"/>
        </a:sp3d>
      </dsp:spPr>
      <dsp:style>
        <a:lnRef idx="0">
          <a:schemeClr val="lt1"/>
        </a:lnRef>
        <a:fillRef idx="3">
          <a:schemeClr val="accent2">
            <a:hueOff val="0"/>
            <a:satOff val="0"/>
            <a:lumOff val="0"/>
            <a:alpha val="100000"/>
          </a:schemeClr>
        </a:fillRef>
        <a:effectRef idx="2">
          <a:scrgbClr r="0" g="0" b="0"/>
        </a:effectRef>
        <a:fontRef idx="minor">
          <a:schemeClr val="lt1"/>
        </a:fontRef>
      </dsp:style>
      <dsp:txXfrm>
        <a:off x="162382" y="442041"/>
        <a:ext cx="2699572" cy="2699572"/>
      </dsp:txXfrm>
    </dsp:sp>
    <dsp:sp modelId="{72FE8A93-D6CE-40D5-94CC-C8A245B29072}">
      <dsp:nvSpPr>
        <dsp:cNvPr id="6" name="环形箭头 5"/>
        <dsp:cNvSpPr/>
      </dsp:nvSpPr>
      <dsp:spPr bwMode="white">
        <a:xfrm>
          <a:off x="118680" y="442041"/>
          <a:ext cx="2699572" cy="2699572"/>
        </a:xfrm>
        <a:prstGeom prst="circularArrow">
          <a:avLst>
            <a:gd name="adj1" fmla="val 5000"/>
            <a:gd name="adj2" fmla="val 360000"/>
            <a:gd name="adj3" fmla="val 15840000"/>
            <a:gd name="adj4" fmla="val 5400000"/>
            <a:gd name="adj5" fmla="val 5500"/>
          </a:avLst>
        </a:prstGeom>
        <a:sp3d z="127000" prstMaterial="plastic">
          <a:bevelT w="50800" h="50800"/>
          <a:bevelB w="25400" h="25400" prst="angle"/>
        </a:sp3d>
      </dsp:spPr>
      <dsp:style>
        <a:lnRef idx="0">
          <a:schemeClr val="lt1"/>
        </a:lnRef>
        <a:fillRef idx="3">
          <a:schemeClr val="accent2">
            <a:hueOff val="4680000"/>
            <a:satOff val="-5881"/>
            <a:lumOff val="1176"/>
            <a:alpha val="100000"/>
          </a:schemeClr>
        </a:fillRef>
        <a:effectRef idx="2">
          <a:scrgbClr r="0" g="0" b="0"/>
        </a:effectRef>
        <a:fontRef idx="minor">
          <a:schemeClr val="lt1"/>
        </a:fontRef>
      </dsp:style>
      <dsp:txXfrm>
        <a:off x="118680" y="442041"/>
        <a:ext cx="2699572" cy="2699572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vList2#4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lnSpAfChP" val="20"/>
              <dgm:param type="stBulletLvl" val="1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vList2#3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lnSpAfChP" val="20"/>
              <dgm:param type="stBulletLvl" val="1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cycle8#1">
  <dgm:title val=""/>
  <dgm:desc val=""/>
  <dgm:catLst>
    <dgm:cat type="cycle" pri="70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</dgm:cxnLst>
      <dgm:bg/>
      <dgm:whole/>
    </dgm:dataModel>
  </dgm:clrData>
  <dgm:layoutNode name="compositeShape">
    <dgm:varLst>
      <dgm:chMax val="7"/>
      <dgm:dir/>
      <dgm:resizeHandles val="exact"/>
    </dgm:varLst>
    <dgm:alg type="composite">
      <dgm:param type="ar" val="1"/>
      <dgm:param type="vertAlign" val="mid"/>
      <dgm:param type="horzAlign" val="ctr"/>
    </dgm:alg>
    <dgm:shape xmlns:r="http://schemas.openxmlformats.org/officeDocument/2006/relationships" r:blip="">
      <dgm:adjLst/>
    </dgm:shape>
    <dgm:presOf/>
    <dgm:choose name="Name0">
      <dgm:if name="Name1" axis="ch" ptType="node" func="cnt" op="equ" val="1">
        <dgm:constrLst>
          <dgm:constr type="l" for="ch" forName="wedge1" refType="w" fact="0.08"/>
          <dgm:constr type="t" for="ch" forName="wedge1" refType="w" fact="0.08"/>
          <dgm:constr type="w" for="ch" forName="wedge1" refType="w" fact="0.84"/>
          <dgm:constr type="h" for="ch" forName="wedge1" refType="h" fact="0.84"/>
          <dgm:constr type="l" for="ch" forName="dummy1a" refType="w" fact="0.5"/>
          <dgm:constr type="t" for="ch" forName="dummy1a" refType="h" fact="0.08"/>
          <dgm:constr type="l" for="ch" forName="dummy1b" refType="w" fact="0.5"/>
          <dgm:constr type="t" for="ch" forName="dummy1b" refType="h" fact="0.08"/>
          <dgm:constr type="l" for="ch" forName="wedge1Tx" refType="w" fact="0.22"/>
          <dgm:constr type="t" for="ch" forName="wedge1Tx" refType="h" fact="0.22"/>
          <dgm:constr type="w" for="ch" forName="wedge1Tx" refType="w" fact="0.56"/>
          <dgm:constr type="h" for="ch" forName="wedge1Tx" refType="h" fact="0.56"/>
          <dgm:constr type="h" for="ch" forName="arrowWedge1single" refType="w" fact="0.08"/>
          <dgm:constr type="diam" for="ch" forName="arrowWedge1single" refType="w" fact="0.84"/>
          <dgm:constr type="l" for="ch" forName="arrowWedge1single" refType="w" fact="0.5"/>
          <dgm:constr type="t" for="ch" forName="arrowWedge1single" refType="w" fact="0.5"/>
          <dgm:constr type="primFontSz" for="ch" ptType="node" op="equ"/>
        </dgm:constrLst>
      </dgm:if>
      <dgm:if name="Name2" axis="ch" ptType="node" func="cnt" op="equ" val="2">
        <dgm:constrLst>
          <dgm:constr type="l" for="ch" forName="wedge1" refType="w" fact="0.1"/>
          <dgm:constr type="t" for="ch" forName="wedge1" refType="w" fact="0.08"/>
          <dgm:constr type="w" for="ch" forName="wedge1" refType="w" fact="0.84"/>
          <dgm:constr type="h" for="ch" forName="wedge1" refType="h" fact="0.84"/>
          <dgm:constr type="l" for="ch" forName="dummy1a" refType="w" fact="0.52"/>
          <dgm:constr type="t" for="ch" forName="dummy1a" refType="h" fact="0.08"/>
          <dgm:constr type="l" for="ch" forName="dummy1b" refType="w" fact="0.52"/>
          <dgm:constr type="t" for="ch" forName="dummy1b" refType="h" fact="0.92"/>
          <dgm:constr type="l" for="ch" forName="wedge1Tx" refType="w" fact="0.559"/>
          <dgm:constr type="t" for="ch" forName="wedge1Tx" refType="h" fact="0.3"/>
          <dgm:constr type="w" for="ch" forName="wedge1Tx" refType="w" fact="0.3"/>
          <dgm:constr type="h" for="ch" forName="wedge1Tx" refType="h" fact="0.4"/>
          <dgm:constr type="l" for="ch" forName="wedge2" refType="w" fact="0.06"/>
          <dgm:constr type="t" for="ch" forName="wedge2" refType="w" fact="0.08"/>
          <dgm:constr type="w" for="ch" forName="wedge2" refType="w" fact="0.84"/>
          <dgm:constr type="h" for="ch" forName="wedge2" refType="h" fact="0.84"/>
          <dgm:constr type="l" for="ch" forName="dummy2a" refType="w" fact="0.48"/>
          <dgm:constr type="t" for="ch" forName="dummy2a" refType="h" fact="0.92"/>
          <dgm:constr type="l" for="ch" forName="dummy2b" refType="w" fact="0.48"/>
          <dgm:constr type="t" for="ch" forName="dummy2b" refType="h" fact="0.08"/>
          <dgm:constr type="r" for="ch" forName="wedge2Tx" refType="w" fact="0.441"/>
          <dgm:constr type="t" for="ch" forName="wedge2Tx" refType="h" fact="0.3"/>
          <dgm:constr type="w" for="ch" forName="wedge2Tx" refType="w" fact="0.3"/>
          <dgm:constr type="h" for="ch" forName="wedge2Tx" refType="h" fact="0.4"/>
          <dgm:constr type="h" for="ch" forName="arrowWedge1" refType="w" fact="0.08"/>
          <dgm:constr type="diam" for="ch" forName="arrowWedge1" refType="w" fact="0.84"/>
          <dgm:constr type="l" for="ch" forName="arrowWedge1" refType="w" fact="0.5"/>
          <dgm:constr type="t" for="ch" forName="arrowWedge1" refType="w" fact="0.5"/>
          <dgm:constr type="h" for="ch" forName="arrowWedge2" refType="w" fact="0.08"/>
          <dgm:constr type="diam" for="ch" forName="arrowWedge2" refType="w" fact="0.84"/>
          <dgm:constr type="l" for="ch" forName="arrowWedge2" refType="w" fact="0.5"/>
          <dgm:constr type="t" for="ch" forName="arrowWedge2" refType="w" fact="0.5"/>
          <dgm:constr type="primFontSz" for="ch" ptType="node" op="equ"/>
        </dgm:constrLst>
      </dgm:if>
      <dgm:if name="Name3" axis="ch" ptType="node" func="cnt" op="equ" val="3">
        <dgm:constrLst>
          <dgm:constr type="l" for="ch" forName="wedge1" refType="w" fact="0.0973"/>
          <dgm:constr type="t" for="ch" forName="wedge1" refType="w" fact="0.07"/>
          <dgm:constr type="w" for="ch" forName="wedge1" refType="w" fact="0.84"/>
          <dgm:constr type="h" for="ch" forName="wedge1" refType="h" fact="0.84"/>
          <dgm:constr type="l" for="ch" forName="dummy1a" refType="w" fact="0.5173"/>
          <dgm:constr type="t" for="ch" forName="dummy1a" refType="h" fact="0.07"/>
          <dgm:constr type="l" for="ch" forName="dummy1b" refType="w" fact="0.8811"/>
          <dgm:constr type="t" for="ch" forName="dummy1b" refType="h" fact="0.7"/>
          <dgm:constr type="l" for="ch" forName="wedge1Tx" refType="w" fact="0.54"/>
          <dgm:constr type="t" for="ch" forName="wedge1Tx" refType="h" fact="0.248"/>
          <dgm:constr type="w" for="ch" forName="wedge1Tx" refType="w" fact="0.3"/>
          <dgm:constr type="h" for="ch" forName="wedge1Tx" refType="h" fact="0.25"/>
          <dgm:constr type="l" for="ch" forName="wedge2" refType="w" fact="0.08"/>
          <dgm:constr type="t" for="ch" forName="wedge2" refType="w" fact="0.1"/>
          <dgm:constr type="w" for="ch" forName="wedge2" refType="w" fact="0.84"/>
          <dgm:constr type="h" for="ch" forName="wedge2" refType="h" fact="0.84"/>
          <dgm:constr type="l" for="ch" forName="dummy2a" refType="w" fact="0.8637"/>
          <dgm:constr type="t" for="ch" forName="dummy2a" refType="h" fact="0.73"/>
          <dgm:constr type="l" for="ch" forName="dummy2b" refType="w" fact="0.1363"/>
          <dgm:constr type="t" for="ch" forName="dummy2b" refType="h" fact="0.73"/>
          <dgm:constr type="l" for="ch" forName="wedge2Tx" refType="w" fact="0.28"/>
          <dgm:constr type="t" for="ch" forName="wedge2Tx" refType="h" fact="0.645"/>
          <dgm:constr type="w" for="ch" forName="wedge2Tx" refType="w" fact="0.45"/>
          <dgm:constr type="h" for="ch" forName="wedge2Tx" refType="h" fact="0.22"/>
          <dgm:constr type="l" for="ch" forName="wedge3" refType="w" fact="0.0627"/>
          <dgm:constr type="t" for="ch" forName="wedge3" refType="w" fact="0.07"/>
          <dgm:constr type="w" for="ch" forName="wedge3" refType="w" fact="0.84"/>
          <dgm:constr type="h" for="ch" forName="wedge3" refType="h" fact="0.84"/>
          <dgm:constr type="l" for="ch" forName="dummy3a" refType="w" fact="0.1189"/>
          <dgm:constr type="t" for="ch" forName="dummy3a" refType="h" fact="0.7"/>
          <dgm:constr type="l" for="ch" forName="dummy3b" refType="w" fact="0.4827"/>
          <dgm:constr type="t" for="ch" forName="dummy3b" refType="h" fact="0.07"/>
          <dgm:constr type="r" for="ch" forName="wedge3Tx" refType="w" fact="0.46"/>
          <dgm:constr type="t" for="ch" forName="wedge3Tx" refType="h" fact="0.248"/>
          <dgm:constr type="w" for="ch" forName="wedge3Tx" refType="w" fact="0.3"/>
          <dgm:constr type="h" for="ch" forName="wedge3Tx" refType="h" fact="0.25"/>
          <dgm:constr type="h" for="ch" forName="arrowWedge1" refType="w" fact="0.08"/>
          <dgm:constr type="diam" for="ch" forName="arrowWedge1" refType="w" fact="0.84"/>
          <dgm:constr type="l" for="ch" forName="arrowWedge1" refType="w" fact="0.5"/>
          <dgm:constr type="t" for="ch" forName="arrowWedge1" refType="w" fact="0.5"/>
          <dgm:constr type="h" for="ch" forName="arrowWedge2" refType="w" fact="0.08"/>
          <dgm:constr type="diam" for="ch" forName="arrowWedge2" refType="w" fact="0.84"/>
          <dgm:constr type="l" for="ch" forName="arrowWedge2" refType="w" fact="0.5"/>
          <dgm:constr type="t" for="ch" forName="arrowWedge2" refType="w" fact="0.5"/>
          <dgm:constr type="h" for="ch" forName="arrowWedge3" refType="w" fact="0.08"/>
          <dgm:constr type="diam" for="ch" forName="arrowWedge3" refType="w" fact="0.84"/>
          <dgm:constr type="l" for="ch" forName="arrowWedge3" refType="w" fact="0.5"/>
          <dgm:constr type="t" for="ch" forName="arrowWedge3" refType="w" fact="0.5"/>
          <dgm:constr type="primFontSz" for="ch" ptType="node" op="equ"/>
        </dgm:constrLst>
      </dgm:if>
      <dgm:if name="Name4" axis="ch" ptType="node" func="cnt" op="equ" val="4">
        <dgm:constrLst>
          <dgm:constr type="l" for="ch" forName="wedge1" refType="w" fact="0.0941"/>
          <dgm:constr type="t" for="ch" forName="wedge1" refType="w" fact="0.0659"/>
          <dgm:constr type="w" for="ch" forName="wedge1" refType="w" fact="0.84"/>
          <dgm:constr type="h" for="ch" forName="wedge1" refType="h" fact="0.84"/>
          <dgm:constr type="l" for="ch" forName="dummy1a" refType="w" fact="0.5141"/>
          <dgm:constr type="t" for="ch" forName="dummy1a" refType="h" fact="0.0659"/>
          <dgm:constr type="l" for="ch" forName="dummy1b" refType="w" fact="0.9341"/>
          <dgm:constr type="t" for="ch" forName="dummy1b" refType="h" fact="0.4859"/>
          <dgm:constr type="l" for="ch" forName="wedge1Tx" refType="w" fact="0.54"/>
          <dgm:constr type="t" for="ch" forName="wedge1Tx" refType="h" fact="0.24"/>
          <dgm:constr type="w" for="ch" forName="wedge1Tx" refType="w" fact="0.31"/>
          <dgm:constr type="h" for="ch" forName="wedge1Tx" refType="h" fact="0.23"/>
          <dgm:constr type="l" for="ch" forName="wedge2" refType="w" fact="0.0941"/>
          <dgm:constr type="t" for="ch" forName="wedge2" refType="w" fact="0.0941"/>
          <dgm:constr type="w" for="ch" forName="wedge2" refType="w" fact="0.84"/>
          <dgm:constr type="h" for="ch" forName="wedge2" refType="h" fact="0.84"/>
          <dgm:constr type="l" for="ch" forName="dummy2a" refType="w" fact="0.9341"/>
          <dgm:constr type="t" for="ch" forName="dummy2a" refType="h" fact="0.5141"/>
          <dgm:constr type="l" for="ch" forName="dummy2b" refType="w" fact="0.5141"/>
          <dgm:constr type="t" for="ch" forName="dummy2b" refType="h" fact="0.9341"/>
          <dgm:constr type="l" for="ch" forName="wedge2Tx" refType="w" fact="0.54"/>
          <dgm:constr type="t" for="ch" forName="wedge2Tx" refType="h" fact="0.53"/>
          <dgm:constr type="w" for="ch" forName="wedge2Tx" refType="w" fact="0.31"/>
          <dgm:constr type="h" for="ch" forName="wedge2Tx" refType="h" fact="0.23"/>
          <dgm:constr type="l" for="ch" forName="wedge3" refType="w" fact="0.0659"/>
          <dgm:constr type="t" for="ch" forName="wedge3" refType="w" fact="0.0941"/>
          <dgm:constr type="w" for="ch" forName="wedge3" refType="w" fact="0.84"/>
          <dgm:constr type="h" for="ch" forName="wedge3" refType="h" fact="0.84"/>
          <dgm:constr type="l" for="ch" forName="dummy3a" refType="w" fact="0.4859"/>
          <dgm:constr type="t" for="ch" forName="dummy3a" refType="h" fact="0.9341"/>
          <dgm:constr type="l" for="ch" forName="dummy3b" refType="w" fact="0.0659"/>
          <dgm:constr type="t" for="ch" forName="dummy3b" refType="h" fact="0.5141"/>
          <dgm:constr type="r" for="ch" forName="wedge3Tx" refType="w" fact="0.46"/>
          <dgm:constr type="t" for="ch" forName="wedge3Tx" refType="h" fact="0.53"/>
          <dgm:constr type="w" for="ch" forName="wedge3Tx" refType="w" fact="0.31"/>
          <dgm:constr type="h" for="ch" forName="wedge3Tx" refType="h" fact="0.23"/>
          <dgm:constr type="l" for="ch" forName="wedge4" refType="w" fact="0.0659"/>
          <dgm:constr type="t" for="ch" forName="wedge4" refType="h" fact="0.0659"/>
          <dgm:constr type="w" for="ch" forName="wedge4" refType="w" fact="0.84"/>
          <dgm:constr type="h" for="ch" forName="wedge4" refType="h" fact="0.84"/>
          <dgm:constr type="l" for="ch" forName="dummy4a" refType="w" fact="0.0659"/>
          <dgm:constr type="t" for="ch" forName="dummy4a" refType="h" fact="0.4859"/>
          <dgm:constr type="l" for="ch" forName="dummy4b" refType="w" fact="0.4859"/>
          <dgm:constr type="t" for="ch" forName="dummy4b" refType="h" fact="0.0659"/>
          <dgm:constr type="r" for="ch" forName="wedge4Tx" refType="w" fact="0.46"/>
          <dgm:constr type="t" for="ch" forName="wedge4Tx" refType="h" fact="0.24"/>
          <dgm:constr type="w" for="ch" forName="wedge4Tx" refType="w" fact="0.31"/>
          <dgm:constr type="h" for="ch" forName="wedge4Tx" refType="h" fact="0.23"/>
          <dgm:constr type="h" for="ch" forName="arrowWedge1" refType="w" fact="0.08"/>
          <dgm:constr type="diam" for="ch" forName="arrowWedge1" refType="w" fact="0.84"/>
          <dgm:constr type="l" for="ch" forName="arrowWedge1" refType="w" fact="0.5"/>
          <dgm:constr type="t" for="ch" forName="arrowWedge1" refType="w" fact="0.5"/>
          <dgm:constr type="h" for="ch" forName="arrowWedge2" refType="w" fact="0.08"/>
          <dgm:constr type="diam" for="ch" forName="arrowWedge2" refType="w" fact="0.84"/>
          <dgm:constr type="l" for="ch" forName="arrowWedge2" refType="w" fact="0.5"/>
          <dgm:constr type="t" for="ch" forName="arrowWedge2" refType="w" fact="0.5"/>
          <dgm:constr type="h" for="ch" forName="arrowWedge3" refType="w" fact="0.08"/>
          <dgm:constr type="diam" for="ch" forName="arrowWedge3" refType="w" fact="0.84"/>
          <dgm:constr type="l" for="ch" forName="arrowWedge3" refType="w" fact="0.5"/>
          <dgm:constr type="t" for="ch" forName="arrowWedge3" refType="w" fact="0.5"/>
          <dgm:constr type="h" for="ch" forName="arrowWedge4" refType="w" fact="0.08"/>
          <dgm:constr type="diam" for="ch" forName="arrowWedge4" refType="w" fact="0.84"/>
          <dgm:constr type="l" for="ch" forName="arrowWedge4" refType="w" fact="0.5"/>
          <dgm:constr type="t" for="ch" forName="arrowWedge4" refType="w" fact="0.5"/>
          <dgm:constr type="primFontSz" for="ch" ptType="node" op="equ"/>
        </dgm:constrLst>
      </dgm:if>
      <dgm:if name="Name5" axis="ch" ptType="node" func="cnt" op="equ" val="5">
        <dgm:constrLst>
          <dgm:constr type="l" for="ch" forName="wedge1" refType="w" fact="0.0918"/>
          <dgm:constr type="t" for="ch" forName="wedge1" refType="w" fact="0.0638"/>
          <dgm:constr type="w" for="ch" forName="wedge1" refType="w" fact="0.84"/>
          <dgm:constr type="h" for="ch" forName="wedge1" refType="h" fact="0.84"/>
          <dgm:constr type="l" for="ch" forName="dummy1a" refType="w" fact="0.5118"/>
          <dgm:constr type="t" for="ch" forName="dummy1a" refType="h" fact="0.0638"/>
          <dgm:constr type="l" for="ch" forName="dummy1b" refType="w" fact="0.9112"/>
          <dgm:constr type="t" for="ch" forName="dummy1b" refType="h" fact="0.354"/>
          <dgm:constr type="l" for="ch" forName="wedge1Tx" refType="w" fact="0.53"/>
          <dgm:constr type="t" for="ch" forName="wedge1Tx" refType="h" fact="0.205"/>
          <dgm:constr type="w" for="ch" forName="wedge1Tx" refType="w" fact="0.27"/>
          <dgm:constr type="h" for="ch" forName="wedge1Tx" refType="h" fact="0.18"/>
          <dgm:constr type="l" for="ch" forName="wedge2" refType="w" fact="0.099"/>
          <dgm:constr type="t" for="ch" forName="wedge2" refType="w" fact="0.0862"/>
          <dgm:constr type="w" for="ch" forName="wedge2" refType="w" fact="0.84"/>
          <dgm:constr type="h" for="ch" forName="wedge2" refType="h" fact="0.84"/>
          <dgm:constr type="l" for="ch" forName="dummy2a" refType="w" fact="0.9185"/>
          <dgm:constr type="t" for="ch" forName="dummy2a" refType="h" fact="0.3764"/>
          <dgm:constr type="l" for="ch" forName="dummy2b" refType="w" fact="0.7659"/>
          <dgm:constr type="t" for="ch" forName="dummy2b" refType="h" fact="0.846"/>
          <dgm:constr type="l" for="ch" forName="wedge2Tx" refType="w" fact="0.64"/>
          <dgm:constr type="t" for="ch" forName="wedge2Tx" refType="h" fact="0.47"/>
          <dgm:constr type="w" for="ch" forName="wedge2Tx" refType="w" fact="0.25"/>
          <dgm:constr type="h" for="ch" forName="wedge2Tx" refType="h" fact="0.2"/>
          <dgm:constr type="l" for="ch" forName="wedge3" refType="w" fact="0.08"/>
          <dgm:constr type="t" for="ch" forName="wedge3" refType="w" fact="0.1"/>
          <dgm:constr type="w" for="ch" forName="wedge3" refType="w" fact="0.84"/>
          <dgm:constr type="h" for="ch" forName="wedge3" refType="h" fact="0.84"/>
          <dgm:constr type="l" for="ch" forName="dummy3a" refType="w" fact="0.7469"/>
          <dgm:constr type="t" for="ch" forName="dummy3a" refType="h" fact="0.8598"/>
          <dgm:constr type="l" for="ch" forName="dummy3b" refType="w" fact="0.2531"/>
          <dgm:constr type="t" for="ch" forName="dummy3b" refType="h" fact="0.8598"/>
          <dgm:constr type="l" for="ch" forName="wedge3Tx" refType="w" fact="0.38"/>
          <dgm:constr type="t" for="ch" forName="wedge3Tx" refType="h" fact="0.69"/>
          <dgm:constr type="w" for="ch" forName="wedge3Tx" refType="w" fact="0.24"/>
          <dgm:constr type="h" for="ch" forName="wedge3Tx" refType="h" fact="0.22"/>
          <dgm:constr type="l" for="ch" forName="wedge4" refType="w" fact="0.061"/>
          <dgm:constr type="t" for="ch" forName="wedge4" refType="h" fact="0.0862"/>
          <dgm:constr type="w" for="ch" forName="wedge4" refType="w" fact="0.84"/>
          <dgm:constr type="h" for="ch" forName="wedge4" refType="h" fact="0.84"/>
          <dgm:constr type="l" for="ch" forName="dummy4a" refType="w" fact="0.2341"/>
          <dgm:constr type="t" for="ch" forName="dummy4a" refType="h" fact="0.846"/>
          <dgm:constr type="l" for="ch" forName="dummy4b" refType="w" fact="0.0815"/>
          <dgm:constr type="t" for="ch" forName="dummy4b" refType="h" fact="0.3764"/>
          <dgm:constr type="r" for="ch" forName="wedge4Tx" refType="w" fact="0.36"/>
          <dgm:constr type="t" for="ch" forName="wedge4Tx" refType="h" fact="0.47"/>
          <dgm:constr type="w" for="ch" forName="wedge4Tx" refType="w" fact="0.25"/>
          <dgm:constr type="h" for="ch" forName="wedge4Tx" refType="h" fact="0.2"/>
          <dgm:constr type="l" for="ch" forName="wedge5" refType="w" fact="0.0682"/>
          <dgm:constr type="t" for="ch" forName="wedge5" refType="h" fact="0.0638"/>
          <dgm:constr type="w" for="ch" forName="wedge5" refType="w" fact="0.84"/>
          <dgm:constr type="h" for="ch" forName="wedge5" refType="h" fact="0.84"/>
          <dgm:constr type="l" for="ch" forName="dummy5a" refType="w" fact="0.0888"/>
          <dgm:constr type="t" for="ch" forName="dummy5a" refType="h" fact="0.354"/>
          <dgm:constr type="l" for="ch" forName="dummy5b" refType="w" fact="0.4882"/>
          <dgm:constr type="t" for="ch" forName="dummy5b" refType="h" fact="0.0638"/>
          <dgm:constr type="r" for="ch" forName="wedge5Tx" refType="w" fact="0.47"/>
          <dgm:constr type="t" for="ch" forName="wedge5Tx" refType="h" fact="0.205"/>
          <dgm:constr type="w" for="ch" forName="wedge5Tx" refType="w" fact="0.27"/>
          <dgm:constr type="h" for="ch" forName="wedge5Tx" refType="h" fact="0.18"/>
          <dgm:constr type="h" for="ch" forName="arrowWedge1" refType="w" fact="0.08"/>
          <dgm:constr type="diam" for="ch" forName="arrowWedge1" refType="w" fact="0.84"/>
          <dgm:constr type="l" for="ch" forName="arrowWedge1" refType="w" fact="0.5"/>
          <dgm:constr type="t" for="ch" forName="arrowWedge1" refType="w" fact="0.5"/>
          <dgm:constr type="h" for="ch" forName="arrowWedge2" refType="w" fact="0.08"/>
          <dgm:constr type="diam" for="ch" forName="arrowWedge2" refType="w" fact="0.84"/>
          <dgm:constr type="l" for="ch" forName="arrowWedge2" refType="w" fact="0.5"/>
          <dgm:constr type="t" for="ch" forName="arrowWedge2" refType="w" fact="0.5"/>
          <dgm:constr type="h" for="ch" forName="arrowWedge3" refType="w" fact="0.08"/>
          <dgm:constr type="diam" for="ch" forName="arrowWedge3" refType="w" fact="0.84"/>
          <dgm:constr type="l" for="ch" forName="arrowWedge3" refType="w" fact="0.5"/>
          <dgm:constr type="t" for="ch" forName="arrowWedge3" refType="w" fact="0.5"/>
          <dgm:constr type="h" for="ch" forName="arrowWedge4" refType="w" fact="0.08"/>
          <dgm:constr type="diam" for="ch" forName="arrowWedge4" refType="w" fact="0.84"/>
          <dgm:constr type="l" for="ch" forName="arrowWedge4" refType="w" fact="0.5"/>
          <dgm:constr type="t" for="ch" forName="arrowWedge4" refType="w" fact="0.5"/>
          <dgm:constr type="h" for="ch" forName="arrowWedge5" refType="w" fact="0.08"/>
          <dgm:constr type="diam" for="ch" forName="arrowWedge5" refType="w" fact="0.84"/>
          <dgm:constr type="l" for="ch" forName="arrowWedge5" refType="w" fact="0.5"/>
          <dgm:constr type="t" for="ch" forName="arrowWedge5" refType="w" fact="0.5"/>
          <dgm:constr type="primFontSz" for="ch" ptType="node" op="equ"/>
        </dgm:constrLst>
      </dgm:if>
      <dgm:if name="Name6" axis="ch" ptType="node" func="cnt" op="equ" val="6">
        <dgm:constrLst>
          <dgm:constr type="l" for="ch" forName="wedge1" refType="w" fact="0.09"/>
          <dgm:constr type="t" for="ch" forName="wedge1" refType="w" fact="0.0627"/>
          <dgm:constr type="w" for="ch" forName="wedge1" refType="w" fact="0.84"/>
          <dgm:constr type="h" for="ch" forName="wedge1" refType="h" fact="0.84"/>
          <dgm:constr type="l" for="ch" forName="dummy1a" refType="w" fact="0.51"/>
          <dgm:constr type="t" for="ch" forName="dummy1a" refType="h" fact="0.0627"/>
          <dgm:constr type="l" for="ch" forName="dummy1b" refType="w" fact="0.8737"/>
          <dgm:constr type="t" for="ch" forName="dummy1b" refType="h" fact="0.2727"/>
          <dgm:constr type="l" for="ch" forName="wedge1Tx" refType="w" fact="0.53"/>
          <dgm:constr type="t" for="ch" forName="wedge1Tx" refType="h" fact="0.17"/>
          <dgm:constr type="w" for="ch" forName="wedge1Tx" refType="w" fact="0.22"/>
          <dgm:constr type="h" for="ch" forName="wedge1Tx" refType="h" fact="0.17"/>
          <dgm:constr type="l" for="ch" forName="wedge2" refType="w" fact="0.1"/>
          <dgm:constr type="t" for="ch" forName="wedge2" refType="w" fact="0.08"/>
          <dgm:constr type="w" for="ch" forName="wedge2" refType="w" fact="0.84"/>
          <dgm:constr type="h" for="ch" forName="wedge2" refType="h" fact="0.84"/>
          <dgm:constr type="l" for="ch" forName="dummy2a" refType="w" fact="0.8837"/>
          <dgm:constr type="t" for="ch" forName="dummy2a" refType="h" fact="0.29"/>
          <dgm:constr type="l" for="ch" forName="dummy2b" refType="w" fact="0.8837"/>
          <dgm:constr type="t" for="ch" forName="dummy2b" refType="h" fact="0.71"/>
          <dgm:constr type="l" for="ch" forName="wedge2Tx" refType="w" fact="0.67"/>
          <dgm:constr type="t" for="ch" forName="wedge2Tx" refType="h" fact="0.42"/>
          <dgm:constr type="w" for="ch" forName="wedge2Tx" refType="w" fact="0.23"/>
          <dgm:constr type="h" for="ch" forName="wedge2Tx" refType="h" fact="0.165"/>
          <dgm:constr type="l" for="ch" forName="wedge3" refType="w" fact="0.09"/>
          <dgm:constr type="t" for="ch" forName="wedge3" refType="w" fact="0.0973"/>
          <dgm:constr type="w" for="ch" forName="wedge3" refType="w" fact="0.84"/>
          <dgm:constr type="h" for="ch" forName="wedge3" refType="h" fact="0.84"/>
          <dgm:constr type="l" for="ch" forName="dummy3a" refType="w" fact="0.8737"/>
          <dgm:constr type="t" for="ch" forName="dummy3a" refType="h" fact="0.7273"/>
          <dgm:constr type="l" for="ch" forName="dummy3b" refType="w" fact="0.51"/>
          <dgm:constr type="t" for="ch" forName="dummy3b" refType="h" fact="0.9373"/>
          <dgm:constr type="l" for="ch" forName="wedge3Tx" refType="w" fact="0.53"/>
          <dgm:constr type="t" for="ch" forName="wedge3Tx" refType="h" fact="0.665"/>
          <dgm:constr type="w" for="ch" forName="wedge3Tx" refType="w" fact="0.22"/>
          <dgm:constr type="h" for="ch" forName="wedge3Tx" refType="h" fact="0.17"/>
          <dgm:constr type="l" for="ch" forName="wedge4" refType="w" fact="0.07"/>
          <dgm:constr type="t" for="ch" forName="wedge4" refType="h" fact="0.0973"/>
          <dgm:constr type="w" for="ch" forName="wedge4" refType="w" fact="0.84"/>
          <dgm:constr type="h" for="ch" forName="wedge4" refType="h" fact="0.84"/>
          <dgm:constr type="l" for="ch" forName="dummy4a" refType="w" fact="0.49"/>
          <dgm:constr type="t" for="ch" forName="dummy4a" refType="h" fact="0.9373"/>
          <dgm:constr type="l" for="ch" forName="dummy4b" refType="w" fact="0.1263"/>
          <dgm:constr type="t" for="ch" forName="dummy4b" refType="h" fact="0.7273"/>
          <dgm:constr type="r" for="ch" forName="wedge4Tx" refType="w" fact="0.47"/>
          <dgm:constr type="t" for="ch" forName="wedge4Tx" refType="h" fact="0.665"/>
          <dgm:constr type="w" for="ch" forName="wedge4Tx" refType="w" fact="0.22"/>
          <dgm:constr type="h" for="ch" forName="wedge4Tx" refType="h" fact="0.17"/>
          <dgm:constr type="l" for="ch" forName="wedge5" refType="w" fact="0.06"/>
          <dgm:constr type="t" for="ch" forName="wedge5" refType="h" fact="0.08"/>
          <dgm:constr type="w" for="ch" forName="wedge5" refType="w" fact="0.84"/>
          <dgm:constr type="h" for="ch" forName="wedge5" refType="h" fact="0.84"/>
          <dgm:constr type="l" for="ch" forName="dummy5a" refType="w" fact="0.1163"/>
          <dgm:constr type="t" for="ch" forName="dummy5a" refType="h" fact="0.71"/>
          <dgm:constr type="l" for="ch" forName="dummy5b" refType="w" fact="0.1163"/>
          <dgm:constr type="t" for="ch" forName="dummy5b" refType="h" fact="0.29"/>
          <dgm:constr type="r" for="ch" forName="wedge5Tx" refType="w" fact="0.33"/>
          <dgm:constr type="t" for="ch" forName="wedge5Tx" refType="h" fact="0.42"/>
          <dgm:constr type="w" for="ch" forName="wedge5Tx" refType="w" fact="0.23"/>
          <dgm:constr type="h" for="ch" forName="wedge5Tx" refType="h" fact="0.165"/>
          <dgm:constr type="l" for="ch" forName="wedge6" refType="w" fact="0.07"/>
          <dgm:constr type="t" for="ch" forName="wedge6" refType="h" fact="0.0627"/>
          <dgm:constr type="w" for="ch" forName="wedge6" refType="w" fact="0.84"/>
          <dgm:constr type="h" for="ch" forName="wedge6" refType="h" fact="0.84"/>
          <dgm:constr type="l" for="ch" forName="dummy6a" refType="w" fact="0.1263"/>
          <dgm:constr type="t" for="ch" forName="dummy6a" refType="h" fact="0.2727"/>
          <dgm:constr type="l" for="ch" forName="dummy6b" refType="w" fact="0.49"/>
          <dgm:constr type="t" for="ch" forName="dummy6b" refType="h" fact="0.0627"/>
          <dgm:constr type="r" for="ch" forName="wedge6Tx" refType="w" fact="0.47"/>
          <dgm:constr type="t" for="ch" forName="wedge6Tx" refType="h" fact="0.17"/>
          <dgm:constr type="w" for="ch" forName="wedge6Tx" refType="w" fact="0.22"/>
          <dgm:constr type="h" for="ch" forName="wedge6Tx" refType="h" fact="0.17"/>
          <dgm:constr type="h" for="ch" forName="arrowWedge1" refType="w" fact="0.08"/>
          <dgm:constr type="diam" for="ch" forName="arrowWedge1" refType="w" fact="0.84"/>
          <dgm:constr type="l" for="ch" forName="arrowWedge1" refType="w" fact="0.5"/>
          <dgm:constr type="t" for="ch" forName="arrowWedge1" refType="w" fact="0.5"/>
          <dgm:constr type="h" for="ch" forName="arrowWedge2" refType="w" fact="0.08"/>
          <dgm:constr type="diam" for="ch" forName="arrowWedge2" refType="w" fact="0.84"/>
          <dgm:constr type="l" for="ch" forName="arrowWedge2" refType="w" fact="0.5"/>
          <dgm:constr type="t" for="ch" forName="arrowWedge2" refType="w" fact="0.5"/>
          <dgm:constr type="h" for="ch" forName="arrowWedge3" refType="w" fact="0.08"/>
          <dgm:constr type="diam" for="ch" forName="arrowWedge3" refType="w" fact="0.84"/>
          <dgm:constr type="l" for="ch" forName="arrowWedge3" refType="w" fact="0.5"/>
          <dgm:constr type="t" for="ch" forName="arrowWedge3" refType="w" fact="0.5"/>
          <dgm:constr type="h" for="ch" forName="arrowWedge4" refType="w" fact="0.08"/>
          <dgm:constr type="diam" for="ch" forName="arrowWedge4" refType="w" fact="0.84"/>
          <dgm:constr type="l" for="ch" forName="arrowWedge4" refType="w" fact="0.5"/>
          <dgm:constr type="t" for="ch" forName="arrowWedge4" refType="w" fact="0.5"/>
          <dgm:constr type="h" for="ch" forName="arrowWedge5" refType="w" fact="0.08"/>
          <dgm:constr type="diam" for="ch" forName="arrowWedge5" refType="w" fact="0.84"/>
          <dgm:constr type="l" for="ch" forName="arrowWedge5" refType="w" fact="0.5"/>
          <dgm:constr type="t" for="ch" forName="arrowWedge5" refType="w" fact="0.5"/>
          <dgm:constr type="h" for="ch" forName="arrowWedge6" refType="w" fact="0.08"/>
          <dgm:constr type="diam" for="ch" forName="arrowWedge6" refType="w" fact="0.84"/>
          <dgm:constr type="l" for="ch" forName="arrowWedge6" refType="w" fact="0.5"/>
          <dgm:constr type="t" for="ch" forName="arrowWedge6" refType="w" fact="0.5"/>
          <dgm:constr type="primFontSz" for="ch" ptType="node" op="equ"/>
        </dgm:constrLst>
      </dgm:if>
      <dgm:else name="Name7">
        <dgm:constrLst>
          <dgm:constr type="l" for="ch" forName="wedge1" refType="w" fact="0.0887"/>
          <dgm:constr type="t" for="ch" forName="wedge1" refType="w" fact="0.062"/>
          <dgm:constr type="w" for="ch" forName="wedge1" refType="w" fact="0.84"/>
          <dgm:constr type="h" for="ch" forName="wedge1" refType="h" fact="0.84"/>
          <dgm:constr type="l" for="ch" forName="dummy1a" refType="w" fact="0.5087"/>
          <dgm:constr type="t" for="ch" forName="dummy1a" refType="h" fact="0.062"/>
          <dgm:constr type="l" for="ch" forName="dummy1b" refType="w" fact="0.837"/>
          <dgm:constr type="t" for="ch" forName="dummy1b" refType="h" fact="0.2201"/>
          <dgm:constr type="l" for="ch" forName="wedge1Tx" refType="w" fact="0.53"/>
          <dgm:constr type="t" for="ch" forName="wedge1Tx" refType="h" fact="0.14"/>
          <dgm:constr type="w" for="ch" forName="wedge1Tx" refType="w" fact="0.2"/>
          <dgm:constr type="h" for="ch" forName="wedge1Tx" refType="h" fact="0.16"/>
          <dgm:constr type="l" for="ch" forName="wedge2" refType="w" fact="0.0995"/>
          <dgm:constr type="t" for="ch" forName="wedge2" refType="w" fact="0.0755"/>
          <dgm:constr type="w" for="ch" forName="wedge2" refType="w" fact="0.84"/>
          <dgm:constr type="h" for="ch" forName="wedge2" refType="h" fact="0.84"/>
          <dgm:constr type="l" for="ch" forName="dummy2a" refType="w" fact="0.8479"/>
          <dgm:constr type="t" for="ch" forName="dummy2a" refType="h" fact="0.2337"/>
          <dgm:constr type="l" for="ch" forName="dummy2b" refType="w" fact="0.929"/>
          <dgm:constr type="t" for="ch" forName="dummy2b" refType="h" fact="0.589"/>
          <dgm:constr type="l" for="ch" forName="wedge2Tx" refType="w" fact="0.67"/>
          <dgm:constr type="t" for="ch" forName="wedge2Tx" refType="h" fact="0.38"/>
          <dgm:constr type="w" for="ch" forName="wedge2Tx" refType="w" fact="0.23"/>
          <dgm:constr type="h" for="ch" forName="wedge2Tx" refType="h" fact="0.14"/>
          <dgm:constr type="l" for="ch" forName="wedge3" refType="w" fact="0.0956"/>
          <dgm:constr type="t" for="ch" forName="wedge3" refType="w" fact="0.0925"/>
          <dgm:constr type="w" for="ch" forName="wedge3" refType="w" fact="0.84"/>
          <dgm:constr type="h" for="ch" forName="wedge3" refType="h" fact="0.84"/>
          <dgm:constr type="l" for="ch" forName="dummy3a" refType="w" fact="0.9251"/>
          <dgm:constr type="t" for="ch" forName="dummy3a" refType="h" fact="0.6059"/>
          <dgm:constr type="l" for="ch" forName="dummy3b" refType="w" fact="0.6979"/>
          <dgm:constr type="t" for="ch" forName="dummy3b" refType="h" fact="0.8909"/>
          <dgm:constr type="l" for="ch" forName="wedge3Tx" refType="w" fact="0.635"/>
          <dgm:constr type="t" for="ch" forName="wedge3Tx" refType="h" fact="0.59"/>
          <dgm:constr type="w" for="ch" forName="wedge3Tx" refType="w" fact="0.2"/>
          <dgm:constr type="h" for="ch" forName="wedge3Tx" refType="h" fact="0.155"/>
          <dgm:constr type="l" for="ch" forName="wedge4" refType="w" fact="0.08"/>
          <dgm:constr type="t" for="ch" forName="wedge4" refType="h" fact="0.1"/>
          <dgm:constr type="w" for="ch" forName="wedge4" refType="w" fact="0.84"/>
          <dgm:constr type="h" for="ch" forName="wedge4" refType="h" fact="0.84"/>
          <dgm:constr type="l" for="ch" forName="dummy4a" refType="w" fact="0.6822"/>
          <dgm:constr type="t" for="ch" forName="dummy4a" refType="h" fact="0.8984"/>
          <dgm:constr type="l" for="ch" forName="dummy4b" refType="w" fact="0.3178"/>
          <dgm:constr type="t" for="ch" forName="dummy4b" refType="h" fact="0.8984"/>
          <dgm:constr type="l" for="ch" forName="wedge4Tx" refType="w" fact="0.4025"/>
          <dgm:constr type="t" for="ch" forName="wedge4Tx" refType="h" fact="0.76"/>
          <dgm:constr type="w" for="ch" forName="wedge4Tx" refType="w" fact="0.195"/>
          <dgm:constr type="h" for="ch" forName="wedge4Tx" refType="h" fact="0.14"/>
          <dgm:constr type="l" for="ch" forName="wedge5" refType="w" fact="0.0644"/>
          <dgm:constr type="t" for="ch" forName="wedge5" refType="h" fact="0.0925"/>
          <dgm:constr type="w" for="ch" forName="wedge5" refType="w" fact="0.84"/>
          <dgm:constr type="h" for="ch" forName="wedge5" refType="h" fact="0.84"/>
          <dgm:constr type="l" for="ch" forName="dummy5a" refType="w" fact="0.3021"/>
          <dgm:constr type="t" for="ch" forName="dummy5a" refType="h" fact="0.8909"/>
          <dgm:constr type="l" for="ch" forName="dummy5b" refType="w" fact="0.0749"/>
          <dgm:constr type="t" for="ch" forName="dummy5b" refType="h" fact="0.6059"/>
          <dgm:constr type="r" for="ch" forName="wedge5Tx" refType="w" fact="0.365"/>
          <dgm:constr type="t" for="ch" forName="wedge5Tx" refType="h" fact="0.59"/>
          <dgm:constr type="w" for="ch" forName="wedge5Tx" refType="w" fact="0.2"/>
          <dgm:constr type="h" for="ch" forName="wedge5Tx" refType="h" fact="0.155"/>
          <dgm:constr type="l" for="ch" forName="wedge6" refType="w" fact="0.0605"/>
          <dgm:constr type="t" for="ch" forName="wedge6" refType="h" fact="0.0755"/>
          <dgm:constr type="w" for="ch" forName="wedge6" refType="w" fact="0.84"/>
          <dgm:constr type="h" for="ch" forName="wedge6" refType="h" fact="0.84"/>
          <dgm:constr type="l" for="ch" forName="dummy6a" refType="w" fact="0.071"/>
          <dgm:constr type="t" for="ch" forName="dummy6a" refType="h" fact="0.589"/>
          <dgm:constr type="l" for="ch" forName="dummy6b" refType="w" fact="0.1521"/>
          <dgm:constr type="t" for="ch" forName="dummy6b" refType="h" fact="0.2337"/>
          <dgm:constr type="r" for="ch" forName="wedge6Tx" refType="w" fact="0.33"/>
          <dgm:constr type="t" for="ch" forName="wedge6Tx" refType="h" fact="0.38"/>
          <dgm:constr type="w" for="ch" forName="wedge6Tx" refType="w" fact="0.23"/>
          <dgm:constr type="h" for="ch" forName="wedge6Tx" refType="h" fact="0.14"/>
          <dgm:constr type="l" for="ch" forName="wedge7" refType="w" fact="0.0713"/>
          <dgm:constr type="t" for="ch" forName="wedge7" refType="h" fact="0.062"/>
          <dgm:constr type="w" for="ch" forName="wedge7" refType="w" fact="0.84"/>
          <dgm:constr type="h" for="ch" forName="wedge7" refType="h" fact="0.84"/>
          <dgm:constr type="l" for="ch" forName="dummy7a" refType="w" fact="0.163"/>
          <dgm:constr type="t" for="ch" forName="dummy7a" refType="h" fact="0.2201"/>
          <dgm:constr type="l" for="ch" forName="dummy7b" refType="w" fact="0.4913"/>
          <dgm:constr type="t" for="ch" forName="dummy7b" refType="h" fact="0.062"/>
          <dgm:constr type="r" for="ch" forName="wedge7Tx" refType="w" fact="0.47"/>
          <dgm:constr type="t" for="ch" forName="wedge7Tx" refType="h" fact="0.14"/>
          <dgm:constr type="w" for="ch" forName="wedge7Tx" refType="w" fact="0.2"/>
          <dgm:constr type="h" for="ch" forName="wedge7Tx" refType="h" fact="0.16"/>
          <dgm:constr type="h" for="ch" forName="arrowWedge1" refType="w" fact="0.08"/>
          <dgm:constr type="diam" for="ch" forName="arrowWedge1" refType="w" fact="0.84"/>
          <dgm:constr type="l" for="ch" forName="arrowWedge1" refType="w" fact="0.5"/>
          <dgm:constr type="t" for="ch" forName="arrowWedge1" refType="w" fact="0.5"/>
          <dgm:constr type="h" for="ch" forName="arrowWedge2" refType="w" fact="0.08"/>
          <dgm:constr type="diam" for="ch" forName="arrowWedge2" refType="w" fact="0.84"/>
          <dgm:constr type="l" for="ch" forName="arrowWedge2" refType="w" fact="0.5"/>
          <dgm:constr type="t" for="ch" forName="arrowWedge2" refType="w" fact="0.5"/>
          <dgm:constr type="h" for="ch" forName="arrowWedge3" refType="w" fact="0.08"/>
          <dgm:constr type="diam" for="ch" forName="arrowWedge3" refType="w" fact="0.84"/>
          <dgm:constr type="l" for="ch" forName="arrowWedge3" refType="w" fact="0.5"/>
          <dgm:constr type="t" for="ch" forName="arrowWedge3" refType="w" fact="0.5"/>
          <dgm:constr type="h" for="ch" forName="arrowWedge4" refType="w" fact="0.08"/>
          <dgm:constr type="diam" for="ch" forName="arrowWedge4" refType="w" fact="0.84"/>
          <dgm:constr type="l" for="ch" forName="arrowWedge4" refType="w" fact="0.5"/>
          <dgm:constr type="t" for="ch" forName="arrowWedge4" refType="w" fact="0.5"/>
          <dgm:constr type="h" for="ch" forName="arrowWedge5" refType="w" fact="0.08"/>
          <dgm:constr type="diam" for="ch" forName="arrowWedge5" refType="w" fact="0.84"/>
          <dgm:constr type="l" for="ch" forName="arrowWedge5" refType="w" fact="0.5"/>
          <dgm:constr type="t" for="ch" forName="arrowWedge5" refType="w" fact="0.5"/>
          <dgm:constr type="h" for="ch" forName="arrowWedge6" refType="w" fact="0.08"/>
          <dgm:constr type="diam" for="ch" forName="arrowWedge6" refType="w" fact="0.84"/>
          <dgm:constr type="l" for="ch" forName="arrowWedge6" refType="w" fact="0.5"/>
          <dgm:constr type="t" for="ch" forName="arrowWedge6" refType="w" fact="0.5"/>
          <dgm:constr type="h" for="ch" forName="arrowWedge7" refType="w" fact="0.08"/>
          <dgm:constr type="diam" for="ch" forName="arrowWedge7" refType="w" fact="0.84"/>
          <dgm:constr type="l" for="ch" forName="arrowWedge7" refType="w" fact="0.5"/>
          <dgm:constr type="t" for="ch" forName="arrowWedge7" refType="w" fact="0.5"/>
          <dgm:constr type="primFontSz" for="ch" ptType="node" op="equ"/>
        </dgm:constrLst>
      </dgm:else>
    </dgm:choose>
    <dgm:ruleLst/>
    <dgm:choose name="Name8">
      <dgm:if name="Name9" axis="ch" ptType="node" func="cnt" op="gte" val="1">
        <dgm:layoutNode name="wedge1">
          <dgm:alg type="sp"/>
          <dgm:choose name="Name10">
            <dgm:if name="Name11" axis="ch" ptType="node" func="cnt" op="equ" val="1">
              <dgm:shape xmlns:r="http://schemas.openxmlformats.org/officeDocument/2006/relationships" type="ellipse" r:blip="">
                <dgm:adjLst/>
              </dgm:shape>
            </dgm:if>
            <dgm:if name="Name12" axis="ch" ptType="node" func="cnt" op="equ" val="2">
              <dgm:shape xmlns:r="http://schemas.openxmlformats.org/officeDocument/2006/relationships" type="pie" r:blip="">
                <dgm:adjLst>
                  <dgm:adj idx="1" val="270"/>
                  <dgm:adj idx="2" val="90"/>
                </dgm:adjLst>
              </dgm:shape>
            </dgm:if>
            <dgm:if name="Name13" axis="ch" ptType="node" func="cnt" op="equ" val="3">
              <dgm:shape xmlns:r="http://schemas.openxmlformats.org/officeDocument/2006/relationships" type="pie" r:blip="">
                <dgm:adjLst>
                  <dgm:adj idx="1" val="270"/>
                  <dgm:adj idx="2" val="30"/>
                </dgm:adjLst>
              </dgm:shape>
            </dgm:if>
            <dgm:if name="Name14" axis="ch" ptType="node" func="cnt" op="equ" val="4">
              <dgm:shape xmlns:r="http://schemas.openxmlformats.org/officeDocument/2006/relationships" type="pie" r:blip="">
                <dgm:adjLst>
                  <dgm:adj idx="1" val="270"/>
                  <dgm:adj idx="2" val="0"/>
                </dgm:adjLst>
              </dgm:shape>
            </dgm:if>
            <dgm:if name="Name15" axis="ch" ptType="node" func="cnt" op="equ" val="5">
              <dgm:shape xmlns:r="http://schemas.openxmlformats.org/officeDocument/2006/relationships" type="pie" r:blip="">
                <dgm:adjLst>
                  <dgm:adj idx="1" val="270"/>
                  <dgm:adj idx="2" val="342"/>
                </dgm:adjLst>
              </dgm:shape>
            </dgm:if>
            <dgm:if name="Name16" axis="ch" ptType="node" func="cnt" op="equ" val="6">
              <dgm:shape xmlns:r="http://schemas.openxmlformats.org/officeDocument/2006/relationships" type="pie" r:blip="">
                <dgm:adjLst>
                  <dgm:adj idx="1" val="270"/>
                  <dgm:adj idx="2" val="330"/>
                </dgm:adjLst>
              </dgm:shape>
            </dgm:if>
            <dgm:else name="Name17">
              <dgm:shape xmlns:r="http://schemas.openxmlformats.org/officeDocument/2006/relationships" type="pie" r:blip="">
                <dgm:adjLst>
                  <dgm:adj idx="1" val="270"/>
                  <dgm:adj idx="2" val="321.4286"/>
                </dgm:adjLst>
              </dgm:shape>
            </dgm:else>
          </dgm:choose>
          <dgm:choose name="Name18">
            <dgm:if name="Name19" func="var" arg="dir" op="equ" val="norm">
              <dgm:presOf axis="ch desOrSelf" ptType="node node" st="1 1" cnt="1 0"/>
            </dgm:if>
            <dgm:else name="Name20">
              <dgm:choose name="Name21">
                <dgm:if name="Name22" axis="ch" ptType="node" func="cnt" op="equ" val="1">
                  <dgm:presOf axis="ch desOrSelf" ptType="node node" st="1 1" cnt="1 0"/>
                </dgm:if>
                <dgm:if name="Name23" axis="ch" ptType="node" func="cnt" op="equ" val="2">
                  <dgm:presOf axis="ch desOrSelf" ptType="node node" st="2 1" cnt="1 0"/>
                </dgm:if>
                <dgm:if name="Name24" axis="ch" ptType="node" func="cnt" op="equ" val="3">
                  <dgm:presOf axis="ch desOrSelf" ptType="node node" st="3 1" cnt="1 0"/>
                </dgm:if>
                <dgm:if name="Name25" axis="ch" ptType="node" func="cnt" op="equ" val="4">
                  <dgm:presOf axis="ch desOrSelf" ptType="node node" st="4 1" cnt="1 0"/>
                </dgm:if>
                <dgm:if name="Name26" axis="ch" ptType="node" func="cnt" op="equ" val="5">
                  <dgm:presOf axis="ch desOrSelf" ptType="node node" st="5 1" cnt="1 0"/>
                </dgm:if>
                <dgm:if name="Name27" axis="ch" ptType="node" func="cnt" op="equ" val="6">
                  <dgm:presOf axis="ch desOrSelf" ptType="node node" st="6 1" cnt="1 0"/>
                </dgm:if>
                <dgm:else name="Name28">
                  <dgm:presOf axis="ch desOrSelf" ptType="node node" st="7 1" cnt="1 0"/>
                </dgm:else>
              </dgm:choose>
            </dgm:else>
          </dgm:choose>
          <dgm:constrLst/>
          <dgm:ruleLst/>
        </dgm:layoutNode>
        <dgm:layoutNode name="dummy1a" moveWith="wedge1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dummy1b" moveWith="wedge1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wedge1Tx" moveWith="wedge1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29">
            <dgm:if name="Name30" func="var" arg="dir" op="equ" val="norm">
              <dgm:presOf axis="ch desOrSelf" ptType="node node" st="1 1" cnt="1 0"/>
            </dgm:if>
            <dgm:else name="Name31">
              <dgm:choose name="Name32">
                <dgm:if name="Name33" axis="ch" ptType="node" func="cnt" op="equ" val="1">
                  <dgm:presOf axis="ch desOrSelf" ptType="node node" st="1 1" cnt="1 0"/>
                </dgm:if>
                <dgm:if name="Name34" axis="ch" ptType="node" func="cnt" op="equ" val="2">
                  <dgm:presOf axis="ch desOrSelf" ptType="node node" st="2 1" cnt="1 0"/>
                </dgm:if>
                <dgm:if name="Name35" axis="ch" ptType="node" func="cnt" op="equ" val="3">
                  <dgm:presOf axis="ch desOrSelf" ptType="node node" st="3 1" cnt="1 0"/>
                </dgm:if>
                <dgm:if name="Name36" axis="ch" ptType="node" func="cnt" op="equ" val="4">
                  <dgm:presOf axis="ch desOrSelf" ptType="node node" st="4 1" cnt="1 0"/>
                </dgm:if>
                <dgm:if name="Name37" axis="ch" ptType="node" func="cnt" op="equ" val="5">
                  <dgm:presOf axis="ch desOrSelf" ptType="node node" st="5 1" cnt="1 0"/>
                </dgm:if>
                <dgm:if name="Name38" axis="ch" ptType="node" func="cnt" op="equ" val="6">
                  <dgm:presOf axis="ch desOrSelf" ptType="node node" st="6 1" cnt="1 0"/>
                </dgm:if>
                <dgm:else name="Name39">
                  <dgm:presOf axis="ch desOrSelf" ptType="node node" st="7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40"/>
    </dgm:choose>
    <dgm:choose name="Name41">
      <dgm:if name="Name42" axis="ch" ptType="node" func="cnt" op="gte" val="2">
        <dgm:layoutNode name="wedge2">
          <dgm:alg type="sp"/>
          <dgm:choose name="Name43">
            <dgm:if name="Name44" axis="ch" ptType="node" func="cnt" op="equ" val="2">
              <dgm:shape xmlns:r="http://schemas.openxmlformats.org/officeDocument/2006/relationships" type="pie" r:blip="">
                <dgm:adjLst>
                  <dgm:adj idx="1" val="90"/>
                  <dgm:adj idx="2" val="270"/>
                </dgm:adjLst>
              </dgm:shape>
            </dgm:if>
            <dgm:if name="Name45" axis="ch" ptType="node" func="cnt" op="equ" val="3">
              <dgm:shape xmlns:r="http://schemas.openxmlformats.org/officeDocument/2006/relationships" type="pie" r:blip="">
                <dgm:adjLst>
                  <dgm:adj idx="1" val="30"/>
                  <dgm:adj idx="2" val="150"/>
                </dgm:adjLst>
              </dgm:shape>
            </dgm:if>
            <dgm:if name="Name46" axis="ch" ptType="node" func="cnt" op="equ" val="4">
              <dgm:shape xmlns:r="http://schemas.openxmlformats.org/officeDocument/2006/relationships" type="pie" r:blip="">
                <dgm:adjLst>
                  <dgm:adj idx="1" val="0"/>
                  <dgm:adj idx="2" val="90"/>
                </dgm:adjLst>
              </dgm:shape>
            </dgm:if>
            <dgm:if name="Name47" axis="ch" ptType="node" func="cnt" op="equ" val="5">
              <dgm:shape xmlns:r="http://schemas.openxmlformats.org/officeDocument/2006/relationships" type="pie" r:blip="">
                <dgm:adjLst>
                  <dgm:adj idx="1" val="342"/>
                  <dgm:adj idx="2" val="54"/>
                </dgm:adjLst>
              </dgm:shape>
            </dgm:if>
            <dgm:if name="Name48" axis="ch" ptType="node" func="cnt" op="equ" val="6">
              <dgm:shape xmlns:r="http://schemas.openxmlformats.org/officeDocument/2006/relationships" type="pie" r:blip="">
                <dgm:adjLst>
                  <dgm:adj idx="1" val="330"/>
                  <dgm:adj idx="2" val="30"/>
                </dgm:adjLst>
              </dgm:shape>
            </dgm:if>
            <dgm:else name="Name49">
              <dgm:shape xmlns:r="http://schemas.openxmlformats.org/officeDocument/2006/relationships" type="pie" r:blip="">
                <dgm:adjLst>
                  <dgm:adj idx="1" val="321.4286"/>
                  <dgm:adj idx="2" val="12.85714"/>
                </dgm:adjLst>
              </dgm:shape>
            </dgm:else>
          </dgm:choose>
          <dgm:choose name="Name50">
            <dgm:if name="Name51" func="var" arg="dir" op="equ" val="norm">
              <dgm:presOf axis="ch desOrSelf" ptType="node node" st="2 1" cnt="1 0"/>
            </dgm:if>
            <dgm:else name="Name52">
              <dgm:choose name="Name53">
                <dgm:if name="Name54" axis="ch" ptType="node" func="cnt" op="equ" val="2">
                  <dgm:presOf axis="ch desOrSelf" ptType="node node" st="1 1" cnt="1 0"/>
                </dgm:if>
                <dgm:if name="Name55" axis="ch" ptType="node" func="cnt" op="equ" val="3">
                  <dgm:presOf axis="ch desOrSelf" ptType="node node" st="2 1" cnt="1 0"/>
                </dgm:if>
                <dgm:if name="Name56" axis="ch" ptType="node" func="cnt" op="equ" val="4">
                  <dgm:presOf axis="ch desOrSelf" ptType="node node" st="3 1" cnt="1 0"/>
                </dgm:if>
                <dgm:if name="Name57" axis="ch" ptType="node" func="cnt" op="equ" val="5">
                  <dgm:presOf axis="ch desOrSelf" ptType="node node" st="4 1" cnt="1 0"/>
                </dgm:if>
                <dgm:if name="Name58" axis="ch" ptType="node" func="cnt" op="equ" val="6">
                  <dgm:presOf axis="ch desOrSelf" ptType="node node" st="5 1" cnt="1 0"/>
                </dgm:if>
                <dgm:else name="Name59">
                  <dgm:presOf axis="ch desOrSelf" ptType="node node" st="6 1" cnt="1 0"/>
                </dgm:else>
              </dgm:choose>
            </dgm:else>
          </dgm:choose>
          <dgm:constrLst/>
          <dgm:ruleLst/>
        </dgm:layoutNode>
        <dgm:layoutNode name="dummy2a" moveWith="wedge2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dummy2b" moveWith="wedge2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wedge2Tx" moveWith="wedge2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60">
            <dgm:if name="Name61" func="var" arg="dir" op="equ" val="norm">
              <dgm:presOf axis="ch desOrSelf" ptType="node node" st="2 1" cnt="1 0"/>
            </dgm:if>
            <dgm:else name="Name62">
              <dgm:choose name="Name63">
                <dgm:if name="Name64" axis="ch" ptType="node" func="cnt" op="equ" val="2">
                  <dgm:presOf axis="ch desOrSelf" ptType="node node" st="1 1" cnt="1 0"/>
                </dgm:if>
                <dgm:if name="Name65" axis="ch" ptType="node" func="cnt" op="equ" val="3">
                  <dgm:presOf axis="ch desOrSelf" ptType="node node" st="2 1" cnt="1 0"/>
                </dgm:if>
                <dgm:if name="Name66" axis="ch" ptType="node" func="cnt" op="equ" val="4">
                  <dgm:presOf axis="ch desOrSelf" ptType="node node" st="3 1" cnt="1 0"/>
                </dgm:if>
                <dgm:if name="Name67" axis="ch" ptType="node" func="cnt" op="equ" val="5">
                  <dgm:presOf axis="ch desOrSelf" ptType="node node" st="4 1" cnt="1 0"/>
                </dgm:if>
                <dgm:if name="Name68" axis="ch" ptType="node" func="cnt" op="equ" val="6">
                  <dgm:presOf axis="ch desOrSelf" ptType="node node" st="5 1" cnt="1 0"/>
                </dgm:if>
                <dgm:else name="Name69">
                  <dgm:presOf axis="ch desOrSelf" ptType="node node" st="6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70"/>
    </dgm:choose>
    <dgm:choose name="Name71">
      <dgm:if name="Name72" axis="ch" ptType="node" func="cnt" op="gte" val="3">
        <dgm:layoutNode name="wedge3">
          <dgm:alg type="sp"/>
          <dgm:choose name="Name73">
            <dgm:if name="Name74" axis="ch" ptType="node" func="cnt" op="equ" val="3">
              <dgm:shape xmlns:r="http://schemas.openxmlformats.org/officeDocument/2006/relationships" type="pie" r:blip="">
                <dgm:adjLst>
                  <dgm:adj idx="1" val="150"/>
                  <dgm:adj idx="2" val="270"/>
                </dgm:adjLst>
              </dgm:shape>
            </dgm:if>
            <dgm:if name="Name75" axis="ch" ptType="node" func="cnt" op="equ" val="4">
              <dgm:shape xmlns:r="http://schemas.openxmlformats.org/officeDocument/2006/relationships" type="pie" r:blip="">
                <dgm:adjLst>
                  <dgm:adj idx="1" val="90"/>
                  <dgm:adj idx="2" val="180"/>
                </dgm:adjLst>
              </dgm:shape>
            </dgm:if>
            <dgm:if name="Name76" axis="ch" ptType="node" func="cnt" op="equ" val="5">
              <dgm:shape xmlns:r="http://schemas.openxmlformats.org/officeDocument/2006/relationships" type="pie" r:blip="">
                <dgm:adjLst>
                  <dgm:adj idx="1" val="54"/>
                  <dgm:adj idx="2" val="126"/>
                </dgm:adjLst>
              </dgm:shape>
            </dgm:if>
            <dgm:if name="Name77" axis="ch" ptType="node" func="cnt" op="equ" val="6">
              <dgm:shape xmlns:r="http://schemas.openxmlformats.org/officeDocument/2006/relationships" type="pie" r:blip="">
                <dgm:adjLst>
                  <dgm:adj idx="1" val="30"/>
                  <dgm:adj idx="2" val="90"/>
                </dgm:adjLst>
              </dgm:shape>
            </dgm:if>
            <dgm:else name="Name78">
              <dgm:shape xmlns:r="http://schemas.openxmlformats.org/officeDocument/2006/relationships" type="pie" r:blip="">
                <dgm:adjLst>
                  <dgm:adj idx="1" val="12.85714"/>
                  <dgm:adj idx="2" val="64.28571"/>
                </dgm:adjLst>
              </dgm:shape>
            </dgm:else>
          </dgm:choose>
          <dgm:choose name="Name79">
            <dgm:if name="Name80" func="var" arg="dir" op="equ" val="norm">
              <dgm:presOf axis="ch desOrSelf" ptType="node node" st="3 1" cnt="1 0"/>
            </dgm:if>
            <dgm:else name="Name81">
              <dgm:choose name="Name82">
                <dgm:if name="Name83" axis="ch" ptType="node" func="cnt" op="equ" val="3">
                  <dgm:presOf axis="ch desOrSelf" ptType="node node" st="1 1" cnt="1 0"/>
                </dgm:if>
                <dgm:if name="Name84" axis="ch" ptType="node" func="cnt" op="equ" val="4">
                  <dgm:presOf axis="ch desOrSelf" ptType="node node" st="2 1" cnt="1 0"/>
                </dgm:if>
                <dgm:if name="Name85" axis="ch" ptType="node" func="cnt" op="equ" val="5">
                  <dgm:presOf axis="ch desOrSelf" ptType="node node" st="3 1" cnt="1 0"/>
                </dgm:if>
                <dgm:if name="Name86" axis="ch" ptType="node" func="cnt" op="equ" val="6">
                  <dgm:presOf axis="ch desOrSelf" ptType="node node" st="4 1" cnt="1 0"/>
                </dgm:if>
                <dgm:else name="Name87">
                  <dgm:presOf axis="ch desOrSelf" ptType="node node" st="5 1" cnt="1 0"/>
                </dgm:else>
              </dgm:choose>
            </dgm:else>
          </dgm:choose>
          <dgm:constrLst/>
          <dgm:ruleLst/>
        </dgm:layoutNode>
        <dgm:layoutNode name="dummy3a" moveWith="wedge3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dummy3b" moveWith="wedge3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wedge3Tx" moveWith="wedge3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88">
            <dgm:if name="Name89" func="var" arg="dir" op="equ" val="norm">
              <dgm:presOf axis="ch desOrSelf" ptType="node node" st="3 1" cnt="1 0"/>
            </dgm:if>
            <dgm:else name="Name90">
              <dgm:choose name="Name91">
                <dgm:if name="Name92" axis="ch" ptType="node" func="cnt" op="equ" val="3">
                  <dgm:presOf axis="ch desOrSelf" ptType="node node" st="1 1" cnt="1 0"/>
                </dgm:if>
                <dgm:if name="Name93" axis="ch" ptType="node" func="cnt" op="equ" val="4">
                  <dgm:presOf axis="ch desOrSelf" ptType="node node" st="2 1" cnt="1 0"/>
                </dgm:if>
                <dgm:if name="Name94" axis="ch" ptType="node" func="cnt" op="equ" val="5">
                  <dgm:presOf axis="ch desOrSelf" ptType="node node" st="3 1" cnt="1 0"/>
                </dgm:if>
                <dgm:if name="Name95" axis="ch" ptType="node" func="cnt" op="equ" val="6">
                  <dgm:presOf axis="ch desOrSelf" ptType="node node" st="4 1" cnt="1 0"/>
                </dgm:if>
                <dgm:else name="Name96">
                  <dgm:presOf axis="ch desOrSelf" ptType="node node" st="5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97"/>
    </dgm:choose>
    <dgm:choose name="Name98">
      <dgm:if name="Name99" axis="ch" ptType="node" func="cnt" op="gte" val="4">
        <dgm:layoutNode name="wedge4">
          <dgm:alg type="sp"/>
          <dgm:choose name="Name100">
            <dgm:if name="Name101" axis="ch" ptType="node" func="cnt" op="equ" val="4">
              <dgm:shape xmlns:r="http://schemas.openxmlformats.org/officeDocument/2006/relationships" type="pie" r:blip="">
                <dgm:adjLst>
                  <dgm:adj idx="1" val="180"/>
                  <dgm:adj idx="2" val="270"/>
                </dgm:adjLst>
              </dgm:shape>
            </dgm:if>
            <dgm:if name="Name102" axis="ch" ptType="node" func="cnt" op="equ" val="5">
              <dgm:shape xmlns:r="http://schemas.openxmlformats.org/officeDocument/2006/relationships" type="pie" r:blip="">
                <dgm:adjLst>
                  <dgm:adj idx="1" val="126"/>
                  <dgm:adj idx="2" val="198"/>
                </dgm:adjLst>
              </dgm:shape>
            </dgm:if>
            <dgm:if name="Name103" axis="ch" ptType="node" func="cnt" op="equ" val="6">
              <dgm:shape xmlns:r="http://schemas.openxmlformats.org/officeDocument/2006/relationships" type="pie" r:blip="">
                <dgm:adjLst>
                  <dgm:adj idx="1" val="90"/>
                  <dgm:adj idx="2" val="150"/>
                </dgm:adjLst>
              </dgm:shape>
            </dgm:if>
            <dgm:else name="Name104">
              <dgm:shape xmlns:r="http://schemas.openxmlformats.org/officeDocument/2006/relationships" type="pie" r:blip="">
                <dgm:adjLst>
                  <dgm:adj idx="1" val="64.2871"/>
                  <dgm:adj idx="2" val="115.7143"/>
                </dgm:adjLst>
              </dgm:shape>
            </dgm:else>
          </dgm:choose>
          <dgm:choose name="Name105">
            <dgm:if name="Name106" func="var" arg="dir" op="equ" val="norm">
              <dgm:presOf axis="ch desOrSelf" ptType="node node" st="4 1" cnt="1 0"/>
            </dgm:if>
            <dgm:else name="Name107">
              <dgm:choose name="Name108">
                <dgm:if name="Name109" axis="ch" ptType="node" func="cnt" op="equ" val="4">
                  <dgm:presOf axis="ch desOrSelf" ptType="node node" st="1 1" cnt="1 0"/>
                </dgm:if>
                <dgm:if name="Name110" axis="ch" ptType="node" func="cnt" op="equ" val="5">
                  <dgm:presOf axis="ch desOrSelf" ptType="node node" st="2 1" cnt="1 0"/>
                </dgm:if>
                <dgm:if name="Name111" axis="ch" ptType="node" func="cnt" op="equ" val="6">
                  <dgm:presOf axis="ch desOrSelf" ptType="node node" st="3 1" cnt="1 0"/>
                </dgm:if>
                <dgm:else name="Name112">
                  <dgm:presOf axis="ch desOrSelf" ptType="node node" st="4 1" cnt="1 0"/>
                </dgm:else>
              </dgm:choose>
            </dgm:else>
          </dgm:choose>
          <dgm:constrLst/>
          <dgm:ruleLst/>
        </dgm:layoutNode>
        <dgm:layoutNode name="dummy4a" moveWith="wedge4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dummy4b" moveWith="wedge4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wedge4Tx" moveWith="wedge4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113">
            <dgm:if name="Name114" func="var" arg="dir" op="equ" val="norm">
              <dgm:presOf axis="ch desOrSelf" ptType="node node" st="4 1" cnt="1 0"/>
            </dgm:if>
            <dgm:else name="Name115">
              <dgm:choose name="Name116">
                <dgm:if name="Name117" axis="ch" ptType="node" func="cnt" op="equ" val="4">
                  <dgm:presOf axis="ch desOrSelf" ptType="node node" st="1 1" cnt="1 0"/>
                </dgm:if>
                <dgm:if name="Name118" axis="ch" ptType="node" func="cnt" op="equ" val="5">
                  <dgm:presOf axis="ch desOrSelf" ptType="node node" st="2 1" cnt="1 0"/>
                </dgm:if>
                <dgm:if name="Name119" axis="ch" ptType="node" func="cnt" op="equ" val="6">
                  <dgm:presOf axis="ch desOrSelf" ptType="node node" st="3 1" cnt="1 0"/>
                </dgm:if>
                <dgm:else name="Name120">
                  <dgm:presOf axis="ch desOrSelf" ptType="node node" st="4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121"/>
    </dgm:choose>
    <dgm:choose name="Name122">
      <dgm:if name="Name123" axis="ch" ptType="node" func="cnt" op="gte" val="5">
        <dgm:layoutNode name="wedge5">
          <dgm:alg type="sp"/>
          <dgm:choose name="Name124">
            <dgm:if name="Name125" axis="ch" ptType="node" func="cnt" op="equ" val="5">
              <dgm:shape xmlns:r="http://schemas.openxmlformats.org/officeDocument/2006/relationships" type="pie" r:blip="">
                <dgm:adjLst>
                  <dgm:adj idx="1" val="198"/>
                  <dgm:adj idx="2" val="270"/>
                </dgm:adjLst>
              </dgm:shape>
            </dgm:if>
            <dgm:if name="Name126" axis="ch" ptType="node" func="cnt" op="equ" val="6">
              <dgm:shape xmlns:r="http://schemas.openxmlformats.org/officeDocument/2006/relationships" type="pie" r:blip="">
                <dgm:adjLst>
                  <dgm:adj idx="1" val="150"/>
                  <dgm:adj idx="2" val="210"/>
                </dgm:adjLst>
              </dgm:shape>
            </dgm:if>
            <dgm:else name="Name127">
              <dgm:shape xmlns:r="http://schemas.openxmlformats.org/officeDocument/2006/relationships" type="pie" r:blip="">
                <dgm:adjLst>
                  <dgm:adj idx="1" val="115.7143"/>
                  <dgm:adj idx="2" val="167.1429"/>
                </dgm:adjLst>
              </dgm:shape>
            </dgm:else>
          </dgm:choose>
          <dgm:choose name="Name128">
            <dgm:if name="Name129" func="var" arg="dir" op="equ" val="norm">
              <dgm:presOf axis="ch desOrSelf" ptType="node node" st="5 1" cnt="1 0"/>
            </dgm:if>
            <dgm:else name="Name130">
              <dgm:choose name="Name131">
                <dgm:if name="Name132" axis="ch" ptType="node" func="cnt" op="equ" val="5">
                  <dgm:presOf axis="ch desOrSelf" ptType="node node" st="1 1" cnt="1 0"/>
                </dgm:if>
                <dgm:if name="Name133" axis="ch" ptType="node" func="cnt" op="equ" val="6">
                  <dgm:presOf axis="ch desOrSelf" ptType="node node" st="2 1" cnt="1 0"/>
                </dgm:if>
                <dgm:else name="Name134">
                  <dgm:presOf axis="ch desOrSelf" ptType="node node" st="3 1" cnt="1 0"/>
                </dgm:else>
              </dgm:choose>
            </dgm:else>
          </dgm:choose>
          <dgm:constrLst/>
          <dgm:ruleLst/>
        </dgm:layoutNode>
        <dgm:layoutNode name="dummy5a" moveWith="wedge5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dummy5b" moveWith="wedge5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wedge5Tx" moveWith="wedge5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135">
            <dgm:if name="Name136" func="var" arg="dir" op="equ" val="norm">
              <dgm:presOf axis="ch desOrSelf" ptType="node node" st="5 1" cnt="1 0"/>
            </dgm:if>
            <dgm:else name="Name137">
              <dgm:choose name="Name138">
                <dgm:if name="Name139" axis="ch" ptType="node" func="cnt" op="equ" val="5">
                  <dgm:presOf axis="ch desOrSelf" ptType="node node" st="1 1" cnt="1 0"/>
                </dgm:if>
                <dgm:if name="Name140" axis="ch" ptType="node" func="cnt" op="equ" val="6">
                  <dgm:presOf axis="ch desOrSelf" ptType="node node" st="2 1" cnt="1 0"/>
                </dgm:if>
                <dgm:else name="Name141">
                  <dgm:presOf axis="ch desOrSelf" ptType="node node" st="3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142"/>
    </dgm:choose>
    <dgm:choose name="Name143">
      <dgm:if name="Name144" axis="ch" ptType="node" func="cnt" op="gte" val="6">
        <dgm:layoutNode name="wedge6">
          <dgm:alg type="sp"/>
          <dgm:choose name="Name145">
            <dgm:if name="Name146" axis="ch" ptType="node" func="cnt" op="equ" val="6">
              <dgm:shape xmlns:r="http://schemas.openxmlformats.org/officeDocument/2006/relationships" type="pie" r:blip="">
                <dgm:adjLst>
                  <dgm:adj idx="1" val="210"/>
                  <dgm:adj idx="2" val="270"/>
                </dgm:adjLst>
              </dgm:shape>
            </dgm:if>
            <dgm:else name="Name147">
              <dgm:shape xmlns:r="http://schemas.openxmlformats.org/officeDocument/2006/relationships" type="pie" r:blip="">
                <dgm:adjLst>
                  <dgm:adj idx="1" val="167.1429"/>
                  <dgm:adj idx="2" val="218.5714"/>
                </dgm:adjLst>
              </dgm:shape>
            </dgm:else>
          </dgm:choose>
          <dgm:choose name="Name148">
            <dgm:if name="Name149" func="var" arg="dir" op="equ" val="norm">
              <dgm:presOf axis="ch desOrSelf" ptType="node node" st="6 1" cnt="1 0"/>
            </dgm:if>
            <dgm:else name="Name150">
              <dgm:choose name="Name151">
                <dgm:if name="Name152" axis="ch" ptType="node" func="cnt" op="equ" val="6">
                  <dgm:presOf axis="ch desOrSelf" ptType="node node" st="1 1" cnt="1 0"/>
                </dgm:if>
                <dgm:else name="Name153">
                  <dgm:presOf axis="ch desOrSelf" ptType="node node" st="2 1" cnt="1 0"/>
                </dgm:else>
              </dgm:choose>
            </dgm:else>
          </dgm:choose>
          <dgm:constrLst/>
          <dgm:ruleLst/>
        </dgm:layoutNode>
        <dgm:layoutNode name="dummy6a" moveWith="wedge6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dummy6b" moveWith="wedge6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wedge6Tx" moveWith="wedge6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154">
            <dgm:if name="Name155" func="var" arg="dir" op="equ" val="norm">
              <dgm:presOf axis="ch desOrSelf" ptType="node node" st="6 1" cnt="1 0"/>
            </dgm:if>
            <dgm:else name="Name156">
              <dgm:choose name="Name157">
                <dgm:if name="Name158" axis="ch" ptType="node" func="cnt" op="equ" val="6">
                  <dgm:presOf axis="ch desOrSelf" ptType="node node" st="1 1" cnt="1 0"/>
                </dgm:if>
                <dgm:else name="Name159">
                  <dgm:presOf axis="ch desOrSelf" ptType="node node" st="2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160"/>
    </dgm:choose>
    <dgm:choose name="Name161">
      <dgm:if name="Name162" axis="ch" ptType="node" func="cnt" op="gte" val="7">
        <dgm:layoutNode name="wedge7">
          <dgm:alg type="sp"/>
          <dgm:shape xmlns:r="http://schemas.openxmlformats.org/officeDocument/2006/relationships" type="pie" r:blip="">
            <dgm:adjLst>
              <dgm:adj idx="1" val="218.5714"/>
              <dgm:adj idx="2" val="270"/>
            </dgm:adjLst>
          </dgm:shape>
          <dgm:choose name="Name163">
            <dgm:if name="Name164" func="var" arg="dir" op="equ" val="norm">
              <dgm:presOf axis="ch desOrSelf" ptType="node node" st="7 1" cnt="1 0"/>
            </dgm:if>
            <dgm:else name="Name165">
              <dgm:presOf axis="ch desOrSelf" ptType="node node" st="1 1" cnt="1 0"/>
            </dgm:else>
          </dgm:choose>
          <dgm:constrLst/>
          <dgm:ruleLst/>
        </dgm:layoutNode>
        <dgm:layoutNode name="dummy7a" moveWith="wedge7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dummy7b" moveWith="wedge7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wedge7Tx" moveWith="wedge7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166">
            <dgm:if name="Name167" func="var" arg="dir" op="equ" val="norm">
              <dgm:presOf axis="ch desOrSelf" ptType="node node" st="7 1" cnt="1 0"/>
            </dgm:if>
            <dgm:else name="Name168">
              <dgm:presOf axis="ch desOrSelf" ptType="node node" st="1 1" cnt="1 0"/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169"/>
    </dgm:choose>
    <dgm:choose name="Name170">
      <dgm:if name="Name171" axis="ch" ptType="node" func="cnt" op="equ" val="1">
        <dgm:forEach name="Name172" axis="ch" ptType="sibTrans" hideLastTrans="0" cnt="1">
          <dgm:layoutNode name="arrowWedge1single" styleLbl="fgSibTrans2D1">
            <dgm:choose name="Name173">
              <dgm:if name="Name174" func="var" arg="dir" op="equ" val="norm">
                <dgm:alg type="conn">
                  <dgm:param type="srcNode" val="dummy1a"/>
                  <dgm:param type="dstNode" val="dummy1b"/>
                  <dgm:param type="begSty" val="arr"/>
                  <dgm:param type="endSty" val="noArr"/>
                  <dgm:param type="connRout" val="longCurve"/>
                  <dgm:param type="begPts" val="tL"/>
                  <dgm:param type="endPts" val="tR"/>
                </dgm:alg>
              </dgm:if>
              <dgm:else name="Name175">
                <dgm:alg type="conn">
                  <dgm:param type="srcNode" val="dummy1a"/>
                  <dgm:param type="dstNode" val="dummy1b"/>
                  <dgm:param type="begSty" val="noArr"/>
                  <dgm:param type="endSty" val="arr"/>
                  <dgm:param type="connRout" val="longCurve"/>
                  <dgm:param type="begPts" val="tL"/>
                  <dgm:param type="endPts" val="tR"/>
                </dgm:alg>
              </dgm:else>
            </dgm:choose>
            <dgm:shape xmlns:r="http://schemas.openxmlformats.org/officeDocument/2006/relationships" type="conn" r:blip="">
              <dgm:adjLst/>
            </dgm:shape>
            <dgm:presOf/>
            <dgm:constrLst>
              <dgm:constr type="w" val="1"/>
              <dgm:constr type="begPad"/>
              <dgm:constr type="endPad"/>
            </dgm:constrLst>
            <dgm:ruleLst/>
          </dgm:layoutNode>
        </dgm:forEach>
      </dgm:if>
      <dgm:if name="Name176" axis="ch" ptType="node" func="cnt" op="gte" val="2">
        <dgm:forEach name="Name177" axis="ch" ptType="sibTrans" hideLastTrans="0" cnt="1">
          <dgm:layoutNode name="arrowWedge1" styleLbl="fgSibTrans2D1">
            <dgm:choose name="Name178">
              <dgm:if name="Name179" func="var" arg="dir" op="equ" val="norm">
                <dgm:alg type="conn">
                  <dgm:param type="srcNode" val="dummy1a"/>
                  <dgm:param type="dstNode" val="dummy1b"/>
                  <dgm:param type="begSty" val="noArr"/>
                  <dgm:param type="endSty" val="arr"/>
                  <dgm:param type="connRout" val="curve"/>
                  <dgm:param type="begPts" val="tL"/>
                  <dgm:param type="endPts" val="tL"/>
                </dgm:alg>
              </dgm:if>
              <dgm:else name="Name180">
                <dgm:alg type="conn">
                  <dgm:param type="srcNode" val="dummy1a"/>
                  <dgm:param type="dstNode" val="dummy1b"/>
                  <dgm:param type="begSty" val="arr"/>
                  <dgm:param type="endSty" val="noArr"/>
                  <dgm:param type="connRout" val="curve"/>
                  <dgm:param type="begPts" val="tL"/>
                  <dgm:param type="endPts" val="tL"/>
                </dgm:alg>
              </dgm:else>
            </dgm:choose>
            <dgm:shape xmlns:r="http://schemas.openxmlformats.org/officeDocument/2006/relationships" type="conn" r:blip="">
              <dgm:adjLst/>
            </dgm:shape>
            <dgm:presOf/>
            <dgm:constrLst>
              <dgm:constr type="w" val="1"/>
              <dgm:constr type="begPad"/>
              <dgm:constr type="endPad"/>
            </dgm:constrLst>
            <dgm:ruleLst/>
          </dgm:layoutNode>
        </dgm:forEach>
      </dgm:if>
      <dgm:else name="Name181"/>
    </dgm:choose>
    <dgm:forEach name="Name182" axis="ch" ptType="sibTrans" hideLastTrans="0" st="2" cnt="1">
      <dgm:layoutNode name="arrowWedge2" styleLbl="fgSibTrans2D1">
        <dgm:choose name="Name183">
          <dgm:if name="Name184" func="var" arg="dir" op="equ" val="norm">
            <dgm:alg type="conn">
              <dgm:param type="srcNode" val="dummy2a"/>
              <dgm:param type="dstNode" val="dummy2b"/>
              <dgm:param type="begSty" val="noArr"/>
              <dgm:param type="endSty" val="arr"/>
              <dgm:param type="connRout" val="curve"/>
              <dgm:param type="begPts" val="tL"/>
              <dgm:param type="endPts" val="tL"/>
            </dgm:alg>
          </dgm:if>
          <dgm:else name="Name185">
            <dgm:alg type="conn">
              <dgm:param type="srcNode" val="dummy2a"/>
              <dgm:param type="dstNode" val="dummy2b"/>
              <dgm:param type="begSty" val="arr"/>
              <dgm:param type="endSty" val="noArr"/>
              <dgm:param type="connRout" val="curve"/>
              <dgm:param type="begPts" val="tL"/>
              <dgm:param type="endPts" val="tL"/>
            </dgm:alg>
          </dgm:else>
        </dgm:choose>
        <dgm:shape xmlns:r="http://schemas.openxmlformats.org/officeDocument/2006/relationships" type="conn" r:blip="">
          <dgm:adjLst/>
        </dgm:shape>
        <dgm:presOf/>
        <dgm:constrLst>
          <dgm:constr type="w" val="1"/>
          <dgm:constr type="begPad"/>
          <dgm:constr type="endPad"/>
        </dgm:constrLst>
        <dgm:ruleLst/>
      </dgm:layoutNode>
    </dgm:forEach>
    <dgm:forEach name="Name186" axis="ch" ptType="sibTrans" hideLastTrans="0" st="3" cnt="1">
      <dgm:layoutNode name="arrowWedge3" styleLbl="fgSibTrans2D1">
        <dgm:choose name="Name187">
          <dgm:if name="Name188" func="var" arg="dir" op="equ" val="norm">
            <dgm:alg type="conn">
              <dgm:param type="srcNode" val="dummy3a"/>
              <dgm:param type="dstNode" val="dummy3b"/>
              <dgm:param type="begSty" val="noArr"/>
              <dgm:param type="endSty" val="arr"/>
              <dgm:param type="connRout" val="curve"/>
              <dgm:param type="begPts" val="tL"/>
              <dgm:param type="endPts" val="tL"/>
            </dgm:alg>
          </dgm:if>
          <dgm:else name="Name189">
            <dgm:alg type="conn">
              <dgm:param type="srcNode" val="dummy3a"/>
              <dgm:param type="dstNode" val="dummy3b"/>
              <dgm:param type="begSty" val="arr"/>
              <dgm:param type="endSty" val="noArr"/>
              <dgm:param type="connRout" val="curve"/>
              <dgm:param type="begPts" val="tL"/>
              <dgm:param type="endPts" val="tL"/>
            </dgm:alg>
          </dgm:else>
        </dgm:choose>
        <dgm:shape xmlns:r="http://schemas.openxmlformats.org/officeDocument/2006/relationships" type="conn" r:blip="">
          <dgm:adjLst/>
        </dgm:shape>
        <dgm:presOf/>
        <dgm:constrLst>
          <dgm:constr type="w" val="1"/>
          <dgm:constr type="begPad"/>
          <dgm:constr type="endPad"/>
        </dgm:constrLst>
        <dgm:ruleLst/>
      </dgm:layoutNode>
    </dgm:forEach>
    <dgm:forEach name="Name190" axis="ch" ptType="sibTrans" hideLastTrans="0" st="4" cnt="1">
      <dgm:layoutNode name="arrowWedge4" styleLbl="fgSibTrans2D1">
        <dgm:choose name="Name191">
          <dgm:if name="Name192" func="var" arg="dir" op="equ" val="norm">
            <dgm:alg type="conn">
              <dgm:param type="srcNode" val="dummy4a"/>
              <dgm:param type="dstNode" val="dummy4b"/>
              <dgm:param type="begSty" val="noArr"/>
              <dgm:param type="endSty" val="arr"/>
              <dgm:param type="connRout" val="curve"/>
              <dgm:param type="begPts" val="tL"/>
              <dgm:param type="endPts" val="tL"/>
            </dgm:alg>
          </dgm:if>
          <dgm:else name="Name193">
            <dgm:alg type="conn">
              <dgm:param type="srcNode" val="dummy4a"/>
              <dgm:param type="dstNode" val="dummy4b"/>
              <dgm:param type="begSty" val="arr"/>
              <dgm:param type="endSty" val="noArr"/>
              <dgm:param type="connRout" val="curve"/>
              <dgm:param type="begPts" val="tL"/>
              <dgm:param type="endPts" val="tL"/>
            </dgm:alg>
          </dgm:else>
        </dgm:choose>
        <dgm:shape xmlns:r="http://schemas.openxmlformats.org/officeDocument/2006/relationships" type="conn" r:blip="">
          <dgm:adjLst/>
        </dgm:shape>
        <dgm:presOf/>
        <dgm:constrLst>
          <dgm:constr type="w" val="1"/>
          <dgm:constr type="begPad"/>
          <dgm:constr type="endPad"/>
        </dgm:constrLst>
        <dgm:ruleLst/>
      </dgm:layoutNode>
    </dgm:forEach>
    <dgm:forEach name="Name194" axis="ch" ptType="sibTrans" hideLastTrans="0" st="5" cnt="1">
      <dgm:layoutNode name="arrowWedge5" styleLbl="fgSibTrans2D1">
        <dgm:choose name="Name195">
          <dgm:if name="Name196" func="var" arg="dir" op="equ" val="norm">
            <dgm:alg type="conn">
              <dgm:param type="srcNode" val="dummy5a"/>
              <dgm:param type="dstNode" val="dummy5b"/>
              <dgm:param type="begSty" val="noArr"/>
              <dgm:param type="endSty" val="arr"/>
              <dgm:param type="connRout" val="curve"/>
              <dgm:param type="begPts" val="tL"/>
              <dgm:param type="endPts" val="tL"/>
            </dgm:alg>
          </dgm:if>
          <dgm:else name="Name197">
            <dgm:alg type="conn">
              <dgm:param type="srcNode" val="dummy5a"/>
              <dgm:param type="dstNode" val="dummy5b"/>
              <dgm:param type="begSty" val="arr"/>
              <dgm:param type="endSty" val="noArr"/>
              <dgm:param type="connRout" val="curve"/>
              <dgm:param type="begPts" val="tL"/>
              <dgm:param type="endPts" val="tL"/>
            </dgm:alg>
          </dgm:else>
        </dgm:choose>
        <dgm:shape xmlns:r="http://schemas.openxmlformats.org/officeDocument/2006/relationships" type="conn" r:blip="">
          <dgm:adjLst/>
        </dgm:shape>
        <dgm:presOf/>
        <dgm:constrLst>
          <dgm:constr type="w" val="1"/>
          <dgm:constr type="begPad"/>
          <dgm:constr type="endPad"/>
        </dgm:constrLst>
        <dgm:ruleLst/>
      </dgm:layoutNode>
    </dgm:forEach>
    <dgm:forEach name="Name198" axis="ch" ptType="sibTrans" hideLastTrans="0" st="6" cnt="1">
      <dgm:layoutNode name="arrowWedge6" styleLbl="fgSibTrans2D1">
        <dgm:choose name="Name199">
          <dgm:if name="Name200" func="var" arg="dir" op="equ" val="norm">
            <dgm:alg type="conn">
              <dgm:param type="srcNode" val="dummy6a"/>
              <dgm:param type="dstNode" val="dummy6b"/>
              <dgm:param type="begSty" val="noArr"/>
              <dgm:param type="endSty" val="arr"/>
              <dgm:param type="connRout" val="curve"/>
              <dgm:param type="begPts" val="tL"/>
              <dgm:param type="endPts" val="tL"/>
            </dgm:alg>
          </dgm:if>
          <dgm:else name="Name201">
            <dgm:alg type="conn">
              <dgm:param type="srcNode" val="dummy6a"/>
              <dgm:param type="dstNode" val="dummy6b"/>
              <dgm:param type="begSty" val="arr"/>
              <dgm:param type="endSty" val="noArr"/>
              <dgm:param type="connRout" val="curve"/>
              <dgm:param type="begPts" val="tL"/>
              <dgm:param type="endPts" val="tL"/>
            </dgm:alg>
          </dgm:else>
        </dgm:choose>
        <dgm:shape xmlns:r="http://schemas.openxmlformats.org/officeDocument/2006/relationships" type="conn" r:blip="">
          <dgm:adjLst/>
        </dgm:shape>
        <dgm:presOf/>
        <dgm:constrLst>
          <dgm:constr type="w" val="1"/>
          <dgm:constr type="begPad"/>
          <dgm:constr type="endPad"/>
        </dgm:constrLst>
        <dgm:ruleLst/>
      </dgm:layoutNode>
    </dgm:forEach>
    <dgm:forEach name="Name202" axis="ch" ptType="sibTrans" hideLastTrans="0" st="7" cnt="1">
      <dgm:layoutNode name="arrowWedge7" styleLbl="fgSibTrans2D1">
        <dgm:choose name="Name203">
          <dgm:if name="Name204" func="var" arg="dir" op="equ" val="norm">
            <dgm:alg type="conn">
              <dgm:param type="srcNode" val="dummy7a"/>
              <dgm:param type="dstNode" val="dummy7b"/>
              <dgm:param type="begSty" val="noArr"/>
              <dgm:param type="endSty" val="arr"/>
              <dgm:param type="connRout" val="curve"/>
              <dgm:param type="begPts" val="tL"/>
              <dgm:param type="endPts" val="tL"/>
            </dgm:alg>
          </dgm:if>
          <dgm:else name="Name205">
            <dgm:alg type="conn">
              <dgm:param type="srcNode" val="dummy7a"/>
              <dgm:param type="dstNode" val="dummy7b"/>
              <dgm:param type="begSty" val="arr"/>
              <dgm:param type="endSty" val="noArr"/>
              <dgm:param type="connRout" val="curve"/>
              <dgm:param type="begPts" val="tL"/>
              <dgm:param type="endPts" val="tL"/>
            </dgm:alg>
          </dgm:else>
        </dgm:choose>
        <dgm:shape xmlns:r="http://schemas.openxmlformats.org/officeDocument/2006/relationships" type="conn" r:blip="">
          <dgm:adjLst/>
        </dgm:shape>
        <dgm:presOf/>
        <dgm:constrLst>
          <dgm:constr type="w" val="1"/>
          <dgm:constr type="begPad"/>
          <dgm:constr type="endPad"/>
        </dgm:constrLst>
        <dgm:ruleLst/>
      </dgm:layoutNode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vList2#3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lnSpAfChP" val="20"/>
              <dgm:param type="stBulletLvl" val="1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5/8/layout/vList2#3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lnSpAfChP" val="20"/>
              <dgm:param type="stBulletLvl" val="1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6.xml><?xml version="1.0" encoding="utf-8"?>
<dgm:layoutDef xmlns:dgm="http://schemas.openxmlformats.org/drawingml/2006/diagram" xmlns:a="http://schemas.openxmlformats.org/drawingml/2006/main" uniqueId="urn:microsoft.com/office/officeart/2005/8/layout/vList2#3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lnSpAfChP" val="20"/>
              <dgm:param type="stBulletLvl" val="1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3#2">
  <dgm:title val=""/>
  <dgm:desc val=""/>
  <dgm:catLst>
    <dgm:cat type="simple" pri="10300"/>
  </dgm:catLst>
  <dgm:scene3d>
    <a:camera prst="orthographicFront"/>
    <a:lightRig rig="threePt" dir="t"/>
  </dgm:scene3d>
  <dgm:styleLbl name="alignAcc1">
    <dgm:scene3d>
      <a:camera prst="orthographicFront"/>
      <a:lightRig rig="threePt" dir="t"/>
    </dgm:scene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Node1">
    <dgm:scene3d>
      <a:camera prst="orthographicFront"/>
      <a:lightRig rig="threePt" dir="t"/>
    </dgm:scene3d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bgAcc1">
    <dgm:scene3d>
      <a:camera prst="orthographicFront"/>
      <a:lightRig rig="threePt" dir="t"/>
    </dgm:scene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SibTrans2D1">
    <dgm:scene3d>
      <a:camera prst="orthographicFront"/>
      <a:lightRig rig="threePt" dir="t"/>
    </dgm:scene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callout">
    <dgm:scene3d>
      <a:camera prst="orthographicFront"/>
      <a:lightRig rig="threePt" dir="t"/>
    </dgm:scene3d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ImgPlace1">
    <dgm:scene3d>
      <a:camera prst="orthographicFront"/>
      <a:lightRig rig="threePt" dir="t"/>
    </dgm:scene3d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fgSibTrans2D1">
    <dgm:scene3d>
      <a:camera prst="orthographicFront"/>
      <a:lightRig rig="threePt" dir="t"/>
    </dgm:scene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lnNode1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dk1"/>
      </a:fontRef>
    </dgm:style>
  </dgm:styleLbl>
  <dgm:styleLbl name="node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1D1">
    <dgm:scene3d>
      <a:camera prst="orthographicFront"/>
      <a:lightRig rig="threePt" dir="t"/>
    </dgm:scene3d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2D1">
    <dgm:scene3d>
      <a:camera prst="orthographicFront"/>
      <a:lightRig rig="threePt" dir="t"/>
    </dgm:scene3d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2">
    <dgm:scene3d>
      <a:camera prst="orthographicFront"/>
      <a:lightRig rig="threePt" dir="t"/>
    </dgm:scene3d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3">
    <dgm:scene3d>
      <a:camera prst="orthographicFront"/>
      <a:lightRig rig="threePt" dir="t"/>
    </dgm:scene3d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4">
    <dgm:scene3d>
      <a:camera prst="orthographicFront"/>
      <a:lightRig rig="threePt" dir="t"/>
    </dgm:scene3d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revTx">
    <dgm:scene3d>
      <a:camera prst="orthographicFront"/>
      <a:lightRig rig="threePt" dir="t"/>
    </dgm:scene3d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/>
      <a:lightRig rig="threePt" dir="t"/>
    </dgm:scene3d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solidAlignAcc1">
    <dgm:scene3d>
      <a:camera prst="orthographicFront"/>
      <a:lightRig rig="threePt" dir="t"/>
    </dgm:scene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venn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tx1"/>
      </a:fontRef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5#3">
  <dgm:title val=""/>
  <dgm:desc val=""/>
  <dgm:catLst>
    <dgm:cat type="simple" pri="10500"/>
  </dgm:catLst>
  <dgm:scene3d>
    <a:camera prst="orthographicFront"/>
    <a:lightRig rig="threePt" dir="t"/>
  </dgm:scene3d>
  <dgm:styleLbl name="alignAcc1">
    <dgm:scene3d>
      <a:camera prst="orthographicFront"/>
      <a:lightRig rig="threePt" dir="t"/>
    </dgm:scene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alignNode1">
    <dgm:scene3d>
      <a:camera prst="orthographicFront"/>
      <a:lightRig rig="threePt" dir="t"/>
    </dgm:scene3d>
    <dgm:txPr/>
    <dgm:style>
      <a:lnRef idx="1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0">
    <dgm:scene3d>
      <a:camera prst="orthographicFront"/>
      <a:lightRig rig="threePt" dir="t"/>
    </dgm:scene3d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bgAcc1">
    <dgm:scene3d>
      <a:camera prst="orthographicFront"/>
      <a:lightRig rig="threePt" dir="t"/>
    </dgm:scene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ibTrans2D1">
    <dgm:scene3d>
      <a:camera prst="orthographicFront"/>
      <a:lightRig rig="threePt" dir="t"/>
    </dgm:scene3d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callout">
    <dgm:scene3d>
      <a:camera prst="orthographicFront"/>
      <a:lightRig rig="threePt" dir="t"/>
    </dgm:scene3d>
    <dgm:txPr/>
    <dgm:style>
      <a:lnRef idx="1">
        <a:scrgbClr r="0" g="0" b="0"/>
      </a:lnRef>
      <a:fillRef idx="0">
        <a:scrgbClr r="0" g="0" b="0"/>
      </a:fillRef>
      <a:effectRef idx="1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ImgPlace1">
    <dgm:scene3d>
      <a:camera prst="orthographicFront"/>
      <a:lightRig rig="threePt" dir="t"/>
    </dgm:scene3d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/>
    </dgm:style>
  </dgm:styleLbl>
  <dgm:styleLbl name="fgSibTrans2D1">
    <dgm:scene3d>
      <a:camera prst="orthographicFront"/>
      <a:lightRig rig="threePt" dir="t"/>
    </dgm:scene3d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0">
    <dgm:scene3d>
      <a:camera prst="orthographicFront"/>
      <a:lightRig rig="threePt" dir="t"/>
    </dgm:scene3d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2D1">
    <dgm:scene3d>
      <a:camera prst="orthographicFront"/>
      <a:lightRig rig="threePt" dir="t"/>
    </dgm:scene3d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revTx">
    <dgm:scene3d>
      <a:camera prst="orthographicFront"/>
      <a:lightRig rig="threePt" dir="t"/>
    </dgm:scene3d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/>
      <a:lightRig rig="threePt" dir="t"/>
    </dgm:scene3d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solidAlignAcc1">
    <dgm:scene3d>
      <a:camera prst="orthographicFront"/>
      <a:lightRig rig="threePt" dir="t"/>
    </dgm:scene3d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vennNode1">
    <dgm:scene3d>
      <a:camera prst="orthographicFront"/>
      <a:lightRig rig="threePt" dir="t"/>
    </dgm:scene3d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tx1"/>
      </a:fontRef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3d1#2">
  <dgm:title val=""/>
  <dgm:desc val=""/>
  <dgm:catLst>
    <dgm:cat type="3D" pri="11100"/>
  </dgm:catLst>
  <dgm:scene3d>
    <a:camera prst="orthographicFront"/>
    <a:lightRig rig="threePt" dir="t"/>
  </dgm:scene3d>
  <dgm:styleLbl name="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flat" dir="t"/>
    </dgm:scene3d>
    <dgm:sp3d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alig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0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bgAcc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flat" dir="t"/>
    </dgm:scene3d>
    <dgm:sp3d z="-190500"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/>
      <a:lightRig rig="flat" dir="t"/>
    </dgm:scene3d>
    <dgm:sp3d z="-1905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callout">
    <dgm:scene3d>
      <a:camera prst="orthographicFront"/>
      <a:lightRig rig="threePt" dir="t"/>
    </dgm:scene3d>
    <dgm:sp3d z="127000" prstMaterial="matte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FollowNode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ImgPlace1">
    <dgm:scene3d>
      <a:camera prst="orthographicFront"/>
      <a:lightRig rig="flat" dir="t"/>
    </dgm:scene3d>
    <dgm:sp3d z="127000"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z="190500" prstMaterial="plastic">
      <a:bevelT w="120900" h="88900"/>
      <a:bevelB w="88900" h="31750" prst="angle"/>
    </dgm:sp3d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flat" dir="t"/>
    </dgm:scene3d>
    <dgm:sp3d z="1270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0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2D1">
    <dgm:scene3d>
      <a:camera prst="orthographicFront"/>
      <a:lightRig rig="flat" dir="t"/>
    </dgm:scene3d>
    <dgm:sp3d z="-10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revTx">
    <dgm:scene3d>
      <a:camera prst="orthographicFront"/>
      <a:lightRig rig="threePt" dir="t"/>
    </dgm:scene3d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/>
      <a:lightRig rig="flat" dir="t"/>
    </dgm:scene3d>
    <dgm:sp3d z="-40000" prstMaterial="matte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flat" dir="t"/>
    </dgm:scene3d>
    <dgm:sp3d z="-800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olid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BgAcc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flat" dir="t"/>
    </dgm:scene3d>
    <dgm:sp3d z="-190500" extrusionH="1270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ven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tx1"/>
      </a:fontRef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5#3">
  <dgm:title val=""/>
  <dgm:desc val=""/>
  <dgm:catLst>
    <dgm:cat type="simple" pri="10500"/>
  </dgm:catLst>
  <dgm:scene3d>
    <a:camera prst="orthographicFront"/>
    <a:lightRig rig="threePt" dir="t"/>
  </dgm:scene3d>
  <dgm:styleLbl name="alignAcc1">
    <dgm:scene3d>
      <a:camera prst="orthographicFront"/>
      <a:lightRig rig="threePt" dir="t"/>
    </dgm:scene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alignNode1">
    <dgm:scene3d>
      <a:camera prst="orthographicFront"/>
      <a:lightRig rig="threePt" dir="t"/>
    </dgm:scene3d>
    <dgm:txPr/>
    <dgm:style>
      <a:lnRef idx="1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0">
    <dgm:scene3d>
      <a:camera prst="orthographicFront"/>
      <a:lightRig rig="threePt" dir="t"/>
    </dgm:scene3d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bgAcc1">
    <dgm:scene3d>
      <a:camera prst="orthographicFront"/>
      <a:lightRig rig="threePt" dir="t"/>
    </dgm:scene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ibTrans2D1">
    <dgm:scene3d>
      <a:camera prst="orthographicFront"/>
      <a:lightRig rig="threePt" dir="t"/>
    </dgm:scene3d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callout">
    <dgm:scene3d>
      <a:camera prst="orthographicFront"/>
      <a:lightRig rig="threePt" dir="t"/>
    </dgm:scene3d>
    <dgm:txPr/>
    <dgm:style>
      <a:lnRef idx="1">
        <a:scrgbClr r="0" g="0" b="0"/>
      </a:lnRef>
      <a:fillRef idx="0">
        <a:scrgbClr r="0" g="0" b="0"/>
      </a:fillRef>
      <a:effectRef idx="1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ImgPlace1">
    <dgm:scene3d>
      <a:camera prst="orthographicFront"/>
      <a:lightRig rig="threePt" dir="t"/>
    </dgm:scene3d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/>
    </dgm:style>
  </dgm:styleLbl>
  <dgm:styleLbl name="fgSibTrans2D1">
    <dgm:scene3d>
      <a:camera prst="orthographicFront"/>
      <a:lightRig rig="threePt" dir="t"/>
    </dgm:scene3d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0">
    <dgm:scene3d>
      <a:camera prst="orthographicFront"/>
      <a:lightRig rig="threePt" dir="t"/>
    </dgm:scene3d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2D1">
    <dgm:scene3d>
      <a:camera prst="orthographicFront"/>
      <a:lightRig rig="threePt" dir="t"/>
    </dgm:scene3d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revTx">
    <dgm:scene3d>
      <a:camera prst="orthographicFront"/>
      <a:lightRig rig="threePt" dir="t"/>
    </dgm:scene3d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/>
      <a:lightRig rig="threePt" dir="t"/>
    </dgm:scene3d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solidAlignAcc1">
    <dgm:scene3d>
      <a:camera prst="orthographicFront"/>
      <a:lightRig rig="threePt" dir="t"/>
    </dgm:scene3d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vennNode1">
    <dgm:scene3d>
      <a:camera prst="orthographicFront"/>
      <a:lightRig rig="threePt" dir="t"/>
    </dgm:scene3d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tx1"/>
      </a:fontRef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5#3">
  <dgm:title val=""/>
  <dgm:desc val=""/>
  <dgm:catLst>
    <dgm:cat type="simple" pri="10500"/>
  </dgm:catLst>
  <dgm:scene3d>
    <a:camera prst="orthographicFront"/>
    <a:lightRig rig="threePt" dir="t"/>
  </dgm:scene3d>
  <dgm:styleLbl name="alignAcc1">
    <dgm:scene3d>
      <a:camera prst="orthographicFront"/>
      <a:lightRig rig="threePt" dir="t"/>
    </dgm:scene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alignNode1">
    <dgm:scene3d>
      <a:camera prst="orthographicFront"/>
      <a:lightRig rig="threePt" dir="t"/>
    </dgm:scene3d>
    <dgm:txPr/>
    <dgm:style>
      <a:lnRef idx="1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0">
    <dgm:scene3d>
      <a:camera prst="orthographicFront"/>
      <a:lightRig rig="threePt" dir="t"/>
    </dgm:scene3d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bgAcc1">
    <dgm:scene3d>
      <a:camera prst="orthographicFront"/>
      <a:lightRig rig="threePt" dir="t"/>
    </dgm:scene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ibTrans2D1">
    <dgm:scene3d>
      <a:camera prst="orthographicFront"/>
      <a:lightRig rig="threePt" dir="t"/>
    </dgm:scene3d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callout">
    <dgm:scene3d>
      <a:camera prst="orthographicFront"/>
      <a:lightRig rig="threePt" dir="t"/>
    </dgm:scene3d>
    <dgm:txPr/>
    <dgm:style>
      <a:lnRef idx="1">
        <a:scrgbClr r="0" g="0" b="0"/>
      </a:lnRef>
      <a:fillRef idx="0">
        <a:scrgbClr r="0" g="0" b="0"/>
      </a:fillRef>
      <a:effectRef idx="1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ImgPlace1">
    <dgm:scene3d>
      <a:camera prst="orthographicFront"/>
      <a:lightRig rig="threePt" dir="t"/>
    </dgm:scene3d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/>
    </dgm:style>
  </dgm:styleLbl>
  <dgm:styleLbl name="fgSibTrans2D1">
    <dgm:scene3d>
      <a:camera prst="orthographicFront"/>
      <a:lightRig rig="threePt" dir="t"/>
    </dgm:scene3d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0">
    <dgm:scene3d>
      <a:camera prst="orthographicFront"/>
      <a:lightRig rig="threePt" dir="t"/>
    </dgm:scene3d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2D1">
    <dgm:scene3d>
      <a:camera prst="orthographicFront"/>
      <a:lightRig rig="threePt" dir="t"/>
    </dgm:scene3d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revTx">
    <dgm:scene3d>
      <a:camera prst="orthographicFront"/>
      <a:lightRig rig="threePt" dir="t"/>
    </dgm:scene3d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/>
      <a:lightRig rig="threePt" dir="t"/>
    </dgm:scene3d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solidAlignAcc1">
    <dgm:scene3d>
      <a:camera prst="orthographicFront"/>
      <a:lightRig rig="threePt" dir="t"/>
    </dgm:scene3d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vennNode1">
    <dgm:scene3d>
      <a:camera prst="orthographicFront"/>
      <a:lightRig rig="threePt" dir="t"/>
    </dgm:scene3d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tx1"/>
      </a:fontRef>
    </dgm:style>
  </dgm:styleLbl>
</dgm:styleDef>
</file>

<file path=ppt/diagrams/quickStyle6.xml><?xml version="1.0" encoding="utf-8"?>
<dgm:styleDef xmlns:dgm="http://schemas.openxmlformats.org/drawingml/2006/diagram" xmlns:a="http://schemas.openxmlformats.org/drawingml/2006/main" uniqueId="urn:microsoft.com/office/officeart/2005/8/quickstyle/simple5#3">
  <dgm:title val=""/>
  <dgm:desc val=""/>
  <dgm:catLst>
    <dgm:cat type="simple" pri="10500"/>
  </dgm:catLst>
  <dgm:scene3d>
    <a:camera prst="orthographicFront"/>
    <a:lightRig rig="threePt" dir="t"/>
  </dgm:scene3d>
  <dgm:styleLbl name="alignAcc1">
    <dgm:scene3d>
      <a:camera prst="orthographicFront"/>
      <a:lightRig rig="threePt" dir="t"/>
    </dgm:scene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alignNode1">
    <dgm:scene3d>
      <a:camera prst="orthographicFront"/>
      <a:lightRig rig="threePt" dir="t"/>
    </dgm:scene3d>
    <dgm:txPr/>
    <dgm:style>
      <a:lnRef idx="1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0">
    <dgm:scene3d>
      <a:camera prst="orthographicFront"/>
      <a:lightRig rig="threePt" dir="t"/>
    </dgm:scene3d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bgAcc1">
    <dgm:scene3d>
      <a:camera prst="orthographicFront"/>
      <a:lightRig rig="threePt" dir="t"/>
    </dgm:scene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ibTrans2D1">
    <dgm:scene3d>
      <a:camera prst="orthographicFront"/>
      <a:lightRig rig="threePt" dir="t"/>
    </dgm:scene3d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callout">
    <dgm:scene3d>
      <a:camera prst="orthographicFront"/>
      <a:lightRig rig="threePt" dir="t"/>
    </dgm:scene3d>
    <dgm:txPr/>
    <dgm:style>
      <a:lnRef idx="1">
        <a:scrgbClr r="0" g="0" b="0"/>
      </a:lnRef>
      <a:fillRef idx="0">
        <a:scrgbClr r="0" g="0" b="0"/>
      </a:fillRef>
      <a:effectRef idx="1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ImgPlace1">
    <dgm:scene3d>
      <a:camera prst="orthographicFront"/>
      <a:lightRig rig="threePt" dir="t"/>
    </dgm:scene3d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/>
    </dgm:style>
  </dgm:styleLbl>
  <dgm:styleLbl name="fgSibTrans2D1">
    <dgm:scene3d>
      <a:camera prst="orthographicFront"/>
      <a:lightRig rig="threePt" dir="t"/>
    </dgm:scene3d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0">
    <dgm:scene3d>
      <a:camera prst="orthographicFront"/>
      <a:lightRig rig="threePt" dir="t"/>
    </dgm:scene3d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2D1">
    <dgm:scene3d>
      <a:camera prst="orthographicFront"/>
      <a:lightRig rig="threePt" dir="t"/>
    </dgm:scene3d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revTx">
    <dgm:scene3d>
      <a:camera prst="orthographicFront"/>
      <a:lightRig rig="threePt" dir="t"/>
    </dgm:scene3d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/>
      <a:lightRig rig="threePt" dir="t"/>
    </dgm:scene3d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solidAlignAcc1">
    <dgm:scene3d>
      <a:camera prst="orthographicFront"/>
      <a:lightRig rig="threePt" dir="t"/>
    </dgm:scene3d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vennNode1">
    <dgm:scene3d>
      <a:camera prst="orthographicFront"/>
      <a:lightRig rig="threePt" dir="t"/>
    </dgm:scene3d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tx1"/>
      </a:fontRef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8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919D961-D8E9-4D7D-85ED-CB78EAC9B150}" type="datetimeFigureOut">
              <a:rPr lang="zh-CN" altLang="en-US" smtClean="0"/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A878729-3521-4780-93BA-59E7840E0C8B}" type="slidenum">
              <a:rPr lang="zh-CN" altLang="en-US" smtClean="0"/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2A48B96-639E-45A3-A0BA-2464DFDB1FAA}" type="datetimeFigureOut">
              <a:rPr lang="zh-CN" altLang="en-US" smtClean="0"/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1371600" y="1143000"/>
            <a:ext cx="41148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6837353-30EB-4A48-80EB-173D804AEFBD}" type="slidenum">
              <a:rPr lang="zh-CN" altLang="en-US" smtClean="0"/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4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/>
          <p:nvPr>
            <p:ph type="sldImg"/>
          </p:nvPr>
        </p:nvSpPr>
        <p:spPr/>
      </p:sp>
      <p:sp>
        <p:nvSpPr>
          <p:cNvPr id="3" name="备注占位符 2"/>
          <p:cNvSpPr/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/>
          <p:nvPr>
            <p:ph type="sldNum" sz="quarter" idx="5"/>
          </p:nvPr>
        </p:nvSpPr>
        <p:spPr/>
        <p:txBody>
          <a:bodyPr/>
          <a:lstStyle/>
          <a:p>
            <a:fld id="{8FB8264C-D991-4559-8F3F-B33B0A03DB49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4" Type="http://schemas.openxmlformats.org/officeDocument/2006/relationships/tags" Target="../tags/tag5.xml"/><Relationship Id="rId3" Type="http://schemas.openxmlformats.org/officeDocument/2006/relationships/image" Target="../media/image6.jpeg"/><Relationship Id="rId2" Type="http://schemas.openxmlformats.org/officeDocument/2006/relationships/tags" Target="../tags/tag4.xml"/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4" Type="http://schemas.openxmlformats.org/officeDocument/2006/relationships/tags" Target="../tags/tag7.xml"/><Relationship Id="rId3" Type="http://schemas.openxmlformats.org/officeDocument/2006/relationships/image" Target="../media/image7.jpeg"/><Relationship Id="rId2" Type="http://schemas.openxmlformats.org/officeDocument/2006/relationships/tags" Target="../tags/tag6.xml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4" Type="http://schemas.openxmlformats.org/officeDocument/2006/relationships/tags" Target="../tags/tag9.xml"/><Relationship Id="rId3" Type="http://schemas.openxmlformats.org/officeDocument/2006/relationships/image" Target="../media/image8.png"/><Relationship Id="rId2" Type="http://schemas.openxmlformats.org/officeDocument/2006/relationships/tags" Target="../tags/tag8.xml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4" Type="http://schemas.openxmlformats.org/officeDocument/2006/relationships/tags" Target="../tags/tag11.xml"/><Relationship Id="rId3" Type="http://schemas.openxmlformats.org/officeDocument/2006/relationships/image" Target="../media/image9.jpeg"/><Relationship Id="rId2" Type="http://schemas.openxmlformats.org/officeDocument/2006/relationships/tags" Target="../tags/tag10.xml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5" Type="http://schemas.openxmlformats.org/officeDocument/2006/relationships/tags" Target="../tags/tag13.xml"/><Relationship Id="rId4" Type="http://schemas.openxmlformats.org/officeDocument/2006/relationships/tags" Target="../tags/tag12.xml"/><Relationship Id="rId3" Type="http://schemas.openxmlformats.org/officeDocument/2006/relationships/image" Target="../media/image11.jpe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3" Type="http://schemas.microsoft.com/office/2007/relationships/hdphoto" Target="../media/image15.wdp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4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.xml.rels><?xml version="1.0" encoding="UTF-8" standalone="yes"?>
<Relationships xmlns="http://schemas.openxmlformats.org/package/2006/relationships"><Relationship Id="rId5" Type="http://schemas.openxmlformats.org/officeDocument/2006/relationships/tags" Target="../tags/tag2.xml"/><Relationship Id="rId4" Type="http://schemas.openxmlformats.org/officeDocument/2006/relationships/tags" Target="../tags/tag1.xml"/><Relationship Id="rId3" Type="http://schemas.openxmlformats.org/officeDocument/2006/relationships/image" Target="../media/image5.jpe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2.xml.rels><?xml version="1.0" encoding="UTF-8" standalone="yes"?>
<Relationships xmlns="http://schemas.openxmlformats.org/package/2006/relationships"><Relationship Id="rId4" Type="http://schemas.openxmlformats.org/officeDocument/2006/relationships/tags" Target="../tags/tag15.xml"/><Relationship Id="rId3" Type="http://schemas.openxmlformats.org/officeDocument/2006/relationships/image" Target="../media/image6.jpeg"/><Relationship Id="rId2" Type="http://schemas.openxmlformats.org/officeDocument/2006/relationships/tags" Target="../tags/tag14.xml"/><Relationship Id="rId1" Type="http://schemas.openxmlformats.org/officeDocument/2006/relationships/slideMaster" Target="../slideMasters/slideMaster6.xml"/></Relationships>
</file>

<file path=ppt/slideLayouts/_rels/slideLayout73.xml.rels><?xml version="1.0" encoding="UTF-8" standalone="yes"?>
<Relationships xmlns="http://schemas.openxmlformats.org/package/2006/relationships"><Relationship Id="rId4" Type="http://schemas.openxmlformats.org/officeDocument/2006/relationships/tags" Target="../tags/tag17.xml"/><Relationship Id="rId3" Type="http://schemas.openxmlformats.org/officeDocument/2006/relationships/image" Target="../media/image7.jpeg"/><Relationship Id="rId2" Type="http://schemas.openxmlformats.org/officeDocument/2006/relationships/tags" Target="../tags/tag16.xml"/><Relationship Id="rId1" Type="http://schemas.openxmlformats.org/officeDocument/2006/relationships/slideMaster" Target="../slideMasters/slideMaster6.xml"/></Relationships>
</file>

<file path=ppt/slideLayouts/_rels/slideLayout74.xml.rels><?xml version="1.0" encoding="UTF-8" standalone="yes"?>
<Relationships xmlns="http://schemas.openxmlformats.org/package/2006/relationships"><Relationship Id="rId4" Type="http://schemas.openxmlformats.org/officeDocument/2006/relationships/tags" Target="../tags/tag19.xml"/><Relationship Id="rId3" Type="http://schemas.openxmlformats.org/officeDocument/2006/relationships/image" Target="../media/image8.png"/><Relationship Id="rId2" Type="http://schemas.openxmlformats.org/officeDocument/2006/relationships/tags" Target="../tags/tag18.xml"/><Relationship Id="rId1" Type="http://schemas.openxmlformats.org/officeDocument/2006/relationships/slideMaster" Target="../slideMasters/slideMaster6.xml"/></Relationships>
</file>

<file path=ppt/slideLayouts/_rels/slideLayout75.xml.rels><?xml version="1.0" encoding="UTF-8" standalone="yes"?>
<Relationships xmlns="http://schemas.openxmlformats.org/package/2006/relationships"><Relationship Id="rId4" Type="http://schemas.openxmlformats.org/officeDocument/2006/relationships/tags" Target="../tags/tag21.xml"/><Relationship Id="rId3" Type="http://schemas.openxmlformats.org/officeDocument/2006/relationships/image" Target="../media/image9.jpeg"/><Relationship Id="rId2" Type="http://schemas.openxmlformats.org/officeDocument/2006/relationships/tags" Target="../tags/tag20.xml"/><Relationship Id="rId1" Type="http://schemas.openxmlformats.org/officeDocument/2006/relationships/slideMaster" Target="../slideMasters/slideMaster6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6.xml"/></Relationships>
</file>

<file path=ppt/slideLayouts/_rels/slideLayout8.xml.rels><?xml version="1.0" encoding="UTF-8" standalone="yes"?>
<Relationships xmlns="http://schemas.openxmlformats.org/package/2006/relationships"><Relationship Id="rId4" Type="http://schemas.openxmlformats.org/officeDocument/2006/relationships/tags" Target="../tags/tag3.xml"/><Relationship Id="rId3" Type="http://schemas.openxmlformats.org/officeDocument/2006/relationships/image" Target="../media/image5.jpe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6.xml"/></Relationships>
</file>

<file path=ppt/slideLayouts/_rels/slideLayout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6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图片 6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804" b="7788"/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8" name="矩形 7"/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gradFill flip="none" rotWithShape="1">
            <a:gsLst>
              <a:gs pos="0">
                <a:srgbClr val="A22B17">
                  <a:lumMod val="94000"/>
                  <a:lumOff val="6000"/>
                </a:srgbClr>
              </a:gs>
              <a:gs pos="100000">
                <a:srgbClr val="A22B17">
                  <a:alpha val="72000"/>
                  <a:lumMod val="85000"/>
                  <a:lumOff val="15000"/>
                </a:srgb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zh-CN" altLang="en-US" sz="1350" dirty="0"/>
          </a:p>
        </p:txBody>
      </p:sp>
      <p:grpSp>
        <p:nvGrpSpPr>
          <p:cNvPr id="71" name="组合 70"/>
          <p:cNvGrpSpPr/>
          <p:nvPr userDrawn="1"/>
        </p:nvGrpSpPr>
        <p:grpSpPr>
          <a:xfrm>
            <a:off x="2230940" y="304800"/>
            <a:ext cx="4682120" cy="6248400"/>
            <a:chOff x="2514433" y="-155765"/>
            <a:chExt cx="7163134" cy="7169530"/>
          </a:xfrm>
        </p:grpSpPr>
        <p:grpSp>
          <p:nvGrpSpPr>
            <p:cNvPr id="10" name="组合 9"/>
            <p:cNvGrpSpPr/>
            <p:nvPr/>
          </p:nvGrpSpPr>
          <p:grpSpPr>
            <a:xfrm>
              <a:off x="2514433" y="-155765"/>
              <a:ext cx="7163134" cy="7169530"/>
              <a:chOff x="1560409" y="2069897"/>
              <a:chExt cx="1776413" cy="1778000"/>
            </a:xfrm>
          </p:grpSpPr>
          <p:sp>
            <p:nvSpPr>
              <p:cNvPr id="69" name="îS1îḋé"/>
              <p:cNvSpPr/>
              <p:nvPr/>
            </p:nvSpPr>
            <p:spPr bwMode="auto">
              <a:xfrm>
                <a:off x="1560409" y="2069897"/>
                <a:ext cx="1776413" cy="1778000"/>
              </a:xfrm>
              <a:prstGeom prst="ellipse">
                <a:avLst/>
              </a:prstGeom>
              <a:noFill/>
              <a:ln w="98425" cap="flat">
                <a:solidFill>
                  <a:schemeClr val="bg1">
                    <a:alpha val="7000"/>
                  </a:schemeClr>
                </a:solidFill>
                <a:prstDash val="solid"/>
                <a:miter lim="800000"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70" name="îṣḷïďé"/>
              <p:cNvSpPr/>
              <p:nvPr/>
            </p:nvSpPr>
            <p:spPr bwMode="auto">
              <a:xfrm>
                <a:off x="1779484" y="2288972"/>
                <a:ext cx="1336675" cy="1338263"/>
              </a:xfrm>
              <a:prstGeom prst="ellipse">
                <a:avLst/>
              </a:prstGeom>
              <a:noFill/>
              <a:ln w="19050" cap="flat">
                <a:solidFill>
                  <a:schemeClr val="bg1">
                    <a:alpha val="7000"/>
                  </a:schemeClr>
                </a:solidFill>
                <a:prstDash val="solid"/>
                <a:miter lim="800000"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</p:grpSp>
        <p:grpSp>
          <p:nvGrpSpPr>
            <p:cNvPr id="11" name="组合 10"/>
            <p:cNvGrpSpPr/>
            <p:nvPr/>
          </p:nvGrpSpPr>
          <p:grpSpPr>
            <a:xfrm>
              <a:off x="2844102" y="77886"/>
              <a:ext cx="6503791" cy="6702232"/>
              <a:chOff x="1641372" y="4491628"/>
              <a:chExt cx="1612900" cy="1662113"/>
            </a:xfrm>
            <a:solidFill>
              <a:schemeClr val="bg1">
                <a:alpha val="7000"/>
              </a:schemeClr>
            </a:solidFill>
          </p:grpSpPr>
          <p:sp>
            <p:nvSpPr>
              <p:cNvPr id="12" name="ïś1íďê"/>
              <p:cNvSpPr/>
              <p:nvPr/>
            </p:nvSpPr>
            <p:spPr bwMode="auto">
              <a:xfrm>
                <a:off x="2889147" y="4701178"/>
                <a:ext cx="153988" cy="138113"/>
              </a:xfrm>
              <a:custGeom>
                <a:avLst/>
                <a:gdLst>
                  <a:gd name="T0" fmla="*/ 62 w 83"/>
                  <a:gd name="T1" fmla="*/ 8 h 75"/>
                  <a:gd name="T2" fmla="*/ 53 w 83"/>
                  <a:gd name="T3" fmla="*/ 10 h 75"/>
                  <a:gd name="T4" fmla="*/ 57 w 83"/>
                  <a:gd name="T5" fmla="*/ 0 h 75"/>
                  <a:gd name="T6" fmla="*/ 44 w 83"/>
                  <a:gd name="T7" fmla="*/ 21 h 75"/>
                  <a:gd name="T8" fmla="*/ 58 w 83"/>
                  <a:gd name="T9" fmla="*/ 11 h 75"/>
                  <a:gd name="T10" fmla="*/ 54 w 83"/>
                  <a:gd name="T11" fmla="*/ 18 h 75"/>
                  <a:gd name="T12" fmla="*/ 28 w 83"/>
                  <a:gd name="T13" fmla="*/ 18 h 75"/>
                  <a:gd name="T14" fmla="*/ 19 w 83"/>
                  <a:gd name="T15" fmla="*/ 17 h 75"/>
                  <a:gd name="T16" fmla="*/ 25 w 83"/>
                  <a:gd name="T17" fmla="*/ 12 h 75"/>
                  <a:gd name="T18" fmla="*/ 1 w 83"/>
                  <a:gd name="T19" fmla="*/ 30 h 75"/>
                  <a:gd name="T20" fmla="*/ 13 w 83"/>
                  <a:gd name="T21" fmla="*/ 24 h 75"/>
                  <a:gd name="T22" fmla="*/ 36 w 83"/>
                  <a:gd name="T23" fmla="*/ 28 h 75"/>
                  <a:gd name="T24" fmla="*/ 22 w 83"/>
                  <a:gd name="T25" fmla="*/ 35 h 75"/>
                  <a:gd name="T26" fmla="*/ 45 w 83"/>
                  <a:gd name="T27" fmla="*/ 41 h 75"/>
                  <a:gd name="T28" fmla="*/ 42 w 83"/>
                  <a:gd name="T29" fmla="*/ 41 h 75"/>
                  <a:gd name="T30" fmla="*/ 35 w 83"/>
                  <a:gd name="T31" fmla="*/ 40 h 75"/>
                  <a:gd name="T32" fmla="*/ 37 w 83"/>
                  <a:gd name="T33" fmla="*/ 45 h 75"/>
                  <a:gd name="T34" fmla="*/ 12 w 83"/>
                  <a:gd name="T35" fmla="*/ 34 h 75"/>
                  <a:gd name="T36" fmla="*/ 9 w 83"/>
                  <a:gd name="T37" fmla="*/ 35 h 75"/>
                  <a:gd name="T38" fmla="*/ 20 w 83"/>
                  <a:gd name="T39" fmla="*/ 64 h 75"/>
                  <a:gd name="T40" fmla="*/ 0 w 83"/>
                  <a:gd name="T41" fmla="*/ 57 h 75"/>
                  <a:gd name="T42" fmla="*/ 35 w 83"/>
                  <a:gd name="T43" fmla="*/ 58 h 75"/>
                  <a:gd name="T44" fmla="*/ 46 w 83"/>
                  <a:gd name="T45" fmla="*/ 57 h 75"/>
                  <a:gd name="T46" fmla="*/ 42 w 83"/>
                  <a:gd name="T47" fmla="*/ 48 h 75"/>
                  <a:gd name="T48" fmla="*/ 62 w 83"/>
                  <a:gd name="T49" fmla="*/ 57 h 75"/>
                  <a:gd name="T50" fmla="*/ 61 w 83"/>
                  <a:gd name="T51" fmla="*/ 35 h 75"/>
                  <a:gd name="T52" fmla="*/ 62 w 83"/>
                  <a:gd name="T53" fmla="*/ 34 h 75"/>
                  <a:gd name="T54" fmla="*/ 66 w 83"/>
                  <a:gd name="T55" fmla="*/ 16 h 75"/>
                  <a:gd name="T56" fmla="*/ 63 w 83"/>
                  <a:gd name="T57" fmla="*/ 44 h 75"/>
                  <a:gd name="T58" fmla="*/ 54 w 83"/>
                  <a:gd name="T59" fmla="*/ 32 h 75"/>
                  <a:gd name="T60" fmla="*/ 60 w 83"/>
                  <a:gd name="T61" fmla="*/ 27 h 75"/>
                  <a:gd name="T62" fmla="*/ 67 w 83"/>
                  <a:gd name="T63" fmla="*/ 18 h 75"/>
                  <a:gd name="T64" fmla="*/ 77 w 83"/>
                  <a:gd name="T65" fmla="*/ 23 h 75"/>
                  <a:gd name="T66" fmla="*/ 60 w 83"/>
                  <a:gd name="T67" fmla="*/ 27 h 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83" h="75">
                    <a:moveTo>
                      <a:pt x="66" y="16"/>
                    </a:moveTo>
                    <a:cubicBezTo>
                      <a:pt x="65" y="13"/>
                      <a:pt x="63" y="11"/>
                      <a:pt x="62" y="8"/>
                    </a:cubicBezTo>
                    <a:cubicBezTo>
                      <a:pt x="59" y="9"/>
                      <a:pt x="57" y="9"/>
                      <a:pt x="54" y="10"/>
                    </a:cubicBezTo>
                    <a:cubicBezTo>
                      <a:pt x="54" y="10"/>
                      <a:pt x="53" y="10"/>
                      <a:pt x="53" y="10"/>
                    </a:cubicBezTo>
                    <a:cubicBezTo>
                      <a:pt x="54" y="7"/>
                      <a:pt x="57" y="6"/>
                      <a:pt x="59" y="3"/>
                    </a:cubicBezTo>
                    <a:cubicBezTo>
                      <a:pt x="58" y="2"/>
                      <a:pt x="58" y="1"/>
                      <a:pt x="57" y="0"/>
                    </a:cubicBezTo>
                    <a:cubicBezTo>
                      <a:pt x="48" y="1"/>
                      <a:pt x="37" y="9"/>
                      <a:pt x="42" y="19"/>
                    </a:cubicBezTo>
                    <a:cubicBezTo>
                      <a:pt x="42" y="19"/>
                      <a:pt x="43" y="20"/>
                      <a:pt x="44" y="21"/>
                    </a:cubicBezTo>
                    <a:cubicBezTo>
                      <a:pt x="47" y="19"/>
                      <a:pt x="48" y="15"/>
                      <a:pt x="51" y="14"/>
                    </a:cubicBezTo>
                    <a:cubicBezTo>
                      <a:pt x="53" y="13"/>
                      <a:pt x="55" y="13"/>
                      <a:pt x="58" y="11"/>
                    </a:cubicBezTo>
                    <a:cubicBezTo>
                      <a:pt x="58" y="11"/>
                      <a:pt x="59" y="11"/>
                      <a:pt x="59" y="11"/>
                    </a:cubicBezTo>
                    <a:cubicBezTo>
                      <a:pt x="57" y="14"/>
                      <a:pt x="56" y="16"/>
                      <a:pt x="54" y="18"/>
                    </a:cubicBezTo>
                    <a:cubicBezTo>
                      <a:pt x="54" y="21"/>
                      <a:pt x="55" y="24"/>
                      <a:pt x="54" y="27"/>
                    </a:cubicBezTo>
                    <a:cubicBezTo>
                      <a:pt x="54" y="27"/>
                      <a:pt x="30" y="18"/>
                      <a:pt x="28" y="18"/>
                    </a:cubicBezTo>
                    <a:cubicBezTo>
                      <a:pt x="25" y="17"/>
                      <a:pt x="22" y="17"/>
                      <a:pt x="20" y="17"/>
                    </a:cubicBezTo>
                    <a:cubicBezTo>
                      <a:pt x="19" y="17"/>
                      <a:pt x="19" y="17"/>
                      <a:pt x="19" y="17"/>
                    </a:cubicBezTo>
                    <a:cubicBezTo>
                      <a:pt x="22" y="15"/>
                      <a:pt x="23" y="15"/>
                      <a:pt x="25" y="13"/>
                    </a:cubicBezTo>
                    <a:cubicBezTo>
                      <a:pt x="25" y="12"/>
                      <a:pt x="25" y="12"/>
                      <a:pt x="25" y="12"/>
                    </a:cubicBezTo>
                    <a:cubicBezTo>
                      <a:pt x="18" y="12"/>
                      <a:pt x="11" y="16"/>
                      <a:pt x="4" y="18"/>
                    </a:cubicBezTo>
                    <a:cubicBezTo>
                      <a:pt x="0" y="22"/>
                      <a:pt x="0" y="25"/>
                      <a:pt x="1" y="30"/>
                    </a:cubicBezTo>
                    <a:cubicBezTo>
                      <a:pt x="3" y="31"/>
                      <a:pt x="3" y="31"/>
                      <a:pt x="3" y="31"/>
                    </a:cubicBezTo>
                    <a:cubicBezTo>
                      <a:pt x="6" y="29"/>
                      <a:pt x="9" y="26"/>
                      <a:pt x="13" y="24"/>
                    </a:cubicBezTo>
                    <a:cubicBezTo>
                      <a:pt x="19" y="20"/>
                      <a:pt x="30" y="22"/>
                      <a:pt x="37" y="27"/>
                    </a:cubicBezTo>
                    <a:cubicBezTo>
                      <a:pt x="37" y="28"/>
                      <a:pt x="36" y="28"/>
                      <a:pt x="36" y="28"/>
                    </a:cubicBezTo>
                    <a:cubicBezTo>
                      <a:pt x="31" y="29"/>
                      <a:pt x="28" y="28"/>
                      <a:pt x="22" y="32"/>
                    </a:cubicBezTo>
                    <a:cubicBezTo>
                      <a:pt x="22" y="33"/>
                      <a:pt x="22" y="34"/>
                      <a:pt x="22" y="35"/>
                    </a:cubicBezTo>
                    <a:cubicBezTo>
                      <a:pt x="22" y="37"/>
                      <a:pt x="22" y="37"/>
                      <a:pt x="24" y="39"/>
                    </a:cubicBezTo>
                    <a:cubicBezTo>
                      <a:pt x="31" y="37"/>
                      <a:pt x="37" y="36"/>
                      <a:pt x="45" y="41"/>
                    </a:cubicBezTo>
                    <a:cubicBezTo>
                      <a:pt x="44" y="41"/>
                      <a:pt x="44" y="41"/>
                      <a:pt x="44" y="41"/>
                    </a:cubicBezTo>
                    <a:cubicBezTo>
                      <a:pt x="43" y="41"/>
                      <a:pt x="42" y="41"/>
                      <a:pt x="42" y="41"/>
                    </a:cubicBezTo>
                    <a:cubicBezTo>
                      <a:pt x="41" y="40"/>
                      <a:pt x="40" y="39"/>
                      <a:pt x="39" y="39"/>
                    </a:cubicBezTo>
                    <a:cubicBezTo>
                      <a:pt x="37" y="41"/>
                      <a:pt x="37" y="41"/>
                      <a:pt x="35" y="40"/>
                    </a:cubicBezTo>
                    <a:cubicBezTo>
                      <a:pt x="35" y="40"/>
                      <a:pt x="34" y="41"/>
                      <a:pt x="34" y="41"/>
                    </a:cubicBezTo>
                    <a:cubicBezTo>
                      <a:pt x="35" y="43"/>
                      <a:pt x="35" y="43"/>
                      <a:pt x="37" y="45"/>
                    </a:cubicBezTo>
                    <a:cubicBezTo>
                      <a:pt x="36" y="46"/>
                      <a:pt x="36" y="47"/>
                      <a:pt x="35" y="48"/>
                    </a:cubicBezTo>
                    <a:cubicBezTo>
                      <a:pt x="27" y="44"/>
                      <a:pt x="20" y="40"/>
                      <a:pt x="12" y="34"/>
                    </a:cubicBezTo>
                    <a:cubicBezTo>
                      <a:pt x="11" y="34"/>
                      <a:pt x="11" y="34"/>
                      <a:pt x="10" y="34"/>
                    </a:cubicBezTo>
                    <a:cubicBezTo>
                      <a:pt x="9" y="34"/>
                      <a:pt x="9" y="35"/>
                      <a:pt x="9" y="35"/>
                    </a:cubicBezTo>
                    <a:cubicBezTo>
                      <a:pt x="11" y="55"/>
                      <a:pt x="20" y="44"/>
                      <a:pt x="31" y="54"/>
                    </a:cubicBezTo>
                    <a:cubicBezTo>
                      <a:pt x="27" y="58"/>
                      <a:pt x="23" y="61"/>
                      <a:pt x="20" y="64"/>
                    </a:cubicBezTo>
                    <a:cubicBezTo>
                      <a:pt x="15" y="63"/>
                      <a:pt x="6" y="55"/>
                      <a:pt x="1" y="56"/>
                    </a:cubicBezTo>
                    <a:cubicBezTo>
                      <a:pt x="1" y="56"/>
                      <a:pt x="1" y="56"/>
                      <a:pt x="0" y="57"/>
                    </a:cubicBezTo>
                    <a:cubicBezTo>
                      <a:pt x="2" y="62"/>
                      <a:pt x="7" y="67"/>
                      <a:pt x="9" y="72"/>
                    </a:cubicBezTo>
                    <a:cubicBezTo>
                      <a:pt x="17" y="75"/>
                      <a:pt x="26" y="66"/>
                      <a:pt x="35" y="58"/>
                    </a:cubicBezTo>
                    <a:cubicBezTo>
                      <a:pt x="37" y="60"/>
                      <a:pt x="39" y="63"/>
                      <a:pt x="42" y="65"/>
                    </a:cubicBezTo>
                    <a:cubicBezTo>
                      <a:pt x="46" y="63"/>
                      <a:pt x="46" y="60"/>
                      <a:pt x="46" y="57"/>
                    </a:cubicBezTo>
                    <a:cubicBezTo>
                      <a:pt x="45" y="54"/>
                      <a:pt x="43" y="53"/>
                      <a:pt x="40" y="50"/>
                    </a:cubicBezTo>
                    <a:cubicBezTo>
                      <a:pt x="41" y="49"/>
                      <a:pt x="42" y="48"/>
                      <a:pt x="42" y="48"/>
                    </a:cubicBezTo>
                    <a:cubicBezTo>
                      <a:pt x="46" y="48"/>
                      <a:pt x="49" y="48"/>
                      <a:pt x="53" y="46"/>
                    </a:cubicBezTo>
                    <a:cubicBezTo>
                      <a:pt x="56" y="49"/>
                      <a:pt x="59" y="53"/>
                      <a:pt x="62" y="57"/>
                    </a:cubicBezTo>
                    <a:cubicBezTo>
                      <a:pt x="65" y="56"/>
                      <a:pt x="68" y="55"/>
                      <a:pt x="70" y="52"/>
                    </a:cubicBezTo>
                    <a:cubicBezTo>
                      <a:pt x="72" y="47"/>
                      <a:pt x="66" y="40"/>
                      <a:pt x="61" y="35"/>
                    </a:cubicBezTo>
                    <a:cubicBezTo>
                      <a:pt x="61" y="35"/>
                      <a:pt x="61" y="35"/>
                      <a:pt x="61" y="35"/>
                    </a:cubicBezTo>
                    <a:cubicBezTo>
                      <a:pt x="62" y="34"/>
                      <a:pt x="62" y="34"/>
                      <a:pt x="62" y="34"/>
                    </a:cubicBezTo>
                    <a:cubicBezTo>
                      <a:pt x="69" y="34"/>
                      <a:pt x="72" y="37"/>
                      <a:pt x="79" y="32"/>
                    </a:cubicBezTo>
                    <a:cubicBezTo>
                      <a:pt x="83" y="17"/>
                      <a:pt x="74" y="21"/>
                      <a:pt x="66" y="16"/>
                    </a:cubicBezTo>
                    <a:close/>
                    <a:moveTo>
                      <a:pt x="63" y="44"/>
                    </a:moveTo>
                    <a:cubicBezTo>
                      <a:pt x="63" y="44"/>
                      <a:pt x="63" y="44"/>
                      <a:pt x="63" y="44"/>
                    </a:cubicBezTo>
                    <a:cubicBezTo>
                      <a:pt x="55" y="42"/>
                      <a:pt x="46" y="34"/>
                      <a:pt x="38" y="32"/>
                    </a:cubicBezTo>
                    <a:cubicBezTo>
                      <a:pt x="43" y="28"/>
                      <a:pt x="48" y="31"/>
                      <a:pt x="54" y="32"/>
                    </a:cubicBezTo>
                    <a:cubicBezTo>
                      <a:pt x="57" y="36"/>
                      <a:pt x="60" y="40"/>
                      <a:pt x="63" y="44"/>
                    </a:cubicBezTo>
                    <a:close/>
                    <a:moveTo>
                      <a:pt x="60" y="27"/>
                    </a:moveTo>
                    <a:cubicBezTo>
                      <a:pt x="60" y="27"/>
                      <a:pt x="60" y="26"/>
                      <a:pt x="59" y="26"/>
                    </a:cubicBezTo>
                    <a:cubicBezTo>
                      <a:pt x="61" y="23"/>
                      <a:pt x="63" y="20"/>
                      <a:pt x="67" y="18"/>
                    </a:cubicBezTo>
                    <a:cubicBezTo>
                      <a:pt x="69" y="19"/>
                      <a:pt x="71" y="19"/>
                      <a:pt x="74" y="20"/>
                    </a:cubicBezTo>
                    <a:cubicBezTo>
                      <a:pt x="75" y="21"/>
                      <a:pt x="76" y="22"/>
                      <a:pt x="77" y="23"/>
                    </a:cubicBezTo>
                    <a:cubicBezTo>
                      <a:pt x="77" y="24"/>
                      <a:pt x="77" y="24"/>
                      <a:pt x="77" y="25"/>
                    </a:cubicBezTo>
                    <a:cubicBezTo>
                      <a:pt x="72" y="29"/>
                      <a:pt x="66" y="27"/>
                      <a:pt x="60" y="2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13" name="ïṩḻîḓé"/>
              <p:cNvSpPr/>
              <p:nvPr/>
            </p:nvSpPr>
            <p:spPr bwMode="auto">
              <a:xfrm>
                <a:off x="2728809" y="4582115"/>
                <a:ext cx="101600" cy="147638"/>
              </a:xfrm>
              <a:custGeom>
                <a:avLst/>
                <a:gdLst>
                  <a:gd name="T0" fmla="*/ 47 w 55"/>
                  <a:gd name="T1" fmla="*/ 0 h 80"/>
                  <a:gd name="T2" fmla="*/ 49 w 55"/>
                  <a:gd name="T3" fmla="*/ 20 h 80"/>
                  <a:gd name="T4" fmla="*/ 51 w 55"/>
                  <a:gd name="T5" fmla="*/ 34 h 80"/>
                  <a:gd name="T6" fmla="*/ 28 w 55"/>
                  <a:gd name="T7" fmla="*/ 38 h 80"/>
                  <a:gd name="T8" fmla="*/ 41 w 55"/>
                  <a:gd name="T9" fmla="*/ 68 h 80"/>
                  <a:gd name="T10" fmla="*/ 25 w 55"/>
                  <a:gd name="T11" fmla="*/ 74 h 80"/>
                  <a:gd name="T12" fmla="*/ 26 w 55"/>
                  <a:gd name="T13" fmla="*/ 39 h 80"/>
                  <a:gd name="T14" fmla="*/ 23 w 55"/>
                  <a:gd name="T15" fmla="*/ 40 h 80"/>
                  <a:gd name="T16" fmla="*/ 7 w 55"/>
                  <a:gd name="T17" fmla="*/ 54 h 80"/>
                  <a:gd name="T18" fmla="*/ 0 w 55"/>
                  <a:gd name="T19" fmla="*/ 43 h 80"/>
                  <a:gd name="T20" fmla="*/ 14 w 55"/>
                  <a:gd name="T21" fmla="*/ 28 h 80"/>
                  <a:gd name="T22" fmla="*/ 6 w 55"/>
                  <a:gd name="T23" fmla="*/ 15 h 80"/>
                  <a:gd name="T24" fmla="*/ 7 w 55"/>
                  <a:gd name="T25" fmla="*/ 15 h 80"/>
                  <a:gd name="T26" fmla="*/ 26 w 55"/>
                  <a:gd name="T27" fmla="*/ 18 h 80"/>
                  <a:gd name="T28" fmla="*/ 47 w 55"/>
                  <a:gd name="T29" fmla="*/ 0 h 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55" h="80">
                    <a:moveTo>
                      <a:pt x="47" y="0"/>
                    </a:moveTo>
                    <a:cubicBezTo>
                      <a:pt x="55" y="7"/>
                      <a:pt x="49" y="11"/>
                      <a:pt x="49" y="20"/>
                    </a:cubicBezTo>
                    <a:cubicBezTo>
                      <a:pt x="49" y="25"/>
                      <a:pt x="55" y="25"/>
                      <a:pt x="51" y="34"/>
                    </a:cubicBezTo>
                    <a:cubicBezTo>
                      <a:pt x="44" y="37"/>
                      <a:pt x="34" y="32"/>
                      <a:pt x="28" y="38"/>
                    </a:cubicBezTo>
                    <a:cubicBezTo>
                      <a:pt x="38" y="44"/>
                      <a:pt x="45" y="59"/>
                      <a:pt x="41" y="68"/>
                    </a:cubicBezTo>
                    <a:cubicBezTo>
                      <a:pt x="39" y="74"/>
                      <a:pt x="28" y="80"/>
                      <a:pt x="25" y="74"/>
                    </a:cubicBezTo>
                    <a:cubicBezTo>
                      <a:pt x="19" y="62"/>
                      <a:pt x="39" y="55"/>
                      <a:pt x="26" y="39"/>
                    </a:cubicBezTo>
                    <a:cubicBezTo>
                      <a:pt x="25" y="39"/>
                      <a:pt x="25" y="39"/>
                      <a:pt x="23" y="40"/>
                    </a:cubicBezTo>
                    <a:cubicBezTo>
                      <a:pt x="17" y="44"/>
                      <a:pt x="14" y="52"/>
                      <a:pt x="7" y="54"/>
                    </a:cubicBezTo>
                    <a:cubicBezTo>
                      <a:pt x="2" y="51"/>
                      <a:pt x="2" y="48"/>
                      <a:pt x="0" y="43"/>
                    </a:cubicBezTo>
                    <a:cubicBezTo>
                      <a:pt x="3" y="39"/>
                      <a:pt x="14" y="30"/>
                      <a:pt x="14" y="28"/>
                    </a:cubicBezTo>
                    <a:cubicBezTo>
                      <a:pt x="14" y="25"/>
                      <a:pt x="7" y="19"/>
                      <a:pt x="6" y="15"/>
                    </a:cubicBezTo>
                    <a:cubicBezTo>
                      <a:pt x="6" y="15"/>
                      <a:pt x="7" y="15"/>
                      <a:pt x="7" y="15"/>
                    </a:cubicBezTo>
                    <a:cubicBezTo>
                      <a:pt x="13" y="15"/>
                      <a:pt x="20" y="18"/>
                      <a:pt x="26" y="18"/>
                    </a:cubicBezTo>
                    <a:cubicBezTo>
                      <a:pt x="34" y="17"/>
                      <a:pt x="41" y="5"/>
                      <a:pt x="47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14" name="išḷïḓe"/>
              <p:cNvSpPr/>
              <p:nvPr/>
            </p:nvSpPr>
            <p:spPr bwMode="auto">
              <a:xfrm>
                <a:off x="2490684" y="4510678"/>
                <a:ext cx="144463" cy="160338"/>
              </a:xfrm>
              <a:custGeom>
                <a:avLst/>
                <a:gdLst>
                  <a:gd name="T0" fmla="*/ 55 w 78"/>
                  <a:gd name="T1" fmla="*/ 64 h 87"/>
                  <a:gd name="T2" fmla="*/ 62 w 78"/>
                  <a:gd name="T3" fmla="*/ 50 h 87"/>
                  <a:gd name="T4" fmla="*/ 54 w 78"/>
                  <a:gd name="T5" fmla="*/ 43 h 87"/>
                  <a:gd name="T6" fmla="*/ 69 w 78"/>
                  <a:gd name="T7" fmla="*/ 29 h 87"/>
                  <a:gd name="T8" fmla="*/ 67 w 78"/>
                  <a:gd name="T9" fmla="*/ 21 h 87"/>
                  <a:gd name="T10" fmla="*/ 70 w 78"/>
                  <a:gd name="T11" fmla="*/ 11 h 87"/>
                  <a:gd name="T12" fmla="*/ 69 w 78"/>
                  <a:gd name="T13" fmla="*/ 3 h 87"/>
                  <a:gd name="T14" fmla="*/ 64 w 78"/>
                  <a:gd name="T15" fmla="*/ 0 h 87"/>
                  <a:gd name="T16" fmla="*/ 63 w 78"/>
                  <a:gd name="T17" fmla="*/ 0 h 87"/>
                  <a:gd name="T18" fmla="*/ 63 w 78"/>
                  <a:gd name="T19" fmla="*/ 12 h 87"/>
                  <a:gd name="T20" fmla="*/ 42 w 78"/>
                  <a:gd name="T21" fmla="*/ 25 h 87"/>
                  <a:gd name="T22" fmla="*/ 42 w 78"/>
                  <a:gd name="T23" fmla="*/ 33 h 87"/>
                  <a:gd name="T24" fmla="*/ 33 w 78"/>
                  <a:gd name="T25" fmla="*/ 36 h 87"/>
                  <a:gd name="T26" fmla="*/ 39 w 78"/>
                  <a:gd name="T27" fmla="*/ 33 h 87"/>
                  <a:gd name="T28" fmla="*/ 39 w 78"/>
                  <a:gd name="T29" fmla="*/ 23 h 87"/>
                  <a:gd name="T30" fmla="*/ 36 w 78"/>
                  <a:gd name="T31" fmla="*/ 0 h 87"/>
                  <a:gd name="T32" fmla="*/ 36 w 78"/>
                  <a:gd name="T33" fmla="*/ 0 h 87"/>
                  <a:gd name="T34" fmla="*/ 36 w 78"/>
                  <a:gd name="T35" fmla="*/ 8 h 87"/>
                  <a:gd name="T36" fmla="*/ 30 w 78"/>
                  <a:gd name="T37" fmla="*/ 24 h 87"/>
                  <a:gd name="T38" fmla="*/ 1 w 78"/>
                  <a:gd name="T39" fmla="*/ 29 h 87"/>
                  <a:gd name="T40" fmla="*/ 0 w 78"/>
                  <a:gd name="T41" fmla="*/ 31 h 87"/>
                  <a:gd name="T42" fmla="*/ 18 w 78"/>
                  <a:gd name="T43" fmla="*/ 39 h 87"/>
                  <a:gd name="T44" fmla="*/ 25 w 78"/>
                  <a:gd name="T45" fmla="*/ 36 h 87"/>
                  <a:gd name="T46" fmla="*/ 25 w 78"/>
                  <a:gd name="T47" fmla="*/ 36 h 87"/>
                  <a:gd name="T48" fmla="*/ 3 w 78"/>
                  <a:gd name="T49" fmla="*/ 62 h 87"/>
                  <a:gd name="T50" fmla="*/ 5 w 78"/>
                  <a:gd name="T51" fmla="*/ 67 h 87"/>
                  <a:gd name="T52" fmla="*/ 12 w 78"/>
                  <a:gd name="T53" fmla="*/ 66 h 87"/>
                  <a:gd name="T54" fmla="*/ 22 w 78"/>
                  <a:gd name="T55" fmla="*/ 74 h 87"/>
                  <a:gd name="T56" fmla="*/ 25 w 78"/>
                  <a:gd name="T57" fmla="*/ 61 h 87"/>
                  <a:gd name="T58" fmla="*/ 30 w 78"/>
                  <a:gd name="T59" fmla="*/ 49 h 87"/>
                  <a:gd name="T60" fmla="*/ 48 w 78"/>
                  <a:gd name="T61" fmla="*/ 63 h 87"/>
                  <a:gd name="T62" fmla="*/ 24 w 78"/>
                  <a:gd name="T63" fmla="*/ 71 h 87"/>
                  <a:gd name="T64" fmla="*/ 48 w 78"/>
                  <a:gd name="T65" fmla="*/ 71 h 87"/>
                  <a:gd name="T66" fmla="*/ 51 w 78"/>
                  <a:gd name="T67" fmla="*/ 69 h 87"/>
                  <a:gd name="T68" fmla="*/ 77 w 78"/>
                  <a:gd name="T69" fmla="*/ 87 h 87"/>
                  <a:gd name="T70" fmla="*/ 78 w 78"/>
                  <a:gd name="T71" fmla="*/ 86 h 87"/>
                  <a:gd name="T72" fmla="*/ 55 w 78"/>
                  <a:gd name="T73" fmla="*/ 64 h 87"/>
                  <a:gd name="T74" fmla="*/ 15 w 78"/>
                  <a:gd name="T75" fmla="*/ 64 h 87"/>
                  <a:gd name="T76" fmla="*/ 15 w 78"/>
                  <a:gd name="T77" fmla="*/ 65 h 87"/>
                  <a:gd name="T78" fmla="*/ 11 w 78"/>
                  <a:gd name="T79" fmla="*/ 63 h 87"/>
                  <a:gd name="T80" fmla="*/ 12 w 78"/>
                  <a:gd name="T81" fmla="*/ 60 h 87"/>
                  <a:gd name="T82" fmla="*/ 15 w 78"/>
                  <a:gd name="T83" fmla="*/ 57 h 87"/>
                  <a:gd name="T84" fmla="*/ 17 w 78"/>
                  <a:gd name="T85" fmla="*/ 58 h 87"/>
                  <a:gd name="T86" fmla="*/ 15 w 78"/>
                  <a:gd name="T87" fmla="*/ 64 h 87"/>
                  <a:gd name="T88" fmla="*/ 32 w 78"/>
                  <a:gd name="T89" fmla="*/ 46 h 87"/>
                  <a:gd name="T90" fmla="*/ 44 w 78"/>
                  <a:gd name="T91" fmla="*/ 34 h 87"/>
                  <a:gd name="T92" fmla="*/ 52 w 78"/>
                  <a:gd name="T93" fmla="*/ 35 h 87"/>
                  <a:gd name="T94" fmla="*/ 46 w 78"/>
                  <a:gd name="T95" fmla="*/ 50 h 87"/>
                  <a:gd name="T96" fmla="*/ 48 w 78"/>
                  <a:gd name="T97" fmla="*/ 52 h 87"/>
                  <a:gd name="T98" fmla="*/ 56 w 78"/>
                  <a:gd name="T99" fmla="*/ 50 h 87"/>
                  <a:gd name="T100" fmla="*/ 52 w 78"/>
                  <a:gd name="T101" fmla="*/ 61 h 87"/>
                  <a:gd name="T102" fmla="*/ 32 w 78"/>
                  <a:gd name="T103" fmla="*/ 46 h 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78" h="87">
                    <a:moveTo>
                      <a:pt x="55" y="64"/>
                    </a:moveTo>
                    <a:cubicBezTo>
                      <a:pt x="58" y="60"/>
                      <a:pt x="60" y="55"/>
                      <a:pt x="62" y="50"/>
                    </a:cubicBezTo>
                    <a:cubicBezTo>
                      <a:pt x="61" y="47"/>
                      <a:pt x="58" y="44"/>
                      <a:pt x="54" y="43"/>
                    </a:cubicBezTo>
                    <a:cubicBezTo>
                      <a:pt x="57" y="36"/>
                      <a:pt x="64" y="33"/>
                      <a:pt x="69" y="29"/>
                    </a:cubicBezTo>
                    <a:cubicBezTo>
                      <a:pt x="69" y="25"/>
                      <a:pt x="67" y="24"/>
                      <a:pt x="67" y="21"/>
                    </a:cubicBezTo>
                    <a:cubicBezTo>
                      <a:pt x="68" y="18"/>
                      <a:pt x="69" y="15"/>
                      <a:pt x="70" y="11"/>
                    </a:cubicBezTo>
                    <a:cubicBezTo>
                      <a:pt x="70" y="9"/>
                      <a:pt x="69" y="6"/>
                      <a:pt x="69" y="3"/>
                    </a:cubicBezTo>
                    <a:cubicBezTo>
                      <a:pt x="68" y="2"/>
                      <a:pt x="67" y="1"/>
                      <a:pt x="64" y="0"/>
                    </a:cubicBezTo>
                    <a:cubicBezTo>
                      <a:pt x="64" y="0"/>
                      <a:pt x="63" y="0"/>
                      <a:pt x="63" y="0"/>
                    </a:cubicBezTo>
                    <a:cubicBezTo>
                      <a:pt x="61" y="5"/>
                      <a:pt x="63" y="8"/>
                      <a:pt x="63" y="12"/>
                    </a:cubicBezTo>
                    <a:cubicBezTo>
                      <a:pt x="63" y="24"/>
                      <a:pt x="52" y="26"/>
                      <a:pt x="42" y="25"/>
                    </a:cubicBezTo>
                    <a:cubicBezTo>
                      <a:pt x="41" y="28"/>
                      <a:pt x="41" y="31"/>
                      <a:pt x="42" y="33"/>
                    </a:cubicBezTo>
                    <a:cubicBezTo>
                      <a:pt x="39" y="34"/>
                      <a:pt x="36" y="35"/>
                      <a:pt x="33" y="36"/>
                    </a:cubicBezTo>
                    <a:cubicBezTo>
                      <a:pt x="34" y="32"/>
                      <a:pt x="36" y="32"/>
                      <a:pt x="39" y="33"/>
                    </a:cubicBezTo>
                    <a:cubicBezTo>
                      <a:pt x="41" y="29"/>
                      <a:pt x="38" y="27"/>
                      <a:pt x="39" y="23"/>
                    </a:cubicBezTo>
                    <a:cubicBezTo>
                      <a:pt x="39" y="14"/>
                      <a:pt x="53" y="6"/>
                      <a:pt x="36" y="0"/>
                    </a:cubicBezTo>
                    <a:cubicBezTo>
                      <a:pt x="36" y="0"/>
                      <a:pt x="36" y="0"/>
                      <a:pt x="36" y="0"/>
                    </a:cubicBezTo>
                    <a:cubicBezTo>
                      <a:pt x="35" y="3"/>
                      <a:pt x="36" y="5"/>
                      <a:pt x="36" y="8"/>
                    </a:cubicBezTo>
                    <a:cubicBezTo>
                      <a:pt x="34" y="14"/>
                      <a:pt x="32" y="19"/>
                      <a:pt x="30" y="24"/>
                    </a:cubicBezTo>
                    <a:cubicBezTo>
                      <a:pt x="22" y="26"/>
                      <a:pt x="9" y="26"/>
                      <a:pt x="1" y="29"/>
                    </a:cubicBezTo>
                    <a:cubicBezTo>
                      <a:pt x="1" y="30"/>
                      <a:pt x="1" y="30"/>
                      <a:pt x="0" y="31"/>
                    </a:cubicBezTo>
                    <a:cubicBezTo>
                      <a:pt x="1" y="35"/>
                      <a:pt x="12" y="39"/>
                      <a:pt x="18" y="39"/>
                    </a:cubicBezTo>
                    <a:cubicBezTo>
                      <a:pt x="20" y="38"/>
                      <a:pt x="22" y="37"/>
                      <a:pt x="25" y="36"/>
                    </a:cubicBezTo>
                    <a:cubicBezTo>
                      <a:pt x="25" y="36"/>
                      <a:pt x="25" y="36"/>
                      <a:pt x="25" y="36"/>
                    </a:cubicBezTo>
                    <a:cubicBezTo>
                      <a:pt x="21" y="52"/>
                      <a:pt x="9" y="50"/>
                      <a:pt x="3" y="62"/>
                    </a:cubicBezTo>
                    <a:cubicBezTo>
                      <a:pt x="4" y="63"/>
                      <a:pt x="4" y="65"/>
                      <a:pt x="5" y="67"/>
                    </a:cubicBezTo>
                    <a:cubicBezTo>
                      <a:pt x="7" y="67"/>
                      <a:pt x="10" y="67"/>
                      <a:pt x="12" y="66"/>
                    </a:cubicBezTo>
                    <a:cubicBezTo>
                      <a:pt x="17" y="68"/>
                      <a:pt x="17" y="72"/>
                      <a:pt x="22" y="74"/>
                    </a:cubicBezTo>
                    <a:cubicBezTo>
                      <a:pt x="25" y="71"/>
                      <a:pt x="24" y="66"/>
                      <a:pt x="25" y="61"/>
                    </a:cubicBezTo>
                    <a:cubicBezTo>
                      <a:pt x="25" y="56"/>
                      <a:pt x="28" y="52"/>
                      <a:pt x="30" y="49"/>
                    </a:cubicBezTo>
                    <a:cubicBezTo>
                      <a:pt x="40" y="53"/>
                      <a:pt x="42" y="58"/>
                      <a:pt x="48" y="63"/>
                    </a:cubicBezTo>
                    <a:cubicBezTo>
                      <a:pt x="44" y="74"/>
                      <a:pt x="29" y="63"/>
                      <a:pt x="24" y="71"/>
                    </a:cubicBezTo>
                    <a:cubicBezTo>
                      <a:pt x="39" y="78"/>
                      <a:pt x="36" y="74"/>
                      <a:pt x="48" y="71"/>
                    </a:cubicBezTo>
                    <a:cubicBezTo>
                      <a:pt x="49" y="70"/>
                      <a:pt x="50" y="70"/>
                      <a:pt x="51" y="69"/>
                    </a:cubicBezTo>
                    <a:cubicBezTo>
                      <a:pt x="58" y="79"/>
                      <a:pt x="58" y="87"/>
                      <a:pt x="77" y="87"/>
                    </a:cubicBezTo>
                    <a:cubicBezTo>
                      <a:pt x="77" y="87"/>
                      <a:pt x="78" y="86"/>
                      <a:pt x="78" y="86"/>
                    </a:cubicBezTo>
                    <a:cubicBezTo>
                      <a:pt x="74" y="76"/>
                      <a:pt x="60" y="73"/>
                      <a:pt x="55" y="64"/>
                    </a:cubicBezTo>
                    <a:close/>
                    <a:moveTo>
                      <a:pt x="15" y="64"/>
                    </a:moveTo>
                    <a:cubicBezTo>
                      <a:pt x="15" y="65"/>
                      <a:pt x="15" y="65"/>
                      <a:pt x="15" y="65"/>
                    </a:cubicBezTo>
                    <a:cubicBezTo>
                      <a:pt x="14" y="64"/>
                      <a:pt x="13" y="64"/>
                      <a:pt x="11" y="63"/>
                    </a:cubicBezTo>
                    <a:cubicBezTo>
                      <a:pt x="11" y="62"/>
                      <a:pt x="12" y="61"/>
                      <a:pt x="12" y="60"/>
                    </a:cubicBezTo>
                    <a:cubicBezTo>
                      <a:pt x="13" y="59"/>
                      <a:pt x="14" y="58"/>
                      <a:pt x="15" y="57"/>
                    </a:cubicBezTo>
                    <a:cubicBezTo>
                      <a:pt x="16" y="57"/>
                      <a:pt x="16" y="58"/>
                      <a:pt x="17" y="58"/>
                    </a:cubicBezTo>
                    <a:cubicBezTo>
                      <a:pt x="16" y="60"/>
                      <a:pt x="16" y="62"/>
                      <a:pt x="15" y="64"/>
                    </a:cubicBezTo>
                    <a:close/>
                    <a:moveTo>
                      <a:pt x="32" y="46"/>
                    </a:moveTo>
                    <a:cubicBezTo>
                      <a:pt x="35" y="43"/>
                      <a:pt x="44" y="37"/>
                      <a:pt x="44" y="34"/>
                    </a:cubicBezTo>
                    <a:cubicBezTo>
                      <a:pt x="47" y="34"/>
                      <a:pt x="49" y="35"/>
                      <a:pt x="52" y="35"/>
                    </a:cubicBezTo>
                    <a:cubicBezTo>
                      <a:pt x="50" y="40"/>
                      <a:pt x="45" y="44"/>
                      <a:pt x="46" y="50"/>
                    </a:cubicBezTo>
                    <a:cubicBezTo>
                      <a:pt x="46" y="51"/>
                      <a:pt x="47" y="51"/>
                      <a:pt x="48" y="52"/>
                    </a:cubicBezTo>
                    <a:cubicBezTo>
                      <a:pt x="50" y="51"/>
                      <a:pt x="53" y="49"/>
                      <a:pt x="56" y="50"/>
                    </a:cubicBezTo>
                    <a:cubicBezTo>
                      <a:pt x="55" y="54"/>
                      <a:pt x="53" y="57"/>
                      <a:pt x="52" y="61"/>
                    </a:cubicBezTo>
                    <a:cubicBezTo>
                      <a:pt x="45" y="56"/>
                      <a:pt x="44" y="49"/>
                      <a:pt x="32" y="4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15" name="ï$ľíḍe"/>
              <p:cNvSpPr/>
              <p:nvPr/>
            </p:nvSpPr>
            <p:spPr bwMode="auto">
              <a:xfrm>
                <a:off x="2255734" y="4491628"/>
                <a:ext cx="136525" cy="174625"/>
              </a:xfrm>
              <a:custGeom>
                <a:avLst/>
                <a:gdLst>
                  <a:gd name="T0" fmla="*/ 74 w 74"/>
                  <a:gd name="T1" fmla="*/ 41 h 94"/>
                  <a:gd name="T2" fmla="*/ 64 w 74"/>
                  <a:gd name="T3" fmla="*/ 35 h 94"/>
                  <a:gd name="T4" fmla="*/ 51 w 74"/>
                  <a:gd name="T5" fmla="*/ 5 h 94"/>
                  <a:gd name="T6" fmla="*/ 58 w 74"/>
                  <a:gd name="T7" fmla="*/ 39 h 94"/>
                  <a:gd name="T8" fmla="*/ 47 w 74"/>
                  <a:gd name="T9" fmla="*/ 47 h 94"/>
                  <a:gd name="T10" fmla="*/ 55 w 74"/>
                  <a:gd name="T11" fmla="*/ 34 h 94"/>
                  <a:gd name="T12" fmla="*/ 47 w 74"/>
                  <a:gd name="T13" fmla="*/ 29 h 94"/>
                  <a:gd name="T14" fmla="*/ 54 w 74"/>
                  <a:gd name="T15" fmla="*/ 22 h 94"/>
                  <a:gd name="T16" fmla="*/ 54 w 74"/>
                  <a:gd name="T17" fmla="*/ 20 h 94"/>
                  <a:gd name="T18" fmla="*/ 54 w 74"/>
                  <a:gd name="T19" fmla="*/ 19 h 94"/>
                  <a:gd name="T20" fmla="*/ 41 w 74"/>
                  <a:gd name="T21" fmla="*/ 19 h 94"/>
                  <a:gd name="T22" fmla="*/ 44 w 74"/>
                  <a:gd name="T23" fmla="*/ 22 h 94"/>
                  <a:gd name="T24" fmla="*/ 44 w 74"/>
                  <a:gd name="T25" fmla="*/ 32 h 94"/>
                  <a:gd name="T26" fmla="*/ 48 w 74"/>
                  <a:gd name="T27" fmla="*/ 37 h 94"/>
                  <a:gd name="T28" fmla="*/ 40 w 74"/>
                  <a:gd name="T29" fmla="*/ 58 h 94"/>
                  <a:gd name="T30" fmla="*/ 44 w 74"/>
                  <a:gd name="T31" fmla="*/ 61 h 94"/>
                  <a:gd name="T32" fmla="*/ 59 w 74"/>
                  <a:gd name="T33" fmla="*/ 46 h 94"/>
                  <a:gd name="T34" fmla="*/ 59 w 74"/>
                  <a:gd name="T35" fmla="*/ 46 h 94"/>
                  <a:gd name="T36" fmla="*/ 66 w 74"/>
                  <a:gd name="T37" fmla="*/ 93 h 94"/>
                  <a:gd name="T38" fmla="*/ 68 w 74"/>
                  <a:gd name="T39" fmla="*/ 93 h 94"/>
                  <a:gd name="T40" fmla="*/ 65 w 74"/>
                  <a:gd name="T41" fmla="*/ 42 h 94"/>
                  <a:gd name="T42" fmla="*/ 73 w 74"/>
                  <a:gd name="T43" fmla="*/ 41 h 94"/>
                  <a:gd name="T44" fmla="*/ 74 w 74"/>
                  <a:gd name="T45" fmla="*/ 41 h 94"/>
                  <a:gd name="T46" fmla="*/ 43 w 74"/>
                  <a:gd name="T47" fmla="*/ 42 h 94"/>
                  <a:gd name="T48" fmla="*/ 35 w 74"/>
                  <a:gd name="T49" fmla="*/ 48 h 94"/>
                  <a:gd name="T50" fmla="*/ 39 w 74"/>
                  <a:gd name="T51" fmla="*/ 38 h 94"/>
                  <a:gd name="T52" fmla="*/ 37 w 74"/>
                  <a:gd name="T53" fmla="*/ 29 h 94"/>
                  <a:gd name="T54" fmla="*/ 40 w 74"/>
                  <a:gd name="T55" fmla="*/ 27 h 94"/>
                  <a:gd name="T56" fmla="*/ 34 w 74"/>
                  <a:gd name="T57" fmla="*/ 16 h 94"/>
                  <a:gd name="T58" fmla="*/ 32 w 74"/>
                  <a:gd name="T59" fmla="*/ 15 h 94"/>
                  <a:gd name="T60" fmla="*/ 4 w 74"/>
                  <a:gd name="T61" fmla="*/ 46 h 94"/>
                  <a:gd name="T62" fmla="*/ 30 w 74"/>
                  <a:gd name="T63" fmla="*/ 29 h 94"/>
                  <a:gd name="T64" fmla="*/ 8 w 74"/>
                  <a:gd name="T65" fmla="*/ 52 h 94"/>
                  <a:gd name="T66" fmla="*/ 0 w 74"/>
                  <a:gd name="T67" fmla="*/ 56 h 94"/>
                  <a:gd name="T68" fmla="*/ 3 w 74"/>
                  <a:gd name="T69" fmla="*/ 61 h 94"/>
                  <a:gd name="T70" fmla="*/ 23 w 74"/>
                  <a:gd name="T71" fmla="*/ 54 h 94"/>
                  <a:gd name="T72" fmla="*/ 25 w 74"/>
                  <a:gd name="T73" fmla="*/ 53 h 94"/>
                  <a:gd name="T74" fmla="*/ 25 w 74"/>
                  <a:gd name="T75" fmla="*/ 53 h 94"/>
                  <a:gd name="T76" fmla="*/ 20 w 74"/>
                  <a:gd name="T77" fmla="*/ 72 h 94"/>
                  <a:gd name="T78" fmla="*/ 25 w 74"/>
                  <a:gd name="T79" fmla="*/ 76 h 94"/>
                  <a:gd name="T80" fmla="*/ 26 w 74"/>
                  <a:gd name="T81" fmla="*/ 76 h 94"/>
                  <a:gd name="T82" fmla="*/ 30 w 74"/>
                  <a:gd name="T83" fmla="*/ 67 h 94"/>
                  <a:gd name="T84" fmla="*/ 31 w 74"/>
                  <a:gd name="T85" fmla="*/ 66 h 94"/>
                  <a:gd name="T86" fmla="*/ 32 w 74"/>
                  <a:gd name="T87" fmla="*/ 75 h 94"/>
                  <a:gd name="T88" fmla="*/ 35 w 74"/>
                  <a:gd name="T89" fmla="*/ 76 h 94"/>
                  <a:gd name="T90" fmla="*/ 38 w 74"/>
                  <a:gd name="T91" fmla="*/ 76 h 94"/>
                  <a:gd name="T92" fmla="*/ 35 w 74"/>
                  <a:gd name="T93" fmla="*/ 61 h 94"/>
                  <a:gd name="T94" fmla="*/ 43 w 74"/>
                  <a:gd name="T95" fmla="*/ 42 h 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74" h="94">
                    <a:moveTo>
                      <a:pt x="74" y="41"/>
                    </a:moveTo>
                    <a:cubicBezTo>
                      <a:pt x="73" y="36"/>
                      <a:pt x="70" y="34"/>
                      <a:pt x="64" y="35"/>
                    </a:cubicBezTo>
                    <a:cubicBezTo>
                      <a:pt x="63" y="24"/>
                      <a:pt x="67" y="0"/>
                      <a:pt x="51" y="5"/>
                    </a:cubicBezTo>
                    <a:cubicBezTo>
                      <a:pt x="50" y="9"/>
                      <a:pt x="61" y="31"/>
                      <a:pt x="58" y="39"/>
                    </a:cubicBezTo>
                    <a:cubicBezTo>
                      <a:pt x="58" y="39"/>
                      <a:pt x="47" y="47"/>
                      <a:pt x="47" y="47"/>
                    </a:cubicBezTo>
                    <a:cubicBezTo>
                      <a:pt x="48" y="41"/>
                      <a:pt x="53" y="39"/>
                      <a:pt x="55" y="34"/>
                    </a:cubicBezTo>
                    <a:cubicBezTo>
                      <a:pt x="56" y="30"/>
                      <a:pt x="49" y="31"/>
                      <a:pt x="47" y="29"/>
                    </a:cubicBezTo>
                    <a:cubicBezTo>
                      <a:pt x="48" y="26"/>
                      <a:pt x="51" y="23"/>
                      <a:pt x="54" y="22"/>
                    </a:cubicBezTo>
                    <a:cubicBezTo>
                      <a:pt x="54" y="21"/>
                      <a:pt x="54" y="21"/>
                      <a:pt x="54" y="20"/>
                    </a:cubicBezTo>
                    <a:cubicBezTo>
                      <a:pt x="54" y="20"/>
                      <a:pt x="54" y="19"/>
                      <a:pt x="54" y="19"/>
                    </a:cubicBezTo>
                    <a:cubicBezTo>
                      <a:pt x="50" y="17"/>
                      <a:pt x="45" y="17"/>
                      <a:pt x="41" y="19"/>
                    </a:cubicBezTo>
                    <a:cubicBezTo>
                      <a:pt x="41" y="22"/>
                      <a:pt x="42" y="22"/>
                      <a:pt x="44" y="22"/>
                    </a:cubicBezTo>
                    <a:cubicBezTo>
                      <a:pt x="44" y="26"/>
                      <a:pt x="44" y="29"/>
                      <a:pt x="44" y="32"/>
                    </a:cubicBezTo>
                    <a:cubicBezTo>
                      <a:pt x="45" y="34"/>
                      <a:pt x="47" y="35"/>
                      <a:pt x="48" y="37"/>
                    </a:cubicBezTo>
                    <a:cubicBezTo>
                      <a:pt x="46" y="41"/>
                      <a:pt x="35" y="51"/>
                      <a:pt x="40" y="58"/>
                    </a:cubicBezTo>
                    <a:cubicBezTo>
                      <a:pt x="41" y="60"/>
                      <a:pt x="42" y="60"/>
                      <a:pt x="44" y="61"/>
                    </a:cubicBezTo>
                    <a:cubicBezTo>
                      <a:pt x="49" y="55"/>
                      <a:pt x="51" y="50"/>
                      <a:pt x="59" y="46"/>
                    </a:cubicBezTo>
                    <a:cubicBezTo>
                      <a:pt x="59" y="46"/>
                      <a:pt x="59" y="46"/>
                      <a:pt x="59" y="46"/>
                    </a:cubicBezTo>
                    <a:cubicBezTo>
                      <a:pt x="61" y="60"/>
                      <a:pt x="59" y="83"/>
                      <a:pt x="66" y="93"/>
                    </a:cubicBezTo>
                    <a:cubicBezTo>
                      <a:pt x="67" y="94"/>
                      <a:pt x="67" y="93"/>
                      <a:pt x="68" y="93"/>
                    </a:cubicBezTo>
                    <a:cubicBezTo>
                      <a:pt x="68" y="78"/>
                      <a:pt x="67" y="60"/>
                      <a:pt x="65" y="42"/>
                    </a:cubicBezTo>
                    <a:cubicBezTo>
                      <a:pt x="68" y="42"/>
                      <a:pt x="72" y="42"/>
                      <a:pt x="73" y="41"/>
                    </a:cubicBezTo>
                    <a:cubicBezTo>
                      <a:pt x="74" y="41"/>
                      <a:pt x="74" y="41"/>
                      <a:pt x="74" y="41"/>
                    </a:cubicBezTo>
                    <a:close/>
                    <a:moveTo>
                      <a:pt x="43" y="42"/>
                    </a:moveTo>
                    <a:cubicBezTo>
                      <a:pt x="39" y="44"/>
                      <a:pt x="38" y="46"/>
                      <a:pt x="35" y="48"/>
                    </a:cubicBezTo>
                    <a:cubicBezTo>
                      <a:pt x="35" y="42"/>
                      <a:pt x="39" y="42"/>
                      <a:pt x="39" y="38"/>
                    </a:cubicBezTo>
                    <a:cubicBezTo>
                      <a:pt x="40" y="35"/>
                      <a:pt x="37" y="33"/>
                      <a:pt x="37" y="29"/>
                    </a:cubicBezTo>
                    <a:cubicBezTo>
                      <a:pt x="38" y="28"/>
                      <a:pt x="39" y="28"/>
                      <a:pt x="40" y="27"/>
                    </a:cubicBezTo>
                    <a:cubicBezTo>
                      <a:pt x="41" y="24"/>
                      <a:pt x="36" y="16"/>
                      <a:pt x="34" y="16"/>
                    </a:cubicBezTo>
                    <a:cubicBezTo>
                      <a:pt x="33" y="16"/>
                      <a:pt x="32" y="15"/>
                      <a:pt x="32" y="15"/>
                    </a:cubicBezTo>
                    <a:cubicBezTo>
                      <a:pt x="22" y="28"/>
                      <a:pt x="10" y="30"/>
                      <a:pt x="4" y="46"/>
                    </a:cubicBezTo>
                    <a:cubicBezTo>
                      <a:pt x="13" y="41"/>
                      <a:pt x="17" y="31"/>
                      <a:pt x="30" y="29"/>
                    </a:cubicBezTo>
                    <a:cubicBezTo>
                      <a:pt x="29" y="39"/>
                      <a:pt x="16" y="48"/>
                      <a:pt x="8" y="52"/>
                    </a:cubicBezTo>
                    <a:cubicBezTo>
                      <a:pt x="4" y="54"/>
                      <a:pt x="2" y="52"/>
                      <a:pt x="0" y="56"/>
                    </a:cubicBezTo>
                    <a:cubicBezTo>
                      <a:pt x="0" y="59"/>
                      <a:pt x="1" y="60"/>
                      <a:pt x="3" y="61"/>
                    </a:cubicBezTo>
                    <a:cubicBezTo>
                      <a:pt x="10" y="63"/>
                      <a:pt x="22" y="58"/>
                      <a:pt x="23" y="54"/>
                    </a:cubicBezTo>
                    <a:cubicBezTo>
                      <a:pt x="24" y="54"/>
                      <a:pt x="24" y="53"/>
                      <a:pt x="25" y="53"/>
                    </a:cubicBezTo>
                    <a:cubicBezTo>
                      <a:pt x="25" y="53"/>
                      <a:pt x="25" y="53"/>
                      <a:pt x="25" y="53"/>
                    </a:cubicBezTo>
                    <a:cubicBezTo>
                      <a:pt x="23" y="59"/>
                      <a:pt x="22" y="66"/>
                      <a:pt x="20" y="72"/>
                    </a:cubicBezTo>
                    <a:cubicBezTo>
                      <a:pt x="21" y="74"/>
                      <a:pt x="23" y="75"/>
                      <a:pt x="25" y="76"/>
                    </a:cubicBezTo>
                    <a:cubicBezTo>
                      <a:pt x="25" y="76"/>
                      <a:pt x="26" y="76"/>
                      <a:pt x="26" y="76"/>
                    </a:cubicBezTo>
                    <a:cubicBezTo>
                      <a:pt x="28" y="73"/>
                      <a:pt x="29" y="70"/>
                      <a:pt x="30" y="67"/>
                    </a:cubicBezTo>
                    <a:cubicBezTo>
                      <a:pt x="31" y="67"/>
                      <a:pt x="31" y="67"/>
                      <a:pt x="31" y="66"/>
                    </a:cubicBezTo>
                    <a:cubicBezTo>
                      <a:pt x="32" y="69"/>
                      <a:pt x="32" y="72"/>
                      <a:pt x="32" y="75"/>
                    </a:cubicBezTo>
                    <a:cubicBezTo>
                      <a:pt x="33" y="75"/>
                      <a:pt x="34" y="76"/>
                      <a:pt x="35" y="76"/>
                    </a:cubicBezTo>
                    <a:cubicBezTo>
                      <a:pt x="36" y="76"/>
                      <a:pt x="37" y="76"/>
                      <a:pt x="38" y="76"/>
                    </a:cubicBezTo>
                    <a:cubicBezTo>
                      <a:pt x="37" y="71"/>
                      <a:pt x="36" y="66"/>
                      <a:pt x="35" y="61"/>
                    </a:cubicBezTo>
                    <a:cubicBezTo>
                      <a:pt x="38" y="54"/>
                      <a:pt x="40" y="48"/>
                      <a:pt x="43" y="4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16" name="î$ḻîḑe"/>
              <p:cNvSpPr/>
              <p:nvPr/>
            </p:nvSpPr>
            <p:spPr bwMode="auto">
              <a:xfrm>
                <a:off x="2055709" y="4566240"/>
                <a:ext cx="136525" cy="150813"/>
              </a:xfrm>
              <a:custGeom>
                <a:avLst/>
                <a:gdLst>
                  <a:gd name="T0" fmla="*/ 55 w 74"/>
                  <a:gd name="T1" fmla="*/ 53 h 82"/>
                  <a:gd name="T2" fmla="*/ 54 w 74"/>
                  <a:gd name="T3" fmla="*/ 51 h 82"/>
                  <a:gd name="T4" fmla="*/ 57 w 74"/>
                  <a:gd name="T5" fmla="*/ 49 h 82"/>
                  <a:gd name="T6" fmla="*/ 56 w 74"/>
                  <a:gd name="T7" fmla="*/ 45 h 82"/>
                  <a:gd name="T8" fmla="*/ 52 w 74"/>
                  <a:gd name="T9" fmla="*/ 45 h 82"/>
                  <a:gd name="T10" fmla="*/ 51 w 74"/>
                  <a:gd name="T11" fmla="*/ 44 h 82"/>
                  <a:gd name="T12" fmla="*/ 60 w 74"/>
                  <a:gd name="T13" fmla="*/ 32 h 82"/>
                  <a:gd name="T14" fmla="*/ 60 w 74"/>
                  <a:gd name="T15" fmla="*/ 30 h 82"/>
                  <a:gd name="T16" fmla="*/ 34 w 74"/>
                  <a:gd name="T17" fmla="*/ 38 h 82"/>
                  <a:gd name="T18" fmla="*/ 33 w 74"/>
                  <a:gd name="T19" fmla="*/ 38 h 82"/>
                  <a:gd name="T20" fmla="*/ 60 w 74"/>
                  <a:gd name="T21" fmla="*/ 16 h 82"/>
                  <a:gd name="T22" fmla="*/ 61 w 74"/>
                  <a:gd name="T23" fmla="*/ 10 h 82"/>
                  <a:gd name="T24" fmla="*/ 42 w 74"/>
                  <a:gd name="T25" fmla="*/ 11 h 82"/>
                  <a:gd name="T26" fmla="*/ 27 w 74"/>
                  <a:gd name="T27" fmla="*/ 0 h 82"/>
                  <a:gd name="T28" fmla="*/ 24 w 74"/>
                  <a:gd name="T29" fmla="*/ 0 h 82"/>
                  <a:gd name="T30" fmla="*/ 29 w 74"/>
                  <a:gd name="T31" fmla="*/ 21 h 82"/>
                  <a:gd name="T32" fmla="*/ 11 w 74"/>
                  <a:gd name="T33" fmla="*/ 39 h 82"/>
                  <a:gd name="T34" fmla="*/ 1 w 74"/>
                  <a:gd name="T35" fmla="*/ 44 h 82"/>
                  <a:gd name="T36" fmla="*/ 0 w 74"/>
                  <a:gd name="T37" fmla="*/ 47 h 82"/>
                  <a:gd name="T38" fmla="*/ 35 w 74"/>
                  <a:gd name="T39" fmla="*/ 26 h 82"/>
                  <a:gd name="T40" fmla="*/ 35 w 74"/>
                  <a:gd name="T41" fmla="*/ 26 h 82"/>
                  <a:gd name="T42" fmla="*/ 30 w 74"/>
                  <a:gd name="T43" fmla="*/ 48 h 82"/>
                  <a:gd name="T44" fmla="*/ 40 w 74"/>
                  <a:gd name="T45" fmla="*/ 57 h 82"/>
                  <a:gd name="T46" fmla="*/ 35 w 74"/>
                  <a:gd name="T47" fmla="*/ 78 h 82"/>
                  <a:gd name="T48" fmla="*/ 45 w 74"/>
                  <a:gd name="T49" fmla="*/ 82 h 82"/>
                  <a:gd name="T50" fmla="*/ 47 w 74"/>
                  <a:gd name="T51" fmla="*/ 80 h 82"/>
                  <a:gd name="T52" fmla="*/ 46 w 74"/>
                  <a:gd name="T53" fmla="*/ 67 h 82"/>
                  <a:gd name="T54" fmla="*/ 47 w 74"/>
                  <a:gd name="T55" fmla="*/ 66 h 82"/>
                  <a:gd name="T56" fmla="*/ 50 w 74"/>
                  <a:gd name="T57" fmla="*/ 73 h 82"/>
                  <a:gd name="T58" fmla="*/ 58 w 74"/>
                  <a:gd name="T59" fmla="*/ 79 h 82"/>
                  <a:gd name="T60" fmla="*/ 59 w 74"/>
                  <a:gd name="T61" fmla="*/ 79 h 82"/>
                  <a:gd name="T62" fmla="*/ 53 w 74"/>
                  <a:gd name="T63" fmla="*/ 57 h 82"/>
                  <a:gd name="T64" fmla="*/ 56 w 74"/>
                  <a:gd name="T65" fmla="*/ 55 h 82"/>
                  <a:gd name="T66" fmla="*/ 56 w 74"/>
                  <a:gd name="T67" fmla="*/ 55 h 82"/>
                  <a:gd name="T68" fmla="*/ 69 w 74"/>
                  <a:gd name="T69" fmla="*/ 69 h 82"/>
                  <a:gd name="T70" fmla="*/ 74 w 74"/>
                  <a:gd name="T71" fmla="*/ 64 h 82"/>
                  <a:gd name="T72" fmla="*/ 55 w 74"/>
                  <a:gd name="T73" fmla="*/ 53 h 82"/>
                  <a:gd name="T74" fmla="*/ 40 w 74"/>
                  <a:gd name="T75" fmla="*/ 46 h 82"/>
                  <a:gd name="T76" fmla="*/ 39 w 74"/>
                  <a:gd name="T77" fmla="*/ 46 h 82"/>
                  <a:gd name="T78" fmla="*/ 38 w 74"/>
                  <a:gd name="T79" fmla="*/ 46 h 82"/>
                  <a:gd name="T80" fmla="*/ 37 w 74"/>
                  <a:gd name="T81" fmla="*/ 44 h 82"/>
                  <a:gd name="T82" fmla="*/ 44 w 74"/>
                  <a:gd name="T83" fmla="*/ 36 h 82"/>
                  <a:gd name="T84" fmla="*/ 46 w 74"/>
                  <a:gd name="T85" fmla="*/ 35 h 82"/>
                  <a:gd name="T86" fmla="*/ 46 w 74"/>
                  <a:gd name="T87" fmla="*/ 35 h 82"/>
                  <a:gd name="T88" fmla="*/ 40 w 74"/>
                  <a:gd name="T89" fmla="*/ 46 h 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74" h="82">
                    <a:moveTo>
                      <a:pt x="55" y="53"/>
                    </a:moveTo>
                    <a:cubicBezTo>
                      <a:pt x="55" y="53"/>
                      <a:pt x="54" y="52"/>
                      <a:pt x="54" y="51"/>
                    </a:cubicBezTo>
                    <a:cubicBezTo>
                      <a:pt x="55" y="51"/>
                      <a:pt x="56" y="50"/>
                      <a:pt x="57" y="49"/>
                    </a:cubicBezTo>
                    <a:cubicBezTo>
                      <a:pt x="57" y="48"/>
                      <a:pt x="56" y="47"/>
                      <a:pt x="56" y="45"/>
                    </a:cubicBezTo>
                    <a:cubicBezTo>
                      <a:pt x="54" y="45"/>
                      <a:pt x="53" y="45"/>
                      <a:pt x="52" y="45"/>
                    </a:cubicBezTo>
                    <a:cubicBezTo>
                      <a:pt x="51" y="45"/>
                      <a:pt x="51" y="44"/>
                      <a:pt x="51" y="44"/>
                    </a:cubicBezTo>
                    <a:cubicBezTo>
                      <a:pt x="53" y="40"/>
                      <a:pt x="59" y="36"/>
                      <a:pt x="60" y="32"/>
                    </a:cubicBezTo>
                    <a:cubicBezTo>
                      <a:pt x="60" y="31"/>
                      <a:pt x="60" y="31"/>
                      <a:pt x="60" y="30"/>
                    </a:cubicBezTo>
                    <a:cubicBezTo>
                      <a:pt x="50" y="21"/>
                      <a:pt x="41" y="31"/>
                      <a:pt x="34" y="38"/>
                    </a:cubicBezTo>
                    <a:cubicBezTo>
                      <a:pt x="33" y="38"/>
                      <a:pt x="33" y="38"/>
                      <a:pt x="33" y="38"/>
                    </a:cubicBezTo>
                    <a:cubicBezTo>
                      <a:pt x="34" y="30"/>
                      <a:pt x="48" y="16"/>
                      <a:pt x="60" y="16"/>
                    </a:cubicBezTo>
                    <a:cubicBezTo>
                      <a:pt x="61" y="14"/>
                      <a:pt x="61" y="12"/>
                      <a:pt x="61" y="10"/>
                    </a:cubicBezTo>
                    <a:cubicBezTo>
                      <a:pt x="50" y="3"/>
                      <a:pt x="52" y="11"/>
                      <a:pt x="42" y="11"/>
                    </a:cubicBezTo>
                    <a:cubicBezTo>
                      <a:pt x="38" y="10"/>
                      <a:pt x="32" y="1"/>
                      <a:pt x="27" y="0"/>
                    </a:cubicBezTo>
                    <a:cubicBezTo>
                      <a:pt x="26" y="0"/>
                      <a:pt x="25" y="0"/>
                      <a:pt x="24" y="0"/>
                    </a:cubicBezTo>
                    <a:cubicBezTo>
                      <a:pt x="21" y="5"/>
                      <a:pt x="30" y="14"/>
                      <a:pt x="29" y="21"/>
                    </a:cubicBezTo>
                    <a:cubicBezTo>
                      <a:pt x="19" y="27"/>
                      <a:pt x="17" y="33"/>
                      <a:pt x="11" y="39"/>
                    </a:cubicBezTo>
                    <a:cubicBezTo>
                      <a:pt x="8" y="42"/>
                      <a:pt x="4" y="42"/>
                      <a:pt x="1" y="44"/>
                    </a:cubicBezTo>
                    <a:cubicBezTo>
                      <a:pt x="1" y="45"/>
                      <a:pt x="0" y="46"/>
                      <a:pt x="0" y="47"/>
                    </a:cubicBezTo>
                    <a:cubicBezTo>
                      <a:pt x="11" y="69"/>
                      <a:pt x="23" y="30"/>
                      <a:pt x="35" y="26"/>
                    </a:cubicBezTo>
                    <a:cubicBezTo>
                      <a:pt x="35" y="26"/>
                      <a:pt x="35" y="26"/>
                      <a:pt x="35" y="26"/>
                    </a:cubicBezTo>
                    <a:cubicBezTo>
                      <a:pt x="33" y="33"/>
                      <a:pt x="28" y="39"/>
                      <a:pt x="30" y="48"/>
                    </a:cubicBezTo>
                    <a:cubicBezTo>
                      <a:pt x="30" y="51"/>
                      <a:pt x="37" y="56"/>
                      <a:pt x="40" y="57"/>
                    </a:cubicBezTo>
                    <a:cubicBezTo>
                      <a:pt x="37" y="64"/>
                      <a:pt x="32" y="69"/>
                      <a:pt x="35" y="78"/>
                    </a:cubicBezTo>
                    <a:cubicBezTo>
                      <a:pt x="39" y="79"/>
                      <a:pt x="42" y="80"/>
                      <a:pt x="45" y="82"/>
                    </a:cubicBezTo>
                    <a:cubicBezTo>
                      <a:pt x="46" y="81"/>
                      <a:pt x="46" y="81"/>
                      <a:pt x="47" y="80"/>
                    </a:cubicBezTo>
                    <a:cubicBezTo>
                      <a:pt x="49" y="77"/>
                      <a:pt x="45" y="70"/>
                      <a:pt x="46" y="67"/>
                    </a:cubicBezTo>
                    <a:cubicBezTo>
                      <a:pt x="46" y="66"/>
                      <a:pt x="46" y="66"/>
                      <a:pt x="47" y="66"/>
                    </a:cubicBezTo>
                    <a:cubicBezTo>
                      <a:pt x="48" y="67"/>
                      <a:pt x="49" y="71"/>
                      <a:pt x="50" y="73"/>
                    </a:cubicBezTo>
                    <a:cubicBezTo>
                      <a:pt x="52" y="76"/>
                      <a:pt x="55" y="77"/>
                      <a:pt x="58" y="79"/>
                    </a:cubicBezTo>
                    <a:cubicBezTo>
                      <a:pt x="58" y="79"/>
                      <a:pt x="58" y="79"/>
                      <a:pt x="59" y="79"/>
                    </a:cubicBezTo>
                    <a:cubicBezTo>
                      <a:pt x="60" y="72"/>
                      <a:pt x="53" y="64"/>
                      <a:pt x="53" y="57"/>
                    </a:cubicBezTo>
                    <a:cubicBezTo>
                      <a:pt x="54" y="56"/>
                      <a:pt x="55" y="56"/>
                      <a:pt x="56" y="55"/>
                    </a:cubicBezTo>
                    <a:cubicBezTo>
                      <a:pt x="56" y="55"/>
                      <a:pt x="56" y="55"/>
                      <a:pt x="56" y="55"/>
                    </a:cubicBezTo>
                    <a:cubicBezTo>
                      <a:pt x="63" y="60"/>
                      <a:pt x="59" y="67"/>
                      <a:pt x="69" y="69"/>
                    </a:cubicBezTo>
                    <a:cubicBezTo>
                      <a:pt x="71" y="67"/>
                      <a:pt x="72" y="66"/>
                      <a:pt x="74" y="64"/>
                    </a:cubicBezTo>
                    <a:cubicBezTo>
                      <a:pt x="71" y="56"/>
                      <a:pt x="63" y="51"/>
                      <a:pt x="55" y="53"/>
                    </a:cubicBezTo>
                    <a:close/>
                    <a:moveTo>
                      <a:pt x="40" y="46"/>
                    </a:moveTo>
                    <a:cubicBezTo>
                      <a:pt x="40" y="46"/>
                      <a:pt x="39" y="46"/>
                      <a:pt x="39" y="46"/>
                    </a:cubicBezTo>
                    <a:cubicBezTo>
                      <a:pt x="38" y="46"/>
                      <a:pt x="38" y="46"/>
                      <a:pt x="38" y="46"/>
                    </a:cubicBezTo>
                    <a:cubicBezTo>
                      <a:pt x="38" y="45"/>
                      <a:pt x="37" y="45"/>
                      <a:pt x="37" y="44"/>
                    </a:cubicBezTo>
                    <a:cubicBezTo>
                      <a:pt x="39" y="41"/>
                      <a:pt x="42" y="39"/>
                      <a:pt x="44" y="36"/>
                    </a:cubicBezTo>
                    <a:cubicBezTo>
                      <a:pt x="45" y="36"/>
                      <a:pt x="45" y="35"/>
                      <a:pt x="46" y="35"/>
                    </a:cubicBezTo>
                    <a:cubicBezTo>
                      <a:pt x="46" y="35"/>
                      <a:pt x="46" y="35"/>
                      <a:pt x="46" y="35"/>
                    </a:cubicBezTo>
                    <a:cubicBezTo>
                      <a:pt x="44" y="39"/>
                      <a:pt x="42" y="42"/>
                      <a:pt x="40" y="4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17" name="ïşḻíḍe"/>
              <p:cNvSpPr/>
              <p:nvPr/>
            </p:nvSpPr>
            <p:spPr bwMode="auto">
              <a:xfrm>
                <a:off x="1882672" y="4669428"/>
                <a:ext cx="160338" cy="169863"/>
              </a:xfrm>
              <a:custGeom>
                <a:avLst/>
                <a:gdLst>
                  <a:gd name="T0" fmla="*/ 29 w 87"/>
                  <a:gd name="T1" fmla="*/ 8 h 92"/>
                  <a:gd name="T2" fmla="*/ 52 w 87"/>
                  <a:gd name="T3" fmla="*/ 17 h 92"/>
                  <a:gd name="T4" fmla="*/ 61 w 87"/>
                  <a:gd name="T5" fmla="*/ 16 h 92"/>
                  <a:gd name="T6" fmla="*/ 62 w 87"/>
                  <a:gd name="T7" fmla="*/ 17 h 92"/>
                  <a:gd name="T8" fmla="*/ 69 w 87"/>
                  <a:gd name="T9" fmla="*/ 42 h 92"/>
                  <a:gd name="T10" fmla="*/ 86 w 87"/>
                  <a:gd name="T11" fmla="*/ 35 h 92"/>
                  <a:gd name="T12" fmla="*/ 87 w 87"/>
                  <a:gd name="T13" fmla="*/ 39 h 92"/>
                  <a:gd name="T14" fmla="*/ 76 w 87"/>
                  <a:gd name="T15" fmla="*/ 55 h 92"/>
                  <a:gd name="T16" fmla="*/ 67 w 87"/>
                  <a:gd name="T17" fmla="*/ 76 h 92"/>
                  <a:gd name="T18" fmla="*/ 65 w 87"/>
                  <a:gd name="T19" fmla="*/ 74 h 92"/>
                  <a:gd name="T20" fmla="*/ 69 w 87"/>
                  <a:gd name="T21" fmla="*/ 53 h 92"/>
                  <a:gd name="T22" fmla="*/ 55 w 87"/>
                  <a:gd name="T23" fmla="*/ 40 h 92"/>
                  <a:gd name="T24" fmla="*/ 45 w 87"/>
                  <a:gd name="T25" fmla="*/ 44 h 92"/>
                  <a:gd name="T26" fmla="*/ 46 w 87"/>
                  <a:gd name="T27" fmla="*/ 89 h 92"/>
                  <a:gd name="T28" fmla="*/ 38 w 87"/>
                  <a:gd name="T29" fmla="*/ 92 h 92"/>
                  <a:gd name="T30" fmla="*/ 27 w 87"/>
                  <a:gd name="T31" fmla="*/ 68 h 92"/>
                  <a:gd name="T32" fmla="*/ 14 w 87"/>
                  <a:gd name="T33" fmla="*/ 70 h 92"/>
                  <a:gd name="T34" fmla="*/ 12 w 87"/>
                  <a:gd name="T35" fmla="*/ 65 h 92"/>
                  <a:gd name="T36" fmla="*/ 18 w 87"/>
                  <a:gd name="T37" fmla="*/ 58 h 92"/>
                  <a:gd name="T38" fmla="*/ 0 w 87"/>
                  <a:gd name="T39" fmla="*/ 42 h 92"/>
                  <a:gd name="T40" fmla="*/ 0 w 87"/>
                  <a:gd name="T41" fmla="*/ 42 h 92"/>
                  <a:gd name="T42" fmla="*/ 21 w 87"/>
                  <a:gd name="T43" fmla="*/ 39 h 92"/>
                  <a:gd name="T44" fmla="*/ 27 w 87"/>
                  <a:gd name="T45" fmla="*/ 48 h 92"/>
                  <a:gd name="T46" fmla="*/ 34 w 87"/>
                  <a:gd name="T47" fmla="*/ 52 h 92"/>
                  <a:gd name="T48" fmla="*/ 36 w 87"/>
                  <a:gd name="T49" fmla="*/ 62 h 92"/>
                  <a:gd name="T50" fmla="*/ 39 w 87"/>
                  <a:gd name="T51" fmla="*/ 44 h 92"/>
                  <a:gd name="T52" fmla="*/ 46 w 87"/>
                  <a:gd name="T53" fmla="*/ 28 h 92"/>
                  <a:gd name="T54" fmla="*/ 29 w 87"/>
                  <a:gd name="T55" fmla="*/ 8 h 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87" h="92">
                    <a:moveTo>
                      <a:pt x="29" y="8"/>
                    </a:moveTo>
                    <a:cubicBezTo>
                      <a:pt x="42" y="0"/>
                      <a:pt x="43" y="12"/>
                      <a:pt x="52" y="17"/>
                    </a:cubicBezTo>
                    <a:cubicBezTo>
                      <a:pt x="55" y="15"/>
                      <a:pt x="58" y="15"/>
                      <a:pt x="61" y="16"/>
                    </a:cubicBezTo>
                    <a:cubicBezTo>
                      <a:pt x="61" y="16"/>
                      <a:pt x="62" y="17"/>
                      <a:pt x="62" y="17"/>
                    </a:cubicBezTo>
                    <a:cubicBezTo>
                      <a:pt x="62" y="26"/>
                      <a:pt x="58" y="33"/>
                      <a:pt x="69" y="42"/>
                    </a:cubicBezTo>
                    <a:cubicBezTo>
                      <a:pt x="75" y="35"/>
                      <a:pt x="80" y="33"/>
                      <a:pt x="86" y="35"/>
                    </a:cubicBezTo>
                    <a:cubicBezTo>
                      <a:pt x="87" y="36"/>
                      <a:pt x="87" y="38"/>
                      <a:pt x="87" y="39"/>
                    </a:cubicBezTo>
                    <a:cubicBezTo>
                      <a:pt x="83" y="45"/>
                      <a:pt x="80" y="50"/>
                      <a:pt x="76" y="55"/>
                    </a:cubicBezTo>
                    <a:cubicBezTo>
                      <a:pt x="71" y="62"/>
                      <a:pt x="71" y="70"/>
                      <a:pt x="67" y="76"/>
                    </a:cubicBezTo>
                    <a:cubicBezTo>
                      <a:pt x="66" y="75"/>
                      <a:pt x="66" y="75"/>
                      <a:pt x="65" y="74"/>
                    </a:cubicBezTo>
                    <a:cubicBezTo>
                      <a:pt x="63" y="66"/>
                      <a:pt x="67" y="60"/>
                      <a:pt x="69" y="53"/>
                    </a:cubicBezTo>
                    <a:cubicBezTo>
                      <a:pt x="64" y="51"/>
                      <a:pt x="60" y="46"/>
                      <a:pt x="55" y="40"/>
                    </a:cubicBezTo>
                    <a:cubicBezTo>
                      <a:pt x="52" y="42"/>
                      <a:pt x="49" y="41"/>
                      <a:pt x="45" y="44"/>
                    </a:cubicBezTo>
                    <a:cubicBezTo>
                      <a:pt x="40" y="59"/>
                      <a:pt x="48" y="75"/>
                      <a:pt x="46" y="89"/>
                    </a:cubicBezTo>
                    <a:cubicBezTo>
                      <a:pt x="43" y="92"/>
                      <a:pt x="41" y="91"/>
                      <a:pt x="38" y="92"/>
                    </a:cubicBezTo>
                    <a:cubicBezTo>
                      <a:pt x="31" y="83"/>
                      <a:pt x="33" y="76"/>
                      <a:pt x="27" y="68"/>
                    </a:cubicBezTo>
                    <a:cubicBezTo>
                      <a:pt x="23" y="71"/>
                      <a:pt x="18" y="71"/>
                      <a:pt x="14" y="70"/>
                    </a:cubicBezTo>
                    <a:cubicBezTo>
                      <a:pt x="12" y="68"/>
                      <a:pt x="12" y="67"/>
                      <a:pt x="12" y="65"/>
                    </a:cubicBezTo>
                    <a:cubicBezTo>
                      <a:pt x="14" y="63"/>
                      <a:pt x="16" y="60"/>
                      <a:pt x="18" y="58"/>
                    </a:cubicBezTo>
                    <a:cubicBezTo>
                      <a:pt x="13" y="49"/>
                      <a:pt x="3" y="48"/>
                      <a:pt x="0" y="42"/>
                    </a:cubicBezTo>
                    <a:cubicBezTo>
                      <a:pt x="0" y="42"/>
                      <a:pt x="0" y="42"/>
                      <a:pt x="0" y="42"/>
                    </a:cubicBezTo>
                    <a:cubicBezTo>
                      <a:pt x="6" y="39"/>
                      <a:pt x="15" y="35"/>
                      <a:pt x="21" y="39"/>
                    </a:cubicBezTo>
                    <a:cubicBezTo>
                      <a:pt x="23" y="42"/>
                      <a:pt x="25" y="45"/>
                      <a:pt x="27" y="48"/>
                    </a:cubicBezTo>
                    <a:cubicBezTo>
                      <a:pt x="29" y="50"/>
                      <a:pt x="31" y="51"/>
                      <a:pt x="34" y="52"/>
                    </a:cubicBezTo>
                    <a:cubicBezTo>
                      <a:pt x="34" y="55"/>
                      <a:pt x="35" y="58"/>
                      <a:pt x="36" y="62"/>
                    </a:cubicBezTo>
                    <a:cubicBezTo>
                      <a:pt x="39" y="56"/>
                      <a:pt x="38" y="50"/>
                      <a:pt x="39" y="44"/>
                    </a:cubicBezTo>
                    <a:cubicBezTo>
                      <a:pt x="42" y="39"/>
                      <a:pt x="44" y="34"/>
                      <a:pt x="46" y="28"/>
                    </a:cubicBezTo>
                    <a:cubicBezTo>
                      <a:pt x="42" y="22"/>
                      <a:pt x="31" y="15"/>
                      <a:pt x="29" y="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18" name="íṩľíḑè"/>
              <p:cNvSpPr/>
              <p:nvPr/>
            </p:nvSpPr>
            <p:spPr bwMode="auto">
              <a:xfrm>
                <a:off x="2243034" y="6066428"/>
                <a:ext cx="22225" cy="25400"/>
              </a:xfrm>
              <a:custGeom>
                <a:avLst/>
                <a:gdLst>
                  <a:gd name="T0" fmla="*/ 0 w 14"/>
                  <a:gd name="T1" fmla="*/ 12 h 16"/>
                  <a:gd name="T2" fmla="*/ 2 w 14"/>
                  <a:gd name="T3" fmla="*/ 0 h 16"/>
                  <a:gd name="T4" fmla="*/ 14 w 14"/>
                  <a:gd name="T5" fmla="*/ 4 h 16"/>
                  <a:gd name="T6" fmla="*/ 11 w 14"/>
                  <a:gd name="T7" fmla="*/ 16 h 16"/>
                  <a:gd name="T8" fmla="*/ 0 w 14"/>
                  <a:gd name="T9" fmla="*/ 12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4" h="16">
                    <a:moveTo>
                      <a:pt x="0" y="12"/>
                    </a:moveTo>
                    <a:lnTo>
                      <a:pt x="2" y="0"/>
                    </a:lnTo>
                    <a:lnTo>
                      <a:pt x="14" y="4"/>
                    </a:lnTo>
                    <a:lnTo>
                      <a:pt x="11" y="16"/>
                    </a:lnTo>
                    <a:lnTo>
                      <a:pt x="0" y="1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19" name="îṣḷïḓê"/>
              <p:cNvSpPr/>
              <p:nvPr/>
            </p:nvSpPr>
            <p:spPr bwMode="auto">
              <a:xfrm>
                <a:off x="2292247" y="6042615"/>
                <a:ext cx="49213" cy="100013"/>
              </a:xfrm>
              <a:custGeom>
                <a:avLst/>
                <a:gdLst>
                  <a:gd name="T0" fmla="*/ 17 w 27"/>
                  <a:gd name="T1" fmla="*/ 54 h 54"/>
                  <a:gd name="T2" fmla="*/ 7 w 27"/>
                  <a:gd name="T3" fmla="*/ 52 h 54"/>
                  <a:gd name="T4" fmla="*/ 14 w 27"/>
                  <a:gd name="T5" fmla="*/ 15 h 54"/>
                  <a:gd name="T6" fmla="*/ 0 w 27"/>
                  <a:gd name="T7" fmla="*/ 20 h 54"/>
                  <a:gd name="T8" fmla="*/ 1 w 27"/>
                  <a:gd name="T9" fmla="*/ 11 h 54"/>
                  <a:gd name="T10" fmla="*/ 11 w 27"/>
                  <a:gd name="T11" fmla="*/ 7 h 54"/>
                  <a:gd name="T12" fmla="*/ 18 w 27"/>
                  <a:gd name="T13" fmla="*/ 0 h 54"/>
                  <a:gd name="T14" fmla="*/ 27 w 27"/>
                  <a:gd name="T15" fmla="*/ 2 h 54"/>
                  <a:gd name="T16" fmla="*/ 17 w 27"/>
                  <a:gd name="T17" fmla="*/ 54 h 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7" h="54">
                    <a:moveTo>
                      <a:pt x="17" y="54"/>
                    </a:moveTo>
                    <a:cubicBezTo>
                      <a:pt x="7" y="52"/>
                      <a:pt x="7" y="52"/>
                      <a:pt x="7" y="52"/>
                    </a:cubicBezTo>
                    <a:cubicBezTo>
                      <a:pt x="14" y="15"/>
                      <a:pt x="14" y="15"/>
                      <a:pt x="14" y="15"/>
                    </a:cubicBezTo>
                    <a:cubicBezTo>
                      <a:pt x="10" y="17"/>
                      <a:pt x="5" y="19"/>
                      <a:pt x="0" y="20"/>
                    </a:cubicBezTo>
                    <a:cubicBezTo>
                      <a:pt x="1" y="11"/>
                      <a:pt x="1" y="11"/>
                      <a:pt x="1" y="11"/>
                    </a:cubicBezTo>
                    <a:cubicBezTo>
                      <a:pt x="4" y="10"/>
                      <a:pt x="7" y="9"/>
                      <a:pt x="11" y="7"/>
                    </a:cubicBezTo>
                    <a:cubicBezTo>
                      <a:pt x="14" y="6"/>
                      <a:pt x="17" y="3"/>
                      <a:pt x="18" y="0"/>
                    </a:cubicBezTo>
                    <a:cubicBezTo>
                      <a:pt x="27" y="2"/>
                      <a:pt x="27" y="2"/>
                      <a:pt x="27" y="2"/>
                    </a:cubicBezTo>
                    <a:lnTo>
                      <a:pt x="17" y="5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20" name="i$ḻîḓé"/>
              <p:cNvSpPr/>
              <p:nvPr/>
            </p:nvSpPr>
            <p:spPr bwMode="auto">
              <a:xfrm>
                <a:off x="2363684" y="6052140"/>
                <a:ext cx="66675" cy="100013"/>
              </a:xfrm>
              <a:custGeom>
                <a:avLst/>
                <a:gdLst>
                  <a:gd name="T0" fmla="*/ 0 w 36"/>
                  <a:gd name="T1" fmla="*/ 40 h 54"/>
                  <a:gd name="T2" fmla="*/ 10 w 36"/>
                  <a:gd name="T3" fmla="*/ 39 h 54"/>
                  <a:gd name="T4" fmla="*/ 11 w 36"/>
                  <a:gd name="T5" fmla="*/ 44 h 54"/>
                  <a:gd name="T6" fmla="*/ 15 w 36"/>
                  <a:gd name="T7" fmla="*/ 46 h 54"/>
                  <a:gd name="T8" fmla="*/ 21 w 36"/>
                  <a:gd name="T9" fmla="*/ 43 h 54"/>
                  <a:gd name="T10" fmla="*/ 24 w 36"/>
                  <a:gd name="T11" fmla="*/ 31 h 54"/>
                  <a:gd name="T12" fmla="*/ 15 w 36"/>
                  <a:gd name="T13" fmla="*/ 35 h 54"/>
                  <a:gd name="T14" fmla="*/ 4 w 36"/>
                  <a:gd name="T15" fmla="*/ 30 h 54"/>
                  <a:gd name="T16" fmla="*/ 0 w 36"/>
                  <a:gd name="T17" fmla="*/ 17 h 54"/>
                  <a:gd name="T18" fmla="*/ 6 w 36"/>
                  <a:gd name="T19" fmla="*/ 4 h 54"/>
                  <a:gd name="T20" fmla="*/ 19 w 36"/>
                  <a:gd name="T21" fmla="*/ 0 h 54"/>
                  <a:gd name="T22" fmla="*/ 31 w 36"/>
                  <a:gd name="T23" fmla="*/ 7 h 54"/>
                  <a:gd name="T24" fmla="*/ 35 w 36"/>
                  <a:gd name="T25" fmla="*/ 28 h 54"/>
                  <a:gd name="T26" fmla="*/ 28 w 36"/>
                  <a:gd name="T27" fmla="*/ 49 h 54"/>
                  <a:gd name="T28" fmla="*/ 14 w 36"/>
                  <a:gd name="T29" fmla="*/ 54 h 54"/>
                  <a:gd name="T30" fmla="*/ 4 w 36"/>
                  <a:gd name="T31" fmla="*/ 50 h 54"/>
                  <a:gd name="T32" fmla="*/ 0 w 36"/>
                  <a:gd name="T33" fmla="*/ 40 h 54"/>
                  <a:gd name="T34" fmla="*/ 24 w 36"/>
                  <a:gd name="T35" fmla="*/ 19 h 54"/>
                  <a:gd name="T36" fmla="*/ 23 w 36"/>
                  <a:gd name="T37" fmla="*/ 11 h 54"/>
                  <a:gd name="T38" fmla="*/ 18 w 36"/>
                  <a:gd name="T39" fmla="*/ 8 h 54"/>
                  <a:gd name="T40" fmla="*/ 13 w 36"/>
                  <a:gd name="T41" fmla="*/ 10 h 54"/>
                  <a:gd name="T42" fmla="*/ 10 w 36"/>
                  <a:gd name="T43" fmla="*/ 17 h 54"/>
                  <a:gd name="T44" fmla="*/ 12 w 36"/>
                  <a:gd name="T45" fmla="*/ 25 h 54"/>
                  <a:gd name="T46" fmla="*/ 17 w 36"/>
                  <a:gd name="T47" fmla="*/ 28 h 54"/>
                  <a:gd name="T48" fmla="*/ 22 w 36"/>
                  <a:gd name="T49" fmla="*/ 26 h 54"/>
                  <a:gd name="T50" fmla="*/ 24 w 36"/>
                  <a:gd name="T51" fmla="*/ 19 h 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6" h="54">
                    <a:moveTo>
                      <a:pt x="0" y="40"/>
                    </a:moveTo>
                    <a:cubicBezTo>
                      <a:pt x="10" y="39"/>
                      <a:pt x="10" y="39"/>
                      <a:pt x="10" y="39"/>
                    </a:cubicBezTo>
                    <a:cubicBezTo>
                      <a:pt x="10" y="41"/>
                      <a:pt x="10" y="43"/>
                      <a:pt x="11" y="44"/>
                    </a:cubicBezTo>
                    <a:cubicBezTo>
                      <a:pt x="12" y="45"/>
                      <a:pt x="14" y="46"/>
                      <a:pt x="15" y="46"/>
                    </a:cubicBezTo>
                    <a:cubicBezTo>
                      <a:pt x="17" y="46"/>
                      <a:pt x="19" y="45"/>
                      <a:pt x="21" y="43"/>
                    </a:cubicBezTo>
                    <a:cubicBezTo>
                      <a:pt x="22" y="41"/>
                      <a:pt x="24" y="37"/>
                      <a:pt x="24" y="31"/>
                    </a:cubicBezTo>
                    <a:cubicBezTo>
                      <a:pt x="22" y="34"/>
                      <a:pt x="18" y="35"/>
                      <a:pt x="15" y="35"/>
                    </a:cubicBezTo>
                    <a:cubicBezTo>
                      <a:pt x="10" y="35"/>
                      <a:pt x="7" y="33"/>
                      <a:pt x="4" y="30"/>
                    </a:cubicBezTo>
                    <a:cubicBezTo>
                      <a:pt x="1" y="26"/>
                      <a:pt x="0" y="22"/>
                      <a:pt x="0" y="17"/>
                    </a:cubicBezTo>
                    <a:cubicBezTo>
                      <a:pt x="1" y="11"/>
                      <a:pt x="3" y="7"/>
                      <a:pt x="6" y="4"/>
                    </a:cubicBezTo>
                    <a:cubicBezTo>
                      <a:pt x="10" y="1"/>
                      <a:pt x="14" y="0"/>
                      <a:pt x="19" y="0"/>
                    </a:cubicBezTo>
                    <a:cubicBezTo>
                      <a:pt x="24" y="0"/>
                      <a:pt x="28" y="3"/>
                      <a:pt x="31" y="7"/>
                    </a:cubicBezTo>
                    <a:cubicBezTo>
                      <a:pt x="35" y="12"/>
                      <a:pt x="36" y="19"/>
                      <a:pt x="35" y="28"/>
                    </a:cubicBezTo>
                    <a:cubicBezTo>
                      <a:pt x="34" y="38"/>
                      <a:pt x="32" y="44"/>
                      <a:pt x="28" y="49"/>
                    </a:cubicBezTo>
                    <a:cubicBezTo>
                      <a:pt x="24" y="53"/>
                      <a:pt x="20" y="54"/>
                      <a:pt x="14" y="54"/>
                    </a:cubicBezTo>
                    <a:cubicBezTo>
                      <a:pt x="10" y="54"/>
                      <a:pt x="7" y="52"/>
                      <a:pt x="4" y="50"/>
                    </a:cubicBezTo>
                    <a:cubicBezTo>
                      <a:pt x="2" y="48"/>
                      <a:pt x="0" y="44"/>
                      <a:pt x="0" y="40"/>
                    </a:cubicBezTo>
                    <a:close/>
                    <a:moveTo>
                      <a:pt x="24" y="19"/>
                    </a:moveTo>
                    <a:cubicBezTo>
                      <a:pt x="25" y="16"/>
                      <a:pt x="24" y="13"/>
                      <a:pt x="23" y="11"/>
                    </a:cubicBezTo>
                    <a:cubicBezTo>
                      <a:pt x="21" y="10"/>
                      <a:pt x="20" y="9"/>
                      <a:pt x="18" y="8"/>
                    </a:cubicBezTo>
                    <a:cubicBezTo>
                      <a:pt x="16" y="8"/>
                      <a:pt x="14" y="9"/>
                      <a:pt x="13" y="10"/>
                    </a:cubicBezTo>
                    <a:cubicBezTo>
                      <a:pt x="11" y="12"/>
                      <a:pt x="11" y="14"/>
                      <a:pt x="10" y="17"/>
                    </a:cubicBezTo>
                    <a:cubicBezTo>
                      <a:pt x="10" y="21"/>
                      <a:pt x="11" y="23"/>
                      <a:pt x="12" y="25"/>
                    </a:cubicBezTo>
                    <a:cubicBezTo>
                      <a:pt x="13" y="27"/>
                      <a:pt x="15" y="28"/>
                      <a:pt x="17" y="28"/>
                    </a:cubicBezTo>
                    <a:cubicBezTo>
                      <a:pt x="19" y="28"/>
                      <a:pt x="20" y="27"/>
                      <a:pt x="22" y="26"/>
                    </a:cubicBezTo>
                    <a:cubicBezTo>
                      <a:pt x="23" y="24"/>
                      <a:pt x="24" y="22"/>
                      <a:pt x="24" y="1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21" name="îṧľîḋé"/>
              <p:cNvSpPr/>
              <p:nvPr/>
            </p:nvSpPr>
            <p:spPr bwMode="auto">
              <a:xfrm>
                <a:off x="2446234" y="6053728"/>
                <a:ext cx="66675" cy="100013"/>
              </a:xfrm>
              <a:custGeom>
                <a:avLst/>
                <a:gdLst>
                  <a:gd name="T0" fmla="*/ 0 w 36"/>
                  <a:gd name="T1" fmla="*/ 40 h 54"/>
                  <a:gd name="T2" fmla="*/ 10 w 36"/>
                  <a:gd name="T3" fmla="*/ 39 h 54"/>
                  <a:gd name="T4" fmla="*/ 13 w 36"/>
                  <a:gd name="T5" fmla="*/ 44 h 54"/>
                  <a:gd name="T6" fmla="*/ 18 w 36"/>
                  <a:gd name="T7" fmla="*/ 46 h 54"/>
                  <a:gd name="T8" fmla="*/ 23 w 36"/>
                  <a:gd name="T9" fmla="*/ 43 h 54"/>
                  <a:gd name="T10" fmla="*/ 25 w 36"/>
                  <a:gd name="T11" fmla="*/ 35 h 54"/>
                  <a:gd name="T12" fmla="*/ 23 w 36"/>
                  <a:gd name="T13" fmla="*/ 28 h 54"/>
                  <a:gd name="T14" fmla="*/ 17 w 36"/>
                  <a:gd name="T15" fmla="*/ 26 h 54"/>
                  <a:gd name="T16" fmla="*/ 9 w 36"/>
                  <a:gd name="T17" fmla="*/ 30 h 54"/>
                  <a:gd name="T18" fmla="*/ 1 w 36"/>
                  <a:gd name="T19" fmla="*/ 29 h 54"/>
                  <a:gd name="T20" fmla="*/ 5 w 36"/>
                  <a:gd name="T21" fmla="*/ 1 h 54"/>
                  <a:gd name="T22" fmla="*/ 32 w 36"/>
                  <a:gd name="T23" fmla="*/ 0 h 54"/>
                  <a:gd name="T24" fmla="*/ 32 w 36"/>
                  <a:gd name="T25" fmla="*/ 10 h 54"/>
                  <a:gd name="T26" fmla="*/ 13 w 36"/>
                  <a:gd name="T27" fmla="*/ 10 h 54"/>
                  <a:gd name="T28" fmla="*/ 12 w 36"/>
                  <a:gd name="T29" fmla="*/ 19 h 54"/>
                  <a:gd name="T30" fmla="*/ 19 w 36"/>
                  <a:gd name="T31" fmla="*/ 17 h 54"/>
                  <a:gd name="T32" fmla="*/ 30 w 36"/>
                  <a:gd name="T33" fmla="*/ 22 h 54"/>
                  <a:gd name="T34" fmla="*/ 36 w 36"/>
                  <a:gd name="T35" fmla="*/ 34 h 54"/>
                  <a:gd name="T36" fmla="*/ 32 w 36"/>
                  <a:gd name="T37" fmla="*/ 46 h 54"/>
                  <a:gd name="T38" fmla="*/ 18 w 36"/>
                  <a:gd name="T39" fmla="*/ 54 h 54"/>
                  <a:gd name="T40" fmla="*/ 6 w 36"/>
                  <a:gd name="T41" fmla="*/ 50 h 54"/>
                  <a:gd name="T42" fmla="*/ 0 w 36"/>
                  <a:gd name="T43" fmla="*/ 40 h 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36" h="54">
                    <a:moveTo>
                      <a:pt x="0" y="40"/>
                    </a:moveTo>
                    <a:cubicBezTo>
                      <a:pt x="10" y="39"/>
                      <a:pt x="10" y="39"/>
                      <a:pt x="10" y="39"/>
                    </a:cubicBezTo>
                    <a:cubicBezTo>
                      <a:pt x="11" y="41"/>
                      <a:pt x="11" y="43"/>
                      <a:pt x="13" y="44"/>
                    </a:cubicBezTo>
                    <a:cubicBezTo>
                      <a:pt x="14" y="45"/>
                      <a:pt x="16" y="46"/>
                      <a:pt x="18" y="46"/>
                    </a:cubicBezTo>
                    <a:cubicBezTo>
                      <a:pt x="20" y="46"/>
                      <a:pt x="22" y="45"/>
                      <a:pt x="23" y="43"/>
                    </a:cubicBezTo>
                    <a:cubicBezTo>
                      <a:pt x="25" y="41"/>
                      <a:pt x="25" y="38"/>
                      <a:pt x="25" y="35"/>
                    </a:cubicBezTo>
                    <a:cubicBezTo>
                      <a:pt x="25" y="32"/>
                      <a:pt x="24" y="29"/>
                      <a:pt x="23" y="28"/>
                    </a:cubicBezTo>
                    <a:cubicBezTo>
                      <a:pt x="21" y="26"/>
                      <a:pt x="19" y="25"/>
                      <a:pt x="17" y="26"/>
                    </a:cubicBezTo>
                    <a:cubicBezTo>
                      <a:pt x="14" y="26"/>
                      <a:pt x="11" y="27"/>
                      <a:pt x="9" y="30"/>
                    </a:cubicBezTo>
                    <a:cubicBezTo>
                      <a:pt x="1" y="29"/>
                      <a:pt x="1" y="29"/>
                      <a:pt x="1" y="29"/>
                    </a:cubicBezTo>
                    <a:cubicBezTo>
                      <a:pt x="5" y="1"/>
                      <a:pt x="5" y="1"/>
                      <a:pt x="5" y="1"/>
                    </a:cubicBezTo>
                    <a:cubicBezTo>
                      <a:pt x="32" y="0"/>
                      <a:pt x="32" y="0"/>
                      <a:pt x="32" y="0"/>
                    </a:cubicBezTo>
                    <a:cubicBezTo>
                      <a:pt x="32" y="10"/>
                      <a:pt x="32" y="10"/>
                      <a:pt x="32" y="10"/>
                    </a:cubicBezTo>
                    <a:cubicBezTo>
                      <a:pt x="13" y="10"/>
                      <a:pt x="13" y="10"/>
                      <a:pt x="13" y="10"/>
                    </a:cubicBezTo>
                    <a:cubicBezTo>
                      <a:pt x="12" y="19"/>
                      <a:pt x="12" y="19"/>
                      <a:pt x="12" y="19"/>
                    </a:cubicBezTo>
                    <a:cubicBezTo>
                      <a:pt x="14" y="18"/>
                      <a:pt x="16" y="17"/>
                      <a:pt x="19" y="17"/>
                    </a:cubicBezTo>
                    <a:cubicBezTo>
                      <a:pt x="23" y="17"/>
                      <a:pt x="27" y="19"/>
                      <a:pt x="30" y="22"/>
                    </a:cubicBezTo>
                    <a:cubicBezTo>
                      <a:pt x="34" y="25"/>
                      <a:pt x="35" y="29"/>
                      <a:pt x="36" y="34"/>
                    </a:cubicBezTo>
                    <a:cubicBezTo>
                      <a:pt x="36" y="39"/>
                      <a:pt x="35" y="43"/>
                      <a:pt x="32" y="46"/>
                    </a:cubicBezTo>
                    <a:cubicBezTo>
                      <a:pt x="29" y="51"/>
                      <a:pt x="24" y="54"/>
                      <a:pt x="18" y="54"/>
                    </a:cubicBezTo>
                    <a:cubicBezTo>
                      <a:pt x="13" y="54"/>
                      <a:pt x="9" y="53"/>
                      <a:pt x="6" y="50"/>
                    </a:cubicBezTo>
                    <a:cubicBezTo>
                      <a:pt x="3" y="48"/>
                      <a:pt x="1" y="44"/>
                      <a:pt x="0" y="4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22" name="i$ḻïḑê"/>
              <p:cNvSpPr/>
              <p:nvPr/>
            </p:nvSpPr>
            <p:spPr bwMode="auto">
              <a:xfrm>
                <a:off x="2522434" y="6045790"/>
                <a:ext cx="74613" cy="103188"/>
              </a:xfrm>
              <a:custGeom>
                <a:avLst/>
                <a:gdLst>
                  <a:gd name="T0" fmla="*/ 39 w 40"/>
                  <a:gd name="T1" fmla="*/ 42 h 56"/>
                  <a:gd name="T2" fmla="*/ 40 w 40"/>
                  <a:gd name="T3" fmla="*/ 51 h 56"/>
                  <a:gd name="T4" fmla="*/ 5 w 40"/>
                  <a:gd name="T5" fmla="*/ 56 h 56"/>
                  <a:gd name="T6" fmla="*/ 7 w 40"/>
                  <a:gd name="T7" fmla="*/ 46 h 56"/>
                  <a:gd name="T8" fmla="*/ 16 w 40"/>
                  <a:gd name="T9" fmla="*/ 32 h 56"/>
                  <a:gd name="T10" fmla="*/ 23 w 40"/>
                  <a:gd name="T11" fmla="*/ 22 h 56"/>
                  <a:gd name="T12" fmla="*/ 24 w 40"/>
                  <a:gd name="T13" fmla="*/ 15 h 56"/>
                  <a:gd name="T14" fmla="*/ 22 w 40"/>
                  <a:gd name="T15" fmla="*/ 10 h 56"/>
                  <a:gd name="T16" fmla="*/ 17 w 40"/>
                  <a:gd name="T17" fmla="*/ 9 h 56"/>
                  <a:gd name="T18" fmla="*/ 12 w 40"/>
                  <a:gd name="T19" fmla="*/ 12 h 56"/>
                  <a:gd name="T20" fmla="*/ 11 w 40"/>
                  <a:gd name="T21" fmla="*/ 19 h 56"/>
                  <a:gd name="T22" fmla="*/ 1 w 40"/>
                  <a:gd name="T23" fmla="*/ 19 h 56"/>
                  <a:gd name="T24" fmla="*/ 4 w 40"/>
                  <a:gd name="T25" fmla="*/ 6 h 56"/>
                  <a:gd name="T26" fmla="*/ 16 w 40"/>
                  <a:gd name="T27" fmla="*/ 1 h 56"/>
                  <a:gd name="T28" fmla="*/ 28 w 40"/>
                  <a:gd name="T29" fmla="*/ 3 h 56"/>
                  <a:gd name="T30" fmla="*/ 34 w 40"/>
                  <a:gd name="T31" fmla="*/ 13 h 56"/>
                  <a:gd name="T32" fmla="*/ 34 w 40"/>
                  <a:gd name="T33" fmla="*/ 20 h 56"/>
                  <a:gd name="T34" fmla="*/ 31 w 40"/>
                  <a:gd name="T35" fmla="*/ 27 h 56"/>
                  <a:gd name="T36" fmla="*/ 26 w 40"/>
                  <a:gd name="T37" fmla="*/ 35 h 56"/>
                  <a:gd name="T38" fmla="*/ 20 w 40"/>
                  <a:gd name="T39" fmla="*/ 42 h 56"/>
                  <a:gd name="T40" fmla="*/ 19 w 40"/>
                  <a:gd name="T41" fmla="*/ 45 h 56"/>
                  <a:gd name="T42" fmla="*/ 39 w 40"/>
                  <a:gd name="T43" fmla="*/ 42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40" h="56">
                    <a:moveTo>
                      <a:pt x="39" y="42"/>
                    </a:moveTo>
                    <a:cubicBezTo>
                      <a:pt x="40" y="51"/>
                      <a:pt x="40" y="51"/>
                      <a:pt x="40" y="51"/>
                    </a:cubicBezTo>
                    <a:cubicBezTo>
                      <a:pt x="5" y="56"/>
                      <a:pt x="5" y="56"/>
                      <a:pt x="5" y="56"/>
                    </a:cubicBezTo>
                    <a:cubicBezTo>
                      <a:pt x="5" y="53"/>
                      <a:pt x="5" y="49"/>
                      <a:pt x="7" y="46"/>
                    </a:cubicBezTo>
                    <a:cubicBezTo>
                      <a:pt x="8" y="42"/>
                      <a:pt x="11" y="38"/>
                      <a:pt x="16" y="32"/>
                    </a:cubicBezTo>
                    <a:cubicBezTo>
                      <a:pt x="20" y="27"/>
                      <a:pt x="22" y="23"/>
                      <a:pt x="23" y="22"/>
                    </a:cubicBezTo>
                    <a:cubicBezTo>
                      <a:pt x="24" y="19"/>
                      <a:pt x="25" y="17"/>
                      <a:pt x="24" y="15"/>
                    </a:cubicBezTo>
                    <a:cubicBezTo>
                      <a:pt x="24" y="13"/>
                      <a:pt x="23" y="11"/>
                      <a:pt x="22" y="10"/>
                    </a:cubicBezTo>
                    <a:cubicBezTo>
                      <a:pt x="21" y="9"/>
                      <a:pt x="19" y="9"/>
                      <a:pt x="17" y="9"/>
                    </a:cubicBezTo>
                    <a:cubicBezTo>
                      <a:pt x="15" y="10"/>
                      <a:pt x="13" y="11"/>
                      <a:pt x="12" y="12"/>
                    </a:cubicBezTo>
                    <a:cubicBezTo>
                      <a:pt x="11" y="13"/>
                      <a:pt x="10" y="16"/>
                      <a:pt x="11" y="19"/>
                    </a:cubicBezTo>
                    <a:cubicBezTo>
                      <a:pt x="1" y="19"/>
                      <a:pt x="1" y="19"/>
                      <a:pt x="1" y="19"/>
                    </a:cubicBezTo>
                    <a:cubicBezTo>
                      <a:pt x="0" y="13"/>
                      <a:pt x="2" y="9"/>
                      <a:pt x="4" y="6"/>
                    </a:cubicBezTo>
                    <a:cubicBezTo>
                      <a:pt x="7" y="3"/>
                      <a:pt x="11" y="2"/>
                      <a:pt x="16" y="1"/>
                    </a:cubicBezTo>
                    <a:cubicBezTo>
                      <a:pt x="21" y="0"/>
                      <a:pt x="25" y="1"/>
                      <a:pt x="28" y="3"/>
                    </a:cubicBezTo>
                    <a:cubicBezTo>
                      <a:pt x="32" y="6"/>
                      <a:pt x="34" y="9"/>
                      <a:pt x="34" y="13"/>
                    </a:cubicBezTo>
                    <a:cubicBezTo>
                      <a:pt x="35" y="15"/>
                      <a:pt x="35" y="18"/>
                      <a:pt x="34" y="20"/>
                    </a:cubicBezTo>
                    <a:cubicBezTo>
                      <a:pt x="34" y="22"/>
                      <a:pt x="33" y="25"/>
                      <a:pt x="31" y="27"/>
                    </a:cubicBezTo>
                    <a:cubicBezTo>
                      <a:pt x="30" y="29"/>
                      <a:pt x="28" y="32"/>
                      <a:pt x="26" y="35"/>
                    </a:cubicBezTo>
                    <a:cubicBezTo>
                      <a:pt x="23" y="38"/>
                      <a:pt x="21" y="41"/>
                      <a:pt x="20" y="42"/>
                    </a:cubicBezTo>
                    <a:cubicBezTo>
                      <a:pt x="20" y="43"/>
                      <a:pt x="19" y="44"/>
                      <a:pt x="19" y="45"/>
                    </a:cubicBezTo>
                    <a:lnTo>
                      <a:pt x="39" y="4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23" name="íṧlíḍe"/>
              <p:cNvSpPr/>
              <p:nvPr/>
            </p:nvSpPr>
            <p:spPr bwMode="auto">
              <a:xfrm>
                <a:off x="2611334" y="6072778"/>
                <a:ext cx="22225" cy="23813"/>
              </a:xfrm>
              <a:custGeom>
                <a:avLst/>
                <a:gdLst>
                  <a:gd name="T0" fmla="*/ 3 w 14"/>
                  <a:gd name="T1" fmla="*/ 15 h 15"/>
                  <a:gd name="T2" fmla="*/ 0 w 14"/>
                  <a:gd name="T3" fmla="*/ 3 h 15"/>
                  <a:gd name="T4" fmla="*/ 11 w 14"/>
                  <a:gd name="T5" fmla="*/ 0 h 15"/>
                  <a:gd name="T6" fmla="*/ 14 w 14"/>
                  <a:gd name="T7" fmla="*/ 12 h 15"/>
                  <a:gd name="T8" fmla="*/ 3 w 14"/>
                  <a:gd name="T9" fmla="*/ 15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4" h="15">
                    <a:moveTo>
                      <a:pt x="3" y="15"/>
                    </a:moveTo>
                    <a:lnTo>
                      <a:pt x="0" y="3"/>
                    </a:lnTo>
                    <a:lnTo>
                      <a:pt x="11" y="0"/>
                    </a:lnTo>
                    <a:lnTo>
                      <a:pt x="14" y="12"/>
                    </a:lnTo>
                    <a:lnTo>
                      <a:pt x="3" y="1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24" name="îŝľîḓê"/>
              <p:cNvSpPr/>
              <p:nvPr/>
            </p:nvSpPr>
            <p:spPr bwMode="auto">
              <a:xfrm>
                <a:off x="2108097" y="5261565"/>
                <a:ext cx="141288" cy="257175"/>
              </a:xfrm>
              <a:custGeom>
                <a:avLst/>
                <a:gdLst>
                  <a:gd name="T0" fmla="*/ 12 w 77"/>
                  <a:gd name="T1" fmla="*/ 25 h 139"/>
                  <a:gd name="T2" fmla="*/ 9 w 77"/>
                  <a:gd name="T3" fmla="*/ 21 h 139"/>
                  <a:gd name="T4" fmla="*/ 12 w 77"/>
                  <a:gd name="T5" fmla="*/ 17 h 139"/>
                  <a:gd name="T6" fmla="*/ 39 w 77"/>
                  <a:gd name="T7" fmla="*/ 21 h 139"/>
                  <a:gd name="T8" fmla="*/ 46 w 77"/>
                  <a:gd name="T9" fmla="*/ 36 h 139"/>
                  <a:gd name="T10" fmla="*/ 46 w 77"/>
                  <a:gd name="T11" fmla="*/ 39 h 139"/>
                  <a:gd name="T12" fmla="*/ 61 w 77"/>
                  <a:gd name="T13" fmla="*/ 33 h 139"/>
                  <a:gd name="T14" fmla="*/ 57 w 77"/>
                  <a:gd name="T15" fmla="*/ 16 h 139"/>
                  <a:gd name="T16" fmla="*/ 35 w 77"/>
                  <a:gd name="T17" fmla="*/ 9 h 139"/>
                  <a:gd name="T18" fmla="*/ 27 w 77"/>
                  <a:gd name="T19" fmla="*/ 3 h 139"/>
                  <a:gd name="T20" fmla="*/ 32 w 77"/>
                  <a:gd name="T21" fmla="*/ 0 h 139"/>
                  <a:gd name="T22" fmla="*/ 61 w 77"/>
                  <a:gd name="T23" fmla="*/ 9 h 139"/>
                  <a:gd name="T24" fmla="*/ 72 w 77"/>
                  <a:gd name="T25" fmla="*/ 30 h 139"/>
                  <a:gd name="T26" fmla="*/ 48 w 77"/>
                  <a:gd name="T27" fmla="*/ 45 h 139"/>
                  <a:gd name="T28" fmla="*/ 45 w 77"/>
                  <a:gd name="T29" fmla="*/ 46 h 139"/>
                  <a:gd name="T30" fmla="*/ 45 w 77"/>
                  <a:gd name="T31" fmla="*/ 54 h 139"/>
                  <a:gd name="T32" fmla="*/ 59 w 77"/>
                  <a:gd name="T33" fmla="*/ 61 h 139"/>
                  <a:gd name="T34" fmla="*/ 77 w 77"/>
                  <a:gd name="T35" fmla="*/ 80 h 139"/>
                  <a:gd name="T36" fmla="*/ 75 w 77"/>
                  <a:gd name="T37" fmla="*/ 84 h 139"/>
                  <a:gd name="T38" fmla="*/ 71 w 77"/>
                  <a:gd name="T39" fmla="*/ 83 h 139"/>
                  <a:gd name="T40" fmla="*/ 59 w 77"/>
                  <a:gd name="T41" fmla="*/ 70 h 139"/>
                  <a:gd name="T42" fmla="*/ 45 w 77"/>
                  <a:gd name="T43" fmla="*/ 63 h 139"/>
                  <a:gd name="T44" fmla="*/ 45 w 77"/>
                  <a:gd name="T45" fmla="*/ 77 h 139"/>
                  <a:gd name="T46" fmla="*/ 53 w 77"/>
                  <a:gd name="T47" fmla="*/ 83 h 139"/>
                  <a:gd name="T48" fmla="*/ 66 w 77"/>
                  <a:gd name="T49" fmla="*/ 102 h 139"/>
                  <a:gd name="T50" fmla="*/ 72 w 77"/>
                  <a:gd name="T51" fmla="*/ 121 h 139"/>
                  <a:gd name="T52" fmla="*/ 70 w 77"/>
                  <a:gd name="T53" fmla="*/ 124 h 139"/>
                  <a:gd name="T54" fmla="*/ 67 w 77"/>
                  <a:gd name="T55" fmla="*/ 122 h 139"/>
                  <a:gd name="T56" fmla="*/ 64 w 77"/>
                  <a:gd name="T57" fmla="*/ 115 h 139"/>
                  <a:gd name="T58" fmla="*/ 55 w 77"/>
                  <a:gd name="T59" fmla="*/ 97 h 139"/>
                  <a:gd name="T60" fmla="*/ 45 w 77"/>
                  <a:gd name="T61" fmla="*/ 87 h 139"/>
                  <a:gd name="T62" fmla="*/ 45 w 77"/>
                  <a:gd name="T63" fmla="*/ 102 h 139"/>
                  <a:gd name="T64" fmla="*/ 44 w 77"/>
                  <a:gd name="T65" fmla="*/ 136 h 139"/>
                  <a:gd name="T66" fmla="*/ 41 w 77"/>
                  <a:gd name="T67" fmla="*/ 139 h 139"/>
                  <a:gd name="T68" fmla="*/ 38 w 77"/>
                  <a:gd name="T69" fmla="*/ 137 h 139"/>
                  <a:gd name="T70" fmla="*/ 37 w 77"/>
                  <a:gd name="T71" fmla="*/ 103 h 139"/>
                  <a:gd name="T72" fmla="*/ 37 w 77"/>
                  <a:gd name="T73" fmla="*/ 86 h 139"/>
                  <a:gd name="T74" fmla="*/ 28 w 77"/>
                  <a:gd name="T75" fmla="*/ 92 h 139"/>
                  <a:gd name="T76" fmla="*/ 19 w 77"/>
                  <a:gd name="T77" fmla="*/ 109 h 139"/>
                  <a:gd name="T78" fmla="*/ 12 w 77"/>
                  <a:gd name="T79" fmla="*/ 121 h 139"/>
                  <a:gd name="T80" fmla="*/ 8 w 77"/>
                  <a:gd name="T81" fmla="*/ 122 h 139"/>
                  <a:gd name="T82" fmla="*/ 7 w 77"/>
                  <a:gd name="T83" fmla="*/ 120 h 139"/>
                  <a:gd name="T84" fmla="*/ 8 w 77"/>
                  <a:gd name="T85" fmla="*/ 117 h 139"/>
                  <a:gd name="T86" fmla="*/ 11 w 77"/>
                  <a:gd name="T87" fmla="*/ 106 h 139"/>
                  <a:gd name="T88" fmla="*/ 22 w 77"/>
                  <a:gd name="T89" fmla="*/ 86 h 139"/>
                  <a:gd name="T90" fmla="*/ 37 w 77"/>
                  <a:gd name="T91" fmla="*/ 76 h 139"/>
                  <a:gd name="T92" fmla="*/ 37 w 77"/>
                  <a:gd name="T93" fmla="*/ 68 h 139"/>
                  <a:gd name="T94" fmla="*/ 37 w 77"/>
                  <a:gd name="T95" fmla="*/ 63 h 139"/>
                  <a:gd name="T96" fmla="*/ 24 w 77"/>
                  <a:gd name="T97" fmla="*/ 69 h 139"/>
                  <a:gd name="T98" fmla="*/ 16 w 77"/>
                  <a:gd name="T99" fmla="*/ 77 h 139"/>
                  <a:gd name="T100" fmla="*/ 9 w 77"/>
                  <a:gd name="T101" fmla="*/ 85 h 139"/>
                  <a:gd name="T102" fmla="*/ 6 w 77"/>
                  <a:gd name="T103" fmla="*/ 86 h 139"/>
                  <a:gd name="T104" fmla="*/ 5 w 77"/>
                  <a:gd name="T105" fmla="*/ 82 h 139"/>
                  <a:gd name="T106" fmla="*/ 22 w 77"/>
                  <a:gd name="T107" fmla="*/ 60 h 139"/>
                  <a:gd name="T108" fmla="*/ 37 w 77"/>
                  <a:gd name="T109" fmla="*/ 54 h 139"/>
                  <a:gd name="T110" fmla="*/ 37 w 77"/>
                  <a:gd name="T111" fmla="*/ 47 h 139"/>
                  <a:gd name="T112" fmla="*/ 3 w 77"/>
                  <a:gd name="T113" fmla="*/ 45 h 139"/>
                  <a:gd name="T114" fmla="*/ 0 w 77"/>
                  <a:gd name="T115" fmla="*/ 40 h 139"/>
                  <a:gd name="T116" fmla="*/ 5 w 77"/>
                  <a:gd name="T117" fmla="*/ 38 h 139"/>
                  <a:gd name="T118" fmla="*/ 37 w 77"/>
                  <a:gd name="T119" fmla="*/ 39 h 139"/>
                  <a:gd name="T120" fmla="*/ 37 w 77"/>
                  <a:gd name="T121" fmla="*/ 39 h 139"/>
                  <a:gd name="T122" fmla="*/ 33 w 77"/>
                  <a:gd name="T123" fmla="*/ 28 h 139"/>
                  <a:gd name="T124" fmla="*/ 12 w 77"/>
                  <a:gd name="T125" fmla="*/ 25 h 1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77" h="139">
                    <a:moveTo>
                      <a:pt x="12" y="25"/>
                    </a:moveTo>
                    <a:cubicBezTo>
                      <a:pt x="10" y="25"/>
                      <a:pt x="9" y="24"/>
                      <a:pt x="9" y="21"/>
                    </a:cubicBezTo>
                    <a:cubicBezTo>
                      <a:pt x="9" y="18"/>
                      <a:pt x="10" y="17"/>
                      <a:pt x="12" y="17"/>
                    </a:cubicBezTo>
                    <a:cubicBezTo>
                      <a:pt x="24" y="17"/>
                      <a:pt x="33" y="18"/>
                      <a:pt x="39" y="21"/>
                    </a:cubicBezTo>
                    <a:cubicBezTo>
                      <a:pt x="45" y="24"/>
                      <a:pt x="47" y="28"/>
                      <a:pt x="46" y="36"/>
                    </a:cubicBezTo>
                    <a:cubicBezTo>
                      <a:pt x="46" y="37"/>
                      <a:pt x="46" y="38"/>
                      <a:pt x="46" y="39"/>
                    </a:cubicBezTo>
                    <a:cubicBezTo>
                      <a:pt x="53" y="38"/>
                      <a:pt x="58" y="35"/>
                      <a:pt x="61" y="33"/>
                    </a:cubicBezTo>
                    <a:cubicBezTo>
                      <a:pt x="65" y="27"/>
                      <a:pt x="64" y="22"/>
                      <a:pt x="57" y="16"/>
                    </a:cubicBezTo>
                    <a:cubicBezTo>
                      <a:pt x="52" y="12"/>
                      <a:pt x="44" y="9"/>
                      <a:pt x="35" y="9"/>
                    </a:cubicBezTo>
                    <a:cubicBezTo>
                      <a:pt x="30" y="8"/>
                      <a:pt x="28" y="6"/>
                      <a:pt x="27" y="3"/>
                    </a:cubicBezTo>
                    <a:cubicBezTo>
                      <a:pt x="27" y="1"/>
                      <a:pt x="29" y="0"/>
                      <a:pt x="32" y="0"/>
                    </a:cubicBezTo>
                    <a:cubicBezTo>
                      <a:pt x="44" y="0"/>
                      <a:pt x="53" y="3"/>
                      <a:pt x="61" y="9"/>
                    </a:cubicBezTo>
                    <a:cubicBezTo>
                      <a:pt x="69" y="16"/>
                      <a:pt x="73" y="23"/>
                      <a:pt x="72" y="30"/>
                    </a:cubicBezTo>
                    <a:cubicBezTo>
                      <a:pt x="68" y="37"/>
                      <a:pt x="60" y="43"/>
                      <a:pt x="48" y="45"/>
                    </a:cubicBezTo>
                    <a:cubicBezTo>
                      <a:pt x="47" y="46"/>
                      <a:pt x="46" y="46"/>
                      <a:pt x="45" y="46"/>
                    </a:cubicBezTo>
                    <a:cubicBezTo>
                      <a:pt x="45" y="48"/>
                      <a:pt x="45" y="51"/>
                      <a:pt x="45" y="54"/>
                    </a:cubicBezTo>
                    <a:cubicBezTo>
                      <a:pt x="49" y="54"/>
                      <a:pt x="54" y="57"/>
                      <a:pt x="59" y="61"/>
                    </a:cubicBezTo>
                    <a:cubicBezTo>
                      <a:pt x="66" y="66"/>
                      <a:pt x="72" y="72"/>
                      <a:pt x="77" y="80"/>
                    </a:cubicBezTo>
                    <a:cubicBezTo>
                      <a:pt x="77" y="82"/>
                      <a:pt x="77" y="83"/>
                      <a:pt x="75" y="84"/>
                    </a:cubicBezTo>
                    <a:cubicBezTo>
                      <a:pt x="74" y="85"/>
                      <a:pt x="72" y="85"/>
                      <a:pt x="71" y="83"/>
                    </a:cubicBezTo>
                    <a:cubicBezTo>
                      <a:pt x="69" y="80"/>
                      <a:pt x="65" y="76"/>
                      <a:pt x="59" y="70"/>
                    </a:cubicBezTo>
                    <a:cubicBezTo>
                      <a:pt x="54" y="66"/>
                      <a:pt x="49" y="64"/>
                      <a:pt x="45" y="63"/>
                    </a:cubicBezTo>
                    <a:cubicBezTo>
                      <a:pt x="45" y="77"/>
                      <a:pt x="45" y="77"/>
                      <a:pt x="45" y="77"/>
                    </a:cubicBezTo>
                    <a:cubicBezTo>
                      <a:pt x="48" y="78"/>
                      <a:pt x="51" y="80"/>
                      <a:pt x="53" y="83"/>
                    </a:cubicBezTo>
                    <a:cubicBezTo>
                      <a:pt x="59" y="88"/>
                      <a:pt x="63" y="94"/>
                      <a:pt x="66" y="102"/>
                    </a:cubicBezTo>
                    <a:cubicBezTo>
                      <a:pt x="71" y="109"/>
                      <a:pt x="73" y="116"/>
                      <a:pt x="72" y="121"/>
                    </a:cubicBezTo>
                    <a:cubicBezTo>
                      <a:pt x="72" y="122"/>
                      <a:pt x="72" y="123"/>
                      <a:pt x="70" y="124"/>
                    </a:cubicBezTo>
                    <a:cubicBezTo>
                      <a:pt x="69" y="124"/>
                      <a:pt x="68" y="124"/>
                      <a:pt x="67" y="122"/>
                    </a:cubicBezTo>
                    <a:cubicBezTo>
                      <a:pt x="67" y="121"/>
                      <a:pt x="66" y="118"/>
                      <a:pt x="64" y="115"/>
                    </a:cubicBezTo>
                    <a:cubicBezTo>
                      <a:pt x="60" y="107"/>
                      <a:pt x="57" y="102"/>
                      <a:pt x="55" y="97"/>
                    </a:cubicBezTo>
                    <a:cubicBezTo>
                      <a:pt x="51" y="91"/>
                      <a:pt x="48" y="88"/>
                      <a:pt x="45" y="87"/>
                    </a:cubicBezTo>
                    <a:cubicBezTo>
                      <a:pt x="45" y="102"/>
                      <a:pt x="45" y="102"/>
                      <a:pt x="45" y="102"/>
                    </a:cubicBezTo>
                    <a:cubicBezTo>
                      <a:pt x="45" y="117"/>
                      <a:pt x="45" y="128"/>
                      <a:pt x="44" y="136"/>
                    </a:cubicBezTo>
                    <a:cubicBezTo>
                      <a:pt x="43" y="137"/>
                      <a:pt x="42" y="138"/>
                      <a:pt x="41" y="139"/>
                    </a:cubicBezTo>
                    <a:cubicBezTo>
                      <a:pt x="40" y="139"/>
                      <a:pt x="39" y="139"/>
                      <a:pt x="38" y="137"/>
                    </a:cubicBezTo>
                    <a:cubicBezTo>
                      <a:pt x="37" y="135"/>
                      <a:pt x="37" y="123"/>
                      <a:pt x="37" y="103"/>
                    </a:cubicBezTo>
                    <a:cubicBezTo>
                      <a:pt x="37" y="97"/>
                      <a:pt x="37" y="92"/>
                      <a:pt x="37" y="86"/>
                    </a:cubicBezTo>
                    <a:cubicBezTo>
                      <a:pt x="34" y="87"/>
                      <a:pt x="31" y="89"/>
                      <a:pt x="28" y="92"/>
                    </a:cubicBezTo>
                    <a:cubicBezTo>
                      <a:pt x="24" y="98"/>
                      <a:pt x="21" y="103"/>
                      <a:pt x="19" y="109"/>
                    </a:cubicBezTo>
                    <a:cubicBezTo>
                      <a:pt x="17" y="113"/>
                      <a:pt x="15" y="117"/>
                      <a:pt x="12" y="121"/>
                    </a:cubicBezTo>
                    <a:cubicBezTo>
                      <a:pt x="11" y="122"/>
                      <a:pt x="9" y="122"/>
                      <a:pt x="8" y="122"/>
                    </a:cubicBezTo>
                    <a:cubicBezTo>
                      <a:pt x="7" y="122"/>
                      <a:pt x="7" y="121"/>
                      <a:pt x="7" y="120"/>
                    </a:cubicBezTo>
                    <a:cubicBezTo>
                      <a:pt x="7" y="119"/>
                      <a:pt x="7" y="118"/>
                      <a:pt x="8" y="117"/>
                    </a:cubicBezTo>
                    <a:cubicBezTo>
                      <a:pt x="9" y="112"/>
                      <a:pt x="10" y="108"/>
                      <a:pt x="11" y="106"/>
                    </a:cubicBezTo>
                    <a:cubicBezTo>
                      <a:pt x="13" y="101"/>
                      <a:pt x="17" y="94"/>
                      <a:pt x="22" y="86"/>
                    </a:cubicBezTo>
                    <a:cubicBezTo>
                      <a:pt x="27" y="80"/>
                      <a:pt x="32" y="77"/>
                      <a:pt x="37" y="76"/>
                    </a:cubicBezTo>
                    <a:cubicBezTo>
                      <a:pt x="37" y="68"/>
                      <a:pt x="37" y="68"/>
                      <a:pt x="37" y="68"/>
                    </a:cubicBezTo>
                    <a:cubicBezTo>
                      <a:pt x="37" y="63"/>
                      <a:pt x="37" y="63"/>
                      <a:pt x="37" y="63"/>
                    </a:cubicBezTo>
                    <a:cubicBezTo>
                      <a:pt x="33" y="64"/>
                      <a:pt x="29" y="66"/>
                      <a:pt x="24" y="69"/>
                    </a:cubicBezTo>
                    <a:cubicBezTo>
                      <a:pt x="23" y="70"/>
                      <a:pt x="20" y="72"/>
                      <a:pt x="16" y="77"/>
                    </a:cubicBezTo>
                    <a:cubicBezTo>
                      <a:pt x="13" y="81"/>
                      <a:pt x="11" y="83"/>
                      <a:pt x="9" y="85"/>
                    </a:cubicBezTo>
                    <a:cubicBezTo>
                      <a:pt x="8" y="86"/>
                      <a:pt x="7" y="87"/>
                      <a:pt x="6" y="86"/>
                    </a:cubicBezTo>
                    <a:cubicBezTo>
                      <a:pt x="5" y="86"/>
                      <a:pt x="5" y="84"/>
                      <a:pt x="5" y="82"/>
                    </a:cubicBezTo>
                    <a:cubicBezTo>
                      <a:pt x="10" y="73"/>
                      <a:pt x="15" y="65"/>
                      <a:pt x="22" y="60"/>
                    </a:cubicBezTo>
                    <a:cubicBezTo>
                      <a:pt x="27" y="56"/>
                      <a:pt x="32" y="54"/>
                      <a:pt x="37" y="54"/>
                    </a:cubicBezTo>
                    <a:cubicBezTo>
                      <a:pt x="37" y="47"/>
                      <a:pt x="37" y="47"/>
                      <a:pt x="37" y="47"/>
                    </a:cubicBezTo>
                    <a:cubicBezTo>
                      <a:pt x="22" y="49"/>
                      <a:pt x="10" y="48"/>
                      <a:pt x="3" y="45"/>
                    </a:cubicBezTo>
                    <a:cubicBezTo>
                      <a:pt x="1" y="44"/>
                      <a:pt x="0" y="42"/>
                      <a:pt x="0" y="40"/>
                    </a:cubicBezTo>
                    <a:cubicBezTo>
                      <a:pt x="1" y="38"/>
                      <a:pt x="3" y="38"/>
                      <a:pt x="5" y="38"/>
                    </a:cubicBezTo>
                    <a:cubicBezTo>
                      <a:pt x="12" y="40"/>
                      <a:pt x="22" y="40"/>
                      <a:pt x="37" y="39"/>
                    </a:cubicBezTo>
                    <a:cubicBezTo>
                      <a:pt x="37" y="39"/>
                      <a:pt x="37" y="39"/>
                      <a:pt x="37" y="39"/>
                    </a:cubicBezTo>
                    <a:cubicBezTo>
                      <a:pt x="38" y="32"/>
                      <a:pt x="36" y="29"/>
                      <a:pt x="33" y="28"/>
                    </a:cubicBezTo>
                    <a:cubicBezTo>
                      <a:pt x="26" y="25"/>
                      <a:pt x="19" y="24"/>
                      <a:pt x="12" y="2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25" name="íṣlíḑe"/>
              <p:cNvSpPr/>
              <p:nvPr/>
            </p:nvSpPr>
            <p:spPr bwMode="auto">
              <a:xfrm>
                <a:off x="2273197" y="5255215"/>
                <a:ext cx="163513" cy="263525"/>
              </a:xfrm>
              <a:custGeom>
                <a:avLst/>
                <a:gdLst>
                  <a:gd name="T0" fmla="*/ 47 w 88"/>
                  <a:gd name="T1" fmla="*/ 8 h 143"/>
                  <a:gd name="T2" fmla="*/ 74 w 88"/>
                  <a:gd name="T3" fmla="*/ 14 h 143"/>
                  <a:gd name="T4" fmla="*/ 82 w 88"/>
                  <a:gd name="T5" fmla="*/ 26 h 143"/>
                  <a:gd name="T6" fmla="*/ 79 w 88"/>
                  <a:gd name="T7" fmla="*/ 75 h 143"/>
                  <a:gd name="T8" fmla="*/ 86 w 88"/>
                  <a:gd name="T9" fmla="*/ 136 h 143"/>
                  <a:gd name="T10" fmla="*/ 73 w 88"/>
                  <a:gd name="T11" fmla="*/ 45 h 143"/>
                  <a:gd name="T12" fmla="*/ 67 w 88"/>
                  <a:gd name="T13" fmla="*/ 44 h 143"/>
                  <a:gd name="T14" fmla="*/ 54 w 88"/>
                  <a:gd name="T15" fmla="*/ 58 h 143"/>
                  <a:gd name="T16" fmla="*/ 22 w 88"/>
                  <a:gd name="T17" fmla="*/ 54 h 143"/>
                  <a:gd name="T18" fmla="*/ 15 w 88"/>
                  <a:gd name="T19" fmla="*/ 45 h 143"/>
                  <a:gd name="T20" fmla="*/ 11 w 88"/>
                  <a:gd name="T21" fmla="*/ 91 h 143"/>
                  <a:gd name="T22" fmla="*/ 9 w 88"/>
                  <a:gd name="T23" fmla="*/ 118 h 143"/>
                  <a:gd name="T24" fmla="*/ 2 w 88"/>
                  <a:gd name="T25" fmla="*/ 139 h 143"/>
                  <a:gd name="T26" fmla="*/ 6 w 88"/>
                  <a:gd name="T27" fmla="*/ 80 h 143"/>
                  <a:gd name="T28" fmla="*/ 2 w 88"/>
                  <a:gd name="T29" fmla="*/ 26 h 143"/>
                  <a:gd name="T30" fmla="*/ 32 w 88"/>
                  <a:gd name="T31" fmla="*/ 10 h 143"/>
                  <a:gd name="T32" fmla="*/ 39 w 88"/>
                  <a:gd name="T33" fmla="*/ 0 h 143"/>
                  <a:gd name="T34" fmla="*/ 24 w 88"/>
                  <a:gd name="T35" fmla="*/ 23 h 143"/>
                  <a:gd name="T36" fmla="*/ 66 w 88"/>
                  <a:gd name="T37" fmla="*/ 29 h 143"/>
                  <a:gd name="T38" fmla="*/ 67 w 88"/>
                  <a:gd name="T39" fmla="*/ 37 h 143"/>
                  <a:gd name="T40" fmla="*/ 73 w 88"/>
                  <a:gd name="T41" fmla="*/ 34 h 143"/>
                  <a:gd name="T42" fmla="*/ 66 w 88"/>
                  <a:gd name="T43" fmla="*/ 20 h 143"/>
                  <a:gd name="T44" fmla="*/ 13 w 88"/>
                  <a:gd name="T45" fmla="*/ 21 h 143"/>
                  <a:gd name="T46" fmla="*/ 12 w 88"/>
                  <a:gd name="T47" fmla="*/ 32 h 143"/>
                  <a:gd name="T48" fmla="*/ 17 w 88"/>
                  <a:gd name="T49" fmla="*/ 38 h 143"/>
                  <a:gd name="T50" fmla="*/ 24 w 88"/>
                  <a:gd name="T51" fmla="*/ 23 h 143"/>
                  <a:gd name="T52" fmla="*/ 61 w 88"/>
                  <a:gd name="T53" fmla="*/ 64 h 143"/>
                  <a:gd name="T54" fmla="*/ 66 w 88"/>
                  <a:gd name="T55" fmla="*/ 96 h 143"/>
                  <a:gd name="T56" fmla="*/ 61 w 88"/>
                  <a:gd name="T57" fmla="*/ 136 h 143"/>
                  <a:gd name="T58" fmla="*/ 59 w 88"/>
                  <a:gd name="T59" fmla="*/ 143 h 143"/>
                  <a:gd name="T60" fmla="*/ 46 w 88"/>
                  <a:gd name="T61" fmla="*/ 105 h 143"/>
                  <a:gd name="T62" fmla="*/ 30 w 88"/>
                  <a:gd name="T63" fmla="*/ 140 h 143"/>
                  <a:gd name="T64" fmla="*/ 26 w 88"/>
                  <a:gd name="T65" fmla="*/ 137 h 143"/>
                  <a:gd name="T66" fmla="*/ 32 w 88"/>
                  <a:gd name="T67" fmla="*/ 121 h 143"/>
                  <a:gd name="T68" fmla="*/ 35 w 88"/>
                  <a:gd name="T69" fmla="*/ 105 h 143"/>
                  <a:gd name="T70" fmla="*/ 18 w 88"/>
                  <a:gd name="T71" fmla="*/ 75 h 143"/>
                  <a:gd name="T72" fmla="*/ 24 w 88"/>
                  <a:gd name="T73" fmla="*/ 35 h 143"/>
                  <a:gd name="T74" fmla="*/ 39 w 88"/>
                  <a:gd name="T75" fmla="*/ 37 h 143"/>
                  <a:gd name="T76" fmla="*/ 34 w 88"/>
                  <a:gd name="T77" fmla="*/ 29 h 143"/>
                  <a:gd name="T78" fmla="*/ 24 w 88"/>
                  <a:gd name="T79" fmla="*/ 35 h 143"/>
                  <a:gd name="T80" fmla="*/ 62 w 88"/>
                  <a:gd name="T81" fmla="*/ 84 h 143"/>
                  <a:gd name="T82" fmla="*/ 43 w 88"/>
                  <a:gd name="T83" fmla="*/ 81 h 143"/>
                  <a:gd name="T84" fmla="*/ 25 w 88"/>
                  <a:gd name="T85" fmla="*/ 87 h 143"/>
                  <a:gd name="T86" fmla="*/ 26 w 88"/>
                  <a:gd name="T87" fmla="*/ 48 h 143"/>
                  <a:gd name="T88" fmla="*/ 38 w 88"/>
                  <a:gd name="T89" fmla="*/ 52 h 143"/>
                  <a:gd name="T90" fmla="*/ 25 w 88"/>
                  <a:gd name="T91" fmla="*/ 44 h 143"/>
                  <a:gd name="T92" fmla="*/ 32 w 88"/>
                  <a:gd name="T93" fmla="*/ 69 h 143"/>
                  <a:gd name="T94" fmla="*/ 41 w 88"/>
                  <a:gd name="T95" fmla="*/ 75 h 143"/>
                  <a:gd name="T96" fmla="*/ 57 w 88"/>
                  <a:gd name="T97" fmla="*/ 70 h 143"/>
                  <a:gd name="T98" fmla="*/ 56 w 88"/>
                  <a:gd name="T99" fmla="*/ 98 h 143"/>
                  <a:gd name="T100" fmla="*/ 54 w 88"/>
                  <a:gd name="T101" fmla="*/ 93 h 143"/>
                  <a:gd name="T102" fmla="*/ 36 w 88"/>
                  <a:gd name="T103" fmla="*/ 93 h 143"/>
                  <a:gd name="T104" fmla="*/ 32 w 88"/>
                  <a:gd name="T105" fmla="*/ 98 h 143"/>
                  <a:gd name="T106" fmla="*/ 56 w 88"/>
                  <a:gd name="T107" fmla="*/ 29 h 143"/>
                  <a:gd name="T108" fmla="*/ 46 w 88"/>
                  <a:gd name="T109" fmla="*/ 29 h 143"/>
                  <a:gd name="T110" fmla="*/ 60 w 88"/>
                  <a:gd name="T111" fmla="*/ 37 h 143"/>
                  <a:gd name="T112" fmla="*/ 56 w 88"/>
                  <a:gd name="T113" fmla="*/ 29 h 143"/>
                  <a:gd name="T114" fmla="*/ 60 w 88"/>
                  <a:gd name="T115" fmla="*/ 43 h 143"/>
                  <a:gd name="T116" fmla="*/ 46 w 88"/>
                  <a:gd name="T117" fmla="*/ 52 h 143"/>
                  <a:gd name="T118" fmla="*/ 59 w 88"/>
                  <a:gd name="T119" fmla="*/ 48 h 1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88" h="143">
                    <a:moveTo>
                      <a:pt x="43" y="2"/>
                    </a:moveTo>
                    <a:cubicBezTo>
                      <a:pt x="45" y="3"/>
                      <a:pt x="47" y="6"/>
                      <a:pt x="47" y="8"/>
                    </a:cubicBezTo>
                    <a:cubicBezTo>
                      <a:pt x="47" y="9"/>
                      <a:pt x="48" y="10"/>
                      <a:pt x="49" y="10"/>
                    </a:cubicBezTo>
                    <a:cubicBezTo>
                      <a:pt x="57" y="10"/>
                      <a:pt x="66" y="12"/>
                      <a:pt x="74" y="14"/>
                    </a:cubicBezTo>
                    <a:cubicBezTo>
                      <a:pt x="78" y="16"/>
                      <a:pt x="81" y="18"/>
                      <a:pt x="81" y="19"/>
                    </a:cubicBezTo>
                    <a:cubicBezTo>
                      <a:pt x="82" y="21"/>
                      <a:pt x="82" y="24"/>
                      <a:pt x="82" y="26"/>
                    </a:cubicBezTo>
                    <a:cubicBezTo>
                      <a:pt x="82" y="27"/>
                      <a:pt x="82" y="27"/>
                      <a:pt x="82" y="28"/>
                    </a:cubicBezTo>
                    <a:cubicBezTo>
                      <a:pt x="79" y="39"/>
                      <a:pt x="78" y="55"/>
                      <a:pt x="79" y="75"/>
                    </a:cubicBezTo>
                    <a:cubicBezTo>
                      <a:pt x="80" y="87"/>
                      <a:pt x="83" y="106"/>
                      <a:pt x="87" y="131"/>
                    </a:cubicBezTo>
                    <a:cubicBezTo>
                      <a:pt x="88" y="134"/>
                      <a:pt x="87" y="135"/>
                      <a:pt x="86" y="136"/>
                    </a:cubicBezTo>
                    <a:cubicBezTo>
                      <a:pt x="84" y="137"/>
                      <a:pt x="82" y="136"/>
                      <a:pt x="82" y="133"/>
                    </a:cubicBezTo>
                    <a:cubicBezTo>
                      <a:pt x="74" y="106"/>
                      <a:pt x="71" y="76"/>
                      <a:pt x="73" y="45"/>
                    </a:cubicBezTo>
                    <a:cubicBezTo>
                      <a:pt x="72" y="45"/>
                      <a:pt x="71" y="44"/>
                      <a:pt x="70" y="44"/>
                    </a:cubicBezTo>
                    <a:cubicBezTo>
                      <a:pt x="69" y="44"/>
                      <a:pt x="68" y="44"/>
                      <a:pt x="67" y="44"/>
                    </a:cubicBezTo>
                    <a:cubicBezTo>
                      <a:pt x="67" y="48"/>
                      <a:pt x="66" y="51"/>
                      <a:pt x="64" y="54"/>
                    </a:cubicBezTo>
                    <a:cubicBezTo>
                      <a:pt x="62" y="57"/>
                      <a:pt x="59" y="59"/>
                      <a:pt x="54" y="58"/>
                    </a:cubicBezTo>
                    <a:cubicBezTo>
                      <a:pt x="47" y="58"/>
                      <a:pt x="39" y="58"/>
                      <a:pt x="32" y="58"/>
                    </a:cubicBezTo>
                    <a:cubicBezTo>
                      <a:pt x="28" y="59"/>
                      <a:pt x="25" y="58"/>
                      <a:pt x="22" y="54"/>
                    </a:cubicBezTo>
                    <a:cubicBezTo>
                      <a:pt x="20" y="51"/>
                      <a:pt x="19" y="48"/>
                      <a:pt x="18" y="45"/>
                    </a:cubicBezTo>
                    <a:cubicBezTo>
                      <a:pt x="17" y="45"/>
                      <a:pt x="16" y="45"/>
                      <a:pt x="15" y="45"/>
                    </a:cubicBezTo>
                    <a:cubicBezTo>
                      <a:pt x="14" y="45"/>
                      <a:pt x="13" y="45"/>
                      <a:pt x="13" y="45"/>
                    </a:cubicBezTo>
                    <a:cubicBezTo>
                      <a:pt x="13" y="60"/>
                      <a:pt x="13" y="75"/>
                      <a:pt x="11" y="91"/>
                    </a:cubicBezTo>
                    <a:cubicBezTo>
                      <a:pt x="11" y="95"/>
                      <a:pt x="11" y="102"/>
                      <a:pt x="10" y="111"/>
                    </a:cubicBezTo>
                    <a:cubicBezTo>
                      <a:pt x="10" y="108"/>
                      <a:pt x="10" y="111"/>
                      <a:pt x="9" y="118"/>
                    </a:cubicBezTo>
                    <a:cubicBezTo>
                      <a:pt x="9" y="124"/>
                      <a:pt x="8" y="130"/>
                      <a:pt x="6" y="134"/>
                    </a:cubicBezTo>
                    <a:cubicBezTo>
                      <a:pt x="5" y="138"/>
                      <a:pt x="3" y="139"/>
                      <a:pt x="2" y="139"/>
                    </a:cubicBezTo>
                    <a:cubicBezTo>
                      <a:pt x="0" y="139"/>
                      <a:pt x="0" y="137"/>
                      <a:pt x="0" y="133"/>
                    </a:cubicBezTo>
                    <a:cubicBezTo>
                      <a:pt x="3" y="112"/>
                      <a:pt x="5" y="94"/>
                      <a:pt x="6" y="80"/>
                    </a:cubicBezTo>
                    <a:cubicBezTo>
                      <a:pt x="8" y="64"/>
                      <a:pt x="7" y="51"/>
                      <a:pt x="6" y="38"/>
                    </a:cubicBezTo>
                    <a:cubicBezTo>
                      <a:pt x="5" y="34"/>
                      <a:pt x="4" y="30"/>
                      <a:pt x="2" y="26"/>
                    </a:cubicBezTo>
                    <a:cubicBezTo>
                      <a:pt x="0" y="21"/>
                      <a:pt x="1" y="17"/>
                      <a:pt x="6" y="16"/>
                    </a:cubicBezTo>
                    <a:cubicBezTo>
                      <a:pt x="14" y="12"/>
                      <a:pt x="23" y="11"/>
                      <a:pt x="32" y="10"/>
                    </a:cubicBezTo>
                    <a:cubicBezTo>
                      <a:pt x="36" y="9"/>
                      <a:pt x="38" y="7"/>
                      <a:pt x="38" y="4"/>
                    </a:cubicBezTo>
                    <a:cubicBezTo>
                      <a:pt x="38" y="2"/>
                      <a:pt x="38" y="1"/>
                      <a:pt x="39" y="0"/>
                    </a:cubicBezTo>
                    <a:cubicBezTo>
                      <a:pt x="41" y="0"/>
                      <a:pt x="42" y="0"/>
                      <a:pt x="43" y="2"/>
                    </a:cubicBezTo>
                    <a:close/>
                    <a:moveTo>
                      <a:pt x="24" y="23"/>
                    </a:moveTo>
                    <a:cubicBezTo>
                      <a:pt x="33" y="22"/>
                      <a:pt x="44" y="22"/>
                      <a:pt x="58" y="23"/>
                    </a:cubicBezTo>
                    <a:cubicBezTo>
                      <a:pt x="63" y="24"/>
                      <a:pt x="66" y="26"/>
                      <a:pt x="66" y="29"/>
                    </a:cubicBezTo>
                    <a:cubicBezTo>
                      <a:pt x="66" y="30"/>
                      <a:pt x="66" y="30"/>
                      <a:pt x="67" y="31"/>
                    </a:cubicBezTo>
                    <a:cubicBezTo>
                      <a:pt x="67" y="33"/>
                      <a:pt x="67" y="35"/>
                      <a:pt x="67" y="37"/>
                    </a:cubicBezTo>
                    <a:cubicBezTo>
                      <a:pt x="69" y="38"/>
                      <a:pt x="71" y="38"/>
                      <a:pt x="73" y="38"/>
                    </a:cubicBezTo>
                    <a:cubicBezTo>
                      <a:pt x="73" y="37"/>
                      <a:pt x="73" y="36"/>
                      <a:pt x="73" y="34"/>
                    </a:cubicBezTo>
                    <a:cubicBezTo>
                      <a:pt x="73" y="32"/>
                      <a:pt x="73" y="30"/>
                      <a:pt x="74" y="29"/>
                    </a:cubicBezTo>
                    <a:cubicBezTo>
                      <a:pt x="75" y="25"/>
                      <a:pt x="72" y="21"/>
                      <a:pt x="66" y="20"/>
                    </a:cubicBezTo>
                    <a:cubicBezTo>
                      <a:pt x="58" y="17"/>
                      <a:pt x="50" y="16"/>
                      <a:pt x="40" y="16"/>
                    </a:cubicBezTo>
                    <a:cubicBezTo>
                      <a:pt x="29" y="16"/>
                      <a:pt x="20" y="18"/>
                      <a:pt x="13" y="21"/>
                    </a:cubicBezTo>
                    <a:cubicBezTo>
                      <a:pt x="11" y="22"/>
                      <a:pt x="11" y="24"/>
                      <a:pt x="11" y="26"/>
                    </a:cubicBezTo>
                    <a:cubicBezTo>
                      <a:pt x="11" y="28"/>
                      <a:pt x="12" y="30"/>
                      <a:pt x="12" y="32"/>
                    </a:cubicBezTo>
                    <a:cubicBezTo>
                      <a:pt x="12" y="35"/>
                      <a:pt x="12" y="37"/>
                      <a:pt x="12" y="38"/>
                    </a:cubicBezTo>
                    <a:cubicBezTo>
                      <a:pt x="14" y="38"/>
                      <a:pt x="15" y="38"/>
                      <a:pt x="17" y="38"/>
                    </a:cubicBezTo>
                    <a:cubicBezTo>
                      <a:pt x="17" y="35"/>
                      <a:pt x="17" y="32"/>
                      <a:pt x="17" y="30"/>
                    </a:cubicBezTo>
                    <a:cubicBezTo>
                      <a:pt x="18" y="26"/>
                      <a:pt x="20" y="24"/>
                      <a:pt x="24" y="23"/>
                    </a:cubicBezTo>
                    <a:close/>
                    <a:moveTo>
                      <a:pt x="28" y="64"/>
                    </a:moveTo>
                    <a:cubicBezTo>
                      <a:pt x="39" y="62"/>
                      <a:pt x="50" y="62"/>
                      <a:pt x="61" y="64"/>
                    </a:cubicBezTo>
                    <a:cubicBezTo>
                      <a:pt x="65" y="65"/>
                      <a:pt x="67" y="67"/>
                      <a:pt x="67" y="71"/>
                    </a:cubicBezTo>
                    <a:cubicBezTo>
                      <a:pt x="69" y="79"/>
                      <a:pt x="68" y="88"/>
                      <a:pt x="66" y="96"/>
                    </a:cubicBezTo>
                    <a:cubicBezTo>
                      <a:pt x="65" y="102"/>
                      <a:pt x="61" y="105"/>
                      <a:pt x="54" y="105"/>
                    </a:cubicBezTo>
                    <a:cubicBezTo>
                      <a:pt x="55" y="115"/>
                      <a:pt x="57" y="125"/>
                      <a:pt x="61" y="136"/>
                    </a:cubicBezTo>
                    <a:cubicBezTo>
                      <a:pt x="63" y="138"/>
                      <a:pt x="63" y="140"/>
                      <a:pt x="61" y="142"/>
                    </a:cubicBezTo>
                    <a:cubicBezTo>
                      <a:pt x="60" y="142"/>
                      <a:pt x="59" y="143"/>
                      <a:pt x="59" y="143"/>
                    </a:cubicBezTo>
                    <a:cubicBezTo>
                      <a:pt x="58" y="143"/>
                      <a:pt x="57" y="142"/>
                      <a:pt x="57" y="141"/>
                    </a:cubicBezTo>
                    <a:cubicBezTo>
                      <a:pt x="52" y="131"/>
                      <a:pt x="48" y="120"/>
                      <a:pt x="46" y="105"/>
                    </a:cubicBezTo>
                    <a:cubicBezTo>
                      <a:pt x="41" y="105"/>
                      <a:pt x="41" y="105"/>
                      <a:pt x="41" y="105"/>
                    </a:cubicBezTo>
                    <a:cubicBezTo>
                      <a:pt x="40" y="120"/>
                      <a:pt x="37" y="131"/>
                      <a:pt x="30" y="140"/>
                    </a:cubicBezTo>
                    <a:cubicBezTo>
                      <a:pt x="29" y="141"/>
                      <a:pt x="27" y="142"/>
                      <a:pt x="26" y="142"/>
                    </a:cubicBezTo>
                    <a:cubicBezTo>
                      <a:pt x="25" y="141"/>
                      <a:pt x="25" y="139"/>
                      <a:pt x="26" y="137"/>
                    </a:cubicBezTo>
                    <a:cubicBezTo>
                      <a:pt x="26" y="137"/>
                      <a:pt x="26" y="135"/>
                      <a:pt x="28" y="132"/>
                    </a:cubicBezTo>
                    <a:cubicBezTo>
                      <a:pt x="30" y="127"/>
                      <a:pt x="32" y="123"/>
                      <a:pt x="32" y="121"/>
                    </a:cubicBezTo>
                    <a:cubicBezTo>
                      <a:pt x="33" y="118"/>
                      <a:pt x="34" y="113"/>
                      <a:pt x="35" y="107"/>
                    </a:cubicBezTo>
                    <a:cubicBezTo>
                      <a:pt x="35" y="106"/>
                      <a:pt x="35" y="106"/>
                      <a:pt x="35" y="105"/>
                    </a:cubicBezTo>
                    <a:cubicBezTo>
                      <a:pt x="29" y="105"/>
                      <a:pt x="25" y="103"/>
                      <a:pt x="22" y="98"/>
                    </a:cubicBezTo>
                    <a:cubicBezTo>
                      <a:pt x="19" y="93"/>
                      <a:pt x="17" y="85"/>
                      <a:pt x="18" y="75"/>
                    </a:cubicBezTo>
                    <a:cubicBezTo>
                      <a:pt x="19" y="68"/>
                      <a:pt x="22" y="65"/>
                      <a:pt x="28" y="64"/>
                    </a:cubicBezTo>
                    <a:close/>
                    <a:moveTo>
                      <a:pt x="24" y="35"/>
                    </a:moveTo>
                    <a:cubicBezTo>
                      <a:pt x="24" y="36"/>
                      <a:pt x="24" y="36"/>
                      <a:pt x="24" y="37"/>
                    </a:cubicBezTo>
                    <a:cubicBezTo>
                      <a:pt x="29" y="37"/>
                      <a:pt x="34" y="37"/>
                      <a:pt x="39" y="37"/>
                    </a:cubicBezTo>
                    <a:cubicBezTo>
                      <a:pt x="39" y="34"/>
                      <a:pt x="38" y="31"/>
                      <a:pt x="38" y="29"/>
                    </a:cubicBezTo>
                    <a:cubicBezTo>
                      <a:pt x="37" y="29"/>
                      <a:pt x="36" y="29"/>
                      <a:pt x="34" y="29"/>
                    </a:cubicBezTo>
                    <a:cubicBezTo>
                      <a:pt x="31" y="29"/>
                      <a:pt x="30" y="29"/>
                      <a:pt x="28" y="29"/>
                    </a:cubicBezTo>
                    <a:cubicBezTo>
                      <a:pt x="25" y="31"/>
                      <a:pt x="24" y="32"/>
                      <a:pt x="24" y="35"/>
                    </a:cubicBezTo>
                    <a:close/>
                    <a:moveTo>
                      <a:pt x="61" y="87"/>
                    </a:moveTo>
                    <a:cubicBezTo>
                      <a:pt x="61" y="86"/>
                      <a:pt x="62" y="85"/>
                      <a:pt x="62" y="84"/>
                    </a:cubicBezTo>
                    <a:cubicBezTo>
                      <a:pt x="62" y="83"/>
                      <a:pt x="62" y="82"/>
                      <a:pt x="62" y="82"/>
                    </a:cubicBezTo>
                    <a:cubicBezTo>
                      <a:pt x="56" y="81"/>
                      <a:pt x="50" y="80"/>
                      <a:pt x="43" y="81"/>
                    </a:cubicBezTo>
                    <a:cubicBezTo>
                      <a:pt x="37" y="81"/>
                      <a:pt x="31" y="82"/>
                      <a:pt x="24" y="83"/>
                    </a:cubicBezTo>
                    <a:cubicBezTo>
                      <a:pt x="25" y="87"/>
                      <a:pt x="25" y="87"/>
                      <a:pt x="25" y="87"/>
                    </a:cubicBezTo>
                    <a:cubicBezTo>
                      <a:pt x="35" y="86"/>
                      <a:pt x="48" y="86"/>
                      <a:pt x="61" y="87"/>
                    </a:cubicBezTo>
                    <a:close/>
                    <a:moveTo>
                      <a:pt x="26" y="48"/>
                    </a:moveTo>
                    <a:cubicBezTo>
                      <a:pt x="28" y="51"/>
                      <a:pt x="30" y="52"/>
                      <a:pt x="35" y="52"/>
                    </a:cubicBezTo>
                    <a:cubicBezTo>
                      <a:pt x="38" y="52"/>
                      <a:pt x="38" y="52"/>
                      <a:pt x="38" y="52"/>
                    </a:cubicBezTo>
                    <a:cubicBezTo>
                      <a:pt x="38" y="49"/>
                      <a:pt x="39" y="46"/>
                      <a:pt x="39" y="44"/>
                    </a:cubicBezTo>
                    <a:cubicBezTo>
                      <a:pt x="34" y="44"/>
                      <a:pt x="30" y="44"/>
                      <a:pt x="25" y="44"/>
                    </a:cubicBezTo>
                    <a:cubicBezTo>
                      <a:pt x="25" y="46"/>
                      <a:pt x="25" y="47"/>
                      <a:pt x="26" y="48"/>
                    </a:cubicBezTo>
                    <a:close/>
                    <a:moveTo>
                      <a:pt x="32" y="69"/>
                    </a:moveTo>
                    <a:cubicBezTo>
                      <a:pt x="28" y="70"/>
                      <a:pt x="25" y="72"/>
                      <a:pt x="25" y="76"/>
                    </a:cubicBezTo>
                    <a:cubicBezTo>
                      <a:pt x="30" y="75"/>
                      <a:pt x="35" y="75"/>
                      <a:pt x="41" y="75"/>
                    </a:cubicBezTo>
                    <a:cubicBezTo>
                      <a:pt x="46" y="74"/>
                      <a:pt x="53" y="74"/>
                      <a:pt x="61" y="75"/>
                    </a:cubicBezTo>
                    <a:cubicBezTo>
                      <a:pt x="61" y="72"/>
                      <a:pt x="59" y="71"/>
                      <a:pt x="57" y="70"/>
                    </a:cubicBezTo>
                    <a:cubicBezTo>
                      <a:pt x="49" y="68"/>
                      <a:pt x="40" y="68"/>
                      <a:pt x="32" y="69"/>
                    </a:cubicBezTo>
                    <a:close/>
                    <a:moveTo>
                      <a:pt x="56" y="98"/>
                    </a:moveTo>
                    <a:cubicBezTo>
                      <a:pt x="59" y="97"/>
                      <a:pt x="60" y="96"/>
                      <a:pt x="61" y="93"/>
                    </a:cubicBezTo>
                    <a:cubicBezTo>
                      <a:pt x="60" y="93"/>
                      <a:pt x="57" y="93"/>
                      <a:pt x="54" y="93"/>
                    </a:cubicBezTo>
                    <a:cubicBezTo>
                      <a:pt x="48" y="92"/>
                      <a:pt x="44" y="92"/>
                      <a:pt x="41" y="92"/>
                    </a:cubicBezTo>
                    <a:cubicBezTo>
                      <a:pt x="40" y="92"/>
                      <a:pt x="38" y="92"/>
                      <a:pt x="36" y="93"/>
                    </a:cubicBezTo>
                    <a:cubicBezTo>
                      <a:pt x="31" y="93"/>
                      <a:pt x="28" y="94"/>
                      <a:pt x="26" y="94"/>
                    </a:cubicBezTo>
                    <a:cubicBezTo>
                      <a:pt x="27" y="96"/>
                      <a:pt x="29" y="98"/>
                      <a:pt x="32" y="98"/>
                    </a:cubicBezTo>
                    <a:cubicBezTo>
                      <a:pt x="39" y="99"/>
                      <a:pt x="47" y="99"/>
                      <a:pt x="56" y="98"/>
                    </a:cubicBezTo>
                    <a:close/>
                    <a:moveTo>
                      <a:pt x="56" y="29"/>
                    </a:moveTo>
                    <a:cubicBezTo>
                      <a:pt x="55" y="29"/>
                      <a:pt x="53" y="29"/>
                      <a:pt x="51" y="29"/>
                    </a:cubicBezTo>
                    <a:cubicBezTo>
                      <a:pt x="49" y="29"/>
                      <a:pt x="47" y="29"/>
                      <a:pt x="46" y="29"/>
                    </a:cubicBezTo>
                    <a:cubicBezTo>
                      <a:pt x="46" y="31"/>
                      <a:pt x="46" y="34"/>
                      <a:pt x="46" y="37"/>
                    </a:cubicBezTo>
                    <a:cubicBezTo>
                      <a:pt x="50" y="37"/>
                      <a:pt x="55" y="37"/>
                      <a:pt x="60" y="37"/>
                    </a:cubicBezTo>
                    <a:cubicBezTo>
                      <a:pt x="60" y="35"/>
                      <a:pt x="60" y="35"/>
                      <a:pt x="60" y="35"/>
                    </a:cubicBezTo>
                    <a:cubicBezTo>
                      <a:pt x="60" y="32"/>
                      <a:pt x="58" y="30"/>
                      <a:pt x="56" y="29"/>
                    </a:cubicBezTo>
                    <a:close/>
                    <a:moveTo>
                      <a:pt x="59" y="48"/>
                    </a:moveTo>
                    <a:cubicBezTo>
                      <a:pt x="59" y="47"/>
                      <a:pt x="59" y="45"/>
                      <a:pt x="60" y="43"/>
                    </a:cubicBezTo>
                    <a:cubicBezTo>
                      <a:pt x="55" y="43"/>
                      <a:pt x="51" y="43"/>
                      <a:pt x="46" y="43"/>
                    </a:cubicBezTo>
                    <a:cubicBezTo>
                      <a:pt x="46" y="52"/>
                      <a:pt x="46" y="52"/>
                      <a:pt x="46" y="52"/>
                    </a:cubicBezTo>
                    <a:cubicBezTo>
                      <a:pt x="48" y="52"/>
                      <a:pt x="51" y="52"/>
                      <a:pt x="54" y="52"/>
                    </a:cubicBezTo>
                    <a:cubicBezTo>
                      <a:pt x="57" y="51"/>
                      <a:pt x="59" y="49"/>
                      <a:pt x="59" y="4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26" name="îSḻide"/>
              <p:cNvSpPr/>
              <p:nvPr/>
            </p:nvSpPr>
            <p:spPr bwMode="auto">
              <a:xfrm>
                <a:off x="2449409" y="5256803"/>
                <a:ext cx="139700" cy="265113"/>
              </a:xfrm>
              <a:custGeom>
                <a:avLst/>
                <a:gdLst>
                  <a:gd name="T0" fmla="*/ 56 w 76"/>
                  <a:gd name="T1" fmla="*/ 3 h 144"/>
                  <a:gd name="T2" fmla="*/ 61 w 76"/>
                  <a:gd name="T3" fmla="*/ 45 h 144"/>
                  <a:gd name="T4" fmla="*/ 50 w 76"/>
                  <a:gd name="T5" fmla="*/ 74 h 144"/>
                  <a:gd name="T6" fmla="*/ 68 w 76"/>
                  <a:gd name="T7" fmla="*/ 65 h 144"/>
                  <a:gd name="T8" fmla="*/ 70 w 76"/>
                  <a:gd name="T9" fmla="*/ 31 h 144"/>
                  <a:gd name="T10" fmla="*/ 74 w 76"/>
                  <a:gd name="T11" fmla="*/ 31 h 144"/>
                  <a:gd name="T12" fmla="*/ 74 w 76"/>
                  <a:gd name="T13" fmla="*/ 64 h 144"/>
                  <a:gd name="T14" fmla="*/ 50 w 76"/>
                  <a:gd name="T15" fmla="*/ 81 h 144"/>
                  <a:gd name="T16" fmla="*/ 69 w 76"/>
                  <a:gd name="T17" fmla="*/ 103 h 144"/>
                  <a:gd name="T18" fmla="*/ 74 w 76"/>
                  <a:gd name="T19" fmla="*/ 140 h 144"/>
                  <a:gd name="T20" fmla="*/ 63 w 76"/>
                  <a:gd name="T21" fmla="*/ 105 h 144"/>
                  <a:gd name="T22" fmla="*/ 52 w 76"/>
                  <a:gd name="T23" fmla="*/ 138 h 144"/>
                  <a:gd name="T24" fmla="*/ 46 w 76"/>
                  <a:gd name="T25" fmla="*/ 139 h 144"/>
                  <a:gd name="T26" fmla="*/ 42 w 76"/>
                  <a:gd name="T27" fmla="*/ 57 h 144"/>
                  <a:gd name="T28" fmla="*/ 35 w 76"/>
                  <a:gd name="T29" fmla="*/ 132 h 144"/>
                  <a:gd name="T30" fmla="*/ 27 w 76"/>
                  <a:gd name="T31" fmla="*/ 136 h 144"/>
                  <a:gd name="T32" fmla="*/ 29 w 76"/>
                  <a:gd name="T33" fmla="*/ 95 h 144"/>
                  <a:gd name="T34" fmla="*/ 5 w 76"/>
                  <a:gd name="T35" fmla="*/ 135 h 144"/>
                  <a:gd name="T36" fmla="*/ 0 w 76"/>
                  <a:gd name="T37" fmla="*/ 135 h 144"/>
                  <a:gd name="T38" fmla="*/ 30 w 76"/>
                  <a:gd name="T39" fmla="*/ 86 h 144"/>
                  <a:gd name="T40" fmla="*/ 26 w 76"/>
                  <a:gd name="T41" fmla="*/ 80 h 144"/>
                  <a:gd name="T42" fmla="*/ 5 w 76"/>
                  <a:gd name="T43" fmla="*/ 66 h 144"/>
                  <a:gd name="T44" fmla="*/ 3 w 76"/>
                  <a:gd name="T45" fmla="*/ 29 h 144"/>
                  <a:gd name="T46" fmla="*/ 9 w 76"/>
                  <a:gd name="T47" fmla="*/ 59 h 144"/>
                  <a:gd name="T48" fmla="*/ 31 w 76"/>
                  <a:gd name="T49" fmla="*/ 74 h 144"/>
                  <a:gd name="T50" fmla="*/ 32 w 76"/>
                  <a:gd name="T51" fmla="*/ 57 h 144"/>
                  <a:gd name="T52" fmla="*/ 16 w 76"/>
                  <a:gd name="T53" fmla="*/ 14 h 144"/>
                  <a:gd name="T54" fmla="*/ 22 w 76"/>
                  <a:gd name="T55" fmla="*/ 19 h 144"/>
                  <a:gd name="T56" fmla="*/ 57 w 76"/>
                  <a:gd name="T57" fmla="*/ 19 h 144"/>
                  <a:gd name="T58" fmla="*/ 50 w 76"/>
                  <a:gd name="T59" fmla="*/ 9 h 144"/>
                  <a:gd name="T60" fmla="*/ 22 w 76"/>
                  <a:gd name="T61" fmla="*/ 19 h 144"/>
                  <a:gd name="T62" fmla="*/ 23 w 76"/>
                  <a:gd name="T63" fmla="*/ 31 h 144"/>
                  <a:gd name="T64" fmla="*/ 57 w 76"/>
                  <a:gd name="T65" fmla="*/ 34 h 144"/>
                  <a:gd name="T66" fmla="*/ 22 w 76"/>
                  <a:gd name="T67" fmla="*/ 27 h 144"/>
                  <a:gd name="T68" fmla="*/ 48 w 76"/>
                  <a:gd name="T69" fmla="*/ 50 h 144"/>
                  <a:gd name="T70" fmla="*/ 57 w 76"/>
                  <a:gd name="T71" fmla="*/ 41 h 144"/>
                  <a:gd name="T72" fmla="*/ 25 w 76"/>
                  <a:gd name="T73" fmla="*/ 44 h 1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76" h="144">
                    <a:moveTo>
                      <a:pt x="27" y="2"/>
                    </a:moveTo>
                    <a:cubicBezTo>
                      <a:pt x="37" y="0"/>
                      <a:pt x="47" y="0"/>
                      <a:pt x="56" y="3"/>
                    </a:cubicBezTo>
                    <a:cubicBezTo>
                      <a:pt x="60" y="3"/>
                      <a:pt x="62" y="7"/>
                      <a:pt x="63" y="15"/>
                    </a:cubicBezTo>
                    <a:cubicBezTo>
                      <a:pt x="65" y="25"/>
                      <a:pt x="64" y="35"/>
                      <a:pt x="61" y="45"/>
                    </a:cubicBezTo>
                    <a:cubicBezTo>
                      <a:pt x="60" y="53"/>
                      <a:pt x="55" y="56"/>
                      <a:pt x="49" y="57"/>
                    </a:cubicBezTo>
                    <a:cubicBezTo>
                      <a:pt x="49" y="62"/>
                      <a:pt x="50" y="68"/>
                      <a:pt x="50" y="74"/>
                    </a:cubicBezTo>
                    <a:cubicBezTo>
                      <a:pt x="53" y="74"/>
                      <a:pt x="56" y="74"/>
                      <a:pt x="58" y="74"/>
                    </a:cubicBezTo>
                    <a:cubicBezTo>
                      <a:pt x="62" y="75"/>
                      <a:pt x="66" y="72"/>
                      <a:pt x="68" y="65"/>
                    </a:cubicBezTo>
                    <a:cubicBezTo>
                      <a:pt x="69" y="62"/>
                      <a:pt x="70" y="53"/>
                      <a:pt x="70" y="39"/>
                    </a:cubicBezTo>
                    <a:cubicBezTo>
                      <a:pt x="70" y="35"/>
                      <a:pt x="70" y="32"/>
                      <a:pt x="70" y="31"/>
                    </a:cubicBezTo>
                    <a:cubicBezTo>
                      <a:pt x="71" y="31"/>
                      <a:pt x="71" y="30"/>
                      <a:pt x="72" y="30"/>
                    </a:cubicBezTo>
                    <a:cubicBezTo>
                      <a:pt x="73" y="30"/>
                      <a:pt x="74" y="30"/>
                      <a:pt x="74" y="31"/>
                    </a:cubicBezTo>
                    <a:cubicBezTo>
                      <a:pt x="75" y="33"/>
                      <a:pt x="76" y="36"/>
                      <a:pt x="76" y="41"/>
                    </a:cubicBezTo>
                    <a:cubicBezTo>
                      <a:pt x="76" y="49"/>
                      <a:pt x="75" y="56"/>
                      <a:pt x="74" y="64"/>
                    </a:cubicBezTo>
                    <a:cubicBezTo>
                      <a:pt x="72" y="75"/>
                      <a:pt x="67" y="81"/>
                      <a:pt x="58" y="81"/>
                    </a:cubicBezTo>
                    <a:cubicBezTo>
                      <a:pt x="50" y="81"/>
                      <a:pt x="50" y="81"/>
                      <a:pt x="50" y="81"/>
                    </a:cubicBezTo>
                    <a:cubicBezTo>
                      <a:pt x="50" y="87"/>
                      <a:pt x="50" y="87"/>
                      <a:pt x="50" y="87"/>
                    </a:cubicBezTo>
                    <a:cubicBezTo>
                      <a:pt x="60" y="87"/>
                      <a:pt x="66" y="92"/>
                      <a:pt x="69" y="103"/>
                    </a:cubicBezTo>
                    <a:cubicBezTo>
                      <a:pt x="72" y="112"/>
                      <a:pt x="74" y="122"/>
                      <a:pt x="76" y="134"/>
                    </a:cubicBezTo>
                    <a:cubicBezTo>
                      <a:pt x="76" y="138"/>
                      <a:pt x="75" y="140"/>
                      <a:pt x="74" y="140"/>
                    </a:cubicBezTo>
                    <a:cubicBezTo>
                      <a:pt x="72" y="141"/>
                      <a:pt x="71" y="139"/>
                      <a:pt x="70" y="136"/>
                    </a:cubicBezTo>
                    <a:cubicBezTo>
                      <a:pt x="68" y="126"/>
                      <a:pt x="66" y="116"/>
                      <a:pt x="63" y="105"/>
                    </a:cubicBezTo>
                    <a:cubicBezTo>
                      <a:pt x="61" y="98"/>
                      <a:pt x="57" y="95"/>
                      <a:pt x="50" y="95"/>
                    </a:cubicBezTo>
                    <a:cubicBezTo>
                      <a:pt x="50" y="109"/>
                      <a:pt x="51" y="123"/>
                      <a:pt x="52" y="138"/>
                    </a:cubicBezTo>
                    <a:cubicBezTo>
                      <a:pt x="52" y="141"/>
                      <a:pt x="51" y="143"/>
                      <a:pt x="49" y="144"/>
                    </a:cubicBezTo>
                    <a:cubicBezTo>
                      <a:pt x="47" y="144"/>
                      <a:pt x="46" y="142"/>
                      <a:pt x="46" y="139"/>
                    </a:cubicBezTo>
                    <a:cubicBezTo>
                      <a:pt x="44" y="134"/>
                      <a:pt x="43" y="118"/>
                      <a:pt x="43" y="92"/>
                    </a:cubicBezTo>
                    <a:cubicBezTo>
                      <a:pt x="43" y="76"/>
                      <a:pt x="43" y="64"/>
                      <a:pt x="42" y="57"/>
                    </a:cubicBezTo>
                    <a:cubicBezTo>
                      <a:pt x="38" y="57"/>
                      <a:pt x="38" y="57"/>
                      <a:pt x="38" y="57"/>
                    </a:cubicBezTo>
                    <a:cubicBezTo>
                      <a:pt x="36" y="88"/>
                      <a:pt x="35" y="113"/>
                      <a:pt x="35" y="132"/>
                    </a:cubicBezTo>
                    <a:cubicBezTo>
                      <a:pt x="35" y="138"/>
                      <a:pt x="33" y="142"/>
                      <a:pt x="31" y="142"/>
                    </a:cubicBezTo>
                    <a:cubicBezTo>
                      <a:pt x="29" y="142"/>
                      <a:pt x="27" y="140"/>
                      <a:pt x="27" y="136"/>
                    </a:cubicBezTo>
                    <a:cubicBezTo>
                      <a:pt x="27" y="136"/>
                      <a:pt x="27" y="134"/>
                      <a:pt x="27" y="132"/>
                    </a:cubicBezTo>
                    <a:cubicBezTo>
                      <a:pt x="28" y="118"/>
                      <a:pt x="29" y="105"/>
                      <a:pt x="29" y="95"/>
                    </a:cubicBezTo>
                    <a:cubicBezTo>
                      <a:pt x="19" y="95"/>
                      <a:pt x="14" y="98"/>
                      <a:pt x="13" y="105"/>
                    </a:cubicBezTo>
                    <a:cubicBezTo>
                      <a:pt x="10" y="114"/>
                      <a:pt x="7" y="124"/>
                      <a:pt x="5" y="135"/>
                    </a:cubicBezTo>
                    <a:cubicBezTo>
                      <a:pt x="4" y="137"/>
                      <a:pt x="3" y="139"/>
                      <a:pt x="2" y="139"/>
                    </a:cubicBezTo>
                    <a:cubicBezTo>
                      <a:pt x="1" y="140"/>
                      <a:pt x="0" y="138"/>
                      <a:pt x="0" y="135"/>
                    </a:cubicBezTo>
                    <a:cubicBezTo>
                      <a:pt x="0" y="125"/>
                      <a:pt x="2" y="115"/>
                      <a:pt x="7" y="104"/>
                    </a:cubicBezTo>
                    <a:cubicBezTo>
                      <a:pt x="11" y="92"/>
                      <a:pt x="18" y="86"/>
                      <a:pt x="30" y="86"/>
                    </a:cubicBezTo>
                    <a:cubicBezTo>
                      <a:pt x="30" y="85"/>
                      <a:pt x="30" y="83"/>
                      <a:pt x="31" y="80"/>
                    </a:cubicBezTo>
                    <a:cubicBezTo>
                      <a:pt x="29" y="81"/>
                      <a:pt x="28" y="81"/>
                      <a:pt x="26" y="80"/>
                    </a:cubicBezTo>
                    <a:cubicBezTo>
                      <a:pt x="24" y="80"/>
                      <a:pt x="23" y="80"/>
                      <a:pt x="22" y="80"/>
                    </a:cubicBezTo>
                    <a:cubicBezTo>
                      <a:pt x="14" y="81"/>
                      <a:pt x="8" y="76"/>
                      <a:pt x="5" y="66"/>
                    </a:cubicBezTo>
                    <a:cubicBezTo>
                      <a:pt x="2" y="59"/>
                      <a:pt x="0" y="49"/>
                      <a:pt x="0" y="37"/>
                    </a:cubicBezTo>
                    <a:cubicBezTo>
                      <a:pt x="0" y="32"/>
                      <a:pt x="1" y="29"/>
                      <a:pt x="3" y="29"/>
                    </a:cubicBezTo>
                    <a:cubicBezTo>
                      <a:pt x="6" y="31"/>
                      <a:pt x="8" y="35"/>
                      <a:pt x="8" y="39"/>
                    </a:cubicBezTo>
                    <a:cubicBezTo>
                      <a:pt x="7" y="45"/>
                      <a:pt x="7" y="52"/>
                      <a:pt x="9" y="59"/>
                    </a:cubicBezTo>
                    <a:cubicBezTo>
                      <a:pt x="10" y="68"/>
                      <a:pt x="16" y="73"/>
                      <a:pt x="24" y="74"/>
                    </a:cubicBezTo>
                    <a:cubicBezTo>
                      <a:pt x="26" y="74"/>
                      <a:pt x="29" y="74"/>
                      <a:pt x="31" y="74"/>
                    </a:cubicBezTo>
                    <a:cubicBezTo>
                      <a:pt x="31" y="72"/>
                      <a:pt x="31" y="69"/>
                      <a:pt x="31" y="65"/>
                    </a:cubicBezTo>
                    <a:cubicBezTo>
                      <a:pt x="31" y="61"/>
                      <a:pt x="32" y="58"/>
                      <a:pt x="32" y="57"/>
                    </a:cubicBezTo>
                    <a:cubicBezTo>
                      <a:pt x="25" y="56"/>
                      <a:pt x="20" y="53"/>
                      <a:pt x="19" y="48"/>
                    </a:cubicBezTo>
                    <a:cubicBezTo>
                      <a:pt x="15" y="36"/>
                      <a:pt x="14" y="25"/>
                      <a:pt x="16" y="14"/>
                    </a:cubicBezTo>
                    <a:cubicBezTo>
                      <a:pt x="17" y="6"/>
                      <a:pt x="21" y="2"/>
                      <a:pt x="27" y="2"/>
                    </a:cubicBezTo>
                    <a:close/>
                    <a:moveTo>
                      <a:pt x="22" y="19"/>
                    </a:moveTo>
                    <a:cubicBezTo>
                      <a:pt x="22" y="20"/>
                      <a:pt x="22" y="20"/>
                      <a:pt x="22" y="20"/>
                    </a:cubicBezTo>
                    <a:cubicBezTo>
                      <a:pt x="30" y="20"/>
                      <a:pt x="42" y="19"/>
                      <a:pt x="57" y="19"/>
                    </a:cubicBezTo>
                    <a:cubicBezTo>
                      <a:pt x="57" y="18"/>
                      <a:pt x="57" y="17"/>
                      <a:pt x="57" y="16"/>
                    </a:cubicBezTo>
                    <a:cubicBezTo>
                      <a:pt x="56" y="13"/>
                      <a:pt x="54" y="10"/>
                      <a:pt x="50" y="9"/>
                    </a:cubicBezTo>
                    <a:cubicBezTo>
                      <a:pt x="44" y="8"/>
                      <a:pt x="37" y="7"/>
                      <a:pt x="31" y="9"/>
                    </a:cubicBezTo>
                    <a:cubicBezTo>
                      <a:pt x="25" y="11"/>
                      <a:pt x="22" y="14"/>
                      <a:pt x="22" y="19"/>
                    </a:cubicBezTo>
                    <a:close/>
                    <a:moveTo>
                      <a:pt x="22" y="27"/>
                    </a:moveTo>
                    <a:cubicBezTo>
                      <a:pt x="22" y="28"/>
                      <a:pt x="22" y="29"/>
                      <a:pt x="23" y="31"/>
                    </a:cubicBezTo>
                    <a:cubicBezTo>
                      <a:pt x="23" y="32"/>
                      <a:pt x="23" y="33"/>
                      <a:pt x="23" y="34"/>
                    </a:cubicBezTo>
                    <a:cubicBezTo>
                      <a:pt x="57" y="34"/>
                      <a:pt x="57" y="34"/>
                      <a:pt x="57" y="34"/>
                    </a:cubicBezTo>
                    <a:cubicBezTo>
                      <a:pt x="57" y="27"/>
                      <a:pt x="57" y="27"/>
                      <a:pt x="57" y="27"/>
                    </a:cubicBezTo>
                    <a:cubicBezTo>
                      <a:pt x="45" y="26"/>
                      <a:pt x="33" y="26"/>
                      <a:pt x="22" y="27"/>
                    </a:cubicBezTo>
                    <a:close/>
                    <a:moveTo>
                      <a:pt x="35" y="50"/>
                    </a:moveTo>
                    <a:cubicBezTo>
                      <a:pt x="48" y="50"/>
                      <a:pt x="48" y="50"/>
                      <a:pt x="48" y="50"/>
                    </a:cubicBezTo>
                    <a:cubicBezTo>
                      <a:pt x="53" y="50"/>
                      <a:pt x="55" y="47"/>
                      <a:pt x="57" y="42"/>
                    </a:cubicBezTo>
                    <a:cubicBezTo>
                      <a:pt x="57" y="41"/>
                      <a:pt x="57" y="41"/>
                      <a:pt x="57" y="41"/>
                    </a:cubicBezTo>
                    <a:cubicBezTo>
                      <a:pt x="43" y="41"/>
                      <a:pt x="32" y="41"/>
                      <a:pt x="24" y="42"/>
                    </a:cubicBezTo>
                    <a:cubicBezTo>
                      <a:pt x="24" y="43"/>
                      <a:pt x="24" y="43"/>
                      <a:pt x="25" y="44"/>
                    </a:cubicBezTo>
                    <a:cubicBezTo>
                      <a:pt x="27" y="48"/>
                      <a:pt x="30" y="50"/>
                      <a:pt x="35" y="5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27" name="iṣlîḋè"/>
              <p:cNvSpPr/>
              <p:nvPr/>
            </p:nvSpPr>
            <p:spPr bwMode="auto">
              <a:xfrm>
                <a:off x="2604984" y="5259978"/>
                <a:ext cx="177800" cy="255588"/>
              </a:xfrm>
              <a:custGeom>
                <a:avLst/>
                <a:gdLst>
                  <a:gd name="T0" fmla="*/ 5 w 96"/>
                  <a:gd name="T1" fmla="*/ 37 h 138"/>
                  <a:gd name="T2" fmla="*/ 24 w 96"/>
                  <a:gd name="T3" fmla="*/ 49 h 138"/>
                  <a:gd name="T4" fmla="*/ 7 w 96"/>
                  <a:gd name="T5" fmla="*/ 26 h 138"/>
                  <a:gd name="T6" fmla="*/ 0 w 96"/>
                  <a:gd name="T7" fmla="*/ 22 h 138"/>
                  <a:gd name="T8" fmla="*/ 44 w 96"/>
                  <a:gd name="T9" fmla="*/ 19 h 138"/>
                  <a:gd name="T10" fmla="*/ 40 w 96"/>
                  <a:gd name="T11" fmla="*/ 26 h 138"/>
                  <a:gd name="T12" fmla="*/ 29 w 96"/>
                  <a:gd name="T13" fmla="*/ 49 h 138"/>
                  <a:gd name="T14" fmla="*/ 42 w 96"/>
                  <a:gd name="T15" fmla="*/ 39 h 138"/>
                  <a:gd name="T16" fmla="*/ 36 w 96"/>
                  <a:gd name="T17" fmla="*/ 64 h 138"/>
                  <a:gd name="T18" fmla="*/ 44 w 96"/>
                  <a:gd name="T19" fmla="*/ 70 h 138"/>
                  <a:gd name="T20" fmla="*/ 30 w 96"/>
                  <a:gd name="T21" fmla="*/ 78 h 138"/>
                  <a:gd name="T22" fmla="*/ 48 w 96"/>
                  <a:gd name="T23" fmla="*/ 111 h 138"/>
                  <a:gd name="T24" fmla="*/ 42 w 96"/>
                  <a:gd name="T25" fmla="*/ 124 h 138"/>
                  <a:gd name="T26" fmla="*/ 33 w 96"/>
                  <a:gd name="T27" fmla="*/ 93 h 138"/>
                  <a:gd name="T28" fmla="*/ 30 w 96"/>
                  <a:gd name="T29" fmla="*/ 116 h 138"/>
                  <a:gd name="T30" fmla="*/ 24 w 96"/>
                  <a:gd name="T31" fmla="*/ 133 h 138"/>
                  <a:gd name="T32" fmla="*/ 20 w 96"/>
                  <a:gd name="T33" fmla="*/ 93 h 138"/>
                  <a:gd name="T34" fmla="*/ 11 w 96"/>
                  <a:gd name="T35" fmla="*/ 122 h 138"/>
                  <a:gd name="T36" fmla="*/ 8 w 96"/>
                  <a:gd name="T37" fmla="*/ 102 h 138"/>
                  <a:gd name="T38" fmla="*/ 24 w 96"/>
                  <a:gd name="T39" fmla="*/ 81 h 138"/>
                  <a:gd name="T40" fmla="*/ 3 w 96"/>
                  <a:gd name="T41" fmla="*/ 77 h 138"/>
                  <a:gd name="T42" fmla="*/ 14 w 96"/>
                  <a:gd name="T43" fmla="*/ 70 h 138"/>
                  <a:gd name="T44" fmla="*/ 20 w 96"/>
                  <a:gd name="T45" fmla="*/ 65 h 138"/>
                  <a:gd name="T46" fmla="*/ 2 w 96"/>
                  <a:gd name="T47" fmla="*/ 37 h 138"/>
                  <a:gd name="T48" fmla="*/ 40 w 96"/>
                  <a:gd name="T49" fmla="*/ 3 h 138"/>
                  <a:gd name="T50" fmla="*/ 14 w 96"/>
                  <a:gd name="T51" fmla="*/ 11 h 138"/>
                  <a:gd name="T52" fmla="*/ 5 w 96"/>
                  <a:gd name="T53" fmla="*/ 6 h 138"/>
                  <a:gd name="T54" fmla="*/ 33 w 96"/>
                  <a:gd name="T55" fmla="*/ 26 h 138"/>
                  <a:gd name="T56" fmla="*/ 27 w 96"/>
                  <a:gd name="T57" fmla="*/ 45 h 138"/>
                  <a:gd name="T58" fmla="*/ 54 w 96"/>
                  <a:gd name="T59" fmla="*/ 2 h 138"/>
                  <a:gd name="T60" fmla="*/ 58 w 96"/>
                  <a:gd name="T61" fmla="*/ 10 h 138"/>
                  <a:gd name="T62" fmla="*/ 88 w 96"/>
                  <a:gd name="T63" fmla="*/ 22 h 138"/>
                  <a:gd name="T64" fmla="*/ 74 w 96"/>
                  <a:gd name="T65" fmla="*/ 37 h 138"/>
                  <a:gd name="T66" fmla="*/ 62 w 96"/>
                  <a:gd name="T67" fmla="*/ 66 h 138"/>
                  <a:gd name="T68" fmla="*/ 53 w 96"/>
                  <a:gd name="T69" fmla="*/ 136 h 138"/>
                  <a:gd name="T70" fmla="*/ 48 w 96"/>
                  <a:gd name="T71" fmla="*/ 130 h 138"/>
                  <a:gd name="T72" fmla="*/ 55 w 96"/>
                  <a:gd name="T73" fmla="*/ 48 h 138"/>
                  <a:gd name="T74" fmla="*/ 76 w 96"/>
                  <a:gd name="T75" fmla="*/ 31 h 138"/>
                  <a:gd name="T76" fmla="*/ 65 w 96"/>
                  <a:gd name="T77" fmla="*/ 18 h 138"/>
                  <a:gd name="T78" fmla="*/ 52 w 96"/>
                  <a:gd name="T79" fmla="*/ 13 h 138"/>
                  <a:gd name="T80" fmla="*/ 94 w 96"/>
                  <a:gd name="T81" fmla="*/ 74 h 138"/>
                  <a:gd name="T82" fmla="*/ 76 w 96"/>
                  <a:gd name="T83" fmla="*/ 54 h 138"/>
                  <a:gd name="T84" fmla="*/ 83 w 96"/>
                  <a:gd name="T85" fmla="*/ 119 h 138"/>
                  <a:gd name="T86" fmla="*/ 88 w 96"/>
                  <a:gd name="T87" fmla="*/ 133 h 138"/>
                  <a:gd name="T88" fmla="*/ 70 w 96"/>
                  <a:gd name="T89" fmla="*/ 93 h 138"/>
                  <a:gd name="T90" fmla="*/ 70 w 96"/>
                  <a:gd name="T91" fmla="*/ 42 h 138"/>
                  <a:gd name="T92" fmla="*/ 95 w 96"/>
                  <a:gd name="T93" fmla="*/ 70 h 1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96" h="138">
                    <a:moveTo>
                      <a:pt x="2" y="37"/>
                    </a:moveTo>
                    <a:cubicBezTo>
                      <a:pt x="2" y="36"/>
                      <a:pt x="2" y="35"/>
                      <a:pt x="3" y="35"/>
                    </a:cubicBezTo>
                    <a:cubicBezTo>
                      <a:pt x="4" y="35"/>
                      <a:pt x="5" y="36"/>
                      <a:pt x="5" y="37"/>
                    </a:cubicBezTo>
                    <a:cubicBezTo>
                      <a:pt x="9" y="49"/>
                      <a:pt x="14" y="56"/>
                      <a:pt x="21" y="59"/>
                    </a:cubicBezTo>
                    <a:cubicBezTo>
                      <a:pt x="21" y="59"/>
                      <a:pt x="22" y="60"/>
                      <a:pt x="24" y="60"/>
                    </a:cubicBezTo>
                    <a:cubicBezTo>
                      <a:pt x="24" y="56"/>
                      <a:pt x="24" y="53"/>
                      <a:pt x="24" y="49"/>
                    </a:cubicBezTo>
                    <a:cubicBezTo>
                      <a:pt x="21" y="48"/>
                      <a:pt x="18" y="46"/>
                      <a:pt x="16" y="42"/>
                    </a:cubicBezTo>
                    <a:cubicBezTo>
                      <a:pt x="13" y="38"/>
                      <a:pt x="12" y="33"/>
                      <a:pt x="12" y="26"/>
                    </a:cubicBezTo>
                    <a:cubicBezTo>
                      <a:pt x="9" y="26"/>
                      <a:pt x="8" y="26"/>
                      <a:pt x="7" y="26"/>
                    </a:cubicBezTo>
                    <a:cubicBezTo>
                      <a:pt x="4" y="27"/>
                      <a:pt x="2" y="27"/>
                      <a:pt x="1" y="25"/>
                    </a:cubicBezTo>
                    <a:cubicBezTo>
                      <a:pt x="0" y="24"/>
                      <a:pt x="0" y="23"/>
                      <a:pt x="0" y="22"/>
                    </a:cubicBezTo>
                    <a:cubicBezTo>
                      <a:pt x="0" y="22"/>
                      <a:pt x="0" y="22"/>
                      <a:pt x="0" y="22"/>
                    </a:cubicBezTo>
                    <a:cubicBezTo>
                      <a:pt x="1" y="19"/>
                      <a:pt x="2" y="18"/>
                      <a:pt x="4" y="19"/>
                    </a:cubicBezTo>
                    <a:cubicBezTo>
                      <a:pt x="6" y="19"/>
                      <a:pt x="8" y="19"/>
                      <a:pt x="11" y="19"/>
                    </a:cubicBezTo>
                    <a:cubicBezTo>
                      <a:pt x="44" y="19"/>
                      <a:pt x="44" y="19"/>
                      <a:pt x="44" y="19"/>
                    </a:cubicBezTo>
                    <a:cubicBezTo>
                      <a:pt x="46" y="19"/>
                      <a:pt x="48" y="20"/>
                      <a:pt x="48" y="23"/>
                    </a:cubicBezTo>
                    <a:cubicBezTo>
                      <a:pt x="47" y="25"/>
                      <a:pt x="45" y="26"/>
                      <a:pt x="42" y="26"/>
                    </a:cubicBezTo>
                    <a:cubicBezTo>
                      <a:pt x="42" y="26"/>
                      <a:pt x="41" y="26"/>
                      <a:pt x="40" y="26"/>
                    </a:cubicBezTo>
                    <a:cubicBezTo>
                      <a:pt x="40" y="26"/>
                      <a:pt x="40" y="26"/>
                      <a:pt x="40" y="26"/>
                    </a:cubicBezTo>
                    <a:cubicBezTo>
                      <a:pt x="39" y="34"/>
                      <a:pt x="38" y="39"/>
                      <a:pt x="37" y="42"/>
                    </a:cubicBezTo>
                    <a:cubicBezTo>
                      <a:pt x="34" y="46"/>
                      <a:pt x="32" y="49"/>
                      <a:pt x="29" y="49"/>
                    </a:cubicBezTo>
                    <a:cubicBezTo>
                      <a:pt x="30" y="53"/>
                      <a:pt x="30" y="56"/>
                      <a:pt x="30" y="60"/>
                    </a:cubicBezTo>
                    <a:cubicBezTo>
                      <a:pt x="31" y="60"/>
                      <a:pt x="32" y="59"/>
                      <a:pt x="33" y="58"/>
                    </a:cubicBezTo>
                    <a:cubicBezTo>
                      <a:pt x="39" y="56"/>
                      <a:pt x="42" y="49"/>
                      <a:pt x="42" y="39"/>
                    </a:cubicBezTo>
                    <a:cubicBezTo>
                      <a:pt x="43" y="37"/>
                      <a:pt x="44" y="36"/>
                      <a:pt x="46" y="36"/>
                    </a:cubicBezTo>
                    <a:cubicBezTo>
                      <a:pt x="47" y="36"/>
                      <a:pt x="48" y="37"/>
                      <a:pt x="48" y="39"/>
                    </a:cubicBezTo>
                    <a:cubicBezTo>
                      <a:pt x="49" y="49"/>
                      <a:pt x="45" y="57"/>
                      <a:pt x="36" y="64"/>
                    </a:cubicBezTo>
                    <a:cubicBezTo>
                      <a:pt x="34" y="65"/>
                      <a:pt x="32" y="66"/>
                      <a:pt x="30" y="66"/>
                    </a:cubicBezTo>
                    <a:cubicBezTo>
                      <a:pt x="30" y="70"/>
                      <a:pt x="30" y="70"/>
                      <a:pt x="30" y="70"/>
                    </a:cubicBezTo>
                    <a:cubicBezTo>
                      <a:pt x="44" y="70"/>
                      <a:pt x="44" y="70"/>
                      <a:pt x="44" y="70"/>
                    </a:cubicBezTo>
                    <a:cubicBezTo>
                      <a:pt x="47" y="70"/>
                      <a:pt x="49" y="71"/>
                      <a:pt x="49" y="73"/>
                    </a:cubicBezTo>
                    <a:cubicBezTo>
                      <a:pt x="49" y="76"/>
                      <a:pt x="47" y="77"/>
                      <a:pt x="43" y="77"/>
                    </a:cubicBezTo>
                    <a:cubicBezTo>
                      <a:pt x="37" y="77"/>
                      <a:pt x="33" y="77"/>
                      <a:pt x="30" y="78"/>
                    </a:cubicBezTo>
                    <a:cubicBezTo>
                      <a:pt x="30" y="80"/>
                      <a:pt x="30" y="82"/>
                      <a:pt x="30" y="84"/>
                    </a:cubicBezTo>
                    <a:cubicBezTo>
                      <a:pt x="34" y="84"/>
                      <a:pt x="37" y="87"/>
                      <a:pt x="40" y="91"/>
                    </a:cubicBezTo>
                    <a:cubicBezTo>
                      <a:pt x="44" y="96"/>
                      <a:pt x="46" y="103"/>
                      <a:pt x="48" y="111"/>
                    </a:cubicBezTo>
                    <a:cubicBezTo>
                      <a:pt x="49" y="116"/>
                      <a:pt x="49" y="120"/>
                      <a:pt x="48" y="124"/>
                    </a:cubicBezTo>
                    <a:cubicBezTo>
                      <a:pt x="47" y="125"/>
                      <a:pt x="46" y="125"/>
                      <a:pt x="45" y="125"/>
                    </a:cubicBezTo>
                    <a:cubicBezTo>
                      <a:pt x="44" y="125"/>
                      <a:pt x="43" y="125"/>
                      <a:pt x="42" y="124"/>
                    </a:cubicBezTo>
                    <a:cubicBezTo>
                      <a:pt x="42" y="123"/>
                      <a:pt x="42" y="121"/>
                      <a:pt x="42" y="118"/>
                    </a:cubicBezTo>
                    <a:cubicBezTo>
                      <a:pt x="41" y="116"/>
                      <a:pt x="41" y="114"/>
                      <a:pt x="41" y="113"/>
                    </a:cubicBezTo>
                    <a:cubicBezTo>
                      <a:pt x="40" y="104"/>
                      <a:pt x="37" y="97"/>
                      <a:pt x="33" y="93"/>
                    </a:cubicBezTo>
                    <a:cubicBezTo>
                      <a:pt x="33" y="92"/>
                      <a:pt x="32" y="91"/>
                      <a:pt x="30" y="91"/>
                    </a:cubicBezTo>
                    <a:cubicBezTo>
                      <a:pt x="31" y="97"/>
                      <a:pt x="31" y="101"/>
                      <a:pt x="31" y="105"/>
                    </a:cubicBezTo>
                    <a:cubicBezTo>
                      <a:pt x="31" y="107"/>
                      <a:pt x="31" y="111"/>
                      <a:pt x="30" y="116"/>
                    </a:cubicBezTo>
                    <a:cubicBezTo>
                      <a:pt x="30" y="124"/>
                      <a:pt x="30" y="129"/>
                      <a:pt x="29" y="133"/>
                    </a:cubicBezTo>
                    <a:cubicBezTo>
                      <a:pt x="29" y="136"/>
                      <a:pt x="28" y="137"/>
                      <a:pt x="27" y="137"/>
                    </a:cubicBezTo>
                    <a:cubicBezTo>
                      <a:pt x="26" y="137"/>
                      <a:pt x="25" y="136"/>
                      <a:pt x="24" y="133"/>
                    </a:cubicBezTo>
                    <a:cubicBezTo>
                      <a:pt x="24" y="120"/>
                      <a:pt x="24" y="111"/>
                      <a:pt x="24" y="105"/>
                    </a:cubicBezTo>
                    <a:cubicBezTo>
                      <a:pt x="24" y="100"/>
                      <a:pt x="24" y="95"/>
                      <a:pt x="24" y="90"/>
                    </a:cubicBezTo>
                    <a:cubicBezTo>
                      <a:pt x="22" y="91"/>
                      <a:pt x="21" y="92"/>
                      <a:pt x="20" y="93"/>
                    </a:cubicBezTo>
                    <a:cubicBezTo>
                      <a:pt x="18" y="94"/>
                      <a:pt x="16" y="98"/>
                      <a:pt x="14" y="102"/>
                    </a:cubicBezTo>
                    <a:cubicBezTo>
                      <a:pt x="13" y="104"/>
                      <a:pt x="13" y="104"/>
                      <a:pt x="13" y="104"/>
                    </a:cubicBezTo>
                    <a:cubicBezTo>
                      <a:pt x="12" y="108"/>
                      <a:pt x="11" y="114"/>
                      <a:pt x="11" y="122"/>
                    </a:cubicBezTo>
                    <a:cubicBezTo>
                      <a:pt x="10" y="124"/>
                      <a:pt x="9" y="125"/>
                      <a:pt x="7" y="125"/>
                    </a:cubicBezTo>
                    <a:cubicBezTo>
                      <a:pt x="6" y="125"/>
                      <a:pt x="5" y="124"/>
                      <a:pt x="5" y="122"/>
                    </a:cubicBezTo>
                    <a:cubicBezTo>
                      <a:pt x="6" y="115"/>
                      <a:pt x="7" y="108"/>
                      <a:pt x="8" y="102"/>
                    </a:cubicBezTo>
                    <a:cubicBezTo>
                      <a:pt x="9" y="97"/>
                      <a:pt x="11" y="92"/>
                      <a:pt x="14" y="89"/>
                    </a:cubicBezTo>
                    <a:cubicBezTo>
                      <a:pt x="17" y="86"/>
                      <a:pt x="20" y="84"/>
                      <a:pt x="24" y="84"/>
                    </a:cubicBezTo>
                    <a:cubicBezTo>
                      <a:pt x="24" y="81"/>
                      <a:pt x="24" y="81"/>
                      <a:pt x="24" y="81"/>
                    </a:cubicBezTo>
                    <a:cubicBezTo>
                      <a:pt x="24" y="80"/>
                      <a:pt x="24" y="79"/>
                      <a:pt x="24" y="78"/>
                    </a:cubicBezTo>
                    <a:cubicBezTo>
                      <a:pt x="14" y="78"/>
                      <a:pt x="9" y="78"/>
                      <a:pt x="9" y="78"/>
                    </a:cubicBezTo>
                    <a:cubicBezTo>
                      <a:pt x="6" y="79"/>
                      <a:pt x="4" y="79"/>
                      <a:pt x="3" y="77"/>
                    </a:cubicBezTo>
                    <a:cubicBezTo>
                      <a:pt x="2" y="76"/>
                      <a:pt x="2" y="74"/>
                      <a:pt x="3" y="72"/>
                    </a:cubicBezTo>
                    <a:cubicBezTo>
                      <a:pt x="3" y="70"/>
                      <a:pt x="4" y="70"/>
                      <a:pt x="7" y="70"/>
                    </a:cubicBezTo>
                    <a:cubicBezTo>
                      <a:pt x="8" y="70"/>
                      <a:pt x="10" y="70"/>
                      <a:pt x="14" y="70"/>
                    </a:cubicBezTo>
                    <a:cubicBezTo>
                      <a:pt x="24" y="70"/>
                      <a:pt x="24" y="70"/>
                      <a:pt x="24" y="70"/>
                    </a:cubicBezTo>
                    <a:cubicBezTo>
                      <a:pt x="24" y="66"/>
                      <a:pt x="24" y="66"/>
                      <a:pt x="24" y="66"/>
                    </a:cubicBezTo>
                    <a:cubicBezTo>
                      <a:pt x="22" y="66"/>
                      <a:pt x="21" y="66"/>
                      <a:pt x="20" y="65"/>
                    </a:cubicBezTo>
                    <a:cubicBezTo>
                      <a:pt x="12" y="62"/>
                      <a:pt x="6" y="56"/>
                      <a:pt x="2" y="46"/>
                    </a:cubicBezTo>
                    <a:cubicBezTo>
                      <a:pt x="2" y="46"/>
                      <a:pt x="2" y="43"/>
                      <a:pt x="2" y="40"/>
                    </a:cubicBezTo>
                    <a:cubicBezTo>
                      <a:pt x="2" y="39"/>
                      <a:pt x="2" y="38"/>
                      <a:pt x="2" y="37"/>
                    </a:cubicBezTo>
                    <a:close/>
                    <a:moveTo>
                      <a:pt x="9" y="3"/>
                    </a:moveTo>
                    <a:cubicBezTo>
                      <a:pt x="11" y="3"/>
                      <a:pt x="15" y="3"/>
                      <a:pt x="19" y="3"/>
                    </a:cubicBezTo>
                    <a:cubicBezTo>
                      <a:pt x="40" y="3"/>
                      <a:pt x="40" y="3"/>
                      <a:pt x="40" y="3"/>
                    </a:cubicBezTo>
                    <a:cubicBezTo>
                      <a:pt x="43" y="3"/>
                      <a:pt x="44" y="5"/>
                      <a:pt x="44" y="7"/>
                    </a:cubicBezTo>
                    <a:cubicBezTo>
                      <a:pt x="44" y="9"/>
                      <a:pt x="42" y="10"/>
                      <a:pt x="39" y="10"/>
                    </a:cubicBezTo>
                    <a:cubicBezTo>
                      <a:pt x="34" y="10"/>
                      <a:pt x="25" y="10"/>
                      <a:pt x="14" y="11"/>
                    </a:cubicBezTo>
                    <a:cubicBezTo>
                      <a:pt x="13" y="11"/>
                      <a:pt x="12" y="11"/>
                      <a:pt x="11" y="11"/>
                    </a:cubicBezTo>
                    <a:cubicBezTo>
                      <a:pt x="7" y="11"/>
                      <a:pt x="5" y="11"/>
                      <a:pt x="5" y="9"/>
                    </a:cubicBezTo>
                    <a:cubicBezTo>
                      <a:pt x="5" y="9"/>
                      <a:pt x="4" y="8"/>
                      <a:pt x="5" y="6"/>
                    </a:cubicBezTo>
                    <a:cubicBezTo>
                      <a:pt x="5" y="5"/>
                      <a:pt x="5" y="5"/>
                      <a:pt x="5" y="5"/>
                    </a:cubicBezTo>
                    <a:cubicBezTo>
                      <a:pt x="5" y="3"/>
                      <a:pt x="6" y="3"/>
                      <a:pt x="9" y="3"/>
                    </a:cubicBezTo>
                    <a:close/>
                    <a:moveTo>
                      <a:pt x="33" y="26"/>
                    </a:moveTo>
                    <a:cubicBezTo>
                      <a:pt x="28" y="26"/>
                      <a:pt x="23" y="26"/>
                      <a:pt x="17" y="26"/>
                    </a:cubicBezTo>
                    <a:cubicBezTo>
                      <a:pt x="18" y="32"/>
                      <a:pt x="20" y="38"/>
                      <a:pt x="24" y="42"/>
                    </a:cubicBezTo>
                    <a:cubicBezTo>
                      <a:pt x="25" y="44"/>
                      <a:pt x="26" y="45"/>
                      <a:pt x="27" y="45"/>
                    </a:cubicBezTo>
                    <a:cubicBezTo>
                      <a:pt x="28" y="45"/>
                      <a:pt x="29" y="44"/>
                      <a:pt x="29" y="42"/>
                    </a:cubicBezTo>
                    <a:cubicBezTo>
                      <a:pt x="32" y="38"/>
                      <a:pt x="33" y="33"/>
                      <a:pt x="33" y="26"/>
                    </a:cubicBezTo>
                    <a:close/>
                    <a:moveTo>
                      <a:pt x="54" y="2"/>
                    </a:moveTo>
                    <a:cubicBezTo>
                      <a:pt x="55" y="0"/>
                      <a:pt x="57" y="0"/>
                      <a:pt x="58" y="1"/>
                    </a:cubicBezTo>
                    <a:cubicBezTo>
                      <a:pt x="59" y="2"/>
                      <a:pt x="60" y="4"/>
                      <a:pt x="59" y="6"/>
                    </a:cubicBezTo>
                    <a:cubicBezTo>
                      <a:pt x="57" y="8"/>
                      <a:pt x="57" y="9"/>
                      <a:pt x="58" y="10"/>
                    </a:cubicBezTo>
                    <a:cubicBezTo>
                      <a:pt x="59" y="11"/>
                      <a:pt x="61" y="12"/>
                      <a:pt x="63" y="11"/>
                    </a:cubicBezTo>
                    <a:cubicBezTo>
                      <a:pt x="67" y="9"/>
                      <a:pt x="73" y="9"/>
                      <a:pt x="80" y="11"/>
                    </a:cubicBezTo>
                    <a:cubicBezTo>
                      <a:pt x="84" y="13"/>
                      <a:pt x="87" y="16"/>
                      <a:pt x="88" y="22"/>
                    </a:cubicBezTo>
                    <a:cubicBezTo>
                      <a:pt x="89" y="27"/>
                      <a:pt x="88" y="32"/>
                      <a:pt x="85" y="35"/>
                    </a:cubicBezTo>
                    <a:cubicBezTo>
                      <a:pt x="84" y="38"/>
                      <a:pt x="81" y="39"/>
                      <a:pt x="75" y="37"/>
                    </a:cubicBezTo>
                    <a:cubicBezTo>
                      <a:pt x="75" y="37"/>
                      <a:pt x="74" y="37"/>
                      <a:pt x="74" y="37"/>
                    </a:cubicBezTo>
                    <a:cubicBezTo>
                      <a:pt x="69" y="37"/>
                      <a:pt x="66" y="37"/>
                      <a:pt x="63" y="38"/>
                    </a:cubicBezTo>
                    <a:cubicBezTo>
                      <a:pt x="62" y="38"/>
                      <a:pt x="61" y="40"/>
                      <a:pt x="61" y="43"/>
                    </a:cubicBezTo>
                    <a:cubicBezTo>
                      <a:pt x="62" y="48"/>
                      <a:pt x="62" y="56"/>
                      <a:pt x="62" y="66"/>
                    </a:cubicBezTo>
                    <a:cubicBezTo>
                      <a:pt x="62" y="70"/>
                      <a:pt x="61" y="76"/>
                      <a:pt x="61" y="84"/>
                    </a:cubicBezTo>
                    <a:cubicBezTo>
                      <a:pt x="59" y="99"/>
                      <a:pt x="58" y="110"/>
                      <a:pt x="57" y="116"/>
                    </a:cubicBezTo>
                    <a:cubicBezTo>
                      <a:pt x="57" y="122"/>
                      <a:pt x="55" y="128"/>
                      <a:pt x="53" y="136"/>
                    </a:cubicBezTo>
                    <a:cubicBezTo>
                      <a:pt x="52" y="137"/>
                      <a:pt x="51" y="138"/>
                      <a:pt x="50" y="138"/>
                    </a:cubicBezTo>
                    <a:cubicBezTo>
                      <a:pt x="48" y="138"/>
                      <a:pt x="48" y="137"/>
                      <a:pt x="48" y="136"/>
                    </a:cubicBezTo>
                    <a:cubicBezTo>
                      <a:pt x="48" y="135"/>
                      <a:pt x="48" y="133"/>
                      <a:pt x="48" y="130"/>
                    </a:cubicBezTo>
                    <a:cubicBezTo>
                      <a:pt x="49" y="127"/>
                      <a:pt x="49" y="126"/>
                      <a:pt x="49" y="125"/>
                    </a:cubicBezTo>
                    <a:cubicBezTo>
                      <a:pt x="53" y="104"/>
                      <a:pt x="55" y="85"/>
                      <a:pt x="55" y="68"/>
                    </a:cubicBezTo>
                    <a:cubicBezTo>
                      <a:pt x="56" y="60"/>
                      <a:pt x="56" y="54"/>
                      <a:pt x="55" y="48"/>
                    </a:cubicBezTo>
                    <a:cubicBezTo>
                      <a:pt x="54" y="45"/>
                      <a:pt x="53" y="42"/>
                      <a:pt x="52" y="40"/>
                    </a:cubicBezTo>
                    <a:cubicBezTo>
                      <a:pt x="50" y="38"/>
                      <a:pt x="51" y="36"/>
                      <a:pt x="54" y="34"/>
                    </a:cubicBezTo>
                    <a:cubicBezTo>
                      <a:pt x="58" y="30"/>
                      <a:pt x="66" y="29"/>
                      <a:pt x="76" y="31"/>
                    </a:cubicBezTo>
                    <a:cubicBezTo>
                      <a:pt x="81" y="32"/>
                      <a:pt x="83" y="30"/>
                      <a:pt x="83" y="25"/>
                    </a:cubicBezTo>
                    <a:cubicBezTo>
                      <a:pt x="83" y="21"/>
                      <a:pt x="81" y="18"/>
                      <a:pt x="77" y="18"/>
                    </a:cubicBezTo>
                    <a:cubicBezTo>
                      <a:pt x="70" y="17"/>
                      <a:pt x="66" y="17"/>
                      <a:pt x="65" y="18"/>
                    </a:cubicBezTo>
                    <a:cubicBezTo>
                      <a:pt x="63" y="19"/>
                      <a:pt x="60" y="19"/>
                      <a:pt x="57" y="19"/>
                    </a:cubicBezTo>
                    <a:cubicBezTo>
                      <a:pt x="57" y="18"/>
                      <a:pt x="55" y="17"/>
                      <a:pt x="53" y="15"/>
                    </a:cubicBezTo>
                    <a:cubicBezTo>
                      <a:pt x="53" y="14"/>
                      <a:pt x="52" y="14"/>
                      <a:pt x="52" y="13"/>
                    </a:cubicBezTo>
                    <a:cubicBezTo>
                      <a:pt x="50" y="10"/>
                      <a:pt x="51" y="6"/>
                      <a:pt x="54" y="2"/>
                    </a:cubicBezTo>
                    <a:close/>
                    <a:moveTo>
                      <a:pt x="95" y="70"/>
                    </a:moveTo>
                    <a:cubicBezTo>
                      <a:pt x="96" y="72"/>
                      <a:pt x="95" y="73"/>
                      <a:pt x="94" y="74"/>
                    </a:cubicBezTo>
                    <a:cubicBezTo>
                      <a:pt x="92" y="74"/>
                      <a:pt x="91" y="74"/>
                      <a:pt x="90" y="72"/>
                    </a:cubicBezTo>
                    <a:cubicBezTo>
                      <a:pt x="88" y="67"/>
                      <a:pt x="84" y="62"/>
                      <a:pt x="78" y="56"/>
                    </a:cubicBezTo>
                    <a:cubicBezTo>
                      <a:pt x="77" y="55"/>
                      <a:pt x="76" y="54"/>
                      <a:pt x="76" y="54"/>
                    </a:cubicBezTo>
                    <a:cubicBezTo>
                      <a:pt x="75" y="56"/>
                      <a:pt x="75" y="56"/>
                      <a:pt x="75" y="56"/>
                    </a:cubicBezTo>
                    <a:cubicBezTo>
                      <a:pt x="75" y="61"/>
                      <a:pt x="75" y="73"/>
                      <a:pt x="77" y="93"/>
                    </a:cubicBezTo>
                    <a:cubicBezTo>
                      <a:pt x="78" y="99"/>
                      <a:pt x="80" y="107"/>
                      <a:pt x="83" y="119"/>
                    </a:cubicBezTo>
                    <a:cubicBezTo>
                      <a:pt x="84" y="122"/>
                      <a:pt x="85" y="124"/>
                      <a:pt x="85" y="124"/>
                    </a:cubicBezTo>
                    <a:cubicBezTo>
                      <a:pt x="86" y="126"/>
                      <a:pt x="86" y="128"/>
                      <a:pt x="87" y="131"/>
                    </a:cubicBezTo>
                    <a:cubicBezTo>
                      <a:pt x="88" y="132"/>
                      <a:pt x="88" y="133"/>
                      <a:pt x="88" y="133"/>
                    </a:cubicBezTo>
                    <a:cubicBezTo>
                      <a:pt x="88" y="135"/>
                      <a:pt x="88" y="136"/>
                      <a:pt x="86" y="136"/>
                    </a:cubicBezTo>
                    <a:cubicBezTo>
                      <a:pt x="84" y="136"/>
                      <a:pt x="83" y="135"/>
                      <a:pt x="82" y="133"/>
                    </a:cubicBezTo>
                    <a:cubicBezTo>
                      <a:pt x="77" y="123"/>
                      <a:pt x="73" y="110"/>
                      <a:pt x="70" y="93"/>
                    </a:cubicBezTo>
                    <a:cubicBezTo>
                      <a:pt x="69" y="79"/>
                      <a:pt x="68" y="68"/>
                      <a:pt x="68" y="58"/>
                    </a:cubicBezTo>
                    <a:cubicBezTo>
                      <a:pt x="68" y="51"/>
                      <a:pt x="68" y="46"/>
                      <a:pt x="68" y="44"/>
                    </a:cubicBezTo>
                    <a:cubicBezTo>
                      <a:pt x="68" y="43"/>
                      <a:pt x="69" y="42"/>
                      <a:pt x="70" y="42"/>
                    </a:cubicBezTo>
                    <a:cubicBezTo>
                      <a:pt x="71" y="41"/>
                      <a:pt x="71" y="41"/>
                      <a:pt x="72" y="42"/>
                    </a:cubicBezTo>
                    <a:cubicBezTo>
                      <a:pt x="76" y="45"/>
                      <a:pt x="78" y="48"/>
                      <a:pt x="80" y="49"/>
                    </a:cubicBezTo>
                    <a:cubicBezTo>
                      <a:pt x="86" y="54"/>
                      <a:pt x="91" y="61"/>
                      <a:pt x="95" y="7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28" name="íṣ1ïḑe"/>
              <p:cNvSpPr/>
              <p:nvPr/>
            </p:nvSpPr>
            <p:spPr bwMode="auto">
              <a:xfrm>
                <a:off x="1750909" y="4905965"/>
                <a:ext cx="93663" cy="87313"/>
              </a:xfrm>
              <a:custGeom>
                <a:avLst/>
                <a:gdLst>
                  <a:gd name="T0" fmla="*/ 51 w 51"/>
                  <a:gd name="T1" fmla="*/ 17 h 47"/>
                  <a:gd name="T2" fmla="*/ 46 w 51"/>
                  <a:gd name="T3" fmla="*/ 25 h 47"/>
                  <a:gd name="T4" fmla="*/ 26 w 51"/>
                  <a:gd name="T5" fmla="*/ 13 h 47"/>
                  <a:gd name="T6" fmla="*/ 20 w 51"/>
                  <a:gd name="T7" fmla="*/ 9 h 47"/>
                  <a:gd name="T8" fmla="*/ 14 w 51"/>
                  <a:gd name="T9" fmla="*/ 9 h 47"/>
                  <a:gd name="T10" fmla="*/ 10 w 51"/>
                  <a:gd name="T11" fmla="*/ 13 h 47"/>
                  <a:gd name="T12" fmla="*/ 8 w 51"/>
                  <a:gd name="T13" fmla="*/ 19 h 47"/>
                  <a:gd name="T14" fmla="*/ 10 w 51"/>
                  <a:gd name="T15" fmla="*/ 23 h 47"/>
                  <a:gd name="T16" fmla="*/ 17 w 51"/>
                  <a:gd name="T17" fmla="*/ 27 h 47"/>
                  <a:gd name="T18" fmla="*/ 37 w 51"/>
                  <a:gd name="T19" fmla="*/ 40 h 47"/>
                  <a:gd name="T20" fmla="*/ 33 w 51"/>
                  <a:gd name="T21" fmla="*/ 47 h 47"/>
                  <a:gd name="T22" fmla="*/ 13 w 51"/>
                  <a:gd name="T23" fmla="*/ 35 h 47"/>
                  <a:gd name="T24" fmla="*/ 4 w 51"/>
                  <a:gd name="T25" fmla="*/ 29 h 47"/>
                  <a:gd name="T26" fmla="*/ 1 w 51"/>
                  <a:gd name="T27" fmla="*/ 24 h 47"/>
                  <a:gd name="T28" fmla="*/ 0 w 51"/>
                  <a:gd name="T29" fmla="*/ 18 h 47"/>
                  <a:gd name="T30" fmla="*/ 3 w 51"/>
                  <a:gd name="T31" fmla="*/ 10 h 47"/>
                  <a:gd name="T32" fmla="*/ 10 w 51"/>
                  <a:gd name="T33" fmla="*/ 2 h 47"/>
                  <a:gd name="T34" fmla="*/ 15 w 51"/>
                  <a:gd name="T35" fmla="*/ 0 h 47"/>
                  <a:gd name="T36" fmla="*/ 21 w 51"/>
                  <a:gd name="T37" fmla="*/ 0 h 47"/>
                  <a:gd name="T38" fmla="*/ 31 w 51"/>
                  <a:gd name="T39" fmla="*/ 5 h 47"/>
                  <a:gd name="T40" fmla="*/ 51 w 51"/>
                  <a:gd name="T41" fmla="*/ 17 h 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51" h="47">
                    <a:moveTo>
                      <a:pt x="51" y="17"/>
                    </a:moveTo>
                    <a:cubicBezTo>
                      <a:pt x="46" y="25"/>
                      <a:pt x="46" y="25"/>
                      <a:pt x="46" y="25"/>
                    </a:cubicBezTo>
                    <a:cubicBezTo>
                      <a:pt x="26" y="13"/>
                      <a:pt x="26" y="13"/>
                      <a:pt x="26" y="13"/>
                    </a:cubicBezTo>
                    <a:cubicBezTo>
                      <a:pt x="23" y="11"/>
                      <a:pt x="21" y="10"/>
                      <a:pt x="20" y="9"/>
                    </a:cubicBezTo>
                    <a:cubicBezTo>
                      <a:pt x="18" y="9"/>
                      <a:pt x="16" y="9"/>
                      <a:pt x="14" y="9"/>
                    </a:cubicBezTo>
                    <a:cubicBezTo>
                      <a:pt x="13" y="10"/>
                      <a:pt x="11" y="11"/>
                      <a:pt x="10" y="13"/>
                    </a:cubicBezTo>
                    <a:cubicBezTo>
                      <a:pt x="9" y="16"/>
                      <a:pt x="8" y="17"/>
                      <a:pt x="8" y="19"/>
                    </a:cubicBezTo>
                    <a:cubicBezTo>
                      <a:pt x="9" y="21"/>
                      <a:pt x="9" y="22"/>
                      <a:pt x="10" y="23"/>
                    </a:cubicBezTo>
                    <a:cubicBezTo>
                      <a:pt x="12" y="24"/>
                      <a:pt x="14" y="25"/>
                      <a:pt x="17" y="27"/>
                    </a:cubicBezTo>
                    <a:cubicBezTo>
                      <a:pt x="37" y="40"/>
                      <a:pt x="37" y="40"/>
                      <a:pt x="37" y="40"/>
                    </a:cubicBezTo>
                    <a:cubicBezTo>
                      <a:pt x="33" y="47"/>
                      <a:pt x="33" y="47"/>
                      <a:pt x="33" y="47"/>
                    </a:cubicBezTo>
                    <a:cubicBezTo>
                      <a:pt x="13" y="35"/>
                      <a:pt x="13" y="35"/>
                      <a:pt x="13" y="35"/>
                    </a:cubicBezTo>
                    <a:cubicBezTo>
                      <a:pt x="9" y="33"/>
                      <a:pt x="6" y="31"/>
                      <a:pt x="4" y="29"/>
                    </a:cubicBezTo>
                    <a:cubicBezTo>
                      <a:pt x="2" y="28"/>
                      <a:pt x="1" y="26"/>
                      <a:pt x="1" y="24"/>
                    </a:cubicBezTo>
                    <a:cubicBezTo>
                      <a:pt x="0" y="22"/>
                      <a:pt x="0" y="20"/>
                      <a:pt x="0" y="18"/>
                    </a:cubicBezTo>
                    <a:cubicBezTo>
                      <a:pt x="0" y="15"/>
                      <a:pt x="2" y="13"/>
                      <a:pt x="3" y="10"/>
                    </a:cubicBezTo>
                    <a:cubicBezTo>
                      <a:pt x="6" y="6"/>
                      <a:pt x="8" y="4"/>
                      <a:pt x="10" y="2"/>
                    </a:cubicBezTo>
                    <a:cubicBezTo>
                      <a:pt x="11" y="1"/>
                      <a:pt x="13" y="0"/>
                      <a:pt x="15" y="0"/>
                    </a:cubicBezTo>
                    <a:cubicBezTo>
                      <a:pt x="17" y="0"/>
                      <a:pt x="19" y="0"/>
                      <a:pt x="21" y="0"/>
                    </a:cubicBezTo>
                    <a:cubicBezTo>
                      <a:pt x="23" y="1"/>
                      <a:pt x="27" y="3"/>
                      <a:pt x="31" y="5"/>
                    </a:cubicBezTo>
                    <a:lnTo>
                      <a:pt x="51" y="1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29" name="íṧḷîde"/>
              <p:cNvSpPr/>
              <p:nvPr/>
            </p:nvSpPr>
            <p:spPr bwMode="auto">
              <a:xfrm>
                <a:off x="1704872" y="4971053"/>
                <a:ext cx="100013" cy="92075"/>
              </a:xfrm>
              <a:custGeom>
                <a:avLst/>
                <a:gdLst>
                  <a:gd name="T0" fmla="*/ 17 w 63"/>
                  <a:gd name="T1" fmla="*/ 0 h 58"/>
                  <a:gd name="T2" fmla="*/ 63 w 63"/>
                  <a:gd name="T3" fmla="*/ 21 h 58"/>
                  <a:gd name="T4" fmla="*/ 59 w 63"/>
                  <a:gd name="T5" fmla="*/ 30 h 58"/>
                  <a:gd name="T6" fmla="*/ 19 w 63"/>
                  <a:gd name="T7" fmla="*/ 35 h 58"/>
                  <a:gd name="T8" fmla="*/ 50 w 63"/>
                  <a:gd name="T9" fmla="*/ 50 h 58"/>
                  <a:gd name="T10" fmla="*/ 46 w 63"/>
                  <a:gd name="T11" fmla="*/ 58 h 58"/>
                  <a:gd name="T12" fmla="*/ 0 w 63"/>
                  <a:gd name="T13" fmla="*/ 37 h 58"/>
                  <a:gd name="T14" fmla="*/ 4 w 63"/>
                  <a:gd name="T15" fmla="*/ 26 h 58"/>
                  <a:gd name="T16" fmla="*/ 43 w 63"/>
                  <a:gd name="T17" fmla="*/ 22 h 58"/>
                  <a:gd name="T18" fmla="*/ 12 w 63"/>
                  <a:gd name="T19" fmla="*/ 8 h 58"/>
                  <a:gd name="T20" fmla="*/ 17 w 63"/>
                  <a:gd name="T21" fmla="*/ 0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63" h="58">
                    <a:moveTo>
                      <a:pt x="17" y="0"/>
                    </a:moveTo>
                    <a:lnTo>
                      <a:pt x="63" y="21"/>
                    </a:lnTo>
                    <a:lnTo>
                      <a:pt x="59" y="30"/>
                    </a:lnTo>
                    <a:lnTo>
                      <a:pt x="19" y="35"/>
                    </a:lnTo>
                    <a:lnTo>
                      <a:pt x="50" y="50"/>
                    </a:lnTo>
                    <a:lnTo>
                      <a:pt x="46" y="58"/>
                    </a:lnTo>
                    <a:lnTo>
                      <a:pt x="0" y="37"/>
                    </a:lnTo>
                    <a:lnTo>
                      <a:pt x="4" y="26"/>
                    </a:lnTo>
                    <a:lnTo>
                      <a:pt x="43" y="22"/>
                    </a:lnTo>
                    <a:lnTo>
                      <a:pt x="12" y="8"/>
                    </a:lnTo>
                    <a:lnTo>
                      <a:pt x="17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30" name="íS1îḍé"/>
              <p:cNvSpPr/>
              <p:nvPr/>
            </p:nvSpPr>
            <p:spPr bwMode="auto">
              <a:xfrm>
                <a:off x="1690584" y="5045665"/>
                <a:ext cx="84138" cy="44450"/>
              </a:xfrm>
              <a:custGeom>
                <a:avLst/>
                <a:gdLst>
                  <a:gd name="T0" fmla="*/ 5 w 53"/>
                  <a:gd name="T1" fmla="*/ 0 h 28"/>
                  <a:gd name="T2" fmla="*/ 53 w 53"/>
                  <a:gd name="T3" fmla="*/ 19 h 28"/>
                  <a:gd name="T4" fmla="*/ 49 w 53"/>
                  <a:gd name="T5" fmla="*/ 28 h 28"/>
                  <a:gd name="T6" fmla="*/ 0 w 53"/>
                  <a:gd name="T7" fmla="*/ 10 h 28"/>
                  <a:gd name="T8" fmla="*/ 5 w 53"/>
                  <a:gd name="T9" fmla="*/ 0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3" h="28">
                    <a:moveTo>
                      <a:pt x="5" y="0"/>
                    </a:moveTo>
                    <a:lnTo>
                      <a:pt x="53" y="19"/>
                    </a:lnTo>
                    <a:lnTo>
                      <a:pt x="49" y="28"/>
                    </a:lnTo>
                    <a:lnTo>
                      <a:pt x="0" y="10"/>
                    </a:lnTo>
                    <a:lnTo>
                      <a:pt x="5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31" name="íṧļïḋè"/>
              <p:cNvSpPr/>
              <p:nvPr/>
            </p:nvSpPr>
            <p:spPr bwMode="auto">
              <a:xfrm>
                <a:off x="1674709" y="5091703"/>
                <a:ext cx="92075" cy="73025"/>
              </a:xfrm>
              <a:custGeom>
                <a:avLst/>
                <a:gdLst>
                  <a:gd name="T0" fmla="*/ 4 w 58"/>
                  <a:gd name="T1" fmla="*/ 3 h 46"/>
                  <a:gd name="T2" fmla="*/ 58 w 58"/>
                  <a:gd name="T3" fmla="*/ 0 h 46"/>
                  <a:gd name="T4" fmla="*/ 55 w 58"/>
                  <a:gd name="T5" fmla="*/ 11 h 46"/>
                  <a:gd name="T6" fmla="*/ 14 w 58"/>
                  <a:gd name="T7" fmla="*/ 13 h 46"/>
                  <a:gd name="T8" fmla="*/ 46 w 58"/>
                  <a:gd name="T9" fmla="*/ 35 h 46"/>
                  <a:gd name="T10" fmla="*/ 44 w 58"/>
                  <a:gd name="T11" fmla="*/ 46 h 46"/>
                  <a:gd name="T12" fmla="*/ 0 w 58"/>
                  <a:gd name="T13" fmla="*/ 14 h 46"/>
                  <a:gd name="T14" fmla="*/ 4 w 58"/>
                  <a:gd name="T15" fmla="*/ 3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58" h="46">
                    <a:moveTo>
                      <a:pt x="4" y="3"/>
                    </a:moveTo>
                    <a:lnTo>
                      <a:pt x="58" y="0"/>
                    </a:lnTo>
                    <a:lnTo>
                      <a:pt x="55" y="11"/>
                    </a:lnTo>
                    <a:lnTo>
                      <a:pt x="14" y="13"/>
                    </a:lnTo>
                    <a:lnTo>
                      <a:pt x="46" y="35"/>
                    </a:lnTo>
                    <a:lnTo>
                      <a:pt x="44" y="46"/>
                    </a:lnTo>
                    <a:lnTo>
                      <a:pt x="0" y="14"/>
                    </a:lnTo>
                    <a:lnTo>
                      <a:pt x="4" y="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32" name="ïṡḷiḋé"/>
              <p:cNvSpPr/>
              <p:nvPr/>
            </p:nvSpPr>
            <p:spPr bwMode="auto">
              <a:xfrm>
                <a:off x="1652484" y="5153615"/>
                <a:ext cx="90488" cy="73025"/>
              </a:xfrm>
              <a:custGeom>
                <a:avLst/>
                <a:gdLst>
                  <a:gd name="T0" fmla="*/ 7 w 57"/>
                  <a:gd name="T1" fmla="*/ 0 h 46"/>
                  <a:gd name="T2" fmla="*/ 57 w 57"/>
                  <a:gd name="T3" fmla="*/ 10 h 46"/>
                  <a:gd name="T4" fmla="*/ 50 w 57"/>
                  <a:gd name="T5" fmla="*/ 46 h 46"/>
                  <a:gd name="T6" fmla="*/ 42 w 57"/>
                  <a:gd name="T7" fmla="*/ 45 h 46"/>
                  <a:gd name="T8" fmla="*/ 47 w 57"/>
                  <a:gd name="T9" fmla="*/ 18 h 46"/>
                  <a:gd name="T10" fmla="*/ 36 w 57"/>
                  <a:gd name="T11" fmla="*/ 16 h 46"/>
                  <a:gd name="T12" fmla="*/ 30 w 57"/>
                  <a:gd name="T13" fmla="*/ 40 h 46"/>
                  <a:gd name="T14" fmla="*/ 22 w 57"/>
                  <a:gd name="T15" fmla="*/ 39 h 46"/>
                  <a:gd name="T16" fmla="*/ 27 w 57"/>
                  <a:gd name="T17" fmla="*/ 14 h 46"/>
                  <a:gd name="T18" fmla="*/ 14 w 57"/>
                  <a:gd name="T19" fmla="*/ 11 h 46"/>
                  <a:gd name="T20" fmla="*/ 8 w 57"/>
                  <a:gd name="T21" fmla="*/ 39 h 46"/>
                  <a:gd name="T22" fmla="*/ 0 w 57"/>
                  <a:gd name="T23" fmla="*/ 38 h 46"/>
                  <a:gd name="T24" fmla="*/ 7 w 57"/>
                  <a:gd name="T25" fmla="*/ 0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57" h="46">
                    <a:moveTo>
                      <a:pt x="7" y="0"/>
                    </a:moveTo>
                    <a:lnTo>
                      <a:pt x="57" y="10"/>
                    </a:lnTo>
                    <a:lnTo>
                      <a:pt x="50" y="46"/>
                    </a:lnTo>
                    <a:lnTo>
                      <a:pt x="42" y="45"/>
                    </a:lnTo>
                    <a:lnTo>
                      <a:pt x="47" y="18"/>
                    </a:lnTo>
                    <a:lnTo>
                      <a:pt x="36" y="16"/>
                    </a:lnTo>
                    <a:lnTo>
                      <a:pt x="30" y="40"/>
                    </a:lnTo>
                    <a:lnTo>
                      <a:pt x="22" y="39"/>
                    </a:lnTo>
                    <a:lnTo>
                      <a:pt x="27" y="14"/>
                    </a:lnTo>
                    <a:lnTo>
                      <a:pt x="14" y="11"/>
                    </a:lnTo>
                    <a:lnTo>
                      <a:pt x="8" y="39"/>
                    </a:lnTo>
                    <a:lnTo>
                      <a:pt x="0" y="38"/>
                    </a:lnTo>
                    <a:lnTo>
                      <a:pt x="7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33" name="ïşļiḋe"/>
              <p:cNvSpPr/>
              <p:nvPr/>
            </p:nvSpPr>
            <p:spPr bwMode="auto">
              <a:xfrm>
                <a:off x="1641372" y="5231403"/>
                <a:ext cx="88900" cy="71438"/>
              </a:xfrm>
              <a:custGeom>
                <a:avLst/>
                <a:gdLst>
                  <a:gd name="T0" fmla="*/ 4 w 48"/>
                  <a:gd name="T1" fmla="*/ 0 h 39"/>
                  <a:gd name="T2" fmla="*/ 48 w 48"/>
                  <a:gd name="T3" fmla="*/ 4 h 39"/>
                  <a:gd name="T4" fmla="*/ 46 w 48"/>
                  <a:gd name="T5" fmla="*/ 23 h 39"/>
                  <a:gd name="T6" fmla="*/ 44 w 48"/>
                  <a:gd name="T7" fmla="*/ 33 h 39"/>
                  <a:gd name="T8" fmla="*/ 39 w 48"/>
                  <a:gd name="T9" fmla="*/ 38 h 39"/>
                  <a:gd name="T10" fmla="*/ 32 w 48"/>
                  <a:gd name="T11" fmla="*/ 39 h 39"/>
                  <a:gd name="T12" fmla="*/ 24 w 48"/>
                  <a:gd name="T13" fmla="*/ 35 h 39"/>
                  <a:gd name="T14" fmla="*/ 21 w 48"/>
                  <a:gd name="T15" fmla="*/ 26 h 39"/>
                  <a:gd name="T16" fmla="*/ 17 w 48"/>
                  <a:gd name="T17" fmla="*/ 30 h 39"/>
                  <a:gd name="T18" fmla="*/ 9 w 48"/>
                  <a:gd name="T19" fmla="*/ 35 h 39"/>
                  <a:gd name="T20" fmla="*/ 0 w 48"/>
                  <a:gd name="T21" fmla="*/ 39 h 39"/>
                  <a:gd name="T22" fmla="*/ 1 w 48"/>
                  <a:gd name="T23" fmla="*/ 29 h 39"/>
                  <a:gd name="T24" fmla="*/ 12 w 48"/>
                  <a:gd name="T25" fmla="*/ 23 h 39"/>
                  <a:gd name="T26" fmla="*/ 18 w 48"/>
                  <a:gd name="T27" fmla="*/ 19 h 39"/>
                  <a:gd name="T28" fmla="*/ 20 w 48"/>
                  <a:gd name="T29" fmla="*/ 17 h 39"/>
                  <a:gd name="T30" fmla="*/ 21 w 48"/>
                  <a:gd name="T31" fmla="*/ 12 h 39"/>
                  <a:gd name="T32" fmla="*/ 22 w 48"/>
                  <a:gd name="T33" fmla="*/ 11 h 39"/>
                  <a:gd name="T34" fmla="*/ 3 w 48"/>
                  <a:gd name="T35" fmla="*/ 9 h 39"/>
                  <a:gd name="T36" fmla="*/ 4 w 48"/>
                  <a:gd name="T37" fmla="*/ 0 h 39"/>
                  <a:gd name="T38" fmla="*/ 29 w 48"/>
                  <a:gd name="T39" fmla="*/ 11 h 39"/>
                  <a:gd name="T40" fmla="*/ 28 w 48"/>
                  <a:gd name="T41" fmla="*/ 18 h 39"/>
                  <a:gd name="T42" fmla="*/ 28 w 48"/>
                  <a:gd name="T43" fmla="*/ 26 h 39"/>
                  <a:gd name="T44" fmla="*/ 29 w 48"/>
                  <a:gd name="T45" fmla="*/ 28 h 39"/>
                  <a:gd name="T46" fmla="*/ 32 w 48"/>
                  <a:gd name="T47" fmla="*/ 30 h 39"/>
                  <a:gd name="T48" fmla="*/ 36 w 48"/>
                  <a:gd name="T49" fmla="*/ 29 h 39"/>
                  <a:gd name="T50" fmla="*/ 38 w 48"/>
                  <a:gd name="T51" fmla="*/ 26 h 39"/>
                  <a:gd name="T52" fmla="*/ 39 w 48"/>
                  <a:gd name="T53" fmla="*/ 19 h 39"/>
                  <a:gd name="T54" fmla="*/ 40 w 48"/>
                  <a:gd name="T55" fmla="*/ 12 h 39"/>
                  <a:gd name="T56" fmla="*/ 29 w 48"/>
                  <a:gd name="T57" fmla="*/ 11 h 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48" h="39">
                    <a:moveTo>
                      <a:pt x="4" y="0"/>
                    </a:moveTo>
                    <a:cubicBezTo>
                      <a:pt x="48" y="4"/>
                      <a:pt x="48" y="4"/>
                      <a:pt x="48" y="4"/>
                    </a:cubicBezTo>
                    <a:cubicBezTo>
                      <a:pt x="46" y="23"/>
                      <a:pt x="46" y="23"/>
                      <a:pt x="46" y="23"/>
                    </a:cubicBezTo>
                    <a:cubicBezTo>
                      <a:pt x="46" y="27"/>
                      <a:pt x="45" y="31"/>
                      <a:pt x="44" y="33"/>
                    </a:cubicBezTo>
                    <a:cubicBezTo>
                      <a:pt x="43" y="35"/>
                      <a:pt x="41" y="36"/>
                      <a:pt x="39" y="38"/>
                    </a:cubicBezTo>
                    <a:cubicBezTo>
                      <a:pt x="37" y="39"/>
                      <a:pt x="35" y="39"/>
                      <a:pt x="32" y="39"/>
                    </a:cubicBezTo>
                    <a:cubicBezTo>
                      <a:pt x="29" y="38"/>
                      <a:pt x="26" y="37"/>
                      <a:pt x="24" y="35"/>
                    </a:cubicBezTo>
                    <a:cubicBezTo>
                      <a:pt x="22" y="33"/>
                      <a:pt x="21" y="30"/>
                      <a:pt x="21" y="26"/>
                    </a:cubicBezTo>
                    <a:cubicBezTo>
                      <a:pt x="20" y="28"/>
                      <a:pt x="18" y="29"/>
                      <a:pt x="17" y="30"/>
                    </a:cubicBezTo>
                    <a:cubicBezTo>
                      <a:pt x="16" y="32"/>
                      <a:pt x="13" y="33"/>
                      <a:pt x="9" y="35"/>
                    </a:cubicBezTo>
                    <a:cubicBezTo>
                      <a:pt x="0" y="39"/>
                      <a:pt x="0" y="39"/>
                      <a:pt x="0" y="39"/>
                    </a:cubicBezTo>
                    <a:cubicBezTo>
                      <a:pt x="1" y="29"/>
                      <a:pt x="1" y="29"/>
                      <a:pt x="1" y="29"/>
                    </a:cubicBezTo>
                    <a:cubicBezTo>
                      <a:pt x="12" y="23"/>
                      <a:pt x="12" y="23"/>
                      <a:pt x="12" y="23"/>
                    </a:cubicBezTo>
                    <a:cubicBezTo>
                      <a:pt x="15" y="21"/>
                      <a:pt x="17" y="20"/>
                      <a:pt x="18" y="19"/>
                    </a:cubicBezTo>
                    <a:cubicBezTo>
                      <a:pt x="19" y="18"/>
                      <a:pt x="20" y="18"/>
                      <a:pt x="20" y="17"/>
                    </a:cubicBezTo>
                    <a:cubicBezTo>
                      <a:pt x="21" y="16"/>
                      <a:pt x="21" y="14"/>
                      <a:pt x="21" y="12"/>
                    </a:cubicBezTo>
                    <a:cubicBezTo>
                      <a:pt x="22" y="11"/>
                      <a:pt x="22" y="11"/>
                      <a:pt x="22" y="11"/>
                    </a:cubicBezTo>
                    <a:cubicBezTo>
                      <a:pt x="3" y="9"/>
                      <a:pt x="3" y="9"/>
                      <a:pt x="3" y="9"/>
                    </a:cubicBezTo>
                    <a:lnTo>
                      <a:pt x="4" y="0"/>
                    </a:lnTo>
                    <a:close/>
                    <a:moveTo>
                      <a:pt x="29" y="11"/>
                    </a:moveTo>
                    <a:cubicBezTo>
                      <a:pt x="28" y="18"/>
                      <a:pt x="28" y="18"/>
                      <a:pt x="28" y="18"/>
                    </a:cubicBezTo>
                    <a:cubicBezTo>
                      <a:pt x="28" y="22"/>
                      <a:pt x="27" y="25"/>
                      <a:pt x="28" y="26"/>
                    </a:cubicBezTo>
                    <a:cubicBezTo>
                      <a:pt x="28" y="27"/>
                      <a:pt x="28" y="28"/>
                      <a:pt x="29" y="28"/>
                    </a:cubicBezTo>
                    <a:cubicBezTo>
                      <a:pt x="30" y="29"/>
                      <a:pt x="31" y="30"/>
                      <a:pt x="32" y="30"/>
                    </a:cubicBezTo>
                    <a:cubicBezTo>
                      <a:pt x="34" y="30"/>
                      <a:pt x="35" y="30"/>
                      <a:pt x="36" y="29"/>
                    </a:cubicBezTo>
                    <a:cubicBezTo>
                      <a:pt x="37" y="28"/>
                      <a:pt x="38" y="27"/>
                      <a:pt x="38" y="26"/>
                    </a:cubicBezTo>
                    <a:cubicBezTo>
                      <a:pt x="38" y="25"/>
                      <a:pt x="39" y="23"/>
                      <a:pt x="39" y="19"/>
                    </a:cubicBezTo>
                    <a:cubicBezTo>
                      <a:pt x="40" y="12"/>
                      <a:pt x="40" y="12"/>
                      <a:pt x="40" y="12"/>
                    </a:cubicBezTo>
                    <a:lnTo>
                      <a:pt x="29" y="1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34" name="îś1iḓê"/>
              <p:cNvSpPr/>
              <p:nvPr/>
            </p:nvSpPr>
            <p:spPr bwMode="auto">
              <a:xfrm>
                <a:off x="1641372" y="5312365"/>
                <a:ext cx="82550" cy="66675"/>
              </a:xfrm>
              <a:custGeom>
                <a:avLst/>
                <a:gdLst>
                  <a:gd name="T0" fmla="*/ 15 w 45"/>
                  <a:gd name="T1" fmla="*/ 0 h 36"/>
                  <a:gd name="T2" fmla="*/ 16 w 45"/>
                  <a:gd name="T3" fmla="*/ 8 h 36"/>
                  <a:gd name="T4" fmla="*/ 9 w 45"/>
                  <a:gd name="T5" fmla="*/ 12 h 36"/>
                  <a:gd name="T6" fmla="*/ 7 w 45"/>
                  <a:gd name="T7" fmla="*/ 18 h 36"/>
                  <a:gd name="T8" fmla="*/ 9 w 45"/>
                  <a:gd name="T9" fmla="*/ 25 h 36"/>
                  <a:gd name="T10" fmla="*/ 13 w 45"/>
                  <a:gd name="T11" fmla="*/ 27 h 36"/>
                  <a:gd name="T12" fmla="*/ 16 w 45"/>
                  <a:gd name="T13" fmla="*/ 26 h 36"/>
                  <a:gd name="T14" fmla="*/ 18 w 45"/>
                  <a:gd name="T15" fmla="*/ 23 h 36"/>
                  <a:gd name="T16" fmla="*/ 20 w 45"/>
                  <a:gd name="T17" fmla="*/ 15 h 36"/>
                  <a:gd name="T18" fmla="*/ 24 w 45"/>
                  <a:gd name="T19" fmla="*/ 5 h 36"/>
                  <a:gd name="T20" fmla="*/ 33 w 45"/>
                  <a:gd name="T21" fmla="*/ 1 h 36"/>
                  <a:gd name="T22" fmla="*/ 39 w 45"/>
                  <a:gd name="T23" fmla="*/ 3 h 36"/>
                  <a:gd name="T24" fmla="*/ 44 w 45"/>
                  <a:gd name="T25" fmla="*/ 9 h 36"/>
                  <a:gd name="T26" fmla="*/ 45 w 45"/>
                  <a:gd name="T27" fmla="*/ 17 h 36"/>
                  <a:gd name="T28" fmla="*/ 42 w 45"/>
                  <a:gd name="T29" fmla="*/ 30 h 36"/>
                  <a:gd name="T30" fmla="*/ 32 w 45"/>
                  <a:gd name="T31" fmla="*/ 34 h 36"/>
                  <a:gd name="T32" fmla="*/ 31 w 45"/>
                  <a:gd name="T33" fmla="*/ 25 h 36"/>
                  <a:gd name="T34" fmla="*/ 36 w 45"/>
                  <a:gd name="T35" fmla="*/ 23 h 36"/>
                  <a:gd name="T36" fmla="*/ 38 w 45"/>
                  <a:gd name="T37" fmla="*/ 17 h 36"/>
                  <a:gd name="T38" fmla="*/ 36 w 45"/>
                  <a:gd name="T39" fmla="*/ 11 h 36"/>
                  <a:gd name="T40" fmla="*/ 33 w 45"/>
                  <a:gd name="T41" fmla="*/ 10 h 36"/>
                  <a:gd name="T42" fmla="*/ 31 w 45"/>
                  <a:gd name="T43" fmla="*/ 11 h 36"/>
                  <a:gd name="T44" fmla="*/ 28 w 45"/>
                  <a:gd name="T45" fmla="*/ 19 h 36"/>
                  <a:gd name="T46" fmla="*/ 25 w 45"/>
                  <a:gd name="T47" fmla="*/ 29 h 36"/>
                  <a:gd name="T48" fmla="*/ 20 w 45"/>
                  <a:gd name="T49" fmla="*/ 34 h 36"/>
                  <a:gd name="T50" fmla="*/ 13 w 45"/>
                  <a:gd name="T51" fmla="*/ 36 h 36"/>
                  <a:gd name="T52" fmla="*/ 6 w 45"/>
                  <a:gd name="T53" fmla="*/ 33 h 36"/>
                  <a:gd name="T54" fmla="*/ 1 w 45"/>
                  <a:gd name="T55" fmla="*/ 28 h 36"/>
                  <a:gd name="T56" fmla="*/ 0 w 45"/>
                  <a:gd name="T57" fmla="*/ 18 h 36"/>
                  <a:gd name="T58" fmla="*/ 3 w 45"/>
                  <a:gd name="T59" fmla="*/ 5 h 36"/>
                  <a:gd name="T60" fmla="*/ 15 w 45"/>
                  <a:gd name="T61" fmla="*/ 0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45" h="36">
                    <a:moveTo>
                      <a:pt x="15" y="0"/>
                    </a:moveTo>
                    <a:cubicBezTo>
                      <a:pt x="16" y="8"/>
                      <a:pt x="16" y="8"/>
                      <a:pt x="16" y="8"/>
                    </a:cubicBezTo>
                    <a:cubicBezTo>
                      <a:pt x="13" y="9"/>
                      <a:pt x="10" y="10"/>
                      <a:pt x="9" y="12"/>
                    </a:cubicBezTo>
                    <a:cubicBezTo>
                      <a:pt x="8" y="13"/>
                      <a:pt x="7" y="15"/>
                      <a:pt x="7" y="18"/>
                    </a:cubicBezTo>
                    <a:cubicBezTo>
                      <a:pt x="7" y="21"/>
                      <a:pt x="8" y="23"/>
                      <a:pt x="9" y="25"/>
                    </a:cubicBezTo>
                    <a:cubicBezTo>
                      <a:pt x="10" y="26"/>
                      <a:pt x="12" y="27"/>
                      <a:pt x="13" y="27"/>
                    </a:cubicBezTo>
                    <a:cubicBezTo>
                      <a:pt x="14" y="27"/>
                      <a:pt x="15" y="26"/>
                      <a:pt x="16" y="26"/>
                    </a:cubicBezTo>
                    <a:cubicBezTo>
                      <a:pt x="17" y="25"/>
                      <a:pt x="17" y="24"/>
                      <a:pt x="18" y="23"/>
                    </a:cubicBezTo>
                    <a:cubicBezTo>
                      <a:pt x="18" y="22"/>
                      <a:pt x="19" y="19"/>
                      <a:pt x="20" y="15"/>
                    </a:cubicBezTo>
                    <a:cubicBezTo>
                      <a:pt x="21" y="11"/>
                      <a:pt x="22" y="7"/>
                      <a:pt x="24" y="5"/>
                    </a:cubicBezTo>
                    <a:cubicBezTo>
                      <a:pt x="26" y="3"/>
                      <a:pt x="29" y="1"/>
                      <a:pt x="33" y="1"/>
                    </a:cubicBezTo>
                    <a:cubicBezTo>
                      <a:pt x="35" y="1"/>
                      <a:pt x="37" y="2"/>
                      <a:pt x="39" y="3"/>
                    </a:cubicBezTo>
                    <a:cubicBezTo>
                      <a:pt x="41" y="4"/>
                      <a:pt x="43" y="6"/>
                      <a:pt x="44" y="9"/>
                    </a:cubicBezTo>
                    <a:cubicBezTo>
                      <a:pt x="45" y="11"/>
                      <a:pt x="45" y="14"/>
                      <a:pt x="45" y="17"/>
                    </a:cubicBezTo>
                    <a:cubicBezTo>
                      <a:pt x="45" y="23"/>
                      <a:pt x="44" y="27"/>
                      <a:pt x="42" y="30"/>
                    </a:cubicBezTo>
                    <a:cubicBezTo>
                      <a:pt x="39" y="33"/>
                      <a:pt x="36" y="34"/>
                      <a:pt x="32" y="34"/>
                    </a:cubicBezTo>
                    <a:cubicBezTo>
                      <a:pt x="31" y="25"/>
                      <a:pt x="31" y="25"/>
                      <a:pt x="31" y="25"/>
                    </a:cubicBezTo>
                    <a:cubicBezTo>
                      <a:pt x="34" y="25"/>
                      <a:pt x="35" y="24"/>
                      <a:pt x="36" y="23"/>
                    </a:cubicBezTo>
                    <a:cubicBezTo>
                      <a:pt x="37" y="22"/>
                      <a:pt x="38" y="20"/>
                      <a:pt x="38" y="17"/>
                    </a:cubicBezTo>
                    <a:cubicBezTo>
                      <a:pt x="38" y="15"/>
                      <a:pt x="37" y="13"/>
                      <a:pt x="36" y="11"/>
                    </a:cubicBezTo>
                    <a:cubicBezTo>
                      <a:pt x="35" y="10"/>
                      <a:pt x="35" y="10"/>
                      <a:pt x="33" y="10"/>
                    </a:cubicBezTo>
                    <a:cubicBezTo>
                      <a:pt x="32" y="10"/>
                      <a:pt x="31" y="10"/>
                      <a:pt x="31" y="11"/>
                    </a:cubicBezTo>
                    <a:cubicBezTo>
                      <a:pt x="30" y="12"/>
                      <a:pt x="29" y="15"/>
                      <a:pt x="28" y="19"/>
                    </a:cubicBezTo>
                    <a:cubicBezTo>
                      <a:pt x="27" y="24"/>
                      <a:pt x="26" y="27"/>
                      <a:pt x="25" y="29"/>
                    </a:cubicBezTo>
                    <a:cubicBezTo>
                      <a:pt x="24" y="31"/>
                      <a:pt x="22" y="33"/>
                      <a:pt x="20" y="34"/>
                    </a:cubicBezTo>
                    <a:cubicBezTo>
                      <a:pt x="18" y="35"/>
                      <a:pt x="16" y="36"/>
                      <a:pt x="13" y="36"/>
                    </a:cubicBezTo>
                    <a:cubicBezTo>
                      <a:pt x="11" y="36"/>
                      <a:pt x="8" y="35"/>
                      <a:pt x="6" y="33"/>
                    </a:cubicBezTo>
                    <a:cubicBezTo>
                      <a:pt x="4" y="32"/>
                      <a:pt x="2" y="30"/>
                      <a:pt x="1" y="28"/>
                    </a:cubicBezTo>
                    <a:cubicBezTo>
                      <a:pt x="0" y="25"/>
                      <a:pt x="0" y="22"/>
                      <a:pt x="0" y="18"/>
                    </a:cubicBezTo>
                    <a:cubicBezTo>
                      <a:pt x="0" y="12"/>
                      <a:pt x="1" y="8"/>
                      <a:pt x="3" y="5"/>
                    </a:cubicBezTo>
                    <a:cubicBezTo>
                      <a:pt x="6" y="2"/>
                      <a:pt x="10" y="0"/>
                      <a:pt x="15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35" name="íş1ïḓe"/>
              <p:cNvSpPr/>
              <p:nvPr/>
            </p:nvSpPr>
            <p:spPr bwMode="auto">
              <a:xfrm>
                <a:off x="1642959" y="5385390"/>
                <a:ext cx="84138" cy="22225"/>
              </a:xfrm>
              <a:custGeom>
                <a:avLst/>
                <a:gdLst>
                  <a:gd name="T0" fmla="*/ 0 w 53"/>
                  <a:gd name="T1" fmla="*/ 5 h 14"/>
                  <a:gd name="T2" fmla="*/ 51 w 53"/>
                  <a:gd name="T3" fmla="*/ 0 h 14"/>
                  <a:gd name="T4" fmla="*/ 53 w 53"/>
                  <a:gd name="T5" fmla="*/ 11 h 14"/>
                  <a:gd name="T6" fmla="*/ 1 w 53"/>
                  <a:gd name="T7" fmla="*/ 14 h 14"/>
                  <a:gd name="T8" fmla="*/ 0 w 53"/>
                  <a:gd name="T9" fmla="*/ 5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3" h="14">
                    <a:moveTo>
                      <a:pt x="0" y="5"/>
                    </a:moveTo>
                    <a:lnTo>
                      <a:pt x="51" y="0"/>
                    </a:lnTo>
                    <a:lnTo>
                      <a:pt x="53" y="11"/>
                    </a:lnTo>
                    <a:lnTo>
                      <a:pt x="1" y="14"/>
                    </a:lnTo>
                    <a:lnTo>
                      <a:pt x="0" y="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36" name="ïṩlîḋè"/>
              <p:cNvSpPr/>
              <p:nvPr/>
            </p:nvSpPr>
            <p:spPr bwMode="auto">
              <a:xfrm>
                <a:off x="1649309" y="5407615"/>
                <a:ext cx="84138" cy="66675"/>
              </a:xfrm>
              <a:custGeom>
                <a:avLst/>
                <a:gdLst>
                  <a:gd name="T0" fmla="*/ 0 w 53"/>
                  <a:gd name="T1" fmla="*/ 22 h 42"/>
                  <a:gd name="T2" fmla="*/ 42 w 53"/>
                  <a:gd name="T3" fmla="*/ 17 h 42"/>
                  <a:gd name="T4" fmla="*/ 39 w 53"/>
                  <a:gd name="T5" fmla="*/ 1 h 42"/>
                  <a:gd name="T6" fmla="*/ 49 w 53"/>
                  <a:gd name="T7" fmla="*/ 0 h 42"/>
                  <a:gd name="T8" fmla="*/ 53 w 53"/>
                  <a:gd name="T9" fmla="*/ 41 h 42"/>
                  <a:gd name="T10" fmla="*/ 45 w 53"/>
                  <a:gd name="T11" fmla="*/ 42 h 42"/>
                  <a:gd name="T12" fmla="*/ 43 w 53"/>
                  <a:gd name="T13" fmla="*/ 27 h 42"/>
                  <a:gd name="T14" fmla="*/ 1 w 53"/>
                  <a:gd name="T15" fmla="*/ 33 h 42"/>
                  <a:gd name="T16" fmla="*/ 0 w 53"/>
                  <a:gd name="T17" fmla="*/ 22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3" h="42">
                    <a:moveTo>
                      <a:pt x="0" y="22"/>
                    </a:moveTo>
                    <a:lnTo>
                      <a:pt x="42" y="17"/>
                    </a:lnTo>
                    <a:lnTo>
                      <a:pt x="39" y="1"/>
                    </a:lnTo>
                    <a:lnTo>
                      <a:pt x="49" y="0"/>
                    </a:lnTo>
                    <a:lnTo>
                      <a:pt x="53" y="41"/>
                    </a:lnTo>
                    <a:lnTo>
                      <a:pt x="45" y="42"/>
                    </a:lnTo>
                    <a:lnTo>
                      <a:pt x="43" y="27"/>
                    </a:lnTo>
                    <a:lnTo>
                      <a:pt x="1" y="33"/>
                    </a:lnTo>
                    <a:lnTo>
                      <a:pt x="0" y="2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37" name="ïṣľîďe"/>
              <p:cNvSpPr/>
              <p:nvPr/>
            </p:nvSpPr>
            <p:spPr bwMode="auto">
              <a:xfrm>
                <a:off x="1662009" y="5471115"/>
                <a:ext cx="90488" cy="73025"/>
              </a:xfrm>
              <a:custGeom>
                <a:avLst/>
                <a:gdLst>
                  <a:gd name="T0" fmla="*/ 0 w 57"/>
                  <a:gd name="T1" fmla="*/ 29 h 46"/>
                  <a:gd name="T2" fmla="*/ 21 w 57"/>
                  <a:gd name="T3" fmla="*/ 24 h 46"/>
                  <a:gd name="T4" fmla="*/ 45 w 57"/>
                  <a:gd name="T5" fmla="*/ 0 h 46"/>
                  <a:gd name="T6" fmla="*/ 49 w 57"/>
                  <a:gd name="T7" fmla="*/ 11 h 46"/>
                  <a:gd name="T8" fmla="*/ 31 w 57"/>
                  <a:gd name="T9" fmla="*/ 28 h 46"/>
                  <a:gd name="T10" fmla="*/ 53 w 57"/>
                  <a:gd name="T11" fmla="*/ 35 h 46"/>
                  <a:gd name="T12" fmla="*/ 57 w 57"/>
                  <a:gd name="T13" fmla="*/ 46 h 46"/>
                  <a:gd name="T14" fmla="*/ 23 w 57"/>
                  <a:gd name="T15" fmla="*/ 35 h 46"/>
                  <a:gd name="T16" fmla="*/ 2 w 57"/>
                  <a:gd name="T17" fmla="*/ 39 h 46"/>
                  <a:gd name="T18" fmla="*/ 0 w 57"/>
                  <a:gd name="T19" fmla="*/ 29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57" h="46">
                    <a:moveTo>
                      <a:pt x="0" y="29"/>
                    </a:moveTo>
                    <a:lnTo>
                      <a:pt x="21" y="24"/>
                    </a:lnTo>
                    <a:lnTo>
                      <a:pt x="45" y="0"/>
                    </a:lnTo>
                    <a:lnTo>
                      <a:pt x="49" y="11"/>
                    </a:lnTo>
                    <a:lnTo>
                      <a:pt x="31" y="28"/>
                    </a:lnTo>
                    <a:lnTo>
                      <a:pt x="53" y="35"/>
                    </a:lnTo>
                    <a:lnTo>
                      <a:pt x="57" y="46"/>
                    </a:lnTo>
                    <a:lnTo>
                      <a:pt x="23" y="35"/>
                    </a:lnTo>
                    <a:lnTo>
                      <a:pt x="2" y="39"/>
                    </a:lnTo>
                    <a:lnTo>
                      <a:pt x="0" y="2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38" name="íśļiḓe"/>
              <p:cNvSpPr/>
              <p:nvPr/>
            </p:nvSpPr>
            <p:spPr bwMode="auto">
              <a:xfrm>
                <a:off x="1704872" y="5609228"/>
                <a:ext cx="85725" cy="80963"/>
              </a:xfrm>
              <a:custGeom>
                <a:avLst/>
                <a:gdLst>
                  <a:gd name="T0" fmla="*/ 15 w 47"/>
                  <a:gd name="T1" fmla="*/ 2 h 44"/>
                  <a:gd name="T2" fmla="*/ 26 w 47"/>
                  <a:gd name="T3" fmla="*/ 0 h 44"/>
                  <a:gd name="T4" fmla="*/ 33 w 47"/>
                  <a:gd name="T5" fmla="*/ 1 h 44"/>
                  <a:gd name="T6" fmla="*/ 39 w 47"/>
                  <a:gd name="T7" fmla="*/ 4 h 44"/>
                  <a:gd name="T8" fmla="*/ 44 w 47"/>
                  <a:gd name="T9" fmla="*/ 12 h 44"/>
                  <a:gd name="T10" fmla="*/ 45 w 47"/>
                  <a:gd name="T11" fmla="*/ 29 h 44"/>
                  <a:gd name="T12" fmla="*/ 32 w 47"/>
                  <a:gd name="T13" fmla="*/ 41 h 44"/>
                  <a:gd name="T14" fmla="*/ 15 w 47"/>
                  <a:gd name="T15" fmla="*/ 43 h 44"/>
                  <a:gd name="T16" fmla="*/ 3 w 47"/>
                  <a:gd name="T17" fmla="*/ 31 h 44"/>
                  <a:gd name="T18" fmla="*/ 2 w 47"/>
                  <a:gd name="T19" fmla="*/ 14 h 44"/>
                  <a:gd name="T20" fmla="*/ 15 w 47"/>
                  <a:gd name="T21" fmla="*/ 2 h 44"/>
                  <a:gd name="T22" fmla="*/ 19 w 47"/>
                  <a:gd name="T23" fmla="*/ 10 h 44"/>
                  <a:gd name="T24" fmla="*/ 10 w 47"/>
                  <a:gd name="T25" fmla="*/ 18 h 44"/>
                  <a:gd name="T26" fmla="*/ 10 w 47"/>
                  <a:gd name="T27" fmla="*/ 28 h 44"/>
                  <a:gd name="T28" fmla="*/ 17 w 47"/>
                  <a:gd name="T29" fmla="*/ 34 h 44"/>
                  <a:gd name="T30" fmla="*/ 29 w 47"/>
                  <a:gd name="T31" fmla="*/ 33 h 44"/>
                  <a:gd name="T32" fmla="*/ 38 w 47"/>
                  <a:gd name="T33" fmla="*/ 25 h 44"/>
                  <a:gd name="T34" fmla="*/ 37 w 47"/>
                  <a:gd name="T35" fmla="*/ 16 h 44"/>
                  <a:gd name="T36" fmla="*/ 30 w 47"/>
                  <a:gd name="T37" fmla="*/ 9 h 44"/>
                  <a:gd name="T38" fmla="*/ 19 w 47"/>
                  <a:gd name="T39" fmla="*/ 10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47" h="44">
                    <a:moveTo>
                      <a:pt x="15" y="2"/>
                    </a:moveTo>
                    <a:cubicBezTo>
                      <a:pt x="19" y="0"/>
                      <a:pt x="23" y="0"/>
                      <a:pt x="26" y="0"/>
                    </a:cubicBezTo>
                    <a:cubicBezTo>
                      <a:pt x="28" y="0"/>
                      <a:pt x="31" y="0"/>
                      <a:pt x="33" y="1"/>
                    </a:cubicBezTo>
                    <a:cubicBezTo>
                      <a:pt x="35" y="2"/>
                      <a:pt x="37" y="3"/>
                      <a:pt x="39" y="4"/>
                    </a:cubicBezTo>
                    <a:cubicBezTo>
                      <a:pt x="41" y="6"/>
                      <a:pt x="43" y="9"/>
                      <a:pt x="44" y="12"/>
                    </a:cubicBezTo>
                    <a:cubicBezTo>
                      <a:pt x="47" y="18"/>
                      <a:pt x="47" y="24"/>
                      <a:pt x="45" y="29"/>
                    </a:cubicBezTo>
                    <a:cubicBezTo>
                      <a:pt x="43" y="34"/>
                      <a:pt x="39" y="38"/>
                      <a:pt x="32" y="41"/>
                    </a:cubicBezTo>
                    <a:cubicBezTo>
                      <a:pt x="26" y="44"/>
                      <a:pt x="20" y="44"/>
                      <a:pt x="15" y="43"/>
                    </a:cubicBezTo>
                    <a:cubicBezTo>
                      <a:pt x="9" y="41"/>
                      <a:pt x="5" y="37"/>
                      <a:pt x="3" y="31"/>
                    </a:cubicBezTo>
                    <a:cubicBezTo>
                      <a:pt x="0" y="25"/>
                      <a:pt x="0" y="19"/>
                      <a:pt x="2" y="14"/>
                    </a:cubicBezTo>
                    <a:cubicBezTo>
                      <a:pt x="4" y="9"/>
                      <a:pt x="8" y="5"/>
                      <a:pt x="15" y="2"/>
                    </a:cubicBezTo>
                    <a:close/>
                    <a:moveTo>
                      <a:pt x="19" y="10"/>
                    </a:moveTo>
                    <a:cubicBezTo>
                      <a:pt x="14" y="12"/>
                      <a:pt x="11" y="15"/>
                      <a:pt x="10" y="18"/>
                    </a:cubicBezTo>
                    <a:cubicBezTo>
                      <a:pt x="8" y="21"/>
                      <a:pt x="8" y="24"/>
                      <a:pt x="10" y="28"/>
                    </a:cubicBezTo>
                    <a:cubicBezTo>
                      <a:pt x="11" y="31"/>
                      <a:pt x="13" y="33"/>
                      <a:pt x="17" y="34"/>
                    </a:cubicBezTo>
                    <a:cubicBezTo>
                      <a:pt x="20" y="35"/>
                      <a:pt x="24" y="35"/>
                      <a:pt x="29" y="33"/>
                    </a:cubicBezTo>
                    <a:cubicBezTo>
                      <a:pt x="33" y="31"/>
                      <a:pt x="36" y="28"/>
                      <a:pt x="38" y="25"/>
                    </a:cubicBezTo>
                    <a:cubicBezTo>
                      <a:pt x="39" y="22"/>
                      <a:pt x="39" y="19"/>
                      <a:pt x="37" y="16"/>
                    </a:cubicBezTo>
                    <a:cubicBezTo>
                      <a:pt x="36" y="12"/>
                      <a:pt x="34" y="10"/>
                      <a:pt x="30" y="9"/>
                    </a:cubicBezTo>
                    <a:cubicBezTo>
                      <a:pt x="27" y="8"/>
                      <a:pt x="23" y="8"/>
                      <a:pt x="19" y="1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39" name="î$ḷïďe"/>
              <p:cNvSpPr/>
              <p:nvPr/>
            </p:nvSpPr>
            <p:spPr bwMode="auto">
              <a:xfrm>
                <a:off x="1733447" y="5675903"/>
                <a:ext cx="98425" cy="66675"/>
              </a:xfrm>
              <a:custGeom>
                <a:avLst/>
                <a:gdLst>
                  <a:gd name="T0" fmla="*/ 0 w 62"/>
                  <a:gd name="T1" fmla="*/ 26 h 42"/>
                  <a:gd name="T2" fmla="*/ 45 w 62"/>
                  <a:gd name="T3" fmla="*/ 0 h 42"/>
                  <a:gd name="T4" fmla="*/ 62 w 62"/>
                  <a:gd name="T5" fmla="*/ 30 h 42"/>
                  <a:gd name="T6" fmla="*/ 55 w 62"/>
                  <a:gd name="T7" fmla="*/ 35 h 42"/>
                  <a:gd name="T8" fmla="*/ 43 w 62"/>
                  <a:gd name="T9" fmla="*/ 14 h 42"/>
                  <a:gd name="T10" fmla="*/ 32 w 62"/>
                  <a:gd name="T11" fmla="*/ 20 h 42"/>
                  <a:gd name="T12" fmla="*/ 43 w 62"/>
                  <a:gd name="T13" fmla="*/ 38 h 42"/>
                  <a:gd name="T14" fmla="*/ 35 w 62"/>
                  <a:gd name="T15" fmla="*/ 42 h 42"/>
                  <a:gd name="T16" fmla="*/ 25 w 62"/>
                  <a:gd name="T17" fmla="*/ 23 h 42"/>
                  <a:gd name="T18" fmla="*/ 6 w 62"/>
                  <a:gd name="T19" fmla="*/ 35 h 42"/>
                  <a:gd name="T20" fmla="*/ 0 w 62"/>
                  <a:gd name="T21" fmla="*/ 26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62" h="42">
                    <a:moveTo>
                      <a:pt x="0" y="26"/>
                    </a:moveTo>
                    <a:lnTo>
                      <a:pt x="45" y="0"/>
                    </a:lnTo>
                    <a:lnTo>
                      <a:pt x="62" y="30"/>
                    </a:lnTo>
                    <a:lnTo>
                      <a:pt x="55" y="35"/>
                    </a:lnTo>
                    <a:lnTo>
                      <a:pt x="43" y="14"/>
                    </a:lnTo>
                    <a:lnTo>
                      <a:pt x="32" y="20"/>
                    </a:lnTo>
                    <a:lnTo>
                      <a:pt x="43" y="38"/>
                    </a:lnTo>
                    <a:lnTo>
                      <a:pt x="35" y="42"/>
                    </a:lnTo>
                    <a:lnTo>
                      <a:pt x="25" y="23"/>
                    </a:lnTo>
                    <a:lnTo>
                      <a:pt x="6" y="35"/>
                    </a:lnTo>
                    <a:lnTo>
                      <a:pt x="0" y="26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40" name="îśḻîḍe"/>
              <p:cNvSpPr/>
              <p:nvPr/>
            </p:nvSpPr>
            <p:spPr bwMode="auto">
              <a:xfrm>
                <a:off x="1812822" y="5785440"/>
                <a:ext cx="85725" cy="82550"/>
              </a:xfrm>
              <a:custGeom>
                <a:avLst/>
                <a:gdLst>
                  <a:gd name="T0" fmla="*/ 6 w 46"/>
                  <a:gd name="T1" fmla="*/ 13 h 45"/>
                  <a:gd name="T2" fmla="*/ 12 w 46"/>
                  <a:gd name="T3" fmla="*/ 19 h 45"/>
                  <a:gd name="T4" fmla="*/ 9 w 46"/>
                  <a:gd name="T5" fmla="*/ 26 h 45"/>
                  <a:gd name="T6" fmla="*/ 11 w 46"/>
                  <a:gd name="T7" fmla="*/ 32 h 45"/>
                  <a:gd name="T8" fmla="*/ 17 w 46"/>
                  <a:gd name="T9" fmla="*/ 36 h 45"/>
                  <a:gd name="T10" fmla="*/ 22 w 46"/>
                  <a:gd name="T11" fmla="*/ 35 h 45"/>
                  <a:gd name="T12" fmla="*/ 23 w 46"/>
                  <a:gd name="T13" fmla="*/ 32 h 45"/>
                  <a:gd name="T14" fmla="*/ 22 w 46"/>
                  <a:gd name="T15" fmla="*/ 29 h 45"/>
                  <a:gd name="T16" fmla="*/ 19 w 46"/>
                  <a:gd name="T17" fmla="*/ 22 h 45"/>
                  <a:gd name="T18" fmla="*/ 16 w 46"/>
                  <a:gd name="T19" fmla="*/ 12 h 45"/>
                  <a:gd name="T20" fmla="*/ 21 w 46"/>
                  <a:gd name="T21" fmla="*/ 3 h 45"/>
                  <a:gd name="T22" fmla="*/ 27 w 46"/>
                  <a:gd name="T23" fmla="*/ 0 h 45"/>
                  <a:gd name="T24" fmla="*/ 34 w 46"/>
                  <a:gd name="T25" fmla="*/ 2 h 45"/>
                  <a:gd name="T26" fmla="*/ 40 w 46"/>
                  <a:gd name="T27" fmla="*/ 8 h 45"/>
                  <a:gd name="T28" fmla="*/ 45 w 46"/>
                  <a:gd name="T29" fmla="*/ 19 h 45"/>
                  <a:gd name="T30" fmla="*/ 41 w 46"/>
                  <a:gd name="T31" fmla="*/ 29 h 45"/>
                  <a:gd name="T32" fmla="*/ 35 w 46"/>
                  <a:gd name="T33" fmla="*/ 22 h 45"/>
                  <a:gd name="T34" fmla="*/ 37 w 46"/>
                  <a:gd name="T35" fmla="*/ 17 h 45"/>
                  <a:gd name="T36" fmla="*/ 35 w 46"/>
                  <a:gd name="T37" fmla="*/ 12 h 45"/>
                  <a:gd name="T38" fmla="*/ 30 w 46"/>
                  <a:gd name="T39" fmla="*/ 8 h 45"/>
                  <a:gd name="T40" fmla="*/ 27 w 46"/>
                  <a:gd name="T41" fmla="*/ 9 h 45"/>
                  <a:gd name="T42" fmla="*/ 25 w 46"/>
                  <a:gd name="T43" fmla="*/ 12 h 45"/>
                  <a:gd name="T44" fmla="*/ 28 w 46"/>
                  <a:gd name="T45" fmla="*/ 20 h 45"/>
                  <a:gd name="T46" fmla="*/ 32 w 46"/>
                  <a:gd name="T47" fmla="*/ 29 h 45"/>
                  <a:gd name="T48" fmla="*/ 31 w 46"/>
                  <a:gd name="T49" fmla="*/ 36 h 45"/>
                  <a:gd name="T50" fmla="*/ 27 w 46"/>
                  <a:gd name="T51" fmla="*/ 42 h 45"/>
                  <a:gd name="T52" fmla="*/ 20 w 46"/>
                  <a:gd name="T53" fmla="*/ 45 h 45"/>
                  <a:gd name="T54" fmla="*/ 13 w 46"/>
                  <a:gd name="T55" fmla="*/ 43 h 45"/>
                  <a:gd name="T56" fmla="*/ 6 w 46"/>
                  <a:gd name="T57" fmla="*/ 37 h 45"/>
                  <a:gd name="T58" fmla="*/ 0 w 46"/>
                  <a:gd name="T59" fmla="*/ 24 h 45"/>
                  <a:gd name="T60" fmla="*/ 6 w 46"/>
                  <a:gd name="T61" fmla="*/ 13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46" h="45">
                    <a:moveTo>
                      <a:pt x="6" y="13"/>
                    </a:moveTo>
                    <a:cubicBezTo>
                      <a:pt x="12" y="19"/>
                      <a:pt x="12" y="19"/>
                      <a:pt x="12" y="19"/>
                    </a:cubicBezTo>
                    <a:cubicBezTo>
                      <a:pt x="10" y="21"/>
                      <a:pt x="9" y="24"/>
                      <a:pt x="9" y="26"/>
                    </a:cubicBezTo>
                    <a:cubicBezTo>
                      <a:pt x="9" y="28"/>
                      <a:pt x="10" y="30"/>
                      <a:pt x="11" y="32"/>
                    </a:cubicBezTo>
                    <a:cubicBezTo>
                      <a:pt x="13" y="34"/>
                      <a:pt x="15" y="35"/>
                      <a:pt x="17" y="36"/>
                    </a:cubicBezTo>
                    <a:cubicBezTo>
                      <a:pt x="19" y="36"/>
                      <a:pt x="20" y="36"/>
                      <a:pt x="22" y="35"/>
                    </a:cubicBezTo>
                    <a:cubicBezTo>
                      <a:pt x="22" y="34"/>
                      <a:pt x="23" y="33"/>
                      <a:pt x="23" y="32"/>
                    </a:cubicBezTo>
                    <a:cubicBezTo>
                      <a:pt x="23" y="32"/>
                      <a:pt x="23" y="30"/>
                      <a:pt x="22" y="29"/>
                    </a:cubicBezTo>
                    <a:cubicBezTo>
                      <a:pt x="22" y="28"/>
                      <a:pt x="21" y="26"/>
                      <a:pt x="19" y="22"/>
                    </a:cubicBezTo>
                    <a:cubicBezTo>
                      <a:pt x="17" y="18"/>
                      <a:pt x="16" y="14"/>
                      <a:pt x="16" y="12"/>
                    </a:cubicBezTo>
                    <a:cubicBezTo>
                      <a:pt x="17" y="8"/>
                      <a:pt x="18" y="5"/>
                      <a:pt x="21" y="3"/>
                    </a:cubicBezTo>
                    <a:cubicBezTo>
                      <a:pt x="23" y="1"/>
                      <a:pt x="25" y="1"/>
                      <a:pt x="27" y="0"/>
                    </a:cubicBezTo>
                    <a:cubicBezTo>
                      <a:pt x="29" y="0"/>
                      <a:pt x="31" y="1"/>
                      <a:pt x="34" y="2"/>
                    </a:cubicBezTo>
                    <a:cubicBezTo>
                      <a:pt x="36" y="3"/>
                      <a:pt x="38" y="5"/>
                      <a:pt x="40" y="8"/>
                    </a:cubicBezTo>
                    <a:cubicBezTo>
                      <a:pt x="44" y="12"/>
                      <a:pt x="46" y="16"/>
                      <a:pt x="45" y="19"/>
                    </a:cubicBezTo>
                    <a:cubicBezTo>
                      <a:pt x="45" y="23"/>
                      <a:pt x="44" y="26"/>
                      <a:pt x="41" y="29"/>
                    </a:cubicBezTo>
                    <a:cubicBezTo>
                      <a:pt x="35" y="22"/>
                      <a:pt x="35" y="22"/>
                      <a:pt x="35" y="22"/>
                    </a:cubicBezTo>
                    <a:cubicBezTo>
                      <a:pt x="36" y="21"/>
                      <a:pt x="37" y="19"/>
                      <a:pt x="37" y="17"/>
                    </a:cubicBezTo>
                    <a:cubicBezTo>
                      <a:pt x="37" y="16"/>
                      <a:pt x="36" y="14"/>
                      <a:pt x="35" y="12"/>
                    </a:cubicBezTo>
                    <a:cubicBezTo>
                      <a:pt x="33" y="10"/>
                      <a:pt x="31" y="9"/>
                      <a:pt x="30" y="8"/>
                    </a:cubicBezTo>
                    <a:cubicBezTo>
                      <a:pt x="28" y="8"/>
                      <a:pt x="27" y="8"/>
                      <a:pt x="27" y="9"/>
                    </a:cubicBezTo>
                    <a:cubicBezTo>
                      <a:pt x="26" y="10"/>
                      <a:pt x="25" y="11"/>
                      <a:pt x="25" y="12"/>
                    </a:cubicBezTo>
                    <a:cubicBezTo>
                      <a:pt x="25" y="13"/>
                      <a:pt x="26" y="16"/>
                      <a:pt x="28" y="20"/>
                    </a:cubicBezTo>
                    <a:cubicBezTo>
                      <a:pt x="30" y="24"/>
                      <a:pt x="31" y="27"/>
                      <a:pt x="32" y="29"/>
                    </a:cubicBezTo>
                    <a:cubicBezTo>
                      <a:pt x="32" y="32"/>
                      <a:pt x="32" y="34"/>
                      <a:pt x="31" y="36"/>
                    </a:cubicBezTo>
                    <a:cubicBezTo>
                      <a:pt x="31" y="38"/>
                      <a:pt x="29" y="40"/>
                      <a:pt x="27" y="42"/>
                    </a:cubicBezTo>
                    <a:cubicBezTo>
                      <a:pt x="25" y="43"/>
                      <a:pt x="23" y="44"/>
                      <a:pt x="20" y="45"/>
                    </a:cubicBezTo>
                    <a:cubicBezTo>
                      <a:pt x="18" y="45"/>
                      <a:pt x="15" y="44"/>
                      <a:pt x="13" y="43"/>
                    </a:cubicBezTo>
                    <a:cubicBezTo>
                      <a:pt x="10" y="42"/>
                      <a:pt x="8" y="40"/>
                      <a:pt x="6" y="37"/>
                    </a:cubicBezTo>
                    <a:cubicBezTo>
                      <a:pt x="2" y="32"/>
                      <a:pt x="0" y="28"/>
                      <a:pt x="0" y="24"/>
                    </a:cubicBezTo>
                    <a:cubicBezTo>
                      <a:pt x="1" y="20"/>
                      <a:pt x="2" y="17"/>
                      <a:pt x="6" y="1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41" name="í$ļîḋê"/>
              <p:cNvSpPr/>
              <p:nvPr/>
            </p:nvSpPr>
            <p:spPr bwMode="auto">
              <a:xfrm>
                <a:off x="1868384" y="5844178"/>
                <a:ext cx="82550" cy="82550"/>
              </a:xfrm>
              <a:custGeom>
                <a:avLst/>
                <a:gdLst>
                  <a:gd name="T0" fmla="*/ 25 w 45"/>
                  <a:gd name="T1" fmla="*/ 33 h 45"/>
                  <a:gd name="T2" fmla="*/ 29 w 45"/>
                  <a:gd name="T3" fmla="*/ 41 h 45"/>
                  <a:gd name="T4" fmla="*/ 17 w 45"/>
                  <a:gd name="T5" fmla="*/ 44 h 45"/>
                  <a:gd name="T6" fmla="*/ 6 w 45"/>
                  <a:gd name="T7" fmla="*/ 38 h 45"/>
                  <a:gd name="T8" fmla="*/ 0 w 45"/>
                  <a:gd name="T9" fmla="*/ 24 h 45"/>
                  <a:gd name="T10" fmla="*/ 8 w 45"/>
                  <a:gd name="T11" fmla="*/ 8 h 45"/>
                  <a:gd name="T12" fmla="*/ 24 w 45"/>
                  <a:gd name="T13" fmla="*/ 0 h 45"/>
                  <a:gd name="T14" fmla="*/ 39 w 45"/>
                  <a:gd name="T15" fmla="*/ 7 h 45"/>
                  <a:gd name="T16" fmla="*/ 45 w 45"/>
                  <a:gd name="T17" fmla="*/ 19 h 45"/>
                  <a:gd name="T18" fmla="*/ 42 w 45"/>
                  <a:gd name="T19" fmla="*/ 28 h 45"/>
                  <a:gd name="T20" fmla="*/ 34 w 45"/>
                  <a:gd name="T21" fmla="*/ 23 h 45"/>
                  <a:gd name="T22" fmla="*/ 36 w 45"/>
                  <a:gd name="T23" fmla="*/ 17 h 45"/>
                  <a:gd name="T24" fmla="*/ 33 w 45"/>
                  <a:gd name="T25" fmla="*/ 12 h 45"/>
                  <a:gd name="T26" fmla="*/ 25 w 45"/>
                  <a:gd name="T27" fmla="*/ 9 h 45"/>
                  <a:gd name="T28" fmla="*/ 15 w 45"/>
                  <a:gd name="T29" fmla="*/ 14 h 45"/>
                  <a:gd name="T30" fmla="*/ 8 w 45"/>
                  <a:gd name="T31" fmla="*/ 25 h 45"/>
                  <a:gd name="T32" fmla="*/ 11 w 45"/>
                  <a:gd name="T33" fmla="*/ 33 h 45"/>
                  <a:gd name="T34" fmla="*/ 17 w 45"/>
                  <a:gd name="T35" fmla="*/ 36 h 45"/>
                  <a:gd name="T36" fmla="*/ 25 w 45"/>
                  <a:gd name="T37" fmla="*/ 33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45" h="45">
                    <a:moveTo>
                      <a:pt x="25" y="33"/>
                    </a:moveTo>
                    <a:cubicBezTo>
                      <a:pt x="29" y="41"/>
                      <a:pt x="29" y="41"/>
                      <a:pt x="29" y="41"/>
                    </a:cubicBezTo>
                    <a:cubicBezTo>
                      <a:pt x="25" y="44"/>
                      <a:pt x="21" y="45"/>
                      <a:pt x="17" y="44"/>
                    </a:cubicBezTo>
                    <a:cubicBezTo>
                      <a:pt x="13" y="44"/>
                      <a:pt x="9" y="42"/>
                      <a:pt x="6" y="38"/>
                    </a:cubicBezTo>
                    <a:cubicBezTo>
                      <a:pt x="2" y="34"/>
                      <a:pt x="0" y="29"/>
                      <a:pt x="0" y="24"/>
                    </a:cubicBezTo>
                    <a:cubicBezTo>
                      <a:pt x="0" y="19"/>
                      <a:pt x="3" y="13"/>
                      <a:pt x="8" y="8"/>
                    </a:cubicBezTo>
                    <a:cubicBezTo>
                      <a:pt x="13" y="3"/>
                      <a:pt x="18" y="1"/>
                      <a:pt x="24" y="0"/>
                    </a:cubicBezTo>
                    <a:cubicBezTo>
                      <a:pt x="29" y="0"/>
                      <a:pt x="34" y="2"/>
                      <a:pt x="39" y="7"/>
                    </a:cubicBezTo>
                    <a:cubicBezTo>
                      <a:pt x="42" y="10"/>
                      <a:pt x="44" y="15"/>
                      <a:pt x="45" y="19"/>
                    </a:cubicBezTo>
                    <a:cubicBezTo>
                      <a:pt x="45" y="22"/>
                      <a:pt x="44" y="25"/>
                      <a:pt x="42" y="28"/>
                    </a:cubicBezTo>
                    <a:cubicBezTo>
                      <a:pt x="34" y="23"/>
                      <a:pt x="34" y="23"/>
                      <a:pt x="34" y="23"/>
                    </a:cubicBezTo>
                    <a:cubicBezTo>
                      <a:pt x="36" y="21"/>
                      <a:pt x="36" y="19"/>
                      <a:pt x="36" y="17"/>
                    </a:cubicBezTo>
                    <a:cubicBezTo>
                      <a:pt x="36" y="15"/>
                      <a:pt x="35" y="13"/>
                      <a:pt x="33" y="12"/>
                    </a:cubicBezTo>
                    <a:cubicBezTo>
                      <a:pt x="31" y="9"/>
                      <a:pt x="28" y="8"/>
                      <a:pt x="25" y="9"/>
                    </a:cubicBezTo>
                    <a:cubicBezTo>
                      <a:pt x="22" y="9"/>
                      <a:pt x="18" y="11"/>
                      <a:pt x="15" y="14"/>
                    </a:cubicBezTo>
                    <a:cubicBezTo>
                      <a:pt x="11" y="18"/>
                      <a:pt x="9" y="22"/>
                      <a:pt x="8" y="25"/>
                    </a:cubicBezTo>
                    <a:cubicBezTo>
                      <a:pt x="8" y="28"/>
                      <a:pt x="9" y="31"/>
                      <a:pt x="11" y="33"/>
                    </a:cubicBezTo>
                    <a:cubicBezTo>
                      <a:pt x="13" y="35"/>
                      <a:pt x="15" y="36"/>
                      <a:pt x="17" y="36"/>
                    </a:cubicBezTo>
                    <a:cubicBezTo>
                      <a:pt x="20" y="36"/>
                      <a:pt x="22" y="35"/>
                      <a:pt x="25" y="3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42" name="íṩḷiḋé"/>
              <p:cNvSpPr/>
              <p:nvPr/>
            </p:nvSpPr>
            <p:spPr bwMode="auto">
              <a:xfrm>
                <a:off x="1916009" y="5887040"/>
                <a:ext cx="65088" cy="71438"/>
              </a:xfrm>
              <a:custGeom>
                <a:avLst/>
                <a:gdLst>
                  <a:gd name="T0" fmla="*/ 0 w 41"/>
                  <a:gd name="T1" fmla="*/ 38 h 45"/>
                  <a:gd name="T2" fmla="*/ 34 w 41"/>
                  <a:gd name="T3" fmla="*/ 0 h 45"/>
                  <a:gd name="T4" fmla="*/ 41 w 41"/>
                  <a:gd name="T5" fmla="*/ 6 h 45"/>
                  <a:gd name="T6" fmla="*/ 8 w 41"/>
                  <a:gd name="T7" fmla="*/ 45 h 45"/>
                  <a:gd name="T8" fmla="*/ 0 w 41"/>
                  <a:gd name="T9" fmla="*/ 38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1" h="45">
                    <a:moveTo>
                      <a:pt x="0" y="38"/>
                    </a:moveTo>
                    <a:lnTo>
                      <a:pt x="34" y="0"/>
                    </a:lnTo>
                    <a:lnTo>
                      <a:pt x="41" y="6"/>
                    </a:lnTo>
                    <a:lnTo>
                      <a:pt x="8" y="45"/>
                    </a:lnTo>
                    <a:lnTo>
                      <a:pt x="0" y="3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43" name="îsľïďé"/>
              <p:cNvSpPr/>
              <p:nvPr/>
            </p:nvSpPr>
            <p:spPr bwMode="auto">
              <a:xfrm>
                <a:off x="1941409" y="5904503"/>
                <a:ext cx="96838" cy="101600"/>
              </a:xfrm>
              <a:custGeom>
                <a:avLst/>
                <a:gdLst>
                  <a:gd name="T0" fmla="*/ 0 w 61"/>
                  <a:gd name="T1" fmla="*/ 41 h 64"/>
                  <a:gd name="T2" fmla="*/ 31 w 61"/>
                  <a:gd name="T3" fmla="*/ 0 h 64"/>
                  <a:gd name="T4" fmla="*/ 61 w 61"/>
                  <a:gd name="T5" fmla="*/ 22 h 64"/>
                  <a:gd name="T6" fmla="*/ 56 w 61"/>
                  <a:gd name="T7" fmla="*/ 29 h 64"/>
                  <a:gd name="T8" fmla="*/ 34 w 61"/>
                  <a:gd name="T9" fmla="*/ 13 h 64"/>
                  <a:gd name="T10" fmla="*/ 27 w 61"/>
                  <a:gd name="T11" fmla="*/ 22 h 64"/>
                  <a:gd name="T12" fmla="*/ 47 w 61"/>
                  <a:gd name="T13" fmla="*/ 37 h 64"/>
                  <a:gd name="T14" fmla="*/ 42 w 61"/>
                  <a:gd name="T15" fmla="*/ 44 h 64"/>
                  <a:gd name="T16" fmla="*/ 21 w 61"/>
                  <a:gd name="T17" fmla="*/ 29 h 64"/>
                  <a:gd name="T18" fmla="*/ 13 w 61"/>
                  <a:gd name="T19" fmla="*/ 40 h 64"/>
                  <a:gd name="T20" fmla="*/ 36 w 61"/>
                  <a:gd name="T21" fmla="*/ 57 h 64"/>
                  <a:gd name="T22" fmla="*/ 31 w 61"/>
                  <a:gd name="T23" fmla="*/ 64 h 64"/>
                  <a:gd name="T24" fmla="*/ 0 w 61"/>
                  <a:gd name="T25" fmla="*/ 41 h 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1" h="64">
                    <a:moveTo>
                      <a:pt x="0" y="41"/>
                    </a:moveTo>
                    <a:lnTo>
                      <a:pt x="31" y="0"/>
                    </a:lnTo>
                    <a:lnTo>
                      <a:pt x="61" y="22"/>
                    </a:lnTo>
                    <a:lnTo>
                      <a:pt x="56" y="29"/>
                    </a:lnTo>
                    <a:lnTo>
                      <a:pt x="34" y="13"/>
                    </a:lnTo>
                    <a:lnTo>
                      <a:pt x="27" y="22"/>
                    </a:lnTo>
                    <a:lnTo>
                      <a:pt x="47" y="37"/>
                    </a:lnTo>
                    <a:lnTo>
                      <a:pt x="42" y="44"/>
                    </a:lnTo>
                    <a:lnTo>
                      <a:pt x="21" y="29"/>
                    </a:lnTo>
                    <a:lnTo>
                      <a:pt x="13" y="40"/>
                    </a:lnTo>
                    <a:lnTo>
                      <a:pt x="36" y="57"/>
                    </a:lnTo>
                    <a:lnTo>
                      <a:pt x="31" y="64"/>
                    </a:lnTo>
                    <a:lnTo>
                      <a:pt x="0" y="4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44" name="íśliḋé"/>
              <p:cNvSpPr/>
              <p:nvPr/>
            </p:nvSpPr>
            <p:spPr bwMode="auto">
              <a:xfrm>
                <a:off x="2004909" y="5947365"/>
                <a:ext cx="96838" cy="101600"/>
              </a:xfrm>
              <a:custGeom>
                <a:avLst/>
                <a:gdLst>
                  <a:gd name="T0" fmla="*/ 0 w 61"/>
                  <a:gd name="T1" fmla="*/ 43 h 64"/>
                  <a:gd name="T2" fmla="*/ 27 w 61"/>
                  <a:gd name="T3" fmla="*/ 0 h 64"/>
                  <a:gd name="T4" fmla="*/ 35 w 61"/>
                  <a:gd name="T5" fmla="*/ 5 h 64"/>
                  <a:gd name="T6" fmla="*/ 36 w 61"/>
                  <a:gd name="T7" fmla="*/ 45 h 64"/>
                  <a:gd name="T8" fmla="*/ 53 w 61"/>
                  <a:gd name="T9" fmla="*/ 15 h 64"/>
                  <a:gd name="T10" fmla="*/ 61 w 61"/>
                  <a:gd name="T11" fmla="*/ 21 h 64"/>
                  <a:gd name="T12" fmla="*/ 35 w 61"/>
                  <a:gd name="T13" fmla="*/ 64 h 64"/>
                  <a:gd name="T14" fmla="*/ 27 w 61"/>
                  <a:gd name="T15" fmla="*/ 59 h 64"/>
                  <a:gd name="T16" fmla="*/ 25 w 61"/>
                  <a:gd name="T17" fmla="*/ 20 h 64"/>
                  <a:gd name="T18" fmla="*/ 8 w 61"/>
                  <a:gd name="T19" fmla="*/ 49 h 64"/>
                  <a:gd name="T20" fmla="*/ 0 w 61"/>
                  <a:gd name="T21" fmla="*/ 43 h 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61" h="64">
                    <a:moveTo>
                      <a:pt x="0" y="43"/>
                    </a:moveTo>
                    <a:lnTo>
                      <a:pt x="27" y="0"/>
                    </a:lnTo>
                    <a:lnTo>
                      <a:pt x="35" y="5"/>
                    </a:lnTo>
                    <a:lnTo>
                      <a:pt x="36" y="45"/>
                    </a:lnTo>
                    <a:lnTo>
                      <a:pt x="53" y="15"/>
                    </a:lnTo>
                    <a:lnTo>
                      <a:pt x="61" y="21"/>
                    </a:lnTo>
                    <a:lnTo>
                      <a:pt x="35" y="64"/>
                    </a:lnTo>
                    <a:lnTo>
                      <a:pt x="27" y="59"/>
                    </a:lnTo>
                    <a:lnTo>
                      <a:pt x="25" y="20"/>
                    </a:lnTo>
                    <a:lnTo>
                      <a:pt x="8" y="49"/>
                    </a:lnTo>
                    <a:lnTo>
                      <a:pt x="0" y="4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45" name="iSļiďê"/>
              <p:cNvSpPr/>
              <p:nvPr/>
            </p:nvSpPr>
            <p:spPr bwMode="auto">
              <a:xfrm>
                <a:off x="2087459" y="5993403"/>
                <a:ext cx="79375" cy="87313"/>
              </a:xfrm>
              <a:custGeom>
                <a:avLst/>
                <a:gdLst>
                  <a:gd name="T0" fmla="*/ 28 w 43"/>
                  <a:gd name="T1" fmla="*/ 33 h 47"/>
                  <a:gd name="T2" fmla="*/ 34 w 43"/>
                  <a:gd name="T3" fmla="*/ 39 h 47"/>
                  <a:gd name="T4" fmla="*/ 24 w 43"/>
                  <a:gd name="T5" fmla="*/ 46 h 47"/>
                  <a:gd name="T6" fmla="*/ 12 w 43"/>
                  <a:gd name="T7" fmla="*/ 44 h 47"/>
                  <a:gd name="T8" fmla="*/ 1 w 43"/>
                  <a:gd name="T9" fmla="*/ 33 h 47"/>
                  <a:gd name="T10" fmla="*/ 3 w 43"/>
                  <a:gd name="T11" fmla="*/ 15 h 47"/>
                  <a:gd name="T12" fmla="*/ 15 w 43"/>
                  <a:gd name="T13" fmla="*/ 2 h 47"/>
                  <a:gd name="T14" fmla="*/ 32 w 43"/>
                  <a:gd name="T15" fmla="*/ 3 h 47"/>
                  <a:gd name="T16" fmla="*/ 41 w 43"/>
                  <a:gd name="T17" fmla="*/ 13 h 47"/>
                  <a:gd name="T18" fmla="*/ 42 w 43"/>
                  <a:gd name="T19" fmla="*/ 22 h 47"/>
                  <a:gd name="T20" fmla="*/ 33 w 43"/>
                  <a:gd name="T21" fmla="*/ 20 h 47"/>
                  <a:gd name="T22" fmla="*/ 33 w 43"/>
                  <a:gd name="T23" fmla="*/ 14 h 47"/>
                  <a:gd name="T24" fmla="*/ 28 w 43"/>
                  <a:gd name="T25" fmla="*/ 10 h 47"/>
                  <a:gd name="T26" fmla="*/ 19 w 43"/>
                  <a:gd name="T27" fmla="*/ 10 h 47"/>
                  <a:gd name="T28" fmla="*/ 12 w 43"/>
                  <a:gd name="T29" fmla="*/ 19 h 47"/>
                  <a:gd name="T30" fmla="*/ 9 w 43"/>
                  <a:gd name="T31" fmla="*/ 31 h 47"/>
                  <a:gd name="T32" fmla="*/ 15 w 43"/>
                  <a:gd name="T33" fmla="*/ 37 h 47"/>
                  <a:gd name="T34" fmla="*/ 22 w 43"/>
                  <a:gd name="T35" fmla="*/ 38 h 47"/>
                  <a:gd name="T36" fmla="*/ 28 w 43"/>
                  <a:gd name="T37" fmla="*/ 33 h 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43" h="47">
                    <a:moveTo>
                      <a:pt x="28" y="33"/>
                    </a:moveTo>
                    <a:cubicBezTo>
                      <a:pt x="34" y="39"/>
                      <a:pt x="34" y="39"/>
                      <a:pt x="34" y="39"/>
                    </a:cubicBezTo>
                    <a:cubicBezTo>
                      <a:pt x="31" y="43"/>
                      <a:pt x="28" y="45"/>
                      <a:pt x="24" y="46"/>
                    </a:cubicBezTo>
                    <a:cubicBezTo>
                      <a:pt x="20" y="47"/>
                      <a:pt x="16" y="46"/>
                      <a:pt x="12" y="44"/>
                    </a:cubicBezTo>
                    <a:cubicBezTo>
                      <a:pt x="7" y="42"/>
                      <a:pt x="3" y="38"/>
                      <a:pt x="1" y="33"/>
                    </a:cubicBezTo>
                    <a:cubicBezTo>
                      <a:pt x="0" y="27"/>
                      <a:pt x="0" y="22"/>
                      <a:pt x="3" y="15"/>
                    </a:cubicBezTo>
                    <a:cubicBezTo>
                      <a:pt x="6" y="9"/>
                      <a:pt x="10" y="4"/>
                      <a:pt x="15" y="2"/>
                    </a:cubicBezTo>
                    <a:cubicBezTo>
                      <a:pt x="21" y="0"/>
                      <a:pt x="26" y="1"/>
                      <a:pt x="32" y="3"/>
                    </a:cubicBezTo>
                    <a:cubicBezTo>
                      <a:pt x="36" y="5"/>
                      <a:pt x="40" y="9"/>
                      <a:pt x="41" y="13"/>
                    </a:cubicBezTo>
                    <a:cubicBezTo>
                      <a:pt x="42" y="16"/>
                      <a:pt x="43" y="19"/>
                      <a:pt x="42" y="22"/>
                    </a:cubicBezTo>
                    <a:cubicBezTo>
                      <a:pt x="33" y="20"/>
                      <a:pt x="33" y="20"/>
                      <a:pt x="33" y="20"/>
                    </a:cubicBezTo>
                    <a:cubicBezTo>
                      <a:pt x="34" y="18"/>
                      <a:pt x="34" y="16"/>
                      <a:pt x="33" y="14"/>
                    </a:cubicBezTo>
                    <a:cubicBezTo>
                      <a:pt x="32" y="12"/>
                      <a:pt x="30" y="11"/>
                      <a:pt x="28" y="10"/>
                    </a:cubicBezTo>
                    <a:cubicBezTo>
                      <a:pt x="25" y="8"/>
                      <a:pt x="22" y="8"/>
                      <a:pt x="19" y="10"/>
                    </a:cubicBezTo>
                    <a:cubicBezTo>
                      <a:pt x="16" y="11"/>
                      <a:pt x="14" y="14"/>
                      <a:pt x="12" y="19"/>
                    </a:cubicBezTo>
                    <a:cubicBezTo>
                      <a:pt x="9" y="24"/>
                      <a:pt x="9" y="28"/>
                      <a:pt x="9" y="31"/>
                    </a:cubicBezTo>
                    <a:cubicBezTo>
                      <a:pt x="10" y="34"/>
                      <a:pt x="12" y="36"/>
                      <a:pt x="15" y="37"/>
                    </a:cubicBezTo>
                    <a:cubicBezTo>
                      <a:pt x="17" y="38"/>
                      <a:pt x="19" y="38"/>
                      <a:pt x="22" y="38"/>
                    </a:cubicBezTo>
                    <a:cubicBezTo>
                      <a:pt x="24" y="37"/>
                      <a:pt x="26" y="35"/>
                      <a:pt x="28" y="3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46" name="íSliḋé"/>
              <p:cNvSpPr/>
              <p:nvPr/>
            </p:nvSpPr>
            <p:spPr bwMode="auto">
              <a:xfrm>
                <a:off x="2157309" y="6017215"/>
                <a:ext cx="82550" cy="96838"/>
              </a:xfrm>
              <a:custGeom>
                <a:avLst/>
                <a:gdLst>
                  <a:gd name="T0" fmla="*/ 0 w 52"/>
                  <a:gd name="T1" fmla="*/ 49 h 61"/>
                  <a:gd name="T2" fmla="*/ 16 w 52"/>
                  <a:gd name="T3" fmla="*/ 0 h 61"/>
                  <a:gd name="T4" fmla="*/ 52 w 52"/>
                  <a:gd name="T5" fmla="*/ 13 h 61"/>
                  <a:gd name="T6" fmla="*/ 50 w 52"/>
                  <a:gd name="T7" fmla="*/ 21 h 61"/>
                  <a:gd name="T8" fmla="*/ 23 w 52"/>
                  <a:gd name="T9" fmla="*/ 12 h 61"/>
                  <a:gd name="T10" fmla="*/ 20 w 52"/>
                  <a:gd name="T11" fmla="*/ 22 h 61"/>
                  <a:gd name="T12" fmla="*/ 44 w 52"/>
                  <a:gd name="T13" fmla="*/ 30 h 61"/>
                  <a:gd name="T14" fmla="*/ 41 w 52"/>
                  <a:gd name="T15" fmla="*/ 38 h 61"/>
                  <a:gd name="T16" fmla="*/ 18 w 52"/>
                  <a:gd name="T17" fmla="*/ 30 h 61"/>
                  <a:gd name="T18" fmla="*/ 13 w 52"/>
                  <a:gd name="T19" fmla="*/ 43 h 61"/>
                  <a:gd name="T20" fmla="*/ 40 w 52"/>
                  <a:gd name="T21" fmla="*/ 52 h 61"/>
                  <a:gd name="T22" fmla="*/ 36 w 52"/>
                  <a:gd name="T23" fmla="*/ 61 h 61"/>
                  <a:gd name="T24" fmla="*/ 0 w 52"/>
                  <a:gd name="T25" fmla="*/ 49 h 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52" h="61">
                    <a:moveTo>
                      <a:pt x="0" y="49"/>
                    </a:moveTo>
                    <a:lnTo>
                      <a:pt x="16" y="0"/>
                    </a:lnTo>
                    <a:lnTo>
                      <a:pt x="52" y="13"/>
                    </a:lnTo>
                    <a:lnTo>
                      <a:pt x="50" y="21"/>
                    </a:lnTo>
                    <a:lnTo>
                      <a:pt x="23" y="12"/>
                    </a:lnTo>
                    <a:lnTo>
                      <a:pt x="20" y="22"/>
                    </a:lnTo>
                    <a:lnTo>
                      <a:pt x="44" y="30"/>
                    </a:lnTo>
                    <a:lnTo>
                      <a:pt x="41" y="38"/>
                    </a:lnTo>
                    <a:lnTo>
                      <a:pt x="18" y="30"/>
                    </a:lnTo>
                    <a:lnTo>
                      <a:pt x="13" y="43"/>
                    </a:lnTo>
                    <a:lnTo>
                      <a:pt x="40" y="52"/>
                    </a:lnTo>
                    <a:lnTo>
                      <a:pt x="36" y="61"/>
                    </a:lnTo>
                    <a:lnTo>
                      <a:pt x="0" y="4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47" name="îŝ1îḑè"/>
              <p:cNvSpPr/>
              <p:nvPr/>
            </p:nvSpPr>
            <p:spPr bwMode="auto">
              <a:xfrm>
                <a:off x="2663722" y="6026740"/>
                <a:ext cx="77788" cy="92075"/>
              </a:xfrm>
              <a:custGeom>
                <a:avLst/>
                <a:gdLst>
                  <a:gd name="T0" fmla="*/ 49 w 49"/>
                  <a:gd name="T1" fmla="*/ 42 h 58"/>
                  <a:gd name="T2" fmla="*/ 39 w 49"/>
                  <a:gd name="T3" fmla="*/ 45 h 58"/>
                  <a:gd name="T4" fmla="*/ 31 w 49"/>
                  <a:gd name="T5" fmla="*/ 36 h 58"/>
                  <a:gd name="T6" fmla="*/ 11 w 49"/>
                  <a:gd name="T7" fmla="*/ 43 h 58"/>
                  <a:gd name="T8" fmla="*/ 11 w 49"/>
                  <a:gd name="T9" fmla="*/ 55 h 58"/>
                  <a:gd name="T10" fmla="*/ 0 w 49"/>
                  <a:gd name="T11" fmla="*/ 58 h 58"/>
                  <a:gd name="T12" fmla="*/ 3 w 49"/>
                  <a:gd name="T13" fmla="*/ 3 h 58"/>
                  <a:gd name="T14" fmla="*/ 13 w 49"/>
                  <a:gd name="T15" fmla="*/ 0 h 58"/>
                  <a:gd name="T16" fmla="*/ 49 w 49"/>
                  <a:gd name="T17" fmla="*/ 42 h 58"/>
                  <a:gd name="T18" fmla="*/ 25 w 49"/>
                  <a:gd name="T19" fmla="*/ 29 h 58"/>
                  <a:gd name="T20" fmla="*/ 12 w 49"/>
                  <a:gd name="T21" fmla="*/ 14 h 58"/>
                  <a:gd name="T22" fmla="*/ 11 w 49"/>
                  <a:gd name="T23" fmla="*/ 34 h 58"/>
                  <a:gd name="T24" fmla="*/ 25 w 49"/>
                  <a:gd name="T25" fmla="*/ 29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49" h="58">
                    <a:moveTo>
                      <a:pt x="49" y="42"/>
                    </a:moveTo>
                    <a:lnTo>
                      <a:pt x="39" y="45"/>
                    </a:lnTo>
                    <a:lnTo>
                      <a:pt x="31" y="36"/>
                    </a:lnTo>
                    <a:lnTo>
                      <a:pt x="11" y="43"/>
                    </a:lnTo>
                    <a:lnTo>
                      <a:pt x="11" y="55"/>
                    </a:lnTo>
                    <a:lnTo>
                      <a:pt x="0" y="58"/>
                    </a:lnTo>
                    <a:lnTo>
                      <a:pt x="3" y="3"/>
                    </a:lnTo>
                    <a:lnTo>
                      <a:pt x="13" y="0"/>
                    </a:lnTo>
                    <a:lnTo>
                      <a:pt x="49" y="42"/>
                    </a:lnTo>
                    <a:close/>
                    <a:moveTo>
                      <a:pt x="25" y="29"/>
                    </a:moveTo>
                    <a:lnTo>
                      <a:pt x="12" y="14"/>
                    </a:lnTo>
                    <a:lnTo>
                      <a:pt x="11" y="34"/>
                    </a:lnTo>
                    <a:lnTo>
                      <a:pt x="25" y="2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48" name="íṩḻiḋê"/>
              <p:cNvSpPr/>
              <p:nvPr/>
            </p:nvSpPr>
            <p:spPr bwMode="auto">
              <a:xfrm>
                <a:off x="2714522" y="5990228"/>
                <a:ext cx="92075" cy="101600"/>
              </a:xfrm>
              <a:custGeom>
                <a:avLst/>
                <a:gdLst>
                  <a:gd name="T0" fmla="*/ 21 w 58"/>
                  <a:gd name="T1" fmla="*/ 64 h 64"/>
                  <a:gd name="T2" fmla="*/ 0 w 58"/>
                  <a:gd name="T3" fmla="*/ 17 h 64"/>
                  <a:gd name="T4" fmla="*/ 9 w 58"/>
                  <a:gd name="T5" fmla="*/ 12 h 64"/>
                  <a:gd name="T6" fmla="*/ 43 w 58"/>
                  <a:gd name="T7" fmla="*/ 36 h 64"/>
                  <a:gd name="T8" fmla="*/ 29 w 58"/>
                  <a:gd name="T9" fmla="*/ 4 h 64"/>
                  <a:gd name="T10" fmla="*/ 37 w 58"/>
                  <a:gd name="T11" fmla="*/ 0 h 64"/>
                  <a:gd name="T12" fmla="*/ 58 w 58"/>
                  <a:gd name="T13" fmla="*/ 46 h 64"/>
                  <a:gd name="T14" fmla="*/ 49 w 58"/>
                  <a:gd name="T15" fmla="*/ 51 h 64"/>
                  <a:gd name="T16" fmla="*/ 16 w 58"/>
                  <a:gd name="T17" fmla="*/ 29 h 64"/>
                  <a:gd name="T18" fmla="*/ 30 w 58"/>
                  <a:gd name="T19" fmla="*/ 59 h 64"/>
                  <a:gd name="T20" fmla="*/ 21 w 58"/>
                  <a:gd name="T21" fmla="*/ 64 h 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58" h="64">
                    <a:moveTo>
                      <a:pt x="21" y="64"/>
                    </a:moveTo>
                    <a:lnTo>
                      <a:pt x="0" y="17"/>
                    </a:lnTo>
                    <a:lnTo>
                      <a:pt x="9" y="12"/>
                    </a:lnTo>
                    <a:lnTo>
                      <a:pt x="43" y="36"/>
                    </a:lnTo>
                    <a:lnTo>
                      <a:pt x="29" y="4"/>
                    </a:lnTo>
                    <a:lnTo>
                      <a:pt x="37" y="0"/>
                    </a:lnTo>
                    <a:lnTo>
                      <a:pt x="58" y="46"/>
                    </a:lnTo>
                    <a:lnTo>
                      <a:pt x="49" y="51"/>
                    </a:lnTo>
                    <a:lnTo>
                      <a:pt x="16" y="29"/>
                    </a:lnTo>
                    <a:lnTo>
                      <a:pt x="30" y="59"/>
                    </a:lnTo>
                    <a:lnTo>
                      <a:pt x="21" y="6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49" name="îṧľíḍe"/>
              <p:cNvSpPr/>
              <p:nvPr/>
            </p:nvSpPr>
            <p:spPr bwMode="auto">
              <a:xfrm>
                <a:off x="2781197" y="5963240"/>
                <a:ext cx="85725" cy="95250"/>
              </a:xfrm>
              <a:custGeom>
                <a:avLst/>
                <a:gdLst>
                  <a:gd name="T0" fmla="*/ 0 w 47"/>
                  <a:gd name="T1" fmla="*/ 13 h 51"/>
                  <a:gd name="T2" fmla="*/ 14 w 47"/>
                  <a:gd name="T3" fmla="*/ 4 h 51"/>
                  <a:gd name="T4" fmla="*/ 22 w 47"/>
                  <a:gd name="T5" fmla="*/ 1 h 51"/>
                  <a:gd name="T6" fmla="*/ 29 w 47"/>
                  <a:gd name="T7" fmla="*/ 1 h 51"/>
                  <a:gd name="T8" fmla="*/ 37 w 47"/>
                  <a:gd name="T9" fmla="*/ 5 h 51"/>
                  <a:gd name="T10" fmla="*/ 43 w 47"/>
                  <a:gd name="T11" fmla="*/ 14 h 51"/>
                  <a:gd name="T12" fmla="*/ 47 w 47"/>
                  <a:gd name="T13" fmla="*/ 22 h 51"/>
                  <a:gd name="T14" fmla="*/ 46 w 47"/>
                  <a:gd name="T15" fmla="*/ 31 h 51"/>
                  <a:gd name="T16" fmla="*/ 43 w 47"/>
                  <a:gd name="T17" fmla="*/ 38 h 51"/>
                  <a:gd name="T18" fmla="*/ 36 w 47"/>
                  <a:gd name="T19" fmla="*/ 42 h 51"/>
                  <a:gd name="T20" fmla="*/ 22 w 47"/>
                  <a:gd name="T21" fmla="*/ 51 h 51"/>
                  <a:gd name="T22" fmla="*/ 0 w 47"/>
                  <a:gd name="T23" fmla="*/ 13 h 51"/>
                  <a:gd name="T24" fmla="*/ 11 w 47"/>
                  <a:gd name="T25" fmla="*/ 15 h 51"/>
                  <a:gd name="T26" fmla="*/ 26 w 47"/>
                  <a:gd name="T27" fmla="*/ 40 h 51"/>
                  <a:gd name="T28" fmla="*/ 32 w 47"/>
                  <a:gd name="T29" fmla="*/ 37 h 51"/>
                  <a:gd name="T30" fmla="*/ 36 w 47"/>
                  <a:gd name="T31" fmla="*/ 33 h 51"/>
                  <a:gd name="T32" fmla="*/ 38 w 47"/>
                  <a:gd name="T33" fmla="*/ 30 h 51"/>
                  <a:gd name="T34" fmla="*/ 38 w 47"/>
                  <a:gd name="T35" fmla="*/ 25 h 51"/>
                  <a:gd name="T36" fmla="*/ 35 w 47"/>
                  <a:gd name="T37" fmla="*/ 18 h 51"/>
                  <a:gd name="T38" fmla="*/ 30 w 47"/>
                  <a:gd name="T39" fmla="*/ 11 h 51"/>
                  <a:gd name="T40" fmla="*/ 26 w 47"/>
                  <a:gd name="T41" fmla="*/ 9 h 51"/>
                  <a:gd name="T42" fmla="*/ 21 w 47"/>
                  <a:gd name="T43" fmla="*/ 9 h 51"/>
                  <a:gd name="T44" fmla="*/ 15 w 47"/>
                  <a:gd name="T45" fmla="*/ 13 h 51"/>
                  <a:gd name="T46" fmla="*/ 11 w 47"/>
                  <a:gd name="T47" fmla="*/ 15 h 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47" h="51">
                    <a:moveTo>
                      <a:pt x="0" y="13"/>
                    </a:moveTo>
                    <a:cubicBezTo>
                      <a:pt x="14" y="4"/>
                      <a:pt x="14" y="4"/>
                      <a:pt x="14" y="4"/>
                    </a:cubicBezTo>
                    <a:cubicBezTo>
                      <a:pt x="17" y="3"/>
                      <a:pt x="20" y="1"/>
                      <a:pt x="22" y="1"/>
                    </a:cubicBezTo>
                    <a:cubicBezTo>
                      <a:pt x="24" y="0"/>
                      <a:pt x="27" y="0"/>
                      <a:pt x="29" y="1"/>
                    </a:cubicBezTo>
                    <a:cubicBezTo>
                      <a:pt x="32" y="2"/>
                      <a:pt x="34" y="3"/>
                      <a:pt x="37" y="5"/>
                    </a:cubicBezTo>
                    <a:cubicBezTo>
                      <a:pt x="39" y="7"/>
                      <a:pt x="41" y="10"/>
                      <a:pt x="43" y="14"/>
                    </a:cubicBezTo>
                    <a:cubicBezTo>
                      <a:pt x="45" y="17"/>
                      <a:pt x="46" y="20"/>
                      <a:pt x="47" y="22"/>
                    </a:cubicBezTo>
                    <a:cubicBezTo>
                      <a:pt x="47" y="26"/>
                      <a:pt x="47" y="29"/>
                      <a:pt x="46" y="31"/>
                    </a:cubicBezTo>
                    <a:cubicBezTo>
                      <a:pt x="46" y="34"/>
                      <a:pt x="45" y="36"/>
                      <a:pt x="43" y="38"/>
                    </a:cubicBezTo>
                    <a:cubicBezTo>
                      <a:pt x="41" y="39"/>
                      <a:pt x="39" y="41"/>
                      <a:pt x="36" y="42"/>
                    </a:cubicBezTo>
                    <a:cubicBezTo>
                      <a:pt x="22" y="51"/>
                      <a:pt x="22" y="51"/>
                      <a:pt x="22" y="51"/>
                    </a:cubicBezTo>
                    <a:lnTo>
                      <a:pt x="0" y="13"/>
                    </a:lnTo>
                    <a:close/>
                    <a:moveTo>
                      <a:pt x="11" y="15"/>
                    </a:moveTo>
                    <a:cubicBezTo>
                      <a:pt x="26" y="40"/>
                      <a:pt x="26" y="40"/>
                      <a:pt x="26" y="40"/>
                    </a:cubicBezTo>
                    <a:cubicBezTo>
                      <a:pt x="32" y="37"/>
                      <a:pt x="32" y="37"/>
                      <a:pt x="32" y="37"/>
                    </a:cubicBezTo>
                    <a:cubicBezTo>
                      <a:pt x="34" y="35"/>
                      <a:pt x="35" y="34"/>
                      <a:pt x="36" y="33"/>
                    </a:cubicBezTo>
                    <a:cubicBezTo>
                      <a:pt x="37" y="32"/>
                      <a:pt x="38" y="31"/>
                      <a:pt x="38" y="30"/>
                    </a:cubicBezTo>
                    <a:cubicBezTo>
                      <a:pt x="39" y="29"/>
                      <a:pt x="39" y="27"/>
                      <a:pt x="38" y="25"/>
                    </a:cubicBezTo>
                    <a:cubicBezTo>
                      <a:pt x="38" y="23"/>
                      <a:pt x="37" y="21"/>
                      <a:pt x="35" y="18"/>
                    </a:cubicBezTo>
                    <a:cubicBezTo>
                      <a:pt x="33" y="15"/>
                      <a:pt x="32" y="13"/>
                      <a:pt x="30" y="11"/>
                    </a:cubicBezTo>
                    <a:cubicBezTo>
                      <a:pt x="29" y="10"/>
                      <a:pt x="27" y="9"/>
                      <a:pt x="26" y="9"/>
                    </a:cubicBezTo>
                    <a:cubicBezTo>
                      <a:pt x="25" y="9"/>
                      <a:pt x="23" y="9"/>
                      <a:pt x="21" y="9"/>
                    </a:cubicBezTo>
                    <a:cubicBezTo>
                      <a:pt x="20" y="10"/>
                      <a:pt x="18" y="11"/>
                      <a:pt x="15" y="13"/>
                    </a:cubicBezTo>
                    <a:lnTo>
                      <a:pt x="11" y="1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50" name="ïṩḻiḍe"/>
              <p:cNvSpPr/>
              <p:nvPr/>
            </p:nvSpPr>
            <p:spPr bwMode="auto">
              <a:xfrm>
                <a:off x="2876447" y="5888628"/>
                <a:ext cx="80963" cy="88900"/>
              </a:xfrm>
              <a:custGeom>
                <a:avLst/>
                <a:gdLst>
                  <a:gd name="T0" fmla="*/ 43 w 51"/>
                  <a:gd name="T1" fmla="*/ 56 h 56"/>
                  <a:gd name="T2" fmla="*/ 16 w 51"/>
                  <a:gd name="T3" fmla="*/ 22 h 56"/>
                  <a:gd name="T4" fmla="*/ 5 w 51"/>
                  <a:gd name="T5" fmla="*/ 31 h 56"/>
                  <a:gd name="T6" fmla="*/ 0 w 51"/>
                  <a:gd name="T7" fmla="*/ 25 h 56"/>
                  <a:gd name="T8" fmla="*/ 31 w 51"/>
                  <a:gd name="T9" fmla="*/ 0 h 56"/>
                  <a:gd name="T10" fmla="*/ 37 w 51"/>
                  <a:gd name="T11" fmla="*/ 7 h 56"/>
                  <a:gd name="T12" fmla="*/ 24 w 51"/>
                  <a:gd name="T13" fmla="*/ 16 h 56"/>
                  <a:gd name="T14" fmla="*/ 51 w 51"/>
                  <a:gd name="T15" fmla="*/ 49 h 56"/>
                  <a:gd name="T16" fmla="*/ 43 w 51"/>
                  <a:gd name="T17" fmla="*/ 56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1" h="56">
                    <a:moveTo>
                      <a:pt x="43" y="56"/>
                    </a:moveTo>
                    <a:lnTo>
                      <a:pt x="16" y="22"/>
                    </a:lnTo>
                    <a:lnTo>
                      <a:pt x="5" y="31"/>
                    </a:lnTo>
                    <a:lnTo>
                      <a:pt x="0" y="25"/>
                    </a:lnTo>
                    <a:lnTo>
                      <a:pt x="31" y="0"/>
                    </a:lnTo>
                    <a:lnTo>
                      <a:pt x="37" y="7"/>
                    </a:lnTo>
                    <a:lnTo>
                      <a:pt x="24" y="16"/>
                    </a:lnTo>
                    <a:lnTo>
                      <a:pt x="51" y="49"/>
                    </a:lnTo>
                    <a:lnTo>
                      <a:pt x="43" y="56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51" name="íśļïḓè"/>
              <p:cNvSpPr/>
              <p:nvPr/>
            </p:nvSpPr>
            <p:spPr bwMode="auto">
              <a:xfrm>
                <a:off x="2925659" y="5845765"/>
                <a:ext cx="101600" cy="100013"/>
              </a:xfrm>
              <a:custGeom>
                <a:avLst/>
                <a:gdLst>
                  <a:gd name="T0" fmla="*/ 36 w 64"/>
                  <a:gd name="T1" fmla="*/ 63 h 63"/>
                  <a:gd name="T2" fmla="*/ 0 w 64"/>
                  <a:gd name="T3" fmla="*/ 26 h 63"/>
                  <a:gd name="T4" fmla="*/ 28 w 64"/>
                  <a:gd name="T5" fmla="*/ 0 h 63"/>
                  <a:gd name="T6" fmla="*/ 34 w 64"/>
                  <a:gd name="T7" fmla="*/ 6 h 63"/>
                  <a:gd name="T8" fmla="*/ 14 w 64"/>
                  <a:gd name="T9" fmla="*/ 26 h 63"/>
                  <a:gd name="T10" fmla="*/ 22 w 64"/>
                  <a:gd name="T11" fmla="*/ 34 h 63"/>
                  <a:gd name="T12" fmla="*/ 41 w 64"/>
                  <a:gd name="T13" fmla="*/ 16 h 63"/>
                  <a:gd name="T14" fmla="*/ 47 w 64"/>
                  <a:gd name="T15" fmla="*/ 22 h 63"/>
                  <a:gd name="T16" fmla="*/ 28 w 64"/>
                  <a:gd name="T17" fmla="*/ 39 h 63"/>
                  <a:gd name="T18" fmla="*/ 38 w 64"/>
                  <a:gd name="T19" fmla="*/ 50 h 63"/>
                  <a:gd name="T20" fmla="*/ 58 w 64"/>
                  <a:gd name="T21" fmla="*/ 30 h 63"/>
                  <a:gd name="T22" fmla="*/ 64 w 64"/>
                  <a:gd name="T23" fmla="*/ 36 h 63"/>
                  <a:gd name="T24" fmla="*/ 36 w 64"/>
                  <a:gd name="T25" fmla="*/ 63 h 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4" h="63">
                    <a:moveTo>
                      <a:pt x="36" y="63"/>
                    </a:moveTo>
                    <a:lnTo>
                      <a:pt x="0" y="26"/>
                    </a:lnTo>
                    <a:lnTo>
                      <a:pt x="28" y="0"/>
                    </a:lnTo>
                    <a:lnTo>
                      <a:pt x="34" y="6"/>
                    </a:lnTo>
                    <a:lnTo>
                      <a:pt x="14" y="26"/>
                    </a:lnTo>
                    <a:lnTo>
                      <a:pt x="22" y="34"/>
                    </a:lnTo>
                    <a:lnTo>
                      <a:pt x="41" y="16"/>
                    </a:lnTo>
                    <a:lnTo>
                      <a:pt x="47" y="22"/>
                    </a:lnTo>
                    <a:lnTo>
                      <a:pt x="28" y="39"/>
                    </a:lnTo>
                    <a:lnTo>
                      <a:pt x="38" y="50"/>
                    </a:lnTo>
                    <a:lnTo>
                      <a:pt x="58" y="30"/>
                    </a:lnTo>
                    <a:lnTo>
                      <a:pt x="64" y="36"/>
                    </a:lnTo>
                    <a:lnTo>
                      <a:pt x="36" y="6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52" name="íṩḻîde"/>
              <p:cNvSpPr/>
              <p:nvPr/>
            </p:nvSpPr>
            <p:spPr bwMode="auto">
              <a:xfrm>
                <a:off x="2985984" y="5801315"/>
                <a:ext cx="82550" cy="80963"/>
              </a:xfrm>
              <a:custGeom>
                <a:avLst/>
                <a:gdLst>
                  <a:gd name="T0" fmla="*/ 34 w 45"/>
                  <a:gd name="T1" fmla="*/ 19 h 44"/>
                  <a:gd name="T2" fmla="*/ 41 w 45"/>
                  <a:gd name="T3" fmla="*/ 14 h 44"/>
                  <a:gd name="T4" fmla="*/ 45 w 45"/>
                  <a:gd name="T5" fmla="*/ 26 h 44"/>
                  <a:gd name="T6" fmla="*/ 40 w 45"/>
                  <a:gd name="T7" fmla="*/ 37 h 44"/>
                  <a:gd name="T8" fmla="*/ 26 w 45"/>
                  <a:gd name="T9" fmla="*/ 44 h 44"/>
                  <a:gd name="T10" fmla="*/ 10 w 45"/>
                  <a:gd name="T11" fmla="*/ 38 h 44"/>
                  <a:gd name="T12" fmla="*/ 1 w 45"/>
                  <a:gd name="T13" fmla="*/ 22 h 44"/>
                  <a:gd name="T14" fmla="*/ 6 w 45"/>
                  <a:gd name="T15" fmla="*/ 7 h 44"/>
                  <a:gd name="T16" fmla="*/ 18 w 45"/>
                  <a:gd name="T17" fmla="*/ 0 h 44"/>
                  <a:gd name="T18" fmla="*/ 27 w 45"/>
                  <a:gd name="T19" fmla="*/ 2 h 44"/>
                  <a:gd name="T20" fmla="*/ 23 w 45"/>
                  <a:gd name="T21" fmla="*/ 10 h 44"/>
                  <a:gd name="T22" fmla="*/ 17 w 45"/>
                  <a:gd name="T23" fmla="*/ 9 h 44"/>
                  <a:gd name="T24" fmla="*/ 11 w 45"/>
                  <a:gd name="T25" fmla="*/ 12 h 44"/>
                  <a:gd name="T26" fmla="*/ 9 w 45"/>
                  <a:gd name="T27" fmla="*/ 21 h 44"/>
                  <a:gd name="T28" fmla="*/ 15 w 45"/>
                  <a:gd name="T29" fmla="*/ 30 h 44"/>
                  <a:gd name="T30" fmla="*/ 26 w 45"/>
                  <a:gd name="T31" fmla="*/ 36 h 44"/>
                  <a:gd name="T32" fmla="*/ 34 w 45"/>
                  <a:gd name="T33" fmla="*/ 32 h 44"/>
                  <a:gd name="T34" fmla="*/ 36 w 45"/>
                  <a:gd name="T35" fmla="*/ 26 h 44"/>
                  <a:gd name="T36" fmla="*/ 34 w 45"/>
                  <a:gd name="T37" fmla="*/ 19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45" h="44">
                    <a:moveTo>
                      <a:pt x="34" y="19"/>
                    </a:moveTo>
                    <a:cubicBezTo>
                      <a:pt x="41" y="14"/>
                      <a:pt x="41" y="14"/>
                      <a:pt x="41" y="14"/>
                    </a:cubicBezTo>
                    <a:cubicBezTo>
                      <a:pt x="44" y="18"/>
                      <a:pt x="45" y="22"/>
                      <a:pt x="45" y="26"/>
                    </a:cubicBezTo>
                    <a:cubicBezTo>
                      <a:pt x="45" y="30"/>
                      <a:pt x="43" y="34"/>
                      <a:pt x="40" y="37"/>
                    </a:cubicBezTo>
                    <a:cubicBezTo>
                      <a:pt x="36" y="42"/>
                      <a:pt x="31" y="44"/>
                      <a:pt x="26" y="44"/>
                    </a:cubicBezTo>
                    <a:cubicBezTo>
                      <a:pt x="21" y="44"/>
                      <a:pt x="15" y="42"/>
                      <a:pt x="10" y="38"/>
                    </a:cubicBezTo>
                    <a:cubicBezTo>
                      <a:pt x="4" y="33"/>
                      <a:pt x="1" y="28"/>
                      <a:pt x="1" y="22"/>
                    </a:cubicBezTo>
                    <a:cubicBezTo>
                      <a:pt x="0" y="17"/>
                      <a:pt x="2" y="12"/>
                      <a:pt x="6" y="7"/>
                    </a:cubicBezTo>
                    <a:cubicBezTo>
                      <a:pt x="10" y="3"/>
                      <a:pt x="14" y="1"/>
                      <a:pt x="18" y="0"/>
                    </a:cubicBezTo>
                    <a:cubicBezTo>
                      <a:pt x="21" y="0"/>
                      <a:pt x="24" y="1"/>
                      <a:pt x="27" y="2"/>
                    </a:cubicBezTo>
                    <a:cubicBezTo>
                      <a:pt x="23" y="10"/>
                      <a:pt x="23" y="10"/>
                      <a:pt x="23" y="10"/>
                    </a:cubicBezTo>
                    <a:cubicBezTo>
                      <a:pt x="21" y="9"/>
                      <a:pt x="19" y="9"/>
                      <a:pt x="17" y="9"/>
                    </a:cubicBezTo>
                    <a:cubicBezTo>
                      <a:pt x="15" y="9"/>
                      <a:pt x="13" y="11"/>
                      <a:pt x="11" y="12"/>
                    </a:cubicBezTo>
                    <a:cubicBezTo>
                      <a:pt x="9" y="15"/>
                      <a:pt x="8" y="18"/>
                      <a:pt x="9" y="21"/>
                    </a:cubicBezTo>
                    <a:cubicBezTo>
                      <a:pt x="9" y="24"/>
                      <a:pt x="12" y="27"/>
                      <a:pt x="15" y="30"/>
                    </a:cubicBezTo>
                    <a:cubicBezTo>
                      <a:pt x="20" y="34"/>
                      <a:pt x="23" y="36"/>
                      <a:pt x="26" y="36"/>
                    </a:cubicBezTo>
                    <a:cubicBezTo>
                      <a:pt x="29" y="36"/>
                      <a:pt x="32" y="35"/>
                      <a:pt x="34" y="32"/>
                    </a:cubicBezTo>
                    <a:cubicBezTo>
                      <a:pt x="36" y="31"/>
                      <a:pt x="36" y="29"/>
                      <a:pt x="36" y="26"/>
                    </a:cubicBezTo>
                    <a:cubicBezTo>
                      <a:pt x="36" y="24"/>
                      <a:pt x="35" y="22"/>
                      <a:pt x="34" y="1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53" name="îŝḷïḓê"/>
              <p:cNvSpPr/>
              <p:nvPr/>
            </p:nvSpPr>
            <p:spPr bwMode="auto">
              <a:xfrm>
                <a:off x="3022497" y="5733053"/>
                <a:ext cx="103188" cy="101600"/>
              </a:xfrm>
              <a:custGeom>
                <a:avLst/>
                <a:gdLst>
                  <a:gd name="T0" fmla="*/ 42 w 65"/>
                  <a:gd name="T1" fmla="*/ 64 h 64"/>
                  <a:gd name="T2" fmla="*/ 0 w 65"/>
                  <a:gd name="T3" fmla="*/ 34 h 64"/>
                  <a:gd name="T4" fmla="*/ 6 w 65"/>
                  <a:gd name="T5" fmla="*/ 26 h 64"/>
                  <a:gd name="T6" fmla="*/ 22 w 65"/>
                  <a:gd name="T7" fmla="*/ 37 h 64"/>
                  <a:gd name="T8" fmla="*/ 33 w 65"/>
                  <a:gd name="T9" fmla="*/ 21 h 64"/>
                  <a:gd name="T10" fmla="*/ 17 w 65"/>
                  <a:gd name="T11" fmla="*/ 9 h 64"/>
                  <a:gd name="T12" fmla="*/ 23 w 65"/>
                  <a:gd name="T13" fmla="*/ 0 h 64"/>
                  <a:gd name="T14" fmla="*/ 65 w 65"/>
                  <a:gd name="T15" fmla="*/ 30 h 64"/>
                  <a:gd name="T16" fmla="*/ 59 w 65"/>
                  <a:gd name="T17" fmla="*/ 38 h 64"/>
                  <a:gd name="T18" fmla="*/ 40 w 65"/>
                  <a:gd name="T19" fmla="*/ 26 h 64"/>
                  <a:gd name="T20" fmla="*/ 29 w 65"/>
                  <a:gd name="T21" fmla="*/ 42 h 64"/>
                  <a:gd name="T22" fmla="*/ 47 w 65"/>
                  <a:gd name="T23" fmla="*/ 55 h 64"/>
                  <a:gd name="T24" fmla="*/ 42 w 65"/>
                  <a:gd name="T25" fmla="*/ 64 h 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5" h="64">
                    <a:moveTo>
                      <a:pt x="42" y="64"/>
                    </a:moveTo>
                    <a:lnTo>
                      <a:pt x="0" y="34"/>
                    </a:lnTo>
                    <a:lnTo>
                      <a:pt x="6" y="26"/>
                    </a:lnTo>
                    <a:lnTo>
                      <a:pt x="22" y="37"/>
                    </a:lnTo>
                    <a:lnTo>
                      <a:pt x="33" y="21"/>
                    </a:lnTo>
                    <a:lnTo>
                      <a:pt x="17" y="9"/>
                    </a:lnTo>
                    <a:lnTo>
                      <a:pt x="23" y="0"/>
                    </a:lnTo>
                    <a:lnTo>
                      <a:pt x="65" y="30"/>
                    </a:lnTo>
                    <a:lnTo>
                      <a:pt x="59" y="38"/>
                    </a:lnTo>
                    <a:lnTo>
                      <a:pt x="40" y="26"/>
                    </a:lnTo>
                    <a:lnTo>
                      <a:pt x="29" y="42"/>
                    </a:lnTo>
                    <a:lnTo>
                      <a:pt x="47" y="55"/>
                    </a:lnTo>
                    <a:lnTo>
                      <a:pt x="42" y="6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54" name="îşḷîḑe"/>
              <p:cNvSpPr/>
              <p:nvPr/>
            </p:nvSpPr>
            <p:spPr bwMode="auto">
              <a:xfrm>
                <a:off x="3062184" y="5672728"/>
                <a:ext cx="103188" cy="95250"/>
              </a:xfrm>
              <a:custGeom>
                <a:avLst/>
                <a:gdLst>
                  <a:gd name="T0" fmla="*/ 44 w 65"/>
                  <a:gd name="T1" fmla="*/ 60 h 60"/>
                  <a:gd name="T2" fmla="*/ 0 w 65"/>
                  <a:gd name="T3" fmla="*/ 34 h 60"/>
                  <a:gd name="T4" fmla="*/ 5 w 65"/>
                  <a:gd name="T5" fmla="*/ 26 h 60"/>
                  <a:gd name="T6" fmla="*/ 46 w 65"/>
                  <a:gd name="T7" fmla="*/ 24 h 60"/>
                  <a:gd name="T8" fmla="*/ 15 w 65"/>
                  <a:gd name="T9" fmla="*/ 8 h 60"/>
                  <a:gd name="T10" fmla="*/ 20 w 65"/>
                  <a:gd name="T11" fmla="*/ 0 h 60"/>
                  <a:gd name="T12" fmla="*/ 65 w 65"/>
                  <a:gd name="T13" fmla="*/ 24 h 60"/>
                  <a:gd name="T14" fmla="*/ 59 w 65"/>
                  <a:gd name="T15" fmla="*/ 33 h 60"/>
                  <a:gd name="T16" fmla="*/ 20 w 65"/>
                  <a:gd name="T17" fmla="*/ 34 h 60"/>
                  <a:gd name="T18" fmla="*/ 49 w 65"/>
                  <a:gd name="T19" fmla="*/ 52 h 60"/>
                  <a:gd name="T20" fmla="*/ 44 w 65"/>
                  <a:gd name="T21" fmla="*/ 60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65" h="60">
                    <a:moveTo>
                      <a:pt x="44" y="60"/>
                    </a:moveTo>
                    <a:lnTo>
                      <a:pt x="0" y="34"/>
                    </a:lnTo>
                    <a:lnTo>
                      <a:pt x="5" y="26"/>
                    </a:lnTo>
                    <a:lnTo>
                      <a:pt x="46" y="24"/>
                    </a:lnTo>
                    <a:lnTo>
                      <a:pt x="15" y="8"/>
                    </a:lnTo>
                    <a:lnTo>
                      <a:pt x="20" y="0"/>
                    </a:lnTo>
                    <a:lnTo>
                      <a:pt x="65" y="24"/>
                    </a:lnTo>
                    <a:lnTo>
                      <a:pt x="59" y="33"/>
                    </a:lnTo>
                    <a:lnTo>
                      <a:pt x="20" y="34"/>
                    </a:lnTo>
                    <a:lnTo>
                      <a:pt x="49" y="52"/>
                    </a:lnTo>
                    <a:lnTo>
                      <a:pt x="44" y="6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55" name="îşḷïḋê"/>
              <p:cNvSpPr/>
              <p:nvPr/>
            </p:nvSpPr>
            <p:spPr bwMode="auto">
              <a:xfrm>
                <a:off x="3106634" y="5606053"/>
                <a:ext cx="87313" cy="84138"/>
              </a:xfrm>
              <a:custGeom>
                <a:avLst/>
                <a:gdLst>
                  <a:gd name="T0" fmla="*/ 15 w 47"/>
                  <a:gd name="T1" fmla="*/ 43 h 46"/>
                  <a:gd name="T2" fmla="*/ 5 w 47"/>
                  <a:gd name="T3" fmla="*/ 36 h 46"/>
                  <a:gd name="T4" fmla="*/ 2 w 47"/>
                  <a:gd name="T5" fmla="*/ 30 h 46"/>
                  <a:gd name="T6" fmla="*/ 0 w 47"/>
                  <a:gd name="T7" fmla="*/ 23 h 46"/>
                  <a:gd name="T8" fmla="*/ 2 w 47"/>
                  <a:gd name="T9" fmla="*/ 14 h 46"/>
                  <a:gd name="T10" fmla="*/ 14 w 47"/>
                  <a:gd name="T11" fmla="*/ 2 h 46"/>
                  <a:gd name="T12" fmla="*/ 32 w 47"/>
                  <a:gd name="T13" fmla="*/ 3 h 46"/>
                  <a:gd name="T14" fmla="*/ 45 w 47"/>
                  <a:gd name="T15" fmla="*/ 15 h 46"/>
                  <a:gd name="T16" fmla="*/ 44 w 47"/>
                  <a:gd name="T17" fmla="*/ 32 h 46"/>
                  <a:gd name="T18" fmla="*/ 32 w 47"/>
                  <a:gd name="T19" fmla="*/ 44 h 46"/>
                  <a:gd name="T20" fmla="*/ 15 w 47"/>
                  <a:gd name="T21" fmla="*/ 43 h 46"/>
                  <a:gd name="T22" fmla="*/ 18 w 47"/>
                  <a:gd name="T23" fmla="*/ 34 h 46"/>
                  <a:gd name="T24" fmla="*/ 30 w 47"/>
                  <a:gd name="T25" fmla="*/ 35 h 46"/>
                  <a:gd name="T26" fmla="*/ 37 w 47"/>
                  <a:gd name="T27" fmla="*/ 29 h 46"/>
                  <a:gd name="T28" fmla="*/ 37 w 47"/>
                  <a:gd name="T29" fmla="*/ 19 h 46"/>
                  <a:gd name="T30" fmla="*/ 28 w 47"/>
                  <a:gd name="T31" fmla="*/ 12 h 46"/>
                  <a:gd name="T32" fmla="*/ 16 w 47"/>
                  <a:gd name="T33" fmla="*/ 10 h 46"/>
                  <a:gd name="T34" fmla="*/ 9 w 47"/>
                  <a:gd name="T35" fmla="*/ 17 h 46"/>
                  <a:gd name="T36" fmla="*/ 9 w 47"/>
                  <a:gd name="T37" fmla="*/ 27 h 46"/>
                  <a:gd name="T38" fmla="*/ 18 w 47"/>
                  <a:gd name="T39" fmla="*/ 34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47" h="46">
                    <a:moveTo>
                      <a:pt x="15" y="43"/>
                    </a:moveTo>
                    <a:cubicBezTo>
                      <a:pt x="11" y="41"/>
                      <a:pt x="8" y="39"/>
                      <a:pt x="5" y="36"/>
                    </a:cubicBezTo>
                    <a:cubicBezTo>
                      <a:pt x="4" y="34"/>
                      <a:pt x="2" y="32"/>
                      <a:pt x="2" y="30"/>
                    </a:cubicBezTo>
                    <a:cubicBezTo>
                      <a:pt x="1" y="28"/>
                      <a:pt x="0" y="26"/>
                      <a:pt x="0" y="23"/>
                    </a:cubicBezTo>
                    <a:cubicBezTo>
                      <a:pt x="0" y="20"/>
                      <a:pt x="1" y="17"/>
                      <a:pt x="2" y="14"/>
                    </a:cubicBezTo>
                    <a:cubicBezTo>
                      <a:pt x="5" y="8"/>
                      <a:pt x="9" y="4"/>
                      <a:pt x="14" y="2"/>
                    </a:cubicBezTo>
                    <a:cubicBezTo>
                      <a:pt x="19" y="0"/>
                      <a:pt x="25" y="1"/>
                      <a:pt x="32" y="3"/>
                    </a:cubicBezTo>
                    <a:cubicBezTo>
                      <a:pt x="38" y="6"/>
                      <a:pt x="43" y="10"/>
                      <a:pt x="45" y="15"/>
                    </a:cubicBezTo>
                    <a:cubicBezTo>
                      <a:pt x="47" y="21"/>
                      <a:pt x="47" y="26"/>
                      <a:pt x="44" y="32"/>
                    </a:cubicBezTo>
                    <a:cubicBezTo>
                      <a:pt x="41" y="38"/>
                      <a:pt x="38" y="42"/>
                      <a:pt x="32" y="44"/>
                    </a:cubicBezTo>
                    <a:cubicBezTo>
                      <a:pt x="27" y="46"/>
                      <a:pt x="21" y="45"/>
                      <a:pt x="15" y="43"/>
                    </a:cubicBezTo>
                    <a:close/>
                    <a:moveTo>
                      <a:pt x="18" y="34"/>
                    </a:moveTo>
                    <a:cubicBezTo>
                      <a:pt x="23" y="36"/>
                      <a:pt x="27" y="37"/>
                      <a:pt x="30" y="35"/>
                    </a:cubicBezTo>
                    <a:cubicBezTo>
                      <a:pt x="33" y="34"/>
                      <a:pt x="36" y="32"/>
                      <a:pt x="37" y="29"/>
                    </a:cubicBezTo>
                    <a:cubicBezTo>
                      <a:pt x="39" y="26"/>
                      <a:pt x="39" y="23"/>
                      <a:pt x="37" y="19"/>
                    </a:cubicBezTo>
                    <a:cubicBezTo>
                      <a:pt x="36" y="16"/>
                      <a:pt x="33" y="14"/>
                      <a:pt x="28" y="12"/>
                    </a:cubicBezTo>
                    <a:cubicBezTo>
                      <a:pt x="23" y="10"/>
                      <a:pt x="19" y="9"/>
                      <a:pt x="16" y="10"/>
                    </a:cubicBezTo>
                    <a:cubicBezTo>
                      <a:pt x="13" y="11"/>
                      <a:pt x="11" y="14"/>
                      <a:pt x="9" y="17"/>
                    </a:cubicBezTo>
                    <a:cubicBezTo>
                      <a:pt x="8" y="20"/>
                      <a:pt x="8" y="23"/>
                      <a:pt x="9" y="27"/>
                    </a:cubicBezTo>
                    <a:cubicBezTo>
                      <a:pt x="11" y="30"/>
                      <a:pt x="14" y="32"/>
                      <a:pt x="18" y="3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56" name="îṣlïḍè"/>
              <p:cNvSpPr/>
              <p:nvPr/>
            </p:nvSpPr>
            <p:spPr bwMode="auto">
              <a:xfrm>
                <a:off x="3128859" y="5560015"/>
                <a:ext cx="93663" cy="57150"/>
              </a:xfrm>
              <a:custGeom>
                <a:avLst/>
                <a:gdLst>
                  <a:gd name="T0" fmla="*/ 49 w 59"/>
                  <a:gd name="T1" fmla="*/ 36 h 36"/>
                  <a:gd name="T2" fmla="*/ 0 w 59"/>
                  <a:gd name="T3" fmla="*/ 21 h 36"/>
                  <a:gd name="T4" fmla="*/ 4 w 59"/>
                  <a:gd name="T5" fmla="*/ 10 h 36"/>
                  <a:gd name="T6" fmla="*/ 43 w 59"/>
                  <a:gd name="T7" fmla="*/ 24 h 36"/>
                  <a:gd name="T8" fmla="*/ 51 w 59"/>
                  <a:gd name="T9" fmla="*/ 0 h 36"/>
                  <a:gd name="T10" fmla="*/ 59 w 59"/>
                  <a:gd name="T11" fmla="*/ 2 h 36"/>
                  <a:gd name="T12" fmla="*/ 49 w 59"/>
                  <a:gd name="T13" fmla="*/ 36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59" h="36">
                    <a:moveTo>
                      <a:pt x="49" y="36"/>
                    </a:moveTo>
                    <a:lnTo>
                      <a:pt x="0" y="21"/>
                    </a:lnTo>
                    <a:lnTo>
                      <a:pt x="4" y="10"/>
                    </a:lnTo>
                    <a:lnTo>
                      <a:pt x="43" y="24"/>
                    </a:lnTo>
                    <a:lnTo>
                      <a:pt x="51" y="0"/>
                    </a:lnTo>
                    <a:lnTo>
                      <a:pt x="59" y="2"/>
                    </a:lnTo>
                    <a:lnTo>
                      <a:pt x="49" y="36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57" name="ïṩḷîḓê"/>
              <p:cNvSpPr/>
              <p:nvPr/>
            </p:nvSpPr>
            <p:spPr bwMode="auto">
              <a:xfrm>
                <a:off x="3152672" y="5469528"/>
                <a:ext cx="85725" cy="80963"/>
              </a:xfrm>
              <a:custGeom>
                <a:avLst/>
                <a:gdLst>
                  <a:gd name="T0" fmla="*/ 18 w 46"/>
                  <a:gd name="T1" fmla="*/ 43 h 44"/>
                  <a:gd name="T2" fmla="*/ 8 w 46"/>
                  <a:gd name="T3" fmla="*/ 38 h 44"/>
                  <a:gd name="T4" fmla="*/ 3 w 46"/>
                  <a:gd name="T5" fmla="*/ 33 h 44"/>
                  <a:gd name="T6" fmla="*/ 0 w 46"/>
                  <a:gd name="T7" fmla="*/ 27 h 44"/>
                  <a:gd name="T8" fmla="*/ 1 w 46"/>
                  <a:gd name="T9" fmla="*/ 17 h 44"/>
                  <a:gd name="T10" fmla="*/ 10 w 46"/>
                  <a:gd name="T11" fmla="*/ 3 h 44"/>
                  <a:gd name="T12" fmla="*/ 28 w 46"/>
                  <a:gd name="T13" fmla="*/ 1 h 44"/>
                  <a:gd name="T14" fmla="*/ 43 w 46"/>
                  <a:gd name="T15" fmla="*/ 11 h 44"/>
                  <a:gd name="T16" fmla="*/ 45 w 46"/>
                  <a:gd name="T17" fmla="*/ 27 h 44"/>
                  <a:gd name="T18" fmla="*/ 36 w 46"/>
                  <a:gd name="T19" fmla="*/ 41 h 44"/>
                  <a:gd name="T20" fmla="*/ 18 w 46"/>
                  <a:gd name="T21" fmla="*/ 43 h 44"/>
                  <a:gd name="T22" fmla="*/ 20 w 46"/>
                  <a:gd name="T23" fmla="*/ 34 h 44"/>
                  <a:gd name="T24" fmla="*/ 32 w 46"/>
                  <a:gd name="T25" fmla="*/ 33 h 44"/>
                  <a:gd name="T26" fmla="*/ 38 w 46"/>
                  <a:gd name="T27" fmla="*/ 25 h 44"/>
                  <a:gd name="T28" fmla="*/ 36 w 46"/>
                  <a:gd name="T29" fmla="*/ 16 h 44"/>
                  <a:gd name="T30" fmla="*/ 25 w 46"/>
                  <a:gd name="T31" fmla="*/ 10 h 44"/>
                  <a:gd name="T32" fmla="*/ 14 w 46"/>
                  <a:gd name="T33" fmla="*/ 11 h 44"/>
                  <a:gd name="T34" fmla="*/ 8 w 46"/>
                  <a:gd name="T35" fmla="*/ 19 h 44"/>
                  <a:gd name="T36" fmla="*/ 10 w 46"/>
                  <a:gd name="T37" fmla="*/ 28 h 44"/>
                  <a:gd name="T38" fmla="*/ 20 w 46"/>
                  <a:gd name="T39" fmla="*/ 34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46" h="44">
                    <a:moveTo>
                      <a:pt x="18" y="43"/>
                    </a:moveTo>
                    <a:cubicBezTo>
                      <a:pt x="14" y="42"/>
                      <a:pt x="10" y="40"/>
                      <a:pt x="8" y="38"/>
                    </a:cubicBezTo>
                    <a:cubicBezTo>
                      <a:pt x="6" y="37"/>
                      <a:pt x="4" y="35"/>
                      <a:pt x="3" y="33"/>
                    </a:cubicBezTo>
                    <a:cubicBezTo>
                      <a:pt x="1" y="31"/>
                      <a:pt x="1" y="29"/>
                      <a:pt x="0" y="27"/>
                    </a:cubicBezTo>
                    <a:cubicBezTo>
                      <a:pt x="0" y="24"/>
                      <a:pt x="0" y="21"/>
                      <a:pt x="1" y="17"/>
                    </a:cubicBezTo>
                    <a:cubicBezTo>
                      <a:pt x="2" y="11"/>
                      <a:pt x="5" y="6"/>
                      <a:pt x="10" y="3"/>
                    </a:cubicBezTo>
                    <a:cubicBezTo>
                      <a:pt x="15" y="0"/>
                      <a:pt x="21" y="0"/>
                      <a:pt x="28" y="1"/>
                    </a:cubicBezTo>
                    <a:cubicBezTo>
                      <a:pt x="34" y="3"/>
                      <a:pt x="39" y="6"/>
                      <a:pt x="43" y="11"/>
                    </a:cubicBezTo>
                    <a:cubicBezTo>
                      <a:pt x="46" y="15"/>
                      <a:pt x="46" y="21"/>
                      <a:pt x="45" y="27"/>
                    </a:cubicBezTo>
                    <a:cubicBezTo>
                      <a:pt x="44" y="33"/>
                      <a:pt x="40" y="38"/>
                      <a:pt x="36" y="41"/>
                    </a:cubicBezTo>
                    <a:cubicBezTo>
                      <a:pt x="31" y="44"/>
                      <a:pt x="25" y="44"/>
                      <a:pt x="18" y="43"/>
                    </a:cubicBezTo>
                    <a:close/>
                    <a:moveTo>
                      <a:pt x="20" y="34"/>
                    </a:moveTo>
                    <a:cubicBezTo>
                      <a:pt x="25" y="35"/>
                      <a:pt x="29" y="35"/>
                      <a:pt x="32" y="33"/>
                    </a:cubicBezTo>
                    <a:cubicBezTo>
                      <a:pt x="35" y="31"/>
                      <a:pt x="37" y="29"/>
                      <a:pt x="38" y="25"/>
                    </a:cubicBezTo>
                    <a:cubicBezTo>
                      <a:pt x="38" y="22"/>
                      <a:pt x="38" y="19"/>
                      <a:pt x="36" y="16"/>
                    </a:cubicBezTo>
                    <a:cubicBezTo>
                      <a:pt x="34" y="13"/>
                      <a:pt x="30" y="11"/>
                      <a:pt x="25" y="10"/>
                    </a:cubicBezTo>
                    <a:cubicBezTo>
                      <a:pt x="20" y="9"/>
                      <a:pt x="16" y="9"/>
                      <a:pt x="14" y="11"/>
                    </a:cubicBezTo>
                    <a:cubicBezTo>
                      <a:pt x="11" y="13"/>
                      <a:pt x="9" y="15"/>
                      <a:pt x="8" y="19"/>
                    </a:cubicBezTo>
                    <a:cubicBezTo>
                      <a:pt x="7" y="22"/>
                      <a:pt x="8" y="25"/>
                      <a:pt x="10" y="28"/>
                    </a:cubicBezTo>
                    <a:cubicBezTo>
                      <a:pt x="12" y="31"/>
                      <a:pt x="15" y="33"/>
                      <a:pt x="20" y="3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58" name="ïSļiďé"/>
              <p:cNvSpPr/>
              <p:nvPr/>
            </p:nvSpPr>
            <p:spPr bwMode="auto">
              <a:xfrm>
                <a:off x="3165372" y="5390153"/>
                <a:ext cx="85725" cy="77788"/>
              </a:xfrm>
              <a:custGeom>
                <a:avLst/>
                <a:gdLst>
                  <a:gd name="T0" fmla="*/ 29 w 46"/>
                  <a:gd name="T1" fmla="*/ 21 h 42"/>
                  <a:gd name="T2" fmla="*/ 22 w 46"/>
                  <a:gd name="T3" fmla="*/ 20 h 42"/>
                  <a:gd name="T4" fmla="*/ 24 w 46"/>
                  <a:gd name="T5" fmla="*/ 1 h 42"/>
                  <a:gd name="T6" fmla="*/ 41 w 46"/>
                  <a:gd name="T7" fmla="*/ 3 h 42"/>
                  <a:gd name="T8" fmla="*/ 45 w 46"/>
                  <a:gd name="T9" fmla="*/ 11 h 42"/>
                  <a:gd name="T10" fmla="*/ 46 w 46"/>
                  <a:gd name="T11" fmla="*/ 22 h 42"/>
                  <a:gd name="T12" fmla="*/ 42 w 46"/>
                  <a:gd name="T13" fmla="*/ 34 h 42"/>
                  <a:gd name="T14" fmla="*/ 33 w 46"/>
                  <a:gd name="T15" fmla="*/ 41 h 42"/>
                  <a:gd name="T16" fmla="*/ 21 w 46"/>
                  <a:gd name="T17" fmla="*/ 42 h 42"/>
                  <a:gd name="T18" fmla="*/ 9 w 46"/>
                  <a:gd name="T19" fmla="*/ 38 h 42"/>
                  <a:gd name="T20" fmla="*/ 2 w 46"/>
                  <a:gd name="T21" fmla="*/ 28 h 42"/>
                  <a:gd name="T22" fmla="*/ 1 w 46"/>
                  <a:gd name="T23" fmla="*/ 18 h 42"/>
                  <a:gd name="T24" fmla="*/ 6 w 46"/>
                  <a:gd name="T25" fmla="*/ 5 h 42"/>
                  <a:gd name="T26" fmla="*/ 16 w 46"/>
                  <a:gd name="T27" fmla="*/ 0 h 42"/>
                  <a:gd name="T28" fmla="*/ 16 w 46"/>
                  <a:gd name="T29" fmla="*/ 9 h 42"/>
                  <a:gd name="T30" fmla="*/ 11 w 46"/>
                  <a:gd name="T31" fmla="*/ 12 h 42"/>
                  <a:gd name="T32" fmla="*/ 8 w 46"/>
                  <a:gd name="T33" fmla="*/ 18 h 42"/>
                  <a:gd name="T34" fmla="*/ 11 w 46"/>
                  <a:gd name="T35" fmla="*/ 28 h 42"/>
                  <a:gd name="T36" fmla="*/ 21 w 46"/>
                  <a:gd name="T37" fmla="*/ 33 h 42"/>
                  <a:gd name="T38" fmla="*/ 34 w 46"/>
                  <a:gd name="T39" fmla="*/ 31 h 42"/>
                  <a:gd name="T40" fmla="*/ 38 w 46"/>
                  <a:gd name="T41" fmla="*/ 22 h 42"/>
                  <a:gd name="T42" fmla="*/ 38 w 46"/>
                  <a:gd name="T43" fmla="*/ 16 h 42"/>
                  <a:gd name="T44" fmla="*/ 36 w 46"/>
                  <a:gd name="T45" fmla="*/ 11 h 42"/>
                  <a:gd name="T46" fmla="*/ 30 w 46"/>
                  <a:gd name="T47" fmla="*/ 11 h 42"/>
                  <a:gd name="T48" fmla="*/ 29 w 46"/>
                  <a:gd name="T49" fmla="*/ 21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46" h="42">
                    <a:moveTo>
                      <a:pt x="29" y="21"/>
                    </a:moveTo>
                    <a:cubicBezTo>
                      <a:pt x="22" y="20"/>
                      <a:pt x="22" y="20"/>
                      <a:pt x="22" y="20"/>
                    </a:cubicBezTo>
                    <a:cubicBezTo>
                      <a:pt x="24" y="1"/>
                      <a:pt x="24" y="1"/>
                      <a:pt x="24" y="1"/>
                    </a:cubicBezTo>
                    <a:cubicBezTo>
                      <a:pt x="41" y="3"/>
                      <a:pt x="41" y="3"/>
                      <a:pt x="41" y="3"/>
                    </a:cubicBezTo>
                    <a:cubicBezTo>
                      <a:pt x="43" y="5"/>
                      <a:pt x="44" y="8"/>
                      <a:pt x="45" y="11"/>
                    </a:cubicBezTo>
                    <a:cubicBezTo>
                      <a:pt x="46" y="15"/>
                      <a:pt x="46" y="19"/>
                      <a:pt x="46" y="22"/>
                    </a:cubicBezTo>
                    <a:cubicBezTo>
                      <a:pt x="46" y="27"/>
                      <a:pt x="44" y="31"/>
                      <a:pt x="42" y="34"/>
                    </a:cubicBezTo>
                    <a:cubicBezTo>
                      <a:pt x="39" y="37"/>
                      <a:pt x="36" y="39"/>
                      <a:pt x="33" y="41"/>
                    </a:cubicBezTo>
                    <a:cubicBezTo>
                      <a:pt x="29" y="42"/>
                      <a:pt x="25" y="42"/>
                      <a:pt x="21" y="42"/>
                    </a:cubicBezTo>
                    <a:cubicBezTo>
                      <a:pt x="16" y="41"/>
                      <a:pt x="12" y="40"/>
                      <a:pt x="9" y="38"/>
                    </a:cubicBezTo>
                    <a:cubicBezTo>
                      <a:pt x="6" y="35"/>
                      <a:pt x="3" y="32"/>
                      <a:pt x="2" y="28"/>
                    </a:cubicBezTo>
                    <a:cubicBezTo>
                      <a:pt x="1" y="25"/>
                      <a:pt x="0" y="22"/>
                      <a:pt x="1" y="18"/>
                    </a:cubicBezTo>
                    <a:cubicBezTo>
                      <a:pt x="1" y="12"/>
                      <a:pt x="3" y="8"/>
                      <a:pt x="6" y="5"/>
                    </a:cubicBezTo>
                    <a:cubicBezTo>
                      <a:pt x="8" y="2"/>
                      <a:pt x="12" y="1"/>
                      <a:pt x="16" y="0"/>
                    </a:cubicBezTo>
                    <a:cubicBezTo>
                      <a:pt x="16" y="9"/>
                      <a:pt x="16" y="9"/>
                      <a:pt x="16" y="9"/>
                    </a:cubicBezTo>
                    <a:cubicBezTo>
                      <a:pt x="14" y="10"/>
                      <a:pt x="12" y="11"/>
                      <a:pt x="11" y="12"/>
                    </a:cubicBezTo>
                    <a:cubicBezTo>
                      <a:pt x="10" y="14"/>
                      <a:pt x="9" y="16"/>
                      <a:pt x="8" y="18"/>
                    </a:cubicBezTo>
                    <a:cubicBezTo>
                      <a:pt x="8" y="22"/>
                      <a:pt x="9" y="25"/>
                      <a:pt x="11" y="28"/>
                    </a:cubicBezTo>
                    <a:cubicBezTo>
                      <a:pt x="13" y="31"/>
                      <a:pt x="17" y="32"/>
                      <a:pt x="21" y="33"/>
                    </a:cubicBezTo>
                    <a:cubicBezTo>
                      <a:pt x="27" y="33"/>
                      <a:pt x="31" y="33"/>
                      <a:pt x="34" y="31"/>
                    </a:cubicBezTo>
                    <a:cubicBezTo>
                      <a:pt x="36" y="29"/>
                      <a:pt x="38" y="26"/>
                      <a:pt x="38" y="22"/>
                    </a:cubicBezTo>
                    <a:cubicBezTo>
                      <a:pt x="39" y="20"/>
                      <a:pt x="39" y="18"/>
                      <a:pt x="38" y="16"/>
                    </a:cubicBezTo>
                    <a:cubicBezTo>
                      <a:pt x="37" y="14"/>
                      <a:pt x="37" y="13"/>
                      <a:pt x="36" y="11"/>
                    </a:cubicBezTo>
                    <a:cubicBezTo>
                      <a:pt x="30" y="11"/>
                      <a:pt x="30" y="11"/>
                      <a:pt x="30" y="11"/>
                    </a:cubicBezTo>
                    <a:lnTo>
                      <a:pt x="29" y="2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59" name="îSḷiḋè"/>
              <p:cNvSpPr/>
              <p:nvPr/>
            </p:nvSpPr>
            <p:spPr bwMode="auto">
              <a:xfrm>
                <a:off x="3173309" y="5313953"/>
                <a:ext cx="80963" cy="76200"/>
              </a:xfrm>
              <a:custGeom>
                <a:avLst/>
                <a:gdLst>
                  <a:gd name="T0" fmla="*/ 51 w 51"/>
                  <a:gd name="T1" fmla="*/ 30 h 48"/>
                  <a:gd name="T2" fmla="*/ 29 w 51"/>
                  <a:gd name="T3" fmla="*/ 29 h 48"/>
                  <a:gd name="T4" fmla="*/ 0 w 51"/>
                  <a:gd name="T5" fmla="*/ 48 h 48"/>
                  <a:gd name="T6" fmla="*/ 0 w 51"/>
                  <a:gd name="T7" fmla="*/ 36 h 48"/>
                  <a:gd name="T8" fmla="*/ 20 w 51"/>
                  <a:gd name="T9" fmla="*/ 24 h 48"/>
                  <a:gd name="T10" fmla="*/ 0 w 51"/>
                  <a:gd name="T11" fmla="*/ 12 h 48"/>
                  <a:gd name="T12" fmla="*/ 0 w 51"/>
                  <a:gd name="T13" fmla="*/ 0 h 48"/>
                  <a:gd name="T14" fmla="*/ 30 w 51"/>
                  <a:gd name="T15" fmla="*/ 20 h 48"/>
                  <a:gd name="T16" fmla="*/ 51 w 51"/>
                  <a:gd name="T17" fmla="*/ 20 h 48"/>
                  <a:gd name="T18" fmla="*/ 51 w 51"/>
                  <a:gd name="T19" fmla="*/ 30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51" h="48">
                    <a:moveTo>
                      <a:pt x="51" y="30"/>
                    </a:moveTo>
                    <a:lnTo>
                      <a:pt x="29" y="29"/>
                    </a:lnTo>
                    <a:lnTo>
                      <a:pt x="0" y="48"/>
                    </a:lnTo>
                    <a:lnTo>
                      <a:pt x="0" y="36"/>
                    </a:lnTo>
                    <a:lnTo>
                      <a:pt x="20" y="24"/>
                    </a:lnTo>
                    <a:lnTo>
                      <a:pt x="0" y="12"/>
                    </a:lnTo>
                    <a:lnTo>
                      <a:pt x="0" y="0"/>
                    </a:lnTo>
                    <a:lnTo>
                      <a:pt x="30" y="20"/>
                    </a:lnTo>
                    <a:lnTo>
                      <a:pt x="51" y="20"/>
                    </a:lnTo>
                    <a:lnTo>
                      <a:pt x="51" y="3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60" name="îṣḷíḋé"/>
              <p:cNvSpPr/>
              <p:nvPr/>
            </p:nvSpPr>
            <p:spPr bwMode="auto">
              <a:xfrm>
                <a:off x="3163784" y="5193303"/>
                <a:ext cx="87313" cy="76200"/>
              </a:xfrm>
              <a:custGeom>
                <a:avLst/>
                <a:gdLst>
                  <a:gd name="T0" fmla="*/ 4 w 47"/>
                  <a:gd name="T1" fmla="*/ 41 h 41"/>
                  <a:gd name="T2" fmla="*/ 1 w 47"/>
                  <a:gd name="T3" fmla="*/ 24 h 41"/>
                  <a:gd name="T4" fmla="*/ 0 w 47"/>
                  <a:gd name="T5" fmla="*/ 16 h 41"/>
                  <a:gd name="T6" fmla="*/ 2 w 47"/>
                  <a:gd name="T7" fmla="*/ 11 h 41"/>
                  <a:gd name="T8" fmla="*/ 5 w 47"/>
                  <a:gd name="T9" fmla="*/ 7 h 41"/>
                  <a:gd name="T10" fmla="*/ 10 w 47"/>
                  <a:gd name="T11" fmla="*/ 5 h 41"/>
                  <a:gd name="T12" fmla="*/ 16 w 47"/>
                  <a:gd name="T13" fmla="*/ 6 h 41"/>
                  <a:gd name="T14" fmla="*/ 20 w 47"/>
                  <a:gd name="T15" fmla="*/ 10 h 41"/>
                  <a:gd name="T16" fmla="*/ 23 w 47"/>
                  <a:gd name="T17" fmla="*/ 3 h 41"/>
                  <a:gd name="T18" fmla="*/ 29 w 47"/>
                  <a:gd name="T19" fmla="*/ 0 h 41"/>
                  <a:gd name="T20" fmla="*/ 35 w 47"/>
                  <a:gd name="T21" fmla="*/ 1 h 41"/>
                  <a:gd name="T22" fmla="*/ 40 w 47"/>
                  <a:gd name="T23" fmla="*/ 4 h 41"/>
                  <a:gd name="T24" fmla="*/ 43 w 47"/>
                  <a:gd name="T25" fmla="*/ 10 h 41"/>
                  <a:gd name="T26" fmla="*/ 45 w 47"/>
                  <a:gd name="T27" fmla="*/ 20 h 41"/>
                  <a:gd name="T28" fmla="*/ 47 w 47"/>
                  <a:gd name="T29" fmla="*/ 35 h 41"/>
                  <a:gd name="T30" fmla="*/ 4 w 47"/>
                  <a:gd name="T31" fmla="*/ 41 h 41"/>
                  <a:gd name="T32" fmla="*/ 10 w 47"/>
                  <a:gd name="T33" fmla="*/ 31 h 41"/>
                  <a:gd name="T34" fmla="*/ 20 w 47"/>
                  <a:gd name="T35" fmla="*/ 30 h 41"/>
                  <a:gd name="T36" fmla="*/ 19 w 47"/>
                  <a:gd name="T37" fmla="*/ 24 h 41"/>
                  <a:gd name="T38" fmla="*/ 18 w 47"/>
                  <a:gd name="T39" fmla="*/ 18 h 41"/>
                  <a:gd name="T40" fmla="*/ 16 w 47"/>
                  <a:gd name="T41" fmla="*/ 15 h 41"/>
                  <a:gd name="T42" fmla="*/ 12 w 47"/>
                  <a:gd name="T43" fmla="*/ 14 h 41"/>
                  <a:gd name="T44" fmla="*/ 9 w 47"/>
                  <a:gd name="T45" fmla="*/ 15 h 41"/>
                  <a:gd name="T46" fmla="*/ 8 w 47"/>
                  <a:gd name="T47" fmla="*/ 19 h 41"/>
                  <a:gd name="T48" fmla="*/ 9 w 47"/>
                  <a:gd name="T49" fmla="*/ 26 h 41"/>
                  <a:gd name="T50" fmla="*/ 10 w 47"/>
                  <a:gd name="T51" fmla="*/ 31 h 41"/>
                  <a:gd name="T52" fmla="*/ 27 w 47"/>
                  <a:gd name="T53" fmla="*/ 29 h 41"/>
                  <a:gd name="T54" fmla="*/ 39 w 47"/>
                  <a:gd name="T55" fmla="*/ 27 h 41"/>
                  <a:gd name="T56" fmla="*/ 37 w 47"/>
                  <a:gd name="T57" fmla="*/ 19 h 41"/>
                  <a:gd name="T58" fmla="*/ 36 w 47"/>
                  <a:gd name="T59" fmla="*/ 13 h 41"/>
                  <a:gd name="T60" fmla="*/ 34 w 47"/>
                  <a:gd name="T61" fmla="*/ 10 h 41"/>
                  <a:gd name="T62" fmla="*/ 30 w 47"/>
                  <a:gd name="T63" fmla="*/ 10 h 41"/>
                  <a:gd name="T64" fmla="*/ 27 w 47"/>
                  <a:gd name="T65" fmla="*/ 11 h 41"/>
                  <a:gd name="T66" fmla="*/ 25 w 47"/>
                  <a:gd name="T67" fmla="*/ 14 h 41"/>
                  <a:gd name="T68" fmla="*/ 26 w 47"/>
                  <a:gd name="T69" fmla="*/ 22 h 41"/>
                  <a:gd name="T70" fmla="*/ 27 w 47"/>
                  <a:gd name="T71" fmla="*/ 29 h 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47" h="41">
                    <a:moveTo>
                      <a:pt x="4" y="41"/>
                    </a:moveTo>
                    <a:cubicBezTo>
                      <a:pt x="1" y="24"/>
                      <a:pt x="1" y="24"/>
                      <a:pt x="1" y="24"/>
                    </a:cubicBezTo>
                    <a:cubicBezTo>
                      <a:pt x="1" y="20"/>
                      <a:pt x="0" y="18"/>
                      <a:pt x="0" y="16"/>
                    </a:cubicBezTo>
                    <a:cubicBezTo>
                      <a:pt x="1" y="14"/>
                      <a:pt x="1" y="13"/>
                      <a:pt x="2" y="11"/>
                    </a:cubicBezTo>
                    <a:cubicBezTo>
                      <a:pt x="2" y="10"/>
                      <a:pt x="3" y="9"/>
                      <a:pt x="5" y="7"/>
                    </a:cubicBezTo>
                    <a:cubicBezTo>
                      <a:pt x="6" y="6"/>
                      <a:pt x="8" y="6"/>
                      <a:pt x="10" y="5"/>
                    </a:cubicBezTo>
                    <a:cubicBezTo>
                      <a:pt x="12" y="5"/>
                      <a:pt x="14" y="5"/>
                      <a:pt x="16" y="6"/>
                    </a:cubicBezTo>
                    <a:cubicBezTo>
                      <a:pt x="17" y="7"/>
                      <a:pt x="19" y="8"/>
                      <a:pt x="20" y="10"/>
                    </a:cubicBezTo>
                    <a:cubicBezTo>
                      <a:pt x="20" y="7"/>
                      <a:pt x="21" y="5"/>
                      <a:pt x="23" y="3"/>
                    </a:cubicBezTo>
                    <a:cubicBezTo>
                      <a:pt x="25" y="2"/>
                      <a:pt x="27" y="1"/>
                      <a:pt x="29" y="0"/>
                    </a:cubicBezTo>
                    <a:cubicBezTo>
                      <a:pt x="31" y="0"/>
                      <a:pt x="33" y="0"/>
                      <a:pt x="35" y="1"/>
                    </a:cubicBezTo>
                    <a:cubicBezTo>
                      <a:pt x="37" y="2"/>
                      <a:pt x="39" y="3"/>
                      <a:pt x="40" y="4"/>
                    </a:cubicBezTo>
                    <a:cubicBezTo>
                      <a:pt x="42" y="5"/>
                      <a:pt x="43" y="7"/>
                      <a:pt x="43" y="10"/>
                    </a:cubicBezTo>
                    <a:cubicBezTo>
                      <a:pt x="44" y="11"/>
                      <a:pt x="44" y="15"/>
                      <a:pt x="45" y="20"/>
                    </a:cubicBezTo>
                    <a:cubicBezTo>
                      <a:pt x="47" y="35"/>
                      <a:pt x="47" y="35"/>
                      <a:pt x="47" y="35"/>
                    </a:cubicBezTo>
                    <a:lnTo>
                      <a:pt x="4" y="41"/>
                    </a:lnTo>
                    <a:close/>
                    <a:moveTo>
                      <a:pt x="10" y="31"/>
                    </a:moveTo>
                    <a:cubicBezTo>
                      <a:pt x="20" y="30"/>
                      <a:pt x="20" y="30"/>
                      <a:pt x="20" y="30"/>
                    </a:cubicBezTo>
                    <a:cubicBezTo>
                      <a:pt x="19" y="24"/>
                      <a:pt x="19" y="24"/>
                      <a:pt x="19" y="24"/>
                    </a:cubicBezTo>
                    <a:cubicBezTo>
                      <a:pt x="18" y="21"/>
                      <a:pt x="18" y="19"/>
                      <a:pt x="18" y="18"/>
                    </a:cubicBezTo>
                    <a:cubicBezTo>
                      <a:pt x="17" y="16"/>
                      <a:pt x="17" y="15"/>
                      <a:pt x="16" y="15"/>
                    </a:cubicBezTo>
                    <a:cubicBezTo>
                      <a:pt x="15" y="14"/>
                      <a:pt x="14" y="14"/>
                      <a:pt x="12" y="14"/>
                    </a:cubicBezTo>
                    <a:cubicBezTo>
                      <a:pt x="11" y="14"/>
                      <a:pt x="10" y="14"/>
                      <a:pt x="9" y="15"/>
                    </a:cubicBezTo>
                    <a:cubicBezTo>
                      <a:pt x="8" y="16"/>
                      <a:pt x="8" y="17"/>
                      <a:pt x="8" y="19"/>
                    </a:cubicBezTo>
                    <a:cubicBezTo>
                      <a:pt x="8" y="20"/>
                      <a:pt x="8" y="22"/>
                      <a:pt x="9" y="26"/>
                    </a:cubicBezTo>
                    <a:lnTo>
                      <a:pt x="10" y="31"/>
                    </a:lnTo>
                    <a:close/>
                    <a:moveTo>
                      <a:pt x="27" y="29"/>
                    </a:moveTo>
                    <a:cubicBezTo>
                      <a:pt x="39" y="27"/>
                      <a:pt x="39" y="27"/>
                      <a:pt x="39" y="27"/>
                    </a:cubicBezTo>
                    <a:cubicBezTo>
                      <a:pt x="37" y="19"/>
                      <a:pt x="37" y="19"/>
                      <a:pt x="37" y="19"/>
                    </a:cubicBezTo>
                    <a:cubicBezTo>
                      <a:pt x="37" y="16"/>
                      <a:pt x="37" y="14"/>
                      <a:pt x="36" y="13"/>
                    </a:cubicBezTo>
                    <a:cubicBezTo>
                      <a:pt x="36" y="12"/>
                      <a:pt x="35" y="11"/>
                      <a:pt x="34" y="10"/>
                    </a:cubicBezTo>
                    <a:cubicBezTo>
                      <a:pt x="33" y="10"/>
                      <a:pt x="32" y="9"/>
                      <a:pt x="30" y="10"/>
                    </a:cubicBezTo>
                    <a:cubicBezTo>
                      <a:pt x="29" y="10"/>
                      <a:pt x="28" y="10"/>
                      <a:pt x="27" y="11"/>
                    </a:cubicBezTo>
                    <a:cubicBezTo>
                      <a:pt x="26" y="12"/>
                      <a:pt x="26" y="13"/>
                      <a:pt x="25" y="14"/>
                    </a:cubicBezTo>
                    <a:cubicBezTo>
                      <a:pt x="25" y="15"/>
                      <a:pt x="25" y="18"/>
                      <a:pt x="26" y="22"/>
                    </a:cubicBezTo>
                    <a:lnTo>
                      <a:pt x="27" y="2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61" name="îṩliďè"/>
              <p:cNvSpPr/>
              <p:nvPr/>
            </p:nvSpPr>
            <p:spPr bwMode="auto">
              <a:xfrm>
                <a:off x="3146322" y="5120278"/>
                <a:ext cx="93663" cy="79375"/>
              </a:xfrm>
              <a:custGeom>
                <a:avLst/>
                <a:gdLst>
                  <a:gd name="T0" fmla="*/ 59 w 59"/>
                  <a:gd name="T1" fmla="*/ 37 h 50"/>
                  <a:gd name="T2" fmla="*/ 9 w 59"/>
                  <a:gd name="T3" fmla="*/ 50 h 50"/>
                  <a:gd name="T4" fmla="*/ 0 w 59"/>
                  <a:gd name="T5" fmla="*/ 13 h 50"/>
                  <a:gd name="T6" fmla="*/ 8 w 59"/>
                  <a:gd name="T7" fmla="*/ 10 h 50"/>
                  <a:gd name="T8" fmla="*/ 15 w 59"/>
                  <a:gd name="T9" fmla="*/ 37 h 50"/>
                  <a:gd name="T10" fmla="*/ 25 w 59"/>
                  <a:gd name="T11" fmla="*/ 35 h 50"/>
                  <a:gd name="T12" fmla="*/ 19 w 59"/>
                  <a:gd name="T13" fmla="*/ 9 h 50"/>
                  <a:gd name="T14" fmla="*/ 27 w 59"/>
                  <a:gd name="T15" fmla="*/ 8 h 50"/>
                  <a:gd name="T16" fmla="*/ 34 w 59"/>
                  <a:gd name="T17" fmla="*/ 32 h 50"/>
                  <a:gd name="T18" fmla="*/ 47 w 59"/>
                  <a:gd name="T19" fmla="*/ 29 h 50"/>
                  <a:gd name="T20" fmla="*/ 40 w 59"/>
                  <a:gd name="T21" fmla="*/ 1 h 50"/>
                  <a:gd name="T22" fmla="*/ 49 w 59"/>
                  <a:gd name="T23" fmla="*/ 0 h 50"/>
                  <a:gd name="T24" fmla="*/ 59 w 59"/>
                  <a:gd name="T25" fmla="*/ 37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59" h="50">
                    <a:moveTo>
                      <a:pt x="59" y="37"/>
                    </a:moveTo>
                    <a:lnTo>
                      <a:pt x="9" y="50"/>
                    </a:lnTo>
                    <a:lnTo>
                      <a:pt x="0" y="13"/>
                    </a:lnTo>
                    <a:lnTo>
                      <a:pt x="8" y="10"/>
                    </a:lnTo>
                    <a:lnTo>
                      <a:pt x="15" y="37"/>
                    </a:lnTo>
                    <a:lnTo>
                      <a:pt x="25" y="35"/>
                    </a:lnTo>
                    <a:lnTo>
                      <a:pt x="19" y="9"/>
                    </a:lnTo>
                    <a:lnTo>
                      <a:pt x="27" y="8"/>
                    </a:lnTo>
                    <a:lnTo>
                      <a:pt x="34" y="32"/>
                    </a:lnTo>
                    <a:lnTo>
                      <a:pt x="47" y="29"/>
                    </a:lnTo>
                    <a:lnTo>
                      <a:pt x="40" y="1"/>
                    </a:lnTo>
                    <a:lnTo>
                      <a:pt x="49" y="0"/>
                    </a:lnTo>
                    <a:lnTo>
                      <a:pt x="59" y="3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62" name="iṧlíḋè"/>
              <p:cNvSpPr/>
              <p:nvPr/>
            </p:nvSpPr>
            <p:spPr bwMode="auto">
              <a:xfrm>
                <a:off x="3138384" y="5096465"/>
                <a:ext cx="82550" cy="38100"/>
              </a:xfrm>
              <a:custGeom>
                <a:avLst/>
                <a:gdLst>
                  <a:gd name="T0" fmla="*/ 52 w 52"/>
                  <a:gd name="T1" fmla="*/ 9 h 24"/>
                  <a:gd name="T2" fmla="*/ 3 w 52"/>
                  <a:gd name="T3" fmla="*/ 24 h 24"/>
                  <a:gd name="T4" fmla="*/ 0 w 52"/>
                  <a:gd name="T5" fmla="*/ 15 h 24"/>
                  <a:gd name="T6" fmla="*/ 49 w 52"/>
                  <a:gd name="T7" fmla="*/ 0 h 24"/>
                  <a:gd name="T8" fmla="*/ 52 w 52"/>
                  <a:gd name="T9" fmla="*/ 9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2" h="24">
                    <a:moveTo>
                      <a:pt x="52" y="9"/>
                    </a:moveTo>
                    <a:lnTo>
                      <a:pt x="3" y="24"/>
                    </a:lnTo>
                    <a:lnTo>
                      <a:pt x="0" y="15"/>
                    </a:lnTo>
                    <a:lnTo>
                      <a:pt x="49" y="0"/>
                    </a:lnTo>
                    <a:lnTo>
                      <a:pt x="52" y="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63" name="islïḓè"/>
              <p:cNvSpPr/>
              <p:nvPr/>
            </p:nvSpPr>
            <p:spPr bwMode="auto">
              <a:xfrm>
                <a:off x="3120922" y="5047253"/>
                <a:ext cx="88900" cy="52388"/>
              </a:xfrm>
              <a:custGeom>
                <a:avLst/>
                <a:gdLst>
                  <a:gd name="T0" fmla="*/ 3 w 48"/>
                  <a:gd name="T1" fmla="*/ 20 h 28"/>
                  <a:gd name="T2" fmla="*/ 0 w 48"/>
                  <a:gd name="T3" fmla="*/ 12 h 28"/>
                  <a:gd name="T4" fmla="*/ 26 w 48"/>
                  <a:gd name="T5" fmla="*/ 2 h 28"/>
                  <a:gd name="T6" fmla="*/ 34 w 48"/>
                  <a:gd name="T7" fmla="*/ 0 h 28"/>
                  <a:gd name="T8" fmla="*/ 42 w 48"/>
                  <a:gd name="T9" fmla="*/ 3 h 28"/>
                  <a:gd name="T10" fmla="*/ 47 w 48"/>
                  <a:gd name="T11" fmla="*/ 10 h 28"/>
                  <a:gd name="T12" fmla="*/ 47 w 48"/>
                  <a:gd name="T13" fmla="*/ 21 h 28"/>
                  <a:gd name="T14" fmla="*/ 38 w 48"/>
                  <a:gd name="T15" fmla="*/ 28 h 28"/>
                  <a:gd name="T16" fmla="*/ 34 w 48"/>
                  <a:gd name="T17" fmla="*/ 20 h 28"/>
                  <a:gd name="T18" fmla="*/ 39 w 48"/>
                  <a:gd name="T19" fmla="*/ 17 h 28"/>
                  <a:gd name="T20" fmla="*/ 40 w 48"/>
                  <a:gd name="T21" fmla="*/ 13 h 28"/>
                  <a:gd name="T22" fmla="*/ 37 w 48"/>
                  <a:gd name="T23" fmla="*/ 9 h 28"/>
                  <a:gd name="T24" fmla="*/ 30 w 48"/>
                  <a:gd name="T25" fmla="*/ 10 h 28"/>
                  <a:gd name="T26" fmla="*/ 3 w 48"/>
                  <a:gd name="T27" fmla="*/ 20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48" h="28">
                    <a:moveTo>
                      <a:pt x="3" y="20"/>
                    </a:moveTo>
                    <a:cubicBezTo>
                      <a:pt x="0" y="12"/>
                      <a:pt x="0" y="12"/>
                      <a:pt x="0" y="12"/>
                    </a:cubicBezTo>
                    <a:cubicBezTo>
                      <a:pt x="26" y="2"/>
                      <a:pt x="26" y="2"/>
                      <a:pt x="26" y="2"/>
                    </a:cubicBezTo>
                    <a:cubicBezTo>
                      <a:pt x="29" y="1"/>
                      <a:pt x="32" y="0"/>
                      <a:pt x="34" y="0"/>
                    </a:cubicBezTo>
                    <a:cubicBezTo>
                      <a:pt x="37" y="0"/>
                      <a:pt x="39" y="1"/>
                      <a:pt x="42" y="3"/>
                    </a:cubicBezTo>
                    <a:cubicBezTo>
                      <a:pt x="44" y="4"/>
                      <a:pt x="46" y="7"/>
                      <a:pt x="47" y="10"/>
                    </a:cubicBezTo>
                    <a:cubicBezTo>
                      <a:pt x="48" y="14"/>
                      <a:pt x="48" y="18"/>
                      <a:pt x="47" y="21"/>
                    </a:cubicBezTo>
                    <a:cubicBezTo>
                      <a:pt x="45" y="24"/>
                      <a:pt x="42" y="26"/>
                      <a:pt x="38" y="28"/>
                    </a:cubicBezTo>
                    <a:cubicBezTo>
                      <a:pt x="34" y="20"/>
                      <a:pt x="34" y="20"/>
                      <a:pt x="34" y="20"/>
                    </a:cubicBezTo>
                    <a:cubicBezTo>
                      <a:pt x="37" y="19"/>
                      <a:pt x="38" y="18"/>
                      <a:pt x="39" y="17"/>
                    </a:cubicBezTo>
                    <a:cubicBezTo>
                      <a:pt x="40" y="16"/>
                      <a:pt x="40" y="14"/>
                      <a:pt x="40" y="13"/>
                    </a:cubicBezTo>
                    <a:cubicBezTo>
                      <a:pt x="39" y="11"/>
                      <a:pt x="38" y="10"/>
                      <a:pt x="37" y="9"/>
                    </a:cubicBezTo>
                    <a:cubicBezTo>
                      <a:pt x="35" y="9"/>
                      <a:pt x="33" y="9"/>
                      <a:pt x="30" y="10"/>
                    </a:cubicBezTo>
                    <a:lnTo>
                      <a:pt x="3" y="2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64" name="íṥ1iḍe"/>
              <p:cNvSpPr/>
              <p:nvPr/>
            </p:nvSpPr>
            <p:spPr bwMode="auto">
              <a:xfrm>
                <a:off x="3112984" y="5017090"/>
                <a:ext cx="80963" cy="46038"/>
              </a:xfrm>
              <a:custGeom>
                <a:avLst/>
                <a:gdLst>
                  <a:gd name="T0" fmla="*/ 51 w 51"/>
                  <a:gd name="T1" fmla="*/ 9 h 29"/>
                  <a:gd name="T2" fmla="*/ 3 w 51"/>
                  <a:gd name="T3" fmla="*/ 29 h 29"/>
                  <a:gd name="T4" fmla="*/ 0 w 51"/>
                  <a:gd name="T5" fmla="*/ 19 h 29"/>
                  <a:gd name="T6" fmla="*/ 46 w 51"/>
                  <a:gd name="T7" fmla="*/ 0 h 29"/>
                  <a:gd name="T8" fmla="*/ 51 w 51"/>
                  <a:gd name="T9" fmla="*/ 9 h 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1" h="29">
                    <a:moveTo>
                      <a:pt x="51" y="9"/>
                    </a:moveTo>
                    <a:lnTo>
                      <a:pt x="3" y="29"/>
                    </a:lnTo>
                    <a:lnTo>
                      <a:pt x="0" y="19"/>
                    </a:lnTo>
                    <a:lnTo>
                      <a:pt x="46" y="0"/>
                    </a:lnTo>
                    <a:lnTo>
                      <a:pt x="51" y="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65" name="iṥľîḋé"/>
              <p:cNvSpPr/>
              <p:nvPr/>
            </p:nvSpPr>
            <p:spPr bwMode="auto">
              <a:xfrm>
                <a:off x="3081234" y="4948828"/>
                <a:ext cx="101600" cy="93663"/>
              </a:xfrm>
              <a:custGeom>
                <a:avLst/>
                <a:gdLst>
                  <a:gd name="T0" fmla="*/ 64 w 64"/>
                  <a:gd name="T1" fmla="*/ 36 h 59"/>
                  <a:gd name="T2" fmla="*/ 18 w 64"/>
                  <a:gd name="T3" fmla="*/ 59 h 59"/>
                  <a:gd name="T4" fmla="*/ 14 w 64"/>
                  <a:gd name="T5" fmla="*/ 50 h 59"/>
                  <a:gd name="T6" fmla="*/ 35 w 64"/>
                  <a:gd name="T7" fmla="*/ 16 h 59"/>
                  <a:gd name="T8" fmla="*/ 3 w 64"/>
                  <a:gd name="T9" fmla="*/ 31 h 59"/>
                  <a:gd name="T10" fmla="*/ 0 w 64"/>
                  <a:gd name="T11" fmla="*/ 22 h 59"/>
                  <a:gd name="T12" fmla="*/ 45 w 64"/>
                  <a:gd name="T13" fmla="*/ 0 h 59"/>
                  <a:gd name="T14" fmla="*/ 50 w 64"/>
                  <a:gd name="T15" fmla="*/ 8 h 59"/>
                  <a:gd name="T16" fmla="*/ 29 w 64"/>
                  <a:gd name="T17" fmla="*/ 42 h 59"/>
                  <a:gd name="T18" fmla="*/ 59 w 64"/>
                  <a:gd name="T19" fmla="*/ 26 h 59"/>
                  <a:gd name="T20" fmla="*/ 64 w 64"/>
                  <a:gd name="T21" fmla="*/ 36 h 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64" h="59">
                    <a:moveTo>
                      <a:pt x="64" y="36"/>
                    </a:moveTo>
                    <a:lnTo>
                      <a:pt x="18" y="59"/>
                    </a:lnTo>
                    <a:lnTo>
                      <a:pt x="14" y="50"/>
                    </a:lnTo>
                    <a:lnTo>
                      <a:pt x="35" y="16"/>
                    </a:lnTo>
                    <a:lnTo>
                      <a:pt x="3" y="31"/>
                    </a:lnTo>
                    <a:lnTo>
                      <a:pt x="0" y="22"/>
                    </a:lnTo>
                    <a:lnTo>
                      <a:pt x="45" y="0"/>
                    </a:lnTo>
                    <a:lnTo>
                      <a:pt x="50" y="8"/>
                    </a:lnTo>
                    <a:lnTo>
                      <a:pt x="29" y="42"/>
                    </a:lnTo>
                    <a:lnTo>
                      <a:pt x="59" y="26"/>
                    </a:lnTo>
                    <a:lnTo>
                      <a:pt x="64" y="36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66" name="îślidè"/>
              <p:cNvSpPr/>
              <p:nvPr/>
            </p:nvSpPr>
            <p:spPr bwMode="auto">
              <a:xfrm>
                <a:off x="3047897" y="4877390"/>
                <a:ext cx="84138" cy="88900"/>
              </a:xfrm>
              <a:custGeom>
                <a:avLst/>
                <a:gdLst>
                  <a:gd name="T0" fmla="*/ 28 w 46"/>
                  <a:gd name="T1" fmla="*/ 21 h 48"/>
                  <a:gd name="T2" fmla="*/ 22 w 46"/>
                  <a:gd name="T3" fmla="*/ 25 h 48"/>
                  <a:gd name="T4" fmla="*/ 11 w 46"/>
                  <a:gd name="T5" fmla="*/ 9 h 48"/>
                  <a:gd name="T6" fmla="*/ 26 w 46"/>
                  <a:gd name="T7" fmla="*/ 0 h 48"/>
                  <a:gd name="T8" fmla="*/ 35 w 46"/>
                  <a:gd name="T9" fmla="*/ 4 h 48"/>
                  <a:gd name="T10" fmla="*/ 42 w 46"/>
                  <a:gd name="T11" fmla="*/ 12 h 48"/>
                  <a:gd name="T12" fmla="*/ 46 w 46"/>
                  <a:gd name="T13" fmla="*/ 24 h 48"/>
                  <a:gd name="T14" fmla="*/ 43 w 46"/>
                  <a:gd name="T15" fmla="*/ 35 h 48"/>
                  <a:gd name="T16" fmla="*/ 35 w 46"/>
                  <a:gd name="T17" fmla="*/ 43 h 48"/>
                  <a:gd name="T18" fmla="*/ 23 w 46"/>
                  <a:gd name="T19" fmla="*/ 47 h 48"/>
                  <a:gd name="T20" fmla="*/ 12 w 46"/>
                  <a:gd name="T21" fmla="*/ 45 h 48"/>
                  <a:gd name="T22" fmla="*/ 4 w 46"/>
                  <a:gd name="T23" fmla="*/ 37 h 48"/>
                  <a:gd name="T24" fmla="*/ 0 w 46"/>
                  <a:gd name="T25" fmla="*/ 24 h 48"/>
                  <a:gd name="T26" fmla="*/ 5 w 46"/>
                  <a:gd name="T27" fmla="*/ 14 h 48"/>
                  <a:gd name="T28" fmla="*/ 11 w 46"/>
                  <a:gd name="T29" fmla="*/ 21 h 48"/>
                  <a:gd name="T30" fmla="*/ 9 w 46"/>
                  <a:gd name="T31" fmla="*/ 27 h 48"/>
                  <a:gd name="T32" fmla="*/ 11 w 46"/>
                  <a:gd name="T33" fmla="*/ 33 h 48"/>
                  <a:gd name="T34" fmla="*/ 19 w 46"/>
                  <a:gd name="T35" fmla="*/ 39 h 48"/>
                  <a:gd name="T36" fmla="*/ 30 w 46"/>
                  <a:gd name="T37" fmla="*/ 36 h 48"/>
                  <a:gd name="T38" fmla="*/ 38 w 46"/>
                  <a:gd name="T39" fmla="*/ 26 h 48"/>
                  <a:gd name="T40" fmla="*/ 36 w 46"/>
                  <a:gd name="T41" fmla="*/ 17 h 48"/>
                  <a:gd name="T42" fmla="*/ 32 w 46"/>
                  <a:gd name="T43" fmla="*/ 13 h 48"/>
                  <a:gd name="T44" fmla="*/ 27 w 46"/>
                  <a:gd name="T45" fmla="*/ 10 h 48"/>
                  <a:gd name="T46" fmla="*/ 23 w 46"/>
                  <a:gd name="T47" fmla="*/ 13 h 48"/>
                  <a:gd name="T48" fmla="*/ 28 w 46"/>
                  <a:gd name="T49" fmla="*/ 21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46" h="48">
                    <a:moveTo>
                      <a:pt x="28" y="21"/>
                    </a:moveTo>
                    <a:cubicBezTo>
                      <a:pt x="22" y="25"/>
                      <a:pt x="22" y="25"/>
                      <a:pt x="22" y="25"/>
                    </a:cubicBezTo>
                    <a:cubicBezTo>
                      <a:pt x="11" y="9"/>
                      <a:pt x="11" y="9"/>
                      <a:pt x="11" y="9"/>
                    </a:cubicBezTo>
                    <a:cubicBezTo>
                      <a:pt x="26" y="0"/>
                      <a:pt x="26" y="0"/>
                      <a:pt x="26" y="0"/>
                    </a:cubicBezTo>
                    <a:cubicBezTo>
                      <a:pt x="29" y="1"/>
                      <a:pt x="31" y="2"/>
                      <a:pt x="35" y="4"/>
                    </a:cubicBezTo>
                    <a:cubicBezTo>
                      <a:pt x="38" y="6"/>
                      <a:pt x="40" y="9"/>
                      <a:pt x="42" y="12"/>
                    </a:cubicBezTo>
                    <a:cubicBezTo>
                      <a:pt x="45" y="16"/>
                      <a:pt x="46" y="20"/>
                      <a:pt x="46" y="24"/>
                    </a:cubicBezTo>
                    <a:cubicBezTo>
                      <a:pt x="46" y="28"/>
                      <a:pt x="45" y="31"/>
                      <a:pt x="43" y="35"/>
                    </a:cubicBezTo>
                    <a:cubicBezTo>
                      <a:pt x="41" y="38"/>
                      <a:pt x="38" y="41"/>
                      <a:pt x="35" y="43"/>
                    </a:cubicBezTo>
                    <a:cubicBezTo>
                      <a:pt x="31" y="46"/>
                      <a:pt x="27" y="47"/>
                      <a:pt x="23" y="47"/>
                    </a:cubicBezTo>
                    <a:cubicBezTo>
                      <a:pt x="19" y="48"/>
                      <a:pt x="15" y="47"/>
                      <a:pt x="12" y="45"/>
                    </a:cubicBezTo>
                    <a:cubicBezTo>
                      <a:pt x="9" y="43"/>
                      <a:pt x="6" y="41"/>
                      <a:pt x="4" y="37"/>
                    </a:cubicBezTo>
                    <a:cubicBezTo>
                      <a:pt x="1" y="32"/>
                      <a:pt x="0" y="28"/>
                      <a:pt x="0" y="24"/>
                    </a:cubicBezTo>
                    <a:cubicBezTo>
                      <a:pt x="0" y="21"/>
                      <a:pt x="2" y="17"/>
                      <a:pt x="5" y="14"/>
                    </a:cubicBezTo>
                    <a:cubicBezTo>
                      <a:pt x="11" y="21"/>
                      <a:pt x="11" y="21"/>
                      <a:pt x="11" y="21"/>
                    </a:cubicBezTo>
                    <a:cubicBezTo>
                      <a:pt x="10" y="23"/>
                      <a:pt x="9" y="24"/>
                      <a:pt x="9" y="27"/>
                    </a:cubicBezTo>
                    <a:cubicBezTo>
                      <a:pt x="8" y="29"/>
                      <a:pt x="9" y="31"/>
                      <a:pt x="11" y="33"/>
                    </a:cubicBezTo>
                    <a:cubicBezTo>
                      <a:pt x="13" y="36"/>
                      <a:pt x="15" y="38"/>
                      <a:pt x="19" y="39"/>
                    </a:cubicBezTo>
                    <a:cubicBezTo>
                      <a:pt x="22" y="39"/>
                      <a:pt x="26" y="38"/>
                      <a:pt x="30" y="36"/>
                    </a:cubicBezTo>
                    <a:cubicBezTo>
                      <a:pt x="34" y="33"/>
                      <a:pt x="37" y="30"/>
                      <a:pt x="38" y="26"/>
                    </a:cubicBezTo>
                    <a:cubicBezTo>
                      <a:pt x="39" y="23"/>
                      <a:pt x="38" y="20"/>
                      <a:pt x="36" y="17"/>
                    </a:cubicBezTo>
                    <a:cubicBezTo>
                      <a:pt x="35" y="15"/>
                      <a:pt x="34" y="14"/>
                      <a:pt x="32" y="13"/>
                    </a:cubicBezTo>
                    <a:cubicBezTo>
                      <a:pt x="30" y="11"/>
                      <a:pt x="29" y="10"/>
                      <a:pt x="27" y="10"/>
                    </a:cubicBezTo>
                    <a:cubicBezTo>
                      <a:pt x="23" y="13"/>
                      <a:pt x="23" y="13"/>
                      <a:pt x="23" y="13"/>
                    </a:cubicBezTo>
                    <a:lnTo>
                      <a:pt x="28" y="2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67" name="îŝ1ide"/>
              <p:cNvSpPr/>
              <p:nvPr/>
            </p:nvSpPr>
            <p:spPr bwMode="auto">
              <a:xfrm>
                <a:off x="1981097" y="4907553"/>
                <a:ext cx="931863" cy="969963"/>
              </a:xfrm>
              <a:custGeom>
                <a:avLst/>
                <a:gdLst>
                  <a:gd name="T0" fmla="*/ 488 w 506"/>
                  <a:gd name="T1" fmla="*/ 144 h 525"/>
                  <a:gd name="T2" fmla="*/ 449 w 506"/>
                  <a:gd name="T3" fmla="*/ 161 h 525"/>
                  <a:gd name="T4" fmla="*/ 473 w 506"/>
                  <a:gd name="T5" fmla="*/ 361 h 525"/>
                  <a:gd name="T6" fmla="*/ 434 w 506"/>
                  <a:gd name="T7" fmla="*/ 382 h 525"/>
                  <a:gd name="T8" fmla="*/ 463 w 506"/>
                  <a:gd name="T9" fmla="*/ 392 h 525"/>
                  <a:gd name="T10" fmla="*/ 434 w 506"/>
                  <a:gd name="T11" fmla="*/ 455 h 525"/>
                  <a:gd name="T12" fmla="*/ 418 w 506"/>
                  <a:gd name="T13" fmla="*/ 525 h 525"/>
                  <a:gd name="T14" fmla="*/ 328 w 506"/>
                  <a:gd name="T15" fmla="*/ 392 h 525"/>
                  <a:gd name="T16" fmla="*/ 200 w 506"/>
                  <a:gd name="T17" fmla="*/ 376 h 525"/>
                  <a:gd name="T18" fmla="*/ 179 w 506"/>
                  <a:gd name="T19" fmla="*/ 525 h 525"/>
                  <a:gd name="T20" fmla="*/ 72 w 506"/>
                  <a:gd name="T21" fmla="*/ 510 h 525"/>
                  <a:gd name="T22" fmla="*/ 44 w 506"/>
                  <a:gd name="T23" fmla="*/ 439 h 525"/>
                  <a:gd name="T24" fmla="*/ 72 w 506"/>
                  <a:gd name="T25" fmla="*/ 392 h 525"/>
                  <a:gd name="T26" fmla="*/ 57 w 506"/>
                  <a:gd name="T27" fmla="*/ 382 h 525"/>
                  <a:gd name="T28" fmla="*/ 18 w 506"/>
                  <a:gd name="T29" fmla="*/ 161 h 525"/>
                  <a:gd name="T30" fmla="*/ 56 w 506"/>
                  <a:gd name="T31" fmla="*/ 144 h 525"/>
                  <a:gd name="T32" fmla="*/ 0 w 506"/>
                  <a:gd name="T33" fmla="*/ 21 h 525"/>
                  <a:gd name="T34" fmla="*/ 92 w 506"/>
                  <a:gd name="T35" fmla="*/ 21 h 525"/>
                  <a:gd name="T36" fmla="*/ 403 w 506"/>
                  <a:gd name="T37" fmla="*/ 82 h 525"/>
                  <a:gd name="T38" fmla="*/ 457 w 506"/>
                  <a:gd name="T39" fmla="*/ 0 h 525"/>
                  <a:gd name="T40" fmla="*/ 461 w 506"/>
                  <a:gd name="T41" fmla="*/ 82 h 525"/>
                  <a:gd name="T42" fmla="*/ 455 w 506"/>
                  <a:gd name="T43" fmla="*/ 24 h 525"/>
                  <a:gd name="T44" fmla="*/ 435 w 506"/>
                  <a:gd name="T45" fmla="*/ 82 h 525"/>
                  <a:gd name="T46" fmla="*/ 454 w 506"/>
                  <a:gd name="T47" fmla="*/ 127 h 525"/>
                  <a:gd name="T48" fmla="*/ 49 w 506"/>
                  <a:gd name="T49" fmla="*/ 112 h 525"/>
                  <a:gd name="T50" fmla="*/ 78 w 506"/>
                  <a:gd name="T51" fmla="*/ 127 h 525"/>
                  <a:gd name="T52" fmla="*/ 81 w 506"/>
                  <a:gd name="T53" fmla="*/ 161 h 525"/>
                  <a:gd name="T54" fmla="*/ 426 w 506"/>
                  <a:gd name="T55" fmla="*/ 145 h 525"/>
                  <a:gd name="T56" fmla="*/ 454 w 506"/>
                  <a:gd name="T57" fmla="*/ 127 h 525"/>
                  <a:gd name="T58" fmla="*/ 450 w 506"/>
                  <a:gd name="T59" fmla="*/ 178 h 525"/>
                  <a:gd name="T60" fmla="*/ 65 w 506"/>
                  <a:gd name="T61" fmla="*/ 335 h 525"/>
                  <a:gd name="T62" fmla="*/ 421 w 506"/>
                  <a:gd name="T63" fmla="*/ 349 h 525"/>
                  <a:gd name="T64" fmla="*/ 398 w 506"/>
                  <a:gd name="T65" fmla="*/ 490 h 525"/>
                  <a:gd name="T66" fmla="*/ 356 w 506"/>
                  <a:gd name="T67" fmla="*/ 371 h 525"/>
                  <a:gd name="T68" fmla="*/ 389 w 506"/>
                  <a:gd name="T69" fmla="*/ 496 h 525"/>
                  <a:gd name="T70" fmla="*/ 150 w 506"/>
                  <a:gd name="T71" fmla="*/ 496 h 525"/>
                  <a:gd name="T72" fmla="*/ 108 w 506"/>
                  <a:gd name="T73" fmla="*/ 371 h 525"/>
                  <a:gd name="T74" fmla="*/ 117 w 506"/>
                  <a:gd name="T75" fmla="*/ 496 h 525"/>
                  <a:gd name="T76" fmla="*/ 71 w 506"/>
                  <a:gd name="T77" fmla="*/ 82 h 525"/>
                  <a:gd name="T78" fmla="*/ 51 w 506"/>
                  <a:gd name="T79" fmla="*/ 24 h 525"/>
                  <a:gd name="T80" fmla="*/ 45 w 506"/>
                  <a:gd name="T81" fmla="*/ 82 h 5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506" h="525">
                    <a:moveTo>
                      <a:pt x="506" y="21"/>
                    </a:moveTo>
                    <a:cubicBezTo>
                      <a:pt x="488" y="144"/>
                      <a:pt x="488" y="144"/>
                      <a:pt x="488" y="144"/>
                    </a:cubicBezTo>
                    <a:cubicBezTo>
                      <a:pt x="450" y="144"/>
                      <a:pt x="450" y="144"/>
                      <a:pt x="450" y="144"/>
                    </a:cubicBezTo>
                    <a:cubicBezTo>
                      <a:pt x="449" y="161"/>
                      <a:pt x="449" y="161"/>
                      <a:pt x="449" y="161"/>
                    </a:cubicBezTo>
                    <a:cubicBezTo>
                      <a:pt x="488" y="161"/>
                      <a:pt x="488" y="161"/>
                      <a:pt x="488" y="161"/>
                    </a:cubicBezTo>
                    <a:cubicBezTo>
                      <a:pt x="473" y="361"/>
                      <a:pt x="473" y="361"/>
                      <a:pt x="473" y="361"/>
                    </a:cubicBezTo>
                    <a:cubicBezTo>
                      <a:pt x="473" y="372"/>
                      <a:pt x="462" y="382"/>
                      <a:pt x="450" y="382"/>
                    </a:cubicBezTo>
                    <a:cubicBezTo>
                      <a:pt x="434" y="382"/>
                      <a:pt x="434" y="382"/>
                      <a:pt x="434" y="382"/>
                    </a:cubicBezTo>
                    <a:cubicBezTo>
                      <a:pt x="434" y="392"/>
                      <a:pt x="434" y="392"/>
                      <a:pt x="434" y="392"/>
                    </a:cubicBezTo>
                    <a:cubicBezTo>
                      <a:pt x="463" y="392"/>
                      <a:pt x="463" y="392"/>
                      <a:pt x="463" y="392"/>
                    </a:cubicBezTo>
                    <a:cubicBezTo>
                      <a:pt x="463" y="439"/>
                      <a:pt x="463" y="439"/>
                      <a:pt x="463" y="439"/>
                    </a:cubicBezTo>
                    <a:cubicBezTo>
                      <a:pt x="463" y="448"/>
                      <a:pt x="450" y="455"/>
                      <a:pt x="434" y="455"/>
                    </a:cubicBezTo>
                    <a:cubicBezTo>
                      <a:pt x="434" y="510"/>
                      <a:pt x="434" y="510"/>
                      <a:pt x="434" y="510"/>
                    </a:cubicBezTo>
                    <a:cubicBezTo>
                      <a:pt x="434" y="518"/>
                      <a:pt x="427" y="525"/>
                      <a:pt x="418" y="525"/>
                    </a:cubicBezTo>
                    <a:cubicBezTo>
                      <a:pt x="328" y="525"/>
                      <a:pt x="328" y="525"/>
                      <a:pt x="328" y="525"/>
                    </a:cubicBezTo>
                    <a:cubicBezTo>
                      <a:pt x="328" y="392"/>
                      <a:pt x="328" y="392"/>
                      <a:pt x="328" y="392"/>
                    </a:cubicBezTo>
                    <a:cubicBezTo>
                      <a:pt x="328" y="383"/>
                      <a:pt x="318" y="376"/>
                      <a:pt x="307" y="376"/>
                    </a:cubicBezTo>
                    <a:cubicBezTo>
                      <a:pt x="200" y="376"/>
                      <a:pt x="200" y="376"/>
                      <a:pt x="200" y="376"/>
                    </a:cubicBezTo>
                    <a:cubicBezTo>
                      <a:pt x="188" y="376"/>
                      <a:pt x="179" y="383"/>
                      <a:pt x="179" y="392"/>
                    </a:cubicBezTo>
                    <a:cubicBezTo>
                      <a:pt x="179" y="525"/>
                      <a:pt x="179" y="525"/>
                      <a:pt x="179" y="525"/>
                    </a:cubicBezTo>
                    <a:cubicBezTo>
                      <a:pt x="89" y="525"/>
                      <a:pt x="89" y="525"/>
                      <a:pt x="89" y="525"/>
                    </a:cubicBezTo>
                    <a:cubicBezTo>
                      <a:pt x="80" y="525"/>
                      <a:pt x="72" y="518"/>
                      <a:pt x="72" y="510"/>
                    </a:cubicBezTo>
                    <a:cubicBezTo>
                      <a:pt x="72" y="455"/>
                      <a:pt x="72" y="455"/>
                      <a:pt x="72" y="455"/>
                    </a:cubicBezTo>
                    <a:cubicBezTo>
                      <a:pt x="56" y="455"/>
                      <a:pt x="44" y="448"/>
                      <a:pt x="44" y="439"/>
                    </a:cubicBezTo>
                    <a:cubicBezTo>
                      <a:pt x="44" y="392"/>
                      <a:pt x="44" y="392"/>
                      <a:pt x="44" y="392"/>
                    </a:cubicBezTo>
                    <a:cubicBezTo>
                      <a:pt x="72" y="392"/>
                      <a:pt x="72" y="392"/>
                      <a:pt x="72" y="392"/>
                    </a:cubicBezTo>
                    <a:cubicBezTo>
                      <a:pt x="72" y="382"/>
                      <a:pt x="72" y="382"/>
                      <a:pt x="72" y="382"/>
                    </a:cubicBezTo>
                    <a:cubicBezTo>
                      <a:pt x="57" y="382"/>
                      <a:pt x="57" y="382"/>
                      <a:pt x="57" y="382"/>
                    </a:cubicBezTo>
                    <a:cubicBezTo>
                      <a:pt x="44" y="382"/>
                      <a:pt x="34" y="372"/>
                      <a:pt x="34" y="361"/>
                    </a:cubicBezTo>
                    <a:cubicBezTo>
                      <a:pt x="18" y="161"/>
                      <a:pt x="18" y="161"/>
                      <a:pt x="18" y="161"/>
                    </a:cubicBezTo>
                    <a:cubicBezTo>
                      <a:pt x="58" y="161"/>
                      <a:pt x="58" y="161"/>
                      <a:pt x="58" y="161"/>
                    </a:cubicBezTo>
                    <a:cubicBezTo>
                      <a:pt x="56" y="144"/>
                      <a:pt x="56" y="144"/>
                      <a:pt x="56" y="144"/>
                    </a:cubicBezTo>
                    <a:cubicBezTo>
                      <a:pt x="18" y="144"/>
                      <a:pt x="18" y="144"/>
                      <a:pt x="18" y="144"/>
                    </a:cubicBezTo>
                    <a:cubicBezTo>
                      <a:pt x="0" y="21"/>
                      <a:pt x="0" y="21"/>
                      <a:pt x="0" y="21"/>
                    </a:cubicBezTo>
                    <a:cubicBezTo>
                      <a:pt x="2" y="7"/>
                      <a:pt x="31" y="0"/>
                      <a:pt x="49" y="0"/>
                    </a:cubicBezTo>
                    <a:cubicBezTo>
                      <a:pt x="73" y="0"/>
                      <a:pt x="80" y="3"/>
                      <a:pt x="92" y="21"/>
                    </a:cubicBezTo>
                    <a:cubicBezTo>
                      <a:pt x="103" y="82"/>
                      <a:pt x="103" y="82"/>
                      <a:pt x="103" y="82"/>
                    </a:cubicBezTo>
                    <a:cubicBezTo>
                      <a:pt x="403" y="82"/>
                      <a:pt x="403" y="82"/>
                      <a:pt x="403" y="82"/>
                    </a:cubicBezTo>
                    <a:cubicBezTo>
                      <a:pt x="415" y="21"/>
                      <a:pt x="415" y="21"/>
                      <a:pt x="415" y="21"/>
                    </a:cubicBezTo>
                    <a:cubicBezTo>
                      <a:pt x="426" y="3"/>
                      <a:pt x="433" y="0"/>
                      <a:pt x="457" y="0"/>
                    </a:cubicBezTo>
                    <a:cubicBezTo>
                      <a:pt x="475" y="0"/>
                      <a:pt x="504" y="7"/>
                      <a:pt x="506" y="21"/>
                    </a:cubicBezTo>
                    <a:close/>
                    <a:moveTo>
                      <a:pt x="461" y="82"/>
                    </a:moveTo>
                    <a:cubicBezTo>
                      <a:pt x="469" y="32"/>
                      <a:pt x="469" y="32"/>
                      <a:pt x="469" y="32"/>
                    </a:cubicBezTo>
                    <a:cubicBezTo>
                      <a:pt x="469" y="24"/>
                      <a:pt x="463" y="24"/>
                      <a:pt x="455" y="24"/>
                    </a:cubicBezTo>
                    <a:cubicBezTo>
                      <a:pt x="450" y="24"/>
                      <a:pt x="447" y="26"/>
                      <a:pt x="445" y="32"/>
                    </a:cubicBezTo>
                    <a:cubicBezTo>
                      <a:pt x="435" y="82"/>
                      <a:pt x="435" y="82"/>
                      <a:pt x="435" y="82"/>
                    </a:cubicBezTo>
                    <a:lnTo>
                      <a:pt x="461" y="82"/>
                    </a:lnTo>
                    <a:close/>
                    <a:moveTo>
                      <a:pt x="454" y="127"/>
                    </a:moveTo>
                    <a:cubicBezTo>
                      <a:pt x="457" y="112"/>
                      <a:pt x="457" y="112"/>
                      <a:pt x="457" y="112"/>
                    </a:cubicBezTo>
                    <a:cubicBezTo>
                      <a:pt x="49" y="112"/>
                      <a:pt x="49" y="112"/>
                      <a:pt x="49" y="112"/>
                    </a:cubicBezTo>
                    <a:cubicBezTo>
                      <a:pt x="52" y="127"/>
                      <a:pt x="52" y="127"/>
                      <a:pt x="52" y="127"/>
                    </a:cubicBezTo>
                    <a:cubicBezTo>
                      <a:pt x="78" y="127"/>
                      <a:pt x="78" y="127"/>
                      <a:pt x="78" y="127"/>
                    </a:cubicBezTo>
                    <a:cubicBezTo>
                      <a:pt x="80" y="145"/>
                      <a:pt x="80" y="145"/>
                      <a:pt x="80" y="145"/>
                    </a:cubicBezTo>
                    <a:cubicBezTo>
                      <a:pt x="81" y="161"/>
                      <a:pt x="81" y="161"/>
                      <a:pt x="81" y="161"/>
                    </a:cubicBezTo>
                    <a:cubicBezTo>
                      <a:pt x="425" y="161"/>
                      <a:pt x="425" y="161"/>
                      <a:pt x="425" y="161"/>
                    </a:cubicBezTo>
                    <a:cubicBezTo>
                      <a:pt x="426" y="145"/>
                      <a:pt x="426" y="145"/>
                      <a:pt x="426" y="145"/>
                    </a:cubicBezTo>
                    <a:cubicBezTo>
                      <a:pt x="428" y="127"/>
                      <a:pt x="428" y="127"/>
                      <a:pt x="428" y="127"/>
                    </a:cubicBezTo>
                    <a:lnTo>
                      <a:pt x="454" y="127"/>
                    </a:lnTo>
                    <a:close/>
                    <a:moveTo>
                      <a:pt x="441" y="335"/>
                    </a:moveTo>
                    <a:cubicBezTo>
                      <a:pt x="450" y="178"/>
                      <a:pt x="450" y="178"/>
                      <a:pt x="450" y="178"/>
                    </a:cubicBezTo>
                    <a:cubicBezTo>
                      <a:pt x="56" y="178"/>
                      <a:pt x="56" y="178"/>
                      <a:pt x="56" y="178"/>
                    </a:cubicBezTo>
                    <a:cubicBezTo>
                      <a:pt x="65" y="335"/>
                      <a:pt x="65" y="335"/>
                      <a:pt x="65" y="335"/>
                    </a:cubicBezTo>
                    <a:cubicBezTo>
                      <a:pt x="65" y="343"/>
                      <a:pt x="74" y="349"/>
                      <a:pt x="85" y="349"/>
                    </a:cubicBezTo>
                    <a:cubicBezTo>
                      <a:pt x="421" y="349"/>
                      <a:pt x="421" y="349"/>
                      <a:pt x="421" y="349"/>
                    </a:cubicBezTo>
                    <a:cubicBezTo>
                      <a:pt x="432" y="349"/>
                      <a:pt x="441" y="343"/>
                      <a:pt x="441" y="335"/>
                    </a:cubicBezTo>
                    <a:close/>
                    <a:moveTo>
                      <a:pt x="398" y="490"/>
                    </a:moveTo>
                    <a:cubicBezTo>
                      <a:pt x="398" y="371"/>
                      <a:pt x="398" y="371"/>
                      <a:pt x="398" y="371"/>
                    </a:cubicBezTo>
                    <a:cubicBezTo>
                      <a:pt x="356" y="371"/>
                      <a:pt x="356" y="371"/>
                      <a:pt x="356" y="371"/>
                    </a:cubicBezTo>
                    <a:cubicBezTo>
                      <a:pt x="356" y="496"/>
                      <a:pt x="356" y="496"/>
                      <a:pt x="356" y="496"/>
                    </a:cubicBezTo>
                    <a:cubicBezTo>
                      <a:pt x="389" y="496"/>
                      <a:pt x="389" y="496"/>
                      <a:pt x="389" y="496"/>
                    </a:cubicBezTo>
                    <a:cubicBezTo>
                      <a:pt x="394" y="496"/>
                      <a:pt x="398" y="496"/>
                      <a:pt x="398" y="490"/>
                    </a:cubicBezTo>
                    <a:close/>
                    <a:moveTo>
                      <a:pt x="150" y="496"/>
                    </a:moveTo>
                    <a:cubicBezTo>
                      <a:pt x="150" y="371"/>
                      <a:pt x="150" y="371"/>
                      <a:pt x="150" y="371"/>
                    </a:cubicBezTo>
                    <a:cubicBezTo>
                      <a:pt x="108" y="371"/>
                      <a:pt x="108" y="371"/>
                      <a:pt x="108" y="371"/>
                    </a:cubicBezTo>
                    <a:cubicBezTo>
                      <a:pt x="108" y="490"/>
                      <a:pt x="108" y="490"/>
                      <a:pt x="108" y="490"/>
                    </a:cubicBezTo>
                    <a:cubicBezTo>
                      <a:pt x="108" y="496"/>
                      <a:pt x="112" y="496"/>
                      <a:pt x="117" y="496"/>
                    </a:cubicBezTo>
                    <a:lnTo>
                      <a:pt x="150" y="496"/>
                    </a:lnTo>
                    <a:close/>
                    <a:moveTo>
                      <a:pt x="71" y="82"/>
                    </a:moveTo>
                    <a:cubicBezTo>
                      <a:pt x="61" y="32"/>
                      <a:pt x="61" y="32"/>
                      <a:pt x="61" y="32"/>
                    </a:cubicBezTo>
                    <a:cubicBezTo>
                      <a:pt x="60" y="26"/>
                      <a:pt x="57" y="24"/>
                      <a:pt x="51" y="24"/>
                    </a:cubicBezTo>
                    <a:cubicBezTo>
                      <a:pt x="43" y="24"/>
                      <a:pt x="37" y="24"/>
                      <a:pt x="37" y="32"/>
                    </a:cubicBezTo>
                    <a:cubicBezTo>
                      <a:pt x="45" y="82"/>
                      <a:pt x="45" y="82"/>
                      <a:pt x="45" y="82"/>
                    </a:cubicBezTo>
                    <a:lnTo>
                      <a:pt x="71" y="8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68" name="í$ḻíde"/>
              <p:cNvSpPr/>
              <p:nvPr/>
            </p:nvSpPr>
            <p:spPr bwMode="auto">
              <a:xfrm>
                <a:off x="2144609" y="5142503"/>
                <a:ext cx="604838" cy="31750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</p:grpSp>
      </p:grp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97B5FA-0921-464F-AAE1-844C04324D75}" type="datetimeFigureOut">
              <a:rPr lang="zh-CN" altLang="en-US" smtClean="0"/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5CE74E-AB26-4998-AD42-012C4C1AD076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23888" y="1709738"/>
            <a:ext cx="78867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23888" y="4589463"/>
            <a:ext cx="78867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97B5FA-0921-464F-AAE1-844C04324D75}" type="datetimeFigureOut">
              <a:rPr lang="zh-CN" altLang="en-US" smtClean="0"/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5CE74E-AB26-4998-AD42-012C4C1AD076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86200" cy="435133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zh-CN" altLang="en-US"/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4629150" y="1825625"/>
            <a:ext cx="3886200" cy="435133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zh-CN" altLang="en-US"/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97B5FA-0921-464F-AAE1-844C04324D75}" type="datetimeFigureOut">
              <a:rPr lang="zh-CN" altLang="en-US" smtClean="0"/>
            </a:fld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5CE74E-AB26-4998-AD42-012C4C1AD076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29841" y="365125"/>
            <a:ext cx="7886700" cy="1325563"/>
          </a:xfrm>
        </p:spPr>
        <p:txBody>
          <a:bodyPr/>
          <a:lstStyle/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29841" y="1681163"/>
            <a:ext cx="3868340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629841" y="2505075"/>
            <a:ext cx="3868340" cy="368458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zh-CN" altLang="en-US"/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391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</p:txBody>
      </p:sp>
      <p:sp>
        <p:nvSpPr>
          <p:cNvPr id="6" name="内容占位符 5"/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391" cy="368458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zh-CN" altLang="en-US"/>
          </a:p>
        </p:txBody>
      </p:sp>
      <p:sp>
        <p:nvSpPr>
          <p:cNvPr id="7" name="日期占位符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97B5FA-0921-464F-AAE1-844C04324D75}" type="datetimeFigureOut">
              <a:rPr lang="zh-CN" altLang="en-US" smtClean="0"/>
            </a:fld>
            <a:endParaRPr lang="zh-CN" altLang="en-US"/>
          </a:p>
        </p:txBody>
      </p:sp>
      <p:sp>
        <p:nvSpPr>
          <p:cNvPr id="8" name="页脚占位符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9" name="灯片编号占位符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5CE74E-AB26-4998-AD42-012C4C1AD076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97B5FA-0921-464F-AAE1-844C04324D75}" type="datetimeFigureOut">
              <a:rPr lang="zh-CN" altLang="en-US" smtClean="0"/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5CE74E-AB26-4998-AD42-012C4C1AD076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A-图片 14"/>
          <p:cNvPicPr>
            <a:picLocks noChangeAspect="1"/>
          </p:cNvPicPr>
          <p:nvPr>
            <p:custDataLst>
              <p:tags r:id="rId2"/>
            </p:custDataLst>
          </p:nvPr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0" y="1"/>
            <a:ext cx="9144000" cy="3429001"/>
          </a:xfrm>
          <a:custGeom>
            <a:avLst/>
            <a:gdLst>
              <a:gd name="connsiteX0" fmla="*/ 0 w 12192000"/>
              <a:gd name="connsiteY0" fmla="*/ 0 h 3429001"/>
              <a:gd name="connsiteX1" fmla="*/ 12192000 w 12192000"/>
              <a:gd name="connsiteY1" fmla="*/ 0 h 3429001"/>
              <a:gd name="connsiteX2" fmla="*/ 12192000 w 12192000"/>
              <a:gd name="connsiteY2" fmla="*/ 2925589 h 3429001"/>
              <a:gd name="connsiteX3" fmla="*/ 12119571 w 12192000"/>
              <a:gd name="connsiteY3" fmla="*/ 2939984 h 3429001"/>
              <a:gd name="connsiteX4" fmla="*/ 6096001 w 12192000"/>
              <a:gd name="connsiteY4" fmla="*/ 3429001 h 3429001"/>
              <a:gd name="connsiteX5" fmla="*/ 72430 w 12192000"/>
              <a:gd name="connsiteY5" fmla="*/ 2939984 h 3429001"/>
              <a:gd name="connsiteX6" fmla="*/ 0 w 12192000"/>
              <a:gd name="connsiteY6" fmla="*/ 2925589 h 3429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3429001">
                <a:moveTo>
                  <a:pt x="0" y="0"/>
                </a:moveTo>
                <a:lnTo>
                  <a:pt x="12192000" y="0"/>
                </a:lnTo>
                <a:lnTo>
                  <a:pt x="12192000" y="2925589"/>
                </a:lnTo>
                <a:lnTo>
                  <a:pt x="12119571" y="2939984"/>
                </a:lnTo>
                <a:cubicBezTo>
                  <a:pt x="10400109" y="3248724"/>
                  <a:pt x="8327268" y="3429001"/>
                  <a:pt x="6096001" y="3429001"/>
                </a:cubicBezTo>
                <a:cubicBezTo>
                  <a:pt x="3864735" y="3429001"/>
                  <a:pt x="1791894" y="3248724"/>
                  <a:pt x="72430" y="2939984"/>
                </a:cubicBezTo>
                <a:lnTo>
                  <a:pt x="0" y="2925589"/>
                </a:lnTo>
                <a:close/>
              </a:path>
            </a:pathLst>
          </a:custGeom>
        </p:spPr>
      </p:pic>
      <p:sp>
        <p:nvSpPr>
          <p:cNvPr id="7" name="PA-椭圆 7"/>
          <p:cNvSpPr/>
          <p:nvPr>
            <p:custDataLst>
              <p:tags r:id="rId4"/>
            </p:custDataLst>
          </p:nvPr>
        </p:nvSpPr>
        <p:spPr>
          <a:xfrm>
            <a:off x="-3508130" y="-2297723"/>
            <a:ext cx="16160261" cy="5726723"/>
          </a:xfrm>
          <a:prstGeom prst="ellipse">
            <a:avLst/>
          </a:prstGeom>
          <a:gradFill flip="none" rotWithShape="1">
            <a:gsLst>
              <a:gs pos="0">
                <a:srgbClr val="A22B17">
                  <a:lumMod val="94000"/>
                  <a:lumOff val="6000"/>
                </a:srgbClr>
              </a:gs>
              <a:gs pos="100000">
                <a:srgbClr val="A22B17">
                  <a:alpha val="72000"/>
                  <a:lumMod val="85000"/>
                  <a:lumOff val="15000"/>
                </a:srgb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zh-CN" altLang="en-US" sz="1350" dirty="0"/>
          </a:p>
        </p:txBody>
      </p:sp>
      <p:grpSp>
        <p:nvGrpSpPr>
          <p:cNvPr id="2" name="组合 1"/>
          <p:cNvGrpSpPr/>
          <p:nvPr userDrawn="1"/>
        </p:nvGrpSpPr>
        <p:grpSpPr>
          <a:xfrm>
            <a:off x="4331279" y="636936"/>
            <a:ext cx="481443" cy="642498"/>
            <a:chOff x="5775038" y="636936"/>
            <a:chExt cx="641924" cy="642498"/>
          </a:xfrm>
        </p:grpSpPr>
        <p:grpSp>
          <p:nvGrpSpPr>
            <p:cNvPr id="237" name="组合 236"/>
            <p:cNvGrpSpPr/>
            <p:nvPr/>
          </p:nvGrpSpPr>
          <p:grpSpPr>
            <a:xfrm>
              <a:off x="5775038" y="636936"/>
              <a:ext cx="641924" cy="642498"/>
              <a:chOff x="1560409" y="2069897"/>
              <a:chExt cx="1776413" cy="1778000"/>
            </a:xfrm>
          </p:grpSpPr>
          <p:sp>
            <p:nvSpPr>
              <p:cNvPr id="296" name="îS1îḋé"/>
              <p:cNvSpPr/>
              <p:nvPr/>
            </p:nvSpPr>
            <p:spPr bwMode="auto">
              <a:xfrm>
                <a:off x="1560409" y="2069897"/>
                <a:ext cx="1776413" cy="1778000"/>
              </a:xfrm>
              <a:prstGeom prst="ellipse">
                <a:avLst/>
              </a:prstGeom>
              <a:noFill/>
              <a:ln w="15875" cap="flat">
                <a:solidFill>
                  <a:srgbClr val="F2C68E"/>
                </a:solidFill>
                <a:prstDash val="solid"/>
                <a:miter lim="800000"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297" name="îṣḷïďé"/>
              <p:cNvSpPr/>
              <p:nvPr/>
            </p:nvSpPr>
            <p:spPr bwMode="auto">
              <a:xfrm>
                <a:off x="1779484" y="2288972"/>
                <a:ext cx="1336675" cy="1338263"/>
              </a:xfrm>
              <a:prstGeom prst="ellipse">
                <a:avLst/>
              </a:prstGeom>
              <a:noFill/>
              <a:ln w="9525" cap="flat">
                <a:solidFill>
                  <a:srgbClr val="F2C68E"/>
                </a:solidFill>
                <a:prstDash val="solid"/>
                <a:miter lim="800000"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</p:grpSp>
        <p:grpSp>
          <p:nvGrpSpPr>
            <p:cNvPr id="238" name="组合 237"/>
            <p:cNvGrpSpPr/>
            <p:nvPr/>
          </p:nvGrpSpPr>
          <p:grpSpPr>
            <a:xfrm>
              <a:off x="5804581" y="657875"/>
              <a:ext cx="582837" cy="600621"/>
              <a:chOff x="1641372" y="4491628"/>
              <a:chExt cx="1612900" cy="1662113"/>
            </a:xfrm>
            <a:solidFill>
              <a:srgbClr val="F2C68E"/>
            </a:solidFill>
          </p:grpSpPr>
          <p:sp>
            <p:nvSpPr>
              <p:cNvPr id="239" name="ïś1íďê"/>
              <p:cNvSpPr/>
              <p:nvPr/>
            </p:nvSpPr>
            <p:spPr bwMode="auto">
              <a:xfrm>
                <a:off x="2889147" y="4701178"/>
                <a:ext cx="153988" cy="138113"/>
              </a:xfrm>
              <a:custGeom>
                <a:avLst/>
                <a:gdLst>
                  <a:gd name="T0" fmla="*/ 62 w 83"/>
                  <a:gd name="T1" fmla="*/ 8 h 75"/>
                  <a:gd name="T2" fmla="*/ 53 w 83"/>
                  <a:gd name="T3" fmla="*/ 10 h 75"/>
                  <a:gd name="T4" fmla="*/ 57 w 83"/>
                  <a:gd name="T5" fmla="*/ 0 h 75"/>
                  <a:gd name="T6" fmla="*/ 44 w 83"/>
                  <a:gd name="T7" fmla="*/ 21 h 75"/>
                  <a:gd name="T8" fmla="*/ 58 w 83"/>
                  <a:gd name="T9" fmla="*/ 11 h 75"/>
                  <a:gd name="T10" fmla="*/ 54 w 83"/>
                  <a:gd name="T11" fmla="*/ 18 h 75"/>
                  <a:gd name="T12" fmla="*/ 28 w 83"/>
                  <a:gd name="T13" fmla="*/ 18 h 75"/>
                  <a:gd name="T14" fmla="*/ 19 w 83"/>
                  <a:gd name="T15" fmla="*/ 17 h 75"/>
                  <a:gd name="T16" fmla="*/ 25 w 83"/>
                  <a:gd name="T17" fmla="*/ 12 h 75"/>
                  <a:gd name="T18" fmla="*/ 1 w 83"/>
                  <a:gd name="T19" fmla="*/ 30 h 75"/>
                  <a:gd name="T20" fmla="*/ 13 w 83"/>
                  <a:gd name="T21" fmla="*/ 24 h 75"/>
                  <a:gd name="T22" fmla="*/ 36 w 83"/>
                  <a:gd name="T23" fmla="*/ 28 h 75"/>
                  <a:gd name="T24" fmla="*/ 22 w 83"/>
                  <a:gd name="T25" fmla="*/ 35 h 75"/>
                  <a:gd name="T26" fmla="*/ 45 w 83"/>
                  <a:gd name="T27" fmla="*/ 41 h 75"/>
                  <a:gd name="T28" fmla="*/ 42 w 83"/>
                  <a:gd name="T29" fmla="*/ 41 h 75"/>
                  <a:gd name="T30" fmla="*/ 35 w 83"/>
                  <a:gd name="T31" fmla="*/ 40 h 75"/>
                  <a:gd name="T32" fmla="*/ 37 w 83"/>
                  <a:gd name="T33" fmla="*/ 45 h 75"/>
                  <a:gd name="T34" fmla="*/ 12 w 83"/>
                  <a:gd name="T35" fmla="*/ 34 h 75"/>
                  <a:gd name="T36" fmla="*/ 9 w 83"/>
                  <a:gd name="T37" fmla="*/ 35 h 75"/>
                  <a:gd name="T38" fmla="*/ 20 w 83"/>
                  <a:gd name="T39" fmla="*/ 64 h 75"/>
                  <a:gd name="T40" fmla="*/ 0 w 83"/>
                  <a:gd name="T41" fmla="*/ 57 h 75"/>
                  <a:gd name="T42" fmla="*/ 35 w 83"/>
                  <a:gd name="T43" fmla="*/ 58 h 75"/>
                  <a:gd name="T44" fmla="*/ 46 w 83"/>
                  <a:gd name="T45" fmla="*/ 57 h 75"/>
                  <a:gd name="T46" fmla="*/ 42 w 83"/>
                  <a:gd name="T47" fmla="*/ 48 h 75"/>
                  <a:gd name="T48" fmla="*/ 62 w 83"/>
                  <a:gd name="T49" fmla="*/ 57 h 75"/>
                  <a:gd name="T50" fmla="*/ 61 w 83"/>
                  <a:gd name="T51" fmla="*/ 35 h 75"/>
                  <a:gd name="T52" fmla="*/ 62 w 83"/>
                  <a:gd name="T53" fmla="*/ 34 h 75"/>
                  <a:gd name="T54" fmla="*/ 66 w 83"/>
                  <a:gd name="T55" fmla="*/ 16 h 75"/>
                  <a:gd name="T56" fmla="*/ 63 w 83"/>
                  <a:gd name="T57" fmla="*/ 44 h 75"/>
                  <a:gd name="T58" fmla="*/ 54 w 83"/>
                  <a:gd name="T59" fmla="*/ 32 h 75"/>
                  <a:gd name="T60" fmla="*/ 60 w 83"/>
                  <a:gd name="T61" fmla="*/ 27 h 75"/>
                  <a:gd name="T62" fmla="*/ 67 w 83"/>
                  <a:gd name="T63" fmla="*/ 18 h 75"/>
                  <a:gd name="T64" fmla="*/ 77 w 83"/>
                  <a:gd name="T65" fmla="*/ 23 h 75"/>
                  <a:gd name="T66" fmla="*/ 60 w 83"/>
                  <a:gd name="T67" fmla="*/ 27 h 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83" h="75">
                    <a:moveTo>
                      <a:pt x="66" y="16"/>
                    </a:moveTo>
                    <a:cubicBezTo>
                      <a:pt x="65" y="13"/>
                      <a:pt x="63" y="11"/>
                      <a:pt x="62" y="8"/>
                    </a:cubicBezTo>
                    <a:cubicBezTo>
                      <a:pt x="59" y="9"/>
                      <a:pt x="57" y="9"/>
                      <a:pt x="54" y="10"/>
                    </a:cubicBezTo>
                    <a:cubicBezTo>
                      <a:pt x="54" y="10"/>
                      <a:pt x="53" y="10"/>
                      <a:pt x="53" y="10"/>
                    </a:cubicBezTo>
                    <a:cubicBezTo>
                      <a:pt x="54" y="7"/>
                      <a:pt x="57" y="6"/>
                      <a:pt x="59" y="3"/>
                    </a:cubicBezTo>
                    <a:cubicBezTo>
                      <a:pt x="58" y="2"/>
                      <a:pt x="58" y="1"/>
                      <a:pt x="57" y="0"/>
                    </a:cubicBezTo>
                    <a:cubicBezTo>
                      <a:pt x="48" y="1"/>
                      <a:pt x="37" y="9"/>
                      <a:pt x="42" y="19"/>
                    </a:cubicBezTo>
                    <a:cubicBezTo>
                      <a:pt x="42" y="19"/>
                      <a:pt x="43" y="20"/>
                      <a:pt x="44" y="21"/>
                    </a:cubicBezTo>
                    <a:cubicBezTo>
                      <a:pt x="47" y="19"/>
                      <a:pt x="48" y="15"/>
                      <a:pt x="51" y="14"/>
                    </a:cubicBezTo>
                    <a:cubicBezTo>
                      <a:pt x="53" y="13"/>
                      <a:pt x="55" y="13"/>
                      <a:pt x="58" y="11"/>
                    </a:cubicBezTo>
                    <a:cubicBezTo>
                      <a:pt x="58" y="11"/>
                      <a:pt x="59" y="11"/>
                      <a:pt x="59" y="11"/>
                    </a:cubicBezTo>
                    <a:cubicBezTo>
                      <a:pt x="57" y="14"/>
                      <a:pt x="56" y="16"/>
                      <a:pt x="54" y="18"/>
                    </a:cubicBezTo>
                    <a:cubicBezTo>
                      <a:pt x="54" y="21"/>
                      <a:pt x="55" y="24"/>
                      <a:pt x="54" y="27"/>
                    </a:cubicBezTo>
                    <a:cubicBezTo>
                      <a:pt x="54" y="27"/>
                      <a:pt x="30" y="18"/>
                      <a:pt x="28" y="18"/>
                    </a:cubicBezTo>
                    <a:cubicBezTo>
                      <a:pt x="25" y="17"/>
                      <a:pt x="22" y="17"/>
                      <a:pt x="20" y="17"/>
                    </a:cubicBezTo>
                    <a:cubicBezTo>
                      <a:pt x="19" y="17"/>
                      <a:pt x="19" y="17"/>
                      <a:pt x="19" y="17"/>
                    </a:cubicBezTo>
                    <a:cubicBezTo>
                      <a:pt x="22" y="15"/>
                      <a:pt x="23" y="15"/>
                      <a:pt x="25" y="13"/>
                    </a:cubicBezTo>
                    <a:cubicBezTo>
                      <a:pt x="25" y="12"/>
                      <a:pt x="25" y="12"/>
                      <a:pt x="25" y="12"/>
                    </a:cubicBezTo>
                    <a:cubicBezTo>
                      <a:pt x="18" y="12"/>
                      <a:pt x="11" y="16"/>
                      <a:pt x="4" y="18"/>
                    </a:cubicBezTo>
                    <a:cubicBezTo>
                      <a:pt x="0" y="22"/>
                      <a:pt x="0" y="25"/>
                      <a:pt x="1" y="30"/>
                    </a:cubicBezTo>
                    <a:cubicBezTo>
                      <a:pt x="3" y="31"/>
                      <a:pt x="3" y="31"/>
                      <a:pt x="3" y="31"/>
                    </a:cubicBezTo>
                    <a:cubicBezTo>
                      <a:pt x="6" y="29"/>
                      <a:pt x="9" y="26"/>
                      <a:pt x="13" y="24"/>
                    </a:cubicBezTo>
                    <a:cubicBezTo>
                      <a:pt x="19" y="20"/>
                      <a:pt x="30" y="22"/>
                      <a:pt x="37" y="27"/>
                    </a:cubicBezTo>
                    <a:cubicBezTo>
                      <a:pt x="37" y="28"/>
                      <a:pt x="36" y="28"/>
                      <a:pt x="36" y="28"/>
                    </a:cubicBezTo>
                    <a:cubicBezTo>
                      <a:pt x="31" y="29"/>
                      <a:pt x="28" y="28"/>
                      <a:pt x="22" y="32"/>
                    </a:cubicBezTo>
                    <a:cubicBezTo>
                      <a:pt x="22" y="33"/>
                      <a:pt x="22" y="34"/>
                      <a:pt x="22" y="35"/>
                    </a:cubicBezTo>
                    <a:cubicBezTo>
                      <a:pt x="22" y="37"/>
                      <a:pt x="22" y="37"/>
                      <a:pt x="24" y="39"/>
                    </a:cubicBezTo>
                    <a:cubicBezTo>
                      <a:pt x="31" y="37"/>
                      <a:pt x="37" y="36"/>
                      <a:pt x="45" y="41"/>
                    </a:cubicBezTo>
                    <a:cubicBezTo>
                      <a:pt x="44" y="41"/>
                      <a:pt x="44" y="41"/>
                      <a:pt x="44" y="41"/>
                    </a:cubicBezTo>
                    <a:cubicBezTo>
                      <a:pt x="43" y="41"/>
                      <a:pt x="42" y="41"/>
                      <a:pt x="42" y="41"/>
                    </a:cubicBezTo>
                    <a:cubicBezTo>
                      <a:pt x="41" y="40"/>
                      <a:pt x="40" y="39"/>
                      <a:pt x="39" y="39"/>
                    </a:cubicBezTo>
                    <a:cubicBezTo>
                      <a:pt x="37" y="41"/>
                      <a:pt x="37" y="41"/>
                      <a:pt x="35" y="40"/>
                    </a:cubicBezTo>
                    <a:cubicBezTo>
                      <a:pt x="35" y="40"/>
                      <a:pt x="34" y="41"/>
                      <a:pt x="34" y="41"/>
                    </a:cubicBezTo>
                    <a:cubicBezTo>
                      <a:pt x="35" y="43"/>
                      <a:pt x="35" y="43"/>
                      <a:pt x="37" y="45"/>
                    </a:cubicBezTo>
                    <a:cubicBezTo>
                      <a:pt x="36" y="46"/>
                      <a:pt x="36" y="47"/>
                      <a:pt x="35" y="48"/>
                    </a:cubicBezTo>
                    <a:cubicBezTo>
                      <a:pt x="27" y="44"/>
                      <a:pt x="20" y="40"/>
                      <a:pt x="12" y="34"/>
                    </a:cubicBezTo>
                    <a:cubicBezTo>
                      <a:pt x="11" y="34"/>
                      <a:pt x="11" y="34"/>
                      <a:pt x="10" y="34"/>
                    </a:cubicBezTo>
                    <a:cubicBezTo>
                      <a:pt x="9" y="34"/>
                      <a:pt x="9" y="35"/>
                      <a:pt x="9" y="35"/>
                    </a:cubicBezTo>
                    <a:cubicBezTo>
                      <a:pt x="11" y="55"/>
                      <a:pt x="20" y="44"/>
                      <a:pt x="31" y="54"/>
                    </a:cubicBezTo>
                    <a:cubicBezTo>
                      <a:pt x="27" y="58"/>
                      <a:pt x="23" y="61"/>
                      <a:pt x="20" y="64"/>
                    </a:cubicBezTo>
                    <a:cubicBezTo>
                      <a:pt x="15" y="63"/>
                      <a:pt x="6" y="55"/>
                      <a:pt x="1" y="56"/>
                    </a:cubicBezTo>
                    <a:cubicBezTo>
                      <a:pt x="1" y="56"/>
                      <a:pt x="1" y="56"/>
                      <a:pt x="0" y="57"/>
                    </a:cubicBezTo>
                    <a:cubicBezTo>
                      <a:pt x="2" y="62"/>
                      <a:pt x="7" y="67"/>
                      <a:pt x="9" y="72"/>
                    </a:cubicBezTo>
                    <a:cubicBezTo>
                      <a:pt x="17" y="75"/>
                      <a:pt x="26" y="66"/>
                      <a:pt x="35" y="58"/>
                    </a:cubicBezTo>
                    <a:cubicBezTo>
                      <a:pt x="37" y="60"/>
                      <a:pt x="39" y="63"/>
                      <a:pt x="42" y="65"/>
                    </a:cubicBezTo>
                    <a:cubicBezTo>
                      <a:pt x="46" y="63"/>
                      <a:pt x="46" y="60"/>
                      <a:pt x="46" y="57"/>
                    </a:cubicBezTo>
                    <a:cubicBezTo>
                      <a:pt x="45" y="54"/>
                      <a:pt x="43" y="53"/>
                      <a:pt x="40" y="50"/>
                    </a:cubicBezTo>
                    <a:cubicBezTo>
                      <a:pt x="41" y="49"/>
                      <a:pt x="42" y="48"/>
                      <a:pt x="42" y="48"/>
                    </a:cubicBezTo>
                    <a:cubicBezTo>
                      <a:pt x="46" y="48"/>
                      <a:pt x="49" y="48"/>
                      <a:pt x="53" y="46"/>
                    </a:cubicBezTo>
                    <a:cubicBezTo>
                      <a:pt x="56" y="49"/>
                      <a:pt x="59" y="53"/>
                      <a:pt x="62" y="57"/>
                    </a:cubicBezTo>
                    <a:cubicBezTo>
                      <a:pt x="65" y="56"/>
                      <a:pt x="68" y="55"/>
                      <a:pt x="70" y="52"/>
                    </a:cubicBezTo>
                    <a:cubicBezTo>
                      <a:pt x="72" y="47"/>
                      <a:pt x="66" y="40"/>
                      <a:pt x="61" y="35"/>
                    </a:cubicBezTo>
                    <a:cubicBezTo>
                      <a:pt x="61" y="35"/>
                      <a:pt x="61" y="35"/>
                      <a:pt x="61" y="35"/>
                    </a:cubicBezTo>
                    <a:cubicBezTo>
                      <a:pt x="62" y="34"/>
                      <a:pt x="62" y="34"/>
                      <a:pt x="62" y="34"/>
                    </a:cubicBezTo>
                    <a:cubicBezTo>
                      <a:pt x="69" y="34"/>
                      <a:pt x="72" y="37"/>
                      <a:pt x="79" y="32"/>
                    </a:cubicBezTo>
                    <a:cubicBezTo>
                      <a:pt x="83" y="17"/>
                      <a:pt x="74" y="21"/>
                      <a:pt x="66" y="16"/>
                    </a:cubicBezTo>
                    <a:close/>
                    <a:moveTo>
                      <a:pt x="63" y="44"/>
                    </a:moveTo>
                    <a:cubicBezTo>
                      <a:pt x="63" y="44"/>
                      <a:pt x="63" y="44"/>
                      <a:pt x="63" y="44"/>
                    </a:cubicBezTo>
                    <a:cubicBezTo>
                      <a:pt x="55" y="42"/>
                      <a:pt x="46" y="34"/>
                      <a:pt x="38" y="32"/>
                    </a:cubicBezTo>
                    <a:cubicBezTo>
                      <a:pt x="43" y="28"/>
                      <a:pt x="48" y="31"/>
                      <a:pt x="54" y="32"/>
                    </a:cubicBezTo>
                    <a:cubicBezTo>
                      <a:pt x="57" y="36"/>
                      <a:pt x="60" y="40"/>
                      <a:pt x="63" y="44"/>
                    </a:cubicBezTo>
                    <a:close/>
                    <a:moveTo>
                      <a:pt x="60" y="27"/>
                    </a:moveTo>
                    <a:cubicBezTo>
                      <a:pt x="60" y="27"/>
                      <a:pt x="60" y="26"/>
                      <a:pt x="59" y="26"/>
                    </a:cubicBezTo>
                    <a:cubicBezTo>
                      <a:pt x="61" y="23"/>
                      <a:pt x="63" y="20"/>
                      <a:pt x="67" y="18"/>
                    </a:cubicBezTo>
                    <a:cubicBezTo>
                      <a:pt x="69" y="19"/>
                      <a:pt x="71" y="19"/>
                      <a:pt x="74" y="20"/>
                    </a:cubicBezTo>
                    <a:cubicBezTo>
                      <a:pt x="75" y="21"/>
                      <a:pt x="76" y="22"/>
                      <a:pt x="77" y="23"/>
                    </a:cubicBezTo>
                    <a:cubicBezTo>
                      <a:pt x="77" y="24"/>
                      <a:pt x="77" y="24"/>
                      <a:pt x="77" y="25"/>
                    </a:cubicBezTo>
                    <a:cubicBezTo>
                      <a:pt x="72" y="29"/>
                      <a:pt x="66" y="27"/>
                      <a:pt x="60" y="2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240" name="ïṩḻîḓé"/>
              <p:cNvSpPr/>
              <p:nvPr/>
            </p:nvSpPr>
            <p:spPr bwMode="auto">
              <a:xfrm>
                <a:off x="2728809" y="4582115"/>
                <a:ext cx="101600" cy="147638"/>
              </a:xfrm>
              <a:custGeom>
                <a:avLst/>
                <a:gdLst>
                  <a:gd name="T0" fmla="*/ 47 w 55"/>
                  <a:gd name="T1" fmla="*/ 0 h 80"/>
                  <a:gd name="T2" fmla="*/ 49 w 55"/>
                  <a:gd name="T3" fmla="*/ 20 h 80"/>
                  <a:gd name="T4" fmla="*/ 51 w 55"/>
                  <a:gd name="T5" fmla="*/ 34 h 80"/>
                  <a:gd name="T6" fmla="*/ 28 w 55"/>
                  <a:gd name="T7" fmla="*/ 38 h 80"/>
                  <a:gd name="T8" fmla="*/ 41 w 55"/>
                  <a:gd name="T9" fmla="*/ 68 h 80"/>
                  <a:gd name="T10" fmla="*/ 25 w 55"/>
                  <a:gd name="T11" fmla="*/ 74 h 80"/>
                  <a:gd name="T12" fmla="*/ 26 w 55"/>
                  <a:gd name="T13" fmla="*/ 39 h 80"/>
                  <a:gd name="T14" fmla="*/ 23 w 55"/>
                  <a:gd name="T15" fmla="*/ 40 h 80"/>
                  <a:gd name="T16" fmla="*/ 7 w 55"/>
                  <a:gd name="T17" fmla="*/ 54 h 80"/>
                  <a:gd name="T18" fmla="*/ 0 w 55"/>
                  <a:gd name="T19" fmla="*/ 43 h 80"/>
                  <a:gd name="T20" fmla="*/ 14 w 55"/>
                  <a:gd name="T21" fmla="*/ 28 h 80"/>
                  <a:gd name="T22" fmla="*/ 6 w 55"/>
                  <a:gd name="T23" fmla="*/ 15 h 80"/>
                  <a:gd name="T24" fmla="*/ 7 w 55"/>
                  <a:gd name="T25" fmla="*/ 15 h 80"/>
                  <a:gd name="T26" fmla="*/ 26 w 55"/>
                  <a:gd name="T27" fmla="*/ 18 h 80"/>
                  <a:gd name="T28" fmla="*/ 47 w 55"/>
                  <a:gd name="T29" fmla="*/ 0 h 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55" h="80">
                    <a:moveTo>
                      <a:pt x="47" y="0"/>
                    </a:moveTo>
                    <a:cubicBezTo>
                      <a:pt x="55" y="7"/>
                      <a:pt x="49" y="11"/>
                      <a:pt x="49" y="20"/>
                    </a:cubicBezTo>
                    <a:cubicBezTo>
                      <a:pt x="49" y="25"/>
                      <a:pt x="55" y="25"/>
                      <a:pt x="51" y="34"/>
                    </a:cubicBezTo>
                    <a:cubicBezTo>
                      <a:pt x="44" y="37"/>
                      <a:pt x="34" y="32"/>
                      <a:pt x="28" y="38"/>
                    </a:cubicBezTo>
                    <a:cubicBezTo>
                      <a:pt x="38" y="44"/>
                      <a:pt x="45" y="59"/>
                      <a:pt x="41" y="68"/>
                    </a:cubicBezTo>
                    <a:cubicBezTo>
                      <a:pt x="39" y="74"/>
                      <a:pt x="28" y="80"/>
                      <a:pt x="25" y="74"/>
                    </a:cubicBezTo>
                    <a:cubicBezTo>
                      <a:pt x="19" y="62"/>
                      <a:pt x="39" y="55"/>
                      <a:pt x="26" y="39"/>
                    </a:cubicBezTo>
                    <a:cubicBezTo>
                      <a:pt x="25" y="39"/>
                      <a:pt x="25" y="39"/>
                      <a:pt x="23" y="40"/>
                    </a:cubicBezTo>
                    <a:cubicBezTo>
                      <a:pt x="17" y="44"/>
                      <a:pt x="14" y="52"/>
                      <a:pt x="7" y="54"/>
                    </a:cubicBezTo>
                    <a:cubicBezTo>
                      <a:pt x="2" y="51"/>
                      <a:pt x="2" y="48"/>
                      <a:pt x="0" y="43"/>
                    </a:cubicBezTo>
                    <a:cubicBezTo>
                      <a:pt x="3" y="39"/>
                      <a:pt x="14" y="30"/>
                      <a:pt x="14" y="28"/>
                    </a:cubicBezTo>
                    <a:cubicBezTo>
                      <a:pt x="14" y="25"/>
                      <a:pt x="7" y="19"/>
                      <a:pt x="6" y="15"/>
                    </a:cubicBezTo>
                    <a:cubicBezTo>
                      <a:pt x="6" y="15"/>
                      <a:pt x="7" y="15"/>
                      <a:pt x="7" y="15"/>
                    </a:cubicBezTo>
                    <a:cubicBezTo>
                      <a:pt x="13" y="15"/>
                      <a:pt x="20" y="18"/>
                      <a:pt x="26" y="18"/>
                    </a:cubicBezTo>
                    <a:cubicBezTo>
                      <a:pt x="34" y="17"/>
                      <a:pt x="41" y="5"/>
                      <a:pt x="47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241" name="išḷïḓe"/>
              <p:cNvSpPr/>
              <p:nvPr/>
            </p:nvSpPr>
            <p:spPr bwMode="auto">
              <a:xfrm>
                <a:off x="2490684" y="4510678"/>
                <a:ext cx="144463" cy="160338"/>
              </a:xfrm>
              <a:custGeom>
                <a:avLst/>
                <a:gdLst>
                  <a:gd name="T0" fmla="*/ 55 w 78"/>
                  <a:gd name="T1" fmla="*/ 64 h 87"/>
                  <a:gd name="T2" fmla="*/ 62 w 78"/>
                  <a:gd name="T3" fmla="*/ 50 h 87"/>
                  <a:gd name="T4" fmla="*/ 54 w 78"/>
                  <a:gd name="T5" fmla="*/ 43 h 87"/>
                  <a:gd name="T6" fmla="*/ 69 w 78"/>
                  <a:gd name="T7" fmla="*/ 29 h 87"/>
                  <a:gd name="T8" fmla="*/ 67 w 78"/>
                  <a:gd name="T9" fmla="*/ 21 h 87"/>
                  <a:gd name="T10" fmla="*/ 70 w 78"/>
                  <a:gd name="T11" fmla="*/ 11 h 87"/>
                  <a:gd name="T12" fmla="*/ 69 w 78"/>
                  <a:gd name="T13" fmla="*/ 3 h 87"/>
                  <a:gd name="T14" fmla="*/ 64 w 78"/>
                  <a:gd name="T15" fmla="*/ 0 h 87"/>
                  <a:gd name="T16" fmla="*/ 63 w 78"/>
                  <a:gd name="T17" fmla="*/ 0 h 87"/>
                  <a:gd name="T18" fmla="*/ 63 w 78"/>
                  <a:gd name="T19" fmla="*/ 12 h 87"/>
                  <a:gd name="T20" fmla="*/ 42 w 78"/>
                  <a:gd name="T21" fmla="*/ 25 h 87"/>
                  <a:gd name="T22" fmla="*/ 42 w 78"/>
                  <a:gd name="T23" fmla="*/ 33 h 87"/>
                  <a:gd name="T24" fmla="*/ 33 w 78"/>
                  <a:gd name="T25" fmla="*/ 36 h 87"/>
                  <a:gd name="T26" fmla="*/ 39 w 78"/>
                  <a:gd name="T27" fmla="*/ 33 h 87"/>
                  <a:gd name="T28" fmla="*/ 39 w 78"/>
                  <a:gd name="T29" fmla="*/ 23 h 87"/>
                  <a:gd name="T30" fmla="*/ 36 w 78"/>
                  <a:gd name="T31" fmla="*/ 0 h 87"/>
                  <a:gd name="T32" fmla="*/ 36 w 78"/>
                  <a:gd name="T33" fmla="*/ 0 h 87"/>
                  <a:gd name="T34" fmla="*/ 36 w 78"/>
                  <a:gd name="T35" fmla="*/ 8 h 87"/>
                  <a:gd name="T36" fmla="*/ 30 w 78"/>
                  <a:gd name="T37" fmla="*/ 24 h 87"/>
                  <a:gd name="T38" fmla="*/ 1 w 78"/>
                  <a:gd name="T39" fmla="*/ 29 h 87"/>
                  <a:gd name="T40" fmla="*/ 0 w 78"/>
                  <a:gd name="T41" fmla="*/ 31 h 87"/>
                  <a:gd name="T42" fmla="*/ 18 w 78"/>
                  <a:gd name="T43" fmla="*/ 39 h 87"/>
                  <a:gd name="T44" fmla="*/ 25 w 78"/>
                  <a:gd name="T45" fmla="*/ 36 h 87"/>
                  <a:gd name="T46" fmla="*/ 25 w 78"/>
                  <a:gd name="T47" fmla="*/ 36 h 87"/>
                  <a:gd name="T48" fmla="*/ 3 w 78"/>
                  <a:gd name="T49" fmla="*/ 62 h 87"/>
                  <a:gd name="T50" fmla="*/ 5 w 78"/>
                  <a:gd name="T51" fmla="*/ 67 h 87"/>
                  <a:gd name="T52" fmla="*/ 12 w 78"/>
                  <a:gd name="T53" fmla="*/ 66 h 87"/>
                  <a:gd name="T54" fmla="*/ 22 w 78"/>
                  <a:gd name="T55" fmla="*/ 74 h 87"/>
                  <a:gd name="T56" fmla="*/ 25 w 78"/>
                  <a:gd name="T57" fmla="*/ 61 h 87"/>
                  <a:gd name="T58" fmla="*/ 30 w 78"/>
                  <a:gd name="T59" fmla="*/ 49 h 87"/>
                  <a:gd name="T60" fmla="*/ 48 w 78"/>
                  <a:gd name="T61" fmla="*/ 63 h 87"/>
                  <a:gd name="T62" fmla="*/ 24 w 78"/>
                  <a:gd name="T63" fmla="*/ 71 h 87"/>
                  <a:gd name="T64" fmla="*/ 48 w 78"/>
                  <a:gd name="T65" fmla="*/ 71 h 87"/>
                  <a:gd name="T66" fmla="*/ 51 w 78"/>
                  <a:gd name="T67" fmla="*/ 69 h 87"/>
                  <a:gd name="T68" fmla="*/ 77 w 78"/>
                  <a:gd name="T69" fmla="*/ 87 h 87"/>
                  <a:gd name="T70" fmla="*/ 78 w 78"/>
                  <a:gd name="T71" fmla="*/ 86 h 87"/>
                  <a:gd name="T72" fmla="*/ 55 w 78"/>
                  <a:gd name="T73" fmla="*/ 64 h 87"/>
                  <a:gd name="T74" fmla="*/ 15 w 78"/>
                  <a:gd name="T75" fmla="*/ 64 h 87"/>
                  <a:gd name="T76" fmla="*/ 15 w 78"/>
                  <a:gd name="T77" fmla="*/ 65 h 87"/>
                  <a:gd name="T78" fmla="*/ 11 w 78"/>
                  <a:gd name="T79" fmla="*/ 63 h 87"/>
                  <a:gd name="T80" fmla="*/ 12 w 78"/>
                  <a:gd name="T81" fmla="*/ 60 h 87"/>
                  <a:gd name="T82" fmla="*/ 15 w 78"/>
                  <a:gd name="T83" fmla="*/ 57 h 87"/>
                  <a:gd name="T84" fmla="*/ 17 w 78"/>
                  <a:gd name="T85" fmla="*/ 58 h 87"/>
                  <a:gd name="T86" fmla="*/ 15 w 78"/>
                  <a:gd name="T87" fmla="*/ 64 h 87"/>
                  <a:gd name="T88" fmla="*/ 32 w 78"/>
                  <a:gd name="T89" fmla="*/ 46 h 87"/>
                  <a:gd name="T90" fmla="*/ 44 w 78"/>
                  <a:gd name="T91" fmla="*/ 34 h 87"/>
                  <a:gd name="T92" fmla="*/ 52 w 78"/>
                  <a:gd name="T93" fmla="*/ 35 h 87"/>
                  <a:gd name="T94" fmla="*/ 46 w 78"/>
                  <a:gd name="T95" fmla="*/ 50 h 87"/>
                  <a:gd name="T96" fmla="*/ 48 w 78"/>
                  <a:gd name="T97" fmla="*/ 52 h 87"/>
                  <a:gd name="T98" fmla="*/ 56 w 78"/>
                  <a:gd name="T99" fmla="*/ 50 h 87"/>
                  <a:gd name="T100" fmla="*/ 52 w 78"/>
                  <a:gd name="T101" fmla="*/ 61 h 87"/>
                  <a:gd name="T102" fmla="*/ 32 w 78"/>
                  <a:gd name="T103" fmla="*/ 46 h 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78" h="87">
                    <a:moveTo>
                      <a:pt x="55" y="64"/>
                    </a:moveTo>
                    <a:cubicBezTo>
                      <a:pt x="58" y="60"/>
                      <a:pt x="60" y="55"/>
                      <a:pt x="62" y="50"/>
                    </a:cubicBezTo>
                    <a:cubicBezTo>
                      <a:pt x="61" y="47"/>
                      <a:pt x="58" y="44"/>
                      <a:pt x="54" y="43"/>
                    </a:cubicBezTo>
                    <a:cubicBezTo>
                      <a:pt x="57" y="36"/>
                      <a:pt x="64" y="33"/>
                      <a:pt x="69" y="29"/>
                    </a:cubicBezTo>
                    <a:cubicBezTo>
                      <a:pt x="69" y="25"/>
                      <a:pt x="67" y="24"/>
                      <a:pt x="67" y="21"/>
                    </a:cubicBezTo>
                    <a:cubicBezTo>
                      <a:pt x="68" y="18"/>
                      <a:pt x="69" y="15"/>
                      <a:pt x="70" y="11"/>
                    </a:cubicBezTo>
                    <a:cubicBezTo>
                      <a:pt x="70" y="9"/>
                      <a:pt x="69" y="6"/>
                      <a:pt x="69" y="3"/>
                    </a:cubicBezTo>
                    <a:cubicBezTo>
                      <a:pt x="68" y="2"/>
                      <a:pt x="67" y="1"/>
                      <a:pt x="64" y="0"/>
                    </a:cubicBezTo>
                    <a:cubicBezTo>
                      <a:pt x="64" y="0"/>
                      <a:pt x="63" y="0"/>
                      <a:pt x="63" y="0"/>
                    </a:cubicBezTo>
                    <a:cubicBezTo>
                      <a:pt x="61" y="5"/>
                      <a:pt x="63" y="8"/>
                      <a:pt x="63" y="12"/>
                    </a:cubicBezTo>
                    <a:cubicBezTo>
                      <a:pt x="63" y="24"/>
                      <a:pt x="52" y="26"/>
                      <a:pt x="42" y="25"/>
                    </a:cubicBezTo>
                    <a:cubicBezTo>
                      <a:pt x="41" y="28"/>
                      <a:pt x="41" y="31"/>
                      <a:pt x="42" y="33"/>
                    </a:cubicBezTo>
                    <a:cubicBezTo>
                      <a:pt x="39" y="34"/>
                      <a:pt x="36" y="35"/>
                      <a:pt x="33" y="36"/>
                    </a:cubicBezTo>
                    <a:cubicBezTo>
                      <a:pt x="34" y="32"/>
                      <a:pt x="36" y="32"/>
                      <a:pt x="39" y="33"/>
                    </a:cubicBezTo>
                    <a:cubicBezTo>
                      <a:pt x="41" y="29"/>
                      <a:pt x="38" y="27"/>
                      <a:pt x="39" y="23"/>
                    </a:cubicBezTo>
                    <a:cubicBezTo>
                      <a:pt x="39" y="14"/>
                      <a:pt x="53" y="6"/>
                      <a:pt x="36" y="0"/>
                    </a:cubicBezTo>
                    <a:cubicBezTo>
                      <a:pt x="36" y="0"/>
                      <a:pt x="36" y="0"/>
                      <a:pt x="36" y="0"/>
                    </a:cubicBezTo>
                    <a:cubicBezTo>
                      <a:pt x="35" y="3"/>
                      <a:pt x="36" y="5"/>
                      <a:pt x="36" y="8"/>
                    </a:cubicBezTo>
                    <a:cubicBezTo>
                      <a:pt x="34" y="14"/>
                      <a:pt x="32" y="19"/>
                      <a:pt x="30" y="24"/>
                    </a:cubicBezTo>
                    <a:cubicBezTo>
                      <a:pt x="22" y="26"/>
                      <a:pt x="9" y="26"/>
                      <a:pt x="1" y="29"/>
                    </a:cubicBezTo>
                    <a:cubicBezTo>
                      <a:pt x="1" y="30"/>
                      <a:pt x="1" y="30"/>
                      <a:pt x="0" y="31"/>
                    </a:cubicBezTo>
                    <a:cubicBezTo>
                      <a:pt x="1" y="35"/>
                      <a:pt x="12" y="39"/>
                      <a:pt x="18" y="39"/>
                    </a:cubicBezTo>
                    <a:cubicBezTo>
                      <a:pt x="20" y="38"/>
                      <a:pt x="22" y="37"/>
                      <a:pt x="25" y="36"/>
                    </a:cubicBezTo>
                    <a:cubicBezTo>
                      <a:pt x="25" y="36"/>
                      <a:pt x="25" y="36"/>
                      <a:pt x="25" y="36"/>
                    </a:cubicBezTo>
                    <a:cubicBezTo>
                      <a:pt x="21" y="52"/>
                      <a:pt x="9" y="50"/>
                      <a:pt x="3" y="62"/>
                    </a:cubicBezTo>
                    <a:cubicBezTo>
                      <a:pt x="4" y="63"/>
                      <a:pt x="4" y="65"/>
                      <a:pt x="5" y="67"/>
                    </a:cubicBezTo>
                    <a:cubicBezTo>
                      <a:pt x="7" y="67"/>
                      <a:pt x="10" y="67"/>
                      <a:pt x="12" y="66"/>
                    </a:cubicBezTo>
                    <a:cubicBezTo>
                      <a:pt x="17" y="68"/>
                      <a:pt x="17" y="72"/>
                      <a:pt x="22" y="74"/>
                    </a:cubicBezTo>
                    <a:cubicBezTo>
                      <a:pt x="25" y="71"/>
                      <a:pt x="24" y="66"/>
                      <a:pt x="25" y="61"/>
                    </a:cubicBezTo>
                    <a:cubicBezTo>
                      <a:pt x="25" y="56"/>
                      <a:pt x="28" y="52"/>
                      <a:pt x="30" y="49"/>
                    </a:cubicBezTo>
                    <a:cubicBezTo>
                      <a:pt x="40" y="53"/>
                      <a:pt x="42" y="58"/>
                      <a:pt x="48" y="63"/>
                    </a:cubicBezTo>
                    <a:cubicBezTo>
                      <a:pt x="44" y="74"/>
                      <a:pt x="29" y="63"/>
                      <a:pt x="24" y="71"/>
                    </a:cubicBezTo>
                    <a:cubicBezTo>
                      <a:pt x="39" y="78"/>
                      <a:pt x="36" y="74"/>
                      <a:pt x="48" y="71"/>
                    </a:cubicBezTo>
                    <a:cubicBezTo>
                      <a:pt x="49" y="70"/>
                      <a:pt x="50" y="70"/>
                      <a:pt x="51" y="69"/>
                    </a:cubicBezTo>
                    <a:cubicBezTo>
                      <a:pt x="58" y="79"/>
                      <a:pt x="58" y="87"/>
                      <a:pt x="77" y="87"/>
                    </a:cubicBezTo>
                    <a:cubicBezTo>
                      <a:pt x="77" y="87"/>
                      <a:pt x="78" y="86"/>
                      <a:pt x="78" y="86"/>
                    </a:cubicBezTo>
                    <a:cubicBezTo>
                      <a:pt x="74" y="76"/>
                      <a:pt x="60" y="73"/>
                      <a:pt x="55" y="64"/>
                    </a:cubicBezTo>
                    <a:close/>
                    <a:moveTo>
                      <a:pt x="15" y="64"/>
                    </a:moveTo>
                    <a:cubicBezTo>
                      <a:pt x="15" y="65"/>
                      <a:pt x="15" y="65"/>
                      <a:pt x="15" y="65"/>
                    </a:cubicBezTo>
                    <a:cubicBezTo>
                      <a:pt x="14" y="64"/>
                      <a:pt x="13" y="64"/>
                      <a:pt x="11" y="63"/>
                    </a:cubicBezTo>
                    <a:cubicBezTo>
                      <a:pt x="11" y="62"/>
                      <a:pt x="12" y="61"/>
                      <a:pt x="12" y="60"/>
                    </a:cubicBezTo>
                    <a:cubicBezTo>
                      <a:pt x="13" y="59"/>
                      <a:pt x="14" y="58"/>
                      <a:pt x="15" y="57"/>
                    </a:cubicBezTo>
                    <a:cubicBezTo>
                      <a:pt x="16" y="57"/>
                      <a:pt x="16" y="58"/>
                      <a:pt x="17" y="58"/>
                    </a:cubicBezTo>
                    <a:cubicBezTo>
                      <a:pt x="16" y="60"/>
                      <a:pt x="16" y="62"/>
                      <a:pt x="15" y="64"/>
                    </a:cubicBezTo>
                    <a:close/>
                    <a:moveTo>
                      <a:pt x="32" y="46"/>
                    </a:moveTo>
                    <a:cubicBezTo>
                      <a:pt x="35" y="43"/>
                      <a:pt x="44" y="37"/>
                      <a:pt x="44" y="34"/>
                    </a:cubicBezTo>
                    <a:cubicBezTo>
                      <a:pt x="47" y="34"/>
                      <a:pt x="49" y="35"/>
                      <a:pt x="52" y="35"/>
                    </a:cubicBezTo>
                    <a:cubicBezTo>
                      <a:pt x="50" y="40"/>
                      <a:pt x="45" y="44"/>
                      <a:pt x="46" y="50"/>
                    </a:cubicBezTo>
                    <a:cubicBezTo>
                      <a:pt x="46" y="51"/>
                      <a:pt x="47" y="51"/>
                      <a:pt x="48" y="52"/>
                    </a:cubicBezTo>
                    <a:cubicBezTo>
                      <a:pt x="50" y="51"/>
                      <a:pt x="53" y="49"/>
                      <a:pt x="56" y="50"/>
                    </a:cubicBezTo>
                    <a:cubicBezTo>
                      <a:pt x="55" y="54"/>
                      <a:pt x="53" y="57"/>
                      <a:pt x="52" y="61"/>
                    </a:cubicBezTo>
                    <a:cubicBezTo>
                      <a:pt x="45" y="56"/>
                      <a:pt x="44" y="49"/>
                      <a:pt x="32" y="4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242" name="ï$ľíḍe"/>
              <p:cNvSpPr/>
              <p:nvPr/>
            </p:nvSpPr>
            <p:spPr bwMode="auto">
              <a:xfrm>
                <a:off x="2255734" y="4491628"/>
                <a:ext cx="136525" cy="174625"/>
              </a:xfrm>
              <a:custGeom>
                <a:avLst/>
                <a:gdLst>
                  <a:gd name="T0" fmla="*/ 74 w 74"/>
                  <a:gd name="T1" fmla="*/ 41 h 94"/>
                  <a:gd name="T2" fmla="*/ 64 w 74"/>
                  <a:gd name="T3" fmla="*/ 35 h 94"/>
                  <a:gd name="T4" fmla="*/ 51 w 74"/>
                  <a:gd name="T5" fmla="*/ 5 h 94"/>
                  <a:gd name="T6" fmla="*/ 58 w 74"/>
                  <a:gd name="T7" fmla="*/ 39 h 94"/>
                  <a:gd name="T8" fmla="*/ 47 w 74"/>
                  <a:gd name="T9" fmla="*/ 47 h 94"/>
                  <a:gd name="T10" fmla="*/ 55 w 74"/>
                  <a:gd name="T11" fmla="*/ 34 h 94"/>
                  <a:gd name="T12" fmla="*/ 47 w 74"/>
                  <a:gd name="T13" fmla="*/ 29 h 94"/>
                  <a:gd name="T14" fmla="*/ 54 w 74"/>
                  <a:gd name="T15" fmla="*/ 22 h 94"/>
                  <a:gd name="T16" fmla="*/ 54 w 74"/>
                  <a:gd name="T17" fmla="*/ 20 h 94"/>
                  <a:gd name="T18" fmla="*/ 54 w 74"/>
                  <a:gd name="T19" fmla="*/ 19 h 94"/>
                  <a:gd name="T20" fmla="*/ 41 w 74"/>
                  <a:gd name="T21" fmla="*/ 19 h 94"/>
                  <a:gd name="T22" fmla="*/ 44 w 74"/>
                  <a:gd name="T23" fmla="*/ 22 h 94"/>
                  <a:gd name="T24" fmla="*/ 44 w 74"/>
                  <a:gd name="T25" fmla="*/ 32 h 94"/>
                  <a:gd name="T26" fmla="*/ 48 w 74"/>
                  <a:gd name="T27" fmla="*/ 37 h 94"/>
                  <a:gd name="T28" fmla="*/ 40 w 74"/>
                  <a:gd name="T29" fmla="*/ 58 h 94"/>
                  <a:gd name="T30" fmla="*/ 44 w 74"/>
                  <a:gd name="T31" fmla="*/ 61 h 94"/>
                  <a:gd name="T32" fmla="*/ 59 w 74"/>
                  <a:gd name="T33" fmla="*/ 46 h 94"/>
                  <a:gd name="T34" fmla="*/ 59 w 74"/>
                  <a:gd name="T35" fmla="*/ 46 h 94"/>
                  <a:gd name="T36" fmla="*/ 66 w 74"/>
                  <a:gd name="T37" fmla="*/ 93 h 94"/>
                  <a:gd name="T38" fmla="*/ 68 w 74"/>
                  <a:gd name="T39" fmla="*/ 93 h 94"/>
                  <a:gd name="T40" fmla="*/ 65 w 74"/>
                  <a:gd name="T41" fmla="*/ 42 h 94"/>
                  <a:gd name="T42" fmla="*/ 73 w 74"/>
                  <a:gd name="T43" fmla="*/ 41 h 94"/>
                  <a:gd name="T44" fmla="*/ 74 w 74"/>
                  <a:gd name="T45" fmla="*/ 41 h 94"/>
                  <a:gd name="T46" fmla="*/ 43 w 74"/>
                  <a:gd name="T47" fmla="*/ 42 h 94"/>
                  <a:gd name="T48" fmla="*/ 35 w 74"/>
                  <a:gd name="T49" fmla="*/ 48 h 94"/>
                  <a:gd name="T50" fmla="*/ 39 w 74"/>
                  <a:gd name="T51" fmla="*/ 38 h 94"/>
                  <a:gd name="T52" fmla="*/ 37 w 74"/>
                  <a:gd name="T53" fmla="*/ 29 h 94"/>
                  <a:gd name="T54" fmla="*/ 40 w 74"/>
                  <a:gd name="T55" fmla="*/ 27 h 94"/>
                  <a:gd name="T56" fmla="*/ 34 w 74"/>
                  <a:gd name="T57" fmla="*/ 16 h 94"/>
                  <a:gd name="T58" fmla="*/ 32 w 74"/>
                  <a:gd name="T59" fmla="*/ 15 h 94"/>
                  <a:gd name="T60" fmla="*/ 4 w 74"/>
                  <a:gd name="T61" fmla="*/ 46 h 94"/>
                  <a:gd name="T62" fmla="*/ 30 w 74"/>
                  <a:gd name="T63" fmla="*/ 29 h 94"/>
                  <a:gd name="T64" fmla="*/ 8 w 74"/>
                  <a:gd name="T65" fmla="*/ 52 h 94"/>
                  <a:gd name="T66" fmla="*/ 0 w 74"/>
                  <a:gd name="T67" fmla="*/ 56 h 94"/>
                  <a:gd name="T68" fmla="*/ 3 w 74"/>
                  <a:gd name="T69" fmla="*/ 61 h 94"/>
                  <a:gd name="T70" fmla="*/ 23 w 74"/>
                  <a:gd name="T71" fmla="*/ 54 h 94"/>
                  <a:gd name="T72" fmla="*/ 25 w 74"/>
                  <a:gd name="T73" fmla="*/ 53 h 94"/>
                  <a:gd name="T74" fmla="*/ 25 w 74"/>
                  <a:gd name="T75" fmla="*/ 53 h 94"/>
                  <a:gd name="T76" fmla="*/ 20 w 74"/>
                  <a:gd name="T77" fmla="*/ 72 h 94"/>
                  <a:gd name="T78" fmla="*/ 25 w 74"/>
                  <a:gd name="T79" fmla="*/ 76 h 94"/>
                  <a:gd name="T80" fmla="*/ 26 w 74"/>
                  <a:gd name="T81" fmla="*/ 76 h 94"/>
                  <a:gd name="T82" fmla="*/ 30 w 74"/>
                  <a:gd name="T83" fmla="*/ 67 h 94"/>
                  <a:gd name="T84" fmla="*/ 31 w 74"/>
                  <a:gd name="T85" fmla="*/ 66 h 94"/>
                  <a:gd name="T86" fmla="*/ 32 w 74"/>
                  <a:gd name="T87" fmla="*/ 75 h 94"/>
                  <a:gd name="T88" fmla="*/ 35 w 74"/>
                  <a:gd name="T89" fmla="*/ 76 h 94"/>
                  <a:gd name="T90" fmla="*/ 38 w 74"/>
                  <a:gd name="T91" fmla="*/ 76 h 94"/>
                  <a:gd name="T92" fmla="*/ 35 w 74"/>
                  <a:gd name="T93" fmla="*/ 61 h 94"/>
                  <a:gd name="T94" fmla="*/ 43 w 74"/>
                  <a:gd name="T95" fmla="*/ 42 h 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74" h="94">
                    <a:moveTo>
                      <a:pt x="74" y="41"/>
                    </a:moveTo>
                    <a:cubicBezTo>
                      <a:pt x="73" y="36"/>
                      <a:pt x="70" y="34"/>
                      <a:pt x="64" y="35"/>
                    </a:cubicBezTo>
                    <a:cubicBezTo>
                      <a:pt x="63" y="24"/>
                      <a:pt x="67" y="0"/>
                      <a:pt x="51" y="5"/>
                    </a:cubicBezTo>
                    <a:cubicBezTo>
                      <a:pt x="50" y="9"/>
                      <a:pt x="61" y="31"/>
                      <a:pt x="58" y="39"/>
                    </a:cubicBezTo>
                    <a:cubicBezTo>
                      <a:pt x="58" y="39"/>
                      <a:pt x="47" y="47"/>
                      <a:pt x="47" y="47"/>
                    </a:cubicBezTo>
                    <a:cubicBezTo>
                      <a:pt x="48" y="41"/>
                      <a:pt x="53" y="39"/>
                      <a:pt x="55" y="34"/>
                    </a:cubicBezTo>
                    <a:cubicBezTo>
                      <a:pt x="56" y="30"/>
                      <a:pt x="49" y="31"/>
                      <a:pt x="47" y="29"/>
                    </a:cubicBezTo>
                    <a:cubicBezTo>
                      <a:pt x="48" y="26"/>
                      <a:pt x="51" y="23"/>
                      <a:pt x="54" y="22"/>
                    </a:cubicBezTo>
                    <a:cubicBezTo>
                      <a:pt x="54" y="21"/>
                      <a:pt x="54" y="21"/>
                      <a:pt x="54" y="20"/>
                    </a:cubicBezTo>
                    <a:cubicBezTo>
                      <a:pt x="54" y="20"/>
                      <a:pt x="54" y="19"/>
                      <a:pt x="54" y="19"/>
                    </a:cubicBezTo>
                    <a:cubicBezTo>
                      <a:pt x="50" y="17"/>
                      <a:pt x="45" y="17"/>
                      <a:pt x="41" y="19"/>
                    </a:cubicBezTo>
                    <a:cubicBezTo>
                      <a:pt x="41" y="22"/>
                      <a:pt x="42" y="22"/>
                      <a:pt x="44" y="22"/>
                    </a:cubicBezTo>
                    <a:cubicBezTo>
                      <a:pt x="44" y="26"/>
                      <a:pt x="44" y="29"/>
                      <a:pt x="44" y="32"/>
                    </a:cubicBezTo>
                    <a:cubicBezTo>
                      <a:pt x="45" y="34"/>
                      <a:pt x="47" y="35"/>
                      <a:pt x="48" y="37"/>
                    </a:cubicBezTo>
                    <a:cubicBezTo>
                      <a:pt x="46" y="41"/>
                      <a:pt x="35" y="51"/>
                      <a:pt x="40" y="58"/>
                    </a:cubicBezTo>
                    <a:cubicBezTo>
                      <a:pt x="41" y="60"/>
                      <a:pt x="42" y="60"/>
                      <a:pt x="44" y="61"/>
                    </a:cubicBezTo>
                    <a:cubicBezTo>
                      <a:pt x="49" y="55"/>
                      <a:pt x="51" y="50"/>
                      <a:pt x="59" y="46"/>
                    </a:cubicBezTo>
                    <a:cubicBezTo>
                      <a:pt x="59" y="46"/>
                      <a:pt x="59" y="46"/>
                      <a:pt x="59" y="46"/>
                    </a:cubicBezTo>
                    <a:cubicBezTo>
                      <a:pt x="61" y="60"/>
                      <a:pt x="59" y="83"/>
                      <a:pt x="66" y="93"/>
                    </a:cubicBezTo>
                    <a:cubicBezTo>
                      <a:pt x="67" y="94"/>
                      <a:pt x="67" y="93"/>
                      <a:pt x="68" y="93"/>
                    </a:cubicBezTo>
                    <a:cubicBezTo>
                      <a:pt x="68" y="78"/>
                      <a:pt x="67" y="60"/>
                      <a:pt x="65" y="42"/>
                    </a:cubicBezTo>
                    <a:cubicBezTo>
                      <a:pt x="68" y="42"/>
                      <a:pt x="72" y="42"/>
                      <a:pt x="73" y="41"/>
                    </a:cubicBezTo>
                    <a:cubicBezTo>
                      <a:pt x="74" y="41"/>
                      <a:pt x="74" y="41"/>
                      <a:pt x="74" y="41"/>
                    </a:cubicBezTo>
                    <a:close/>
                    <a:moveTo>
                      <a:pt x="43" y="42"/>
                    </a:moveTo>
                    <a:cubicBezTo>
                      <a:pt x="39" y="44"/>
                      <a:pt x="38" y="46"/>
                      <a:pt x="35" y="48"/>
                    </a:cubicBezTo>
                    <a:cubicBezTo>
                      <a:pt x="35" y="42"/>
                      <a:pt x="39" y="42"/>
                      <a:pt x="39" y="38"/>
                    </a:cubicBezTo>
                    <a:cubicBezTo>
                      <a:pt x="40" y="35"/>
                      <a:pt x="37" y="33"/>
                      <a:pt x="37" y="29"/>
                    </a:cubicBezTo>
                    <a:cubicBezTo>
                      <a:pt x="38" y="28"/>
                      <a:pt x="39" y="28"/>
                      <a:pt x="40" y="27"/>
                    </a:cubicBezTo>
                    <a:cubicBezTo>
                      <a:pt x="41" y="24"/>
                      <a:pt x="36" y="16"/>
                      <a:pt x="34" y="16"/>
                    </a:cubicBezTo>
                    <a:cubicBezTo>
                      <a:pt x="33" y="16"/>
                      <a:pt x="32" y="15"/>
                      <a:pt x="32" y="15"/>
                    </a:cubicBezTo>
                    <a:cubicBezTo>
                      <a:pt x="22" y="28"/>
                      <a:pt x="10" y="30"/>
                      <a:pt x="4" y="46"/>
                    </a:cubicBezTo>
                    <a:cubicBezTo>
                      <a:pt x="13" y="41"/>
                      <a:pt x="17" y="31"/>
                      <a:pt x="30" y="29"/>
                    </a:cubicBezTo>
                    <a:cubicBezTo>
                      <a:pt x="29" y="39"/>
                      <a:pt x="16" y="48"/>
                      <a:pt x="8" y="52"/>
                    </a:cubicBezTo>
                    <a:cubicBezTo>
                      <a:pt x="4" y="54"/>
                      <a:pt x="2" y="52"/>
                      <a:pt x="0" y="56"/>
                    </a:cubicBezTo>
                    <a:cubicBezTo>
                      <a:pt x="0" y="59"/>
                      <a:pt x="1" y="60"/>
                      <a:pt x="3" y="61"/>
                    </a:cubicBezTo>
                    <a:cubicBezTo>
                      <a:pt x="10" y="63"/>
                      <a:pt x="22" y="58"/>
                      <a:pt x="23" y="54"/>
                    </a:cubicBezTo>
                    <a:cubicBezTo>
                      <a:pt x="24" y="54"/>
                      <a:pt x="24" y="53"/>
                      <a:pt x="25" y="53"/>
                    </a:cubicBezTo>
                    <a:cubicBezTo>
                      <a:pt x="25" y="53"/>
                      <a:pt x="25" y="53"/>
                      <a:pt x="25" y="53"/>
                    </a:cubicBezTo>
                    <a:cubicBezTo>
                      <a:pt x="23" y="59"/>
                      <a:pt x="22" y="66"/>
                      <a:pt x="20" y="72"/>
                    </a:cubicBezTo>
                    <a:cubicBezTo>
                      <a:pt x="21" y="74"/>
                      <a:pt x="23" y="75"/>
                      <a:pt x="25" y="76"/>
                    </a:cubicBezTo>
                    <a:cubicBezTo>
                      <a:pt x="25" y="76"/>
                      <a:pt x="26" y="76"/>
                      <a:pt x="26" y="76"/>
                    </a:cubicBezTo>
                    <a:cubicBezTo>
                      <a:pt x="28" y="73"/>
                      <a:pt x="29" y="70"/>
                      <a:pt x="30" y="67"/>
                    </a:cubicBezTo>
                    <a:cubicBezTo>
                      <a:pt x="31" y="67"/>
                      <a:pt x="31" y="67"/>
                      <a:pt x="31" y="66"/>
                    </a:cubicBezTo>
                    <a:cubicBezTo>
                      <a:pt x="32" y="69"/>
                      <a:pt x="32" y="72"/>
                      <a:pt x="32" y="75"/>
                    </a:cubicBezTo>
                    <a:cubicBezTo>
                      <a:pt x="33" y="75"/>
                      <a:pt x="34" y="76"/>
                      <a:pt x="35" y="76"/>
                    </a:cubicBezTo>
                    <a:cubicBezTo>
                      <a:pt x="36" y="76"/>
                      <a:pt x="37" y="76"/>
                      <a:pt x="38" y="76"/>
                    </a:cubicBezTo>
                    <a:cubicBezTo>
                      <a:pt x="37" y="71"/>
                      <a:pt x="36" y="66"/>
                      <a:pt x="35" y="61"/>
                    </a:cubicBezTo>
                    <a:cubicBezTo>
                      <a:pt x="38" y="54"/>
                      <a:pt x="40" y="48"/>
                      <a:pt x="43" y="4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243" name="î$ḻîḑe"/>
              <p:cNvSpPr/>
              <p:nvPr/>
            </p:nvSpPr>
            <p:spPr bwMode="auto">
              <a:xfrm>
                <a:off x="2055709" y="4566240"/>
                <a:ext cx="136525" cy="150813"/>
              </a:xfrm>
              <a:custGeom>
                <a:avLst/>
                <a:gdLst>
                  <a:gd name="T0" fmla="*/ 55 w 74"/>
                  <a:gd name="T1" fmla="*/ 53 h 82"/>
                  <a:gd name="T2" fmla="*/ 54 w 74"/>
                  <a:gd name="T3" fmla="*/ 51 h 82"/>
                  <a:gd name="T4" fmla="*/ 57 w 74"/>
                  <a:gd name="T5" fmla="*/ 49 h 82"/>
                  <a:gd name="T6" fmla="*/ 56 w 74"/>
                  <a:gd name="T7" fmla="*/ 45 h 82"/>
                  <a:gd name="T8" fmla="*/ 52 w 74"/>
                  <a:gd name="T9" fmla="*/ 45 h 82"/>
                  <a:gd name="T10" fmla="*/ 51 w 74"/>
                  <a:gd name="T11" fmla="*/ 44 h 82"/>
                  <a:gd name="T12" fmla="*/ 60 w 74"/>
                  <a:gd name="T13" fmla="*/ 32 h 82"/>
                  <a:gd name="T14" fmla="*/ 60 w 74"/>
                  <a:gd name="T15" fmla="*/ 30 h 82"/>
                  <a:gd name="T16" fmla="*/ 34 w 74"/>
                  <a:gd name="T17" fmla="*/ 38 h 82"/>
                  <a:gd name="T18" fmla="*/ 33 w 74"/>
                  <a:gd name="T19" fmla="*/ 38 h 82"/>
                  <a:gd name="T20" fmla="*/ 60 w 74"/>
                  <a:gd name="T21" fmla="*/ 16 h 82"/>
                  <a:gd name="T22" fmla="*/ 61 w 74"/>
                  <a:gd name="T23" fmla="*/ 10 h 82"/>
                  <a:gd name="T24" fmla="*/ 42 w 74"/>
                  <a:gd name="T25" fmla="*/ 11 h 82"/>
                  <a:gd name="T26" fmla="*/ 27 w 74"/>
                  <a:gd name="T27" fmla="*/ 0 h 82"/>
                  <a:gd name="T28" fmla="*/ 24 w 74"/>
                  <a:gd name="T29" fmla="*/ 0 h 82"/>
                  <a:gd name="T30" fmla="*/ 29 w 74"/>
                  <a:gd name="T31" fmla="*/ 21 h 82"/>
                  <a:gd name="T32" fmla="*/ 11 w 74"/>
                  <a:gd name="T33" fmla="*/ 39 h 82"/>
                  <a:gd name="T34" fmla="*/ 1 w 74"/>
                  <a:gd name="T35" fmla="*/ 44 h 82"/>
                  <a:gd name="T36" fmla="*/ 0 w 74"/>
                  <a:gd name="T37" fmla="*/ 47 h 82"/>
                  <a:gd name="T38" fmla="*/ 35 w 74"/>
                  <a:gd name="T39" fmla="*/ 26 h 82"/>
                  <a:gd name="T40" fmla="*/ 35 w 74"/>
                  <a:gd name="T41" fmla="*/ 26 h 82"/>
                  <a:gd name="T42" fmla="*/ 30 w 74"/>
                  <a:gd name="T43" fmla="*/ 48 h 82"/>
                  <a:gd name="T44" fmla="*/ 40 w 74"/>
                  <a:gd name="T45" fmla="*/ 57 h 82"/>
                  <a:gd name="T46" fmla="*/ 35 w 74"/>
                  <a:gd name="T47" fmla="*/ 78 h 82"/>
                  <a:gd name="T48" fmla="*/ 45 w 74"/>
                  <a:gd name="T49" fmla="*/ 82 h 82"/>
                  <a:gd name="T50" fmla="*/ 47 w 74"/>
                  <a:gd name="T51" fmla="*/ 80 h 82"/>
                  <a:gd name="T52" fmla="*/ 46 w 74"/>
                  <a:gd name="T53" fmla="*/ 67 h 82"/>
                  <a:gd name="T54" fmla="*/ 47 w 74"/>
                  <a:gd name="T55" fmla="*/ 66 h 82"/>
                  <a:gd name="T56" fmla="*/ 50 w 74"/>
                  <a:gd name="T57" fmla="*/ 73 h 82"/>
                  <a:gd name="T58" fmla="*/ 58 w 74"/>
                  <a:gd name="T59" fmla="*/ 79 h 82"/>
                  <a:gd name="T60" fmla="*/ 59 w 74"/>
                  <a:gd name="T61" fmla="*/ 79 h 82"/>
                  <a:gd name="T62" fmla="*/ 53 w 74"/>
                  <a:gd name="T63" fmla="*/ 57 h 82"/>
                  <a:gd name="T64" fmla="*/ 56 w 74"/>
                  <a:gd name="T65" fmla="*/ 55 h 82"/>
                  <a:gd name="T66" fmla="*/ 56 w 74"/>
                  <a:gd name="T67" fmla="*/ 55 h 82"/>
                  <a:gd name="T68" fmla="*/ 69 w 74"/>
                  <a:gd name="T69" fmla="*/ 69 h 82"/>
                  <a:gd name="T70" fmla="*/ 74 w 74"/>
                  <a:gd name="T71" fmla="*/ 64 h 82"/>
                  <a:gd name="T72" fmla="*/ 55 w 74"/>
                  <a:gd name="T73" fmla="*/ 53 h 82"/>
                  <a:gd name="T74" fmla="*/ 40 w 74"/>
                  <a:gd name="T75" fmla="*/ 46 h 82"/>
                  <a:gd name="T76" fmla="*/ 39 w 74"/>
                  <a:gd name="T77" fmla="*/ 46 h 82"/>
                  <a:gd name="T78" fmla="*/ 38 w 74"/>
                  <a:gd name="T79" fmla="*/ 46 h 82"/>
                  <a:gd name="T80" fmla="*/ 37 w 74"/>
                  <a:gd name="T81" fmla="*/ 44 h 82"/>
                  <a:gd name="T82" fmla="*/ 44 w 74"/>
                  <a:gd name="T83" fmla="*/ 36 h 82"/>
                  <a:gd name="T84" fmla="*/ 46 w 74"/>
                  <a:gd name="T85" fmla="*/ 35 h 82"/>
                  <a:gd name="T86" fmla="*/ 46 w 74"/>
                  <a:gd name="T87" fmla="*/ 35 h 82"/>
                  <a:gd name="T88" fmla="*/ 40 w 74"/>
                  <a:gd name="T89" fmla="*/ 46 h 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74" h="82">
                    <a:moveTo>
                      <a:pt x="55" y="53"/>
                    </a:moveTo>
                    <a:cubicBezTo>
                      <a:pt x="55" y="53"/>
                      <a:pt x="54" y="52"/>
                      <a:pt x="54" y="51"/>
                    </a:cubicBezTo>
                    <a:cubicBezTo>
                      <a:pt x="55" y="51"/>
                      <a:pt x="56" y="50"/>
                      <a:pt x="57" y="49"/>
                    </a:cubicBezTo>
                    <a:cubicBezTo>
                      <a:pt x="57" y="48"/>
                      <a:pt x="56" y="47"/>
                      <a:pt x="56" y="45"/>
                    </a:cubicBezTo>
                    <a:cubicBezTo>
                      <a:pt x="54" y="45"/>
                      <a:pt x="53" y="45"/>
                      <a:pt x="52" y="45"/>
                    </a:cubicBezTo>
                    <a:cubicBezTo>
                      <a:pt x="51" y="45"/>
                      <a:pt x="51" y="44"/>
                      <a:pt x="51" y="44"/>
                    </a:cubicBezTo>
                    <a:cubicBezTo>
                      <a:pt x="53" y="40"/>
                      <a:pt x="59" y="36"/>
                      <a:pt x="60" y="32"/>
                    </a:cubicBezTo>
                    <a:cubicBezTo>
                      <a:pt x="60" y="31"/>
                      <a:pt x="60" y="31"/>
                      <a:pt x="60" y="30"/>
                    </a:cubicBezTo>
                    <a:cubicBezTo>
                      <a:pt x="50" y="21"/>
                      <a:pt x="41" y="31"/>
                      <a:pt x="34" y="38"/>
                    </a:cubicBezTo>
                    <a:cubicBezTo>
                      <a:pt x="33" y="38"/>
                      <a:pt x="33" y="38"/>
                      <a:pt x="33" y="38"/>
                    </a:cubicBezTo>
                    <a:cubicBezTo>
                      <a:pt x="34" y="30"/>
                      <a:pt x="48" y="16"/>
                      <a:pt x="60" y="16"/>
                    </a:cubicBezTo>
                    <a:cubicBezTo>
                      <a:pt x="61" y="14"/>
                      <a:pt x="61" y="12"/>
                      <a:pt x="61" y="10"/>
                    </a:cubicBezTo>
                    <a:cubicBezTo>
                      <a:pt x="50" y="3"/>
                      <a:pt x="52" y="11"/>
                      <a:pt x="42" y="11"/>
                    </a:cubicBezTo>
                    <a:cubicBezTo>
                      <a:pt x="38" y="10"/>
                      <a:pt x="32" y="1"/>
                      <a:pt x="27" y="0"/>
                    </a:cubicBezTo>
                    <a:cubicBezTo>
                      <a:pt x="26" y="0"/>
                      <a:pt x="25" y="0"/>
                      <a:pt x="24" y="0"/>
                    </a:cubicBezTo>
                    <a:cubicBezTo>
                      <a:pt x="21" y="5"/>
                      <a:pt x="30" y="14"/>
                      <a:pt x="29" y="21"/>
                    </a:cubicBezTo>
                    <a:cubicBezTo>
                      <a:pt x="19" y="27"/>
                      <a:pt x="17" y="33"/>
                      <a:pt x="11" y="39"/>
                    </a:cubicBezTo>
                    <a:cubicBezTo>
                      <a:pt x="8" y="42"/>
                      <a:pt x="4" y="42"/>
                      <a:pt x="1" y="44"/>
                    </a:cubicBezTo>
                    <a:cubicBezTo>
                      <a:pt x="1" y="45"/>
                      <a:pt x="0" y="46"/>
                      <a:pt x="0" y="47"/>
                    </a:cubicBezTo>
                    <a:cubicBezTo>
                      <a:pt x="11" y="69"/>
                      <a:pt x="23" y="30"/>
                      <a:pt x="35" y="26"/>
                    </a:cubicBezTo>
                    <a:cubicBezTo>
                      <a:pt x="35" y="26"/>
                      <a:pt x="35" y="26"/>
                      <a:pt x="35" y="26"/>
                    </a:cubicBezTo>
                    <a:cubicBezTo>
                      <a:pt x="33" y="33"/>
                      <a:pt x="28" y="39"/>
                      <a:pt x="30" y="48"/>
                    </a:cubicBezTo>
                    <a:cubicBezTo>
                      <a:pt x="30" y="51"/>
                      <a:pt x="37" y="56"/>
                      <a:pt x="40" y="57"/>
                    </a:cubicBezTo>
                    <a:cubicBezTo>
                      <a:pt x="37" y="64"/>
                      <a:pt x="32" y="69"/>
                      <a:pt x="35" y="78"/>
                    </a:cubicBezTo>
                    <a:cubicBezTo>
                      <a:pt x="39" y="79"/>
                      <a:pt x="42" y="80"/>
                      <a:pt x="45" y="82"/>
                    </a:cubicBezTo>
                    <a:cubicBezTo>
                      <a:pt x="46" y="81"/>
                      <a:pt x="46" y="81"/>
                      <a:pt x="47" y="80"/>
                    </a:cubicBezTo>
                    <a:cubicBezTo>
                      <a:pt x="49" y="77"/>
                      <a:pt x="45" y="70"/>
                      <a:pt x="46" y="67"/>
                    </a:cubicBezTo>
                    <a:cubicBezTo>
                      <a:pt x="46" y="66"/>
                      <a:pt x="46" y="66"/>
                      <a:pt x="47" y="66"/>
                    </a:cubicBezTo>
                    <a:cubicBezTo>
                      <a:pt x="48" y="67"/>
                      <a:pt x="49" y="71"/>
                      <a:pt x="50" y="73"/>
                    </a:cubicBezTo>
                    <a:cubicBezTo>
                      <a:pt x="52" y="76"/>
                      <a:pt x="55" y="77"/>
                      <a:pt x="58" y="79"/>
                    </a:cubicBezTo>
                    <a:cubicBezTo>
                      <a:pt x="58" y="79"/>
                      <a:pt x="58" y="79"/>
                      <a:pt x="59" y="79"/>
                    </a:cubicBezTo>
                    <a:cubicBezTo>
                      <a:pt x="60" y="72"/>
                      <a:pt x="53" y="64"/>
                      <a:pt x="53" y="57"/>
                    </a:cubicBezTo>
                    <a:cubicBezTo>
                      <a:pt x="54" y="56"/>
                      <a:pt x="55" y="56"/>
                      <a:pt x="56" y="55"/>
                    </a:cubicBezTo>
                    <a:cubicBezTo>
                      <a:pt x="56" y="55"/>
                      <a:pt x="56" y="55"/>
                      <a:pt x="56" y="55"/>
                    </a:cubicBezTo>
                    <a:cubicBezTo>
                      <a:pt x="63" y="60"/>
                      <a:pt x="59" y="67"/>
                      <a:pt x="69" y="69"/>
                    </a:cubicBezTo>
                    <a:cubicBezTo>
                      <a:pt x="71" y="67"/>
                      <a:pt x="72" y="66"/>
                      <a:pt x="74" y="64"/>
                    </a:cubicBezTo>
                    <a:cubicBezTo>
                      <a:pt x="71" y="56"/>
                      <a:pt x="63" y="51"/>
                      <a:pt x="55" y="53"/>
                    </a:cubicBezTo>
                    <a:close/>
                    <a:moveTo>
                      <a:pt x="40" y="46"/>
                    </a:moveTo>
                    <a:cubicBezTo>
                      <a:pt x="40" y="46"/>
                      <a:pt x="39" y="46"/>
                      <a:pt x="39" y="46"/>
                    </a:cubicBezTo>
                    <a:cubicBezTo>
                      <a:pt x="38" y="46"/>
                      <a:pt x="38" y="46"/>
                      <a:pt x="38" y="46"/>
                    </a:cubicBezTo>
                    <a:cubicBezTo>
                      <a:pt x="38" y="45"/>
                      <a:pt x="37" y="45"/>
                      <a:pt x="37" y="44"/>
                    </a:cubicBezTo>
                    <a:cubicBezTo>
                      <a:pt x="39" y="41"/>
                      <a:pt x="42" y="39"/>
                      <a:pt x="44" y="36"/>
                    </a:cubicBezTo>
                    <a:cubicBezTo>
                      <a:pt x="45" y="36"/>
                      <a:pt x="45" y="35"/>
                      <a:pt x="46" y="35"/>
                    </a:cubicBezTo>
                    <a:cubicBezTo>
                      <a:pt x="46" y="35"/>
                      <a:pt x="46" y="35"/>
                      <a:pt x="46" y="35"/>
                    </a:cubicBezTo>
                    <a:cubicBezTo>
                      <a:pt x="44" y="39"/>
                      <a:pt x="42" y="42"/>
                      <a:pt x="40" y="4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244" name="ïşḻíḍe"/>
              <p:cNvSpPr/>
              <p:nvPr/>
            </p:nvSpPr>
            <p:spPr bwMode="auto">
              <a:xfrm>
                <a:off x="1882672" y="4669428"/>
                <a:ext cx="160338" cy="169863"/>
              </a:xfrm>
              <a:custGeom>
                <a:avLst/>
                <a:gdLst>
                  <a:gd name="T0" fmla="*/ 29 w 87"/>
                  <a:gd name="T1" fmla="*/ 8 h 92"/>
                  <a:gd name="T2" fmla="*/ 52 w 87"/>
                  <a:gd name="T3" fmla="*/ 17 h 92"/>
                  <a:gd name="T4" fmla="*/ 61 w 87"/>
                  <a:gd name="T5" fmla="*/ 16 h 92"/>
                  <a:gd name="T6" fmla="*/ 62 w 87"/>
                  <a:gd name="T7" fmla="*/ 17 h 92"/>
                  <a:gd name="T8" fmla="*/ 69 w 87"/>
                  <a:gd name="T9" fmla="*/ 42 h 92"/>
                  <a:gd name="T10" fmla="*/ 86 w 87"/>
                  <a:gd name="T11" fmla="*/ 35 h 92"/>
                  <a:gd name="T12" fmla="*/ 87 w 87"/>
                  <a:gd name="T13" fmla="*/ 39 h 92"/>
                  <a:gd name="T14" fmla="*/ 76 w 87"/>
                  <a:gd name="T15" fmla="*/ 55 h 92"/>
                  <a:gd name="T16" fmla="*/ 67 w 87"/>
                  <a:gd name="T17" fmla="*/ 76 h 92"/>
                  <a:gd name="T18" fmla="*/ 65 w 87"/>
                  <a:gd name="T19" fmla="*/ 74 h 92"/>
                  <a:gd name="T20" fmla="*/ 69 w 87"/>
                  <a:gd name="T21" fmla="*/ 53 h 92"/>
                  <a:gd name="T22" fmla="*/ 55 w 87"/>
                  <a:gd name="T23" fmla="*/ 40 h 92"/>
                  <a:gd name="T24" fmla="*/ 45 w 87"/>
                  <a:gd name="T25" fmla="*/ 44 h 92"/>
                  <a:gd name="T26" fmla="*/ 46 w 87"/>
                  <a:gd name="T27" fmla="*/ 89 h 92"/>
                  <a:gd name="T28" fmla="*/ 38 w 87"/>
                  <a:gd name="T29" fmla="*/ 92 h 92"/>
                  <a:gd name="T30" fmla="*/ 27 w 87"/>
                  <a:gd name="T31" fmla="*/ 68 h 92"/>
                  <a:gd name="T32" fmla="*/ 14 w 87"/>
                  <a:gd name="T33" fmla="*/ 70 h 92"/>
                  <a:gd name="T34" fmla="*/ 12 w 87"/>
                  <a:gd name="T35" fmla="*/ 65 h 92"/>
                  <a:gd name="T36" fmla="*/ 18 w 87"/>
                  <a:gd name="T37" fmla="*/ 58 h 92"/>
                  <a:gd name="T38" fmla="*/ 0 w 87"/>
                  <a:gd name="T39" fmla="*/ 42 h 92"/>
                  <a:gd name="T40" fmla="*/ 0 w 87"/>
                  <a:gd name="T41" fmla="*/ 42 h 92"/>
                  <a:gd name="T42" fmla="*/ 21 w 87"/>
                  <a:gd name="T43" fmla="*/ 39 h 92"/>
                  <a:gd name="T44" fmla="*/ 27 w 87"/>
                  <a:gd name="T45" fmla="*/ 48 h 92"/>
                  <a:gd name="T46" fmla="*/ 34 w 87"/>
                  <a:gd name="T47" fmla="*/ 52 h 92"/>
                  <a:gd name="T48" fmla="*/ 36 w 87"/>
                  <a:gd name="T49" fmla="*/ 62 h 92"/>
                  <a:gd name="T50" fmla="*/ 39 w 87"/>
                  <a:gd name="T51" fmla="*/ 44 h 92"/>
                  <a:gd name="T52" fmla="*/ 46 w 87"/>
                  <a:gd name="T53" fmla="*/ 28 h 92"/>
                  <a:gd name="T54" fmla="*/ 29 w 87"/>
                  <a:gd name="T55" fmla="*/ 8 h 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87" h="92">
                    <a:moveTo>
                      <a:pt x="29" y="8"/>
                    </a:moveTo>
                    <a:cubicBezTo>
                      <a:pt x="42" y="0"/>
                      <a:pt x="43" y="12"/>
                      <a:pt x="52" y="17"/>
                    </a:cubicBezTo>
                    <a:cubicBezTo>
                      <a:pt x="55" y="15"/>
                      <a:pt x="58" y="15"/>
                      <a:pt x="61" y="16"/>
                    </a:cubicBezTo>
                    <a:cubicBezTo>
                      <a:pt x="61" y="16"/>
                      <a:pt x="62" y="17"/>
                      <a:pt x="62" y="17"/>
                    </a:cubicBezTo>
                    <a:cubicBezTo>
                      <a:pt x="62" y="26"/>
                      <a:pt x="58" y="33"/>
                      <a:pt x="69" y="42"/>
                    </a:cubicBezTo>
                    <a:cubicBezTo>
                      <a:pt x="75" y="35"/>
                      <a:pt x="80" y="33"/>
                      <a:pt x="86" y="35"/>
                    </a:cubicBezTo>
                    <a:cubicBezTo>
                      <a:pt x="87" y="36"/>
                      <a:pt x="87" y="38"/>
                      <a:pt x="87" y="39"/>
                    </a:cubicBezTo>
                    <a:cubicBezTo>
                      <a:pt x="83" y="45"/>
                      <a:pt x="80" y="50"/>
                      <a:pt x="76" y="55"/>
                    </a:cubicBezTo>
                    <a:cubicBezTo>
                      <a:pt x="71" y="62"/>
                      <a:pt x="71" y="70"/>
                      <a:pt x="67" y="76"/>
                    </a:cubicBezTo>
                    <a:cubicBezTo>
                      <a:pt x="66" y="75"/>
                      <a:pt x="66" y="75"/>
                      <a:pt x="65" y="74"/>
                    </a:cubicBezTo>
                    <a:cubicBezTo>
                      <a:pt x="63" y="66"/>
                      <a:pt x="67" y="60"/>
                      <a:pt x="69" y="53"/>
                    </a:cubicBezTo>
                    <a:cubicBezTo>
                      <a:pt x="64" y="51"/>
                      <a:pt x="60" y="46"/>
                      <a:pt x="55" y="40"/>
                    </a:cubicBezTo>
                    <a:cubicBezTo>
                      <a:pt x="52" y="42"/>
                      <a:pt x="49" y="41"/>
                      <a:pt x="45" y="44"/>
                    </a:cubicBezTo>
                    <a:cubicBezTo>
                      <a:pt x="40" y="59"/>
                      <a:pt x="48" y="75"/>
                      <a:pt x="46" y="89"/>
                    </a:cubicBezTo>
                    <a:cubicBezTo>
                      <a:pt x="43" y="92"/>
                      <a:pt x="41" y="91"/>
                      <a:pt x="38" y="92"/>
                    </a:cubicBezTo>
                    <a:cubicBezTo>
                      <a:pt x="31" y="83"/>
                      <a:pt x="33" y="76"/>
                      <a:pt x="27" y="68"/>
                    </a:cubicBezTo>
                    <a:cubicBezTo>
                      <a:pt x="23" y="71"/>
                      <a:pt x="18" y="71"/>
                      <a:pt x="14" y="70"/>
                    </a:cubicBezTo>
                    <a:cubicBezTo>
                      <a:pt x="12" y="68"/>
                      <a:pt x="12" y="67"/>
                      <a:pt x="12" y="65"/>
                    </a:cubicBezTo>
                    <a:cubicBezTo>
                      <a:pt x="14" y="63"/>
                      <a:pt x="16" y="60"/>
                      <a:pt x="18" y="58"/>
                    </a:cubicBezTo>
                    <a:cubicBezTo>
                      <a:pt x="13" y="49"/>
                      <a:pt x="3" y="48"/>
                      <a:pt x="0" y="42"/>
                    </a:cubicBezTo>
                    <a:cubicBezTo>
                      <a:pt x="0" y="42"/>
                      <a:pt x="0" y="42"/>
                      <a:pt x="0" y="42"/>
                    </a:cubicBezTo>
                    <a:cubicBezTo>
                      <a:pt x="6" y="39"/>
                      <a:pt x="15" y="35"/>
                      <a:pt x="21" y="39"/>
                    </a:cubicBezTo>
                    <a:cubicBezTo>
                      <a:pt x="23" y="42"/>
                      <a:pt x="25" y="45"/>
                      <a:pt x="27" y="48"/>
                    </a:cubicBezTo>
                    <a:cubicBezTo>
                      <a:pt x="29" y="50"/>
                      <a:pt x="31" y="51"/>
                      <a:pt x="34" y="52"/>
                    </a:cubicBezTo>
                    <a:cubicBezTo>
                      <a:pt x="34" y="55"/>
                      <a:pt x="35" y="58"/>
                      <a:pt x="36" y="62"/>
                    </a:cubicBezTo>
                    <a:cubicBezTo>
                      <a:pt x="39" y="56"/>
                      <a:pt x="38" y="50"/>
                      <a:pt x="39" y="44"/>
                    </a:cubicBezTo>
                    <a:cubicBezTo>
                      <a:pt x="42" y="39"/>
                      <a:pt x="44" y="34"/>
                      <a:pt x="46" y="28"/>
                    </a:cubicBezTo>
                    <a:cubicBezTo>
                      <a:pt x="42" y="22"/>
                      <a:pt x="31" y="15"/>
                      <a:pt x="29" y="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245" name="íṩľíḑè"/>
              <p:cNvSpPr/>
              <p:nvPr/>
            </p:nvSpPr>
            <p:spPr bwMode="auto">
              <a:xfrm>
                <a:off x="2243034" y="6066428"/>
                <a:ext cx="22225" cy="25400"/>
              </a:xfrm>
              <a:custGeom>
                <a:avLst/>
                <a:gdLst>
                  <a:gd name="T0" fmla="*/ 0 w 14"/>
                  <a:gd name="T1" fmla="*/ 12 h 16"/>
                  <a:gd name="T2" fmla="*/ 2 w 14"/>
                  <a:gd name="T3" fmla="*/ 0 h 16"/>
                  <a:gd name="T4" fmla="*/ 14 w 14"/>
                  <a:gd name="T5" fmla="*/ 4 h 16"/>
                  <a:gd name="T6" fmla="*/ 11 w 14"/>
                  <a:gd name="T7" fmla="*/ 16 h 16"/>
                  <a:gd name="T8" fmla="*/ 0 w 14"/>
                  <a:gd name="T9" fmla="*/ 12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4" h="16">
                    <a:moveTo>
                      <a:pt x="0" y="12"/>
                    </a:moveTo>
                    <a:lnTo>
                      <a:pt x="2" y="0"/>
                    </a:lnTo>
                    <a:lnTo>
                      <a:pt x="14" y="4"/>
                    </a:lnTo>
                    <a:lnTo>
                      <a:pt x="11" y="16"/>
                    </a:lnTo>
                    <a:lnTo>
                      <a:pt x="0" y="1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246" name="îṣḷïḓê"/>
              <p:cNvSpPr/>
              <p:nvPr/>
            </p:nvSpPr>
            <p:spPr bwMode="auto">
              <a:xfrm>
                <a:off x="2292247" y="6042615"/>
                <a:ext cx="49213" cy="100013"/>
              </a:xfrm>
              <a:custGeom>
                <a:avLst/>
                <a:gdLst>
                  <a:gd name="T0" fmla="*/ 17 w 27"/>
                  <a:gd name="T1" fmla="*/ 54 h 54"/>
                  <a:gd name="T2" fmla="*/ 7 w 27"/>
                  <a:gd name="T3" fmla="*/ 52 h 54"/>
                  <a:gd name="T4" fmla="*/ 14 w 27"/>
                  <a:gd name="T5" fmla="*/ 15 h 54"/>
                  <a:gd name="T6" fmla="*/ 0 w 27"/>
                  <a:gd name="T7" fmla="*/ 20 h 54"/>
                  <a:gd name="T8" fmla="*/ 1 w 27"/>
                  <a:gd name="T9" fmla="*/ 11 h 54"/>
                  <a:gd name="T10" fmla="*/ 11 w 27"/>
                  <a:gd name="T11" fmla="*/ 7 h 54"/>
                  <a:gd name="T12" fmla="*/ 18 w 27"/>
                  <a:gd name="T13" fmla="*/ 0 h 54"/>
                  <a:gd name="T14" fmla="*/ 27 w 27"/>
                  <a:gd name="T15" fmla="*/ 2 h 54"/>
                  <a:gd name="T16" fmla="*/ 17 w 27"/>
                  <a:gd name="T17" fmla="*/ 54 h 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7" h="54">
                    <a:moveTo>
                      <a:pt x="17" y="54"/>
                    </a:moveTo>
                    <a:cubicBezTo>
                      <a:pt x="7" y="52"/>
                      <a:pt x="7" y="52"/>
                      <a:pt x="7" y="52"/>
                    </a:cubicBezTo>
                    <a:cubicBezTo>
                      <a:pt x="14" y="15"/>
                      <a:pt x="14" y="15"/>
                      <a:pt x="14" y="15"/>
                    </a:cubicBezTo>
                    <a:cubicBezTo>
                      <a:pt x="10" y="17"/>
                      <a:pt x="5" y="19"/>
                      <a:pt x="0" y="20"/>
                    </a:cubicBezTo>
                    <a:cubicBezTo>
                      <a:pt x="1" y="11"/>
                      <a:pt x="1" y="11"/>
                      <a:pt x="1" y="11"/>
                    </a:cubicBezTo>
                    <a:cubicBezTo>
                      <a:pt x="4" y="10"/>
                      <a:pt x="7" y="9"/>
                      <a:pt x="11" y="7"/>
                    </a:cubicBezTo>
                    <a:cubicBezTo>
                      <a:pt x="14" y="6"/>
                      <a:pt x="17" y="3"/>
                      <a:pt x="18" y="0"/>
                    </a:cubicBezTo>
                    <a:cubicBezTo>
                      <a:pt x="27" y="2"/>
                      <a:pt x="27" y="2"/>
                      <a:pt x="27" y="2"/>
                    </a:cubicBezTo>
                    <a:lnTo>
                      <a:pt x="17" y="5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247" name="i$ḻîḓé"/>
              <p:cNvSpPr/>
              <p:nvPr/>
            </p:nvSpPr>
            <p:spPr bwMode="auto">
              <a:xfrm>
                <a:off x="2363684" y="6052140"/>
                <a:ext cx="66675" cy="100013"/>
              </a:xfrm>
              <a:custGeom>
                <a:avLst/>
                <a:gdLst>
                  <a:gd name="T0" fmla="*/ 0 w 36"/>
                  <a:gd name="T1" fmla="*/ 40 h 54"/>
                  <a:gd name="T2" fmla="*/ 10 w 36"/>
                  <a:gd name="T3" fmla="*/ 39 h 54"/>
                  <a:gd name="T4" fmla="*/ 11 w 36"/>
                  <a:gd name="T5" fmla="*/ 44 h 54"/>
                  <a:gd name="T6" fmla="*/ 15 w 36"/>
                  <a:gd name="T7" fmla="*/ 46 h 54"/>
                  <a:gd name="T8" fmla="*/ 21 w 36"/>
                  <a:gd name="T9" fmla="*/ 43 h 54"/>
                  <a:gd name="T10" fmla="*/ 24 w 36"/>
                  <a:gd name="T11" fmla="*/ 31 h 54"/>
                  <a:gd name="T12" fmla="*/ 15 w 36"/>
                  <a:gd name="T13" fmla="*/ 35 h 54"/>
                  <a:gd name="T14" fmla="*/ 4 w 36"/>
                  <a:gd name="T15" fmla="*/ 30 h 54"/>
                  <a:gd name="T16" fmla="*/ 0 w 36"/>
                  <a:gd name="T17" fmla="*/ 17 h 54"/>
                  <a:gd name="T18" fmla="*/ 6 w 36"/>
                  <a:gd name="T19" fmla="*/ 4 h 54"/>
                  <a:gd name="T20" fmla="*/ 19 w 36"/>
                  <a:gd name="T21" fmla="*/ 0 h 54"/>
                  <a:gd name="T22" fmla="*/ 31 w 36"/>
                  <a:gd name="T23" fmla="*/ 7 h 54"/>
                  <a:gd name="T24" fmla="*/ 35 w 36"/>
                  <a:gd name="T25" fmla="*/ 28 h 54"/>
                  <a:gd name="T26" fmla="*/ 28 w 36"/>
                  <a:gd name="T27" fmla="*/ 49 h 54"/>
                  <a:gd name="T28" fmla="*/ 14 w 36"/>
                  <a:gd name="T29" fmla="*/ 54 h 54"/>
                  <a:gd name="T30" fmla="*/ 4 w 36"/>
                  <a:gd name="T31" fmla="*/ 50 h 54"/>
                  <a:gd name="T32" fmla="*/ 0 w 36"/>
                  <a:gd name="T33" fmla="*/ 40 h 54"/>
                  <a:gd name="T34" fmla="*/ 24 w 36"/>
                  <a:gd name="T35" fmla="*/ 19 h 54"/>
                  <a:gd name="T36" fmla="*/ 23 w 36"/>
                  <a:gd name="T37" fmla="*/ 11 h 54"/>
                  <a:gd name="T38" fmla="*/ 18 w 36"/>
                  <a:gd name="T39" fmla="*/ 8 h 54"/>
                  <a:gd name="T40" fmla="*/ 13 w 36"/>
                  <a:gd name="T41" fmla="*/ 10 h 54"/>
                  <a:gd name="T42" fmla="*/ 10 w 36"/>
                  <a:gd name="T43" fmla="*/ 17 h 54"/>
                  <a:gd name="T44" fmla="*/ 12 w 36"/>
                  <a:gd name="T45" fmla="*/ 25 h 54"/>
                  <a:gd name="T46" fmla="*/ 17 w 36"/>
                  <a:gd name="T47" fmla="*/ 28 h 54"/>
                  <a:gd name="T48" fmla="*/ 22 w 36"/>
                  <a:gd name="T49" fmla="*/ 26 h 54"/>
                  <a:gd name="T50" fmla="*/ 24 w 36"/>
                  <a:gd name="T51" fmla="*/ 19 h 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6" h="54">
                    <a:moveTo>
                      <a:pt x="0" y="40"/>
                    </a:moveTo>
                    <a:cubicBezTo>
                      <a:pt x="10" y="39"/>
                      <a:pt x="10" y="39"/>
                      <a:pt x="10" y="39"/>
                    </a:cubicBezTo>
                    <a:cubicBezTo>
                      <a:pt x="10" y="41"/>
                      <a:pt x="10" y="43"/>
                      <a:pt x="11" y="44"/>
                    </a:cubicBezTo>
                    <a:cubicBezTo>
                      <a:pt x="12" y="45"/>
                      <a:pt x="14" y="46"/>
                      <a:pt x="15" y="46"/>
                    </a:cubicBezTo>
                    <a:cubicBezTo>
                      <a:pt x="17" y="46"/>
                      <a:pt x="19" y="45"/>
                      <a:pt x="21" y="43"/>
                    </a:cubicBezTo>
                    <a:cubicBezTo>
                      <a:pt x="22" y="41"/>
                      <a:pt x="24" y="37"/>
                      <a:pt x="24" y="31"/>
                    </a:cubicBezTo>
                    <a:cubicBezTo>
                      <a:pt x="22" y="34"/>
                      <a:pt x="18" y="35"/>
                      <a:pt x="15" y="35"/>
                    </a:cubicBezTo>
                    <a:cubicBezTo>
                      <a:pt x="10" y="35"/>
                      <a:pt x="7" y="33"/>
                      <a:pt x="4" y="30"/>
                    </a:cubicBezTo>
                    <a:cubicBezTo>
                      <a:pt x="1" y="26"/>
                      <a:pt x="0" y="22"/>
                      <a:pt x="0" y="17"/>
                    </a:cubicBezTo>
                    <a:cubicBezTo>
                      <a:pt x="1" y="11"/>
                      <a:pt x="3" y="7"/>
                      <a:pt x="6" y="4"/>
                    </a:cubicBezTo>
                    <a:cubicBezTo>
                      <a:pt x="10" y="1"/>
                      <a:pt x="14" y="0"/>
                      <a:pt x="19" y="0"/>
                    </a:cubicBezTo>
                    <a:cubicBezTo>
                      <a:pt x="24" y="0"/>
                      <a:pt x="28" y="3"/>
                      <a:pt x="31" y="7"/>
                    </a:cubicBezTo>
                    <a:cubicBezTo>
                      <a:pt x="35" y="12"/>
                      <a:pt x="36" y="19"/>
                      <a:pt x="35" y="28"/>
                    </a:cubicBezTo>
                    <a:cubicBezTo>
                      <a:pt x="34" y="38"/>
                      <a:pt x="32" y="44"/>
                      <a:pt x="28" y="49"/>
                    </a:cubicBezTo>
                    <a:cubicBezTo>
                      <a:pt x="24" y="53"/>
                      <a:pt x="20" y="54"/>
                      <a:pt x="14" y="54"/>
                    </a:cubicBezTo>
                    <a:cubicBezTo>
                      <a:pt x="10" y="54"/>
                      <a:pt x="7" y="52"/>
                      <a:pt x="4" y="50"/>
                    </a:cubicBezTo>
                    <a:cubicBezTo>
                      <a:pt x="2" y="48"/>
                      <a:pt x="0" y="44"/>
                      <a:pt x="0" y="40"/>
                    </a:cubicBezTo>
                    <a:close/>
                    <a:moveTo>
                      <a:pt x="24" y="19"/>
                    </a:moveTo>
                    <a:cubicBezTo>
                      <a:pt x="25" y="16"/>
                      <a:pt x="24" y="13"/>
                      <a:pt x="23" y="11"/>
                    </a:cubicBezTo>
                    <a:cubicBezTo>
                      <a:pt x="21" y="10"/>
                      <a:pt x="20" y="9"/>
                      <a:pt x="18" y="8"/>
                    </a:cubicBezTo>
                    <a:cubicBezTo>
                      <a:pt x="16" y="8"/>
                      <a:pt x="14" y="9"/>
                      <a:pt x="13" y="10"/>
                    </a:cubicBezTo>
                    <a:cubicBezTo>
                      <a:pt x="11" y="12"/>
                      <a:pt x="11" y="14"/>
                      <a:pt x="10" y="17"/>
                    </a:cubicBezTo>
                    <a:cubicBezTo>
                      <a:pt x="10" y="21"/>
                      <a:pt x="11" y="23"/>
                      <a:pt x="12" y="25"/>
                    </a:cubicBezTo>
                    <a:cubicBezTo>
                      <a:pt x="13" y="27"/>
                      <a:pt x="15" y="28"/>
                      <a:pt x="17" y="28"/>
                    </a:cubicBezTo>
                    <a:cubicBezTo>
                      <a:pt x="19" y="28"/>
                      <a:pt x="20" y="27"/>
                      <a:pt x="22" y="26"/>
                    </a:cubicBezTo>
                    <a:cubicBezTo>
                      <a:pt x="23" y="24"/>
                      <a:pt x="24" y="22"/>
                      <a:pt x="24" y="1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248" name="îṧľîḋé"/>
              <p:cNvSpPr/>
              <p:nvPr/>
            </p:nvSpPr>
            <p:spPr bwMode="auto">
              <a:xfrm>
                <a:off x="2446234" y="6053728"/>
                <a:ext cx="66675" cy="100013"/>
              </a:xfrm>
              <a:custGeom>
                <a:avLst/>
                <a:gdLst>
                  <a:gd name="T0" fmla="*/ 0 w 36"/>
                  <a:gd name="T1" fmla="*/ 40 h 54"/>
                  <a:gd name="T2" fmla="*/ 10 w 36"/>
                  <a:gd name="T3" fmla="*/ 39 h 54"/>
                  <a:gd name="T4" fmla="*/ 13 w 36"/>
                  <a:gd name="T5" fmla="*/ 44 h 54"/>
                  <a:gd name="T6" fmla="*/ 18 w 36"/>
                  <a:gd name="T7" fmla="*/ 46 h 54"/>
                  <a:gd name="T8" fmla="*/ 23 w 36"/>
                  <a:gd name="T9" fmla="*/ 43 h 54"/>
                  <a:gd name="T10" fmla="*/ 25 w 36"/>
                  <a:gd name="T11" fmla="*/ 35 h 54"/>
                  <a:gd name="T12" fmla="*/ 23 w 36"/>
                  <a:gd name="T13" fmla="*/ 28 h 54"/>
                  <a:gd name="T14" fmla="*/ 17 w 36"/>
                  <a:gd name="T15" fmla="*/ 26 h 54"/>
                  <a:gd name="T16" fmla="*/ 9 w 36"/>
                  <a:gd name="T17" fmla="*/ 30 h 54"/>
                  <a:gd name="T18" fmla="*/ 1 w 36"/>
                  <a:gd name="T19" fmla="*/ 29 h 54"/>
                  <a:gd name="T20" fmla="*/ 5 w 36"/>
                  <a:gd name="T21" fmla="*/ 1 h 54"/>
                  <a:gd name="T22" fmla="*/ 32 w 36"/>
                  <a:gd name="T23" fmla="*/ 0 h 54"/>
                  <a:gd name="T24" fmla="*/ 32 w 36"/>
                  <a:gd name="T25" fmla="*/ 10 h 54"/>
                  <a:gd name="T26" fmla="*/ 13 w 36"/>
                  <a:gd name="T27" fmla="*/ 10 h 54"/>
                  <a:gd name="T28" fmla="*/ 12 w 36"/>
                  <a:gd name="T29" fmla="*/ 19 h 54"/>
                  <a:gd name="T30" fmla="*/ 19 w 36"/>
                  <a:gd name="T31" fmla="*/ 17 h 54"/>
                  <a:gd name="T32" fmla="*/ 30 w 36"/>
                  <a:gd name="T33" fmla="*/ 22 h 54"/>
                  <a:gd name="T34" fmla="*/ 36 w 36"/>
                  <a:gd name="T35" fmla="*/ 34 h 54"/>
                  <a:gd name="T36" fmla="*/ 32 w 36"/>
                  <a:gd name="T37" fmla="*/ 46 h 54"/>
                  <a:gd name="T38" fmla="*/ 18 w 36"/>
                  <a:gd name="T39" fmla="*/ 54 h 54"/>
                  <a:gd name="T40" fmla="*/ 6 w 36"/>
                  <a:gd name="T41" fmla="*/ 50 h 54"/>
                  <a:gd name="T42" fmla="*/ 0 w 36"/>
                  <a:gd name="T43" fmla="*/ 40 h 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36" h="54">
                    <a:moveTo>
                      <a:pt x="0" y="40"/>
                    </a:moveTo>
                    <a:cubicBezTo>
                      <a:pt x="10" y="39"/>
                      <a:pt x="10" y="39"/>
                      <a:pt x="10" y="39"/>
                    </a:cubicBezTo>
                    <a:cubicBezTo>
                      <a:pt x="11" y="41"/>
                      <a:pt x="11" y="43"/>
                      <a:pt x="13" y="44"/>
                    </a:cubicBezTo>
                    <a:cubicBezTo>
                      <a:pt x="14" y="45"/>
                      <a:pt x="16" y="46"/>
                      <a:pt x="18" y="46"/>
                    </a:cubicBezTo>
                    <a:cubicBezTo>
                      <a:pt x="20" y="46"/>
                      <a:pt x="22" y="45"/>
                      <a:pt x="23" y="43"/>
                    </a:cubicBezTo>
                    <a:cubicBezTo>
                      <a:pt x="25" y="41"/>
                      <a:pt x="25" y="38"/>
                      <a:pt x="25" y="35"/>
                    </a:cubicBezTo>
                    <a:cubicBezTo>
                      <a:pt x="25" y="32"/>
                      <a:pt x="24" y="29"/>
                      <a:pt x="23" y="28"/>
                    </a:cubicBezTo>
                    <a:cubicBezTo>
                      <a:pt x="21" y="26"/>
                      <a:pt x="19" y="25"/>
                      <a:pt x="17" y="26"/>
                    </a:cubicBezTo>
                    <a:cubicBezTo>
                      <a:pt x="14" y="26"/>
                      <a:pt x="11" y="27"/>
                      <a:pt x="9" y="30"/>
                    </a:cubicBezTo>
                    <a:cubicBezTo>
                      <a:pt x="1" y="29"/>
                      <a:pt x="1" y="29"/>
                      <a:pt x="1" y="29"/>
                    </a:cubicBezTo>
                    <a:cubicBezTo>
                      <a:pt x="5" y="1"/>
                      <a:pt x="5" y="1"/>
                      <a:pt x="5" y="1"/>
                    </a:cubicBezTo>
                    <a:cubicBezTo>
                      <a:pt x="32" y="0"/>
                      <a:pt x="32" y="0"/>
                      <a:pt x="32" y="0"/>
                    </a:cubicBezTo>
                    <a:cubicBezTo>
                      <a:pt x="32" y="10"/>
                      <a:pt x="32" y="10"/>
                      <a:pt x="32" y="10"/>
                    </a:cubicBezTo>
                    <a:cubicBezTo>
                      <a:pt x="13" y="10"/>
                      <a:pt x="13" y="10"/>
                      <a:pt x="13" y="10"/>
                    </a:cubicBezTo>
                    <a:cubicBezTo>
                      <a:pt x="12" y="19"/>
                      <a:pt x="12" y="19"/>
                      <a:pt x="12" y="19"/>
                    </a:cubicBezTo>
                    <a:cubicBezTo>
                      <a:pt x="14" y="18"/>
                      <a:pt x="16" y="17"/>
                      <a:pt x="19" y="17"/>
                    </a:cubicBezTo>
                    <a:cubicBezTo>
                      <a:pt x="23" y="17"/>
                      <a:pt x="27" y="19"/>
                      <a:pt x="30" y="22"/>
                    </a:cubicBezTo>
                    <a:cubicBezTo>
                      <a:pt x="34" y="25"/>
                      <a:pt x="35" y="29"/>
                      <a:pt x="36" y="34"/>
                    </a:cubicBezTo>
                    <a:cubicBezTo>
                      <a:pt x="36" y="39"/>
                      <a:pt x="35" y="43"/>
                      <a:pt x="32" y="46"/>
                    </a:cubicBezTo>
                    <a:cubicBezTo>
                      <a:pt x="29" y="51"/>
                      <a:pt x="24" y="54"/>
                      <a:pt x="18" y="54"/>
                    </a:cubicBezTo>
                    <a:cubicBezTo>
                      <a:pt x="13" y="54"/>
                      <a:pt x="9" y="53"/>
                      <a:pt x="6" y="50"/>
                    </a:cubicBezTo>
                    <a:cubicBezTo>
                      <a:pt x="3" y="48"/>
                      <a:pt x="1" y="44"/>
                      <a:pt x="0" y="4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249" name="i$ḻïḑê"/>
              <p:cNvSpPr/>
              <p:nvPr/>
            </p:nvSpPr>
            <p:spPr bwMode="auto">
              <a:xfrm>
                <a:off x="2522434" y="6045790"/>
                <a:ext cx="74613" cy="103188"/>
              </a:xfrm>
              <a:custGeom>
                <a:avLst/>
                <a:gdLst>
                  <a:gd name="T0" fmla="*/ 39 w 40"/>
                  <a:gd name="T1" fmla="*/ 42 h 56"/>
                  <a:gd name="T2" fmla="*/ 40 w 40"/>
                  <a:gd name="T3" fmla="*/ 51 h 56"/>
                  <a:gd name="T4" fmla="*/ 5 w 40"/>
                  <a:gd name="T5" fmla="*/ 56 h 56"/>
                  <a:gd name="T6" fmla="*/ 7 w 40"/>
                  <a:gd name="T7" fmla="*/ 46 h 56"/>
                  <a:gd name="T8" fmla="*/ 16 w 40"/>
                  <a:gd name="T9" fmla="*/ 32 h 56"/>
                  <a:gd name="T10" fmla="*/ 23 w 40"/>
                  <a:gd name="T11" fmla="*/ 22 h 56"/>
                  <a:gd name="T12" fmla="*/ 24 w 40"/>
                  <a:gd name="T13" fmla="*/ 15 h 56"/>
                  <a:gd name="T14" fmla="*/ 22 w 40"/>
                  <a:gd name="T15" fmla="*/ 10 h 56"/>
                  <a:gd name="T16" fmla="*/ 17 w 40"/>
                  <a:gd name="T17" fmla="*/ 9 h 56"/>
                  <a:gd name="T18" fmla="*/ 12 w 40"/>
                  <a:gd name="T19" fmla="*/ 12 h 56"/>
                  <a:gd name="T20" fmla="*/ 11 w 40"/>
                  <a:gd name="T21" fmla="*/ 19 h 56"/>
                  <a:gd name="T22" fmla="*/ 1 w 40"/>
                  <a:gd name="T23" fmla="*/ 19 h 56"/>
                  <a:gd name="T24" fmla="*/ 4 w 40"/>
                  <a:gd name="T25" fmla="*/ 6 h 56"/>
                  <a:gd name="T26" fmla="*/ 16 w 40"/>
                  <a:gd name="T27" fmla="*/ 1 h 56"/>
                  <a:gd name="T28" fmla="*/ 28 w 40"/>
                  <a:gd name="T29" fmla="*/ 3 h 56"/>
                  <a:gd name="T30" fmla="*/ 34 w 40"/>
                  <a:gd name="T31" fmla="*/ 13 h 56"/>
                  <a:gd name="T32" fmla="*/ 34 w 40"/>
                  <a:gd name="T33" fmla="*/ 20 h 56"/>
                  <a:gd name="T34" fmla="*/ 31 w 40"/>
                  <a:gd name="T35" fmla="*/ 27 h 56"/>
                  <a:gd name="T36" fmla="*/ 26 w 40"/>
                  <a:gd name="T37" fmla="*/ 35 h 56"/>
                  <a:gd name="T38" fmla="*/ 20 w 40"/>
                  <a:gd name="T39" fmla="*/ 42 h 56"/>
                  <a:gd name="T40" fmla="*/ 19 w 40"/>
                  <a:gd name="T41" fmla="*/ 45 h 56"/>
                  <a:gd name="T42" fmla="*/ 39 w 40"/>
                  <a:gd name="T43" fmla="*/ 42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40" h="56">
                    <a:moveTo>
                      <a:pt x="39" y="42"/>
                    </a:moveTo>
                    <a:cubicBezTo>
                      <a:pt x="40" y="51"/>
                      <a:pt x="40" y="51"/>
                      <a:pt x="40" y="51"/>
                    </a:cubicBezTo>
                    <a:cubicBezTo>
                      <a:pt x="5" y="56"/>
                      <a:pt x="5" y="56"/>
                      <a:pt x="5" y="56"/>
                    </a:cubicBezTo>
                    <a:cubicBezTo>
                      <a:pt x="5" y="53"/>
                      <a:pt x="5" y="49"/>
                      <a:pt x="7" y="46"/>
                    </a:cubicBezTo>
                    <a:cubicBezTo>
                      <a:pt x="8" y="42"/>
                      <a:pt x="11" y="38"/>
                      <a:pt x="16" y="32"/>
                    </a:cubicBezTo>
                    <a:cubicBezTo>
                      <a:pt x="20" y="27"/>
                      <a:pt x="22" y="23"/>
                      <a:pt x="23" y="22"/>
                    </a:cubicBezTo>
                    <a:cubicBezTo>
                      <a:pt x="24" y="19"/>
                      <a:pt x="25" y="17"/>
                      <a:pt x="24" y="15"/>
                    </a:cubicBezTo>
                    <a:cubicBezTo>
                      <a:pt x="24" y="13"/>
                      <a:pt x="23" y="11"/>
                      <a:pt x="22" y="10"/>
                    </a:cubicBezTo>
                    <a:cubicBezTo>
                      <a:pt x="21" y="9"/>
                      <a:pt x="19" y="9"/>
                      <a:pt x="17" y="9"/>
                    </a:cubicBezTo>
                    <a:cubicBezTo>
                      <a:pt x="15" y="10"/>
                      <a:pt x="13" y="11"/>
                      <a:pt x="12" y="12"/>
                    </a:cubicBezTo>
                    <a:cubicBezTo>
                      <a:pt x="11" y="13"/>
                      <a:pt x="10" y="16"/>
                      <a:pt x="11" y="19"/>
                    </a:cubicBezTo>
                    <a:cubicBezTo>
                      <a:pt x="1" y="19"/>
                      <a:pt x="1" y="19"/>
                      <a:pt x="1" y="19"/>
                    </a:cubicBezTo>
                    <a:cubicBezTo>
                      <a:pt x="0" y="13"/>
                      <a:pt x="2" y="9"/>
                      <a:pt x="4" y="6"/>
                    </a:cubicBezTo>
                    <a:cubicBezTo>
                      <a:pt x="7" y="3"/>
                      <a:pt x="11" y="2"/>
                      <a:pt x="16" y="1"/>
                    </a:cubicBezTo>
                    <a:cubicBezTo>
                      <a:pt x="21" y="0"/>
                      <a:pt x="25" y="1"/>
                      <a:pt x="28" y="3"/>
                    </a:cubicBezTo>
                    <a:cubicBezTo>
                      <a:pt x="32" y="6"/>
                      <a:pt x="34" y="9"/>
                      <a:pt x="34" y="13"/>
                    </a:cubicBezTo>
                    <a:cubicBezTo>
                      <a:pt x="35" y="15"/>
                      <a:pt x="35" y="18"/>
                      <a:pt x="34" y="20"/>
                    </a:cubicBezTo>
                    <a:cubicBezTo>
                      <a:pt x="34" y="22"/>
                      <a:pt x="33" y="25"/>
                      <a:pt x="31" y="27"/>
                    </a:cubicBezTo>
                    <a:cubicBezTo>
                      <a:pt x="30" y="29"/>
                      <a:pt x="28" y="32"/>
                      <a:pt x="26" y="35"/>
                    </a:cubicBezTo>
                    <a:cubicBezTo>
                      <a:pt x="23" y="38"/>
                      <a:pt x="21" y="41"/>
                      <a:pt x="20" y="42"/>
                    </a:cubicBezTo>
                    <a:cubicBezTo>
                      <a:pt x="20" y="43"/>
                      <a:pt x="19" y="44"/>
                      <a:pt x="19" y="45"/>
                    </a:cubicBezTo>
                    <a:lnTo>
                      <a:pt x="39" y="4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250" name="íṧlíḍe"/>
              <p:cNvSpPr/>
              <p:nvPr/>
            </p:nvSpPr>
            <p:spPr bwMode="auto">
              <a:xfrm>
                <a:off x="2611334" y="6072778"/>
                <a:ext cx="22225" cy="23813"/>
              </a:xfrm>
              <a:custGeom>
                <a:avLst/>
                <a:gdLst>
                  <a:gd name="T0" fmla="*/ 3 w 14"/>
                  <a:gd name="T1" fmla="*/ 15 h 15"/>
                  <a:gd name="T2" fmla="*/ 0 w 14"/>
                  <a:gd name="T3" fmla="*/ 3 h 15"/>
                  <a:gd name="T4" fmla="*/ 11 w 14"/>
                  <a:gd name="T5" fmla="*/ 0 h 15"/>
                  <a:gd name="T6" fmla="*/ 14 w 14"/>
                  <a:gd name="T7" fmla="*/ 12 h 15"/>
                  <a:gd name="T8" fmla="*/ 3 w 14"/>
                  <a:gd name="T9" fmla="*/ 15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4" h="15">
                    <a:moveTo>
                      <a:pt x="3" y="15"/>
                    </a:moveTo>
                    <a:lnTo>
                      <a:pt x="0" y="3"/>
                    </a:lnTo>
                    <a:lnTo>
                      <a:pt x="11" y="0"/>
                    </a:lnTo>
                    <a:lnTo>
                      <a:pt x="14" y="12"/>
                    </a:lnTo>
                    <a:lnTo>
                      <a:pt x="3" y="1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251" name="îŝľîḓê"/>
              <p:cNvSpPr/>
              <p:nvPr/>
            </p:nvSpPr>
            <p:spPr bwMode="auto">
              <a:xfrm>
                <a:off x="2108097" y="5261565"/>
                <a:ext cx="141288" cy="257175"/>
              </a:xfrm>
              <a:custGeom>
                <a:avLst/>
                <a:gdLst>
                  <a:gd name="T0" fmla="*/ 12 w 77"/>
                  <a:gd name="T1" fmla="*/ 25 h 139"/>
                  <a:gd name="T2" fmla="*/ 9 w 77"/>
                  <a:gd name="T3" fmla="*/ 21 h 139"/>
                  <a:gd name="T4" fmla="*/ 12 w 77"/>
                  <a:gd name="T5" fmla="*/ 17 h 139"/>
                  <a:gd name="T6" fmla="*/ 39 w 77"/>
                  <a:gd name="T7" fmla="*/ 21 h 139"/>
                  <a:gd name="T8" fmla="*/ 46 w 77"/>
                  <a:gd name="T9" fmla="*/ 36 h 139"/>
                  <a:gd name="T10" fmla="*/ 46 w 77"/>
                  <a:gd name="T11" fmla="*/ 39 h 139"/>
                  <a:gd name="T12" fmla="*/ 61 w 77"/>
                  <a:gd name="T13" fmla="*/ 33 h 139"/>
                  <a:gd name="T14" fmla="*/ 57 w 77"/>
                  <a:gd name="T15" fmla="*/ 16 h 139"/>
                  <a:gd name="T16" fmla="*/ 35 w 77"/>
                  <a:gd name="T17" fmla="*/ 9 h 139"/>
                  <a:gd name="T18" fmla="*/ 27 w 77"/>
                  <a:gd name="T19" fmla="*/ 3 h 139"/>
                  <a:gd name="T20" fmla="*/ 32 w 77"/>
                  <a:gd name="T21" fmla="*/ 0 h 139"/>
                  <a:gd name="T22" fmla="*/ 61 w 77"/>
                  <a:gd name="T23" fmla="*/ 9 h 139"/>
                  <a:gd name="T24" fmla="*/ 72 w 77"/>
                  <a:gd name="T25" fmla="*/ 30 h 139"/>
                  <a:gd name="T26" fmla="*/ 48 w 77"/>
                  <a:gd name="T27" fmla="*/ 45 h 139"/>
                  <a:gd name="T28" fmla="*/ 45 w 77"/>
                  <a:gd name="T29" fmla="*/ 46 h 139"/>
                  <a:gd name="T30" fmla="*/ 45 w 77"/>
                  <a:gd name="T31" fmla="*/ 54 h 139"/>
                  <a:gd name="T32" fmla="*/ 59 w 77"/>
                  <a:gd name="T33" fmla="*/ 61 h 139"/>
                  <a:gd name="T34" fmla="*/ 77 w 77"/>
                  <a:gd name="T35" fmla="*/ 80 h 139"/>
                  <a:gd name="T36" fmla="*/ 75 w 77"/>
                  <a:gd name="T37" fmla="*/ 84 h 139"/>
                  <a:gd name="T38" fmla="*/ 71 w 77"/>
                  <a:gd name="T39" fmla="*/ 83 h 139"/>
                  <a:gd name="T40" fmla="*/ 59 w 77"/>
                  <a:gd name="T41" fmla="*/ 70 h 139"/>
                  <a:gd name="T42" fmla="*/ 45 w 77"/>
                  <a:gd name="T43" fmla="*/ 63 h 139"/>
                  <a:gd name="T44" fmla="*/ 45 w 77"/>
                  <a:gd name="T45" fmla="*/ 77 h 139"/>
                  <a:gd name="T46" fmla="*/ 53 w 77"/>
                  <a:gd name="T47" fmla="*/ 83 h 139"/>
                  <a:gd name="T48" fmla="*/ 66 w 77"/>
                  <a:gd name="T49" fmla="*/ 102 h 139"/>
                  <a:gd name="T50" fmla="*/ 72 w 77"/>
                  <a:gd name="T51" fmla="*/ 121 h 139"/>
                  <a:gd name="T52" fmla="*/ 70 w 77"/>
                  <a:gd name="T53" fmla="*/ 124 h 139"/>
                  <a:gd name="T54" fmla="*/ 67 w 77"/>
                  <a:gd name="T55" fmla="*/ 122 h 139"/>
                  <a:gd name="T56" fmla="*/ 64 w 77"/>
                  <a:gd name="T57" fmla="*/ 115 h 139"/>
                  <a:gd name="T58" fmla="*/ 55 w 77"/>
                  <a:gd name="T59" fmla="*/ 97 h 139"/>
                  <a:gd name="T60" fmla="*/ 45 w 77"/>
                  <a:gd name="T61" fmla="*/ 87 h 139"/>
                  <a:gd name="T62" fmla="*/ 45 w 77"/>
                  <a:gd name="T63" fmla="*/ 102 h 139"/>
                  <a:gd name="T64" fmla="*/ 44 w 77"/>
                  <a:gd name="T65" fmla="*/ 136 h 139"/>
                  <a:gd name="T66" fmla="*/ 41 w 77"/>
                  <a:gd name="T67" fmla="*/ 139 h 139"/>
                  <a:gd name="T68" fmla="*/ 38 w 77"/>
                  <a:gd name="T69" fmla="*/ 137 h 139"/>
                  <a:gd name="T70" fmla="*/ 37 w 77"/>
                  <a:gd name="T71" fmla="*/ 103 h 139"/>
                  <a:gd name="T72" fmla="*/ 37 w 77"/>
                  <a:gd name="T73" fmla="*/ 86 h 139"/>
                  <a:gd name="T74" fmla="*/ 28 w 77"/>
                  <a:gd name="T75" fmla="*/ 92 h 139"/>
                  <a:gd name="T76" fmla="*/ 19 w 77"/>
                  <a:gd name="T77" fmla="*/ 109 h 139"/>
                  <a:gd name="T78" fmla="*/ 12 w 77"/>
                  <a:gd name="T79" fmla="*/ 121 h 139"/>
                  <a:gd name="T80" fmla="*/ 8 w 77"/>
                  <a:gd name="T81" fmla="*/ 122 h 139"/>
                  <a:gd name="T82" fmla="*/ 7 w 77"/>
                  <a:gd name="T83" fmla="*/ 120 h 139"/>
                  <a:gd name="T84" fmla="*/ 8 w 77"/>
                  <a:gd name="T85" fmla="*/ 117 h 139"/>
                  <a:gd name="T86" fmla="*/ 11 w 77"/>
                  <a:gd name="T87" fmla="*/ 106 h 139"/>
                  <a:gd name="T88" fmla="*/ 22 w 77"/>
                  <a:gd name="T89" fmla="*/ 86 h 139"/>
                  <a:gd name="T90" fmla="*/ 37 w 77"/>
                  <a:gd name="T91" fmla="*/ 76 h 139"/>
                  <a:gd name="T92" fmla="*/ 37 w 77"/>
                  <a:gd name="T93" fmla="*/ 68 h 139"/>
                  <a:gd name="T94" fmla="*/ 37 w 77"/>
                  <a:gd name="T95" fmla="*/ 63 h 139"/>
                  <a:gd name="T96" fmla="*/ 24 w 77"/>
                  <a:gd name="T97" fmla="*/ 69 h 139"/>
                  <a:gd name="T98" fmla="*/ 16 w 77"/>
                  <a:gd name="T99" fmla="*/ 77 h 139"/>
                  <a:gd name="T100" fmla="*/ 9 w 77"/>
                  <a:gd name="T101" fmla="*/ 85 h 139"/>
                  <a:gd name="T102" fmla="*/ 6 w 77"/>
                  <a:gd name="T103" fmla="*/ 86 h 139"/>
                  <a:gd name="T104" fmla="*/ 5 w 77"/>
                  <a:gd name="T105" fmla="*/ 82 h 139"/>
                  <a:gd name="T106" fmla="*/ 22 w 77"/>
                  <a:gd name="T107" fmla="*/ 60 h 139"/>
                  <a:gd name="T108" fmla="*/ 37 w 77"/>
                  <a:gd name="T109" fmla="*/ 54 h 139"/>
                  <a:gd name="T110" fmla="*/ 37 w 77"/>
                  <a:gd name="T111" fmla="*/ 47 h 139"/>
                  <a:gd name="T112" fmla="*/ 3 w 77"/>
                  <a:gd name="T113" fmla="*/ 45 h 139"/>
                  <a:gd name="T114" fmla="*/ 0 w 77"/>
                  <a:gd name="T115" fmla="*/ 40 h 139"/>
                  <a:gd name="T116" fmla="*/ 5 w 77"/>
                  <a:gd name="T117" fmla="*/ 38 h 139"/>
                  <a:gd name="T118" fmla="*/ 37 w 77"/>
                  <a:gd name="T119" fmla="*/ 39 h 139"/>
                  <a:gd name="T120" fmla="*/ 37 w 77"/>
                  <a:gd name="T121" fmla="*/ 39 h 139"/>
                  <a:gd name="T122" fmla="*/ 33 w 77"/>
                  <a:gd name="T123" fmla="*/ 28 h 139"/>
                  <a:gd name="T124" fmla="*/ 12 w 77"/>
                  <a:gd name="T125" fmla="*/ 25 h 1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77" h="139">
                    <a:moveTo>
                      <a:pt x="12" y="25"/>
                    </a:moveTo>
                    <a:cubicBezTo>
                      <a:pt x="10" y="25"/>
                      <a:pt x="9" y="24"/>
                      <a:pt x="9" y="21"/>
                    </a:cubicBezTo>
                    <a:cubicBezTo>
                      <a:pt x="9" y="18"/>
                      <a:pt x="10" y="17"/>
                      <a:pt x="12" y="17"/>
                    </a:cubicBezTo>
                    <a:cubicBezTo>
                      <a:pt x="24" y="17"/>
                      <a:pt x="33" y="18"/>
                      <a:pt x="39" y="21"/>
                    </a:cubicBezTo>
                    <a:cubicBezTo>
                      <a:pt x="45" y="24"/>
                      <a:pt x="47" y="28"/>
                      <a:pt x="46" y="36"/>
                    </a:cubicBezTo>
                    <a:cubicBezTo>
                      <a:pt x="46" y="37"/>
                      <a:pt x="46" y="38"/>
                      <a:pt x="46" y="39"/>
                    </a:cubicBezTo>
                    <a:cubicBezTo>
                      <a:pt x="53" y="38"/>
                      <a:pt x="58" y="35"/>
                      <a:pt x="61" y="33"/>
                    </a:cubicBezTo>
                    <a:cubicBezTo>
                      <a:pt x="65" y="27"/>
                      <a:pt x="64" y="22"/>
                      <a:pt x="57" y="16"/>
                    </a:cubicBezTo>
                    <a:cubicBezTo>
                      <a:pt x="52" y="12"/>
                      <a:pt x="44" y="9"/>
                      <a:pt x="35" y="9"/>
                    </a:cubicBezTo>
                    <a:cubicBezTo>
                      <a:pt x="30" y="8"/>
                      <a:pt x="28" y="6"/>
                      <a:pt x="27" y="3"/>
                    </a:cubicBezTo>
                    <a:cubicBezTo>
                      <a:pt x="27" y="1"/>
                      <a:pt x="29" y="0"/>
                      <a:pt x="32" y="0"/>
                    </a:cubicBezTo>
                    <a:cubicBezTo>
                      <a:pt x="44" y="0"/>
                      <a:pt x="53" y="3"/>
                      <a:pt x="61" y="9"/>
                    </a:cubicBezTo>
                    <a:cubicBezTo>
                      <a:pt x="69" y="16"/>
                      <a:pt x="73" y="23"/>
                      <a:pt x="72" y="30"/>
                    </a:cubicBezTo>
                    <a:cubicBezTo>
                      <a:pt x="68" y="37"/>
                      <a:pt x="60" y="43"/>
                      <a:pt x="48" y="45"/>
                    </a:cubicBezTo>
                    <a:cubicBezTo>
                      <a:pt x="47" y="46"/>
                      <a:pt x="46" y="46"/>
                      <a:pt x="45" y="46"/>
                    </a:cubicBezTo>
                    <a:cubicBezTo>
                      <a:pt x="45" y="48"/>
                      <a:pt x="45" y="51"/>
                      <a:pt x="45" y="54"/>
                    </a:cubicBezTo>
                    <a:cubicBezTo>
                      <a:pt x="49" y="54"/>
                      <a:pt x="54" y="57"/>
                      <a:pt x="59" y="61"/>
                    </a:cubicBezTo>
                    <a:cubicBezTo>
                      <a:pt x="66" y="66"/>
                      <a:pt x="72" y="72"/>
                      <a:pt x="77" y="80"/>
                    </a:cubicBezTo>
                    <a:cubicBezTo>
                      <a:pt x="77" y="82"/>
                      <a:pt x="77" y="83"/>
                      <a:pt x="75" y="84"/>
                    </a:cubicBezTo>
                    <a:cubicBezTo>
                      <a:pt x="74" y="85"/>
                      <a:pt x="72" y="85"/>
                      <a:pt x="71" y="83"/>
                    </a:cubicBezTo>
                    <a:cubicBezTo>
                      <a:pt x="69" y="80"/>
                      <a:pt x="65" y="76"/>
                      <a:pt x="59" y="70"/>
                    </a:cubicBezTo>
                    <a:cubicBezTo>
                      <a:pt x="54" y="66"/>
                      <a:pt x="49" y="64"/>
                      <a:pt x="45" y="63"/>
                    </a:cubicBezTo>
                    <a:cubicBezTo>
                      <a:pt x="45" y="77"/>
                      <a:pt x="45" y="77"/>
                      <a:pt x="45" y="77"/>
                    </a:cubicBezTo>
                    <a:cubicBezTo>
                      <a:pt x="48" y="78"/>
                      <a:pt x="51" y="80"/>
                      <a:pt x="53" y="83"/>
                    </a:cubicBezTo>
                    <a:cubicBezTo>
                      <a:pt x="59" y="88"/>
                      <a:pt x="63" y="94"/>
                      <a:pt x="66" y="102"/>
                    </a:cubicBezTo>
                    <a:cubicBezTo>
                      <a:pt x="71" y="109"/>
                      <a:pt x="73" y="116"/>
                      <a:pt x="72" y="121"/>
                    </a:cubicBezTo>
                    <a:cubicBezTo>
                      <a:pt x="72" y="122"/>
                      <a:pt x="72" y="123"/>
                      <a:pt x="70" y="124"/>
                    </a:cubicBezTo>
                    <a:cubicBezTo>
                      <a:pt x="69" y="124"/>
                      <a:pt x="68" y="124"/>
                      <a:pt x="67" y="122"/>
                    </a:cubicBezTo>
                    <a:cubicBezTo>
                      <a:pt x="67" y="121"/>
                      <a:pt x="66" y="118"/>
                      <a:pt x="64" y="115"/>
                    </a:cubicBezTo>
                    <a:cubicBezTo>
                      <a:pt x="60" y="107"/>
                      <a:pt x="57" y="102"/>
                      <a:pt x="55" y="97"/>
                    </a:cubicBezTo>
                    <a:cubicBezTo>
                      <a:pt x="51" y="91"/>
                      <a:pt x="48" y="88"/>
                      <a:pt x="45" y="87"/>
                    </a:cubicBezTo>
                    <a:cubicBezTo>
                      <a:pt x="45" y="102"/>
                      <a:pt x="45" y="102"/>
                      <a:pt x="45" y="102"/>
                    </a:cubicBezTo>
                    <a:cubicBezTo>
                      <a:pt x="45" y="117"/>
                      <a:pt x="45" y="128"/>
                      <a:pt x="44" y="136"/>
                    </a:cubicBezTo>
                    <a:cubicBezTo>
                      <a:pt x="43" y="137"/>
                      <a:pt x="42" y="138"/>
                      <a:pt x="41" y="139"/>
                    </a:cubicBezTo>
                    <a:cubicBezTo>
                      <a:pt x="40" y="139"/>
                      <a:pt x="39" y="139"/>
                      <a:pt x="38" y="137"/>
                    </a:cubicBezTo>
                    <a:cubicBezTo>
                      <a:pt x="37" y="135"/>
                      <a:pt x="37" y="123"/>
                      <a:pt x="37" y="103"/>
                    </a:cubicBezTo>
                    <a:cubicBezTo>
                      <a:pt x="37" y="97"/>
                      <a:pt x="37" y="92"/>
                      <a:pt x="37" y="86"/>
                    </a:cubicBezTo>
                    <a:cubicBezTo>
                      <a:pt x="34" y="87"/>
                      <a:pt x="31" y="89"/>
                      <a:pt x="28" y="92"/>
                    </a:cubicBezTo>
                    <a:cubicBezTo>
                      <a:pt x="24" y="98"/>
                      <a:pt x="21" y="103"/>
                      <a:pt x="19" y="109"/>
                    </a:cubicBezTo>
                    <a:cubicBezTo>
                      <a:pt x="17" y="113"/>
                      <a:pt x="15" y="117"/>
                      <a:pt x="12" y="121"/>
                    </a:cubicBezTo>
                    <a:cubicBezTo>
                      <a:pt x="11" y="122"/>
                      <a:pt x="9" y="122"/>
                      <a:pt x="8" y="122"/>
                    </a:cubicBezTo>
                    <a:cubicBezTo>
                      <a:pt x="7" y="122"/>
                      <a:pt x="7" y="121"/>
                      <a:pt x="7" y="120"/>
                    </a:cubicBezTo>
                    <a:cubicBezTo>
                      <a:pt x="7" y="119"/>
                      <a:pt x="7" y="118"/>
                      <a:pt x="8" y="117"/>
                    </a:cubicBezTo>
                    <a:cubicBezTo>
                      <a:pt x="9" y="112"/>
                      <a:pt x="10" y="108"/>
                      <a:pt x="11" y="106"/>
                    </a:cubicBezTo>
                    <a:cubicBezTo>
                      <a:pt x="13" y="101"/>
                      <a:pt x="17" y="94"/>
                      <a:pt x="22" y="86"/>
                    </a:cubicBezTo>
                    <a:cubicBezTo>
                      <a:pt x="27" y="80"/>
                      <a:pt x="32" y="77"/>
                      <a:pt x="37" y="76"/>
                    </a:cubicBezTo>
                    <a:cubicBezTo>
                      <a:pt x="37" y="68"/>
                      <a:pt x="37" y="68"/>
                      <a:pt x="37" y="68"/>
                    </a:cubicBezTo>
                    <a:cubicBezTo>
                      <a:pt x="37" y="63"/>
                      <a:pt x="37" y="63"/>
                      <a:pt x="37" y="63"/>
                    </a:cubicBezTo>
                    <a:cubicBezTo>
                      <a:pt x="33" y="64"/>
                      <a:pt x="29" y="66"/>
                      <a:pt x="24" y="69"/>
                    </a:cubicBezTo>
                    <a:cubicBezTo>
                      <a:pt x="23" y="70"/>
                      <a:pt x="20" y="72"/>
                      <a:pt x="16" y="77"/>
                    </a:cubicBezTo>
                    <a:cubicBezTo>
                      <a:pt x="13" y="81"/>
                      <a:pt x="11" y="83"/>
                      <a:pt x="9" y="85"/>
                    </a:cubicBezTo>
                    <a:cubicBezTo>
                      <a:pt x="8" y="86"/>
                      <a:pt x="7" y="87"/>
                      <a:pt x="6" y="86"/>
                    </a:cubicBezTo>
                    <a:cubicBezTo>
                      <a:pt x="5" y="86"/>
                      <a:pt x="5" y="84"/>
                      <a:pt x="5" y="82"/>
                    </a:cubicBezTo>
                    <a:cubicBezTo>
                      <a:pt x="10" y="73"/>
                      <a:pt x="15" y="65"/>
                      <a:pt x="22" y="60"/>
                    </a:cubicBezTo>
                    <a:cubicBezTo>
                      <a:pt x="27" y="56"/>
                      <a:pt x="32" y="54"/>
                      <a:pt x="37" y="54"/>
                    </a:cubicBezTo>
                    <a:cubicBezTo>
                      <a:pt x="37" y="47"/>
                      <a:pt x="37" y="47"/>
                      <a:pt x="37" y="47"/>
                    </a:cubicBezTo>
                    <a:cubicBezTo>
                      <a:pt x="22" y="49"/>
                      <a:pt x="10" y="48"/>
                      <a:pt x="3" y="45"/>
                    </a:cubicBezTo>
                    <a:cubicBezTo>
                      <a:pt x="1" y="44"/>
                      <a:pt x="0" y="42"/>
                      <a:pt x="0" y="40"/>
                    </a:cubicBezTo>
                    <a:cubicBezTo>
                      <a:pt x="1" y="38"/>
                      <a:pt x="3" y="38"/>
                      <a:pt x="5" y="38"/>
                    </a:cubicBezTo>
                    <a:cubicBezTo>
                      <a:pt x="12" y="40"/>
                      <a:pt x="22" y="40"/>
                      <a:pt x="37" y="39"/>
                    </a:cubicBezTo>
                    <a:cubicBezTo>
                      <a:pt x="37" y="39"/>
                      <a:pt x="37" y="39"/>
                      <a:pt x="37" y="39"/>
                    </a:cubicBezTo>
                    <a:cubicBezTo>
                      <a:pt x="38" y="32"/>
                      <a:pt x="36" y="29"/>
                      <a:pt x="33" y="28"/>
                    </a:cubicBezTo>
                    <a:cubicBezTo>
                      <a:pt x="26" y="25"/>
                      <a:pt x="19" y="24"/>
                      <a:pt x="12" y="2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252" name="íṣlíḑe"/>
              <p:cNvSpPr/>
              <p:nvPr/>
            </p:nvSpPr>
            <p:spPr bwMode="auto">
              <a:xfrm>
                <a:off x="2273197" y="5255215"/>
                <a:ext cx="163513" cy="263525"/>
              </a:xfrm>
              <a:custGeom>
                <a:avLst/>
                <a:gdLst>
                  <a:gd name="T0" fmla="*/ 47 w 88"/>
                  <a:gd name="T1" fmla="*/ 8 h 143"/>
                  <a:gd name="T2" fmla="*/ 74 w 88"/>
                  <a:gd name="T3" fmla="*/ 14 h 143"/>
                  <a:gd name="T4" fmla="*/ 82 w 88"/>
                  <a:gd name="T5" fmla="*/ 26 h 143"/>
                  <a:gd name="T6" fmla="*/ 79 w 88"/>
                  <a:gd name="T7" fmla="*/ 75 h 143"/>
                  <a:gd name="T8" fmla="*/ 86 w 88"/>
                  <a:gd name="T9" fmla="*/ 136 h 143"/>
                  <a:gd name="T10" fmla="*/ 73 w 88"/>
                  <a:gd name="T11" fmla="*/ 45 h 143"/>
                  <a:gd name="T12" fmla="*/ 67 w 88"/>
                  <a:gd name="T13" fmla="*/ 44 h 143"/>
                  <a:gd name="T14" fmla="*/ 54 w 88"/>
                  <a:gd name="T15" fmla="*/ 58 h 143"/>
                  <a:gd name="T16" fmla="*/ 22 w 88"/>
                  <a:gd name="T17" fmla="*/ 54 h 143"/>
                  <a:gd name="T18" fmla="*/ 15 w 88"/>
                  <a:gd name="T19" fmla="*/ 45 h 143"/>
                  <a:gd name="T20" fmla="*/ 11 w 88"/>
                  <a:gd name="T21" fmla="*/ 91 h 143"/>
                  <a:gd name="T22" fmla="*/ 9 w 88"/>
                  <a:gd name="T23" fmla="*/ 118 h 143"/>
                  <a:gd name="T24" fmla="*/ 2 w 88"/>
                  <a:gd name="T25" fmla="*/ 139 h 143"/>
                  <a:gd name="T26" fmla="*/ 6 w 88"/>
                  <a:gd name="T27" fmla="*/ 80 h 143"/>
                  <a:gd name="T28" fmla="*/ 2 w 88"/>
                  <a:gd name="T29" fmla="*/ 26 h 143"/>
                  <a:gd name="T30" fmla="*/ 32 w 88"/>
                  <a:gd name="T31" fmla="*/ 10 h 143"/>
                  <a:gd name="T32" fmla="*/ 39 w 88"/>
                  <a:gd name="T33" fmla="*/ 0 h 143"/>
                  <a:gd name="T34" fmla="*/ 24 w 88"/>
                  <a:gd name="T35" fmla="*/ 23 h 143"/>
                  <a:gd name="T36" fmla="*/ 66 w 88"/>
                  <a:gd name="T37" fmla="*/ 29 h 143"/>
                  <a:gd name="T38" fmla="*/ 67 w 88"/>
                  <a:gd name="T39" fmla="*/ 37 h 143"/>
                  <a:gd name="T40" fmla="*/ 73 w 88"/>
                  <a:gd name="T41" fmla="*/ 34 h 143"/>
                  <a:gd name="T42" fmla="*/ 66 w 88"/>
                  <a:gd name="T43" fmla="*/ 20 h 143"/>
                  <a:gd name="T44" fmla="*/ 13 w 88"/>
                  <a:gd name="T45" fmla="*/ 21 h 143"/>
                  <a:gd name="T46" fmla="*/ 12 w 88"/>
                  <a:gd name="T47" fmla="*/ 32 h 143"/>
                  <a:gd name="T48" fmla="*/ 17 w 88"/>
                  <a:gd name="T49" fmla="*/ 38 h 143"/>
                  <a:gd name="T50" fmla="*/ 24 w 88"/>
                  <a:gd name="T51" fmla="*/ 23 h 143"/>
                  <a:gd name="T52" fmla="*/ 61 w 88"/>
                  <a:gd name="T53" fmla="*/ 64 h 143"/>
                  <a:gd name="T54" fmla="*/ 66 w 88"/>
                  <a:gd name="T55" fmla="*/ 96 h 143"/>
                  <a:gd name="T56" fmla="*/ 61 w 88"/>
                  <a:gd name="T57" fmla="*/ 136 h 143"/>
                  <a:gd name="T58" fmla="*/ 59 w 88"/>
                  <a:gd name="T59" fmla="*/ 143 h 143"/>
                  <a:gd name="T60" fmla="*/ 46 w 88"/>
                  <a:gd name="T61" fmla="*/ 105 h 143"/>
                  <a:gd name="T62" fmla="*/ 30 w 88"/>
                  <a:gd name="T63" fmla="*/ 140 h 143"/>
                  <a:gd name="T64" fmla="*/ 26 w 88"/>
                  <a:gd name="T65" fmla="*/ 137 h 143"/>
                  <a:gd name="T66" fmla="*/ 32 w 88"/>
                  <a:gd name="T67" fmla="*/ 121 h 143"/>
                  <a:gd name="T68" fmla="*/ 35 w 88"/>
                  <a:gd name="T69" fmla="*/ 105 h 143"/>
                  <a:gd name="T70" fmla="*/ 18 w 88"/>
                  <a:gd name="T71" fmla="*/ 75 h 143"/>
                  <a:gd name="T72" fmla="*/ 24 w 88"/>
                  <a:gd name="T73" fmla="*/ 35 h 143"/>
                  <a:gd name="T74" fmla="*/ 39 w 88"/>
                  <a:gd name="T75" fmla="*/ 37 h 143"/>
                  <a:gd name="T76" fmla="*/ 34 w 88"/>
                  <a:gd name="T77" fmla="*/ 29 h 143"/>
                  <a:gd name="T78" fmla="*/ 24 w 88"/>
                  <a:gd name="T79" fmla="*/ 35 h 143"/>
                  <a:gd name="T80" fmla="*/ 62 w 88"/>
                  <a:gd name="T81" fmla="*/ 84 h 143"/>
                  <a:gd name="T82" fmla="*/ 43 w 88"/>
                  <a:gd name="T83" fmla="*/ 81 h 143"/>
                  <a:gd name="T84" fmla="*/ 25 w 88"/>
                  <a:gd name="T85" fmla="*/ 87 h 143"/>
                  <a:gd name="T86" fmla="*/ 26 w 88"/>
                  <a:gd name="T87" fmla="*/ 48 h 143"/>
                  <a:gd name="T88" fmla="*/ 38 w 88"/>
                  <a:gd name="T89" fmla="*/ 52 h 143"/>
                  <a:gd name="T90" fmla="*/ 25 w 88"/>
                  <a:gd name="T91" fmla="*/ 44 h 143"/>
                  <a:gd name="T92" fmla="*/ 32 w 88"/>
                  <a:gd name="T93" fmla="*/ 69 h 143"/>
                  <a:gd name="T94" fmla="*/ 41 w 88"/>
                  <a:gd name="T95" fmla="*/ 75 h 143"/>
                  <a:gd name="T96" fmla="*/ 57 w 88"/>
                  <a:gd name="T97" fmla="*/ 70 h 143"/>
                  <a:gd name="T98" fmla="*/ 56 w 88"/>
                  <a:gd name="T99" fmla="*/ 98 h 143"/>
                  <a:gd name="T100" fmla="*/ 54 w 88"/>
                  <a:gd name="T101" fmla="*/ 93 h 143"/>
                  <a:gd name="T102" fmla="*/ 36 w 88"/>
                  <a:gd name="T103" fmla="*/ 93 h 143"/>
                  <a:gd name="T104" fmla="*/ 32 w 88"/>
                  <a:gd name="T105" fmla="*/ 98 h 143"/>
                  <a:gd name="T106" fmla="*/ 56 w 88"/>
                  <a:gd name="T107" fmla="*/ 29 h 143"/>
                  <a:gd name="T108" fmla="*/ 46 w 88"/>
                  <a:gd name="T109" fmla="*/ 29 h 143"/>
                  <a:gd name="T110" fmla="*/ 60 w 88"/>
                  <a:gd name="T111" fmla="*/ 37 h 143"/>
                  <a:gd name="T112" fmla="*/ 56 w 88"/>
                  <a:gd name="T113" fmla="*/ 29 h 143"/>
                  <a:gd name="T114" fmla="*/ 60 w 88"/>
                  <a:gd name="T115" fmla="*/ 43 h 143"/>
                  <a:gd name="T116" fmla="*/ 46 w 88"/>
                  <a:gd name="T117" fmla="*/ 52 h 143"/>
                  <a:gd name="T118" fmla="*/ 59 w 88"/>
                  <a:gd name="T119" fmla="*/ 48 h 1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88" h="143">
                    <a:moveTo>
                      <a:pt x="43" y="2"/>
                    </a:moveTo>
                    <a:cubicBezTo>
                      <a:pt x="45" y="3"/>
                      <a:pt x="47" y="6"/>
                      <a:pt x="47" y="8"/>
                    </a:cubicBezTo>
                    <a:cubicBezTo>
                      <a:pt x="47" y="9"/>
                      <a:pt x="48" y="10"/>
                      <a:pt x="49" y="10"/>
                    </a:cubicBezTo>
                    <a:cubicBezTo>
                      <a:pt x="57" y="10"/>
                      <a:pt x="66" y="12"/>
                      <a:pt x="74" y="14"/>
                    </a:cubicBezTo>
                    <a:cubicBezTo>
                      <a:pt x="78" y="16"/>
                      <a:pt x="81" y="18"/>
                      <a:pt x="81" y="19"/>
                    </a:cubicBezTo>
                    <a:cubicBezTo>
                      <a:pt x="82" y="21"/>
                      <a:pt x="82" y="24"/>
                      <a:pt x="82" y="26"/>
                    </a:cubicBezTo>
                    <a:cubicBezTo>
                      <a:pt x="82" y="27"/>
                      <a:pt x="82" y="27"/>
                      <a:pt x="82" y="28"/>
                    </a:cubicBezTo>
                    <a:cubicBezTo>
                      <a:pt x="79" y="39"/>
                      <a:pt x="78" y="55"/>
                      <a:pt x="79" y="75"/>
                    </a:cubicBezTo>
                    <a:cubicBezTo>
                      <a:pt x="80" y="87"/>
                      <a:pt x="83" y="106"/>
                      <a:pt x="87" y="131"/>
                    </a:cubicBezTo>
                    <a:cubicBezTo>
                      <a:pt x="88" y="134"/>
                      <a:pt x="87" y="135"/>
                      <a:pt x="86" y="136"/>
                    </a:cubicBezTo>
                    <a:cubicBezTo>
                      <a:pt x="84" y="137"/>
                      <a:pt x="82" y="136"/>
                      <a:pt x="82" y="133"/>
                    </a:cubicBezTo>
                    <a:cubicBezTo>
                      <a:pt x="74" y="106"/>
                      <a:pt x="71" y="76"/>
                      <a:pt x="73" y="45"/>
                    </a:cubicBezTo>
                    <a:cubicBezTo>
                      <a:pt x="72" y="45"/>
                      <a:pt x="71" y="44"/>
                      <a:pt x="70" y="44"/>
                    </a:cubicBezTo>
                    <a:cubicBezTo>
                      <a:pt x="69" y="44"/>
                      <a:pt x="68" y="44"/>
                      <a:pt x="67" y="44"/>
                    </a:cubicBezTo>
                    <a:cubicBezTo>
                      <a:pt x="67" y="48"/>
                      <a:pt x="66" y="51"/>
                      <a:pt x="64" y="54"/>
                    </a:cubicBezTo>
                    <a:cubicBezTo>
                      <a:pt x="62" y="57"/>
                      <a:pt x="59" y="59"/>
                      <a:pt x="54" y="58"/>
                    </a:cubicBezTo>
                    <a:cubicBezTo>
                      <a:pt x="47" y="58"/>
                      <a:pt x="39" y="58"/>
                      <a:pt x="32" y="58"/>
                    </a:cubicBezTo>
                    <a:cubicBezTo>
                      <a:pt x="28" y="59"/>
                      <a:pt x="25" y="58"/>
                      <a:pt x="22" y="54"/>
                    </a:cubicBezTo>
                    <a:cubicBezTo>
                      <a:pt x="20" y="51"/>
                      <a:pt x="19" y="48"/>
                      <a:pt x="18" y="45"/>
                    </a:cubicBezTo>
                    <a:cubicBezTo>
                      <a:pt x="17" y="45"/>
                      <a:pt x="16" y="45"/>
                      <a:pt x="15" y="45"/>
                    </a:cubicBezTo>
                    <a:cubicBezTo>
                      <a:pt x="14" y="45"/>
                      <a:pt x="13" y="45"/>
                      <a:pt x="13" y="45"/>
                    </a:cubicBezTo>
                    <a:cubicBezTo>
                      <a:pt x="13" y="60"/>
                      <a:pt x="13" y="75"/>
                      <a:pt x="11" y="91"/>
                    </a:cubicBezTo>
                    <a:cubicBezTo>
                      <a:pt x="11" y="95"/>
                      <a:pt x="11" y="102"/>
                      <a:pt x="10" y="111"/>
                    </a:cubicBezTo>
                    <a:cubicBezTo>
                      <a:pt x="10" y="108"/>
                      <a:pt x="10" y="111"/>
                      <a:pt x="9" y="118"/>
                    </a:cubicBezTo>
                    <a:cubicBezTo>
                      <a:pt x="9" y="124"/>
                      <a:pt x="8" y="130"/>
                      <a:pt x="6" y="134"/>
                    </a:cubicBezTo>
                    <a:cubicBezTo>
                      <a:pt x="5" y="138"/>
                      <a:pt x="3" y="139"/>
                      <a:pt x="2" y="139"/>
                    </a:cubicBezTo>
                    <a:cubicBezTo>
                      <a:pt x="0" y="139"/>
                      <a:pt x="0" y="137"/>
                      <a:pt x="0" y="133"/>
                    </a:cubicBezTo>
                    <a:cubicBezTo>
                      <a:pt x="3" y="112"/>
                      <a:pt x="5" y="94"/>
                      <a:pt x="6" y="80"/>
                    </a:cubicBezTo>
                    <a:cubicBezTo>
                      <a:pt x="8" y="64"/>
                      <a:pt x="7" y="51"/>
                      <a:pt x="6" y="38"/>
                    </a:cubicBezTo>
                    <a:cubicBezTo>
                      <a:pt x="5" y="34"/>
                      <a:pt x="4" y="30"/>
                      <a:pt x="2" y="26"/>
                    </a:cubicBezTo>
                    <a:cubicBezTo>
                      <a:pt x="0" y="21"/>
                      <a:pt x="1" y="17"/>
                      <a:pt x="6" y="16"/>
                    </a:cubicBezTo>
                    <a:cubicBezTo>
                      <a:pt x="14" y="12"/>
                      <a:pt x="23" y="11"/>
                      <a:pt x="32" y="10"/>
                    </a:cubicBezTo>
                    <a:cubicBezTo>
                      <a:pt x="36" y="9"/>
                      <a:pt x="38" y="7"/>
                      <a:pt x="38" y="4"/>
                    </a:cubicBezTo>
                    <a:cubicBezTo>
                      <a:pt x="38" y="2"/>
                      <a:pt x="38" y="1"/>
                      <a:pt x="39" y="0"/>
                    </a:cubicBezTo>
                    <a:cubicBezTo>
                      <a:pt x="41" y="0"/>
                      <a:pt x="42" y="0"/>
                      <a:pt x="43" y="2"/>
                    </a:cubicBezTo>
                    <a:close/>
                    <a:moveTo>
                      <a:pt x="24" y="23"/>
                    </a:moveTo>
                    <a:cubicBezTo>
                      <a:pt x="33" y="22"/>
                      <a:pt x="44" y="22"/>
                      <a:pt x="58" y="23"/>
                    </a:cubicBezTo>
                    <a:cubicBezTo>
                      <a:pt x="63" y="24"/>
                      <a:pt x="66" y="26"/>
                      <a:pt x="66" y="29"/>
                    </a:cubicBezTo>
                    <a:cubicBezTo>
                      <a:pt x="66" y="30"/>
                      <a:pt x="66" y="30"/>
                      <a:pt x="67" y="31"/>
                    </a:cubicBezTo>
                    <a:cubicBezTo>
                      <a:pt x="67" y="33"/>
                      <a:pt x="67" y="35"/>
                      <a:pt x="67" y="37"/>
                    </a:cubicBezTo>
                    <a:cubicBezTo>
                      <a:pt x="69" y="38"/>
                      <a:pt x="71" y="38"/>
                      <a:pt x="73" y="38"/>
                    </a:cubicBezTo>
                    <a:cubicBezTo>
                      <a:pt x="73" y="37"/>
                      <a:pt x="73" y="36"/>
                      <a:pt x="73" y="34"/>
                    </a:cubicBezTo>
                    <a:cubicBezTo>
                      <a:pt x="73" y="32"/>
                      <a:pt x="73" y="30"/>
                      <a:pt x="74" y="29"/>
                    </a:cubicBezTo>
                    <a:cubicBezTo>
                      <a:pt x="75" y="25"/>
                      <a:pt x="72" y="21"/>
                      <a:pt x="66" y="20"/>
                    </a:cubicBezTo>
                    <a:cubicBezTo>
                      <a:pt x="58" y="17"/>
                      <a:pt x="50" y="16"/>
                      <a:pt x="40" y="16"/>
                    </a:cubicBezTo>
                    <a:cubicBezTo>
                      <a:pt x="29" y="16"/>
                      <a:pt x="20" y="18"/>
                      <a:pt x="13" y="21"/>
                    </a:cubicBezTo>
                    <a:cubicBezTo>
                      <a:pt x="11" y="22"/>
                      <a:pt x="11" y="24"/>
                      <a:pt x="11" y="26"/>
                    </a:cubicBezTo>
                    <a:cubicBezTo>
                      <a:pt x="11" y="28"/>
                      <a:pt x="12" y="30"/>
                      <a:pt x="12" y="32"/>
                    </a:cubicBezTo>
                    <a:cubicBezTo>
                      <a:pt x="12" y="35"/>
                      <a:pt x="12" y="37"/>
                      <a:pt x="12" y="38"/>
                    </a:cubicBezTo>
                    <a:cubicBezTo>
                      <a:pt x="14" y="38"/>
                      <a:pt x="15" y="38"/>
                      <a:pt x="17" y="38"/>
                    </a:cubicBezTo>
                    <a:cubicBezTo>
                      <a:pt x="17" y="35"/>
                      <a:pt x="17" y="32"/>
                      <a:pt x="17" y="30"/>
                    </a:cubicBezTo>
                    <a:cubicBezTo>
                      <a:pt x="18" y="26"/>
                      <a:pt x="20" y="24"/>
                      <a:pt x="24" y="23"/>
                    </a:cubicBezTo>
                    <a:close/>
                    <a:moveTo>
                      <a:pt x="28" y="64"/>
                    </a:moveTo>
                    <a:cubicBezTo>
                      <a:pt x="39" y="62"/>
                      <a:pt x="50" y="62"/>
                      <a:pt x="61" y="64"/>
                    </a:cubicBezTo>
                    <a:cubicBezTo>
                      <a:pt x="65" y="65"/>
                      <a:pt x="67" y="67"/>
                      <a:pt x="67" y="71"/>
                    </a:cubicBezTo>
                    <a:cubicBezTo>
                      <a:pt x="69" y="79"/>
                      <a:pt x="68" y="88"/>
                      <a:pt x="66" y="96"/>
                    </a:cubicBezTo>
                    <a:cubicBezTo>
                      <a:pt x="65" y="102"/>
                      <a:pt x="61" y="105"/>
                      <a:pt x="54" y="105"/>
                    </a:cubicBezTo>
                    <a:cubicBezTo>
                      <a:pt x="55" y="115"/>
                      <a:pt x="57" y="125"/>
                      <a:pt x="61" y="136"/>
                    </a:cubicBezTo>
                    <a:cubicBezTo>
                      <a:pt x="63" y="138"/>
                      <a:pt x="63" y="140"/>
                      <a:pt x="61" y="142"/>
                    </a:cubicBezTo>
                    <a:cubicBezTo>
                      <a:pt x="60" y="142"/>
                      <a:pt x="59" y="143"/>
                      <a:pt x="59" y="143"/>
                    </a:cubicBezTo>
                    <a:cubicBezTo>
                      <a:pt x="58" y="143"/>
                      <a:pt x="57" y="142"/>
                      <a:pt x="57" y="141"/>
                    </a:cubicBezTo>
                    <a:cubicBezTo>
                      <a:pt x="52" y="131"/>
                      <a:pt x="48" y="120"/>
                      <a:pt x="46" y="105"/>
                    </a:cubicBezTo>
                    <a:cubicBezTo>
                      <a:pt x="41" y="105"/>
                      <a:pt x="41" y="105"/>
                      <a:pt x="41" y="105"/>
                    </a:cubicBezTo>
                    <a:cubicBezTo>
                      <a:pt x="40" y="120"/>
                      <a:pt x="37" y="131"/>
                      <a:pt x="30" y="140"/>
                    </a:cubicBezTo>
                    <a:cubicBezTo>
                      <a:pt x="29" y="141"/>
                      <a:pt x="27" y="142"/>
                      <a:pt x="26" y="142"/>
                    </a:cubicBezTo>
                    <a:cubicBezTo>
                      <a:pt x="25" y="141"/>
                      <a:pt x="25" y="139"/>
                      <a:pt x="26" y="137"/>
                    </a:cubicBezTo>
                    <a:cubicBezTo>
                      <a:pt x="26" y="137"/>
                      <a:pt x="26" y="135"/>
                      <a:pt x="28" y="132"/>
                    </a:cubicBezTo>
                    <a:cubicBezTo>
                      <a:pt x="30" y="127"/>
                      <a:pt x="32" y="123"/>
                      <a:pt x="32" y="121"/>
                    </a:cubicBezTo>
                    <a:cubicBezTo>
                      <a:pt x="33" y="118"/>
                      <a:pt x="34" y="113"/>
                      <a:pt x="35" y="107"/>
                    </a:cubicBezTo>
                    <a:cubicBezTo>
                      <a:pt x="35" y="106"/>
                      <a:pt x="35" y="106"/>
                      <a:pt x="35" y="105"/>
                    </a:cubicBezTo>
                    <a:cubicBezTo>
                      <a:pt x="29" y="105"/>
                      <a:pt x="25" y="103"/>
                      <a:pt x="22" y="98"/>
                    </a:cubicBezTo>
                    <a:cubicBezTo>
                      <a:pt x="19" y="93"/>
                      <a:pt x="17" y="85"/>
                      <a:pt x="18" y="75"/>
                    </a:cubicBezTo>
                    <a:cubicBezTo>
                      <a:pt x="19" y="68"/>
                      <a:pt x="22" y="65"/>
                      <a:pt x="28" y="64"/>
                    </a:cubicBezTo>
                    <a:close/>
                    <a:moveTo>
                      <a:pt x="24" y="35"/>
                    </a:moveTo>
                    <a:cubicBezTo>
                      <a:pt x="24" y="36"/>
                      <a:pt x="24" y="36"/>
                      <a:pt x="24" y="37"/>
                    </a:cubicBezTo>
                    <a:cubicBezTo>
                      <a:pt x="29" y="37"/>
                      <a:pt x="34" y="37"/>
                      <a:pt x="39" y="37"/>
                    </a:cubicBezTo>
                    <a:cubicBezTo>
                      <a:pt x="39" y="34"/>
                      <a:pt x="38" y="31"/>
                      <a:pt x="38" y="29"/>
                    </a:cubicBezTo>
                    <a:cubicBezTo>
                      <a:pt x="37" y="29"/>
                      <a:pt x="36" y="29"/>
                      <a:pt x="34" y="29"/>
                    </a:cubicBezTo>
                    <a:cubicBezTo>
                      <a:pt x="31" y="29"/>
                      <a:pt x="30" y="29"/>
                      <a:pt x="28" y="29"/>
                    </a:cubicBezTo>
                    <a:cubicBezTo>
                      <a:pt x="25" y="31"/>
                      <a:pt x="24" y="32"/>
                      <a:pt x="24" y="35"/>
                    </a:cubicBezTo>
                    <a:close/>
                    <a:moveTo>
                      <a:pt x="61" y="87"/>
                    </a:moveTo>
                    <a:cubicBezTo>
                      <a:pt x="61" y="86"/>
                      <a:pt x="62" y="85"/>
                      <a:pt x="62" y="84"/>
                    </a:cubicBezTo>
                    <a:cubicBezTo>
                      <a:pt x="62" y="83"/>
                      <a:pt x="62" y="82"/>
                      <a:pt x="62" y="82"/>
                    </a:cubicBezTo>
                    <a:cubicBezTo>
                      <a:pt x="56" y="81"/>
                      <a:pt x="50" y="80"/>
                      <a:pt x="43" y="81"/>
                    </a:cubicBezTo>
                    <a:cubicBezTo>
                      <a:pt x="37" y="81"/>
                      <a:pt x="31" y="82"/>
                      <a:pt x="24" y="83"/>
                    </a:cubicBezTo>
                    <a:cubicBezTo>
                      <a:pt x="25" y="87"/>
                      <a:pt x="25" y="87"/>
                      <a:pt x="25" y="87"/>
                    </a:cubicBezTo>
                    <a:cubicBezTo>
                      <a:pt x="35" y="86"/>
                      <a:pt x="48" y="86"/>
                      <a:pt x="61" y="87"/>
                    </a:cubicBezTo>
                    <a:close/>
                    <a:moveTo>
                      <a:pt x="26" y="48"/>
                    </a:moveTo>
                    <a:cubicBezTo>
                      <a:pt x="28" y="51"/>
                      <a:pt x="30" y="52"/>
                      <a:pt x="35" y="52"/>
                    </a:cubicBezTo>
                    <a:cubicBezTo>
                      <a:pt x="38" y="52"/>
                      <a:pt x="38" y="52"/>
                      <a:pt x="38" y="52"/>
                    </a:cubicBezTo>
                    <a:cubicBezTo>
                      <a:pt x="38" y="49"/>
                      <a:pt x="39" y="46"/>
                      <a:pt x="39" y="44"/>
                    </a:cubicBezTo>
                    <a:cubicBezTo>
                      <a:pt x="34" y="44"/>
                      <a:pt x="30" y="44"/>
                      <a:pt x="25" y="44"/>
                    </a:cubicBezTo>
                    <a:cubicBezTo>
                      <a:pt x="25" y="46"/>
                      <a:pt x="25" y="47"/>
                      <a:pt x="26" y="48"/>
                    </a:cubicBezTo>
                    <a:close/>
                    <a:moveTo>
                      <a:pt x="32" y="69"/>
                    </a:moveTo>
                    <a:cubicBezTo>
                      <a:pt x="28" y="70"/>
                      <a:pt x="25" y="72"/>
                      <a:pt x="25" y="76"/>
                    </a:cubicBezTo>
                    <a:cubicBezTo>
                      <a:pt x="30" y="75"/>
                      <a:pt x="35" y="75"/>
                      <a:pt x="41" y="75"/>
                    </a:cubicBezTo>
                    <a:cubicBezTo>
                      <a:pt x="46" y="74"/>
                      <a:pt x="53" y="74"/>
                      <a:pt x="61" y="75"/>
                    </a:cubicBezTo>
                    <a:cubicBezTo>
                      <a:pt x="61" y="72"/>
                      <a:pt x="59" y="71"/>
                      <a:pt x="57" y="70"/>
                    </a:cubicBezTo>
                    <a:cubicBezTo>
                      <a:pt x="49" y="68"/>
                      <a:pt x="40" y="68"/>
                      <a:pt x="32" y="69"/>
                    </a:cubicBezTo>
                    <a:close/>
                    <a:moveTo>
                      <a:pt x="56" y="98"/>
                    </a:moveTo>
                    <a:cubicBezTo>
                      <a:pt x="59" y="97"/>
                      <a:pt x="60" y="96"/>
                      <a:pt x="61" y="93"/>
                    </a:cubicBezTo>
                    <a:cubicBezTo>
                      <a:pt x="60" y="93"/>
                      <a:pt x="57" y="93"/>
                      <a:pt x="54" y="93"/>
                    </a:cubicBezTo>
                    <a:cubicBezTo>
                      <a:pt x="48" y="92"/>
                      <a:pt x="44" y="92"/>
                      <a:pt x="41" y="92"/>
                    </a:cubicBezTo>
                    <a:cubicBezTo>
                      <a:pt x="40" y="92"/>
                      <a:pt x="38" y="92"/>
                      <a:pt x="36" y="93"/>
                    </a:cubicBezTo>
                    <a:cubicBezTo>
                      <a:pt x="31" y="93"/>
                      <a:pt x="28" y="94"/>
                      <a:pt x="26" y="94"/>
                    </a:cubicBezTo>
                    <a:cubicBezTo>
                      <a:pt x="27" y="96"/>
                      <a:pt x="29" y="98"/>
                      <a:pt x="32" y="98"/>
                    </a:cubicBezTo>
                    <a:cubicBezTo>
                      <a:pt x="39" y="99"/>
                      <a:pt x="47" y="99"/>
                      <a:pt x="56" y="98"/>
                    </a:cubicBezTo>
                    <a:close/>
                    <a:moveTo>
                      <a:pt x="56" y="29"/>
                    </a:moveTo>
                    <a:cubicBezTo>
                      <a:pt x="55" y="29"/>
                      <a:pt x="53" y="29"/>
                      <a:pt x="51" y="29"/>
                    </a:cubicBezTo>
                    <a:cubicBezTo>
                      <a:pt x="49" y="29"/>
                      <a:pt x="47" y="29"/>
                      <a:pt x="46" y="29"/>
                    </a:cubicBezTo>
                    <a:cubicBezTo>
                      <a:pt x="46" y="31"/>
                      <a:pt x="46" y="34"/>
                      <a:pt x="46" y="37"/>
                    </a:cubicBezTo>
                    <a:cubicBezTo>
                      <a:pt x="50" y="37"/>
                      <a:pt x="55" y="37"/>
                      <a:pt x="60" y="37"/>
                    </a:cubicBezTo>
                    <a:cubicBezTo>
                      <a:pt x="60" y="35"/>
                      <a:pt x="60" y="35"/>
                      <a:pt x="60" y="35"/>
                    </a:cubicBezTo>
                    <a:cubicBezTo>
                      <a:pt x="60" y="32"/>
                      <a:pt x="58" y="30"/>
                      <a:pt x="56" y="29"/>
                    </a:cubicBezTo>
                    <a:close/>
                    <a:moveTo>
                      <a:pt x="59" y="48"/>
                    </a:moveTo>
                    <a:cubicBezTo>
                      <a:pt x="59" y="47"/>
                      <a:pt x="59" y="45"/>
                      <a:pt x="60" y="43"/>
                    </a:cubicBezTo>
                    <a:cubicBezTo>
                      <a:pt x="55" y="43"/>
                      <a:pt x="51" y="43"/>
                      <a:pt x="46" y="43"/>
                    </a:cubicBezTo>
                    <a:cubicBezTo>
                      <a:pt x="46" y="52"/>
                      <a:pt x="46" y="52"/>
                      <a:pt x="46" y="52"/>
                    </a:cubicBezTo>
                    <a:cubicBezTo>
                      <a:pt x="48" y="52"/>
                      <a:pt x="51" y="52"/>
                      <a:pt x="54" y="52"/>
                    </a:cubicBezTo>
                    <a:cubicBezTo>
                      <a:pt x="57" y="51"/>
                      <a:pt x="59" y="49"/>
                      <a:pt x="59" y="4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253" name="îSḻide"/>
              <p:cNvSpPr/>
              <p:nvPr/>
            </p:nvSpPr>
            <p:spPr bwMode="auto">
              <a:xfrm>
                <a:off x="2449409" y="5256803"/>
                <a:ext cx="139700" cy="265113"/>
              </a:xfrm>
              <a:custGeom>
                <a:avLst/>
                <a:gdLst>
                  <a:gd name="T0" fmla="*/ 56 w 76"/>
                  <a:gd name="T1" fmla="*/ 3 h 144"/>
                  <a:gd name="T2" fmla="*/ 61 w 76"/>
                  <a:gd name="T3" fmla="*/ 45 h 144"/>
                  <a:gd name="T4" fmla="*/ 50 w 76"/>
                  <a:gd name="T5" fmla="*/ 74 h 144"/>
                  <a:gd name="T6" fmla="*/ 68 w 76"/>
                  <a:gd name="T7" fmla="*/ 65 h 144"/>
                  <a:gd name="T8" fmla="*/ 70 w 76"/>
                  <a:gd name="T9" fmla="*/ 31 h 144"/>
                  <a:gd name="T10" fmla="*/ 74 w 76"/>
                  <a:gd name="T11" fmla="*/ 31 h 144"/>
                  <a:gd name="T12" fmla="*/ 74 w 76"/>
                  <a:gd name="T13" fmla="*/ 64 h 144"/>
                  <a:gd name="T14" fmla="*/ 50 w 76"/>
                  <a:gd name="T15" fmla="*/ 81 h 144"/>
                  <a:gd name="T16" fmla="*/ 69 w 76"/>
                  <a:gd name="T17" fmla="*/ 103 h 144"/>
                  <a:gd name="T18" fmla="*/ 74 w 76"/>
                  <a:gd name="T19" fmla="*/ 140 h 144"/>
                  <a:gd name="T20" fmla="*/ 63 w 76"/>
                  <a:gd name="T21" fmla="*/ 105 h 144"/>
                  <a:gd name="T22" fmla="*/ 52 w 76"/>
                  <a:gd name="T23" fmla="*/ 138 h 144"/>
                  <a:gd name="T24" fmla="*/ 46 w 76"/>
                  <a:gd name="T25" fmla="*/ 139 h 144"/>
                  <a:gd name="T26" fmla="*/ 42 w 76"/>
                  <a:gd name="T27" fmla="*/ 57 h 144"/>
                  <a:gd name="T28" fmla="*/ 35 w 76"/>
                  <a:gd name="T29" fmla="*/ 132 h 144"/>
                  <a:gd name="T30" fmla="*/ 27 w 76"/>
                  <a:gd name="T31" fmla="*/ 136 h 144"/>
                  <a:gd name="T32" fmla="*/ 29 w 76"/>
                  <a:gd name="T33" fmla="*/ 95 h 144"/>
                  <a:gd name="T34" fmla="*/ 5 w 76"/>
                  <a:gd name="T35" fmla="*/ 135 h 144"/>
                  <a:gd name="T36" fmla="*/ 0 w 76"/>
                  <a:gd name="T37" fmla="*/ 135 h 144"/>
                  <a:gd name="T38" fmla="*/ 30 w 76"/>
                  <a:gd name="T39" fmla="*/ 86 h 144"/>
                  <a:gd name="T40" fmla="*/ 26 w 76"/>
                  <a:gd name="T41" fmla="*/ 80 h 144"/>
                  <a:gd name="T42" fmla="*/ 5 w 76"/>
                  <a:gd name="T43" fmla="*/ 66 h 144"/>
                  <a:gd name="T44" fmla="*/ 3 w 76"/>
                  <a:gd name="T45" fmla="*/ 29 h 144"/>
                  <a:gd name="T46" fmla="*/ 9 w 76"/>
                  <a:gd name="T47" fmla="*/ 59 h 144"/>
                  <a:gd name="T48" fmla="*/ 31 w 76"/>
                  <a:gd name="T49" fmla="*/ 74 h 144"/>
                  <a:gd name="T50" fmla="*/ 32 w 76"/>
                  <a:gd name="T51" fmla="*/ 57 h 144"/>
                  <a:gd name="T52" fmla="*/ 16 w 76"/>
                  <a:gd name="T53" fmla="*/ 14 h 144"/>
                  <a:gd name="T54" fmla="*/ 22 w 76"/>
                  <a:gd name="T55" fmla="*/ 19 h 144"/>
                  <a:gd name="T56" fmla="*/ 57 w 76"/>
                  <a:gd name="T57" fmla="*/ 19 h 144"/>
                  <a:gd name="T58" fmla="*/ 50 w 76"/>
                  <a:gd name="T59" fmla="*/ 9 h 144"/>
                  <a:gd name="T60" fmla="*/ 22 w 76"/>
                  <a:gd name="T61" fmla="*/ 19 h 144"/>
                  <a:gd name="T62" fmla="*/ 23 w 76"/>
                  <a:gd name="T63" fmla="*/ 31 h 144"/>
                  <a:gd name="T64" fmla="*/ 57 w 76"/>
                  <a:gd name="T65" fmla="*/ 34 h 144"/>
                  <a:gd name="T66" fmla="*/ 22 w 76"/>
                  <a:gd name="T67" fmla="*/ 27 h 144"/>
                  <a:gd name="T68" fmla="*/ 48 w 76"/>
                  <a:gd name="T69" fmla="*/ 50 h 144"/>
                  <a:gd name="T70" fmla="*/ 57 w 76"/>
                  <a:gd name="T71" fmla="*/ 41 h 144"/>
                  <a:gd name="T72" fmla="*/ 25 w 76"/>
                  <a:gd name="T73" fmla="*/ 44 h 1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76" h="144">
                    <a:moveTo>
                      <a:pt x="27" y="2"/>
                    </a:moveTo>
                    <a:cubicBezTo>
                      <a:pt x="37" y="0"/>
                      <a:pt x="47" y="0"/>
                      <a:pt x="56" y="3"/>
                    </a:cubicBezTo>
                    <a:cubicBezTo>
                      <a:pt x="60" y="3"/>
                      <a:pt x="62" y="7"/>
                      <a:pt x="63" y="15"/>
                    </a:cubicBezTo>
                    <a:cubicBezTo>
                      <a:pt x="65" y="25"/>
                      <a:pt x="64" y="35"/>
                      <a:pt x="61" y="45"/>
                    </a:cubicBezTo>
                    <a:cubicBezTo>
                      <a:pt x="60" y="53"/>
                      <a:pt x="55" y="56"/>
                      <a:pt x="49" y="57"/>
                    </a:cubicBezTo>
                    <a:cubicBezTo>
                      <a:pt x="49" y="62"/>
                      <a:pt x="50" y="68"/>
                      <a:pt x="50" y="74"/>
                    </a:cubicBezTo>
                    <a:cubicBezTo>
                      <a:pt x="53" y="74"/>
                      <a:pt x="56" y="74"/>
                      <a:pt x="58" y="74"/>
                    </a:cubicBezTo>
                    <a:cubicBezTo>
                      <a:pt x="62" y="75"/>
                      <a:pt x="66" y="72"/>
                      <a:pt x="68" y="65"/>
                    </a:cubicBezTo>
                    <a:cubicBezTo>
                      <a:pt x="69" y="62"/>
                      <a:pt x="70" y="53"/>
                      <a:pt x="70" y="39"/>
                    </a:cubicBezTo>
                    <a:cubicBezTo>
                      <a:pt x="70" y="35"/>
                      <a:pt x="70" y="32"/>
                      <a:pt x="70" y="31"/>
                    </a:cubicBezTo>
                    <a:cubicBezTo>
                      <a:pt x="71" y="31"/>
                      <a:pt x="71" y="30"/>
                      <a:pt x="72" y="30"/>
                    </a:cubicBezTo>
                    <a:cubicBezTo>
                      <a:pt x="73" y="30"/>
                      <a:pt x="74" y="30"/>
                      <a:pt x="74" y="31"/>
                    </a:cubicBezTo>
                    <a:cubicBezTo>
                      <a:pt x="75" y="33"/>
                      <a:pt x="76" y="36"/>
                      <a:pt x="76" y="41"/>
                    </a:cubicBezTo>
                    <a:cubicBezTo>
                      <a:pt x="76" y="49"/>
                      <a:pt x="75" y="56"/>
                      <a:pt x="74" y="64"/>
                    </a:cubicBezTo>
                    <a:cubicBezTo>
                      <a:pt x="72" y="75"/>
                      <a:pt x="67" y="81"/>
                      <a:pt x="58" y="81"/>
                    </a:cubicBezTo>
                    <a:cubicBezTo>
                      <a:pt x="50" y="81"/>
                      <a:pt x="50" y="81"/>
                      <a:pt x="50" y="81"/>
                    </a:cubicBezTo>
                    <a:cubicBezTo>
                      <a:pt x="50" y="87"/>
                      <a:pt x="50" y="87"/>
                      <a:pt x="50" y="87"/>
                    </a:cubicBezTo>
                    <a:cubicBezTo>
                      <a:pt x="60" y="87"/>
                      <a:pt x="66" y="92"/>
                      <a:pt x="69" y="103"/>
                    </a:cubicBezTo>
                    <a:cubicBezTo>
                      <a:pt x="72" y="112"/>
                      <a:pt x="74" y="122"/>
                      <a:pt x="76" y="134"/>
                    </a:cubicBezTo>
                    <a:cubicBezTo>
                      <a:pt x="76" y="138"/>
                      <a:pt x="75" y="140"/>
                      <a:pt x="74" y="140"/>
                    </a:cubicBezTo>
                    <a:cubicBezTo>
                      <a:pt x="72" y="141"/>
                      <a:pt x="71" y="139"/>
                      <a:pt x="70" y="136"/>
                    </a:cubicBezTo>
                    <a:cubicBezTo>
                      <a:pt x="68" y="126"/>
                      <a:pt x="66" y="116"/>
                      <a:pt x="63" y="105"/>
                    </a:cubicBezTo>
                    <a:cubicBezTo>
                      <a:pt x="61" y="98"/>
                      <a:pt x="57" y="95"/>
                      <a:pt x="50" y="95"/>
                    </a:cubicBezTo>
                    <a:cubicBezTo>
                      <a:pt x="50" y="109"/>
                      <a:pt x="51" y="123"/>
                      <a:pt x="52" y="138"/>
                    </a:cubicBezTo>
                    <a:cubicBezTo>
                      <a:pt x="52" y="141"/>
                      <a:pt x="51" y="143"/>
                      <a:pt x="49" y="144"/>
                    </a:cubicBezTo>
                    <a:cubicBezTo>
                      <a:pt x="47" y="144"/>
                      <a:pt x="46" y="142"/>
                      <a:pt x="46" y="139"/>
                    </a:cubicBezTo>
                    <a:cubicBezTo>
                      <a:pt x="44" y="134"/>
                      <a:pt x="43" y="118"/>
                      <a:pt x="43" y="92"/>
                    </a:cubicBezTo>
                    <a:cubicBezTo>
                      <a:pt x="43" y="76"/>
                      <a:pt x="43" y="64"/>
                      <a:pt x="42" y="57"/>
                    </a:cubicBezTo>
                    <a:cubicBezTo>
                      <a:pt x="38" y="57"/>
                      <a:pt x="38" y="57"/>
                      <a:pt x="38" y="57"/>
                    </a:cubicBezTo>
                    <a:cubicBezTo>
                      <a:pt x="36" y="88"/>
                      <a:pt x="35" y="113"/>
                      <a:pt x="35" y="132"/>
                    </a:cubicBezTo>
                    <a:cubicBezTo>
                      <a:pt x="35" y="138"/>
                      <a:pt x="33" y="142"/>
                      <a:pt x="31" y="142"/>
                    </a:cubicBezTo>
                    <a:cubicBezTo>
                      <a:pt x="29" y="142"/>
                      <a:pt x="27" y="140"/>
                      <a:pt x="27" y="136"/>
                    </a:cubicBezTo>
                    <a:cubicBezTo>
                      <a:pt x="27" y="136"/>
                      <a:pt x="27" y="134"/>
                      <a:pt x="27" y="132"/>
                    </a:cubicBezTo>
                    <a:cubicBezTo>
                      <a:pt x="28" y="118"/>
                      <a:pt x="29" y="105"/>
                      <a:pt x="29" y="95"/>
                    </a:cubicBezTo>
                    <a:cubicBezTo>
                      <a:pt x="19" y="95"/>
                      <a:pt x="14" y="98"/>
                      <a:pt x="13" y="105"/>
                    </a:cubicBezTo>
                    <a:cubicBezTo>
                      <a:pt x="10" y="114"/>
                      <a:pt x="7" y="124"/>
                      <a:pt x="5" y="135"/>
                    </a:cubicBezTo>
                    <a:cubicBezTo>
                      <a:pt x="4" y="137"/>
                      <a:pt x="3" y="139"/>
                      <a:pt x="2" y="139"/>
                    </a:cubicBezTo>
                    <a:cubicBezTo>
                      <a:pt x="1" y="140"/>
                      <a:pt x="0" y="138"/>
                      <a:pt x="0" y="135"/>
                    </a:cubicBezTo>
                    <a:cubicBezTo>
                      <a:pt x="0" y="125"/>
                      <a:pt x="2" y="115"/>
                      <a:pt x="7" y="104"/>
                    </a:cubicBezTo>
                    <a:cubicBezTo>
                      <a:pt x="11" y="92"/>
                      <a:pt x="18" y="86"/>
                      <a:pt x="30" y="86"/>
                    </a:cubicBezTo>
                    <a:cubicBezTo>
                      <a:pt x="30" y="85"/>
                      <a:pt x="30" y="83"/>
                      <a:pt x="31" y="80"/>
                    </a:cubicBezTo>
                    <a:cubicBezTo>
                      <a:pt x="29" y="81"/>
                      <a:pt x="28" y="81"/>
                      <a:pt x="26" y="80"/>
                    </a:cubicBezTo>
                    <a:cubicBezTo>
                      <a:pt x="24" y="80"/>
                      <a:pt x="23" y="80"/>
                      <a:pt x="22" y="80"/>
                    </a:cubicBezTo>
                    <a:cubicBezTo>
                      <a:pt x="14" y="81"/>
                      <a:pt x="8" y="76"/>
                      <a:pt x="5" y="66"/>
                    </a:cubicBezTo>
                    <a:cubicBezTo>
                      <a:pt x="2" y="59"/>
                      <a:pt x="0" y="49"/>
                      <a:pt x="0" y="37"/>
                    </a:cubicBezTo>
                    <a:cubicBezTo>
                      <a:pt x="0" y="32"/>
                      <a:pt x="1" y="29"/>
                      <a:pt x="3" y="29"/>
                    </a:cubicBezTo>
                    <a:cubicBezTo>
                      <a:pt x="6" y="31"/>
                      <a:pt x="8" y="35"/>
                      <a:pt x="8" y="39"/>
                    </a:cubicBezTo>
                    <a:cubicBezTo>
                      <a:pt x="7" y="45"/>
                      <a:pt x="7" y="52"/>
                      <a:pt x="9" y="59"/>
                    </a:cubicBezTo>
                    <a:cubicBezTo>
                      <a:pt x="10" y="68"/>
                      <a:pt x="16" y="73"/>
                      <a:pt x="24" y="74"/>
                    </a:cubicBezTo>
                    <a:cubicBezTo>
                      <a:pt x="26" y="74"/>
                      <a:pt x="29" y="74"/>
                      <a:pt x="31" y="74"/>
                    </a:cubicBezTo>
                    <a:cubicBezTo>
                      <a:pt x="31" y="72"/>
                      <a:pt x="31" y="69"/>
                      <a:pt x="31" y="65"/>
                    </a:cubicBezTo>
                    <a:cubicBezTo>
                      <a:pt x="31" y="61"/>
                      <a:pt x="32" y="58"/>
                      <a:pt x="32" y="57"/>
                    </a:cubicBezTo>
                    <a:cubicBezTo>
                      <a:pt x="25" y="56"/>
                      <a:pt x="20" y="53"/>
                      <a:pt x="19" y="48"/>
                    </a:cubicBezTo>
                    <a:cubicBezTo>
                      <a:pt x="15" y="36"/>
                      <a:pt x="14" y="25"/>
                      <a:pt x="16" y="14"/>
                    </a:cubicBezTo>
                    <a:cubicBezTo>
                      <a:pt x="17" y="6"/>
                      <a:pt x="21" y="2"/>
                      <a:pt x="27" y="2"/>
                    </a:cubicBezTo>
                    <a:close/>
                    <a:moveTo>
                      <a:pt x="22" y="19"/>
                    </a:moveTo>
                    <a:cubicBezTo>
                      <a:pt x="22" y="20"/>
                      <a:pt x="22" y="20"/>
                      <a:pt x="22" y="20"/>
                    </a:cubicBezTo>
                    <a:cubicBezTo>
                      <a:pt x="30" y="20"/>
                      <a:pt x="42" y="19"/>
                      <a:pt x="57" y="19"/>
                    </a:cubicBezTo>
                    <a:cubicBezTo>
                      <a:pt x="57" y="18"/>
                      <a:pt x="57" y="17"/>
                      <a:pt x="57" y="16"/>
                    </a:cubicBezTo>
                    <a:cubicBezTo>
                      <a:pt x="56" y="13"/>
                      <a:pt x="54" y="10"/>
                      <a:pt x="50" y="9"/>
                    </a:cubicBezTo>
                    <a:cubicBezTo>
                      <a:pt x="44" y="8"/>
                      <a:pt x="37" y="7"/>
                      <a:pt x="31" y="9"/>
                    </a:cubicBezTo>
                    <a:cubicBezTo>
                      <a:pt x="25" y="11"/>
                      <a:pt x="22" y="14"/>
                      <a:pt x="22" y="19"/>
                    </a:cubicBezTo>
                    <a:close/>
                    <a:moveTo>
                      <a:pt x="22" y="27"/>
                    </a:moveTo>
                    <a:cubicBezTo>
                      <a:pt x="22" y="28"/>
                      <a:pt x="22" y="29"/>
                      <a:pt x="23" y="31"/>
                    </a:cubicBezTo>
                    <a:cubicBezTo>
                      <a:pt x="23" y="32"/>
                      <a:pt x="23" y="33"/>
                      <a:pt x="23" y="34"/>
                    </a:cubicBezTo>
                    <a:cubicBezTo>
                      <a:pt x="57" y="34"/>
                      <a:pt x="57" y="34"/>
                      <a:pt x="57" y="34"/>
                    </a:cubicBezTo>
                    <a:cubicBezTo>
                      <a:pt x="57" y="27"/>
                      <a:pt x="57" y="27"/>
                      <a:pt x="57" y="27"/>
                    </a:cubicBezTo>
                    <a:cubicBezTo>
                      <a:pt x="45" y="26"/>
                      <a:pt x="33" y="26"/>
                      <a:pt x="22" y="27"/>
                    </a:cubicBezTo>
                    <a:close/>
                    <a:moveTo>
                      <a:pt x="35" y="50"/>
                    </a:moveTo>
                    <a:cubicBezTo>
                      <a:pt x="48" y="50"/>
                      <a:pt x="48" y="50"/>
                      <a:pt x="48" y="50"/>
                    </a:cubicBezTo>
                    <a:cubicBezTo>
                      <a:pt x="53" y="50"/>
                      <a:pt x="55" y="47"/>
                      <a:pt x="57" y="42"/>
                    </a:cubicBezTo>
                    <a:cubicBezTo>
                      <a:pt x="57" y="41"/>
                      <a:pt x="57" y="41"/>
                      <a:pt x="57" y="41"/>
                    </a:cubicBezTo>
                    <a:cubicBezTo>
                      <a:pt x="43" y="41"/>
                      <a:pt x="32" y="41"/>
                      <a:pt x="24" y="42"/>
                    </a:cubicBezTo>
                    <a:cubicBezTo>
                      <a:pt x="24" y="43"/>
                      <a:pt x="24" y="43"/>
                      <a:pt x="25" y="44"/>
                    </a:cubicBezTo>
                    <a:cubicBezTo>
                      <a:pt x="27" y="48"/>
                      <a:pt x="30" y="50"/>
                      <a:pt x="35" y="5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254" name="iṣlîḋè"/>
              <p:cNvSpPr/>
              <p:nvPr/>
            </p:nvSpPr>
            <p:spPr bwMode="auto">
              <a:xfrm>
                <a:off x="2604984" y="5259978"/>
                <a:ext cx="177800" cy="255588"/>
              </a:xfrm>
              <a:custGeom>
                <a:avLst/>
                <a:gdLst>
                  <a:gd name="T0" fmla="*/ 5 w 96"/>
                  <a:gd name="T1" fmla="*/ 37 h 138"/>
                  <a:gd name="T2" fmla="*/ 24 w 96"/>
                  <a:gd name="T3" fmla="*/ 49 h 138"/>
                  <a:gd name="T4" fmla="*/ 7 w 96"/>
                  <a:gd name="T5" fmla="*/ 26 h 138"/>
                  <a:gd name="T6" fmla="*/ 0 w 96"/>
                  <a:gd name="T7" fmla="*/ 22 h 138"/>
                  <a:gd name="T8" fmla="*/ 44 w 96"/>
                  <a:gd name="T9" fmla="*/ 19 h 138"/>
                  <a:gd name="T10" fmla="*/ 40 w 96"/>
                  <a:gd name="T11" fmla="*/ 26 h 138"/>
                  <a:gd name="T12" fmla="*/ 29 w 96"/>
                  <a:gd name="T13" fmla="*/ 49 h 138"/>
                  <a:gd name="T14" fmla="*/ 42 w 96"/>
                  <a:gd name="T15" fmla="*/ 39 h 138"/>
                  <a:gd name="T16" fmla="*/ 36 w 96"/>
                  <a:gd name="T17" fmla="*/ 64 h 138"/>
                  <a:gd name="T18" fmla="*/ 44 w 96"/>
                  <a:gd name="T19" fmla="*/ 70 h 138"/>
                  <a:gd name="T20" fmla="*/ 30 w 96"/>
                  <a:gd name="T21" fmla="*/ 78 h 138"/>
                  <a:gd name="T22" fmla="*/ 48 w 96"/>
                  <a:gd name="T23" fmla="*/ 111 h 138"/>
                  <a:gd name="T24" fmla="*/ 42 w 96"/>
                  <a:gd name="T25" fmla="*/ 124 h 138"/>
                  <a:gd name="T26" fmla="*/ 33 w 96"/>
                  <a:gd name="T27" fmla="*/ 93 h 138"/>
                  <a:gd name="T28" fmla="*/ 30 w 96"/>
                  <a:gd name="T29" fmla="*/ 116 h 138"/>
                  <a:gd name="T30" fmla="*/ 24 w 96"/>
                  <a:gd name="T31" fmla="*/ 133 h 138"/>
                  <a:gd name="T32" fmla="*/ 20 w 96"/>
                  <a:gd name="T33" fmla="*/ 93 h 138"/>
                  <a:gd name="T34" fmla="*/ 11 w 96"/>
                  <a:gd name="T35" fmla="*/ 122 h 138"/>
                  <a:gd name="T36" fmla="*/ 8 w 96"/>
                  <a:gd name="T37" fmla="*/ 102 h 138"/>
                  <a:gd name="T38" fmla="*/ 24 w 96"/>
                  <a:gd name="T39" fmla="*/ 81 h 138"/>
                  <a:gd name="T40" fmla="*/ 3 w 96"/>
                  <a:gd name="T41" fmla="*/ 77 h 138"/>
                  <a:gd name="T42" fmla="*/ 14 w 96"/>
                  <a:gd name="T43" fmla="*/ 70 h 138"/>
                  <a:gd name="T44" fmla="*/ 20 w 96"/>
                  <a:gd name="T45" fmla="*/ 65 h 138"/>
                  <a:gd name="T46" fmla="*/ 2 w 96"/>
                  <a:gd name="T47" fmla="*/ 37 h 138"/>
                  <a:gd name="T48" fmla="*/ 40 w 96"/>
                  <a:gd name="T49" fmla="*/ 3 h 138"/>
                  <a:gd name="T50" fmla="*/ 14 w 96"/>
                  <a:gd name="T51" fmla="*/ 11 h 138"/>
                  <a:gd name="T52" fmla="*/ 5 w 96"/>
                  <a:gd name="T53" fmla="*/ 6 h 138"/>
                  <a:gd name="T54" fmla="*/ 33 w 96"/>
                  <a:gd name="T55" fmla="*/ 26 h 138"/>
                  <a:gd name="T56" fmla="*/ 27 w 96"/>
                  <a:gd name="T57" fmla="*/ 45 h 138"/>
                  <a:gd name="T58" fmla="*/ 54 w 96"/>
                  <a:gd name="T59" fmla="*/ 2 h 138"/>
                  <a:gd name="T60" fmla="*/ 58 w 96"/>
                  <a:gd name="T61" fmla="*/ 10 h 138"/>
                  <a:gd name="T62" fmla="*/ 88 w 96"/>
                  <a:gd name="T63" fmla="*/ 22 h 138"/>
                  <a:gd name="T64" fmla="*/ 74 w 96"/>
                  <a:gd name="T65" fmla="*/ 37 h 138"/>
                  <a:gd name="T66" fmla="*/ 62 w 96"/>
                  <a:gd name="T67" fmla="*/ 66 h 138"/>
                  <a:gd name="T68" fmla="*/ 53 w 96"/>
                  <a:gd name="T69" fmla="*/ 136 h 138"/>
                  <a:gd name="T70" fmla="*/ 48 w 96"/>
                  <a:gd name="T71" fmla="*/ 130 h 138"/>
                  <a:gd name="T72" fmla="*/ 55 w 96"/>
                  <a:gd name="T73" fmla="*/ 48 h 138"/>
                  <a:gd name="T74" fmla="*/ 76 w 96"/>
                  <a:gd name="T75" fmla="*/ 31 h 138"/>
                  <a:gd name="T76" fmla="*/ 65 w 96"/>
                  <a:gd name="T77" fmla="*/ 18 h 138"/>
                  <a:gd name="T78" fmla="*/ 52 w 96"/>
                  <a:gd name="T79" fmla="*/ 13 h 138"/>
                  <a:gd name="T80" fmla="*/ 94 w 96"/>
                  <a:gd name="T81" fmla="*/ 74 h 138"/>
                  <a:gd name="T82" fmla="*/ 76 w 96"/>
                  <a:gd name="T83" fmla="*/ 54 h 138"/>
                  <a:gd name="T84" fmla="*/ 83 w 96"/>
                  <a:gd name="T85" fmla="*/ 119 h 138"/>
                  <a:gd name="T86" fmla="*/ 88 w 96"/>
                  <a:gd name="T87" fmla="*/ 133 h 138"/>
                  <a:gd name="T88" fmla="*/ 70 w 96"/>
                  <a:gd name="T89" fmla="*/ 93 h 138"/>
                  <a:gd name="T90" fmla="*/ 70 w 96"/>
                  <a:gd name="T91" fmla="*/ 42 h 138"/>
                  <a:gd name="T92" fmla="*/ 95 w 96"/>
                  <a:gd name="T93" fmla="*/ 70 h 1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96" h="138">
                    <a:moveTo>
                      <a:pt x="2" y="37"/>
                    </a:moveTo>
                    <a:cubicBezTo>
                      <a:pt x="2" y="36"/>
                      <a:pt x="2" y="35"/>
                      <a:pt x="3" y="35"/>
                    </a:cubicBezTo>
                    <a:cubicBezTo>
                      <a:pt x="4" y="35"/>
                      <a:pt x="5" y="36"/>
                      <a:pt x="5" y="37"/>
                    </a:cubicBezTo>
                    <a:cubicBezTo>
                      <a:pt x="9" y="49"/>
                      <a:pt x="14" y="56"/>
                      <a:pt x="21" y="59"/>
                    </a:cubicBezTo>
                    <a:cubicBezTo>
                      <a:pt x="21" y="59"/>
                      <a:pt x="22" y="60"/>
                      <a:pt x="24" y="60"/>
                    </a:cubicBezTo>
                    <a:cubicBezTo>
                      <a:pt x="24" y="56"/>
                      <a:pt x="24" y="53"/>
                      <a:pt x="24" y="49"/>
                    </a:cubicBezTo>
                    <a:cubicBezTo>
                      <a:pt x="21" y="48"/>
                      <a:pt x="18" y="46"/>
                      <a:pt x="16" y="42"/>
                    </a:cubicBezTo>
                    <a:cubicBezTo>
                      <a:pt x="13" y="38"/>
                      <a:pt x="12" y="33"/>
                      <a:pt x="12" y="26"/>
                    </a:cubicBezTo>
                    <a:cubicBezTo>
                      <a:pt x="9" y="26"/>
                      <a:pt x="8" y="26"/>
                      <a:pt x="7" y="26"/>
                    </a:cubicBezTo>
                    <a:cubicBezTo>
                      <a:pt x="4" y="27"/>
                      <a:pt x="2" y="27"/>
                      <a:pt x="1" y="25"/>
                    </a:cubicBezTo>
                    <a:cubicBezTo>
                      <a:pt x="0" y="24"/>
                      <a:pt x="0" y="23"/>
                      <a:pt x="0" y="22"/>
                    </a:cubicBezTo>
                    <a:cubicBezTo>
                      <a:pt x="0" y="22"/>
                      <a:pt x="0" y="22"/>
                      <a:pt x="0" y="22"/>
                    </a:cubicBezTo>
                    <a:cubicBezTo>
                      <a:pt x="1" y="19"/>
                      <a:pt x="2" y="18"/>
                      <a:pt x="4" y="19"/>
                    </a:cubicBezTo>
                    <a:cubicBezTo>
                      <a:pt x="6" y="19"/>
                      <a:pt x="8" y="19"/>
                      <a:pt x="11" y="19"/>
                    </a:cubicBezTo>
                    <a:cubicBezTo>
                      <a:pt x="44" y="19"/>
                      <a:pt x="44" y="19"/>
                      <a:pt x="44" y="19"/>
                    </a:cubicBezTo>
                    <a:cubicBezTo>
                      <a:pt x="46" y="19"/>
                      <a:pt x="48" y="20"/>
                      <a:pt x="48" y="23"/>
                    </a:cubicBezTo>
                    <a:cubicBezTo>
                      <a:pt x="47" y="25"/>
                      <a:pt x="45" y="26"/>
                      <a:pt x="42" y="26"/>
                    </a:cubicBezTo>
                    <a:cubicBezTo>
                      <a:pt x="42" y="26"/>
                      <a:pt x="41" y="26"/>
                      <a:pt x="40" y="26"/>
                    </a:cubicBezTo>
                    <a:cubicBezTo>
                      <a:pt x="40" y="26"/>
                      <a:pt x="40" y="26"/>
                      <a:pt x="40" y="26"/>
                    </a:cubicBezTo>
                    <a:cubicBezTo>
                      <a:pt x="39" y="34"/>
                      <a:pt x="38" y="39"/>
                      <a:pt x="37" y="42"/>
                    </a:cubicBezTo>
                    <a:cubicBezTo>
                      <a:pt x="34" y="46"/>
                      <a:pt x="32" y="49"/>
                      <a:pt x="29" y="49"/>
                    </a:cubicBezTo>
                    <a:cubicBezTo>
                      <a:pt x="30" y="53"/>
                      <a:pt x="30" y="56"/>
                      <a:pt x="30" y="60"/>
                    </a:cubicBezTo>
                    <a:cubicBezTo>
                      <a:pt x="31" y="60"/>
                      <a:pt x="32" y="59"/>
                      <a:pt x="33" y="58"/>
                    </a:cubicBezTo>
                    <a:cubicBezTo>
                      <a:pt x="39" y="56"/>
                      <a:pt x="42" y="49"/>
                      <a:pt x="42" y="39"/>
                    </a:cubicBezTo>
                    <a:cubicBezTo>
                      <a:pt x="43" y="37"/>
                      <a:pt x="44" y="36"/>
                      <a:pt x="46" y="36"/>
                    </a:cubicBezTo>
                    <a:cubicBezTo>
                      <a:pt x="47" y="36"/>
                      <a:pt x="48" y="37"/>
                      <a:pt x="48" y="39"/>
                    </a:cubicBezTo>
                    <a:cubicBezTo>
                      <a:pt x="49" y="49"/>
                      <a:pt x="45" y="57"/>
                      <a:pt x="36" y="64"/>
                    </a:cubicBezTo>
                    <a:cubicBezTo>
                      <a:pt x="34" y="65"/>
                      <a:pt x="32" y="66"/>
                      <a:pt x="30" y="66"/>
                    </a:cubicBezTo>
                    <a:cubicBezTo>
                      <a:pt x="30" y="70"/>
                      <a:pt x="30" y="70"/>
                      <a:pt x="30" y="70"/>
                    </a:cubicBezTo>
                    <a:cubicBezTo>
                      <a:pt x="44" y="70"/>
                      <a:pt x="44" y="70"/>
                      <a:pt x="44" y="70"/>
                    </a:cubicBezTo>
                    <a:cubicBezTo>
                      <a:pt x="47" y="70"/>
                      <a:pt x="49" y="71"/>
                      <a:pt x="49" y="73"/>
                    </a:cubicBezTo>
                    <a:cubicBezTo>
                      <a:pt x="49" y="76"/>
                      <a:pt x="47" y="77"/>
                      <a:pt x="43" y="77"/>
                    </a:cubicBezTo>
                    <a:cubicBezTo>
                      <a:pt x="37" y="77"/>
                      <a:pt x="33" y="77"/>
                      <a:pt x="30" y="78"/>
                    </a:cubicBezTo>
                    <a:cubicBezTo>
                      <a:pt x="30" y="80"/>
                      <a:pt x="30" y="82"/>
                      <a:pt x="30" y="84"/>
                    </a:cubicBezTo>
                    <a:cubicBezTo>
                      <a:pt x="34" y="84"/>
                      <a:pt x="37" y="87"/>
                      <a:pt x="40" y="91"/>
                    </a:cubicBezTo>
                    <a:cubicBezTo>
                      <a:pt x="44" y="96"/>
                      <a:pt x="46" y="103"/>
                      <a:pt x="48" y="111"/>
                    </a:cubicBezTo>
                    <a:cubicBezTo>
                      <a:pt x="49" y="116"/>
                      <a:pt x="49" y="120"/>
                      <a:pt x="48" y="124"/>
                    </a:cubicBezTo>
                    <a:cubicBezTo>
                      <a:pt x="47" y="125"/>
                      <a:pt x="46" y="125"/>
                      <a:pt x="45" y="125"/>
                    </a:cubicBezTo>
                    <a:cubicBezTo>
                      <a:pt x="44" y="125"/>
                      <a:pt x="43" y="125"/>
                      <a:pt x="42" y="124"/>
                    </a:cubicBezTo>
                    <a:cubicBezTo>
                      <a:pt x="42" y="123"/>
                      <a:pt x="42" y="121"/>
                      <a:pt x="42" y="118"/>
                    </a:cubicBezTo>
                    <a:cubicBezTo>
                      <a:pt x="41" y="116"/>
                      <a:pt x="41" y="114"/>
                      <a:pt x="41" y="113"/>
                    </a:cubicBezTo>
                    <a:cubicBezTo>
                      <a:pt x="40" y="104"/>
                      <a:pt x="37" y="97"/>
                      <a:pt x="33" y="93"/>
                    </a:cubicBezTo>
                    <a:cubicBezTo>
                      <a:pt x="33" y="92"/>
                      <a:pt x="32" y="91"/>
                      <a:pt x="30" y="91"/>
                    </a:cubicBezTo>
                    <a:cubicBezTo>
                      <a:pt x="31" y="97"/>
                      <a:pt x="31" y="101"/>
                      <a:pt x="31" y="105"/>
                    </a:cubicBezTo>
                    <a:cubicBezTo>
                      <a:pt x="31" y="107"/>
                      <a:pt x="31" y="111"/>
                      <a:pt x="30" y="116"/>
                    </a:cubicBezTo>
                    <a:cubicBezTo>
                      <a:pt x="30" y="124"/>
                      <a:pt x="30" y="129"/>
                      <a:pt x="29" y="133"/>
                    </a:cubicBezTo>
                    <a:cubicBezTo>
                      <a:pt x="29" y="136"/>
                      <a:pt x="28" y="137"/>
                      <a:pt x="27" y="137"/>
                    </a:cubicBezTo>
                    <a:cubicBezTo>
                      <a:pt x="26" y="137"/>
                      <a:pt x="25" y="136"/>
                      <a:pt x="24" y="133"/>
                    </a:cubicBezTo>
                    <a:cubicBezTo>
                      <a:pt x="24" y="120"/>
                      <a:pt x="24" y="111"/>
                      <a:pt x="24" y="105"/>
                    </a:cubicBezTo>
                    <a:cubicBezTo>
                      <a:pt x="24" y="100"/>
                      <a:pt x="24" y="95"/>
                      <a:pt x="24" y="90"/>
                    </a:cubicBezTo>
                    <a:cubicBezTo>
                      <a:pt x="22" y="91"/>
                      <a:pt x="21" y="92"/>
                      <a:pt x="20" y="93"/>
                    </a:cubicBezTo>
                    <a:cubicBezTo>
                      <a:pt x="18" y="94"/>
                      <a:pt x="16" y="98"/>
                      <a:pt x="14" y="102"/>
                    </a:cubicBezTo>
                    <a:cubicBezTo>
                      <a:pt x="13" y="104"/>
                      <a:pt x="13" y="104"/>
                      <a:pt x="13" y="104"/>
                    </a:cubicBezTo>
                    <a:cubicBezTo>
                      <a:pt x="12" y="108"/>
                      <a:pt x="11" y="114"/>
                      <a:pt x="11" y="122"/>
                    </a:cubicBezTo>
                    <a:cubicBezTo>
                      <a:pt x="10" y="124"/>
                      <a:pt x="9" y="125"/>
                      <a:pt x="7" y="125"/>
                    </a:cubicBezTo>
                    <a:cubicBezTo>
                      <a:pt x="6" y="125"/>
                      <a:pt x="5" y="124"/>
                      <a:pt x="5" y="122"/>
                    </a:cubicBezTo>
                    <a:cubicBezTo>
                      <a:pt x="6" y="115"/>
                      <a:pt x="7" y="108"/>
                      <a:pt x="8" y="102"/>
                    </a:cubicBezTo>
                    <a:cubicBezTo>
                      <a:pt x="9" y="97"/>
                      <a:pt x="11" y="92"/>
                      <a:pt x="14" y="89"/>
                    </a:cubicBezTo>
                    <a:cubicBezTo>
                      <a:pt x="17" y="86"/>
                      <a:pt x="20" y="84"/>
                      <a:pt x="24" y="84"/>
                    </a:cubicBezTo>
                    <a:cubicBezTo>
                      <a:pt x="24" y="81"/>
                      <a:pt x="24" y="81"/>
                      <a:pt x="24" y="81"/>
                    </a:cubicBezTo>
                    <a:cubicBezTo>
                      <a:pt x="24" y="80"/>
                      <a:pt x="24" y="79"/>
                      <a:pt x="24" y="78"/>
                    </a:cubicBezTo>
                    <a:cubicBezTo>
                      <a:pt x="14" y="78"/>
                      <a:pt x="9" y="78"/>
                      <a:pt x="9" y="78"/>
                    </a:cubicBezTo>
                    <a:cubicBezTo>
                      <a:pt x="6" y="79"/>
                      <a:pt x="4" y="79"/>
                      <a:pt x="3" y="77"/>
                    </a:cubicBezTo>
                    <a:cubicBezTo>
                      <a:pt x="2" y="76"/>
                      <a:pt x="2" y="74"/>
                      <a:pt x="3" y="72"/>
                    </a:cubicBezTo>
                    <a:cubicBezTo>
                      <a:pt x="3" y="70"/>
                      <a:pt x="4" y="70"/>
                      <a:pt x="7" y="70"/>
                    </a:cubicBezTo>
                    <a:cubicBezTo>
                      <a:pt x="8" y="70"/>
                      <a:pt x="10" y="70"/>
                      <a:pt x="14" y="70"/>
                    </a:cubicBezTo>
                    <a:cubicBezTo>
                      <a:pt x="24" y="70"/>
                      <a:pt x="24" y="70"/>
                      <a:pt x="24" y="70"/>
                    </a:cubicBezTo>
                    <a:cubicBezTo>
                      <a:pt x="24" y="66"/>
                      <a:pt x="24" y="66"/>
                      <a:pt x="24" y="66"/>
                    </a:cubicBezTo>
                    <a:cubicBezTo>
                      <a:pt x="22" y="66"/>
                      <a:pt x="21" y="66"/>
                      <a:pt x="20" y="65"/>
                    </a:cubicBezTo>
                    <a:cubicBezTo>
                      <a:pt x="12" y="62"/>
                      <a:pt x="6" y="56"/>
                      <a:pt x="2" y="46"/>
                    </a:cubicBezTo>
                    <a:cubicBezTo>
                      <a:pt x="2" y="46"/>
                      <a:pt x="2" y="43"/>
                      <a:pt x="2" y="40"/>
                    </a:cubicBezTo>
                    <a:cubicBezTo>
                      <a:pt x="2" y="39"/>
                      <a:pt x="2" y="38"/>
                      <a:pt x="2" y="37"/>
                    </a:cubicBezTo>
                    <a:close/>
                    <a:moveTo>
                      <a:pt x="9" y="3"/>
                    </a:moveTo>
                    <a:cubicBezTo>
                      <a:pt x="11" y="3"/>
                      <a:pt x="15" y="3"/>
                      <a:pt x="19" y="3"/>
                    </a:cubicBezTo>
                    <a:cubicBezTo>
                      <a:pt x="40" y="3"/>
                      <a:pt x="40" y="3"/>
                      <a:pt x="40" y="3"/>
                    </a:cubicBezTo>
                    <a:cubicBezTo>
                      <a:pt x="43" y="3"/>
                      <a:pt x="44" y="5"/>
                      <a:pt x="44" y="7"/>
                    </a:cubicBezTo>
                    <a:cubicBezTo>
                      <a:pt x="44" y="9"/>
                      <a:pt x="42" y="10"/>
                      <a:pt x="39" y="10"/>
                    </a:cubicBezTo>
                    <a:cubicBezTo>
                      <a:pt x="34" y="10"/>
                      <a:pt x="25" y="10"/>
                      <a:pt x="14" y="11"/>
                    </a:cubicBezTo>
                    <a:cubicBezTo>
                      <a:pt x="13" y="11"/>
                      <a:pt x="12" y="11"/>
                      <a:pt x="11" y="11"/>
                    </a:cubicBezTo>
                    <a:cubicBezTo>
                      <a:pt x="7" y="11"/>
                      <a:pt x="5" y="11"/>
                      <a:pt x="5" y="9"/>
                    </a:cubicBezTo>
                    <a:cubicBezTo>
                      <a:pt x="5" y="9"/>
                      <a:pt x="4" y="8"/>
                      <a:pt x="5" y="6"/>
                    </a:cubicBezTo>
                    <a:cubicBezTo>
                      <a:pt x="5" y="5"/>
                      <a:pt x="5" y="5"/>
                      <a:pt x="5" y="5"/>
                    </a:cubicBezTo>
                    <a:cubicBezTo>
                      <a:pt x="5" y="3"/>
                      <a:pt x="6" y="3"/>
                      <a:pt x="9" y="3"/>
                    </a:cubicBezTo>
                    <a:close/>
                    <a:moveTo>
                      <a:pt x="33" y="26"/>
                    </a:moveTo>
                    <a:cubicBezTo>
                      <a:pt x="28" y="26"/>
                      <a:pt x="23" y="26"/>
                      <a:pt x="17" y="26"/>
                    </a:cubicBezTo>
                    <a:cubicBezTo>
                      <a:pt x="18" y="32"/>
                      <a:pt x="20" y="38"/>
                      <a:pt x="24" y="42"/>
                    </a:cubicBezTo>
                    <a:cubicBezTo>
                      <a:pt x="25" y="44"/>
                      <a:pt x="26" y="45"/>
                      <a:pt x="27" y="45"/>
                    </a:cubicBezTo>
                    <a:cubicBezTo>
                      <a:pt x="28" y="45"/>
                      <a:pt x="29" y="44"/>
                      <a:pt x="29" y="42"/>
                    </a:cubicBezTo>
                    <a:cubicBezTo>
                      <a:pt x="32" y="38"/>
                      <a:pt x="33" y="33"/>
                      <a:pt x="33" y="26"/>
                    </a:cubicBezTo>
                    <a:close/>
                    <a:moveTo>
                      <a:pt x="54" y="2"/>
                    </a:moveTo>
                    <a:cubicBezTo>
                      <a:pt x="55" y="0"/>
                      <a:pt x="57" y="0"/>
                      <a:pt x="58" y="1"/>
                    </a:cubicBezTo>
                    <a:cubicBezTo>
                      <a:pt x="59" y="2"/>
                      <a:pt x="60" y="4"/>
                      <a:pt x="59" y="6"/>
                    </a:cubicBezTo>
                    <a:cubicBezTo>
                      <a:pt x="57" y="8"/>
                      <a:pt x="57" y="9"/>
                      <a:pt x="58" y="10"/>
                    </a:cubicBezTo>
                    <a:cubicBezTo>
                      <a:pt x="59" y="11"/>
                      <a:pt x="61" y="12"/>
                      <a:pt x="63" y="11"/>
                    </a:cubicBezTo>
                    <a:cubicBezTo>
                      <a:pt x="67" y="9"/>
                      <a:pt x="73" y="9"/>
                      <a:pt x="80" y="11"/>
                    </a:cubicBezTo>
                    <a:cubicBezTo>
                      <a:pt x="84" y="13"/>
                      <a:pt x="87" y="16"/>
                      <a:pt x="88" y="22"/>
                    </a:cubicBezTo>
                    <a:cubicBezTo>
                      <a:pt x="89" y="27"/>
                      <a:pt x="88" y="32"/>
                      <a:pt x="85" y="35"/>
                    </a:cubicBezTo>
                    <a:cubicBezTo>
                      <a:pt x="84" y="38"/>
                      <a:pt x="81" y="39"/>
                      <a:pt x="75" y="37"/>
                    </a:cubicBezTo>
                    <a:cubicBezTo>
                      <a:pt x="75" y="37"/>
                      <a:pt x="74" y="37"/>
                      <a:pt x="74" y="37"/>
                    </a:cubicBezTo>
                    <a:cubicBezTo>
                      <a:pt x="69" y="37"/>
                      <a:pt x="66" y="37"/>
                      <a:pt x="63" y="38"/>
                    </a:cubicBezTo>
                    <a:cubicBezTo>
                      <a:pt x="62" y="38"/>
                      <a:pt x="61" y="40"/>
                      <a:pt x="61" y="43"/>
                    </a:cubicBezTo>
                    <a:cubicBezTo>
                      <a:pt x="62" y="48"/>
                      <a:pt x="62" y="56"/>
                      <a:pt x="62" y="66"/>
                    </a:cubicBezTo>
                    <a:cubicBezTo>
                      <a:pt x="62" y="70"/>
                      <a:pt x="61" y="76"/>
                      <a:pt x="61" y="84"/>
                    </a:cubicBezTo>
                    <a:cubicBezTo>
                      <a:pt x="59" y="99"/>
                      <a:pt x="58" y="110"/>
                      <a:pt x="57" y="116"/>
                    </a:cubicBezTo>
                    <a:cubicBezTo>
                      <a:pt x="57" y="122"/>
                      <a:pt x="55" y="128"/>
                      <a:pt x="53" y="136"/>
                    </a:cubicBezTo>
                    <a:cubicBezTo>
                      <a:pt x="52" y="137"/>
                      <a:pt x="51" y="138"/>
                      <a:pt x="50" y="138"/>
                    </a:cubicBezTo>
                    <a:cubicBezTo>
                      <a:pt x="48" y="138"/>
                      <a:pt x="48" y="137"/>
                      <a:pt x="48" y="136"/>
                    </a:cubicBezTo>
                    <a:cubicBezTo>
                      <a:pt x="48" y="135"/>
                      <a:pt x="48" y="133"/>
                      <a:pt x="48" y="130"/>
                    </a:cubicBezTo>
                    <a:cubicBezTo>
                      <a:pt x="49" y="127"/>
                      <a:pt x="49" y="126"/>
                      <a:pt x="49" y="125"/>
                    </a:cubicBezTo>
                    <a:cubicBezTo>
                      <a:pt x="53" y="104"/>
                      <a:pt x="55" y="85"/>
                      <a:pt x="55" y="68"/>
                    </a:cubicBezTo>
                    <a:cubicBezTo>
                      <a:pt x="56" y="60"/>
                      <a:pt x="56" y="54"/>
                      <a:pt x="55" y="48"/>
                    </a:cubicBezTo>
                    <a:cubicBezTo>
                      <a:pt x="54" y="45"/>
                      <a:pt x="53" y="42"/>
                      <a:pt x="52" y="40"/>
                    </a:cubicBezTo>
                    <a:cubicBezTo>
                      <a:pt x="50" y="38"/>
                      <a:pt x="51" y="36"/>
                      <a:pt x="54" y="34"/>
                    </a:cubicBezTo>
                    <a:cubicBezTo>
                      <a:pt x="58" y="30"/>
                      <a:pt x="66" y="29"/>
                      <a:pt x="76" y="31"/>
                    </a:cubicBezTo>
                    <a:cubicBezTo>
                      <a:pt x="81" y="32"/>
                      <a:pt x="83" y="30"/>
                      <a:pt x="83" y="25"/>
                    </a:cubicBezTo>
                    <a:cubicBezTo>
                      <a:pt x="83" y="21"/>
                      <a:pt x="81" y="18"/>
                      <a:pt x="77" y="18"/>
                    </a:cubicBezTo>
                    <a:cubicBezTo>
                      <a:pt x="70" y="17"/>
                      <a:pt x="66" y="17"/>
                      <a:pt x="65" y="18"/>
                    </a:cubicBezTo>
                    <a:cubicBezTo>
                      <a:pt x="63" y="19"/>
                      <a:pt x="60" y="19"/>
                      <a:pt x="57" y="19"/>
                    </a:cubicBezTo>
                    <a:cubicBezTo>
                      <a:pt x="57" y="18"/>
                      <a:pt x="55" y="17"/>
                      <a:pt x="53" y="15"/>
                    </a:cubicBezTo>
                    <a:cubicBezTo>
                      <a:pt x="53" y="14"/>
                      <a:pt x="52" y="14"/>
                      <a:pt x="52" y="13"/>
                    </a:cubicBezTo>
                    <a:cubicBezTo>
                      <a:pt x="50" y="10"/>
                      <a:pt x="51" y="6"/>
                      <a:pt x="54" y="2"/>
                    </a:cubicBezTo>
                    <a:close/>
                    <a:moveTo>
                      <a:pt x="95" y="70"/>
                    </a:moveTo>
                    <a:cubicBezTo>
                      <a:pt x="96" y="72"/>
                      <a:pt x="95" y="73"/>
                      <a:pt x="94" y="74"/>
                    </a:cubicBezTo>
                    <a:cubicBezTo>
                      <a:pt x="92" y="74"/>
                      <a:pt x="91" y="74"/>
                      <a:pt x="90" y="72"/>
                    </a:cubicBezTo>
                    <a:cubicBezTo>
                      <a:pt x="88" y="67"/>
                      <a:pt x="84" y="62"/>
                      <a:pt x="78" y="56"/>
                    </a:cubicBezTo>
                    <a:cubicBezTo>
                      <a:pt x="77" y="55"/>
                      <a:pt x="76" y="54"/>
                      <a:pt x="76" y="54"/>
                    </a:cubicBezTo>
                    <a:cubicBezTo>
                      <a:pt x="75" y="56"/>
                      <a:pt x="75" y="56"/>
                      <a:pt x="75" y="56"/>
                    </a:cubicBezTo>
                    <a:cubicBezTo>
                      <a:pt x="75" y="61"/>
                      <a:pt x="75" y="73"/>
                      <a:pt x="77" y="93"/>
                    </a:cubicBezTo>
                    <a:cubicBezTo>
                      <a:pt x="78" y="99"/>
                      <a:pt x="80" y="107"/>
                      <a:pt x="83" y="119"/>
                    </a:cubicBezTo>
                    <a:cubicBezTo>
                      <a:pt x="84" y="122"/>
                      <a:pt x="85" y="124"/>
                      <a:pt x="85" y="124"/>
                    </a:cubicBezTo>
                    <a:cubicBezTo>
                      <a:pt x="86" y="126"/>
                      <a:pt x="86" y="128"/>
                      <a:pt x="87" y="131"/>
                    </a:cubicBezTo>
                    <a:cubicBezTo>
                      <a:pt x="88" y="132"/>
                      <a:pt x="88" y="133"/>
                      <a:pt x="88" y="133"/>
                    </a:cubicBezTo>
                    <a:cubicBezTo>
                      <a:pt x="88" y="135"/>
                      <a:pt x="88" y="136"/>
                      <a:pt x="86" y="136"/>
                    </a:cubicBezTo>
                    <a:cubicBezTo>
                      <a:pt x="84" y="136"/>
                      <a:pt x="83" y="135"/>
                      <a:pt x="82" y="133"/>
                    </a:cubicBezTo>
                    <a:cubicBezTo>
                      <a:pt x="77" y="123"/>
                      <a:pt x="73" y="110"/>
                      <a:pt x="70" y="93"/>
                    </a:cubicBezTo>
                    <a:cubicBezTo>
                      <a:pt x="69" y="79"/>
                      <a:pt x="68" y="68"/>
                      <a:pt x="68" y="58"/>
                    </a:cubicBezTo>
                    <a:cubicBezTo>
                      <a:pt x="68" y="51"/>
                      <a:pt x="68" y="46"/>
                      <a:pt x="68" y="44"/>
                    </a:cubicBezTo>
                    <a:cubicBezTo>
                      <a:pt x="68" y="43"/>
                      <a:pt x="69" y="42"/>
                      <a:pt x="70" y="42"/>
                    </a:cubicBezTo>
                    <a:cubicBezTo>
                      <a:pt x="71" y="41"/>
                      <a:pt x="71" y="41"/>
                      <a:pt x="72" y="42"/>
                    </a:cubicBezTo>
                    <a:cubicBezTo>
                      <a:pt x="76" y="45"/>
                      <a:pt x="78" y="48"/>
                      <a:pt x="80" y="49"/>
                    </a:cubicBezTo>
                    <a:cubicBezTo>
                      <a:pt x="86" y="54"/>
                      <a:pt x="91" y="61"/>
                      <a:pt x="95" y="7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255" name="íṣ1ïḑe"/>
              <p:cNvSpPr/>
              <p:nvPr/>
            </p:nvSpPr>
            <p:spPr bwMode="auto">
              <a:xfrm>
                <a:off x="1750909" y="4905965"/>
                <a:ext cx="93663" cy="87313"/>
              </a:xfrm>
              <a:custGeom>
                <a:avLst/>
                <a:gdLst>
                  <a:gd name="T0" fmla="*/ 51 w 51"/>
                  <a:gd name="T1" fmla="*/ 17 h 47"/>
                  <a:gd name="T2" fmla="*/ 46 w 51"/>
                  <a:gd name="T3" fmla="*/ 25 h 47"/>
                  <a:gd name="T4" fmla="*/ 26 w 51"/>
                  <a:gd name="T5" fmla="*/ 13 h 47"/>
                  <a:gd name="T6" fmla="*/ 20 w 51"/>
                  <a:gd name="T7" fmla="*/ 9 h 47"/>
                  <a:gd name="T8" fmla="*/ 14 w 51"/>
                  <a:gd name="T9" fmla="*/ 9 h 47"/>
                  <a:gd name="T10" fmla="*/ 10 w 51"/>
                  <a:gd name="T11" fmla="*/ 13 h 47"/>
                  <a:gd name="T12" fmla="*/ 8 w 51"/>
                  <a:gd name="T13" fmla="*/ 19 h 47"/>
                  <a:gd name="T14" fmla="*/ 10 w 51"/>
                  <a:gd name="T15" fmla="*/ 23 h 47"/>
                  <a:gd name="T16" fmla="*/ 17 w 51"/>
                  <a:gd name="T17" fmla="*/ 27 h 47"/>
                  <a:gd name="T18" fmla="*/ 37 w 51"/>
                  <a:gd name="T19" fmla="*/ 40 h 47"/>
                  <a:gd name="T20" fmla="*/ 33 w 51"/>
                  <a:gd name="T21" fmla="*/ 47 h 47"/>
                  <a:gd name="T22" fmla="*/ 13 w 51"/>
                  <a:gd name="T23" fmla="*/ 35 h 47"/>
                  <a:gd name="T24" fmla="*/ 4 w 51"/>
                  <a:gd name="T25" fmla="*/ 29 h 47"/>
                  <a:gd name="T26" fmla="*/ 1 w 51"/>
                  <a:gd name="T27" fmla="*/ 24 h 47"/>
                  <a:gd name="T28" fmla="*/ 0 w 51"/>
                  <a:gd name="T29" fmla="*/ 18 h 47"/>
                  <a:gd name="T30" fmla="*/ 3 w 51"/>
                  <a:gd name="T31" fmla="*/ 10 h 47"/>
                  <a:gd name="T32" fmla="*/ 10 w 51"/>
                  <a:gd name="T33" fmla="*/ 2 h 47"/>
                  <a:gd name="T34" fmla="*/ 15 w 51"/>
                  <a:gd name="T35" fmla="*/ 0 h 47"/>
                  <a:gd name="T36" fmla="*/ 21 w 51"/>
                  <a:gd name="T37" fmla="*/ 0 h 47"/>
                  <a:gd name="T38" fmla="*/ 31 w 51"/>
                  <a:gd name="T39" fmla="*/ 5 h 47"/>
                  <a:gd name="T40" fmla="*/ 51 w 51"/>
                  <a:gd name="T41" fmla="*/ 17 h 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51" h="47">
                    <a:moveTo>
                      <a:pt x="51" y="17"/>
                    </a:moveTo>
                    <a:cubicBezTo>
                      <a:pt x="46" y="25"/>
                      <a:pt x="46" y="25"/>
                      <a:pt x="46" y="25"/>
                    </a:cubicBezTo>
                    <a:cubicBezTo>
                      <a:pt x="26" y="13"/>
                      <a:pt x="26" y="13"/>
                      <a:pt x="26" y="13"/>
                    </a:cubicBezTo>
                    <a:cubicBezTo>
                      <a:pt x="23" y="11"/>
                      <a:pt x="21" y="10"/>
                      <a:pt x="20" y="9"/>
                    </a:cubicBezTo>
                    <a:cubicBezTo>
                      <a:pt x="18" y="9"/>
                      <a:pt x="16" y="9"/>
                      <a:pt x="14" y="9"/>
                    </a:cubicBezTo>
                    <a:cubicBezTo>
                      <a:pt x="13" y="10"/>
                      <a:pt x="11" y="11"/>
                      <a:pt x="10" y="13"/>
                    </a:cubicBezTo>
                    <a:cubicBezTo>
                      <a:pt x="9" y="16"/>
                      <a:pt x="8" y="17"/>
                      <a:pt x="8" y="19"/>
                    </a:cubicBezTo>
                    <a:cubicBezTo>
                      <a:pt x="9" y="21"/>
                      <a:pt x="9" y="22"/>
                      <a:pt x="10" y="23"/>
                    </a:cubicBezTo>
                    <a:cubicBezTo>
                      <a:pt x="12" y="24"/>
                      <a:pt x="14" y="25"/>
                      <a:pt x="17" y="27"/>
                    </a:cubicBezTo>
                    <a:cubicBezTo>
                      <a:pt x="37" y="40"/>
                      <a:pt x="37" y="40"/>
                      <a:pt x="37" y="40"/>
                    </a:cubicBezTo>
                    <a:cubicBezTo>
                      <a:pt x="33" y="47"/>
                      <a:pt x="33" y="47"/>
                      <a:pt x="33" y="47"/>
                    </a:cubicBezTo>
                    <a:cubicBezTo>
                      <a:pt x="13" y="35"/>
                      <a:pt x="13" y="35"/>
                      <a:pt x="13" y="35"/>
                    </a:cubicBezTo>
                    <a:cubicBezTo>
                      <a:pt x="9" y="33"/>
                      <a:pt x="6" y="31"/>
                      <a:pt x="4" y="29"/>
                    </a:cubicBezTo>
                    <a:cubicBezTo>
                      <a:pt x="2" y="28"/>
                      <a:pt x="1" y="26"/>
                      <a:pt x="1" y="24"/>
                    </a:cubicBezTo>
                    <a:cubicBezTo>
                      <a:pt x="0" y="22"/>
                      <a:pt x="0" y="20"/>
                      <a:pt x="0" y="18"/>
                    </a:cubicBezTo>
                    <a:cubicBezTo>
                      <a:pt x="0" y="15"/>
                      <a:pt x="2" y="13"/>
                      <a:pt x="3" y="10"/>
                    </a:cubicBezTo>
                    <a:cubicBezTo>
                      <a:pt x="6" y="6"/>
                      <a:pt x="8" y="4"/>
                      <a:pt x="10" y="2"/>
                    </a:cubicBezTo>
                    <a:cubicBezTo>
                      <a:pt x="11" y="1"/>
                      <a:pt x="13" y="0"/>
                      <a:pt x="15" y="0"/>
                    </a:cubicBezTo>
                    <a:cubicBezTo>
                      <a:pt x="17" y="0"/>
                      <a:pt x="19" y="0"/>
                      <a:pt x="21" y="0"/>
                    </a:cubicBezTo>
                    <a:cubicBezTo>
                      <a:pt x="23" y="1"/>
                      <a:pt x="27" y="3"/>
                      <a:pt x="31" y="5"/>
                    </a:cubicBezTo>
                    <a:lnTo>
                      <a:pt x="51" y="1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256" name="íṧḷîde"/>
              <p:cNvSpPr/>
              <p:nvPr/>
            </p:nvSpPr>
            <p:spPr bwMode="auto">
              <a:xfrm>
                <a:off x="1704872" y="4971053"/>
                <a:ext cx="100013" cy="92075"/>
              </a:xfrm>
              <a:custGeom>
                <a:avLst/>
                <a:gdLst>
                  <a:gd name="T0" fmla="*/ 17 w 63"/>
                  <a:gd name="T1" fmla="*/ 0 h 58"/>
                  <a:gd name="T2" fmla="*/ 63 w 63"/>
                  <a:gd name="T3" fmla="*/ 21 h 58"/>
                  <a:gd name="T4" fmla="*/ 59 w 63"/>
                  <a:gd name="T5" fmla="*/ 30 h 58"/>
                  <a:gd name="T6" fmla="*/ 19 w 63"/>
                  <a:gd name="T7" fmla="*/ 35 h 58"/>
                  <a:gd name="T8" fmla="*/ 50 w 63"/>
                  <a:gd name="T9" fmla="*/ 50 h 58"/>
                  <a:gd name="T10" fmla="*/ 46 w 63"/>
                  <a:gd name="T11" fmla="*/ 58 h 58"/>
                  <a:gd name="T12" fmla="*/ 0 w 63"/>
                  <a:gd name="T13" fmla="*/ 37 h 58"/>
                  <a:gd name="T14" fmla="*/ 4 w 63"/>
                  <a:gd name="T15" fmla="*/ 26 h 58"/>
                  <a:gd name="T16" fmla="*/ 43 w 63"/>
                  <a:gd name="T17" fmla="*/ 22 h 58"/>
                  <a:gd name="T18" fmla="*/ 12 w 63"/>
                  <a:gd name="T19" fmla="*/ 8 h 58"/>
                  <a:gd name="T20" fmla="*/ 17 w 63"/>
                  <a:gd name="T21" fmla="*/ 0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63" h="58">
                    <a:moveTo>
                      <a:pt x="17" y="0"/>
                    </a:moveTo>
                    <a:lnTo>
                      <a:pt x="63" y="21"/>
                    </a:lnTo>
                    <a:lnTo>
                      <a:pt x="59" y="30"/>
                    </a:lnTo>
                    <a:lnTo>
                      <a:pt x="19" y="35"/>
                    </a:lnTo>
                    <a:lnTo>
                      <a:pt x="50" y="50"/>
                    </a:lnTo>
                    <a:lnTo>
                      <a:pt x="46" y="58"/>
                    </a:lnTo>
                    <a:lnTo>
                      <a:pt x="0" y="37"/>
                    </a:lnTo>
                    <a:lnTo>
                      <a:pt x="4" y="26"/>
                    </a:lnTo>
                    <a:lnTo>
                      <a:pt x="43" y="22"/>
                    </a:lnTo>
                    <a:lnTo>
                      <a:pt x="12" y="8"/>
                    </a:lnTo>
                    <a:lnTo>
                      <a:pt x="17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257" name="íS1îḍé"/>
              <p:cNvSpPr/>
              <p:nvPr/>
            </p:nvSpPr>
            <p:spPr bwMode="auto">
              <a:xfrm>
                <a:off x="1690584" y="5045665"/>
                <a:ext cx="84138" cy="44450"/>
              </a:xfrm>
              <a:custGeom>
                <a:avLst/>
                <a:gdLst>
                  <a:gd name="T0" fmla="*/ 5 w 53"/>
                  <a:gd name="T1" fmla="*/ 0 h 28"/>
                  <a:gd name="T2" fmla="*/ 53 w 53"/>
                  <a:gd name="T3" fmla="*/ 19 h 28"/>
                  <a:gd name="T4" fmla="*/ 49 w 53"/>
                  <a:gd name="T5" fmla="*/ 28 h 28"/>
                  <a:gd name="T6" fmla="*/ 0 w 53"/>
                  <a:gd name="T7" fmla="*/ 10 h 28"/>
                  <a:gd name="T8" fmla="*/ 5 w 53"/>
                  <a:gd name="T9" fmla="*/ 0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3" h="28">
                    <a:moveTo>
                      <a:pt x="5" y="0"/>
                    </a:moveTo>
                    <a:lnTo>
                      <a:pt x="53" y="19"/>
                    </a:lnTo>
                    <a:lnTo>
                      <a:pt x="49" y="28"/>
                    </a:lnTo>
                    <a:lnTo>
                      <a:pt x="0" y="10"/>
                    </a:lnTo>
                    <a:lnTo>
                      <a:pt x="5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258" name="íṧļïḋè"/>
              <p:cNvSpPr/>
              <p:nvPr/>
            </p:nvSpPr>
            <p:spPr bwMode="auto">
              <a:xfrm>
                <a:off x="1674709" y="5091703"/>
                <a:ext cx="92075" cy="73025"/>
              </a:xfrm>
              <a:custGeom>
                <a:avLst/>
                <a:gdLst>
                  <a:gd name="T0" fmla="*/ 4 w 58"/>
                  <a:gd name="T1" fmla="*/ 3 h 46"/>
                  <a:gd name="T2" fmla="*/ 58 w 58"/>
                  <a:gd name="T3" fmla="*/ 0 h 46"/>
                  <a:gd name="T4" fmla="*/ 55 w 58"/>
                  <a:gd name="T5" fmla="*/ 11 h 46"/>
                  <a:gd name="T6" fmla="*/ 14 w 58"/>
                  <a:gd name="T7" fmla="*/ 13 h 46"/>
                  <a:gd name="T8" fmla="*/ 46 w 58"/>
                  <a:gd name="T9" fmla="*/ 35 h 46"/>
                  <a:gd name="T10" fmla="*/ 44 w 58"/>
                  <a:gd name="T11" fmla="*/ 46 h 46"/>
                  <a:gd name="T12" fmla="*/ 0 w 58"/>
                  <a:gd name="T13" fmla="*/ 14 h 46"/>
                  <a:gd name="T14" fmla="*/ 4 w 58"/>
                  <a:gd name="T15" fmla="*/ 3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58" h="46">
                    <a:moveTo>
                      <a:pt x="4" y="3"/>
                    </a:moveTo>
                    <a:lnTo>
                      <a:pt x="58" y="0"/>
                    </a:lnTo>
                    <a:lnTo>
                      <a:pt x="55" y="11"/>
                    </a:lnTo>
                    <a:lnTo>
                      <a:pt x="14" y="13"/>
                    </a:lnTo>
                    <a:lnTo>
                      <a:pt x="46" y="35"/>
                    </a:lnTo>
                    <a:lnTo>
                      <a:pt x="44" y="46"/>
                    </a:lnTo>
                    <a:lnTo>
                      <a:pt x="0" y="14"/>
                    </a:lnTo>
                    <a:lnTo>
                      <a:pt x="4" y="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259" name="ïṡḷiḋé"/>
              <p:cNvSpPr/>
              <p:nvPr/>
            </p:nvSpPr>
            <p:spPr bwMode="auto">
              <a:xfrm>
                <a:off x="1652484" y="5153615"/>
                <a:ext cx="90488" cy="73025"/>
              </a:xfrm>
              <a:custGeom>
                <a:avLst/>
                <a:gdLst>
                  <a:gd name="T0" fmla="*/ 7 w 57"/>
                  <a:gd name="T1" fmla="*/ 0 h 46"/>
                  <a:gd name="T2" fmla="*/ 57 w 57"/>
                  <a:gd name="T3" fmla="*/ 10 h 46"/>
                  <a:gd name="T4" fmla="*/ 50 w 57"/>
                  <a:gd name="T5" fmla="*/ 46 h 46"/>
                  <a:gd name="T6" fmla="*/ 42 w 57"/>
                  <a:gd name="T7" fmla="*/ 45 h 46"/>
                  <a:gd name="T8" fmla="*/ 47 w 57"/>
                  <a:gd name="T9" fmla="*/ 18 h 46"/>
                  <a:gd name="T10" fmla="*/ 36 w 57"/>
                  <a:gd name="T11" fmla="*/ 16 h 46"/>
                  <a:gd name="T12" fmla="*/ 30 w 57"/>
                  <a:gd name="T13" fmla="*/ 40 h 46"/>
                  <a:gd name="T14" fmla="*/ 22 w 57"/>
                  <a:gd name="T15" fmla="*/ 39 h 46"/>
                  <a:gd name="T16" fmla="*/ 27 w 57"/>
                  <a:gd name="T17" fmla="*/ 14 h 46"/>
                  <a:gd name="T18" fmla="*/ 14 w 57"/>
                  <a:gd name="T19" fmla="*/ 11 h 46"/>
                  <a:gd name="T20" fmla="*/ 8 w 57"/>
                  <a:gd name="T21" fmla="*/ 39 h 46"/>
                  <a:gd name="T22" fmla="*/ 0 w 57"/>
                  <a:gd name="T23" fmla="*/ 38 h 46"/>
                  <a:gd name="T24" fmla="*/ 7 w 57"/>
                  <a:gd name="T25" fmla="*/ 0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57" h="46">
                    <a:moveTo>
                      <a:pt x="7" y="0"/>
                    </a:moveTo>
                    <a:lnTo>
                      <a:pt x="57" y="10"/>
                    </a:lnTo>
                    <a:lnTo>
                      <a:pt x="50" y="46"/>
                    </a:lnTo>
                    <a:lnTo>
                      <a:pt x="42" y="45"/>
                    </a:lnTo>
                    <a:lnTo>
                      <a:pt x="47" y="18"/>
                    </a:lnTo>
                    <a:lnTo>
                      <a:pt x="36" y="16"/>
                    </a:lnTo>
                    <a:lnTo>
                      <a:pt x="30" y="40"/>
                    </a:lnTo>
                    <a:lnTo>
                      <a:pt x="22" y="39"/>
                    </a:lnTo>
                    <a:lnTo>
                      <a:pt x="27" y="14"/>
                    </a:lnTo>
                    <a:lnTo>
                      <a:pt x="14" y="11"/>
                    </a:lnTo>
                    <a:lnTo>
                      <a:pt x="8" y="39"/>
                    </a:lnTo>
                    <a:lnTo>
                      <a:pt x="0" y="38"/>
                    </a:lnTo>
                    <a:lnTo>
                      <a:pt x="7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260" name="ïşļiḋe"/>
              <p:cNvSpPr/>
              <p:nvPr/>
            </p:nvSpPr>
            <p:spPr bwMode="auto">
              <a:xfrm>
                <a:off x="1641372" y="5231403"/>
                <a:ext cx="88900" cy="71438"/>
              </a:xfrm>
              <a:custGeom>
                <a:avLst/>
                <a:gdLst>
                  <a:gd name="T0" fmla="*/ 4 w 48"/>
                  <a:gd name="T1" fmla="*/ 0 h 39"/>
                  <a:gd name="T2" fmla="*/ 48 w 48"/>
                  <a:gd name="T3" fmla="*/ 4 h 39"/>
                  <a:gd name="T4" fmla="*/ 46 w 48"/>
                  <a:gd name="T5" fmla="*/ 23 h 39"/>
                  <a:gd name="T6" fmla="*/ 44 w 48"/>
                  <a:gd name="T7" fmla="*/ 33 h 39"/>
                  <a:gd name="T8" fmla="*/ 39 w 48"/>
                  <a:gd name="T9" fmla="*/ 38 h 39"/>
                  <a:gd name="T10" fmla="*/ 32 w 48"/>
                  <a:gd name="T11" fmla="*/ 39 h 39"/>
                  <a:gd name="T12" fmla="*/ 24 w 48"/>
                  <a:gd name="T13" fmla="*/ 35 h 39"/>
                  <a:gd name="T14" fmla="*/ 21 w 48"/>
                  <a:gd name="T15" fmla="*/ 26 h 39"/>
                  <a:gd name="T16" fmla="*/ 17 w 48"/>
                  <a:gd name="T17" fmla="*/ 30 h 39"/>
                  <a:gd name="T18" fmla="*/ 9 w 48"/>
                  <a:gd name="T19" fmla="*/ 35 h 39"/>
                  <a:gd name="T20" fmla="*/ 0 w 48"/>
                  <a:gd name="T21" fmla="*/ 39 h 39"/>
                  <a:gd name="T22" fmla="*/ 1 w 48"/>
                  <a:gd name="T23" fmla="*/ 29 h 39"/>
                  <a:gd name="T24" fmla="*/ 12 w 48"/>
                  <a:gd name="T25" fmla="*/ 23 h 39"/>
                  <a:gd name="T26" fmla="*/ 18 w 48"/>
                  <a:gd name="T27" fmla="*/ 19 h 39"/>
                  <a:gd name="T28" fmla="*/ 20 w 48"/>
                  <a:gd name="T29" fmla="*/ 17 h 39"/>
                  <a:gd name="T30" fmla="*/ 21 w 48"/>
                  <a:gd name="T31" fmla="*/ 12 h 39"/>
                  <a:gd name="T32" fmla="*/ 22 w 48"/>
                  <a:gd name="T33" fmla="*/ 11 h 39"/>
                  <a:gd name="T34" fmla="*/ 3 w 48"/>
                  <a:gd name="T35" fmla="*/ 9 h 39"/>
                  <a:gd name="T36" fmla="*/ 4 w 48"/>
                  <a:gd name="T37" fmla="*/ 0 h 39"/>
                  <a:gd name="T38" fmla="*/ 29 w 48"/>
                  <a:gd name="T39" fmla="*/ 11 h 39"/>
                  <a:gd name="T40" fmla="*/ 28 w 48"/>
                  <a:gd name="T41" fmla="*/ 18 h 39"/>
                  <a:gd name="T42" fmla="*/ 28 w 48"/>
                  <a:gd name="T43" fmla="*/ 26 h 39"/>
                  <a:gd name="T44" fmla="*/ 29 w 48"/>
                  <a:gd name="T45" fmla="*/ 28 h 39"/>
                  <a:gd name="T46" fmla="*/ 32 w 48"/>
                  <a:gd name="T47" fmla="*/ 30 h 39"/>
                  <a:gd name="T48" fmla="*/ 36 w 48"/>
                  <a:gd name="T49" fmla="*/ 29 h 39"/>
                  <a:gd name="T50" fmla="*/ 38 w 48"/>
                  <a:gd name="T51" fmla="*/ 26 h 39"/>
                  <a:gd name="T52" fmla="*/ 39 w 48"/>
                  <a:gd name="T53" fmla="*/ 19 h 39"/>
                  <a:gd name="T54" fmla="*/ 40 w 48"/>
                  <a:gd name="T55" fmla="*/ 12 h 39"/>
                  <a:gd name="T56" fmla="*/ 29 w 48"/>
                  <a:gd name="T57" fmla="*/ 11 h 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48" h="39">
                    <a:moveTo>
                      <a:pt x="4" y="0"/>
                    </a:moveTo>
                    <a:cubicBezTo>
                      <a:pt x="48" y="4"/>
                      <a:pt x="48" y="4"/>
                      <a:pt x="48" y="4"/>
                    </a:cubicBezTo>
                    <a:cubicBezTo>
                      <a:pt x="46" y="23"/>
                      <a:pt x="46" y="23"/>
                      <a:pt x="46" y="23"/>
                    </a:cubicBezTo>
                    <a:cubicBezTo>
                      <a:pt x="46" y="27"/>
                      <a:pt x="45" y="31"/>
                      <a:pt x="44" y="33"/>
                    </a:cubicBezTo>
                    <a:cubicBezTo>
                      <a:pt x="43" y="35"/>
                      <a:pt x="41" y="36"/>
                      <a:pt x="39" y="38"/>
                    </a:cubicBezTo>
                    <a:cubicBezTo>
                      <a:pt x="37" y="39"/>
                      <a:pt x="35" y="39"/>
                      <a:pt x="32" y="39"/>
                    </a:cubicBezTo>
                    <a:cubicBezTo>
                      <a:pt x="29" y="38"/>
                      <a:pt x="26" y="37"/>
                      <a:pt x="24" y="35"/>
                    </a:cubicBezTo>
                    <a:cubicBezTo>
                      <a:pt x="22" y="33"/>
                      <a:pt x="21" y="30"/>
                      <a:pt x="21" y="26"/>
                    </a:cubicBezTo>
                    <a:cubicBezTo>
                      <a:pt x="20" y="28"/>
                      <a:pt x="18" y="29"/>
                      <a:pt x="17" y="30"/>
                    </a:cubicBezTo>
                    <a:cubicBezTo>
                      <a:pt x="16" y="32"/>
                      <a:pt x="13" y="33"/>
                      <a:pt x="9" y="35"/>
                    </a:cubicBezTo>
                    <a:cubicBezTo>
                      <a:pt x="0" y="39"/>
                      <a:pt x="0" y="39"/>
                      <a:pt x="0" y="39"/>
                    </a:cubicBezTo>
                    <a:cubicBezTo>
                      <a:pt x="1" y="29"/>
                      <a:pt x="1" y="29"/>
                      <a:pt x="1" y="29"/>
                    </a:cubicBezTo>
                    <a:cubicBezTo>
                      <a:pt x="12" y="23"/>
                      <a:pt x="12" y="23"/>
                      <a:pt x="12" y="23"/>
                    </a:cubicBezTo>
                    <a:cubicBezTo>
                      <a:pt x="15" y="21"/>
                      <a:pt x="17" y="20"/>
                      <a:pt x="18" y="19"/>
                    </a:cubicBezTo>
                    <a:cubicBezTo>
                      <a:pt x="19" y="18"/>
                      <a:pt x="20" y="18"/>
                      <a:pt x="20" y="17"/>
                    </a:cubicBezTo>
                    <a:cubicBezTo>
                      <a:pt x="21" y="16"/>
                      <a:pt x="21" y="14"/>
                      <a:pt x="21" y="12"/>
                    </a:cubicBezTo>
                    <a:cubicBezTo>
                      <a:pt x="22" y="11"/>
                      <a:pt x="22" y="11"/>
                      <a:pt x="22" y="11"/>
                    </a:cubicBezTo>
                    <a:cubicBezTo>
                      <a:pt x="3" y="9"/>
                      <a:pt x="3" y="9"/>
                      <a:pt x="3" y="9"/>
                    </a:cubicBezTo>
                    <a:lnTo>
                      <a:pt x="4" y="0"/>
                    </a:lnTo>
                    <a:close/>
                    <a:moveTo>
                      <a:pt x="29" y="11"/>
                    </a:moveTo>
                    <a:cubicBezTo>
                      <a:pt x="28" y="18"/>
                      <a:pt x="28" y="18"/>
                      <a:pt x="28" y="18"/>
                    </a:cubicBezTo>
                    <a:cubicBezTo>
                      <a:pt x="28" y="22"/>
                      <a:pt x="27" y="25"/>
                      <a:pt x="28" y="26"/>
                    </a:cubicBezTo>
                    <a:cubicBezTo>
                      <a:pt x="28" y="27"/>
                      <a:pt x="28" y="28"/>
                      <a:pt x="29" y="28"/>
                    </a:cubicBezTo>
                    <a:cubicBezTo>
                      <a:pt x="30" y="29"/>
                      <a:pt x="31" y="30"/>
                      <a:pt x="32" y="30"/>
                    </a:cubicBezTo>
                    <a:cubicBezTo>
                      <a:pt x="34" y="30"/>
                      <a:pt x="35" y="30"/>
                      <a:pt x="36" y="29"/>
                    </a:cubicBezTo>
                    <a:cubicBezTo>
                      <a:pt x="37" y="28"/>
                      <a:pt x="38" y="27"/>
                      <a:pt x="38" y="26"/>
                    </a:cubicBezTo>
                    <a:cubicBezTo>
                      <a:pt x="38" y="25"/>
                      <a:pt x="39" y="23"/>
                      <a:pt x="39" y="19"/>
                    </a:cubicBezTo>
                    <a:cubicBezTo>
                      <a:pt x="40" y="12"/>
                      <a:pt x="40" y="12"/>
                      <a:pt x="40" y="12"/>
                    </a:cubicBezTo>
                    <a:lnTo>
                      <a:pt x="29" y="1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261" name="îś1iḓê"/>
              <p:cNvSpPr/>
              <p:nvPr/>
            </p:nvSpPr>
            <p:spPr bwMode="auto">
              <a:xfrm>
                <a:off x="1641372" y="5312365"/>
                <a:ext cx="82550" cy="66675"/>
              </a:xfrm>
              <a:custGeom>
                <a:avLst/>
                <a:gdLst>
                  <a:gd name="T0" fmla="*/ 15 w 45"/>
                  <a:gd name="T1" fmla="*/ 0 h 36"/>
                  <a:gd name="T2" fmla="*/ 16 w 45"/>
                  <a:gd name="T3" fmla="*/ 8 h 36"/>
                  <a:gd name="T4" fmla="*/ 9 w 45"/>
                  <a:gd name="T5" fmla="*/ 12 h 36"/>
                  <a:gd name="T6" fmla="*/ 7 w 45"/>
                  <a:gd name="T7" fmla="*/ 18 h 36"/>
                  <a:gd name="T8" fmla="*/ 9 w 45"/>
                  <a:gd name="T9" fmla="*/ 25 h 36"/>
                  <a:gd name="T10" fmla="*/ 13 w 45"/>
                  <a:gd name="T11" fmla="*/ 27 h 36"/>
                  <a:gd name="T12" fmla="*/ 16 w 45"/>
                  <a:gd name="T13" fmla="*/ 26 h 36"/>
                  <a:gd name="T14" fmla="*/ 18 w 45"/>
                  <a:gd name="T15" fmla="*/ 23 h 36"/>
                  <a:gd name="T16" fmla="*/ 20 w 45"/>
                  <a:gd name="T17" fmla="*/ 15 h 36"/>
                  <a:gd name="T18" fmla="*/ 24 w 45"/>
                  <a:gd name="T19" fmla="*/ 5 h 36"/>
                  <a:gd name="T20" fmla="*/ 33 w 45"/>
                  <a:gd name="T21" fmla="*/ 1 h 36"/>
                  <a:gd name="T22" fmla="*/ 39 w 45"/>
                  <a:gd name="T23" fmla="*/ 3 h 36"/>
                  <a:gd name="T24" fmla="*/ 44 w 45"/>
                  <a:gd name="T25" fmla="*/ 9 h 36"/>
                  <a:gd name="T26" fmla="*/ 45 w 45"/>
                  <a:gd name="T27" fmla="*/ 17 h 36"/>
                  <a:gd name="T28" fmla="*/ 42 w 45"/>
                  <a:gd name="T29" fmla="*/ 30 h 36"/>
                  <a:gd name="T30" fmla="*/ 32 w 45"/>
                  <a:gd name="T31" fmla="*/ 34 h 36"/>
                  <a:gd name="T32" fmla="*/ 31 w 45"/>
                  <a:gd name="T33" fmla="*/ 25 h 36"/>
                  <a:gd name="T34" fmla="*/ 36 w 45"/>
                  <a:gd name="T35" fmla="*/ 23 h 36"/>
                  <a:gd name="T36" fmla="*/ 38 w 45"/>
                  <a:gd name="T37" fmla="*/ 17 h 36"/>
                  <a:gd name="T38" fmla="*/ 36 w 45"/>
                  <a:gd name="T39" fmla="*/ 11 h 36"/>
                  <a:gd name="T40" fmla="*/ 33 w 45"/>
                  <a:gd name="T41" fmla="*/ 10 h 36"/>
                  <a:gd name="T42" fmla="*/ 31 w 45"/>
                  <a:gd name="T43" fmla="*/ 11 h 36"/>
                  <a:gd name="T44" fmla="*/ 28 w 45"/>
                  <a:gd name="T45" fmla="*/ 19 h 36"/>
                  <a:gd name="T46" fmla="*/ 25 w 45"/>
                  <a:gd name="T47" fmla="*/ 29 h 36"/>
                  <a:gd name="T48" fmla="*/ 20 w 45"/>
                  <a:gd name="T49" fmla="*/ 34 h 36"/>
                  <a:gd name="T50" fmla="*/ 13 w 45"/>
                  <a:gd name="T51" fmla="*/ 36 h 36"/>
                  <a:gd name="T52" fmla="*/ 6 w 45"/>
                  <a:gd name="T53" fmla="*/ 33 h 36"/>
                  <a:gd name="T54" fmla="*/ 1 w 45"/>
                  <a:gd name="T55" fmla="*/ 28 h 36"/>
                  <a:gd name="T56" fmla="*/ 0 w 45"/>
                  <a:gd name="T57" fmla="*/ 18 h 36"/>
                  <a:gd name="T58" fmla="*/ 3 w 45"/>
                  <a:gd name="T59" fmla="*/ 5 h 36"/>
                  <a:gd name="T60" fmla="*/ 15 w 45"/>
                  <a:gd name="T61" fmla="*/ 0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45" h="36">
                    <a:moveTo>
                      <a:pt x="15" y="0"/>
                    </a:moveTo>
                    <a:cubicBezTo>
                      <a:pt x="16" y="8"/>
                      <a:pt x="16" y="8"/>
                      <a:pt x="16" y="8"/>
                    </a:cubicBezTo>
                    <a:cubicBezTo>
                      <a:pt x="13" y="9"/>
                      <a:pt x="10" y="10"/>
                      <a:pt x="9" y="12"/>
                    </a:cubicBezTo>
                    <a:cubicBezTo>
                      <a:pt x="8" y="13"/>
                      <a:pt x="7" y="15"/>
                      <a:pt x="7" y="18"/>
                    </a:cubicBezTo>
                    <a:cubicBezTo>
                      <a:pt x="7" y="21"/>
                      <a:pt x="8" y="23"/>
                      <a:pt x="9" y="25"/>
                    </a:cubicBezTo>
                    <a:cubicBezTo>
                      <a:pt x="10" y="26"/>
                      <a:pt x="12" y="27"/>
                      <a:pt x="13" y="27"/>
                    </a:cubicBezTo>
                    <a:cubicBezTo>
                      <a:pt x="14" y="27"/>
                      <a:pt x="15" y="26"/>
                      <a:pt x="16" y="26"/>
                    </a:cubicBezTo>
                    <a:cubicBezTo>
                      <a:pt x="17" y="25"/>
                      <a:pt x="17" y="24"/>
                      <a:pt x="18" y="23"/>
                    </a:cubicBezTo>
                    <a:cubicBezTo>
                      <a:pt x="18" y="22"/>
                      <a:pt x="19" y="19"/>
                      <a:pt x="20" y="15"/>
                    </a:cubicBezTo>
                    <a:cubicBezTo>
                      <a:pt x="21" y="11"/>
                      <a:pt x="22" y="7"/>
                      <a:pt x="24" y="5"/>
                    </a:cubicBezTo>
                    <a:cubicBezTo>
                      <a:pt x="26" y="3"/>
                      <a:pt x="29" y="1"/>
                      <a:pt x="33" y="1"/>
                    </a:cubicBezTo>
                    <a:cubicBezTo>
                      <a:pt x="35" y="1"/>
                      <a:pt x="37" y="2"/>
                      <a:pt x="39" y="3"/>
                    </a:cubicBezTo>
                    <a:cubicBezTo>
                      <a:pt x="41" y="4"/>
                      <a:pt x="43" y="6"/>
                      <a:pt x="44" y="9"/>
                    </a:cubicBezTo>
                    <a:cubicBezTo>
                      <a:pt x="45" y="11"/>
                      <a:pt x="45" y="14"/>
                      <a:pt x="45" y="17"/>
                    </a:cubicBezTo>
                    <a:cubicBezTo>
                      <a:pt x="45" y="23"/>
                      <a:pt x="44" y="27"/>
                      <a:pt x="42" y="30"/>
                    </a:cubicBezTo>
                    <a:cubicBezTo>
                      <a:pt x="39" y="33"/>
                      <a:pt x="36" y="34"/>
                      <a:pt x="32" y="34"/>
                    </a:cubicBezTo>
                    <a:cubicBezTo>
                      <a:pt x="31" y="25"/>
                      <a:pt x="31" y="25"/>
                      <a:pt x="31" y="25"/>
                    </a:cubicBezTo>
                    <a:cubicBezTo>
                      <a:pt x="34" y="25"/>
                      <a:pt x="35" y="24"/>
                      <a:pt x="36" y="23"/>
                    </a:cubicBezTo>
                    <a:cubicBezTo>
                      <a:pt x="37" y="22"/>
                      <a:pt x="38" y="20"/>
                      <a:pt x="38" y="17"/>
                    </a:cubicBezTo>
                    <a:cubicBezTo>
                      <a:pt x="38" y="15"/>
                      <a:pt x="37" y="13"/>
                      <a:pt x="36" y="11"/>
                    </a:cubicBezTo>
                    <a:cubicBezTo>
                      <a:pt x="35" y="10"/>
                      <a:pt x="35" y="10"/>
                      <a:pt x="33" y="10"/>
                    </a:cubicBezTo>
                    <a:cubicBezTo>
                      <a:pt x="32" y="10"/>
                      <a:pt x="31" y="10"/>
                      <a:pt x="31" y="11"/>
                    </a:cubicBezTo>
                    <a:cubicBezTo>
                      <a:pt x="30" y="12"/>
                      <a:pt x="29" y="15"/>
                      <a:pt x="28" y="19"/>
                    </a:cubicBezTo>
                    <a:cubicBezTo>
                      <a:pt x="27" y="24"/>
                      <a:pt x="26" y="27"/>
                      <a:pt x="25" y="29"/>
                    </a:cubicBezTo>
                    <a:cubicBezTo>
                      <a:pt x="24" y="31"/>
                      <a:pt x="22" y="33"/>
                      <a:pt x="20" y="34"/>
                    </a:cubicBezTo>
                    <a:cubicBezTo>
                      <a:pt x="18" y="35"/>
                      <a:pt x="16" y="36"/>
                      <a:pt x="13" y="36"/>
                    </a:cubicBezTo>
                    <a:cubicBezTo>
                      <a:pt x="11" y="36"/>
                      <a:pt x="8" y="35"/>
                      <a:pt x="6" y="33"/>
                    </a:cubicBezTo>
                    <a:cubicBezTo>
                      <a:pt x="4" y="32"/>
                      <a:pt x="2" y="30"/>
                      <a:pt x="1" y="28"/>
                    </a:cubicBezTo>
                    <a:cubicBezTo>
                      <a:pt x="0" y="25"/>
                      <a:pt x="0" y="22"/>
                      <a:pt x="0" y="18"/>
                    </a:cubicBezTo>
                    <a:cubicBezTo>
                      <a:pt x="0" y="12"/>
                      <a:pt x="1" y="8"/>
                      <a:pt x="3" y="5"/>
                    </a:cubicBezTo>
                    <a:cubicBezTo>
                      <a:pt x="6" y="2"/>
                      <a:pt x="10" y="0"/>
                      <a:pt x="15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262" name="íş1ïḓe"/>
              <p:cNvSpPr/>
              <p:nvPr/>
            </p:nvSpPr>
            <p:spPr bwMode="auto">
              <a:xfrm>
                <a:off x="1642959" y="5385390"/>
                <a:ext cx="84138" cy="22225"/>
              </a:xfrm>
              <a:custGeom>
                <a:avLst/>
                <a:gdLst>
                  <a:gd name="T0" fmla="*/ 0 w 53"/>
                  <a:gd name="T1" fmla="*/ 5 h 14"/>
                  <a:gd name="T2" fmla="*/ 51 w 53"/>
                  <a:gd name="T3" fmla="*/ 0 h 14"/>
                  <a:gd name="T4" fmla="*/ 53 w 53"/>
                  <a:gd name="T5" fmla="*/ 11 h 14"/>
                  <a:gd name="T6" fmla="*/ 1 w 53"/>
                  <a:gd name="T7" fmla="*/ 14 h 14"/>
                  <a:gd name="T8" fmla="*/ 0 w 53"/>
                  <a:gd name="T9" fmla="*/ 5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3" h="14">
                    <a:moveTo>
                      <a:pt x="0" y="5"/>
                    </a:moveTo>
                    <a:lnTo>
                      <a:pt x="51" y="0"/>
                    </a:lnTo>
                    <a:lnTo>
                      <a:pt x="53" y="11"/>
                    </a:lnTo>
                    <a:lnTo>
                      <a:pt x="1" y="14"/>
                    </a:lnTo>
                    <a:lnTo>
                      <a:pt x="0" y="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263" name="ïṩlîḋè"/>
              <p:cNvSpPr/>
              <p:nvPr/>
            </p:nvSpPr>
            <p:spPr bwMode="auto">
              <a:xfrm>
                <a:off x="1649309" y="5407615"/>
                <a:ext cx="84138" cy="66675"/>
              </a:xfrm>
              <a:custGeom>
                <a:avLst/>
                <a:gdLst>
                  <a:gd name="T0" fmla="*/ 0 w 53"/>
                  <a:gd name="T1" fmla="*/ 22 h 42"/>
                  <a:gd name="T2" fmla="*/ 42 w 53"/>
                  <a:gd name="T3" fmla="*/ 17 h 42"/>
                  <a:gd name="T4" fmla="*/ 39 w 53"/>
                  <a:gd name="T5" fmla="*/ 1 h 42"/>
                  <a:gd name="T6" fmla="*/ 49 w 53"/>
                  <a:gd name="T7" fmla="*/ 0 h 42"/>
                  <a:gd name="T8" fmla="*/ 53 w 53"/>
                  <a:gd name="T9" fmla="*/ 41 h 42"/>
                  <a:gd name="T10" fmla="*/ 45 w 53"/>
                  <a:gd name="T11" fmla="*/ 42 h 42"/>
                  <a:gd name="T12" fmla="*/ 43 w 53"/>
                  <a:gd name="T13" fmla="*/ 27 h 42"/>
                  <a:gd name="T14" fmla="*/ 1 w 53"/>
                  <a:gd name="T15" fmla="*/ 33 h 42"/>
                  <a:gd name="T16" fmla="*/ 0 w 53"/>
                  <a:gd name="T17" fmla="*/ 22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3" h="42">
                    <a:moveTo>
                      <a:pt x="0" y="22"/>
                    </a:moveTo>
                    <a:lnTo>
                      <a:pt x="42" y="17"/>
                    </a:lnTo>
                    <a:lnTo>
                      <a:pt x="39" y="1"/>
                    </a:lnTo>
                    <a:lnTo>
                      <a:pt x="49" y="0"/>
                    </a:lnTo>
                    <a:lnTo>
                      <a:pt x="53" y="41"/>
                    </a:lnTo>
                    <a:lnTo>
                      <a:pt x="45" y="42"/>
                    </a:lnTo>
                    <a:lnTo>
                      <a:pt x="43" y="27"/>
                    </a:lnTo>
                    <a:lnTo>
                      <a:pt x="1" y="33"/>
                    </a:lnTo>
                    <a:lnTo>
                      <a:pt x="0" y="2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264" name="ïṣľîďe"/>
              <p:cNvSpPr/>
              <p:nvPr/>
            </p:nvSpPr>
            <p:spPr bwMode="auto">
              <a:xfrm>
                <a:off x="1662009" y="5471115"/>
                <a:ext cx="90488" cy="73025"/>
              </a:xfrm>
              <a:custGeom>
                <a:avLst/>
                <a:gdLst>
                  <a:gd name="T0" fmla="*/ 0 w 57"/>
                  <a:gd name="T1" fmla="*/ 29 h 46"/>
                  <a:gd name="T2" fmla="*/ 21 w 57"/>
                  <a:gd name="T3" fmla="*/ 24 h 46"/>
                  <a:gd name="T4" fmla="*/ 45 w 57"/>
                  <a:gd name="T5" fmla="*/ 0 h 46"/>
                  <a:gd name="T6" fmla="*/ 49 w 57"/>
                  <a:gd name="T7" fmla="*/ 11 h 46"/>
                  <a:gd name="T8" fmla="*/ 31 w 57"/>
                  <a:gd name="T9" fmla="*/ 28 h 46"/>
                  <a:gd name="T10" fmla="*/ 53 w 57"/>
                  <a:gd name="T11" fmla="*/ 35 h 46"/>
                  <a:gd name="T12" fmla="*/ 57 w 57"/>
                  <a:gd name="T13" fmla="*/ 46 h 46"/>
                  <a:gd name="T14" fmla="*/ 23 w 57"/>
                  <a:gd name="T15" fmla="*/ 35 h 46"/>
                  <a:gd name="T16" fmla="*/ 2 w 57"/>
                  <a:gd name="T17" fmla="*/ 39 h 46"/>
                  <a:gd name="T18" fmla="*/ 0 w 57"/>
                  <a:gd name="T19" fmla="*/ 29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57" h="46">
                    <a:moveTo>
                      <a:pt x="0" y="29"/>
                    </a:moveTo>
                    <a:lnTo>
                      <a:pt x="21" y="24"/>
                    </a:lnTo>
                    <a:lnTo>
                      <a:pt x="45" y="0"/>
                    </a:lnTo>
                    <a:lnTo>
                      <a:pt x="49" y="11"/>
                    </a:lnTo>
                    <a:lnTo>
                      <a:pt x="31" y="28"/>
                    </a:lnTo>
                    <a:lnTo>
                      <a:pt x="53" y="35"/>
                    </a:lnTo>
                    <a:lnTo>
                      <a:pt x="57" y="46"/>
                    </a:lnTo>
                    <a:lnTo>
                      <a:pt x="23" y="35"/>
                    </a:lnTo>
                    <a:lnTo>
                      <a:pt x="2" y="39"/>
                    </a:lnTo>
                    <a:lnTo>
                      <a:pt x="0" y="2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265" name="íśļiḓe"/>
              <p:cNvSpPr/>
              <p:nvPr/>
            </p:nvSpPr>
            <p:spPr bwMode="auto">
              <a:xfrm>
                <a:off x="1704872" y="5609228"/>
                <a:ext cx="85725" cy="80963"/>
              </a:xfrm>
              <a:custGeom>
                <a:avLst/>
                <a:gdLst>
                  <a:gd name="T0" fmla="*/ 15 w 47"/>
                  <a:gd name="T1" fmla="*/ 2 h 44"/>
                  <a:gd name="T2" fmla="*/ 26 w 47"/>
                  <a:gd name="T3" fmla="*/ 0 h 44"/>
                  <a:gd name="T4" fmla="*/ 33 w 47"/>
                  <a:gd name="T5" fmla="*/ 1 h 44"/>
                  <a:gd name="T6" fmla="*/ 39 w 47"/>
                  <a:gd name="T7" fmla="*/ 4 h 44"/>
                  <a:gd name="T8" fmla="*/ 44 w 47"/>
                  <a:gd name="T9" fmla="*/ 12 h 44"/>
                  <a:gd name="T10" fmla="*/ 45 w 47"/>
                  <a:gd name="T11" fmla="*/ 29 h 44"/>
                  <a:gd name="T12" fmla="*/ 32 w 47"/>
                  <a:gd name="T13" fmla="*/ 41 h 44"/>
                  <a:gd name="T14" fmla="*/ 15 w 47"/>
                  <a:gd name="T15" fmla="*/ 43 h 44"/>
                  <a:gd name="T16" fmla="*/ 3 w 47"/>
                  <a:gd name="T17" fmla="*/ 31 h 44"/>
                  <a:gd name="T18" fmla="*/ 2 w 47"/>
                  <a:gd name="T19" fmla="*/ 14 h 44"/>
                  <a:gd name="T20" fmla="*/ 15 w 47"/>
                  <a:gd name="T21" fmla="*/ 2 h 44"/>
                  <a:gd name="T22" fmla="*/ 19 w 47"/>
                  <a:gd name="T23" fmla="*/ 10 h 44"/>
                  <a:gd name="T24" fmla="*/ 10 w 47"/>
                  <a:gd name="T25" fmla="*/ 18 h 44"/>
                  <a:gd name="T26" fmla="*/ 10 w 47"/>
                  <a:gd name="T27" fmla="*/ 28 h 44"/>
                  <a:gd name="T28" fmla="*/ 17 w 47"/>
                  <a:gd name="T29" fmla="*/ 34 h 44"/>
                  <a:gd name="T30" fmla="*/ 29 w 47"/>
                  <a:gd name="T31" fmla="*/ 33 h 44"/>
                  <a:gd name="T32" fmla="*/ 38 w 47"/>
                  <a:gd name="T33" fmla="*/ 25 h 44"/>
                  <a:gd name="T34" fmla="*/ 37 w 47"/>
                  <a:gd name="T35" fmla="*/ 16 h 44"/>
                  <a:gd name="T36" fmla="*/ 30 w 47"/>
                  <a:gd name="T37" fmla="*/ 9 h 44"/>
                  <a:gd name="T38" fmla="*/ 19 w 47"/>
                  <a:gd name="T39" fmla="*/ 10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47" h="44">
                    <a:moveTo>
                      <a:pt x="15" y="2"/>
                    </a:moveTo>
                    <a:cubicBezTo>
                      <a:pt x="19" y="0"/>
                      <a:pt x="23" y="0"/>
                      <a:pt x="26" y="0"/>
                    </a:cubicBezTo>
                    <a:cubicBezTo>
                      <a:pt x="28" y="0"/>
                      <a:pt x="31" y="0"/>
                      <a:pt x="33" y="1"/>
                    </a:cubicBezTo>
                    <a:cubicBezTo>
                      <a:pt x="35" y="2"/>
                      <a:pt x="37" y="3"/>
                      <a:pt x="39" y="4"/>
                    </a:cubicBezTo>
                    <a:cubicBezTo>
                      <a:pt x="41" y="6"/>
                      <a:pt x="43" y="9"/>
                      <a:pt x="44" y="12"/>
                    </a:cubicBezTo>
                    <a:cubicBezTo>
                      <a:pt x="47" y="18"/>
                      <a:pt x="47" y="24"/>
                      <a:pt x="45" y="29"/>
                    </a:cubicBezTo>
                    <a:cubicBezTo>
                      <a:pt x="43" y="34"/>
                      <a:pt x="39" y="38"/>
                      <a:pt x="32" y="41"/>
                    </a:cubicBezTo>
                    <a:cubicBezTo>
                      <a:pt x="26" y="44"/>
                      <a:pt x="20" y="44"/>
                      <a:pt x="15" y="43"/>
                    </a:cubicBezTo>
                    <a:cubicBezTo>
                      <a:pt x="9" y="41"/>
                      <a:pt x="5" y="37"/>
                      <a:pt x="3" y="31"/>
                    </a:cubicBezTo>
                    <a:cubicBezTo>
                      <a:pt x="0" y="25"/>
                      <a:pt x="0" y="19"/>
                      <a:pt x="2" y="14"/>
                    </a:cubicBezTo>
                    <a:cubicBezTo>
                      <a:pt x="4" y="9"/>
                      <a:pt x="8" y="5"/>
                      <a:pt x="15" y="2"/>
                    </a:cubicBezTo>
                    <a:close/>
                    <a:moveTo>
                      <a:pt x="19" y="10"/>
                    </a:moveTo>
                    <a:cubicBezTo>
                      <a:pt x="14" y="12"/>
                      <a:pt x="11" y="15"/>
                      <a:pt x="10" y="18"/>
                    </a:cubicBezTo>
                    <a:cubicBezTo>
                      <a:pt x="8" y="21"/>
                      <a:pt x="8" y="24"/>
                      <a:pt x="10" y="28"/>
                    </a:cubicBezTo>
                    <a:cubicBezTo>
                      <a:pt x="11" y="31"/>
                      <a:pt x="13" y="33"/>
                      <a:pt x="17" y="34"/>
                    </a:cubicBezTo>
                    <a:cubicBezTo>
                      <a:pt x="20" y="35"/>
                      <a:pt x="24" y="35"/>
                      <a:pt x="29" y="33"/>
                    </a:cubicBezTo>
                    <a:cubicBezTo>
                      <a:pt x="33" y="31"/>
                      <a:pt x="36" y="28"/>
                      <a:pt x="38" y="25"/>
                    </a:cubicBezTo>
                    <a:cubicBezTo>
                      <a:pt x="39" y="22"/>
                      <a:pt x="39" y="19"/>
                      <a:pt x="37" y="16"/>
                    </a:cubicBezTo>
                    <a:cubicBezTo>
                      <a:pt x="36" y="12"/>
                      <a:pt x="34" y="10"/>
                      <a:pt x="30" y="9"/>
                    </a:cubicBezTo>
                    <a:cubicBezTo>
                      <a:pt x="27" y="8"/>
                      <a:pt x="23" y="8"/>
                      <a:pt x="19" y="1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266" name="î$ḷïďe"/>
              <p:cNvSpPr/>
              <p:nvPr/>
            </p:nvSpPr>
            <p:spPr bwMode="auto">
              <a:xfrm>
                <a:off x="1733447" y="5675903"/>
                <a:ext cx="98425" cy="66675"/>
              </a:xfrm>
              <a:custGeom>
                <a:avLst/>
                <a:gdLst>
                  <a:gd name="T0" fmla="*/ 0 w 62"/>
                  <a:gd name="T1" fmla="*/ 26 h 42"/>
                  <a:gd name="T2" fmla="*/ 45 w 62"/>
                  <a:gd name="T3" fmla="*/ 0 h 42"/>
                  <a:gd name="T4" fmla="*/ 62 w 62"/>
                  <a:gd name="T5" fmla="*/ 30 h 42"/>
                  <a:gd name="T6" fmla="*/ 55 w 62"/>
                  <a:gd name="T7" fmla="*/ 35 h 42"/>
                  <a:gd name="T8" fmla="*/ 43 w 62"/>
                  <a:gd name="T9" fmla="*/ 14 h 42"/>
                  <a:gd name="T10" fmla="*/ 32 w 62"/>
                  <a:gd name="T11" fmla="*/ 20 h 42"/>
                  <a:gd name="T12" fmla="*/ 43 w 62"/>
                  <a:gd name="T13" fmla="*/ 38 h 42"/>
                  <a:gd name="T14" fmla="*/ 35 w 62"/>
                  <a:gd name="T15" fmla="*/ 42 h 42"/>
                  <a:gd name="T16" fmla="*/ 25 w 62"/>
                  <a:gd name="T17" fmla="*/ 23 h 42"/>
                  <a:gd name="T18" fmla="*/ 6 w 62"/>
                  <a:gd name="T19" fmla="*/ 35 h 42"/>
                  <a:gd name="T20" fmla="*/ 0 w 62"/>
                  <a:gd name="T21" fmla="*/ 26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62" h="42">
                    <a:moveTo>
                      <a:pt x="0" y="26"/>
                    </a:moveTo>
                    <a:lnTo>
                      <a:pt x="45" y="0"/>
                    </a:lnTo>
                    <a:lnTo>
                      <a:pt x="62" y="30"/>
                    </a:lnTo>
                    <a:lnTo>
                      <a:pt x="55" y="35"/>
                    </a:lnTo>
                    <a:lnTo>
                      <a:pt x="43" y="14"/>
                    </a:lnTo>
                    <a:lnTo>
                      <a:pt x="32" y="20"/>
                    </a:lnTo>
                    <a:lnTo>
                      <a:pt x="43" y="38"/>
                    </a:lnTo>
                    <a:lnTo>
                      <a:pt x="35" y="42"/>
                    </a:lnTo>
                    <a:lnTo>
                      <a:pt x="25" y="23"/>
                    </a:lnTo>
                    <a:lnTo>
                      <a:pt x="6" y="35"/>
                    </a:lnTo>
                    <a:lnTo>
                      <a:pt x="0" y="26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267" name="îśḻîḍe"/>
              <p:cNvSpPr/>
              <p:nvPr/>
            </p:nvSpPr>
            <p:spPr bwMode="auto">
              <a:xfrm>
                <a:off x="1812822" y="5785440"/>
                <a:ext cx="85725" cy="82550"/>
              </a:xfrm>
              <a:custGeom>
                <a:avLst/>
                <a:gdLst>
                  <a:gd name="T0" fmla="*/ 6 w 46"/>
                  <a:gd name="T1" fmla="*/ 13 h 45"/>
                  <a:gd name="T2" fmla="*/ 12 w 46"/>
                  <a:gd name="T3" fmla="*/ 19 h 45"/>
                  <a:gd name="T4" fmla="*/ 9 w 46"/>
                  <a:gd name="T5" fmla="*/ 26 h 45"/>
                  <a:gd name="T6" fmla="*/ 11 w 46"/>
                  <a:gd name="T7" fmla="*/ 32 h 45"/>
                  <a:gd name="T8" fmla="*/ 17 w 46"/>
                  <a:gd name="T9" fmla="*/ 36 h 45"/>
                  <a:gd name="T10" fmla="*/ 22 w 46"/>
                  <a:gd name="T11" fmla="*/ 35 h 45"/>
                  <a:gd name="T12" fmla="*/ 23 w 46"/>
                  <a:gd name="T13" fmla="*/ 32 h 45"/>
                  <a:gd name="T14" fmla="*/ 22 w 46"/>
                  <a:gd name="T15" fmla="*/ 29 h 45"/>
                  <a:gd name="T16" fmla="*/ 19 w 46"/>
                  <a:gd name="T17" fmla="*/ 22 h 45"/>
                  <a:gd name="T18" fmla="*/ 16 w 46"/>
                  <a:gd name="T19" fmla="*/ 12 h 45"/>
                  <a:gd name="T20" fmla="*/ 21 w 46"/>
                  <a:gd name="T21" fmla="*/ 3 h 45"/>
                  <a:gd name="T22" fmla="*/ 27 w 46"/>
                  <a:gd name="T23" fmla="*/ 0 h 45"/>
                  <a:gd name="T24" fmla="*/ 34 w 46"/>
                  <a:gd name="T25" fmla="*/ 2 h 45"/>
                  <a:gd name="T26" fmla="*/ 40 w 46"/>
                  <a:gd name="T27" fmla="*/ 8 h 45"/>
                  <a:gd name="T28" fmla="*/ 45 w 46"/>
                  <a:gd name="T29" fmla="*/ 19 h 45"/>
                  <a:gd name="T30" fmla="*/ 41 w 46"/>
                  <a:gd name="T31" fmla="*/ 29 h 45"/>
                  <a:gd name="T32" fmla="*/ 35 w 46"/>
                  <a:gd name="T33" fmla="*/ 22 h 45"/>
                  <a:gd name="T34" fmla="*/ 37 w 46"/>
                  <a:gd name="T35" fmla="*/ 17 h 45"/>
                  <a:gd name="T36" fmla="*/ 35 w 46"/>
                  <a:gd name="T37" fmla="*/ 12 h 45"/>
                  <a:gd name="T38" fmla="*/ 30 w 46"/>
                  <a:gd name="T39" fmla="*/ 8 h 45"/>
                  <a:gd name="T40" fmla="*/ 27 w 46"/>
                  <a:gd name="T41" fmla="*/ 9 h 45"/>
                  <a:gd name="T42" fmla="*/ 25 w 46"/>
                  <a:gd name="T43" fmla="*/ 12 h 45"/>
                  <a:gd name="T44" fmla="*/ 28 w 46"/>
                  <a:gd name="T45" fmla="*/ 20 h 45"/>
                  <a:gd name="T46" fmla="*/ 32 w 46"/>
                  <a:gd name="T47" fmla="*/ 29 h 45"/>
                  <a:gd name="T48" fmla="*/ 31 w 46"/>
                  <a:gd name="T49" fmla="*/ 36 h 45"/>
                  <a:gd name="T50" fmla="*/ 27 w 46"/>
                  <a:gd name="T51" fmla="*/ 42 h 45"/>
                  <a:gd name="T52" fmla="*/ 20 w 46"/>
                  <a:gd name="T53" fmla="*/ 45 h 45"/>
                  <a:gd name="T54" fmla="*/ 13 w 46"/>
                  <a:gd name="T55" fmla="*/ 43 h 45"/>
                  <a:gd name="T56" fmla="*/ 6 w 46"/>
                  <a:gd name="T57" fmla="*/ 37 h 45"/>
                  <a:gd name="T58" fmla="*/ 0 w 46"/>
                  <a:gd name="T59" fmla="*/ 24 h 45"/>
                  <a:gd name="T60" fmla="*/ 6 w 46"/>
                  <a:gd name="T61" fmla="*/ 13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46" h="45">
                    <a:moveTo>
                      <a:pt x="6" y="13"/>
                    </a:moveTo>
                    <a:cubicBezTo>
                      <a:pt x="12" y="19"/>
                      <a:pt x="12" y="19"/>
                      <a:pt x="12" y="19"/>
                    </a:cubicBezTo>
                    <a:cubicBezTo>
                      <a:pt x="10" y="21"/>
                      <a:pt x="9" y="24"/>
                      <a:pt x="9" y="26"/>
                    </a:cubicBezTo>
                    <a:cubicBezTo>
                      <a:pt x="9" y="28"/>
                      <a:pt x="10" y="30"/>
                      <a:pt x="11" y="32"/>
                    </a:cubicBezTo>
                    <a:cubicBezTo>
                      <a:pt x="13" y="34"/>
                      <a:pt x="15" y="35"/>
                      <a:pt x="17" y="36"/>
                    </a:cubicBezTo>
                    <a:cubicBezTo>
                      <a:pt x="19" y="36"/>
                      <a:pt x="20" y="36"/>
                      <a:pt x="22" y="35"/>
                    </a:cubicBezTo>
                    <a:cubicBezTo>
                      <a:pt x="22" y="34"/>
                      <a:pt x="23" y="33"/>
                      <a:pt x="23" y="32"/>
                    </a:cubicBezTo>
                    <a:cubicBezTo>
                      <a:pt x="23" y="32"/>
                      <a:pt x="23" y="30"/>
                      <a:pt x="22" y="29"/>
                    </a:cubicBezTo>
                    <a:cubicBezTo>
                      <a:pt x="22" y="28"/>
                      <a:pt x="21" y="26"/>
                      <a:pt x="19" y="22"/>
                    </a:cubicBezTo>
                    <a:cubicBezTo>
                      <a:pt x="17" y="18"/>
                      <a:pt x="16" y="14"/>
                      <a:pt x="16" y="12"/>
                    </a:cubicBezTo>
                    <a:cubicBezTo>
                      <a:pt x="17" y="8"/>
                      <a:pt x="18" y="5"/>
                      <a:pt x="21" y="3"/>
                    </a:cubicBezTo>
                    <a:cubicBezTo>
                      <a:pt x="23" y="1"/>
                      <a:pt x="25" y="1"/>
                      <a:pt x="27" y="0"/>
                    </a:cubicBezTo>
                    <a:cubicBezTo>
                      <a:pt x="29" y="0"/>
                      <a:pt x="31" y="1"/>
                      <a:pt x="34" y="2"/>
                    </a:cubicBezTo>
                    <a:cubicBezTo>
                      <a:pt x="36" y="3"/>
                      <a:pt x="38" y="5"/>
                      <a:pt x="40" y="8"/>
                    </a:cubicBezTo>
                    <a:cubicBezTo>
                      <a:pt x="44" y="12"/>
                      <a:pt x="46" y="16"/>
                      <a:pt x="45" y="19"/>
                    </a:cubicBezTo>
                    <a:cubicBezTo>
                      <a:pt x="45" y="23"/>
                      <a:pt x="44" y="26"/>
                      <a:pt x="41" y="29"/>
                    </a:cubicBezTo>
                    <a:cubicBezTo>
                      <a:pt x="35" y="22"/>
                      <a:pt x="35" y="22"/>
                      <a:pt x="35" y="22"/>
                    </a:cubicBezTo>
                    <a:cubicBezTo>
                      <a:pt x="36" y="21"/>
                      <a:pt x="37" y="19"/>
                      <a:pt x="37" y="17"/>
                    </a:cubicBezTo>
                    <a:cubicBezTo>
                      <a:pt x="37" y="16"/>
                      <a:pt x="36" y="14"/>
                      <a:pt x="35" y="12"/>
                    </a:cubicBezTo>
                    <a:cubicBezTo>
                      <a:pt x="33" y="10"/>
                      <a:pt x="31" y="9"/>
                      <a:pt x="30" y="8"/>
                    </a:cubicBezTo>
                    <a:cubicBezTo>
                      <a:pt x="28" y="8"/>
                      <a:pt x="27" y="8"/>
                      <a:pt x="27" y="9"/>
                    </a:cubicBezTo>
                    <a:cubicBezTo>
                      <a:pt x="26" y="10"/>
                      <a:pt x="25" y="11"/>
                      <a:pt x="25" y="12"/>
                    </a:cubicBezTo>
                    <a:cubicBezTo>
                      <a:pt x="25" y="13"/>
                      <a:pt x="26" y="16"/>
                      <a:pt x="28" y="20"/>
                    </a:cubicBezTo>
                    <a:cubicBezTo>
                      <a:pt x="30" y="24"/>
                      <a:pt x="31" y="27"/>
                      <a:pt x="32" y="29"/>
                    </a:cubicBezTo>
                    <a:cubicBezTo>
                      <a:pt x="32" y="32"/>
                      <a:pt x="32" y="34"/>
                      <a:pt x="31" y="36"/>
                    </a:cubicBezTo>
                    <a:cubicBezTo>
                      <a:pt x="31" y="38"/>
                      <a:pt x="29" y="40"/>
                      <a:pt x="27" y="42"/>
                    </a:cubicBezTo>
                    <a:cubicBezTo>
                      <a:pt x="25" y="43"/>
                      <a:pt x="23" y="44"/>
                      <a:pt x="20" y="45"/>
                    </a:cubicBezTo>
                    <a:cubicBezTo>
                      <a:pt x="18" y="45"/>
                      <a:pt x="15" y="44"/>
                      <a:pt x="13" y="43"/>
                    </a:cubicBezTo>
                    <a:cubicBezTo>
                      <a:pt x="10" y="42"/>
                      <a:pt x="8" y="40"/>
                      <a:pt x="6" y="37"/>
                    </a:cubicBezTo>
                    <a:cubicBezTo>
                      <a:pt x="2" y="32"/>
                      <a:pt x="0" y="28"/>
                      <a:pt x="0" y="24"/>
                    </a:cubicBezTo>
                    <a:cubicBezTo>
                      <a:pt x="1" y="20"/>
                      <a:pt x="2" y="17"/>
                      <a:pt x="6" y="1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268" name="í$ļîḋê"/>
              <p:cNvSpPr/>
              <p:nvPr/>
            </p:nvSpPr>
            <p:spPr bwMode="auto">
              <a:xfrm>
                <a:off x="1868384" y="5844178"/>
                <a:ext cx="82550" cy="82550"/>
              </a:xfrm>
              <a:custGeom>
                <a:avLst/>
                <a:gdLst>
                  <a:gd name="T0" fmla="*/ 25 w 45"/>
                  <a:gd name="T1" fmla="*/ 33 h 45"/>
                  <a:gd name="T2" fmla="*/ 29 w 45"/>
                  <a:gd name="T3" fmla="*/ 41 h 45"/>
                  <a:gd name="T4" fmla="*/ 17 w 45"/>
                  <a:gd name="T5" fmla="*/ 44 h 45"/>
                  <a:gd name="T6" fmla="*/ 6 w 45"/>
                  <a:gd name="T7" fmla="*/ 38 h 45"/>
                  <a:gd name="T8" fmla="*/ 0 w 45"/>
                  <a:gd name="T9" fmla="*/ 24 h 45"/>
                  <a:gd name="T10" fmla="*/ 8 w 45"/>
                  <a:gd name="T11" fmla="*/ 8 h 45"/>
                  <a:gd name="T12" fmla="*/ 24 w 45"/>
                  <a:gd name="T13" fmla="*/ 0 h 45"/>
                  <a:gd name="T14" fmla="*/ 39 w 45"/>
                  <a:gd name="T15" fmla="*/ 7 h 45"/>
                  <a:gd name="T16" fmla="*/ 45 w 45"/>
                  <a:gd name="T17" fmla="*/ 19 h 45"/>
                  <a:gd name="T18" fmla="*/ 42 w 45"/>
                  <a:gd name="T19" fmla="*/ 28 h 45"/>
                  <a:gd name="T20" fmla="*/ 34 w 45"/>
                  <a:gd name="T21" fmla="*/ 23 h 45"/>
                  <a:gd name="T22" fmla="*/ 36 w 45"/>
                  <a:gd name="T23" fmla="*/ 17 h 45"/>
                  <a:gd name="T24" fmla="*/ 33 w 45"/>
                  <a:gd name="T25" fmla="*/ 12 h 45"/>
                  <a:gd name="T26" fmla="*/ 25 w 45"/>
                  <a:gd name="T27" fmla="*/ 9 h 45"/>
                  <a:gd name="T28" fmla="*/ 15 w 45"/>
                  <a:gd name="T29" fmla="*/ 14 h 45"/>
                  <a:gd name="T30" fmla="*/ 8 w 45"/>
                  <a:gd name="T31" fmla="*/ 25 h 45"/>
                  <a:gd name="T32" fmla="*/ 11 w 45"/>
                  <a:gd name="T33" fmla="*/ 33 h 45"/>
                  <a:gd name="T34" fmla="*/ 17 w 45"/>
                  <a:gd name="T35" fmla="*/ 36 h 45"/>
                  <a:gd name="T36" fmla="*/ 25 w 45"/>
                  <a:gd name="T37" fmla="*/ 33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45" h="45">
                    <a:moveTo>
                      <a:pt x="25" y="33"/>
                    </a:moveTo>
                    <a:cubicBezTo>
                      <a:pt x="29" y="41"/>
                      <a:pt x="29" y="41"/>
                      <a:pt x="29" y="41"/>
                    </a:cubicBezTo>
                    <a:cubicBezTo>
                      <a:pt x="25" y="44"/>
                      <a:pt x="21" y="45"/>
                      <a:pt x="17" y="44"/>
                    </a:cubicBezTo>
                    <a:cubicBezTo>
                      <a:pt x="13" y="44"/>
                      <a:pt x="9" y="42"/>
                      <a:pt x="6" y="38"/>
                    </a:cubicBezTo>
                    <a:cubicBezTo>
                      <a:pt x="2" y="34"/>
                      <a:pt x="0" y="29"/>
                      <a:pt x="0" y="24"/>
                    </a:cubicBezTo>
                    <a:cubicBezTo>
                      <a:pt x="0" y="19"/>
                      <a:pt x="3" y="13"/>
                      <a:pt x="8" y="8"/>
                    </a:cubicBezTo>
                    <a:cubicBezTo>
                      <a:pt x="13" y="3"/>
                      <a:pt x="18" y="1"/>
                      <a:pt x="24" y="0"/>
                    </a:cubicBezTo>
                    <a:cubicBezTo>
                      <a:pt x="29" y="0"/>
                      <a:pt x="34" y="2"/>
                      <a:pt x="39" y="7"/>
                    </a:cubicBezTo>
                    <a:cubicBezTo>
                      <a:pt x="42" y="10"/>
                      <a:pt x="44" y="15"/>
                      <a:pt x="45" y="19"/>
                    </a:cubicBezTo>
                    <a:cubicBezTo>
                      <a:pt x="45" y="22"/>
                      <a:pt x="44" y="25"/>
                      <a:pt x="42" y="28"/>
                    </a:cubicBezTo>
                    <a:cubicBezTo>
                      <a:pt x="34" y="23"/>
                      <a:pt x="34" y="23"/>
                      <a:pt x="34" y="23"/>
                    </a:cubicBezTo>
                    <a:cubicBezTo>
                      <a:pt x="36" y="21"/>
                      <a:pt x="36" y="19"/>
                      <a:pt x="36" y="17"/>
                    </a:cubicBezTo>
                    <a:cubicBezTo>
                      <a:pt x="36" y="15"/>
                      <a:pt x="35" y="13"/>
                      <a:pt x="33" y="12"/>
                    </a:cubicBezTo>
                    <a:cubicBezTo>
                      <a:pt x="31" y="9"/>
                      <a:pt x="28" y="8"/>
                      <a:pt x="25" y="9"/>
                    </a:cubicBezTo>
                    <a:cubicBezTo>
                      <a:pt x="22" y="9"/>
                      <a:pt x="18" y="11"/>
                      <a:pt x="15" y="14"/>
                    </a:cubicBezTo>
                    <a:cubicBezTo>
                      <a:pt x="11" y="18"/>
                      <a:pt x="9" y="22"/>
                      <a:pt x="8" y="25"/>
                    </a:cubicBezTo>
                    <a:cubicBezTo>
                      <a:pt x="8" y="28"/>
                      <a:pt x="9" y="31"/>
                      <a:pt x="11" y="33"/>
                    </a:cubicBezTo>
                    <a:cubicBezTo>
                      <a:pt x="13" y="35"/>
                      <a:pt x="15" y="36"/>
                      <a:pt x="17" y="36"/>
                    </a:cubicBezTo>
                    <a:cubicBezTo>
                      <a:pt x="20" y="36"/>
                      <a:pt x="22" y="35"/>
                      <a:pt x="25" y="3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269" name="íṩḷiḋé"/>
              <p:cNvSpPr/>
              <p:nvPr/>
            </p:nvSpPr>
            <p:spPr bwMode="auto">
              <a:xfrm>
                <a:off x="1916009" y="5887040"/>
                <a:ext cx="65088" cy="71438"/>
              </a:xfrm>
              <a:custGeom>
                <a:avLst/>
                <a:gdLst>
                  <a:gd name="T0" fmla="*/ 0 w 41"/>
                  <a:gd name="T1" fmla="*/ 38 h 45"/>
                  <a:gd name="T2" fmla="*/ 34 w 41"/>
                  <a:gd name="T3" fmla="*/ 0 h 45"/>
                  <a:gd name="T4" fmla="*/ 41 w 41"/>
                  <a:gd name="T5" fmla="*/ 6 h 45"/>
                  <a:gd name="T6" fmla="*/ 8 w 41"/>
                  <a:gd name="T7" fmla="*/ 45 h 45"/>
                  <a:gd name="T8" fmla="*/ 0 w 41"/>
                  <a:gd name="T9" fmla="*/ 38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1" h="45">
                    <a:moveTo>
                      <a:pt x="0" y="38"/>
                    </a:moveTo>
                    <a:lnTo>
                      <a:pt x="34" y="0"/>
                    </a:lnTo>
                    <a:lnTo>
                      <a:pt x="41" y="6"/>
                    </a:lnTo>
                    <a:lnTo>
                      <a:pt x="8" y="45"/>
                    </a:lnTo>
                    <a:lnTo>
                      <a:pt x="0" y="3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270" name="îsľïďé"/>
              <p:cNvSpPr/>
              <p:nvPr/>
            </p:nvSpPr>
            <p:spPr bwMode="auto">
              <a:xfrm>
                <a:off x="1941409" y="5904503"/>
                <a:ext cx="96838" cy="101600"/>
              </a:xfrm>
              <a:custGeom>
                <a:avLst/>
                <a:gdLst>
                  <a:gd name="T0" fmla="*/ 0 w 61"/>
                  <a:gd name="T1" fmla="*/ 41 h 64"/>
                  <a:gd name="T2" fmla="*/ 31 w 61"/>
                  <a:gd name="T3" fmla="*/ 0 h 64"/>
                  <a:gd name="T4" fmla="*/ 61 w 61"/>
                  <a:gd name="T5" fmla="*/ 22 h 64"/>
                  <a:gd name="T6" fmla="*/ 56 w 61"/>
                  <a:gd name="T7" fmla="*/ 29 h 64"/>
                  <a:gd name="T8" fmla="*/ 34 w 61"/>
                  <a:gd name="T9" fmla="*/ 13 h 64"/>
                  <a:gd name="T10" fmla="*/ 27 w 61"/>
                  <a:gd name="T11" fmla="*/ 22 h 64"/>
                  <a:gd name="T12" fmla="*/ 47 w 61"/>
                  <a:gd name="T13" fmla="*/ 37 h 64"/>
                  <a:gd name="T14" fmla="*/ 42 w 61"/>
                  <a:gd name="T15" fmla="*/ 44 h 64"/>
                  <a:gd name="T16" fmla="*/ 21 w 61"/>
                  <a:gd name="T17" fmla="*/ 29 h 64"/>
                  <a:gd name="T18" fmla="*/ 13 w 61"/>
                  <a:gd name="T19" fmla="*/ 40 h 64"/>
                  <a:gd name="T20" fmla="*/ 36 w 61"/>
                  <a:gd name="T21" fmla="*/ 57 h 64"/>
                  <a:gd name="T22" fmla="*/ 31 w 61"/>
                  <a:gd name="T23" fmla="*/ 64 h 64"/>
                  <a:gd name="T24" fmla="*/ 0 w 61"/>
                  <a:gd name="T25" fmla="*/ 41 h 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1" h="64">
                    <a:moveTo>
                      <a:pt x="0" y="41"/>
                    </a:moveTo>
                    <a:lnTo>
                      <a:pt x="31" y="0"/>
                    </a:lnTo>
                    <a:lnTo>
                      <a:pt x="61" y="22"/>
                    </a:lnTo>
                    <a:lnTo>
                      <a:pt x="56" y="29"/>
                    </a:lnTo>
                    <a:lnTo>
                      <a:pt x="34" y="13"/>
                    </a:lnTo>
                    <a:lnTo>
                      <a:pt x="27" y="22"/>
                    </a:lnTo>
                    <a:lnTo>
                      <a:pt x="47" y="37"/>
                    </a:lnTo>
                    <a:lnTo>
                      <a:pt x="42" y="44"/>
                    </a:lnTo>
                    <a:lnTo>
                      <a:pt x="21" y="29"/>
                    </a:lnTo>
                    <a:lnTo>
                      <a:pt x="13" y="40"/>
                    </a:lnTo>
                    <a:lnTo>
                      <a:pt x="36" y="57"/>
                    </a:lnTo>
                    <a:lnTo>
                      <a:pt x="31" y="64"/>
                    </a:lnTo>
                    <a:lnTo>
                      <a:pt x="0" y="4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271" name="íśliḋé"/>
              <p:cNvSpPr/>
              <p:nvPr/>
            </p:nvSpPr>
            <p:spPr bwMode="auto">
              <a:xfrm>
                <a:off x="2004909" y="5947365"/>
                <a:ext cx="96838" cy="101600"/>
              </a:xfrm>
              <a:custGeom>
                <a:avLst/>
                <a:gdLst>
                  <a:gd name="T0" fmla="*/ 0 w 61"/>
                  <a:gd name="T1" fmla="*/ 43 h 64"/>
                  <a:gd name="T2" fmla="*/ 27 w 61"/>
                  <a:gd name="T3" fmla="*/ 0 h 64"/>
                  <a:gd name="T4" fmla="*/ 35 w 61"/>
                  <a:gd name="T5" fmla="*/ 5 h 64"/>
                  <a:gd name="T6" fmla="*/ 36 w 61"/>
                  <a:gd name="T7" fmla="*/ 45 h 64"/>
                  <a:gd name="T8" fmla="*/ 53 w 61"/>
                  <a:gd name="T9" fmla="*/ 15 h 64"/>
                  <a:gd name="T10" fmla="*/ 61 w 61"/>
                  <a:gd name="T11" fmla="*/ 21 h 64"/>
                  <a:gd name="T12" fmla="*/ 35 w 61"/>
                  <a:gd name="T13" fmla="*/ 64 h 64"/>
                  <a:gd name="T14" fmla="*/ 27 w 61"/>
                  <a:gd name="T15" fmla="*/ 59 h 64"/>
                  <a:gd name="T16" fmla="*/ 25 w 61"/>
                  <a:gd name="T17" fmla="*/ 20 h 64"/>
                  <a:gd name="T18" fmla="*/ 8 w 61"/>
                  <a:gd name="T19" fmla="*/ 49 h 64"/>
                  <a:gd name="T20" fmla="*/ 0 w 61"/>
                  <a:gd name="T21" fmla="*/ 43 h 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61" h="64">
                    <a:moveTo>
                      <a:pt x="0" y="43"/>
                    </a:moveTo>
                    <a:lnTo>
                      <a:pt x="27" y="0"/>
                    </a:lnTo>
                    <a:lnTo>
                      <a:pt x="35" y="5"/>
                    </a:lnTo>
                    <a:lnTo>
                      <a:pt x="36" y="45"/>
                    </a:lnTo>
                    <a:lnTo>
                      <a:pt x="53" y="15"/>
                    </a:lnTo>
                    <a:lnTo>
                      <a:pt x="61" y="21"/>
                    </a:lnTo>
                    <a:lnTo>
                      <a:pt x="35" y="64"/>
                    </a:lnTo>
                    <a:lnTo>
                      <a:pt x="27" y="59"/>
                    </a:lnTo>
                    <a:lnTo>
                      <a:pt x="25" y="20"/>
                    </a:lnTo>
                    <a:lnTo>
                      <a:pt x="8" y="49"/>
                    </a:lnTo>
                    <a:lnTo>
                      <a:pt x="0" y="4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272" name="iSļiďê"/>
              <p:cNvSpPr/>
              <p:nvPr/>
            </p:nvSpPr>
            <p:spPr bwMode="auto">
              <a:xfrm>
                <a:off x="2087459" y="5993403"/>
                <a:ext cx="79375" cy="87313"/>
              </a:xfrm>
              <a:custGeom>
                <a:avLst/>
                <a:gdLst>
                  <a:gd name="T0" fmla="*/ 28 w 43"/>
                  <a:gd name="T1" fmla="*/ 33 h 47"/>
                  <a:gd name="T2" fmla="*/ 34 w 43"/>
                  <a:gd name="T3" fmla="*/ 39 h 47"/>
                  <a:gd name="T4" fmla="*/ 24 w 43"/>
                  <a:gd name="T5" fmla="*/ 46 h 47"/>
                  <a:gd name="T6" fmla="*/ 12 w 43"/>
                  <a:gd name="T7" fmla="*/ 44 h 47"/>
                  <a:gd name="T8" fmla="*/ 1 w 43"/>
                  <a:gd name="T9" fmla="*/ 33 h 47"/>
                  <a:gd name="T10" fmla="*/ 3 w 43"/>
                  <a:gd name="T11" fmla="*/ 15 h 47"/>
                  <a:gd name="T12" fmla="*/ 15 w 43"/>
                  <a:gd name="T13" fmla="*/ 2 h 47"/>
                  <a:gd name="T14" fmla="*/ 32 w 43"/>
                  <a:gd name="T15" fmla="*/ 3 h 47"/>
                  <a:gd name="T16" fmla="*/ 41 w 43"/>
                  <a:gd name="T17" fmla="*/ 13 h 47"/>
                  <a:gd name="T18" fmla="*/ 42 w 43"/>
                  <a:gd name="T19" fmla="*/ 22 h 47"/>
                  <a:gd name="T20" fmla="*/ 33 w 43"/>
                  <a:gd name="T21" fmla="*/ 20 h 47"/>
                  <a:gd name="T22" fmla="*/ 33 w 43"/>
                  <a:gd name="T23" fmla="*/ 14 h 47"/>
                  <a:gd name="T24" fmla="*/ 28 w 43"/>
                  <a:gd name="T25" fmla="*/ 10 h 47"/>
                  <a:gd name="T26" fmla="*/ 19 w 43"/>
                  <a:gd name="T27" fmla="*/ 10 h 47"/>
                  <a:gd name="T28" fmla="*/ 12 w 43"/>
                  <a:gd name="T29" fmla="*/ 19 h 47"/>
                  <a:gd name="T30" fmla="*/ 9 w 43"/>
                  <a:gd name="T31" fmla="*/ 31 h 47"/>
                  <a:gd name="T32" fmla="*/ 15 w 43"/>
                  <a:gd name="T33" fmla="*/ 37 h 47"/>
                  <a:gd name="T34" fmla="*/ 22 w 43"/>
                  <a:gd name="T35" fmla="*/ 38 h 47"/>
                  <a:gd name="T36" fmla="*/ 28 w 43"/>
                  <a:gd name="T37" fmla="*/ 33 h 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43" h="47">
                    <a:moveTo>
                      <a:pt x="28" y="33"/>
                    </a:moveTo>
                    <a:cubicBezTo>
                      <a:pt x="34" y="39"/>
                      <a:pt x="34" y="39"/>
                      <a:pt x="34" y="39"/>
                    </a:cubicBezTo>
                    <a:cubicBezTo>
                      <a:pt x="31" y="43"/>
                      <a:pt x="28" y="45"/>
                      <a:pt x="24" y="46"/>
                    </a:cubicBezTo>
                    <a:cubicBezTo>
                      <a:pt x="20" y="47"/>
                      <a:pt x="16" y="46"/>
                      <a:pt x="12" y="44"/>
                    </a:cubicBezTo>
                    <a:cubicBezTo>
                      <a:pt x="7" y="42"/>
                      <a:pt x="3" y="38"/>
                      <a:pt x="1" y="33"/>
                    </a:cubicBezTo>
                    <a:cubicBezTo>
                      <a:pt x="0" y="27"/>
                      <a:pt x="0" y="22"/>
                      <a:pt x="3" y="15"/>
                    </a:cubicBezTo>
                    <a:cubicBezTo>
                      <a:pt x="6" y="9"/>
                      <a:pt x="10" y="4"/>
                      <a:pt x="15" y="2"/>
                    </a:cubicBezTo>
                    <a:cubicBezTo>
                      <a:pt x="21" y="0"/>
                      <a:pt x="26" y="1"/>
                      <a:pt x="32" y="3"/>
                    </a:cubicBezTo>
                    <a:cubicBezTo>
                      <a:pt x="36" y="5"/>
                      <a:pt x="40" y="9"/>
                      <a:pt x="41" y="13"/>
                    </a:cubicBezTo>
                    <a:cubicBezTo>
                      <a:pt x="42" y="16"/>
                      <a:pt x="43" y="19"/>
                      <a:pt x="42" y="22"/>
                    </a:cubicBezTo>
                    <a:cubicBezTo>
                      <a:pt x="33" y="20"/>
                      <a:pt x="33" y="20"/>
                      <a:pt x="33" y="20"/>
                    </a:cubicBezTo>
                    <a:cubicBezTo>
                      <a:pt x="34" y="18"/>
                      <a:pt x="34" y="16"/>
                      <a:pt x="33" y="14"/>
                    </a:cubicBezTo>
                    <a:cubicBezTo>
                      <a:pt x="32" y="12"/>
                      <a:pt x="30" y="11"/>
                      <a:pt x="28" y="10"/>
                    </a:cubicBezTo>
                    <a:cubicBezTo>
                      <a:pt x="25" y="8"/>
                      <a:pt x="22" y="8"/>
                      <a:pt x="19" y="10"/>
                    </a:cubicBezTo>
                    <a:cubicBezTo>
                      <a:pt x="16" y="11"/>
                      <a:pt x="14" y="14"/>
                      <a:pt x="12" y="19"/>
                    </a:cubicBezTo>
                    <a:cubicBezTo>
                      <a:pt x="9" y="24"/>
                      <a:pt x="9" y="28"/>
                      <a:pt x="9" y="31"/>
                    </a:cubicBezTo>
                    <a:cubicBezTo>
                      <a:pt x="10" y="34"/>
                      <a:pt x="12" y="36"/>
                      <a:pt x="15" y="37"/>
                    </a:cubicBezTo>
                    <a:cubicBezTo>
                      <a:pt x="17" y="38"/>
                      <a:pt x="19" y="38"/>
                      <a:pt x="22" y="38"/>
                    </a:cubicBezTo>
                    <a:cubicBezTo>
                      <a:pt x="24" y="37"/>
                      <a:pt x="26" y="35"/>
                      <a:pt x="28" y="3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273" name="íSliḋé"/>
              <p:cNvSpPr/>
              <p:nvPr/>
            </p:nvSpPr>
            <p:spPr bwMode="auto">
              <a:xfrm>
                <a:off x="2157309" y="6017215"/>
                <a:ext cx="82550" cy="96838"/>
              </a:xfrm>
              <a:custGeom>
                <a:avLst/>
                <a:gdLst>
                  <a:gd name="T0" fmla="*/ 0 w 52"/>
                  <a:gd name="T1" fmla="*/ 49 h 61"/>
                  <a:gd name="T2" fmla="*/ 16 w 52"/>
                  <a:gd name="T3" fmla="*/ 0 h 61"/>
                  <a:gd name="T4" fmla="*/ 52 w 52"/>
                  <a:gd name="T5" fmla="*/ 13 h 61"/>
                  <a:gd name="T6" fmla="*/ 50 w 52"/>
                  <a:gd name="T7" fmla="*/ 21 h 61"/>
                  <a:gd name="T8" fmla="*/ 23 w 52"/>
                  <a:gd name="T9" fmla="*/ 12 h 61"/>
                  <a:gd name="T10" fmla="*/ 20 w 52"/>
                  <a:gd name="T11" fmla="*/ 22 h 61"/>
                  <a:gd name="T12" fmla="*/ 44 w 52"/>
                  <a:gd name="T13" fmla="*/ 30 h 61"/>
                  <a:gd name="T14" fmla="*/ 41 w 52"/>
                  <a:gd name="T15" fmla="*/ 38 h 61"/>
                  <a:gd name="T16" fmla="*/ 18 w 52"/>
                  <a:gd name="T17" fmla="*/ 30 h 61"/>
                  <a:gd name="T18" fmla="*/ 13 w 52"/>
                  <a:gd name="T19" fmla="*/ 43 h 61"/>
                  <a:gd name="T20" fmla="*/ 40 w 52"/>
                  <a:gd name="T21" fmla="*/ 52 h 61"/>
                  <a:gd name="T22" fmla="*/ 36 w 52"/>
                  <a:gd name="T23" fmla="*/ 61 h 61"/>
                  <a:gd name="T24" fmla="*/ 0 w 52"/>
                  <a:gd name="T25" fmla="*/ 49 h 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52" h="61">
                    <a:moveTo>
                      <a:pt x="0" y="49"/>
                    </a:moveTo>
                    <a:lnTo>
                      <a:pt x="16" y="0"/>
                    </a:lnTo>
                    <a:lnTo>
                      <a:pt x="52" y="13"/>
                    </a:lnTo>
                    <a:lnTo>
                      <a:pt x="50" y="21"/>
                    </a:lnTo>
                    <a:lnTo>
                      <a:pt x="23" y="12"/>
                    </a:lnTo>
                    <a:lnTo>
                      <a:pt x="20" y="22"/>
                    </a:lnTo>
                    <a:lnTo>
                      <a:pt x="44" y="30"/>
                    </a:lnTo>
                    <a:lnTo>
                      <a:pt x="41" y="38"/>
                    </a:lnTo>
                    <a:lnTo>
                      <a:pt x="18" y="30"/>
                    </a:lnTo>
                    <a:lnTo>
                      <a:pt x="13" y="43"/>
                    </a:lnTo>
                    <a:lnTo>
                      <a:pt x="40" y="52"/>
                    </a:lnTo>
                    <a:lnTo>
                      <a:pt x="36" y="61"/>
                    </a:lnTo>
                    <a:lnTo>
                      <a:pt x="0" y="4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274" name="îŝ1îḑè"/>
              <p:cNvSpPr/>
              <p:nvPr/>
            </p:nvSpPr>
            <p:spPr bwMode="auto">
              <a:xfrm>
                <a:off x="2663722" y="6026740"/>
                <a:ext cx="77788" cy="92075"/>
              </a:xfrm>
              <a:custGeom>
                <a:avLst/>
                <a:gdLst>
                  <a:gd name="T0" fmla="*/ 49 w 49"/>
                  <a:gd name="T1" fmla="*/ 42 h 58"/>
                  <a:gd name="T2" fmla="*/ 39 w 49"/>
                  <a:gd name="T3" fmla="*/ 45 h 58"/>
                  <a:gd name="T4" fmla="*/ 31 w 49"/>
                  <a:gd name="T5" fmla="*/ 36 h 58"/>
                  <a:gd name="T6" fmla="*/ 11 w 49"/>
                  <a:gd name="T7" fmla="*/ 43 h 58"/>
                  <a:gd name="T8" fmla="*/ 11 w 49"/>
                  <a:gd name="T9" fmla="*/ 55 h 58"/>
                  <a:gd name="T10" fmla="*/ 0 w 49"/>
                  <a:gd name="T11" fmla="*/ 58 h 58"/>
                  <a:gd name="T12" fmla="*/ 3 w 49"/>
                  <a:gd name="T13" fmla="*/ 3 h 58"/>
                  <a:gd name="T14" fmla="*/ 13 w 49"/>
                  <a:gd name="T15" fmla="*/ 0 h 58"/>
                  <a:gd name="T16" fmla="*/ 49 w 49"/>
                  <a:gd name="T17" fmla="*/ 42 h 58"/>
                  <a:gd name="T18" fmla="*/ 25 w 49"/>
                  <a:gd name="T19" fmla="*/ 29 h 58"/>
                  <a:gd name="T20" fmla="*/ 12 w 49"/>
                  <a:gd name="T21" fmla="*/ 14 h 58"/>
                  <a:gd name="T22" fmla="*/ 11 w 49"/>
                  <a:gd name="T23" fmla="*/ 34 h 58"/>
                  <a:gd name="T24" fmla="*/ 25 w 49"/>
                  <a:gd name="T25" fmla="*/ 29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49" h="58">
                    <a:moveTo>
                      <a:pt x="49" y="42"/>
                    </a:moveTo>
                    <a:lnTo>
                      <a:pt x="39" y="45"/>
                    </a:lnTo>
                    <a:lnTo>
                      <a:pt x="31" y="36"/>
                    </a:lnTo>
                    <a:lnTo>
                      <a:pt x="11" y="43"/>
                    </a:lnTo>
                    <a:lnTo>
                      <a:pt x="11" y="55"/>
                    </a:lnTo>
                    <a:lnTo>
                      <a:pt x="0" y="58"/>
                    </a:lnTo>
                    <a:lnTo>
                      <a:pt x="3" y="3"/>
                    </a:lnTo>
                    <a:lnTo>
                      <a:pt x="13" y="0"/>
                    </a:lnTo>
                    <a:lnTo>
                      <a:pt x="49" y="42"/>
                    </a:lnTo>
                    <a:close/>
                    <a:moveTo>
                      <a:pt x="25" y="29"/>
                    </a:moveTo>
                    <a:lnTo>
                      <a:pt x="12" y="14"/>
                    </a:lnTo>
                    <a:lnTo>
                      <a:pt x="11" y="34"/>
                    </a:lnTo>
                    <a:lnTo>
                      <a:pt x="25" y="2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275" name="íṩḻiḋê"/>
              <p:cNvSpPr/>
              <p:nvPr/>
            </p:nvSpPr>
            <p:spPr bwMode="auto">
              <a:xfrm>
                <a:off x="2714522" y="5990228"/>
                <a:ext cx="92075" cy="101600"/>
              </a:xfrm>
              <a:custGeom>
                <a:avLst/>
                <a:gdLst>
                  <a:gd name="T0" fmla="*/ 21 w 58"/>
                  <a:gd name="T1" fmla="*/ 64 h 64"/>
                  <a:gd name="T2" fmla="*/ 0 w 58"/>
                  <a:gd name="T3" fmla="*/ 17 h 64"/>
                  <a:gd name="T4" fmla="*/ 9 w 58"/>
                  <a:gd name="T5" fmla="*/ 12 h 64"/>
                  <a:gd name="T6" fmla="*/ 43 w 58"/>
                  <a:gd name="T7" fmla="*/ 36 h 64"/>
                  <a:gd name="T8" fmla="*/ 29 w 58"/>
                  <a:gd name="T9" fmla="*/ 4 h 64"/>
                  <a:gd name="T10" fmla="*/ 37 w 58"/>
                  <a:gd name="T11" fmla="*/ 0 h 64"/>
                  <a:gd name="T12" fmla="*/ 58 w 58"/>
                  <a:gd name="T13" fmla="*/ 46 h 64"/>
                  <a:gd name="T14" fmla="*/ 49 w 58"/>
                  <a:gd name="T15" fmla="*/ 51 h 64"/>
                  <a:gd name="T16" fmla="*/ 16 w 58"/>
                  <a:gd name="T17" fmla="*/ 29 h 64"/>
                  <a:gd name="T18" fmla="*/ 30 w 58"/>
                  <a:gd name="T19" fmla="*/ 59 h 64"/>
                  <a:gd name="T20" fmla="*/ 21 w 58"/>
                  <a:gd name="T21" fmla="*/ 64 h 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58" h="64">
                    <a:moveTo>
                      <a:pt x="21" y="64"/>
                    </a:moveTo>
                    <a:lnTo>
                      <a:pt x="0" y="17"/>
                    </a:lnTo>
                    <a:lnTo>
                      <a:pt x="9" y="12"/>
                    </a:lnTo>
                    <a:lnTo>
                      <a:pt x="43" y="36"/>
                    </a:lnTo>
                    <a:lnTo>
                      <a:pt x="29" y="4"/>
                    </a:lnTo>
                    <a:lnTo>
                      <a:pt x="37" y="0"/>
                    </a:lnTo>
                    <a:lnTo>
                      <a:pt x="58" y="46"/>
                    </a:lnTo>
                    <a:lnTo>
                      <a:pt x="49" y="51"/>
                    </a:lnTo>
                    <a:lnTo>
                      <a:pt x="16" y="29"/>
                    </a:lnTo>
                    <a:lnTo>
                      <a:pt x="30" y="59"/>
                    </a:lnTo>
                    <a:lnTo>
                      <a:pt x="21" y="6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276" name="îṧľíḍe"/>
              <p:cNvSpPr/>
              <p:nvPr/>
            </p:nvSpPr>
            <p:spPr bwMode="auto">
              <a:xfrm>
                <a:off x="2781197" y="5963240"/>
                <a:ext cx="85725" cy="95250"/>
              </a:xfrm>
              <a:custGeom>
                <a:avLst/>
                <a:gdLst>
                  <a:gd name="T0" fmla="*/ 0 w 47"/>
                  <a:gd name="T1" fmla="*/ 13 h 51"/>
                  <a:gd name="T2" fmla="*/ 14 w 47"/>
                  <a:gd name="T3" fmla="*/ 4 h 51"/>
                  <a:gd name="T4" fmla="*/ 22 w 47"/>
                  <a:gd name="T5" fmla="*/ 1 h 51"/>
                  <a:gd name="T6" fmla="*/ 29 w 47"/>
                  <a:gd name="T7" fmla="*/ 1 h 51"/>
                  <a:gd name="T8" fmla="*/ 37 w 47"/>
                  <a:gd name="T9" fmla="*/ 5 h 51"/>
                  <a:gd name="T10" fmla="*/ 43 w 47"/>
                  <a:gd name="T11" fmla="*/ 14 h 51"/>
                  <a:gd name="T12" fmla="*/ 47 w 47"/>
                  <a:gd name="T13" fmla="*/ 22 h 51"/>
                  <a:gd name="T14" fmla="*/ 46 w 47"/>
                  <a:gd name="T15" fmla="*/ 31 h 51"/>
                  <a:gd name="T16" fmla="*/ 43 w 47"/>
                  <a:gd name="T17" fmla="*/ 38 h 51"/>
                  <a:gd name="T18" fmla="*/ 36 w 47"/>
                  <a:gd name="T19" fmla="*/ 42 h 51"/>
                  <a:gd name="T20" fmla="*/ 22 w 47"/>
                  <a:gd name="T21" fmla="*/ 51 h 51"/>
                  <a:gd name="T22" fmla="*/ 0 w 47"/>
                  <a:gd name="T23" fmla="*/ 13 h 51"/>
                  <a:gd name="T24" fmla="*/ 11 w 47"/>
                  <a:gd name="T25" fmla="*/ 15 h 51"/>
                  <a:gd name="T26" fmla="*/ 26 w 47"/>
                  <a:gd name="T27" fmla="*/ 40 h 51"/>
                  <a:gd name="T28" fmla="*/ 32 w 47"/>
                  <a:gd name="T29" fmla="*/ 37 h 51"/>
                  <a:gd name="T30" fmla="*/ 36 w 47"/>
                  <a:gd name="T31" fmla="*/ 33 h 51"/>
                  <a:gd name="T32" fmla="*/ 38 w 47"/>
                  <a:gd name="T33" fmla="*/ 30 h 51"/>
                  <a:gd name="T34" fmla="*/ 38 w 47"/>
                  <a:gd name="T35" fmla="*/ 25 h 51"/>
                  <a:gd name="T36" fmla="*/ 35 w 47"/>
                  <a:gd name="T37" fmla="*/ 18 h 51"/>
                  <a:gd name="T38" fmla="*/ 30 w 47"/>
                  <a:gd name="T39" fmla="*/ 11 h 51"/>
                  <a:gd name="T40" fmla="*/ 26 w 47"/>
                  <a:gd name="T41" fmla="*/ 9 h 51"/>
                  <a:gd name="T42" fmla="*/ 21 w 47"/>
                  <a:gd name="T43" fmla="*/ 9 h 51"/>
                  <a:gd name="T44" fmla="*/ 15 w 47"/>
                  <a:gd name="T45" fmla="*/ 13 h 51"/>
                  <a:gd name="T46" fmla="*/ 11 w 47"/>
                  <a:gd name="T47" fmla="*/ 15 h 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47" h="51">
                    <a:moveTo>
                      <a:pt x="0" y="13"/>
                    </a:moveTo>
                    <a:cubicBezTo>
                      <a:pt x="14" y="4"/>
                      <a:pt x="14" y="4"/>
                      <a:pt x="14" y="4"/>
                    </a:cubicBezTo>
                    <a:cubicBezTo>
                      <a:pt x="17" y="3"/>
                      <a:pt x="20" y="1"/>
                      <a:pt x="22" y="1"/>
                    </a:cubicBezTo>
                    <a:cubicBezTo>
                      <a:pt x="24" y="0"/>
                      <a:pt x="27" y="0"/>
                      <a:pt x="29" y="1"/>
                    </a:cubicBezTo>
                    <a:cubicBezTo>
                      <a:pt x="32" y="2"/>
                      <a:pt x="34" y="3"/>
                      <a:pt x="37" y="5"/>
                    </a:cubicBezTo>
                    <a:cubicBezTo>
                      <a:pt x="39" y="7"/>
                      <a:pt x="41" y="10"/>
                      <a:pt x="43" y="14"/>
                    </a:cubicBezTo>
                    <a:cubicBezTo>
                      <a:pt x="45" y="17"/>
                      <a:pt x="46" y="20"/>
                      <a:pt x="47" y="22"/>
                    </a:cubicBezTo>
                    <a:cubicBezTo>
                      <a:pt x="47" y="26"/>
                      <a:pt x="47" y="29"/>
                      <a:pt x="46" y="31"/>
                    </a:cubicBezTo>
                    <a:cubicBezTo>
                      <a:pt x="46" y="34"/>
                      <a:pt x="45" y="36"/>
                      <a:pt x="43" y="38"/>
                    </a:cubicBezTo>
                    <a:cubicBezTo>
                      <a:pt x="41" y="39"/>
                      <a:pt x="39" y="41"/>
                      <a:pt x="36" y="42"/>
                    </a:cubicBezTo>
                    <a:cubicBezTo>
                      <a:pt x="22" y="51"/>
                      <a:pt x="22" y="51"/>
                      <a:pt x="22" y="51"/>
                    </a:cubicBezTo>
                    <a:lnTo>
                      <a:pt x="0" y="13"/>
                    </a:lnTo>
                    <a:close/>
                    <a:moveTo>
                      <a:pt x="11" y="15"/>
                    </a:moveTo>
                    <a:cubicBezTo>
                      <a:pt x="26" y="40"/>
                      <a:pt x="26" y="40"/>
                      <a:pt x="26" y="40"/>
                    </a:cubicBezTo>
                    <a:cubicBezTo>
                      <a:pt x="32" y="37"/>
                      <a:pt x="32" y="37"/>
                      <a:pt x="32" y="37"/>
                    </a:cubicBezTo>
                    <a:cubicBezTo>
                      <a:pt x="34" y="35"/>
                      <a:pt x="35" y="34"/>
                      <a:pt x="36" y="33"/>
                    </a:cubicBezTo>
                    <a:cubicBezTo>
                      <a:pt x="37" y="32"/>
                      <a:pt x="38" y="31"/>
                      <a:pt x="38" y="30"/>
                    </a:cubicBezTo>
                    <a:cubicBezTo>
                      <a:pt x="39" y="29"/>
                      <a:pt x="39" y="27"/>
                      <a:pt x="38" y="25"/>
                    </a:cubicBezTo>
                    <a:cubicBezTo>
                      <a:pt x="38" y="23"/>
                      <a:pt x="37" y="21"/>
                      <a:pt x="35" y="18"/>
                    </a:cubicBezTo>
                    <a:cubicBezTo>
                      <a:pt x="33" y="15"/>
                      <a:pt x="32" y="13"/>
                      <a:pt x="30" y="11"/>
                    </a:cubicBezTo>
                    <a:cubicBezTo>
                      <a:pt x="29" y="10"/>
                      <a:pt x="27" y="9"/>
                      <a:pt x="26" y="9"/>
                    </a:cubicBezTo>
                    <a:cubicBezTo>
                      <a:pt x="25" y="9"/>
                      <a:pt x="23" y="9"/>
                      <a:pt x="21" y="9"/>
                    </a:cubicBezTo>
                    <a:cubicBezTo>
                      <a:pt x="20" y="10"/>
                      <a:pt x="18" y="11"/>
                      <a:pt x="15" y="13"/>
                    </a:cubicBezTo>
                    <a:lnTo>
                      <a:pt x="11" y="1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277" name="ïṩḻiḍe"/>
              <p:cNvSpPr/>
              <p:nvPr/>
            </p:nvSpPr>
            <p:spPr bwMode="auto">
              <a:xfrm>
                <a:off x="2876447" y="5888628"/>
                <a:ext cx="80963" cy="88900"/>
              </a:xfrm>
              <a:custGeom>
                <a:avLst/>
                <a:gdLst>
                  <a:gd name="T0" fmla="*/ 43 w 51"/>
                  <a:gd name="T1" fmla="*/ 56 h 56"/>
                  <a:gd name="T2" fmla="*/ 16 w 51"/>
                  <a:gd name="T3" fmla="*/ 22 h 56"/>
                  <a:gd name="T4" fmla="*/ 5 w 51"/>
                  <a:gd name="T5" fmla="*/ 31 h 56"/>
                  <a:gd name="T6" fmla="*/ 0 w 51"/>
                  <a:gd name="T7" fmla="*/ 25 h 56"/>
                  <a:gd name="T8" fmla="*/ 31 w 51"/>
                  <a:gd name="T9" fmla="*/ 0 h 56"/>
                  <a:gd name="T10" fmla="*/ 37 w 51"/>
                  <a:gd name="T11" fmla="*/ 7 h 56"/>
                  <a:gd name="T12" fmla="*/ 24 w 51"/>
                  <a:gd name="T13" fmla="*/ 16 h 56"/>
                  <a:gd name="T14" fmla="*/ 51 w 51"/>
                  <a:gd name="T15" fmla="*/ 49 h 56"/>
                  <a:gd name="T16" fmla="*/ 43 w 51"/>
                  <a:gd name="T17" fmla="*/ 56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1" h="56">
                    <a:moveTo>
                      <a:pt x="43" y="56"/>
                    </a:moveTo>
                    <a:lnTo>
                      <a:pt x="16" y="22"/>
                    </a:lnTo>
                    <a:lnTo>
                      <a:pt x="5" y="31"/>
                    </a:lnTo>
                    <a:lnTo>
                      <a:pt x="0" y="25"/>
                    </a:lnTo>
                    <a:lnTo>
                      <a:pt x="31" y="0"/>
                    </a:lnTo>
                    <a:lnTo>
                      <a:pt x="37" y="7"/>
                    </a:lnTo>
                    <a:lnTo>
                      <a:pt x="24" y="16"/>
                    </a:lnTo>
                    <a:lnTo>
                      <a:pt x="51" y="49"/>
                    </a:lnTo>
                    <a:lnTo>
                      <a:pt x="43" y="56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278" name="íśļïḓè"/>
              <p:cNvSpPr/>
              <p:nvPr/>
            </p:nvSpPr>
            <p:spPr bwMode="auto">
              <a:xfrm>
                <a:off x="2925659" y="5845765"/>
                <a:ext cx="101600" cy="100013"/>
              </a:xfrm>
              <a:custGeom>
                <a:avLst/>
                <a:gdLst>
                  <a:gd name="T0" fmla="*/ 36 w 64"/>
                  <a:gd name="T1" fmla="*/ 63 h 63"/>
                  <a:gd name="T2" fmla="*/ 0 w 64"/>
                  <a:gd name="T3" fmla="*/ 26 h 63"/>
                  <a:gd name="T4" fmla="*/ 28 w 64"/>
                  <a:gd name="T5" fmla="*/ 0 h 63"/>
                  <a:gd name="T6" fmla="*/ 34 w 64"/>
                  <a:gd name="T7" fmla="*/ 6 h 63"/>
                  <a:gd name="T8" fmla="*/ 14 w 64"/>
                  <a:gd name="T9" fmla="*/ 26 h 63"/>
                  <a:gd name="T10" fmla="*/ 22 w 64"/>
                  <a:gd name="T11" fmla="*/ 34 h 63"/>
                  <a:gd name="T12" fmla="*/ 41 w 64"/>
                  <a:gd name="T13" fmla="*/ 16 h 63"/>
                  <a:gd name="T14" fmla="*/ 47 w 64"/>
                  <a:gd name="T15" fmla="*/ 22 h 63"/>
                  <a:gd name="T16" fmla="*/ 28 w 64"/>
                  <a:gd name="T17" fmla="*/ 39 h 63"/>
                  <a:gd name="T18" fmla="*/ 38 w 64"/>
                  <a:gd name="T19" fmla="*/ 50 h 63"/>
                  <a:gd name="T20" fmla="*/ 58 w 64"/>
                  <a:gd name="T21" fmla="*/ 30 h 63"/>
                  <a:gd name="T22" fmla="*/ 64 w 64"/>
                  <a:gd name="T23" fmla="*/ 36 h 63"/>
                  <a:gd name="T24" fmla="*/ 36 w 64"/>
                  <a:gd name="T25" fmla="*/ 63 h 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4" h="63">
                    <a:moveTo>
                      <a:pt x="36" y="63"/>
                    </a:moveTo>
                    <a:lnTo>
                      <a:pt x="0" y="26"/>
                    </a:lnTo>
                    <a:lnTo>
                      <a:pt x="28" y="0"/>
                    </a:lnTo>
                    <a:lnTo>
                      <a:pt x="34" y="6"/>
                    </a:lnTo>
                    <a:lnTo>
                      <a:pt x="14" y="26"/>
                    </a:lnTo>
                    <a:lnTo>
                      <a:pt x="22" y="34"/>
                    </a:lnTo>
                    <a:lnTo>
                      <a:pt x="41" y="16"/>
                    </a:lnTo>
                    <a:lnTo>
                      <a:pt x="47" y="22"/>
                    </a:lnTo>
                    <a:lnTo>
                      <a:pt x="28" y="39"/>
                    </a:lnTo>
                    <a:lnTo>
                      <a:pt x="38" y="50"/>
                    </a:lnTo>
                    <a:lnTo>
                      <a:pt x="58" y="30"/>
                    </a:lnTo>
                    <a:lnTo>
                      <a:pt x="64" y="36"/>
                    </a:lnTo>
                    <a:lnTo>
                      <a:pt x="36" y="6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279" name="íṩḻîde"/>
              <p:cNvSpPr/>
              <p:nvPr/>
            </p:nvSpPr>
            <p:spPr bwMode="auto">
              <a:xfrm>
                <a:off x="2985984" y="5801315"/>
                <a:ext cx="82550" cy="80963"/>
              </a:xfrm>
              <a:custGeom>
                <a:avLst/>
                <a:gdLst>
                  <a:gd name="T0" fmla="*/ 34 w 45"/>
                  <a:gd name="T1" fmla="*/ 19 h 44"/>
                  <a:gd name="T2" fmla="*/ 41 w 45"/>
                  <a:gd name="T3" fmla="*/ 14 h 44"/>
                  <a:gd name="T4" fmla="*/ 45 w 45"/>
                  <a:gd name="T5" fmla="*/ 26 h 44"/>
                  <a:gd name="T6" fmla="*/ 40 w 45"/>
                  <a:gd name="T7" fmla="*/ 37 h 44"/>
                  <a:gd name="T8" fmla="*/ 26 w 45"/>
                  <a:gd name="T9" fmla="*/ 44 h 44"/>
                  <a:gd name="T10" fmla="*/ 10 w 45"/>
                  <a:gd name="T11" fmla="*/ 38 h 44"/>
                  <a:gd name="T12" fmla="*/ 1 w 45"/>
                  <a:gd name="T13" fmla="*/ 22 h 44"/>
                  <a:gd name="T14" fmla="*/ 6 w 45"/>
                  <a:gd name="T15" fmla="*/ 7 h 44"/>
                  <a:gd name="T16" fmla="*/ 18 w 45"/>
                  <a:gd name="T17" fmla="*/ 0 h 44"/>
                  <a:gd name="T18" fmla="*/ 27 w 45"/>
                  <a:gd name="T19" fmla="*/ 2 h 44"/>
                  <a:gd name="T20" fmla="*/ 23 w 45"/>
                  <a:gd name="T21" fmla="*/ 10 h 44"/>
                  <a:gd name="T22" fmla="*/ 17 w 45"/>
                  <a:gd name="T23" fmla="*/ 9 h 44"/>
                  <a:gd name="T24" fmla="*/ 11 w 45"/>
                  <a:gd name="T25" fmla="*/ 12 h 44"/>
                  <a:gd name="T26" fmla="*/ 9 w 45"/>
                  <a:gd name="T27" fmla="*/ 21 h 44"/>
                  <a:gd name="T28" fmla="*/ 15 w 45"/>
                  <a:gd name="T29" fmla="*/ 30 h 44"/>
                  <a:gd name="T30" fmla="*/ 26 w 45"/>
                  <a:gd name="T31" fmla="*/ 36 h 44"/>
                  <a:gd name="T32" fmla="*/ 34 w 45"/>
                  <a:gd name="T33" fmla="*/ 32 h 44"/>
                  <a:gd name="T34" fmla="*/ 36 w 45"/>
                  <a:gd name="T35" fmla="*/ 26 h 44"/>
                  <a:gd name="T36" fmla="*/ 34 w 45"/>
                  <a:gd name="T37" fmla="*/ 19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45" h="44">
                    <a:moveTo>
                      <a:pt x="34" y="19"/>
                    </a:moveTo>
                    <a:cubicBezTo>
                      <a:pt x="41" y="14"/>
                      <a:pt x="41" y="14"/>
                      <a:pt x="41" y="14"/>
                    </a:cubicBezTo>
                    <a:cubicBezTo>
                      <a:pt x="44" y="18"/>
                      <a:pt x="45" y="22"/>
                      <a:pt x="45" y="26"/>
                    </a:cubicBezTo>
                    <a:cubicBezTo>
                      <a:pt x="45" y="30"/>
                      <a:pt x="43" y="34"/>
                      <a:pt x="40" y="37"/>
                    </a:cubicBezTo>
                    <a:cubicBezTo>
                      <a:pt x="36" y="42"/>
                      <a:pt x="31" y="44"/>
                      <a:pt x="26" y="44"/>
                    </a:cubicBezTo>
                    <a:cubicBezTo>
                      <a:pt x="21" y="44"/>
                      <a:pt x="15" y="42"/>
                      <a:pt x="10" y="38"/>
                    </a:cubicBezTo>
                    <a:cubicBezTo>
                      <a:pt x="4" y="33"/>
                      <a:pt x="1" y="28"/>
                      <a:pt x="1" y="22"/>
                    </a:cubicBezTo>
                    <a:cubicBezTo>
                      <a:pt x="0" y="17"/>
                      <a:pt x="2" y="12"/>
                      <a:pt x="6" y="7"/>
                    </a:cubicBezTo>
                    <a:cubicBezTo>
                      <a:pt x="10" y="3"/>
                      <a:pt x="14" y="1"/>
                      <a:pt x="18" y="0"/>
                    </a:cubicBezTo>
                    <a:cubicBezTo>
                      <a:pt x="21" y="0"/>
                      <a:pt x="24" y="1"/>
                      <a:pt x="27" y="2"/>
                    </a:cubicBezTo>
                    <a:cubicBezTo>
                      <a:pt x="23" y="10"/>
                      <a:pt x="23" y="10"/>
                      <a:pt x="23" y="10"/>
                    </a:cubicBezTo>
                    <a:cubicBezTo>
                      <a:pt x="21" y="9"/>
                      <a:pt x="19" y="9"/>
                      <a:pt x="17" y="9"/>
                    </a:cubicBezTo>
                    <a:cubicBezTo>
                      <a:pt x="15" y="9"/>
                      <a:pt x="13" y="11"/>
                      <a:pt x="11" y="12"/>
                    </a:cubicBezTo>
                    <a:cubicBezTo>
                      <a:pt x="9" y="15"/>
                      <a:pt x="8" y="18"/>
                      <a:pt x="9" y="21"/>
                    </a:cubicBezTo>
                    <a:cubicBezTo>
                      <a:pt x="9" y="24"/>
                      <a:pt x="12" y="27"/>
                      <a:pt x="15" y="30"/>
                    </a:cubicBezTo>
                    <a:cubicBezTo>
                      <a:pt x="20" y="34"/>
                      <a:pt x="23" y="36"/>
                      <a:pt x="26" y="36"/>
                    </a:cubicBezTo>
                    <a:cubicBezTo>
                      <a:pt x="29" y="36"/>
                      <a:pt x="32" y="35"/>
                      <a:pt x="34" y="32"/>
                    </a:cubicBezTo>
                    <a:cubicBezTo>
                      <a:pt x="36" y="31"/>
                      <a:pt x="36" y="29"/>
                      <a:pt x="36" y="26"/>
                    </a:cubicBezTo>
                    <a:cubicBezTo>
                      <a:pt x="36" y="24"/>
                      <a:pt x="35" y="22"/>
                      <a:pt x="34" y="1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280" name="îŝḷïḓê"/>
              <p:cNvSpPr/>
              <p:nvPr/>
            </p:nvSpPr>
            <p:spPr bwMode="auto">
              <a:xfrm>
                <a:off x="3022497" y="5733053"/>
                <a:ext cx="103188" cy="101600"/>
              </a:xfrm>
              <a:custGeom>
                <a:avLst/>
                <a:gdLst>
                  <a:gd name="T0" fmla="*/ 42 w 65"/>
                  <a:gd name="T1" fmla="*/ 64 h 64"/>
                  <a:gd name="T2" fmla="*/ 0 w 65"/>
                  <a:gd name="T3" fmla="*/ 34 h 64"/>
                  <a:gd name="T4" fmla="*/ 6 w 65"/>
                  <a:gd name="T5" fmla="*/ 26 h 64"/>
                  <a:gd name="T6" fmla="*/ 22 w 65"/>
                  <a:gd name="T7" fmla="*/ 37 h 64"/>
                  <a:gd name="T8" fmla="*/ 33 w 65"/>
                  <a:gd name="T9" fmla="*/ 21 h 64"/>
                  <a:gd name="T10" fmla="*/ 17 w 65"/>
                  <a:gd name="T11" fmla="*/ 9 h 64"/>
                  <a:gd name="T12" fmla="*/ 23 w 65"/>
                  <a:gd name="T13" fmla="*/ 0 h 64"/>
                  <a:gd name="T14" fmla="*/ 65 w 65"/>
                  <a:gd name="T15" fmla="*/ 30 h 64"/>
                  <a:gd name="T16" fmla="*/ 59 w 65"/>
                  <a:gd name="T17" fmla="*/ 38 h 64"/>
                  <a:gd name="T18" fmla="*/ 40 w 65"/>
                  <a:gd name="T19" fmla="*/ 26 h 64"/>
                  <a:gd name="T20" fmla="*/ 29 w 65"/>
                  <a:gd name="T21" fmla="*/ 42 h 64"/>
                  <a:gd name="T22" fmla="*/ 47 w 65"/>
                  <a:gd name="T23" fmla="*/ 55 h 64"/>
                  <a:gd name="T24" fmla="*/ 42 w 65"/>
                  <a:gd name="T25" fmla="*/ 64 h 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5" h="64">
                    <a:moveTo>
                      <a:pt x="42" y="64"/>
                    </a:moveTo>
                    <a:lnTo>
                      <a:pt x="0" y="34"/>
                    </a:lnTo>
                    <a:lnTo>
                      <a:pt x="6" y="26"/>
                    </a:lnTo>
                    <a:lnTo>
                      <a:pt x="22" y="37"/>
                    </a:lnTo>
                    <a:lnTo>
                      <a:pt x="33" y="21"/>
                    </a:lnTo>
                    <a:lnTo>
                      <a:pt x="17" y="9"/>
                    </a:lnTo>
                    <a:lnTo>
                      <a:pt x="23" y="0"/>
                    </a:lnTo>
                    <a:lnTo>
                      <a:pt x="65" y="30"/>
                    </a:lnTo>
                    <a:lnTo>
                      <a:pt x="59" y="38"/>
                    </a:lnTo>
                    <a:lnTo>
                      <a:pt x="40" y="26"/>
                    </a:lnTo>
                    <a:lnTo>
                      <a:pt x="29" y="42"/>
                    </a:lnTo>
                    <a:lnTo>
                      <a:pt x="47" y="55"/>
                    </a:lnTo>
                    <a:lnTo>
                      <a:pt x="42" y="6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281" name="îşḷîḑe"/>
              <p:cNvSpPr/>
              <p:nvPr/>
            </p:nvSpPr>
            <p:spPr bwMode="auto">
              <a:xfrm>
                <a:off x="3062184" y="5672728"/>
                <a:ext cx="103188" cy="95250"/>
              </a:xfrm>
              <a:custGeom>
                <a:avLst/>
                <a:gdLst>
                  <a:gd name="T0" fmla="*/ 44 w 65"/>
                  <a:gd name="T1" fmla="*/ 60 h 60"/>
                  <a:gd name="T2" fmla="*/ 0 w 65"/>
                  <a:gd name="T3" fmla="*/ 34 h 60"/>
                  <a:gd name="T4" fmla="*/ 5 w 65"/>
                  <a:gd name="T5" fmla="*/ 26 h 60"/>
                  <a:gd name="T6" fmla="*/ 46 w 65"/>
                  <a:gd name="T7" fmla="*/ 24 h 60"/>
                  <a:gd name="T8" fmla="*/ 15 w 65"/>
                  <a:gd name="T9" fmla="*/ 8 h 60"/>
                  <a:gd name="T10" fmla="*/ 20 w 65"/>
                  <a:gd name="T11" fmla="*/ 0 h 60"/>
                  <a:gd name="T12" fmla="*/ 65 w 65"/>
                  <a:gd name="T13" fmla="*/ 24 h 60"/>
                  <a:gd name="T14" fmla="*/ 59 w 65"/>
                  <a:gd name="T15" fmla="*/ 33 h 60"/>
                  <a:gd name="T16" fmla="*/ 20 w 65"/>
                  <a:gd name="T17" fmla="*/ 34 h 60"/>
                  <a:gd name="T18" fmla="*/ 49 w 65"/>
                  <a:gd name="T19" fmla="*/ 52 h 60"/>
                  <a:gd name="T20" fmla="*/ 44 w 65"/>
                  <a:gd name="T21" fmla="*/ 60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65" h="60">
                    <a:moveTo>
                      <a:pt x="44" y="60"/>
                    </a:moveTo>
                    <a:lnTo>
                      <a:pt x="0" y="34"/>
                    </a:lnTo>
                    <a:lnTo>
                      <a:pt x="5" y="26"/>
                    </a:lnTo>
                    <a:lnTo>
                      <a:pt x="46" y="24"/>
                    </a:lnTo>
                    <a:lnTo>
                      <a:pt x="15" y="8"/>
                    </a:lnTo>
                    <a:lnTo>
                      <a:pt x="20" y="0"/>
                    </a:lnTo>
                    <a:lnTo>
                      <a:pt x="65" y="24"/>
                    </a:lnTo>
                    <a:lnTo>
                      <a:pt x="59" y="33"/>
                    </a:lnTo>
                    <a:lnTo>
                      <a:pt x="20" y="34"/>
                    </a:lnTo>
                    <a:lnTo>
                      <a:pt x="49" y="52"/>
                    </a:lnTo>
                    <a:lnTo>
                      <a:pt x="44" y="6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282" name="îşḷïḋê"/>
              <p:cNvSpPr/>
              <p:nvPr/>
            </p:nvSpPr>
            <p:spPr bwMode="auto">
              <a:xfrm>
                <a:off x="3106634" y="5606053"/>
                <a:ext cx="87313" cy="84138"/>
              </a:xfrm>
              <a:custGeom>
                <a:avLst/>
                <a:gdLst>
                  <a:gd name="T0" fmla="*/ 15 w 47"/>
                  <a:gd name="T1" fmla="*/ 43 h 46"/>
                  <a:gd name="T2" fmla="*/ 5 w 47"/>
                  <a:gd name="T3" fmla="*/ 36 h 46"/>
                  <a:gd name="T4" fmla="*/ 2 w 47"/>
                  <a:gd name="T5" fmla="*/ 30 h 46"/>
                  <a:gd name="T6" fmla="*/ 0 w 47"/>
                  <a:gd name="T7" fmla="*/ 23 h 46"/>
                  <a:gd name="T8" fmla="*/ 2 w 47"/>
                  <a:gd name="T9" fmla="*/ 14 h 46"/>
                  <a:gd name="T10" fmla="*/ 14 w 47"/>
                  <a:gd name="T11" fmla="*/ 2 h 46"/>
                  <a:gd name="T12" fmla="*/ 32 w 47"/>
                  <a:gd name="T13" fmla="*/ 3 h 46"/>
                  <a:gd name="T14" fmla="*/ 45 w 47"/>
                  <a:gd name="T15" fmla="*/ 15 h 46"/>
                  <a:gd name="T16" fmla="*/ 44 w 47"/>
                  <a:gd name="T17" fmla="*/ 32 h 46"/>
                  <a:gd name="T18" fmla="*/ 32 w 47"/>
                  <a:gd name="T19" fmla="*/ 44 h 46"/>
                  <a:gd name="T20" fmla="*/ 15 w 47"/>
                  <a:gd name="T21" fmla="*/ 43 h 46"/>
                  <a:gd name="T22" fmla="*/ 18 w 47"/>
                  <a:gd name="T23" fmla="*/ 34 h 46"/>
                  <a:gd name="T24" fmla="*/ 30 w 47"/>
                  <a:gd name="T25" fmla="*/ 35 h 46"/>
                  <a:gd name="T26" fmla="*/ 37 w 47"/>
                  <a:gd name="T27" fmla="*/ 29 h 46"/>
                  <a:gd name="T28" fmla="*/ 37 w 47"/>
                  <a:gd name="T29" fmla="*/ 19 h 46"/>
                  <a:gd name="T30" fmla="*/ 28 w 47"/>
                  <a:gd name="T31" fmla="*/ 12 h 46"/>
                  <a:gd name="T32" fmla="*/ 16 w 47"/>
                  <a:gd name="T33" fmla="*/ 10 h 46"/>
                  <a:gd name="T34" fmla="*/ 9 w 47"/>
                  <a:gd name="T35" fmla="*/ 17 h 46"/>
                  <a:gd name="T36" fmla="*/ 9 w 47"/>
                  <a:gd name="T37" fmla="*/ 27 h 46"/>
                  <a:gd name="T38" fmla="*/ 18 w 47"/>
                  <a:gd name="T39" fmla="*/ 34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47" h="46">
                    <a:moveTo>
                      <a:pt x="15" y="43"/>
                    </a:moveTo>
                    <a:cubicBezTo>
                      <a:pt x="11" y="41"/>
                      <a:pt x="8" y="39"/>
                      <a:pt x="5" y="36"/>
                    </a:cubicBezTo>
                    <a:cubicBezTo>
                      <a:pt x="4" y="34"/>
                      <a:pt x="2" y="32"/>
                      <a:pt x="2" y="30"/>
                    </a:cubicBezTo>
                    <a:cubicBezTo>
                      <a:pt x="1" y="28"/>
                      <a:pt x="0" y="26"/>
                      <a:pt x="0" y="23"/>
                    </a:cubicBezTo>
                    <a:cubicBezTo>
                      <a:pt x="0" y="20"/>
                      <a:pt x="1" y="17"/>
                      <a:pt x="2" y="14"/>
                    </a:cubicBezTo>
                    <a:cubicBezTo>
                      <a:pt x="5" y="8"/>
                      <a:pt x="9" y="4"/>
                      <a:pt x="14" y="2"/>
                    </a:cubicBezTo>
                    <a:cubicBezTo>
                      <a:pt x="19" y="0"/>
                      <a:pt x="25" y="1"/>
                      <a:pt x="32" y="3"/>
                    </a:cubicBezTo>
                    <a:cubicBezTo>
                      <a:pt x="38" y="6"/>
                      <a:pt x="43" y="10"/>
                      <a:pt x="45" y="15"/>
                    </a:cubicBezTo>
                    <a:cubicBezTo>
                      <a:pt x="47" y="21"/>
                      <a:pt x="47" y="26"/>
                      <a:pt x="44" y="32"/>
                    </a:cubicBezTo>
                    <a:cubicBezTo>
                      <a:pt x="41" y="38"/>
                      <a:pt x="38" y="42"/>
                      <a:pt x="32" y="44"/>
                    </a:cubicBezTo>
                    <a:cubicBezTo>
                      <a:pt x="27" y="46"/>
                      <a:pt x="21" y="45"/>
                      <a:pt x="15" y="43"/>
                    </a:cubicBezTo>
                    <a:close/>
                    <a:moveTo>
                      <a:pt x="18" y="34"/>
                    </a:moveTo>
                    <a:cubicBezTo>
                      <a:pt x="23" y="36"/>
                      <a:pt x="27" y="37"/>
                      <a:pt x="30" y="35"/>
                    </a:cubicBezTo>
                    <a:cubicBezTo>
                      <a:pt x="33" y="34"/>
                      <a:pt x="36" y="32"/>
                      <a:pt x="37" y="29"/>
                    </a:cubicBezTo>
                    <a:cubicBezTo>
                      <a:pt x="39" y="26"/>
                      <a:pt x="39" y="23"/>
                      <a:pt x="37" y="19"/>
                    </a:cubicBezTo>
                    <a:cubicBezTo>
                      <a:pt x="36" y="16"/>
                      <a:pt x="33" y="14"/>
                      <a:pt x="28" y="12"/>
                    </a:cubicBezTo>
                    <a:cubicBezTo>
                      <a:pt x="23" y="10"/>
                      <a:pt x="19" y="9"/>
                      <a:pt x="16" y="10"/>
                    </a:cubicBezTo>
                    <a:cubicBezTo>
                      <a:pt x="13" y="11"/>
                      <a:pt x="11" y="14"/>
                      <a:pt x="9" y="17"/>
                    </a:cubicBezTo>
                    <a:cubicBezTo>
                      <a:pt x="8" y="20"/>
                      <a:pt x="8" y="23"/>
                      <a:pt x="9" y="27"/>
                    </a:cubicBezTo>
                    <a:cubicBezTo>
                      <a:pt x="11" y="30"/>
                      <a:pt x="14" y="32"/>
                      <a:pt x="18" y="3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283" name="îṣlïḍè"/>
              <p:cNvSpPr/>
              <p:nvPr/>
            </p:nvSpPr>
            <p:spPr bwMode="auto">
              <a:xfrm>
                <a:off x="3128859" y="5560015"/>
                <a:ext cx="93663" cy="57150"/>
              </a:xfrm>
              <a:custGeom>
                <a:avLst/>
                <a:gdLst>
                  <a:gd name="T0" fmla="*/ 49 w 59"/>
                  <a:gd name="T1" fmla="*/ 36 h 36"/>
                  <a:gd name="T2" fmla="*/ 0 w 59"/>
                  <a:gd name="T3" fmla="*/ 21 h 36"/>
                  <a:gd name="T4" fmla="*/ 4 w 59"/>
                  <a:gd name="T5" fmla="*/ 10 h 36"/>
                  <a:gd name="T6" fmla="*/ 43 w 59"/>
                  <a:gd name="T7" fmla="*/ 24 h 36"/>
                  <a:gd name="T8" fmla="*/ 51 w 59"/>
                  <a:gd name="T9" fmla="*/ 0 h 36"/>
                  <a:gd name="T10" fmla="*/ 59 w 59"/>
                  <a:gd name="T11" fmla="*/ 2 h 36"/>
                  <a:gd name="T12" fmla="*/ 49 w 59"/>
                  <a:gd name="T13" fmla="*/ 36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59" h="36">
                    <a:moveTo>
                      <a:pt x="49" y="36"/>
                    </a:moveTo>
                    <a:lnTo>
                      <a:pt x="0" y="21"/>
                    </a:lnTo>
                    <a:lnTo>
                      <a:pt x="4" y="10"/>
                    </a:lnTo>
                    <a:lnTo>
                      <a:pt x="43" y="24"/>
                    </a:lnTo>
                    <a:lnTo>
                      <a:pt x="51" y="0"/>
                    </a:lnTo>
                    <a:lnTo>
                      <a:pt x="59" y="2"/>
                    </a:lnTo>
                    <a:lnTo>
                      <a:pt x="49" y="36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284" name="ïṩḷîḓê"/>
              <p:cNvSpPr/>
              <p:nvPr/>
            </p:nvSpPr>
            <p:spPr bwMode="auto">
              <a:xfrm>
                <a:off x="3152672" y="5469528"/>
                <a:ext cx="85725" cy="80963"/>
              </a:xfrm>
              <a:custGeom>
                <a:avLst/>
                <a:gdLst>
                  <a:gd name="T0" fmla="*/ 18 w 46"/>
                  <a:gd name="T1" fmla="*/ 43 h 44"/>
                  <a:gd name="T2" fmla="*/ 8 w 46"/>
                  <a:gd name="T3" fmla="*/ 38 h 44"/>
                  <a:gd name="T4" fmla="*/ 3 w 46"/>
                  <a:gd name="T5" fmla="*/ 33 h 44"/>
                  <a:gd name="T6" fmla="*/ 0 w 46"/>
                  <a:gd name="T7" fmla="*/ 27 h 44"/>
                  <a:gd name="T8" fmla="*/ 1 w 46"/>
                  <a:gd name="T9" fmla="*/ 17 h 44"/>
                  <a:gd name="T10" fmla="*/ 10 w 46"/>
                  <a:gd name="T11" fmla="*/ 3 h 44"/>
                  <a:gd name="T12" fmla="*/ 28 w 46"/>
                  <a:gd name="T13" fmla="*/ 1 h 44"/>
                  <a:gd name="T14" fmla="*/ 43 w 46"/>
                  <a:gd name="T15" fmla="*/ 11 h 44"/>
                  <a:gd name="T16" fmla="*/ 45 w 46"/>
                  <a:gd name="T17" fmla="*/ 27 h 44"/>
                  <a:gd name="T18" fmla="*/ 36 w 46"/>
                  <a:gd name="T19" fmla="*/ 41 h 44"/>
                  <a:gd name="T20" fmla="*/ 18 w 46"/>
                  <a:gd name="T21" fmla="*/ 43 h 44"/>
                  <a:gd name="T22" fmla="*/ 20 w 46"/>
                  <a:gd name="T23" fmla="*/ 34 h 44"/>
                  <a:gd name="T24" fmla="*/ 32 w 46"/>
                  <a:gd name="T25" fmla="*/ 33 h 44"/>
                  <a:gd name="T26" fmla="*/ 38 w 46"/>
                  <a:gd name="T27" fmla="*/ 25 h 44"/>
                  <a:gd name="T28" fmla="*/ 36 w 46"/>
                  <a:gd name="T29" fmla="*/ 16 h 44"/>
                  <a:gd name="T30" fmla="*/ 25 w 46"/>
                  <a:gd name="T31" fmla="*/ 10 h 44"/>
                  <a:gd name="T32" fmla="*/ 14 w 46"/>
                  <a:gd name="T33" fmla="*/ 11 h 44"/>
                  <a:gd name="T34" fmla="*/ 8 w 46"/>
                  <a:gd name="T35" fmla="*/ 19 h 44"/>
                  <a:gd name="T36" fmla="*/ 10 w 46"/>
                  <a:gd name="T37" fmla="*/ 28 h 44"/>
                  <a:gd name="T38" fmla="*/ 20 w 46"/>
                  <a:gd name="T39" fmla="*/ 34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46" h="44">
                    <a:moveTo>
                      <a:pt x="18" y="43"/>
                    </a:moveTo>
                    <a:cubicBezTo>
                      <a:pt x="14" y="42"/>
                      <a:pt x="10" y="40"/>
                      <a:pt x="8" y="38"/>
                    </a:cubicBezTo>
                    <a:cubicBezTo>
                      <a:pt x="6" y="37"/>
                      <a:pt x="4" y="35"/>
                      <a:pt x="3" y="33"/>
                    </a:cubicBezTo>
                    <a:cubicBezTo>
                      <a:pt x="1" y="31"/>
                      <a:pt x="1" y="29"/>
                      <a:pt x="0" y="27"/>
                    </a:cubicBezTo>
                    <a:cubicBezTo>
                      <a:pt x="0" y="24"/>
                      <a:pt x="0" y="21"/>
                      <a:pt x="1" y="17"/>
                    </a:cubicBezTo>
                    <a:cubicBezTo>
                      <a:pt x="2" y="11"/>
                      <a:pt x="5" y="6"/>
                      <a:pt x="10" y="3"/>
                    </a:cubicBezTo>
                    <a:cubicBezTo>
                      <a:pt x="15" y="0"/>
                      <a:pt x="21" y="0"/>
                      <a:pt x="28" y="1"/>
                    </a:cubicBezTo>
                    <a:cubicBezTo>
                      <a:pt x="34" y="3"/>
                      <a:pt x="39" y="6"/>
                      <a:pt x="43" y="11"/>
                    </a:cubicBezTo>
                    <a:cubicBezTo>
                      <a:pt x="46" y="15"/>
                      <a:pt x="46" y="21"/>
                      <a:pt x="45" y="27"/>
                    </a:cubicBezTo>
                    <a:cubicBezTo>
                      <a:pt x="44" y="33"/>
                      <a:pt x="40" y="38"/>
                      <a:pt x="36" y="41"/>
                    </a:cubicBezTo>
                    <a:cubicBezTo>
                      <a:pt x="31" y="44"/>
                      <a:pt x="25" y="44"/>
                      <a:pt x="18" y="43"/>
                    </a:cubicBezTo>
                    <a:close/>
                    <a:moveTo>
                      <a:pt x="20" y="34"/>
                    </a:moveTo>
                    <a:cubicBezTo>
                      <a:pt x="25" y="35"/>
                      <a:pt x="29" y="35"/>
                      <a:pt x="32" y="33"/>
                    </a:cubicBezTo>
                    <a:cubicBezTo>
                      <a:pt x="35" y="31"/>
                      <a:pt x="37" y="29"/>
                      <a:pt x="38" y="25"/>
                    </a:cubicBezTo>
                    <a:cubicBezTo>
                      <a:pt x="38" y="22"/>
                      <a:pt x="38" y="19"/>
                      <a:pt x="36" y="16"/>
                    </a:cubicBezTo>
                    <a:cubicBezTo>
                      <a:pt x="34" y="13"/>
                      <a:pt x="30" y="11"/>
                      <a:pt x="25" y="10"/>
                    </a:cubicBezTo>
                    <a:cubicBezTo>
                      <a:pt x="20" y="9"/>
                      <a:pt x="16" y="9"/>
                      <a:pt x="14" y="11"/>
                    </a:cubicBezTo>
                    <a:cubicBezTo>
                      <a:pt x="11" y="13"/>
                      <a:pt x="9" y="15"/>
                      <a:pt x="8" y="19"/>
                    </a:cubicBezTo>
                    <a:cubicBezTo>
                      <a:pt x="7" y="22"/>
                      <a:pt x="8" y="25"/>
                      <a:pt x="10" y="28"/>
                    </a:cubicBezTo>
                    <a:cubicBezTo>
                      <a:pt x="12" y="31"/>
                      <a:pt x="15" y="33"/>
                      <a:pt x="20" y="3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285" name="ïSļiďé"/>
              <p:cNvSpPr/>
              <p:nvPr/>
            </p:nvSpPr>
            <p:spPr bwMode="auto">
              <a:xfrm>
                <a:off x="3165372" y="5390153"/>
                <a:ext cx="85725" cy="77788"/>
              </a:xfrm>
              <a:custGeom>
                <a:avLst/>
                <a:gdLst>
                  <a:gd name="T0" fmla="*/ 29 w 46"/>
                  <a:gd name="T1" fmla="*/ 21 h 42"/>
                  <a:gd name="T2" fmla="*/ 22 w 46"/>
                  <a:gd name="T3" fmla="*/ 20 h 42"/>
                  <a:gd name="T4" fmla="*/ 24 w 46"/>
                  <a:gd name="T5" fmla="*/ 1 h 42"/>
                  <a:gd name="T6" fmla="*/ 41 w 46"/>
                  <a:gd name="T7" fmla="*/ 3 h 42"/>
                  <a:gd name="T8" fmla="*/ 45 w 46"/>
                  <a:gd name="T9" fmla="*/ 11 h 42"/>
                  <a:gd name="T10" fmla="*/ 46 w 46"/>
                  <a:gd name="T11" fmla="*/ 22 h 42"/>
                  <a:gd name="T12" fmla="*/ 42 w 46"/>
                  <a:gd name="T13" fmla="*/ 34 h 42"/>
                  <a:gd name="T14" fmla="*/ 33 w 46"/>
                  <a:gd name="T15" fmla="*/ 41 h 42"/>
                  <a:gd name="T16" fmla="*/ 21 w 46"/>
                  <a:gd name="T17" fmla="*/ 42 h 42"/>
                  <a:gd name="T18" fmla="*/ 9 w 46"/>
                  <a:gd name="T19" fmla="*/ 38 h 42"/>
                  <a:gd name="T20" fmla="*/ 2 w 46"/>
                  <a:gd name="T21" fmla="*/ 28 h 42"/>
                  <a:gd name="T22" fmla="*/ 1 w 46"/>
                  <a:gd name="T23" fmla="*/ 18 h 42"/>
                  <a:gd name="T24" fmla="*/ 6 w 46"/>
                  <a:gd name="T25" fmla="*/ 5 h 42"/>
                  <a:gd name="T26" fmla="*/ 16 w 46"/>
                  <a:gd name="T27" fmla="*/ 0 h 42"/>
                  <a:gd name="T28" fmla="*/ 16 w 46"/>
                  <a:gd name="T29" fmla="*/ 9 h 42"/>
                  <a:gd name="T30" fmla="*/ 11 w 46"/>
                  <a:gd name="T31" fmla="*/ 12 h 42"/>
                  <a:gd name="T32" fmla="*/ 8 w 46"/>
                  <a:gd name="T33" fmla="*/ 18 h 42"/>
                  <a:gd name="T34" fmla="*/ 11 w 46"/>
                  <a:gd name="T35" fmla="*/ 28 h 42"/>
                  <a:gd name="T36" fmla="*/ 21 w 46"/>
                  <a:gd name="T37" fmla="*/ 33 h 42"/>
                  <a:gd name="T38" fmla="*/ 34 w 46"/>
                  <a:gd name="T39" fmla="*/ 31 h 42"/>
                  <a:gd name="T40" fmla="*/ 38 w 46"/>
                  <a:gd name="T41" fmla="*/ 22 h 42"/>
                  <a:gd name="T42" fmla="*/ 38 w 46"/>
                  <a:gd name="T43" fmla="*/ 16 h 42"/>
                  <a:gd name="T44" fmla="*/ 36 w 46"/>
                  <a:gd name="T45" fmla="*/ 11 h 42"/>
                  <a:gd name="T46" fmla="*/ 30 w 46"/>
                  <a:gd name="T47" fmla="*/ 11 h 42"/>
                  <a:gd name="T48" fmla="*/ 29 w 46"/>
                  <a:gd name="T49" fmla="*/ 21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46" h="42">
                    <a:moveTo>
                      <a:pt x="29" y="21"/>
                    </a:moveTo>
                    <a:cubicBezTo>
                      <a:pt x="22" y="20"/>
                      <a:pt x="22" y="20"/>
                      <a:pt x="22" y="20"/>
                    </a:cubicBezTo>
                    <a:cubicBezTo>
                      <a:pt x="24" y="1"/>
                      <a:pt x="24" y="1"/>
                      <a:pt x="24" y="1"/>
                    </a:cubicBezTo>
                    <a:cubicBezTo>
                      <a:pt x="41" y="3"/>
                      <a:pt x="41" y="3"/>
                      <a:pt x="41" y="3"/>
                    </a:cubicBezTo>
                    <a:cubicBezTo>
                      <a:pt x="43" y="5"/>
                      <a:pt x="44" y="8"/>
                      <a:pt x="45" y="11"/>
                    </a:cubicBezTo>
                    <a:cubicBezTo>
                      <a:pt x="46" y="15"/>
                      <a:pt x="46" y="19"/>
                      <a:pt x="46" y="22"/>
                    </a:cubicBezTo>
                    <a:cubicBezTo>
                      <a:pt x="46" y="27"/>
                      <a:pt x="44" y="31"/>
                      <a:pt x="42" y="34"/>
                    </a:cubicBezTo>
                    <a:cubicBezTo>
                      <a:pt x="39" y="37"/>
                      <a:pt x="36" y="39"/>
                      <a:pt x="33" y="41"/>
                    </a:cubicBezTo>
                    <a:cubicBezTo>
                      <a:pt x="29" y="42"/>
                      <a:pt x="25" y="42"/>
                      <a:pt x="21" y="42"/>
                    </a:cubicBezTo>
                    <a:cubicBezTo>
                      <a:pt x="16" y="41"/>
                      <a:pt x="12" y="40"/>
                      <a:pt x="9" y="38"/>
                    </a:cubicBezTo>
                    <a:cubicBezTo>
                      <a:pt x="6" y="35"/>
                      <a:pt x="3" y="32"/>
                      <a:pt x="2" y="28"/>
                    </a:cubicBezTo>
                    <a:cubicBezTo>
                      <a:pt x="1" y="25"/>
                      <a:pt x="0" y="22"/>
                      <a:pt x="1" y="18"/>
                    </a:cubicBezTo>
                    <a:cubicBezTo>
                      <a:pt x="1" y="12"/>
                      <a:pt x="3" y="8"/>
                      <a:pt x="6" y="5"/>
                    </a:cubicBezTo>
                    <a:cubicBezTo>
                      <a:pt x="8" y="2"/>
                      <a:pt x="12" y="1"/>
                      <a:pt x="16" y="0"/>
                    </a:cubicBezTo>
                    <a:cubicBezTo>
                      <a:pt x="16" y="9"/>
                      <a:pt x="16" y="9"/>
                      <a:pt x="16" y="9"/>
                    </a:cubicBezTo>
                    <a:cubicBezTo>
                      <a:pt x="14" y="10"/>
                      <a:pt x="12" y="11"/>
                      <a:pt x="11" y="12"/>
                    </a:cubicBezTo>
                    <a:cubicBezTo>
                      <a:pt x="10" y="14"/>
                      <a:pt x="9" y="16"/>
                      <a:pt x="8" y="18"/>
                    </a:cubicBezTo>
                    <a:cubicBezTo>
                      <a:pt x="8" y="22"/>
                      <a:pt x="9" y="25"/>
                      <a:pt x="11" y="28"/>
                    </a:cubicBezTo>
                    <a:cubicBezTo>
                      <a:pt x="13" y="31"/>
                      <a:pt x="17" y="32"/>
                      <a:pt x="21" y="33"/>
                    </a:cubicBezTo>
                    <a:cubicBezTo>
                      <a:pt x="27" y="33"/>
                      <a:pt x="31" y="33"/>
                      <a:pt x="34" y="31"/>
                    </a:cubicBezTo>
                    <a:cubicBezTo>
                      <a:pt x="36" y="29"/>
                      <a:pt x="38" y="26"/>
                      <a:pt x="38" y="22"/>
                    </a:cubicBezTo>
                    <a:cubicBezTo>
                      <a:pt x="39" y="20"/>
                      <a:pt x="39" y="18"/>
                      <a:pt x="38" y="16"/>
                    </a:cubicBezTo>
                    <a:cubicBezTo>
                      <a:pt x="37" y="14"/>
                      <a:pt x="37" y="13"/>
                      <a:pt x="36" y="11"/>
                    </a:cubicBezTo>
                    <a:cubicBezTo>
                      <a:pt x="30" y="11"/>
                      <a:pt x="30" y="11"/>
                      <a:pt x="30" y="11"/>
                    </a:cubicBezTo>
                    <a:lnTo>
                      <a:pt x="29" y="2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286" name="îSḷiḋè"/>
              <p:cNvSpPr/>
              <p:nvPr/>
            </p:nvSpPr>
            <p:spPr bwMode="auto">
              <a:xfrm>
                <a:off x="3173309" y="5313953"/>
                <a:ext cx="80963" cy="76200"/>
              </a:xfrm>
              <a:custGeom>
                <a:avLst/>
                <a:gdLst>
                  <a:gd name="T0" fmla="*/ 51 w 51"/>
                  <a:gd name="T1" fmla="*/ 30 h 48"/>
                  <a:gd name="T2" fmla="*/ 29 w 51"/>
                  <a:gd name="T3" fmla="*/ 29 h 48"/>
                  <a:gd name="T4" fmla="*/ 0 w 51"/>
                  <a:gd name="T5" fmla="*/ 48 h 48"/>
                  <a:gd name="T6" fmla="*/ 0 w 51"/>
                  <a:gd name="T7" fmla="*/ 36 h 48"/>
                  <a:gd name="T8" fmla="*/ 20 w 51"/>
                  <a:gd name="T9" fmla="*/ 24 h 48"/>
                  <a:gd name="T10" fmla="*/ 0 w 51"/>
                  <a:gd name="T11" fmla="*/ 12 h 48"/>
                  <a:gd name="T12" fmla="*/ 0 w 51"/>
                  <a:gd name="T13" fmla="*/ 0 h 48"/>
                  <a:gd name="T14" fmla="*/ 30 w 51"/>
                  <a:gd name="T15" fmla="*/ 20 h 48"/>
                  <a:gd name="T16" fmla="*/ 51 w 51"/>
                  <a:gd name="T17" fmla="*/ 20 h 48"/>
                  <a:gd name="T18" fmla="*/ 51 w 51"/>
                  <a:gd name="T19" fmla="*/ 30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51" h="48">
                    <a:moveTo>
                      <a:pt x="51" y="30"/>
                    </a:moveTo>
                    <a:lnTo>
                      <a:pt x="29" y="29"/>
                    </a:lnTo>
                    <a:lnTo>
                      <a:pt x="0" y="48"/>
                    </a:lnTo>
                    <a:lnTo>
                      <a:pt x="0" y="36"/>
                    </a:lnTo>
                    <a:lnTo>
                      <a:pt x="20" y="24"/>
                    </a:lnTo>
                    <a:lnTo>
                      <a:pt x="0" y="12"/>
                    </a:lnTo>
                    <a:lnTo>
                      <a:pt x="0" y="0"/>
                    </a:lnTo>
                    <a:lnTo>
                      <a:pt x="30" y="20"/>
                    </a:lnTo>
                    <a:lnTo>
                      <a:pt x="51" y="20"/>
                    </a:lnTo>
                    <a:lnTo>
                      <a:pt x="51" y="3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287" name="îṣḷíḋé"/>
              <p:cNvSpPr/>
              <p:nvPr/>
            </p:nvSpPr>
            <p:spPr bwMode="auto">
              <a:xfrm>
                <a:off x="3163784" y="5193303"/>
                <a:ext cx="87313" cy="76200"/>
              </a:xfrm>
              <a:custGeom>
                <a:avLst/>
                <a:gdLst>
                  <a:gd name="T0" fmla="*/ 4 w 47"/>
                  <a:gd name="T1" fmla="*/ 41 h 41"/>
                  <a:gd name="T2" fmla="*/ 1 w 47"/>
                  <a:gd name="T3" fmla="*/ 24 h 41"/>
                  <a:gd name="T4" fmla="*/ 0 w 47"/>
                  <a:gd name="T5" fmla="*/ 16 h 41"/>
                  <a:gd name="T6" fmla="*/ 2 w 47"/>
                  <a:gd name="T7" fmla="*/ 11 h 41"/>
                  <a:gd name="T8" fmla="*/ 5 w 47"/>
                  <a:gd name="T9" fmla="*/ 7 h 41"/>
                  <a:gd name="T10" fmla="*/ 10 w 47"/>
                  <a:gd name="T11" fmla="*/ 5 h 41"/>
                  <a:gd name="T12" fmla="*/ 16 w 47"/>
                  <a:gd name="T13" fmla="*/ 6 h 41"/>
                  <a:gd name="T14" fmla="*/ 20 w 47"/>
                  <a:gd name="T15" fmla="*/ 10 h 41"/>
                  <a:gd name="T16" fmla="*/ 23 w 47"/>
                  <a:gd name="T17" fmla="*/ 3 h 41"/>
                  <a:gd name="T18" fmla="*/ 29 w 47"/>
                  <a:gd name="T19" fmla="*/ 0 h 41"/>
                  <a:gd name="T20" fmla="*/ 35 w 47"/>
                  <a:gd name="T21" fmla="*/ 1 h 41"/>
                  <a:gd name="T22" fmla="*/ 40 w 47"/>
                  <a:gd name="T23" fmla="*/ 4 h 41"/>
                  <a:gd name="T24" fmla="*/ 43 w 47"/>
                  <a:gd name="T25" fmla="*/ 10 h 41"/>
                  <a:gd name="T26" fmla="*/ 45 w 47"/>
                  <a:gd name="T27" fmla="*/ 20 h 41"/>
                  <a:gd name="T28" fmla="*/ 47 w 47"/>
                  <a:gd name="T29" fmla="*/ 35 h 41"/>
                  <a:gd name="T30" fmla="*/ 4 w 47"/>
                  <a:gd name="T31" fmla="*/ 41 h 41"/>
                  <a:gd name="T32" fmla="*/ 10 w 47"/>
                  <a:gd name="T33" fmla="*/ 31 h 41"/>
                  <a:gd name="T34" fmla="*/ 20 w 47"/>
                  <a:gd name="T35" fmla="*/ 30 h 41"/>
                  <a:gd name="T36" fmla="*/ 19 w 47"/>
                  <a:gd name="T37" fmla="*/ 24 h 41"/>
                  <a:gd name="T38" fmla="*/ 18 w 47"/>
                  <a:gd name="T39" fmla="*/ 18 h 41"/>
                  <a:gd name="T40" fmla="*/ 16 w 47"/>
                  <a:gd name="T41" fmla="*/ 15 h 41"/>
                  <a:gd name="T42" fmla="*/ 12 w 47"/>
                  <a:gd name="T43" fmla="*/ 14 h 41"/>
                  <a:gd name="T44" fmla="*/ 9 w 47"/>
                  <a:gd name="T45" fmla="*/ 15 h 41"/>
                  <a:gd name="T46" fmla="*/ 8 w 47"/>
                  <a:gd name="T47" fmla="*/ 19 h 41"/>
                  <a:gd name="T48" fmla="*/ 9 w 47"/>
                  <a:gd name="T49" fmla="*/ 26 h 41"/>
                  <a:gd name="T50" fmla="*/ 10 w 47"/>
                  <a:gd name="T51" fmla="*/ 31 h 41"/>
                  <a:gd name="T52" fmla="*/ 27 w 47"/>
                  <a:gd name="T53" fmla="*/ 29 h 41"/>
                  <a:gd name="T54" fmla="*/ 39 w 47"/>
                  <a:gd name="T55" fmla="*/ 27 h 41"/>
                  <a:gd name="T56" fmla="*/ 37 w 47"/>
                  <a:gd name="T57" fmla="*/ 19 h 41"/>
                  <a:gd name="T58" fmla="*/ 36 w 47"/>
                  <a:gd name="T59" fmla="*/ 13 h 41"/>
                  <a:gd name="T60" fmla="*/ 34 w 47"/>
                  <a:gd name="T61" fmla="*/ 10 h 41"/>
                  <a:gd name="T62" fmla="*/ 30 w 47"/>
                  <a:gd name="T63" fmla="*/ 10 h 41"/>
                  <a:gd name="T64" fmla="*/ 27 w 47"/>
                  <a:gd name="T65" fmla="*/ 11 h 41"/>
                  <a:gd name="T66" fmla="*/ 25 w 47"/>
                  <a:gd name="T67" fmla="*/ 14 h 41"/>
                  <a:gd name="T68" fmla="*/ 26 w 47"/>
                  <a:gd name="T69" fmla="*/ 22 h 41"/>
                  <a:gd name="T70" fmla="*/ 27 w 47"/>
                  <a:gd name="T71" fmla="*/ 29 h 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47" h="41">
                    <a:moveTo>
                      <a:pt x="4" y="41"/>
                    </a:moveTo>
                    <a:cubicBezTo>
                      <a:pt x="1" y="24"/>
                      <a:pt x="1" y="24"/>
                      <a:pt x="1" y="24"/>
                    </a:cubicBezTo>
                    <a:cubicBezTo>
                      <a:pt x="1" y="20"/>
                      <a:pt x="0" y="18"/>
                      <a:pt x="0" y="16"/>
                    </a:cubicBezTo>
                    <a:cubicBezTo>
                      <a:pt x="1" y="14"/>
                      <a:pt x="1" y="13"/>
                      <a:pt x="2" y="11"/>
                    </a:cubicBezTo>
                    <a:cubicBezTo>
                      <a:pt x="2" y="10"/>
                      <a:pt x="3" y="9"/>
                      <a:pt x="5" y="7"/>
                    </a:cubicBezTo>
                    <a:cubicBezTo>
                      <a:pt x="6" y="6"/>
                      <a:pt x="8" y="6"/>
                      <a:pt x="10" y="5"/>
                    </a:cubicBezTo>
                    <a:cubicBezTo>
                      <a:pt x="12" y="5"/>
                      <a:pt x="14" y="5"/>
                      <a:pt x="16" y="6"/>
                    </a:cubicBezTo>
                    <a:cubicBezTo>
                      <a:pt x="17" y="7"/>
                      <a:pt x="19" y="8"/>
                      <a:pt x="20" y="10"/>
                    </a:cubicBezTo>
                    <a:cubicBezTo>
                      <a:pt x="20" y="7"/>
                      <a:pt x="21" y="5"/>
                      <a:pt x="23" y="3"/>
                    </a:cubicBezTo>
                    <a:cubicBezTo>
                      <a:pt x="25" y="2"/>
                      <a:pt x="27" y="1"/>
                      <a:pt x="29" y="0"/>
                    </a:cubicBezTo>
                    <a:cubicBezTo>
                      <a:pt x="31" y="0"/>
                      <a:pt x="33" y="0"/>
                      <a:pt x="35" y="1"/>
                    </a:cubicBezTo>
                    <a:cubicBezTo>
                      <a:pt x="37" y="2"/>
                      <a:pt x="39" y="3"/>
                      <a:pt x="40" y="4"/>
                    </a:cubicBezTo>
                    <a:cubicBezTo>
                      <a:pt x="42" y="5"/>
                      <a:pt x="43" y="7"/>
                      <a:pt x="43" y="10"/>
                    </a:cubicBezTo>
                    <a:cubicBezTo>
                      <a:pt x="44" y="11"/>
                      <a:pt x="44" y="15"/>
                      <a:pt x="45" y="20"/>
                    </a:cubicBezTo>
                    <a:cubicBezTo>
                      <a:pt x="47" y="35"/>
                      <a:pt x="47" y="35"/>
                      <a:pt x="47" y="35"/>
                    </a:cubicBezTo>
                    <a:lnTo>
                      <a:pt x="4" y="41"/>
                    </a:lnTo>
                    <a:close/>
                    <a:moveTo>
                      <a:pt x="10" y="31"/>
                    </a:moveTo>
                    <a:cubicBezTo>
                      <a:pt x="20" y="30"/>
                      <a:pt x="20" y="30"/>
                      <a:pt x="20" y="30"/>
                    </a:cubicBezTo>
                    <a:cubicBezTo>
                      <a:pt x="19" y="24"/>
                      <a:pt x="19" y="24"/>
                      <a:pt x="19" y="24"/>
                    </a:cubicBezTo>
                    <a:cubicBezTo>
                      <a:pt x="18" y="21"/>
                      <a:pt x="18" y="19"/>
                      <a:pt x="18" y="18"/>
                    </a:cubicBezTo>
                    <a:cubicBezTo>
                      <a:pt x="17" y="16"/>
                      <a:pt x="17" y="15"/>
                      <a:pt x="16" y="15"/>
                    </a:cubicBezTo>
                    <a:cubicBezTo>
                      <a:pt x="15" y="14"/>
                      <a:pt x="14" y="14"/>
                      <a:pt x="12" y="14"/>
                    </a:cubicBezTo>
                    <a:cubicBezTo>
                      <a:pt x="11" y="14"/>
                      <a:pt x="10" y="14"/>
                      <a:pt x="9" y="15"/>
                    </a:cubicBezTo>
                    <a:cubicBezTo>
                      <a:pt x="8" y="16"/>
                      <a:pt x="8" y="17"/>
                      <a:pt x="8" y="19"/>
                    </a:cubicBezTo>
                    <a:cubicBezTo>
                      <a:pt x="8" y="20"/>
                      <a:pt x="8" y="22"/>
                      <a:pt x="9" y="26"/>
                    </a:cubicBezTo>
                    <a:lnTo>
                      <a:pt x="10" y="31"/>
                    </a:lnTo>
                    <a:close/>
                    <a:moveTo>
                      <a:pt x="27" y="29"/>
                    </a:moveTo>
                    <a:cubicBezTo>
                      <a:pt x="39" y="27"/>
                      <a:pt x="39" y="27"/>
                      <a:pt x="39" y="27"/>
                    </a:cubicBezTo>
                    <a:cubicBezTo>
                      <a:pt x="37" y="19"/>
                      <a:pt x="37" y="19"/>
                      <a:pt x="37" y="19"/>
                    </a:cubicBezTo>
                    <a:cubicBezTo>
                      <a:pt x="37" y="16"/>
                      <a:pt x="37" y="14"/>
                      <a:pt x="36" y="13"/>
                    </a:cubicBezTo>
                    <a:cubicBezTo>
                      <a:pt x="36" y="12"/>
                      <a:pt x="35" y="11"/>
                      <a:pt x="34" y="10"/>
                    </a:cubicBezTo>
                    <a:cubicBezTo>
                      <a:pt x="33" y="10"/>
                      <a:pt x="32" y="9"/>
                      <a:pt x="30" y="10"/>
                    </a:cubicBezTo>
                    <a:cubicBezTo>
                      <a:pt x="29" y="10"/>
                      <a:pt x="28" y="10"/>
                      <a:pt x="27" y="11"/>
                    </a:cubicBezTo>
                    <a:cubicBezTo>
                      <a:pt x="26" y="12"/>
                      <a:pt x="26" y="13"/>
                      <a:pt x="25" y="14"/>
                    </a:cubicBezTo>
                    <a:cubicBezTo>
                      <a:pt x="25" y="15"/>
                      <a:pt x="25" y="18"/>
                      <a:pt x="26" y="22"/>
                    </a:cubicBezTo>
                    <a:lnTo>
                      <a:pt x="27" y="2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288" name="îṩliďè"/>
              <p:cNvSpPr/>
              <p:nvPr/>
            </p:nvSpPr>
            <p:spPr bwMode="auto">
              <a:xfrm>
                <a:off x="3146322" y="5120278"/>
                <a:ext cx="93663" cy="79375"/>
              </a:xfrm>
              <a:custGeom>
                <a:avLst/>
                <a:gdLst>
                  <a:gd name="T0" fmla="*/ 59 w 59"/>
                  <a:gd name="T1" fmla="*/ 37 h 50"/>
                  <a:gd name="T2" fmla="*/ 9 w 59"/>
                  <a:gd name="T3" fmla="*/ 50 h 50"/>
                  <a:gd name="T4" fmla="*/ 0 w 59"/>
                  <a:gd name="T5" fmla="*/ 13 h 50"/>
                  <a:gd name="T6" fmla="*/ 8 w 59"/>
                  <a:gd name="T7" fmla="*/ 10 h 50"/>
                  <a:gd name="T8" fmla="*/ 15 w 59"/>
                  <a:gd name="T9" fmla="*/ 37 h 50"/>
                  <a:gd name="T10" fmla="*/ 25 w 59"/>
                  <a:gd name="T11" fmla="*/ 35 h 50"/>
                  <a:gd name="T12" fmla="*/ 19 w 59"/>
                  <a:gd name="T13" fmla="*/ 9 h 50"/>
                  <a:gd name="T14" fmla="*/ 27 w 59"/>
                  <a:gd name="T15" fmla="*/ 8 h 50"/>
                  <a:gd name="T16" fmla="*/ 34 w 59"/>
                  <a:gd name="T17" fmla="*/ 32 h 50"/>
                  <a:gd name="T18" fmla="*/ 47 w 59"/>
                  <a:gd name="T19" fmla="*/ 29 h 50"/>
                  <a:gd name="T20" fmla="*/ 40 w 59"/>
                  <a:gd name="T21" fmla="*/ 1 h 50"/>
                  <a:gd name="T22" fmla="*/ 49 w 59"/>
                  <a:gd name="T23" fmla="*/ 0 h 50"/>
                  <a:gd name="T24" fmla="*/ 59 w 59"/>
                  <a:gd name="T25" fmla="*/ 37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59" h="50">
                    <a:moveTo>
                      <a:pt x="59" y="37"/>
                    </a:moveTo>
                    <a:lnTo>
                      <a:pt x="9" y="50"/>
                    </a:lnTo>
                    <a:lnTo>
                      <a:pt x="0" y="13"/>
                    </a:lnTo>
                    <a:lnTo>
                      <a:pt x="8" y="10"/>
                    </a:lnTo>
                    <a:lnTo>
                      <a:pt x="15" y="37"/>
                    </a:lnTo>
                    <a:lnTo>
                      <a:pt x="25" y="35"/>
                    </a:lnTo>
                    <a:lnTo>
                      <a:pt x="19" y="9"/>
                    </a:lnTo>
                    <a:lnTo>
                      <a:pt x="27" y="8"/>
                    </a:lnTo>
                    <a:lnTo>
                      <a:pt x="34" y="32"/>
                    </a:lnTo>
                    <a:lnTo>
                      <a:pt x="47" y="29"/>
                    </a:lnTo>
                    <a:lnTo>
                      <a:pt x="40" y="1"/>
                    </a:lnTo>
                    <a:lnTo>
                      <a:pt x="49" y="0"/>
                    </a:lnTo>
                    <a:lnTo>
                      <a:pt x="59" y="3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289" name="iṧlíḋè"/>
              <p:cNvSpPr/>
              <p:nvPr/>
            </p:nvSpPr>
            <p:spPr bwMode="auto">
              <a:xfrm>
                <a:off x="3138384" y="5096465"/>
                <a:ext cx="82550" cy="38100"/>
              </a:xfrm>
              <a:custGeom>
                <a:avLst/>
                <a:gdLst>
                  <a:gd name="T0" fmla="*/ 52 w 52"/>
                  <a:gd name="T1" fmla="*/ 9 h 24"/>
                  <a:gd name="T2" fmla="*/ 3 w 52"/>
                  <a:gd name="T3" fmla="*/ 24 h 24"/>
                  <a:gd name="T4" fmla="*/ 0 w 52"/>
                  <a:gd name="T5" fmla="*/ 15 h 24"/>
                  <a:gd name="T6" fmla="*/ 49 w 52"/>
                  <a:gd name="T7" fmla="*/ 0 h 24"/>
                  <a:gd name="T8" fmla="*/ 52 w 52"/>
                  <a:gd name="T9" fmla="*/ 9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2" h="24">
                    <a:moveTo>
                      <a:pt x="52" y="9"/>
                    </a:moveTo>
                    <a:lnTo>
                      <a:pt x="3" y="24"/>
                    </a:lnTo>
                    <a:lnTo>
                      <a:pt x="0" y="15"/>
                    </a:lnTo>
                    <a:lnTo>
                      <a:pt x="49" y="0"/>
                    </a:lnTo>
                    <a:lnTo>
                      <a:pt x="52" y="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290" name="islïḓè"/>
              <p:cNvSpPr/>
              <p:nvPr/>
            </p:nvSpPr>
            <p:spPr bwMode="auto">
              <a:xfrm>
                <a:off x="3120922" y="5047253"/>
                <a:ext cx="88900" cy="52388"/>
              </a:xfrm>
              <a:custGeom>
                <a:avLst/>
                <a:gdLst>
                  <a:gd name="T0" fmla="*/ 3 w 48"/>
                  <a:gd name="T1" fmla="*/ 20 h 28"/>
                  <a:gd name="T2" fmla="*/ 0 w 48"/>
                  <a:gd name="T3" fmla="*/ 12 h 28"/>
                  <a:gd name="T4" fmla="*/ 26 w 48"/>
                  <a:gd name="T5" fmla="*/ 2 h 28"/>
                  <a:gd name="T6" fmla="*/ 34 w 48"/>
                  <a:gd name="T7" fmla="*/ 0 h 28"/>
                  <a:gd name="T8" fmla="*/ 42 w 48"/>
                  <a:gd name="T9" fmla="*/ 3 h 28"/>
                  <a:gd name="T10" fmla="*/ 47 w 48"/>
                  <a:gd name="T11" fmla="*/ 10 h 28"/>
                  <a:gd name="T12" fmla="*/ 47 w 48"/>
                  <a:gd name="T13" fmla="*/ 21 h 28"/>
                  <a:gd name="T14" fmla="*/ 38 w 48"/>
                  <a:gd name="T15" fmla="*/ 28 h 28"/>
                  <a:gd name="T16" fmla="*/ 34 w 48"/>
                  <a:gd name="T17" fmla="*/ 20 h 28"/>
                  <a:gd name="T18" fmla="*/ 39 w 48"/>
                  <a:gd name="T19" fmla="*/ 17 h 28"/>
                  <a:gd name="T20" fmla="*/ 40 w 48"/>
                  <a:gd name="T21" fmla="*/ 13 h 28"/>
                  <a:gd name="T22" fmla="*/ 37 w 48"/>
                  <a:gd name="T23" fmla="*/ 9 h 28"/>
                  <a:gd name="T24" fmla="*/ 30 w 48"/>
                  <a:gd name="T25" fmla="*/ 10 h 28"/>
                  <a:gd name="T26" fmla="*/ 3 w 48"/>
                  <a:gd name="T27" fmla="*/ 20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48" h="28">
                    <a:moveTo>
                      <a:pt x="3" y="20"/>
                    </a:moveTo>
                    <a:cubicBezTo>
                      <a:pt x="0" y="12"/>
                      <a:pt x="0" y="12"/>
                      <a:pt x="0" y="12"/>
                    </a:cubicBezTo>
                    <a:cubicBezTo>
                      <a:pt x="26" y="2"/>
                      <a:pt x="26" y="2"/>
                      <a:pt x="26" y="2"/>
                    </a:cubicBezTo>
                    <a:cubicBezTo>
                      <a:pt x="29" y="1"/>
                      <a:pt x="32" y="0"/>
                      <a:pt x="34" y="0"/>
                    </a:cubicBezTo>
                    <a:cubicBezTo>
                      <a:pt x="37" y="0"/>
                      <a:pt x="39" y="1"/>
                      <a:pt x="42" y="3"/>
                    </a:cubicBezTo>
                    <a:cubicBezTo>
                      <a:pt x="44" y="4"/>
                      <a:pt x="46" y="7"/>
                      <a:pt x="47" y="10"/>
                    </a:cubicBezTo>
                    <a:cubicBezTo>
                      <a:pt x="48" y="14"/>
                      <a:pt x="48" y="18"/>
                      <a:pt x="47" y="21"/>
                    </a:cubicBezTo>
                    <a:cubicBezTo>
                      <a:pt x="45" y="24"/>
                      <a:pt x="42" y="26"/>
                      <a:pt x="38" y="28"/>
                    </a:cubicBezTo>
                    <a:cubicBezTo>
                      <a:pt x="34" y="20"/>
                      <a:pt x="34" y="20"/>
                      <a:pt x="34" y="20"/>
                    </a:cubicBezTo>
                    <a:cubicBezTo>
                      <a:pt x="37" y="19"/>
                      <a:pt x="38" y="18"/>
                      <a:pt x="39" y="17"/>
                    </a:cubicBezTo>
                    <a:cubicBezTo>
                      <a:pt x="40" y="16"/>
                      <a:pt x="40" y="14"/>
                      <a:pt x="40" y="13"/>
                    </a:cubicBezTo>
                    <a:cubicBezTo>
                      <a:pt x="39" y="11"/>
                      <a:pt x="38" y="10"/>
                      <a:pt x="37" y="9"/>
                    </a:cubicBezTo>
                    <a:cubicBezTo>
                      <a:pt x="35" y="9"/>
                      <a:pt x="33" y="9"/>
                      <a:pt x="30" y="10"/>
                    </a:cubicBezTo>
                    <a:lnTo>
                      <a:pt x="3" y="2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291" name="íṥ1iḍe"/>
              <p:cNvSpPr/>
              <p:nvPr/>
            </p:nvSpPr>
            <p:spPr bwMode="auto">
              <a:xfrm>
                <a:off x="3112984" y="5017090"/>
                <a:ext cx="80963" cy="46038"/>
              </a:xfrm>
              <a:custGeom>
                <a:avLst/>
                <a:gdLst>
                  <a:gd name="T0" fmla="*/ 51 w 51"/>
                  <a:gd name="T1" fmla="*/ 9 h 29"/>
                  <a:gd name="T2" fmla="*/ 3 w 51"/>
                  <a:gd name="T3" fmla="*/ 29 h 29"/>
                  <a:gd name="T4" fmla="*/ 0 w 51"/>
                  <a:gd name="T5" fmla="*/ 19 h 29"/>
                  <a:gd name="T6" fmla="*/ 46 w 51"/>
                  <a:gd name="T7" fmla="*/ 0 h 29"/>
                  <a:gd name="T8" fmla="*/ 51 w 51"/>
                  <a:gd name="T9" fmla="*/ 9 h 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1" h="29">
                    <a:moveTo>
                      <a:pt x="51" y="9"/>
                    </a:moveTo>
                    <a:lnTo>
                      <a:pt x="3" y="29"/>
                    </a:lnTo>
                    <a:lnTo>
                      <a:pt x="0" y="19"/>
                    </a:lnTo>
                    <a:lnTo>
                      <a:pt x="46" y="0"/>
                    </a:lnTo>
                    <a:lnTo>
                      <a:pt x="51" y="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292" name="iṥľîḋé"/>
              <p:cNvSpPr/>
              <p:nvPr/>
            </p:nvSpPr>
            <p:spPr bwMode="auto">
              <a:xfrm>
                <a:off x="3081234" y="4948828"/>
                <a:ext cx="101600" cy="93663"/>
              </a:xfrm>
              <a:custGeom>
                <a:avLst/>
                <a:gdLst>
                  <a:gd name="T0" fmla="*/ 64 w 64"/>
                  <a:gd name="T1" fmla="*/ 36 h 59"/>
                  <a:gd name="T2" fmla="*/ 18 w 64"/>
                  <a:gd name="T3" fmla="*/ 59 h 59"/>
                  <a:gd name="T4" fmla="*/ 14 w 64"/>
                  <a:gd name="T5" fmla="*/ 50 h 59"/>
                  <a:gd name="T6" fmla="*/ 35 w 64"/>
                  <a:gd name="T7" fmla="*/ 16 h 59"/>
                  <a:gd name="T8" fmla="*/ 3 w 64"/>
                  <a:gd name="T9" fmla="*/ 31 h 59"/>
                  <a:gd name="T10" fmla="*/ 0 w 64"/>
                  <a:gd name="T11" fmla="*/ 22 h 59"/>
                  <a:gd name="T12" fmla="*/ 45 w 64"/>
                  <a:gd name="T13" fmla="*/ 0 h 59"/>
                  <a:gd name="T14" fmla="*/ 50 w 64"/>
                  <a:gd name="T15" fmla="*/ 8 h 59"/>
                  <a:gd name="T16" fmla="*/ 29 w 64"/>
                  <a:gd name="T17" fmla="*/ 42 h 59"/>
                  <a:gd name="T18" fmla="*/ 59 w 64"/>
                  <a:gd name="T19" fmla="*/ 26 h 59"/>
                  <a:gd name="T20" fmla="*/ 64 w 64"/>
                  <a:gd name="T21" fmla="*/ 36 h 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64" h="59">
                    <a:moveTo>
                      <a:pt x="64" y="36"/>
                    </a:moveTo>
                    <a:lnTo>
                      <a:pt x="18" y="59"/>
                    </a:lnTo>
                    <a:lnTo>
                      <a:pt x="14" y="50"/>
                    </a:lnTo>
                    <a:lnTo>
                      <a:pt x="35" y="16"/>
                    </a:lnTo>
                    <a:lnTo>
                      <a:pt x="3" y="31"/>
                    </a:lnTo>
                    <a:lnTo>
                      <a:pt x="0" y="22"/>
                    </a:lnTo>
                    <a:lnTo>
                      <a:pt x="45" y="0"/>
                    </a:lnTo>
                    <a:lnTo>
                      <a:pt x="50" y="8"/>
                    </a:lnTo>
                    <a:lnTo>
                      <a:pt x="29" y="42"/>
                    </a:lnTo>
                    <a:lnTo>
                      <a:pt x="59" y="26"/>
                    </a:lnTo>
                    <a:lnTo>
                      <a:pt x="64" y="36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293" name="îślidè"/>
              <p:cNvSpPr/>
              <p:nvPr/>
            </p:nvSpPr>
            <p:spPr bwMode="auto">
              <a:xfrm>
                <a:off x="3047897" y="4877390"/>
                <a:ext cx="84138" cy="88900"/>
              </a:xfrm>
              <a:custGeom>
                <a:avLst/>
                <a:gdLst>
                  <a:gd name="T0" fmla="*/ 28 w 46"/>
                  <a:gd name="T1" fmla="*/ 21 h 48"/>
                  <a:gd name="T2" fmla="*/ 22 w 46"/>
                  <a:gd name="T3" fmla="*/ 25 h 48"/>
                  <a:gd name="T4" fmla="*/ 11 w 46"/>
                  <a:gd name="T5" fmla="*/ 9 h 48"/>
                  <a:gd name="T6" fmla="*/ 26 w 46"/>
                  <a:gd name="T7" fmla="*/ 0 h 48"/>
                  <a:gd name="T8" fmla="*/ 35 w 46"/>
                  <a:gd name="T9" fmla="*/ 4 h 48"/>
                  <a:gd name="T10" fmla="*/ 42 w 46"/>
                  <a:gd name="T11" fmla="*/ 12 h 48"/>
                  <a:gd name="T12" fmla="*/ 46 w 46"/>
                  <a:gd name="T13" fmla="*/ 24 h 48"/>
                  <a:gd name="T14" fmla="*/ 43 w 46"/>
                  <a:gd name="T15" fmla="*/ 35 h 48"/>
                  <a:gd name="T16" fmla="*/ 35 w 46"/>
                  <a:gd name="T17" fmla="*/ 43 h 48"/>
                  <a:gd name="T18" fmla="*/ 23 w 46"/>
                  <a:gd name="T19" fmla="*/ 47 h 48"/>
                  <a:gd name="T20" fmla="*/ 12 w 46"/>
                  <a:gd name="T21" fmla="*/ 45 h 48"/>
                  <a:gd name="T22" fmla="*/ 4 w 46"/>
                  <a:gd name="T23" fmla="*/ 37 h 48"/>
                  <a:gd name="T24" fmla="*/ 0 w 46"/>
                  <a:gd name="T25" fmla="*/ 24 h 48"/>
                  <a:gd name="T26" fmla="*/ 5 w 46"/>
                  <a:gd name="T27" fmla="*/ 14 h 48"/>
                  <a:gd name="T28" fmla="*/ 11 w 46"/>
                  <a:gd name="T29" fmla="*/ 21 h 48"/>
                  <a:gd name="T30" fmla="*/ 9 w 46"/>
                  <a:gd name="T31" fmla="*/ 27 h 48"/>
                  <a:gd name="T32" fmla="*/ 11 w 46"/>
                  <a:gd name="T33" fmla="*/ 33 h 48"/>
                  <a:gd name="T34" fmla="*/ 19 w 46"/>
                  <a:gd name="T35" fmla="*/ 39 h 48"/>
                  <a:gd name="T36" fmla="*/ 30 w 46"/>
                  <a:gd name="T37" fmla="*/ 36 h 48"/>
                  <a:gd name="T38" fmla="*/ 38 w 46"/>
                  <a:gd name="T39" fmla="*/ 26 h 48"/>
                  <a:gd name="T40" fmla="*/ 36 w 46"/>
                  <a:gd name="T41" fmla="*/ 17 h 48"/>
                  <a:gd name="T42" fmla="*/ 32 w 46"/>
                  <a:gd name="T43" fmla="*/ 13 h 48"/>
                  <a:gd name="T44" fmla="*/ 27 w 46"/>
                  <a:gd name="T45" fmla="*/ 10 h 48"/>
                  <a:gd name="T46" fmla="*/ 23 w 46"/>
                  <a:gd name="T47" fmla="*/ 13 h 48"/>
                  <a:gd name="T48" fmla="*/ 28 w 46"/>
                  <a:gd name="T49" fmla="*/ 21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46" h="48">
                    <a:moveTo>
                      <a:pt x="28" y="21"/>
                    </a:moveTo>
                    <a:cubicBezTo>
                      <a:pt x="22" y="25"/>
                      <a:pt x="22" y="25"/>
                      <a:pt x="22" y="25"/>
                    </a:cubicBezTo>
                    <a:cubicBezTo>
                      <a:pt x="11" y="9"/>
                      <a:pt x="11" y="9"/>
                      <a:pt x="11" y="9"/>
                    </a:cubicBezTo>
                    <a:cubicBezTo>
                      <a:pt x="26" y="0"/>
                      <a:pt x="26" y="0"/>
                      <a:pt x="26" y="0"/>
                    </a:cubicBezTo>
                    <a:cubicBezTo>
                      <a:pt x="29" y="1"/>
                      <a:pt x="31" y="2"/>
                      <a:pt x="35" y="4"/>
                    </a:cubicBezTo>
                    <a:cubicBezTo>
                      <a:pt x="38" y="6"/>
                      <a:pt x="40" y="9"/>
                      <a:pt x="42" y="12"/>
                    </a:cubicBezTo>
                    <a:cubicBezTo>
                      <a:pt x="45" y="16"/>
                      <a:pt x="46" y="20"/>
                      <a:pt x="46" y="24"/>
                    </a:cubicBezTo>
                    <a:cubicBezTo>
                      <a:pt x="46" y="28"/>
                      <a:pt x="45" y="31"/>
                      <a:pt x="43" y="35"/>
                    </a:cubicBezTo>
                    <a:cubicBezTo>
                      <a:pt x="41" y="38"/>
                      <a:pt x="38" y="41"/>
                      <a:pt x="35" y="43"/>
                    </a:cubicBezTo>
                    <a:cubicBezTo>
                      <a:pt x="31" y="46"/>
                      <a:pt x="27" y="47"/>
                      <a:pt x="23" y="47"/>
                    </a:cubicBezTo>
                    <a:cubicBezTo>
                      <a:pt x="19" y="48"/>
                      <a:pt x="15" y="47"/>
                      <a:pt x="12" y="45"/>
                    </a:cubicBezTo>
                    <a:cubicBezTo>
                      <a:pt x="9" y="43"/>
                      <a:pt x="6" y="41"/>
                      <a:pt x="4" y="37"/>
                    </a:cubicBezTo>
                    <a:cubicBezTo>
                      <a:pt x="1" y="32"/>
                      <a:pt x="0" y="28"/>
                      <a:pt x="0" y="24"/>
                    </a:cubicBezTo>
                    <a:cubicBezTo>
                      <a:pt x="0" y="21"/>
                      <a:pt x="2" y="17"/>
                      <a:pt x="5" y="14"/>
                    </a:cubicBezTo>
                    <a:cubicBezTo>
                      <a:pt x="11" y="21"/>
                      <a:pt x="11" y="21"/>
                      <a:pt x="11" y="21"/>
                    </a:cubicBezTo>
                    <a:cubicBezTo>
                      <a:pt x="10" y="23"/>
                      <a:pt x="9" y="24"/>
                      <a:pt x="9" y="27"/>
                    </a:cubicBezTo>
                    <a:cubicBezTo>
                      <a:pt x="8" y="29"/>
                      <a:pt x="9" y="31"/>
                      <a:pt x="11" y="33"/>
                    </a:cubicBezTo>
                    <a:cubicBezTo>
                      <a:pt x="13" y="36"/>
                      <a:pt x="15" y="38"/>
                      <a:pt x="19" y="39"/>
                    </a:cubicBezTo>
                    <a:cubicBezTo>
                      <a:pt x="22" y="39"/>
                      <a:pt x="26" y="38"/>
                      <a:pt x="30" y="36"/>
                    </a:cubicBezTo>
                    <a:cubicBezTo>
                      <a:pt x="34" y="33"/>
                      <a:pt x="37" y="30"/>
                      <a:pt x="38" y="26"/>
                    </a:cubicBezTo>
                    <a:cubicBezTo>
                      <a:pt x="39" y="23"/>
                      <a:pt x="38" y="20"/>
                      <a:pt x="36" y="17"/>
                    </a:cubicBezTo>
                    <a:cubicBezTo>
                      <a:pt x="35" y="15"/>
                      <a:pt x="34" y="14"/>
                      <a:pt x="32" y="13"/>
                    </a:cubicBezTo>
                    <a:cubicBezTo>
                      <a:pt x="30" y="11"/>
                      <a:pt x="29" y="10"/>
                      <a:pt x="27" y="10"/>
                    </a:cubicBezTo>
                    <a:cubicBezTo>
                      <a:pt x="23" y="13"/>
                      <a:pt x="23" y="13"/>
                      <a:pt x="23" y="13"/>
                    </a:cubicBezTo>
                    <a:lnTo>
                      <a:pt x="28" y="2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294" name="îŝ1ide"/>
              <p:cNvSpPr/>
              <p:nvPr/>
            </p:nvSpPr>
            <p:spPr bwMode="auto">
              <a:xfrm>
                <a:off x="1981097" y="4907553"/>
                <a:ext cx="931863" cy="969963"/>
              </a:xfrm>
              <a:custGeom>
                <a:avLst/>
                <a:gdLst>
                  <a:gd name="T0" fmla="*/ 488 w 506"/>
                  <a:gd name="T1" fmla="*/ 144 h 525"/>
                  <a:gd name="T2" fmla="*/ 449 w 506"/>
                  <a:gd name="T3" fmla="*/ 161 h 525"/>
                  <a:gd name="T4" fmla="*/ 473 w 506"/>
                  <a:gd name="T5" fmla="*/ 361 h 525"/>
                  <a:gd name="T6" fmla="*/ 434 w 506"/>
                  <a:gd name="T7" fmla="*/ 382 h 525"/>
                  <a:gd name="T8" fmla="*/ 463 w 506"/>
                  <a:gd name="T9" fmla="*/ 392 h 525"/>
                  <a:gd name="T10" fmla="*/ 434 w 506"/>
                  <a:gd name="T11" fmla="*/ 455 h 525"/>
                  <a:gd name="T12" fmla="*/ 418 w 506"/>
                  <a:gd name="T13" fmla="*/ 525 h 525"/>
                  <a:gd name="T14" fmla="*/ 328 w 506"/>
                  <a:gd name="T15" fmla="*/ 392 h 525"/>
                  <a:gd name="T16" fmla="*/ 200 w 506"/>
                  <a:gd name="T17" fmla="*/ 376 h 525"/>
                  <a:gd name="T18" fmla="*/ 179 w 506"/>
                  <a:gd name="T19" fmla="*/ 525 h 525"/>
                  <a:gd name="T20" fmla="*/ 72 w 506"/>
                  <a:gd name="T21" fmla="*/ 510 h 525"/>
                  <a:gd name="T22" fmla="*/ 44 w 506"/>
                  <a:gd name="T23" fmla="*/ 439 h 525"/>
                  <a:gd name="T24" fmla="*/ 72 w 506"/>
                  <a:gd name="T25" fmla="*/ 392 h 525"/>
                  <a:gd name="T26" fmla="*/ 57 w 506"/>
                  <a:gd name="T27" fmla="*/ 382 h 525"/>
                  <a:gd name="T28" fmla="*/ 18 w 506"/>
                  <a:gd name="T29" fmla="*/ 161 h 525"/>
                  <a:gd name="T30" fmla="*/ 56 w 506"/>
                  <a:gd name="T31" fmla="*/ 144 h 525"/>
                  <a:gd name="T32" fmla="*/ 0 w 506"/>
                  <a:gd name="T33" fmla="*/ 21 h 525"/>
                  <a:gd name="T34" fmla="*/ 92 w 506"/>
                  <a:gd name="T35" fmla="*/ 21 h 525"/>
                  <a:gd name="T36" fmla="*/ 403 w 506"/>
                  <a:gd name="T37" fmla="*/ 82 h 525"/>
                  <a:gd name="T38" fmla="*/ 457 w 506"/>
                  <a:gd name="T39" fmla="*/ 0 h 525"/>
                  <a:gd name="T40" fmla="*/ 461 w 506"/>
                  <a:gd name="T41" fmla="*/ 82 h 525"/>
                  <a:gd name="T42" fmla="*/ 455 w 506"/>
                  <a:gd name="T43" fmla="*/ 24 h 525"/>
                  <a:gd name="T44" fmla="*/ 435 w 506"/>
                  <a:gd name="T45" fmla="*/ 82 h 525"/>
                  <a:gd name="T46" fmla="*/ 454 w 506"/>
                  <a:gd name="T47" fmla="*/ 127 h 525"/>
                  <a:gd name="T48" fmla="*/ 49 w 506"/>
                  <a:gd name="T49" fmla="*/ 112 h 525"/>
                  <a:gd name="T50" fmla="*/ 78 w 506"/>
                  <a:gd name="T51" fmla="*/ 127 h 525"/>
                  <a:gd name="T52" fmla="*/ 81 w 506"/>
                  <a:gd name="T53" fmla="*/ 161 h 525"/>
                  <a:gd name="T54" fmla="*/ 426 w 506"/>
                  <a:gd name="T55" fmla="*/ 145 h 525"/>
                  <a:gd name="T56" fmla="*/ 454 w 506"/>
                  <a:gd name="T57" fmla="*/ 127 h 525"/>
                  <a:gd name="T58" fmla="*/ 450 w 506"/>
                  <a:gd name="T59" fmla="*/ 178 h 525"/>
                  <a:gd name="T60" fmla="*/ 65 w 506"/>
                  <a:gd name="T61" fmla="*/ 335 h 525"/>
                  <a:gd name="T62" fmla="*/ 421 w 506"/>
                  <a:gd name="T63" fmla="*/ 349 h 525"/>
                  <a:gd name="T64" fmla="*/ 398 w 506"/>
                  <a:gd name="T65" fmla="*/ 490 h 525"/>
                  <a:gd name="T66" fmla="*/ 356 w 506"/>
                  <a:gd name="T67" fmla="*/ 371 h 525"/>
                  <a:gd name="T68" fmla="*/ 389 w 506"/>
                  <a:gd name="T69" fmla="*/ 496 h 525"/>
                  <a:gd name="T70" fmla="*/ 150 w 506"/>
                  <a:gd name="T71" fmla="*/ 496 h 525"/>
                  <a:gd name="T72" fmla="*/ 108 w 506"/>
                  <a:gd name="T73" fmla="*/ 371 h 525"/>
                  <a:gd name="T74" fmla="*/ 117 w 506"/>
                  <a:gd name="T75" fmla="*/ 496 h 525"/>
                  <a:gd name="T76" fmla="*/ 71 w 506"/>
                  <a:gd name="T77" fmla="*/ 82 h 525"/>
                  <a:gd name="T78" fmla="*/ 51 w 506"/>
                  <a:gd name="T79" fmla="*/ 24 h 525"/>
                  <a:gd name="T80" fmla="*/ 45 w 506"/>
                  <a:gd name="T81" fmla="*/ 82 h 5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506" h="525">
                    <a:moveTo>
                      <a:pt x="506" y="21"/>
                    </a:moveTo>
                    <a:cubicBezTo>
                      <a:pt x="488" y="144"/>
                      <a:pt x="488" y="144"/>
                      <a:pt x="488" y="144"/>
                    </a:cubicBezTo>
                    <a:cubicBezTo>
                      <a:pt x="450" y="144"/>
                      <a:pt x="450" y="144"/>
                      <a:pt x="450" y="144"/>
                    </a:cubicBezTo>
                    <a:cubicBezTo>
                      <a:pt x="449" y="161"/>
                      <a:pt x="449" y="161"/>
                      <a:pt x="449" y="161"/>
                    </a:cubicBezTo>
                    <a:cubicBezTo>
                      <a:pt x="488" y="161"/>
                      <a:pt x="488" y="161"/>
                      <a:pt x="488" y="161"/>
                    </a:cubicBezTo>
                    <a:cubicBezTo>
                      <a:pt x="473" y="361"/>
                      <a:pt x="473" y="361"/>
                      <a:pt x="473" y="361"/>
                    </a:cubicBezTo>
                    <a:cubicBezTo>
                      <a:pt x="473" y="372"/>
                      <a:pt x="462" y="382"/>
                      <a:pt x="450" y="382"/>
                    </a:cubicBezTo>
                    <a:cubicBezTo>
                      <a:pt x="434" y="382"/>
                      <a:pt x="434" y="382"/>
                      <a:pt x="434" y="382"/>
                    </a:cubicBezTo>
                    <a:cubicBezTo>
                      <a:pt x="434" y="392"/>
                      <a:pt x="434" y="392"/>
                      <a:pt x="434" y="392"/>
                    </a:cubicBezTo>
                    <a:cubicBezTo>
                      <a:pt x="463" y="392"/>
                      <a:pt x="463" y="392"/>
                      <a:pt x="463" y="392"/>
                    </a:cubicBezTo>
                    <a:cubicBezTo>
                      <a:pt x="463" y="439"/>
                      <a:pt x="463" y="439"/>
                      <a:pt x="463" y="439"/>
                    </a:cubicBezTo>
                    <a:cubicBezTo>
                      <a:pt x="463" y="448"/>
                      <a:pt x="450" y="455"/>
                      <a:pt x="434" y="455"/>
                    </a:cubicBezTo>
                    <a:cubicBezTo>
                      <a:pt x="434" y="510"/>
                      <a:pt x="434" y="510"/>
                      <a:pt x="434" y="510"/>
                    </a:cubicBezTo>
                    <a:cubicBezTo>
                      <a:pt x="434" y="518"/>
                      <a:pt x="427" y="525"/>
                      <a:pt x="418" y="525"/>
                    </a:cubicBezTo>
                    <a:cubicBezTo>
                      <a:pt x="328" y="525"/>
                      <a:pt x="328" y="525"/>
                      <a:pt x="328" y="525"/>
                    </a:cubicBezTo>
                    <a:cubicBezTo>
                      <a:pt x="328" y="392"/>
                      <a:pt x="328" y="392"/>
                      <a:pt x="328" y="392"/>
                    </a:cubicBezTo>
                    <a:cubicBezTo>
                      <a:pt x="328" y="383"/>
                      <a:pt x="318" y="376"/>
                      <a:pt x="307" y="376"/>
                    </a:cubicBezTo>
                    <a:cubicBezTo>
                      <a:pt x="200" y="376"/>
                      <a:pt x="200" y="376"/>
                      <a:pt x="200" y="376"/>
                    </a:cubicBezTo>
                    <a:cubicBezTo>
                      <a:pt x="188" y="376"/>
                      <a:pt x="179" y="383"/>
                      <a:pt x="179" y="392"/>
                    </a:cubicBezTo>
                    <a:cubicBezTo>
                      <a:pt x="179" y="525"/>
                      <a:pt x="179" y="525"/>
                      <a:pt x="179" y="525"/>
                    </a:cubicBezTo>
                    <a:cubicBezTo>
                      <a:pt x="89" y="525"/>
                      <a:pt x="89" y="525"/>
                      <a:pt x="89" y="525"/>
                    </a:cubicBezTo>
                    <a:cubicBezTo>
                      <a:pt x="80" y="525"/>
                      <a:pt x="72" y="518"/>
                      <a:pt x="72" y="510"/>
                    </a:cubicBezTo>
                    <a:cubicBezTo>
                      <a:pt x="72" y="455"/>
                      <a:pt x="72" y="455"/>
                      <a:pt x="72" y="455"/>
                    </a:cubicBezTo>
                    <a:cubicBezTo>
                      <a:pt x="56" y="455"/>
                      <a:pt x="44" y="448"/>
                      <a:pt x="44" y="439"/>
                    </a:cubicBezTo>
                    <a:cubicBezTo>
                      <a:pt x="44" y="392"/>
                      <a:pt x="44" y="392"/>
                      <a:pt x="44" y="392"/>
                    </a:cubicBezTo>
                    <a:cubicBezTo>
                      <a:pt x="72" y="392"/>
                      <a:pt x="72" y="392"/>
                      <a:pt x="72" y="392"/>
                    </a:cubicBezTo>
                    <a:cubicBezTo>
                      <a:pt x="72" y="382"/>
                      <a:pt x="72" y="382"/>
                      <a:pt x="72" y="382"/>
                    </a:cubicBezTo>
                    <a:cubicBezTo>
                      <a:pt x="57" y="382"/>
                      <a:pt x="57" y="382"/>
                      <a:pt x="57" y="382"/>
                    </a:cubicBezTo>
                    <a:cubicBezTo>
                      <a:pt x="44" y="382"/>
                      <a:pt x="34" y="372"/>
                      <a:pt x="34" y="361"/>
                    </a:cubicBezTo>
                    <a:cubicBezTo>
                      <a:pt x="18" y="161"/>
                      <a:pt x="18" y="161"/>
                      <a:pt x="18" y="161"/>
                    </a:cubicBezTo>
                    <a:cubicBezTo>
                      <a:pt x="58" y="161"/>
                      <a:pt x="58" y="161"/>
                      <a:pt x="58" y="161"/>
                    </a:cubicBezTo>
                    <a:cubicBezTo>
                      <a:pt x="56" y="144"/>
                      <a:pt x="56" y="144"/>
                      <a:pt x="56" y="144"/>
                    </a:cubicBezTo>
                    <a:cubicBezTo>
                      <a:pt x="18" y="144"/>
                      <a:pt x="18" y="144"/>
                      <a:pt x="18" y="144"/>
                    </a:cubicBezTo>
                    <a:cubicBezTo>
                      <a:pt x="0" y="21"/>
                      <a:pt x="0" y="21"/>
                      <a:pt x="0" y="21"/>
                    </a:cubicBezTo>
                    <a:cubicBezTo>
                      <a:pt x="2" y="7"/>
                      <a:pt x="31" y="0"/>
                      <a:pt x="49" y="0"/>
                    </a:cubicBezTo>
                    <a:cubicBezTo>
                      <a:pt x="73" y="0"/>
                      <a:pt x="80" y="3"/>
                      <a:pt x="92" y="21"/>
                    </a:cubicBezTo>
                    <a:cubicBezTo>
                      <a:pt x="103" y="82"/>
                      <a:pt x="103" y="82"/>
                      <a:pt x="103" y="82"/>
                    </a:cubicBezTo>
                    <a:cubicBezTo>
                      <a:pt x="403" y="82"/>
                      <a:pt x="403" y="82"/>
                      <a:pt x="403" y="82"/>
                    </a:cubicBezTo>
                    <a:cubicBezTo>
                      <a:pt x="415" y="21"/>
                      <a:pt x="415" y="21"/>
                      <a:pt x="415" y="21"/>
                    </a:cubicBezTo>
                    <a:cubicBezTo>
                      <a:pt x="426" y="3"/>
                      <a:pt x="433" y="0"/>
                      <a:pt x="457" y="0"/>
                    </a:cubicBezTo>
                    <a:cubicBezTo>
                      <a:pt x="475" y="0"/>
                      <a:pt x="504" y="7"/>
                      <a:pt x="506" y="21"/>
                    </a:cubicBezTo>
                    <a:close/>
                    <a:moveTo>
                      <a:pt x="461" y="82"/>
                    </a:moveTo>
                    <a:cubicBezTo>
                      <a:pt x="469" y="32"/>
                      <a:pt x="469" y="32"/>
                      <a:pt x="469" y="32"/>
                    </a:cubicBezTo>
                    <a:cubicBezTo>
                      <a:pt x="469" y="24"/>
                      <a:pt x="463" y="24"/>
                      <a:pt x="455" y="24"/>
                    </a:cubicBezTo>
                    <a:cubicBezTo>
                      <a:pt x="450" y="24"/>
                      <a:pt x="447" y="26"/>
                      <a:pt x="445" y="32"/>
                    </a:cubicBezTo>
                    <a:cubicBezTo>
                      <a:pt x="435" y="82"/>
                      <a:pt x="435" y="82"/>
                      <a:pt x="435" y="82"/>
                    </a:cubicBezTo>
                    <a:lnTo>
                      <a:pt x="461" y="82"/>
                    </a:lnTo>
                    <a:close/>
                    <a:moveTo>
                      <a:pt x="454" y="127"/>
                    </a:moveTo>
                    <a:cubicBezTo>
                      <a:pt x="457" y="112"/>
                      <a:pt x="457" y="112"/>
                      <a:pt x="457" y="112"/>
                    </a:cubicBezTo>
                    <a:cubicBezTo>
                      <a:pt x="49" y="112"/>
                      <a:pt x="49" y="112"/>
                      <a:pt x="49" y="112"/>
                    </a:cubicBezTo>
                    <a:cubicBezTo>
                      <a:pt x="52" y="127"/>
                      <a:pt x="52" y="127"/>
                      <a:pt x="52" y="127"/>
                    </a:cubicBezTo>
                    <a:cubicBezTo>
                      <a:pt x="78" y="127"/>
                      <a:pt x="78" y="127"/>
                      <a:pt x="78" y="127"/>
                    </a:cubicBezTo>
                    <a:cubicBezTo>
                      <a:pt x="80" y="145"/>
                      <a:pt x="80" y="145"/>
                      <a:pt x="80" y="145"/>
                    </a:cubicBezTo>
                    <a:cubicBezTo>
                      <a:pt x="81" y="161"/>
                      <a:pt x="81" y="161"/>
                      <a:pt x="81" y="161"/>
                    </a:cubicBezTo>
                    <a:cubicBezTo>
                      <a:pt x="425" y="161"/>
                      <a:pt x="425" y="161"/>
                      <a:pt x="425" y="161"/>
                    </a:cubicBezTo>
                    <a:cubicBezTo>
                      <a:pt x="426" y="145"/>
                      <a:pt x="426" y="145"/>
                      <a:pt x="426" y="145"/>
                    </a:cubicBezTo>
                    <a:cubicBezTo>
                      <a:pt x="428" y="127"/>
                      <a:pt x="428" y="127"/>
                      <a:pt x="428" y="127"/>
                    </a:cubicBezTo>
                    <a:lnTo>
                      <a:pt x="454" y="127"/>
                    </a:lnTo>
                    <a:close/>
                    <a:moveTo>
                      <a:pt x="441" y="335"/>
                    </a:moveTo>
                    <a:cubicBezTo>
                      <a:pt x="450" y="178"/>
                      <a:pt x="450" y="178"/>
                      <a:pt x="450" y="178"/>
                    </a:cubicBezTo>
                    <a:cubicBezTo>
                      <a:pt x="56" y="178"/>
                      <a:pt x="56" y="178"/>
                      <a:pt x="56" y="178"/>
                    </a:cubicBezTo>
                    <a:cubicBezTo>
                      <a:pt x="65" y="335"/>
                      <a:pt x="65" y="335"/>
                      <a:pt x="65" y="335"/>
                    </a:cubicBezTo>
                    <a:cubicBezTo>
                      <a:pt x="65" y="343"/>
                      <a:pt x="74" y="349"/>
                      <a:pt x="85" y="349"/>
                    </a:cubicBezTo>
                    <a:cubicBezTo>
                      <a:pt x="421" y="349"/>
                      <a:pt x="421" y="349"/>
                      <a:pt x="421" y="349"/>
                    </a:cubicBezTo>
                    <a:cubicBezTo>
                      <a:pt x="432" y="349"/>
                      <a:pt x="441" y="343"/>
                      <a:pt x="441" y="335"/>
                    </a:cubicBezTo>
                    <a:close/>
                    <a:moveTo>
                      <a:pt x="398" y="490"/>
                    </a:moveTo>
                    <a:cubicBezTo>
                      <a:pt x="398" y="371"/>
                      <a:pt x="398" y="371"/>
                      <a:pt x="398" y="371"/>
                    </a:cubicBezTo>
                    <a:cubicBezTo>
                      <a:pt x="356" y="371"/>
                      <a:pt x="356" y="371"/>
                      <a:pt x="356" y="371"/>
                    </a:cubicBezTo>
                    <a:cubicBezTo>
                      <a:pt x="356" y="496"/>
                      <a:pt x="356" y="496"/>
                      <a:pt x="356" y="496"/>
                    </a:cubicBezTo>
                    <a:cubicBezTo>
                      <a:pt x="389" y="496"/>
                      <a:pt x="389" y="496"/>
                      <a:pt x="389" y="496"/>
                    </a:cubicBezTo>
                    <a:cubicBezTo>
                      <a:pt x="394" y="496"/>
                      <a:pt x="398" y="496"/>
                      <a:pt x="398" y="490"/>
                    </a:cubicBezTo>
                    <a:close/>
                    <a:moveTo>
                      <a:pt x="150" y="496"/>
                    </a:moveTo>
                    <a:cubicBezTo>
                      <a:pt x="150" y="371"/>
                      <a:pt x="150" y="371"/>
                      <a:pt x="150" y="371"/>
                    </a:cubicBezTo>
                    <a:cubicBezTo>
                      <a:pt x="108" y="371"/>
                      <a:pt x="108" y="371"/>
                      <a:pt x="108" y="371"/>
                    </a:cubicBezTo>
                    <a:cubicBezTo>
                      <a:pt x="108" y="490"/>
                      <a:pt x="108" y="490"/>
                      <a:pt x="108" y="490"/>
                    </a:cubicBezTo>
                    <a:cubicBezTo>
                      <a:pt x="108" y="496"/>
                      <a:pt x="112" y="496"/>
                      <a:pt x="117" y="496"/>
                    </a:cubicBezTo>
                    <a:lnTo>
                      <a:pt x="150" y="496"/>
                    </a:lnTo>
                    <a:close/>
                    <a:moveTo>
                      <a:pt x="71" y="82"/>
                    </a:moveTo>
                    <a:cubicBezTo>
                      <a:pt x="61" y="32"/>
                      <a:pt x="61" y="32"/>
                      <a:pt x="61" y="32"/>
                    </a:cubicBezTo>
                    <a:cubicBezTo>
                      <a:pt x="60" y="26"/>
                      <a:pt x="57" y="24"/>
                      <a:pt x="51" y="24"/>
                    </a:cubicBezTo>
                    <a:cubicBezTo>
                      <a:pt x="43" y="24"/>
                      <a:pt x="37" y="24"/>
                      <a:pt x="37" y="32"/>
                    </a:cubicBezTo>
                    <a:cubicBezTo>
                      <a:pt x="45" y="82"/>
                      <a:pt x="45" y="82"/>
                      <a:pt x="45" y="82"/>
                    </a:cubicBezTo>
                    <a:lnTo>
                      <a:pt x="71" y="8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295" name="í$ḻíde"/>
              <p:cNvSpPr/>
              <p:nvPr/>
            </p:nvSpPr>
            <p:spPr bwMode="auto">
              <a:xfrm>
                <a:off x="2144609" y="5142503"/>
                <a:ext cx="604838" cy="31750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</p:grpSp>
      </p:grpSp>
      <p:grpSp>
        <p:nvGrpSpPr>
          <p:cNvPr id="298" name="组合 297"/>
          <p:cNvGrpSpPr/>
          <p:nvPr userDrawn="1"/>
        </p:nvGrpSpPr>
        <p:grpSpPr>
          <a:xfrm>
            <a:off x="3989822" y="1457555"/>
            <a:ext cx="1164357" cy="320434"/>
            <a:chOff x="5180266" y="4756740"/>
            <a:chExt cx="5753100" cy="1187451"/>
          </a:xfrm>
          <a:solidFill>
            <a:srgbClr val="F2C68E"/>
          </a:solidFill>
        </p:grpSpPr>
        <p:sp>
          <p:nvSpPr>
            <p:cNvPr id="299" name="ïṩļîḑê"/>
            <p:cNvSpPr/>
            <p:nvPr/>
          </p:nvSpPr>
          <p:spPr bwMode="auto">
            <a:xfrm>
              <a:off x="10319003" y="4805953"/>
              <a:ext cx="600075" cy="771525"/>
            </a:xfrm>
            <a:custGeom>
              <a:avLst/>
              <a:gdLst>
                <a:gd name="T0" fmla="*/ 210 w 325"/>
                <a:gd name="T1" fmla="*/ 140 h 418"/>
                <a:gd name="T2" fmla="*/ 237 w 325"/>
                <a:gd name="T3" fmla="*/ 155 h 418"/>
                <a:gd name="T4" fmla="*/ 161 w 325"/>
                <a:gd name="T5" fmla="*/ 179 h 418"/>
                <a:gd name="T6" fmla="*/ 187 w 325"/>
                <a:gd name="T7" fmla="*/ 68 h 418"/>
                <a:gd name="T8" fmla="*/ 230 w 325"/>
                <a:gd name="T9" fmla="*/ 40 h 418"/>
                <a:gd name="T10" fmla="*/ 199 w 325"/>
                <a:gd name="T11" fmla="*/ 85 h 418"/>
                <a:gd name="T12" fmla="*/ 99 w 325"/>
                <a:gd name="T13" fmla="*/ 132 h 418"/>
                <a:gd name="T14" fmla="*/ 132 w 325"/>
                <a:gd name="T15" fmla="*/ 83 h 418"/>
                <a:gd name="T16" fmla="*/ 174 w 325"/>
                <a:gd name="T17" fmla="*/ 116 h 418"/>
                <a:gd name="T18" fmla="*/ 59 w 325"/>
                <a:gd name="T19" fmla="*/ 198 h 418"/>
                <a:gd name="T20" fmla="*/ 16 w 325"/>
                <a:gd name="T21" fmla="*/ 224 h 418"/>
                <a:gd name="T22" fmla="*/ 17 w 325"/>
                <a:gd name="T23" fmla="*/ 314 h 418"/>
                <a:gd name="T24" fmla="*/ 55 w 325"/>
                <a:gd name="T25" fmla="*/ 244 h 418"/>
                <a:gd name="T26" fmla="*/ 131 w 325"/>
                <a:gd name="T27" fmla="*/ 194 h 418"/>
                <a:gd name="T28" fmla="*/ 111 w 325"/>
                <a:gd name="T29" fmla="*/ 251 h 418"/>
                <a:gd name="T30" fmla="*/ 148 w 325"/>
                <a:gd name="T31" fmla="*/ 246 h 418"/>
                <a:gd name="T32" fmla="*/ 184 w 325"/>
                <a:gd name="T33" fmla="*/ 243 h 418"/>
                <a:gd name="T34" fmla="*/ 131 w 325"/>
                <a:gd name="T35" fmla="*/ 281 h 418"/>
                <a:gd name="T36" fmla="*/ 76 w 325"/>
                <a:gd name="T37" fmla="*/ 299 h 418"/>
                <a:gd name="T38" fmla="*/ 134 w 325"/>
                <a:gd name="T39" fmla="*/ 334 h 418"/>
                <a:gd name="T40" fmla="*/ 203 w 325"/>
                <a:gd name="T41" fmla="*/ 298 h 418"/>
                <a:gd name="T42" fmla="*/ 206 w 325"/>
                <a:gd name="T43" fmla="*/ 350 h 418"/>
                <a:gd name="T44" fmla="*/ 165 w 325"/>
                <a:gd name="T45" fmla="*/ 378 h 418"/>
                <a:gd name="T46" fmla="*/ 144 w 325"/>
                <a:gd name="T47" fmla="*/ 410 h 418"/>
                <a:gd name="T48" fmla="*/ 228 w 325"/>
                <a:gd name="T49" fmla="*/ 408 h 418"/>
                <a:gd name="T50" fmla="*/ 239 w 325"/>
                <a:gd name="T51" fmla="*/ 307 h 418"/>
                <a:gd name="T52" fmla="*/ 273 w 325"/>
                <a:gd name="T53" fmla="*/ 283 h 418"/>
                <a:gd name="T54" fmla="*/ 271 w 325"/>
                <a:gd name="T55" fmla="*/ 239 h 418"/>
                <a:gd name="T56" fmla="*/ 233 w 325"/>
                <a:gd name="T57" fmla="*/ 226 h 418"/>
                <a:gd name="T58" fmla="*/ 261 w 325"/>
                <a:gd name="T59" fmla="*/ 181 h 418"/>
                <a:gd name="T60" fmla="*/ 316 w 325"/>
                <a:gd name="T61" fmla="*/ 167 h 418"/>
                <a:gd name="T62" fmla="*/ 297 w 325"/>
                <a:gd name="T63" fmla="*/ 119 h 418"/>
                <a:gd name="T64" fmla="*/ 251 w 325"/>
                <a:gd name="T65" fmla="*/ 93 h 418"/>
                <a:gd name="T66" fmla="*/ 276 w 325"/>
                <a:gd name="T67" fmla="*/ 34 h 418"/>
                <a:gd name="T68" fmla="*/ 217 w 325"/>
                <a:gd name="T69" fmla="*/ 11 h 418"/>
                <a:gd name="T70" fmla="*/ 164 w 325"/>
                <a:gd name="T71" fmla="*/ 29 h 418"/>
                <a:gd name="T72" fmla="*/ 136 w 325"/>
                <a:gd name="T73" fmla="*/ 43 h 418"/>
                <a:gd name="T74" fmla="*/ 113 w 325"/>
                <a:gd name="T75" fmla="*/ 21 h 418"/>
                <a:gd name="T76" fmla="*/ 78 w 325"/>
                <a:gd name="T77" fmla="*/ 52 h 4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325" h="418">
                  <a:moveTo>
                    <a:pt x="161" y="179"/>
                  </a:moveTo>
                  <a:cubicBezTo>
                    <a:pt x="160" y="178"/>
                    <a:pt x="188" y="143"/>
                    <a:pt x="210" y="140"/>
                  </a:cubicBezTo>
                  <a:cubicBezTo>
                    <a:pt x="232" y="137"/>
                    <a:pt x="226" y="133"/>
                    <a:pt x="238" y="138"/>
                  </a:cubicBezTo>
                  <a:cubicBezTo>
                    <a:pt x="250" y="144"/>
                    <a:pt x="252" y="148"/>
                    <a:pt x="237" y="155"/>
                  </a:cubicBezTo>
                  <a:cubicBezTo>
                    <a:pt x="222" y="162"/>
                    <a:pt x="215" y="168"/>
                    <a:pt x="196" y="171"/>
                  </a:cubicBezTo>
                  <a:cubicBezTo>
                    <a:pt x="177" y="175"/>
                    <a:pt x="163" y="181"/>
                    <a:pt x="161" y="179"/>
                  </a:cubicBezTo>
                  <a:close/>
                  <a:moveTo>
                    <a:pt x="199" y="85"/>
                  </a:moveTo>
                  <a:cubicBezTo>
                    <a:pt x="197" y="87"/>
                    <a:pt x="186" y="79"/>
                    <a:pt x="187" y="68"/>
                  </a:cubicBezTo>
                  <a:cubicBezTo>
                    <a:pt x="188" y="57"/>
                    <a:pt x="197" y="38"/>
                    <a:pt x="211" y="34"/>
                  </a:cubicBezTo>
                  <a:cubicBezTo>
                    <a:pt x="225" y="30"/>
                    <a:pt x="230" y="30"/>
                    <a:pt x="230" y="40"/>
                  </a:cubicBezTo>
                  <a:cubicBezTo>
                    <a:pt x="229" y="51"/>
                    <a:pt x="229" y="62"/>
                    <a:pt x="219" y="71"/>
                  </a:cubicBezTo>
                  <a:cubicBezTo>
                    <a:pt x="210" y="80"/>
                    <a:pt x="201" y="84"/>
                    <a:pt x="199" y="85"/>
                  </a:cubicBezTo>
                  <a:close/>
                  <a:moveTo>
                    <a:pt x="79" y="112"/>
                  </a:moveTo>
                  <a:cubicBezTo>
                    <a:pt x="79" y="113"/>
                    <a:pt x="87" y="125"/>
                    <a:pt x="99" y="132"/>
                  </a:cubicBezTo>
                  <a:cubicBezTo>
                    <a:pt x="112" y="138"/>
                    <a:pt x="119" y="135"/>
                    <a:pt x="129" y="127"/>
                  </a:cubicBezTo>
                  <a:cubicBezTo>
                    <a:pt x="139" y="118"/>
                    <a:pt x="130" y="95"/>
                    <a:pt x="132" y="83"/>
                  </a:cubicBezTo>
                  <a:cubicBezTo>
                    <a:pt x="135" y="70"/>
                    <a:pt x="136" y="73"/>
                    <a:pt x="146" y="75"/>
                  </a:cubicBezTo>
                  <a:cubicBezTo>
                    <a:pt x="156" y="76"/>
                    <a:pt x="173" y="108"/>
                    <a:pt x="174" y="116"/>
                  </a:cubicBezTo>
                  <a:cubicBezTo>
                    <a:pt x="174" y="123"/>
                    <a:pt x="170" y="123"/>
                    <a:pt x="128" y="142"/>
                  </a:cubicBezTo>
                  <a:cubicBezTo>
                    <a:pt x="86" y="161"/>
                    <a:pt x="67" y="195"/>
                    <a:pt x="59" y="198"/>
                  </a:cubicBezTo>
                  <a:cubicBezTo>
                    <a:pt x="52" y="202"/>
                    <a:pt x="55" y="191"/>
                    <a:pt x="40" y="188"/>
                  </a:cubicBezTo>
                  <a:cubicBezTo>
                    <a:pt x="26" y="186"/>
                    <a:pt x="23" y="211"/>
                    <a:pt x="16" y="224"/>
                  </a:cubicBezTo>
                  <a:cubicBezTo>
                    <a:pt x="8" y="238"/>
                    <a:pt x="5" y="266"/>
                    <a:pt x="5" y="277"/>
                  </a:cubicBezTo>
                  <a:cubicBezTo>
                    <a:pt x="5" y="288"/>
                    <a:pt x="0" y="301"/>
                    <a:pt x="17" y="314"/>
                  </a:cubicBezTo>
                  <a:cubicBezTo>
                    <a:pt x="33" y="326"/>
                    <a:pt x="49" y="311"/>
                    <a:pt x="53" y="304"/>
                  </a:cubicBezTo>
                  <a:cubicBezTo>
                    <a:pt x="57" y="298"/>
                    <a:pt x="53" y="269"/>
                    <a:pt x="55" y="244"/>
                  </a:cubicBezTo>
                  <a:cubicBezTo>
                    <a:pt x="57" y="220"/>
                    <a:pt x="89" y="204"/>
                    <a:pt x="100" y="197"/>
                  </a:cubicBezTo>
                  <a:cubicBezTo>
                    <a:pt x="115" y="189"/>
                    <a:pt x="129" y="190"/>
                    <a:pt x="131" y="194"/>
                  </a:cubicBezTo>
                  <a:cubicBezTo>
                    <a:pt x="134" y="197"/>
                    <a:pt x="119" y="214"/>
                    <a:pt x="112" y="219"/>
                  </a:cubicBezTo>
                  <a:cubicBezTo>
                    <a:pt x="105" y="224"/>
                    <a:pt x="110" y="244"/>
                    <a:pt x="111" y="251"/>
                  </a:cubicBezTo>
                  <a:cubicBezTo>
                    <a:pt x="113" y="257"/>
                    <a:pt x="111" y="260"/>
                    <a:pt x="125" y="265"/>
                  </a:cubicBezTo>
                  <a:cubicBezTo>
                    <a:pt x="142" y="271"/>
                    <a:pt x="139" y="257"/>
                    <a:pt x="148" y="246"/>
                  </a:cubicBezTo>
                  <a:cubicBezTo>
                    <a:pt x="157" y="236"/>
                    <a:pt x="163" y="224"/>
                    <a:pt x="170" y="224"/>
                  </a:cubicBezTo>
                  <a:cubicBezTo>
                    <a:pt x="177" y="224"/>
                    <a:pt x="180" y="238"/>
                    <a:pt x="184" y="243"/>
                  </a:cubicBezTo>
                  <a:cubicBezTo>
                    <a:pt x="187" y="248"/>
                    <a:pt x="189" y="257"/>
                    <a:pt x="177" y="263"/>
                  </a:cubicBezTo>
                  <a:cubicBezTo>
                    <a:pt x="165" y="269"/>
                    <a:pt x="131" y="281"/>
                    <a:pt x="131" y="281"/>
                  </a:cubicBezTo>
                  <a:cubicBezTo>
                    <a:pt x="131" y="281"/>
                    <a:pt x="112" y="284"/>
                    <a:pt x="101" y="287"/>
                  </a:cubicBezTo>
                  <a:cubicBezTo>
                    <a:pt x="90" y="289"/>
                    <a:pt x="78" y="285"/>
                    <a:pt x="76" y="299"/>
                  </a:cubicBezTo>
                  <a:cubicBezTo>
                    <a:pt x="73" y="312"/>
                    <a:pt x="78" y="305"/>
                    <a:pt x="86" y="319"/>
                  </a:cubicBezTo>
                  <a:cubicBezTo>
                    <a:pt x="94" y="333"/>
                    <a:pt x="119" y="337"/>
                    <a:pt x="134" y="334"/>
                  </a:cubicBezTo>
                  <a:cubicBezTo>
                    <a:pt x="149" y="332"/>
                    <a:pt x="157" y="324"/>
                    <a:pt x="168" y="316"/>
                  </a:cubicBezTo>
                  <a:cubicBezTo>
                    <a:pt x="178" y="308"/>
                    <a:pt x="194" y="298"/>
                    <a:pt x="203" y="298"/>
                  </a:cubicBezTo>
                  <a:cubicBezTo>
                    <a:pt x="211" y="299"/>
                    <a:pt x="211" y="311"/>
                    <a:pt x="211" y="325"/>
                  </a:cubicBezTo>
                  <a:cubicBezTo>
                    <a:pt x="211" y="339"/>
                    <a:pt x="210" y="337"/>
                    <a:pt x="206" y="350"/>
                  </a:cubicBezTo>
                  <a:cubicBezTo>
                    <a:pt x="202" y="364"/>
                    <a:pt x="199" y="368"/>
                    <a:pt x="194" y="372"/>
                  </a:cubicBezTo>
                  <a:cubicBezTo>
                    <a:pt x="189" y="377"/>
                    <a:pt x="184" y="376"/>
                    <a:pt x="165" y="378"/>
                  </a:cubicBezTo>
                  <a:cubicBezTo>
                    <a:pt x="145" y="380"/>
                    <a:pt x="131" y="393"/>
                    <a:pt x="129" y="400"/>
                  </a:cubicBezTo>
                  <a:cubicBezTo>
                    <a:pt x="128" y="407"/>
                    <a:pt x="135" y="405"/>
                    <a:pt x="144" y="410"/>
                  </a:cubicBezTo>
                  <a:cubicBezTo>
                    <a:pt x="152" y="414"/>
                    <a:pt x="163" y="416"/>
                    <a:pt x="185" y="417"/>
                  </a:cubicBezTo>
                  <a:cubicBezTo>
                    <a:pt x="208" y="418"/>
                    <a:pt x="219" y="417"/>
                    <a:pt x="228" y="408"/>
                  </a:cubicBezTo>
                  <a:cubicBezTo>
                    <a:pt x="238" y="400"/>
                    <a:pt x="240" y="373"/>
                    <a:pt x="241" y="354"/>
                  </a:cubicBezTo>
                  <a:cubicBezTo>
                    <a:pt x="243" y="335"/>
                    <a:pt x="239" y="315"/>
                    <a:pt x="239" y="307"/>
                  </a:cubicBezTo>
                  <a:cubicBezTo>
                    <a:pt x="239" y="299"/>
                    <a:pt x="239" y="297"/>
                    <a:pt x="244" y="288"/>
                  </a:cubicBezTo>
                  <a:cubicBezTo>
                    <a:pt x="249" y="280"/>
                    <a:pt x="257" y="284"/>
                    <a:pt x="273" y="283"/>
                  </a:cubicBezTo>
                  <a:cubicBezTo>
                    <a:pt x="288" y="281"/>
                    <a:pt x="286" y="270"/>
                    <a:pt x="287" y="261"/>
                  </a:cubicBezTo>
                  <a:cubicBezTo>
                    <a:pt x="288" y="251"/>
                    <a:pt x="281" y="247"/>
                    <a:pt x="271" y="239"/>
                  </a:cubicBezTo>
                  <a:cubicBezTo>
                    <a:pt x="260" y="231"/>
                    <a:pt x="250" y="236"/>
                    <a:pt x="240" y="236"/>
                  </a:cubicBezTo>
                  <a:cubicBezTo>
                    <a:pt x="230" y="236"/>
                    <a:pt x="233" y="234"/>
                    <a:pt x="233" y="226"/>
                  </a:cubicBezTo>
                  <a:cubicBezTo>
                    <a:pt x="233" y="219"/>
                    <a:pt x="238" y="215"/>
                    <a:pt x="239" y="207"/>
                  </a:cubicBezTo>
                  <a:cubicBezTo>
                    <a:pt x="241" y="200"/>
                    <a:pt x="251" y="192"/>
                    <a:pt x="261" y="181"/>
                  </a:cubicBezTo>
                  <a:cubicBezTo>
                    <a:pt x="270" y="170"/>
                    <a:pt x="276" y="175"/>
                    <a:pt x="289" y="176"/>
                  </a:cubicBezTo>
                  <a:cubicBezTo>
                    <a:pt x="302" y="176"/>
                    <a:pt x="307" y="176"/>
                    <a:pt x="316" y="167"/>
                  </a:cubicBezTo>
                  <a:cubicBezTo>
                    <a:pt x="325" y="157"/>
                    <a:pt x="318" y="138"/>
                    <a:pt x="316" y="132"/>
                  </a:cubicBezTo>
                  <a:cubicBezTo>
                    <a:pt x="315" y="125"/>
                    <a:pt x="309" y="129"/>
                    <a:pt x="297" y="119"/>
                  </a:cubicBezTo>
                  <a:cubicBezTo>
                    <a:pt x="285" y="108"/>
                    <a:pt x="274" y="111"/>
                    <a:pt x="261" y="111"/>
                  </a:cubicBezTo>
                  <a:cubicBezTo>
                    <a:pt x="248" y="111"/>
                    <a:pt x="244" y="100"/>
                    <a:pt x="251" y="93"/>
                  </a:cubicBezTo>
                  <a:cubicBezTo>
                    <a:pt x="259" y="87"/>
                    <a:pt x="265" y="77"/>
                    <a:pt x="272" y="66"/>
                  </a:cubicBezTo>
                  <a:cubicBezTo>
                    <a:pt x="278" y="55"/>
                    <a:pt x="276" y="45"/>
                    <a:pt x="276" y="34"/>
                  </a:cubicBezTo>
                  <a:cubicBezTo>
                    <a:pt x="275" y="24"/>
                    <a:pt x="264" y="20"/>
                    <a:pt x="252" y="10"/>
                  </a:cubicBezTo>
                  <a:cubicBezTo>
                    <a:pt x="240" y="0"/>
                    <a:pt x="225" y="8"/>
                    <a:pt x="217" y="11"/>
                  </a:cubicBezTo>
                  <a:cubicBezTo>
                    <a:pt x="208" y="14"/>
                    <a:pt x="196" y="20"/>
                    <a:pt x="187" y="25"/>
                  </a:cubicBezTo>
                  <a:cubicBezTo>
                    <a:pt x="178" y="30"/>
                    <a:pt x="172" y="30"/>
                    <a:pt x="164" y="29"/>
                  </a:cubicBezTo>
                  <a:cubicBezTo>
                    <a:pt x="157" y="29"/>
                    <a:pt x="150" y="29"/>
                    <a:pt x="147" y="29"/>
                  </a:cubicBezTo>
                  <a:cubicBezTo>
                    <a:pt x="144" y="29"/>
                    <a:pt x="141" y="35"/>
                    <a:pt x="136" y="43"/>
                  </a:cubicBezTo>
                  <a:cubicBezTo>
                    <a:pt x="131" y="51"/>
                    <a:pt x="126" y="47"/>
                    <a:pt x="124" y="43"/>
                  </a:cubicBezTo>
                  <a:cubicBezTo>
                    <a:pt x="121" y="38"/>
                    <a:pt x="116" y="28"/>
                    <a:pt x="113" y="21"/>
                  </a:cubicBezTo>
                  <a:cubicBezTo>
                    <a:pt x="110" y="15"/>
                    <a:pt x="97" y="18"/>
                    <a:pt x="91" y="21"/>
                  </a:cubicBezTo>
                  <a:cubicBezTo>
                    <a:pt x="84" y="25"/>
                    <a:pt x="80" y="41"/>
                    <a:pt x="78" y="52"/>
                  </a:cubicBezTo>
                  <a:cubicBezTo>
                    <a:pt x="75" y="63"/>
                    <a:pt x="78" y="111"/>
                    <a:pt x="79" y="1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300" name="îşḷïḍe"/>
            <p:cNvSpPr/>
            <p:nvPr/>
          </p:nvSpPr>
          <p:spPr bwMode="auto">
            <a:xfrm>
              <a:off x="9461753" y="4939303"/>
              <a:ext cx="388938" cy="534988"/>
            </a:xfrm>
            <a:custGeom>
              <a:avLst/>
              <a:gdLst>
                <a:gd name="T0" fmla="*/ 4 w 211"/>
                <a:gd name="T1" fmla="*/ 137 h 290"/>
                <a:gd name="T2" fmla="*/ 41 w 211"/>
                <a:gd name="T3" fmla="*/ 117 h 290"/>
                <a:gd name="T4" fmla="*/ 75 w 211"/>
                <a:gd name="T5" fmla="*/ 83 h 290"/>
                <a:gd name="T6" fmla="*/ 82 w 211"/>
                <a:gd name="T7" fmla="*/ 29 h 290"/>
                <a:gd name="T8" fmla="*/ 94 w 211"/>
                <a:gd name="T9" fmla="*/ 6 h 290"/>
                <a:gd name="T10" fmla="*/ 126 w 211"/>
                <a:gd name="T11" fmla="*/ 27 h 290"/>
                <a:gd name="T12" fmla="*/ 145 w 211"/>
                <a:gd name="T13" fmla="*/ 65 h 290"/>
                <a:gd name="T14" fmla="*/ 170 w 211"/>
                <a:gd name="T15" fmla="*/ 93 h 290"/>
                <a:gd name="T16" fmla="*/ 164 w 211"/>
                <a:gd name="T17" fmla="*/ 119 h 290"/>
                <a:gd name="T18" fmla="*/ 127 w 211"/>
                <a:gd name="T19" fmla="*/ 151 h 290"/>
                <a:gd name="T20" fmla="*/ 123 w 211"/>
                <a:gd name="T21" fmla="*/ 165 h 290"/>
                <a:gd name="T22" fmla="*/ 181 w 211"/>
                <a:gd name="T23" fmla="*/ 187 h 290"/>
                <a:gd name="T24" fmla="*/ 210 w 211"/>
                <a:gd name="T25" fmla="*/ 231 h 290"/>
                <a:gd name="T26" fmla="*/ 202 w 211"/>
                <a:gd name="T27" fmla="*/ 281 h 290"/>
                <a:gd name="T28" fmla="*/ 185 w 211"/>
                <a:gd name="T29" fmla="*/ 289 h 290"/>
                <a:gd name="T30" fmla="*/ 162 w 211"/>
                <a:gd name="T31" fmla="*/ 267 h 290"/>
                <a:gd name="T32" fmla="*/ 158 w 211"/>
                <a:gd name="T33" fmla="*/ 217 h 290"/>
                <a:gd name="T34" fmla="*/ 134 w 211"/>
                <a:gd name="T35" fmla="*/ 188 h 290"/>
                <a:gd name="T36" fmla="*/ 117 w 211"/>
                <a:gd name="T37" fmla="*/ 183 h 290"/>
                <a:gd name="T38" fmla="*/ 105 w 211"/>
                <a:gd name="T39" fmla="*/ 191 h 290"/>
                <a:gd name="T40" fmla="*/ 95 w 211"/>
                <a:gd name="T41" fmla="*/ 225 h 290"/>
                <a:gd name="T42" fmla="*/ 92 w 211"/>
                <a:gd name="T43" fmla="*/ 251 h 290"/>
                <a:gd name="T44" fmla="*/ 58 w 211"/>
                <a:gd name="T45" fmla="*/ 261 h 290"/>
                <a:gd name="T46" fmla="*/ 37 w 211"/>
                <a:gd name="T47" fmla="*/ 235 h 290"/>
                <a:gd name="T48" fmla="*/ 39 w 211"/>
                <a:gd name="T49" fmla="*/ 205 h 290"/>
                <a:gd name="T50" fmla="*/ 45 w 211"/>
                <a:gd name="T51" fmla="*/ 177 h 290"/>
                <a:gd name="T52" fmla="*/ 18 w 211"/>
                <a:gd name="T53" fmla="*/ 155 h 290"/>
                <a:gd name="T54" fmla="*/ 0 w 211"/>
                <a:gd name="T55" fmla="*/ 147 h 290"/>
                <a:gd name="T56" fmla="*/ 4 w 211"/>
                <a:gd name="T57" fmla="*/ 137 h 2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211" h="290">
                  <a:moveTo>
                    <a:pt x="4" y="137"/>
                  </a:moveTo>
                  <a:cubicBezTo>
                    <a:pt x="4" y="137"/>
                    <a:pt x="32" y="120"/>
                    <a:pt x="41" y="117"/>
                  </a:cubicBezTo>
                  <a:cubicBezTo>
                    <a:pt x="50" y="115"/>
                    <a:pt x="69" y="103"/>
                    <a:pt x="75" y="83"/>
                  </a:cubicBezTo>
                  <a:cubicBezTo>
                    <a:pt x="81" y="63"/>
                    <a:pt x="82" y="39"/>
                    <a:pt x="82" y="29"/>
                  </a:cubicBezTo>
                  <a:cubicBezTo>
                    <a:pt x="82" y="19"/>
                    <a:pt x="76" y="0"/>
                    <a:pt x="94" y="6"/>
                  </a:cubicBezTo>
                  <a:cubicBezTo>
                    <a:pt x="112" y="12"/>
                    <a:pt x="124" y="15"/>
                    <a:pt x="126" y="27"/>
                  </a:cubicBezTo>
                  <a:cubicBezTo>
                    <a:pt x="129" y="39"/>
                    <a:pt x="131" y="55"/>
                    <a:pt x="145" y="65"/>
                  </a:cubicBezTo>
                  <a:cubicBezTo>
                    <a:pt x="159" y="75"/>
                    <a:pt x="168" y="83"/>
                    <a:pt x="170" y="93"/>
                  </a:cubicBezTo>
                  <a:cubicBezTo>
                    <a:pt x="172" y="103"/>
                    <a:pt x="172" y="114"/>
                    <a:pt x="164" y="119"/>
                  </a:cubicBezTo>
                  <a:cubicBezTo>
                    <a:pt x="157" y="123"/>
                    <a:pt x="132" y="147"/>
                    <a:pt x="127" y="151"/>
                  </a:cubicBezTo>
                  <a:cubicBezTo>
                    <a:pt x="121" y="154"/>
                    <a:pt x="119" y="165"/>
                    <a:pt x="123" y="165"/>
                  </a:cubicBezTo>
                  <a:cubicBezTo>
                    <a:pt x="127" y="165"/>
                    <a:pt x="163" y="172"/>
                    <a:pt x="181" y="187"/>
                  </a:cubicBezTo>
                  <a:cubicBezTo>
                    <a:pt x="198" y="202"/>
                    <a:pt x="209" y="216"/>
                    <a:pt x="210" y="231"/>
                  </a:cubicBezTo>
                  <a:cubicBezTo>
                    <a:pt x="211" y="247"/>
                    <a:pt x="210" y="273"/>
                    <a:pt x="202" y="281"/>
                  </a:cubicBezTo>
                  <a:cubicBezTo>
                    <a:pt x="194" y="288"/>
                    <a:pt x="192" y="290"/>
                    <a:pt x="185" y="289"/>
                  </a:cubicBezTo>
                  <a:cubicBezTo>
                    <a:pt x="178" y="288"/>
                    <a:pt x="164" y="279"/>
                    <a:pt x="162" y="267"/>
                  </a:cubicBezTo>
                  <a:cubicBezTo>
                    <a:pt x="160" y="255"/>
                    <a:pt x="164" y="239"/>
                    <a:pt x="158" y="217"/>
                  </a:cubicBezTo>
                  <a:cubicBezTo>
                    <a:pt x="153" y="196"/>
                    <a:pt x="139" y="191"/>
                    <a:pt x="134" y="188"/>
                  </a:cubicBezTo>
                  <a:cubicBezTo>
                    <a:pt x="129" y="186"/>
                    <a:pt x="117" y="183"/>
                    <a:pt x="117" y="183"/>
                  </a:cubicBezTo>
                  <a:cubicBezTo>
                    <a:pt x="117" y="183"/>
                    <a:pt x="108" y="182"/>
                    <a:pt x="105" y="191"/>
                  </a:cubicBezTo>
                  <a:cubicBezTo>
                    <a:pt x="102" y="199"/>
                    <a:pt x="96" y="215"/>
                    <a:pt x="95" y="225"/>
                  </a:cubicBezTo>
                  <a:cubicBezTo>
                    <a:pt x="94" y="235"/>
                    <a:pt x="96" y="247"/>
                    <a:pt x="92" y="251"/>
                  </a:cubicBezTo>
                  <a:cubicBezTo>
                    <a:pt x="87" y="256"/>
                    <a:pt x="77" y="267"/>
                    <a:pt x="58" y="261"/>
                  </a:cubicBezTo>
                  <a:cubicBezTo>
                    <a:pt x="39" y="255"/>
                    <a:pt x="41" y="238"/>
                    <a:pt x="37" y="235"/>
                  </a:cubicBezTo>
                  <a:cubicBezTo>
                    <a:pt x="33" y="231"/>
                    <a:pt x="39" y="211"/>
                    <a:pt x="39" y="205"/>
                  </a:cubicBezTo>
                  <a:cubicBezTo>
                    <a:pt x="39" y="200"/>
                    <a:pt x="47" y="182"/>
                    <a:pt x="45" y="177"/>
                  </a:cubicBezTo>
                  <a:cubicBezTo>
                    <a:pt x="44" y="173"/>
                    <a:pt x="25" y="153"/>
                    <a:pt x="18" y="155"/>
                  </a:cubicBezTo>
                  <a:cubicBezTo>
                    <a:pt x="11" y="157"/>
                    <a:pt x="1" y="155"/>
                    <a:pt x="0" y="147"/>
                  </a:cubicBezTo>
                  <a:cubicBezTo>
                    <a:pt x="0" y="140"/>
                    <a:pt x="4" y="137"/>
                    <a:pt x="4" y="13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301" name="îṧļíďe"/>
            <p:cNvSpPr/>
            <p:nvPr/>
          </p:nvSpPr>
          <p:spPr bwMode="auto">
            <a:xfrm>
              <a:off x="8326691" y="4823415"/>
              <a:ext cx="746125" cy="695325"/>
            </a:xfrm>
            <a:custGeom>
              <a:avLst/>
              <a:gdLst>
                <a:gd name="T0" fmla="*/ 159 w 405"/>
                <a:gd name="T1" fmla="*/ 229 h 377"/>
                <a:gd name="T2" fmla="*/ 218 w 405"/>
                <a:gd name="T3" fmla="*/ 183 h 377"/>
                <a:gd name="T4" fmla="*/ 234 w 405"/>
                <a:gd name="T5" fmla="*/ 247 h 377"/>
                <a:gd name="T6" fmla="*/ 260 w 405"/>
                <a:gd name="T7" fmla="*/ 269 h 377"/>
                <a:gd name="T8" fmla="*/ 209 w 405"/>
                <a:gd name="T9" fmla="*/ 247 h 377"/>
                <a:gd name="T10" fmla="*/ 108 w 405"/>
                <a:gd name="T11" fmla="*/ 215 h 377"/>
                <a:gd name="T12" fmla="*/ 73 w 405"/>
                <a:gd name="T13" fmla="*/ 283 h 377"/>
                <a:gd name="T14" fmla="*/ 43 w 405"/>
                <a:gd name="T15" fmla="*/ 350 h 377"/>
                <a:gd name="T16" fmla="*/ 91 w 405"/>
                <a:gd name="T17" fmla="*/ 347 h 377"/>
                <a:gd name="T18" fmla="*/ 118 w 405"/>
                <a:gd name="T19" fmla="*/ 372 h 377"/>
                <a:gd name="T20" fmla="*/ 136 w 405"/>
                <a:gd name="T21" fmla="*/ 328 h 377"/>
                <a:gd name="T22" fmla="*/ 147 w 405"/>
                <a:gd name="T23" fmla="*/ 265 h 377"/>
                <a:gd name="T24" fmla="*/ 242 w 405"/>
                <a:gd name="T25" fmla="*/ 306 h 377"/>
                <a:gd name="T26" fmla="*/ 186 w 405"/>
                <a:gd name="T27" fmla="*/ 337 h 377"/>
                <a:gd name="T28" fmla="*/ 172 w 405"/>
                <a:gd name="T29" fmla="*/ 367 h 377"/>
                <a:gd name="T30" fmla="*/ 272 w 405"/>
                <a:gd name="T31" fmla="*/ 328 h 377"/>
                <a:gd name="T32" fmla="*/ 352 w 405"/>
                <a:gd name="T33" fmla="*/ 373 h 377"/>
                <a:gd name="T34" fmla="*/ 389 w 405"/>
                <a:gd name="T35" fmla="*/ 333 h 377"/>
                <a:gd name="T36" fmla="*/ 292 w 405"/>
                <a:gd name="T37" fmla="*/ 299 h 377"/>
                <a:gd name="T38" fmla="*/ 291 w 405"/>
                <a:gd name="T39" fmla="*/ 217 h 377"/>
                <a:gd name="T40" fmla="*/ 261 w 405"/>
                <a:gd name="T41" fmla="*/ 173 h 377"/>
                <a:gd name="T42" fmla="*/ 297 w 405"/>
                <a:gd name="T43" fmla="*/ 107 h 377"/>
                <a:gd name="T44" fmla="*/ 283 w 405"/>
                <a:gd name="T45" fmla="*/ 43 h 377"/>
                <a:gd name="T46" fmla="*/ 241 w 405"/>
                <a:gd name="T47" fmla="*/ 1 h 377"/>
                <a:gd name="T48" fmla="*/ 241 w 405"/>
                <a:gd name="T49" fmla="*/ 35 h 377"/>
                <a:gd name="T50" fmla="*/ 245 w 405"/>
                <a:gd name="T51" fmla="*/ 97 h 377"/>
                <a:gd name="T52" fmla="*/ 194 w 405"/>
                <a:gd name="T53" fmla="*/ 129 h 377"/>
                <a:gd name="T54" fmla="*/ 161 w 405"/>
                <a:gd name="T55" fmla="*/ 121 h 377"/>
                <a:gd name="T56" fmla="*/ 150 w 405"/>
                <a:gd name="T57" fmla="*/ 33 h 377"/>
                <a:gd name="T58" fmla="*/ 122 w 405"/>
                <a:gd name="T59" fmla="*/ 56 h 377"/>
                <a:gd name="T60" fmla="*/ 121 w 405"/>
                <a:gd name="T61" fmla="*/ 133 h 377"/>
                <a:gd name="T62" fmla="*/ 30 w 405"/>
                <a:gd name="T63" fmla="*/ 180 h 377"/>
                <a:gd name="T64" fmla="*/ 22 w 405"/>
                <a:gd name="T65" fmla="*/ 219 h 3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05" h="377">
                  <a:moveTo>
                    <a:pt x="174" y="243"/>
                  </a:moveTo>
                  <a:cubicBezTo>
                    <a:pt x="172" y="243"/>
                    <a:pt x="154" y="236"/>
                    <a:pt x="159" y="229"/>
                  </a:cubicBezTo>
                  <a:cubicBezTo>
                    <a:pt x="163" y="221"/>
                    <a:pt x="190" y="187"/>
                    <a:pt x="199" y="183"/>
                  </a:cubicBezTo>
                  <a:cubicBezTo>
                    <a:pt x="208" y="178"/>
                    <a:pt x="215" y="172"/>
                    <a:pt x="218" y="183"/>
                  </a:cubicBezTo>
                  <a:cubicBezTo>
                    <a:pt x="221" y="193"/>
                    <a:pt x="215" y="230"/>
                    <a:pt x="220" y="236"/>
                  </a:cubicBezTo>
                  <a:cubicBezTo>
                    <a:pt x="225" y="241"/>
                    <a:pt x="227" y="248"/>
                    <a:pt x="234" y="247"/>
                  </a:cubicBezTo>
                  <a:cubicBezTo>
                    <a:pt x="241" y="246"/>
                    <a:pt x="256" y="238"/>
                    <a:pt x="260" y="245"/>
                  </a:cubicBezTo>
                  <a:cubicBezTo>
                    <a:pt x="263" y="252"/>
                    <a:pt x="268" y="259"/>
                    <a:pt x="260" y="269"/>
                  </a:cubicBezTo>
                  <a:cubicBezTo>
                    <a:pt x="253" y="278"/>
                    <a:pt x="247" y="281"/>
                    <a:pt x="239" y="274"/>
                  </a:cubicBezTo>
                  <a:cubicBezTo>
                    <a:pt x="230" y="267"/>
                    <a:pt x="221" y="250"/>
                    <a:pt x="209" y="247"/>
                  </a:cubicBezTo>
                  <a:cubicBezTo>
                    <a:pt x="198" y="245"/>
                    <a:pt x="176" y="243"/>
                    <a:pt x="174" y="243"/>
                  </a:cubicBezTo>
                  <a:close/>
                  <a:moveTo>
                    <a:pt x="108" y="215"/>
                  </a:moveTo>
                  <a:cubicBezTo>
                    <a:pt x="109" y="216"/>
                    <a:pt x="102" y="238"/>
                    <a:pt x="93" y="254"/>
                  </a:cubicBezTo>
                  <a:cubicBezTo>
                    <a:pt x="84" y="271"/>
                    <a:pt x="81" y="271"/>
                    <a:pt x="73" y="283"/>
                  </a:cubicBezTo>
                  <a:cubicBezTo>
                    <a:pt x="65" y="295"/>
                    <a:pt x="45" y="309"/>
                    <a:pt x="44" y="316"/>
                  </a:cubicBezTo>
                  <a:cubicBezTo>
                    <a:pt x="43" y="323"/>
                    <a:pt x="41" y="343"/>
                    <a:pt x="43" y="350"/>
                  </a:cubicBezTo>
                  <a:cubicBezTo>
                    <a:pt x="44" y="357"/>
                    <a:pt x="61" y="358"/>
                    <a:pt x="69" y="357"/>
                  </a:cubicBezTo>
                  <a:cubicBezTo>
                    <a:pt x="77" y="355"/>
                    <a:pt x="84" y="347"/>
                    <a:pt x="91" y="347"/>
                  </a:cubicBezTo>
                  <a:cubicBezTo>
                    <a:pt x="98" y="347"/>
                    <a:pt x="96" y="355"/>
                    <a:pt x="97" y="361"/>
                  </a:cubicBezTo>
                  <a:cubicBezTo>
                    <a:pt x="97" y="366"/>
                    <a:pt x="101" y="368"/>
                    <a:pt x="118" y="372"/>
                  </a:cubicBezTo>
                  <a:cubicBezTo>
                    <a:pt x="136" y="377"/>
                    <a:pt x="140" y="364"/>
                    <a:pt x="144" y="352"/>
                  </a:cubicBezTo>
                  <a:cubicBezTo>
                    <a:pt x="148" y="339"/>
                    <a:pt x="140" y="339"/>
                    <a:pt x="136" y="328"/>
                  </a:cubicBezTo>
                  <a:cubicBezTo>
                    <a:pt x="133" y="316"/>
                    <a:pt x="136" y="302"/>
                    <a:pt x="136" y="292"/>
                  </a:cubicBezTo>
                  <a:cubicBezTo>
                    <a:pt x="135" y="281"/>
                    <a:pt x="141" y="272"/>
                    <a:pt x="147" y="265"/>
                  </a:cubicBezTo>
                  <a:cubicBezTo>
                    <a:pt x="153" y="258"/>
                    <a:pt x="160" y="248"/>
                    <a:pt x="186" y="258"/>
                  </a:cubicBezTo>
                  <a:cubicBezTo>
                    <a:pt x="212" y="267"/>
                    <a:pt x="239" y="298"/>
                    <a:pt x="242" y="306"/>
                  </a:cubicBezTo>
                  <a:cubicBezTo>
                    <a:pt x="245" y="313"/>
                    <a:pt x="232" y="318"/>
                    <a:pt x="227" y="325"/>
                  </a:cubicBezTo>
                  <a:cubicBezTo>
                    <a:pt x="222" y="332"/>
                    <a:pt x="196" y="338"/>
                    <a:pt x="186" y="337"/>
                  </a:cubicBezTo>
                  <a:cubicBezTo>
                    <a:pt x="175" y="336"/>
                    <a:pt x="172" y="344"/>
                    <a:pt x="167" y="348"/>
                  </a:cubicBezTo>
                  <a:cubicBezTo>
                    <a:pt x="162" y="351"/>
                    <a:pt x="167" y="361"/>
                    <a:pt x="172" y="367"/>
                  </a:cubicBezTo>
                  <a:cubicBezTo>
                    <a:pt x="177" y="373"/>
                    <a:pt x="211" y="373"/>
                    <a:pt x="224" y="364"/>
                  </a:cubicBezTo>
                  <a:cubicBezTo>
                    <a:pt x="237" y="354"/>
                    <a:pt x="272" y="328"/>
                    <a:pt x="272" y="328"/>
                  </a:cubicBezTo>
                  <a:cubicBezTo>
                    <a:pt x="272" y="328"/>
                    <a:pt x="285" y="340"/>
                    <a:pt x="293" y="348"/>
                  </a:cubicBezTo>
                  <a:cubicBezTo>
                    <a:pt x="301" y="357"/>
                    <a:pt x="319" y="369"/>
                    <a:pt x="352" y="373"/>
                  </a:cubicBezTo>
                  <a:cubicBezTo>
                    <a:pt x="385" y="377"/>
                    <a:pt x="398" y="356"/>
                    <a:pt x="401" y="352"/>
                  </a:cubicBezTo>
                  <a:cubicBezTo>
                    <a:pt x="405" y="348"/>
                    <a:pt x="399" y="342"/>
                    <a:pt x="389" y="333"/>
                  </a:cubicBezTo>
                  <a:cubicBezTo>
                    <a:pt x="379" y="323"/>
                    <a:pt x="353" y="312"/>
                    <a:pt x="337" y="313"/>
                  </a:cubicBezTo>
                  <a:cubicBezTo>
                    <a:pt x="321" y="315"/>
                    <a:pt x="303" y="305"/>
                    <a:pt x="292" y="299"/>
                  </a:cubicBezTo>
                  <a:cubicBezTo>
                    <a:pt x="282" y="293"/>
                    <a:pt x="287" y="293"/>
                    <a:pt x="291" y="277"/>
                  </a:cubicBezTo>
                  <a:cubicBezTo>
                    <a:pt x="295" y="261"/>
                    <a:pt x="294" y="231"/>
                    <a:pt x="291" y="217"/>
                  </a:cubicBezTo>
                  <a:cubicBezTo>
                    <a:pt x="287" y="204"/>
                    <a:pt x="269" y="200"/>
                    <a:pt x="264" y="192"/>
                  </a:cubicBezTo>
                  <a:cubicBezTo>
                    <a:pt x="258" y="184"/>
                    <a:pt x="251" y="180"/>
                    <a:pt x="261" y="173"/>
                  </a:cubicBezTo>
                  <a:cubicBezTo>
                    <a:pt x="272" y="166"/>
                    <a:pt x="282" y="146"/>
                    <a:pt x="290" y="135"/>
                  </a:cubicBezTo>
                  <a:cubicBezTo>
                    <a:pt x="298" y="123"/>
                    <a:pt x="305" y="117"/>
                    <a:pt x="297" y="107"/>
                  </a:cubicBezTo>
                  <a:cubicBezTo>
                    <a:pt x="289" y="97"/>
                    <a:pt x="283" y="94"/>
                    <a:pt x="281" y="86"/>
                  </a:cubicBezTo>
                  <a:cubicBezTo>
                    <a:pt x="280" y="79"/>
                    <a:pt x="283" y="57"/>
                    <a:pt x="283" y="43"/>
                  </a:cubicBezTo>
                  <a:cubicBezTo>
                    <a:pt x="283" y="29"/>
                    <a:pt x="285" y="30"/>
                    <a:pt x="272" y="15"/>
                  </a:cubicBezTo>
                  <a:cubicBezTo>
                    <a:pt x="260" y="0"/>
                    <a:pt x="248" y="2"/>
                    <a:pt x="241" y="1"/>
                  </a:cubicBezTo>
                  <a:cubicBezTo>
                    <a:pt x="235" y="0"/>
                    <a:pt x="231" y="21"/>
                    <a:pt x="233" y="26"/>
                  </a:cubicBezTo>
                  <a:cubicBezTo>
                    <a:pt x="235" y="31"/>
                    <a:pt x="239" y="31"/>
                    <a:pt x="241" y="35"/>
                  </a:cubicBezTo>
                  <a:cubicBezTo>
                    <a:pt x="242" y="39"/>
                    <a:pt x="239" y="36"/>
                    <a:pt x="243" y="53"/>
                  </a:cubicBezTo>
                  <a:cubicBezTo>
                    <a:pt x="247" y="70"/>
                    <a:pt x="245" y="91"/>
                    <a:pt x="245" y="97"/>
                  </a:cubicBezTo>
                  <a:cubicBezTo>
                    <a:pt x="245" y="103"/>
                    <a:pt x="240" y="107"/>
                    <a:pt x="234" y="114"/>
                  </a:cubicBezTo>
                  <a:cubicBezTo>
                    <a:pt x="228" y="121"/>
                    <a:pt x="206" y="123"/>
                    <a:pt x="194" y="129"/>
                  </a:cubicBezTo>
                  <a:cubicBezTo>
                    <a:pt x="181" y="135"/>
                    <a:pt x="179" y="146"/>
                    <a:pt x="170" y="149"/>
                  </a:cubicBezTo>
                  <a:cubicBezTo>
                    <a:pt x="161" y="151"/>
                    <a:pt x="157" y="138"/>
                    <a:pt x="161" y="121"/>
                  </a:cubicBezTo>
                  <a:cubicBezTo>
                    <a:pt x="164" y="109"/>
                    <a:pt x="168" y="79"/>
                    <a:pt x="168" y="64"/>
                  </a:cubicBezTo>
                  <a:cubicBezTo>
                    <a:pt x="167" y="54"/>
                    <a:pt x="158" y="40"/>
                    <a:pt x="150" y="33"/>
                  </a:cubicBezTo>
                  <a:cubicBezTo>
                    <a:pt x="142" y="25"/>
                    <a:pt x="136" y="30"/>
                    <a:pt x="131" y="32"/>
                  </a:cubicBezTo>
                  <a:cubicBezTo>
                    <a:pt x="126" y="35"/>
                    <a:pt x="120" y="43"/>
                    <a:pt x="122" y="56"/>
                  </a:cubicBezTo>
                  <a:cubicBezTo>
                    <a:pt x="124" y="70"/>
                    <a:pt x="127" y="72"/>
                    <a:pt x="127" y="82"/>
                  </a:cubicBezTo>
                  <a:cubicBezTo>
                    <a:pt x="128" y="92"/>
                    <a:pt x="124" y="113"/>
                    <a:pt x="121" y="133"/>
                  </a:cubicBezTo>
                  <a:cubicBezTo>
                    <a:pt x="117" y="152"/>
                    <a:pt x="104" y="151"/>
                    <a:pt x="90" y="158"/>
                  </a:cubicBezTo>
                  <a:cubicBezTo>
                    <a:pt x="76" y="165"/>
                    <a:pt x="48" y="175"/>
                    <a:pt x="30" y="180"/>
                  </a:cubicBezTo>
                  <a:cubicBezTo>
                    <a:pt x="13" y="184"/>
                    <a:pt x="0" y="191"/>
                    <a:pt x="0" y="200"/>
                  </a:cubicBezTo>
                  <a:cubicBezTo>
                    <a:pt x="0" y="209"/>
                    <a:pt x="9" y="210"/>
                    <a:pt x="22" y="219"/>
                  </a:cubicBezTo>
                  <a:cubicBezTo>
                    <a:pt x="35" y="228"/>
                    <a:pt x="107" y="215"/>
                    <a:pt x="108" y="2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302" name="íŝļïḓè"/>
            <p:cNvSpPr/>
            <p:nvPr/>
          </p:nvSpPr>
          <p:spPr bwMode="auto">
            <a:xfrm>
              <a:off x="6220078" y="4756740"/>
              <a:ext cx="627063" cy="793750"/>
            </a:xfrm>
            <a:custGeom>
              <a:avLst/>
              <a:gdLst>
                <a:gd name="T0" fmla="*/ 194 w 340"/>
                <a:gd name="T1" fmla="*/ 225 h 430"/>
                <a:gd name="T2" fmla="*/ 189 w 340"/>
                <a:gd name="T3" fmla="*/ 204 h 430"/>
                <a:gd name="T4" fmla="*/ 222 w 340"/>
                <a:gd name="T5" fmla="*/ 196 h 430"/>
                <a:gd name="T6" fmla="*/ 234 w 340"/>
                <a:gd name="T7" fmla="*/ 215 h 430"/>
                <a:gd name="T8" fmla="*/ 217 w 340"/>
                <a:gd name="T9" fmla="*/ 231 h 430"/>
                <a:gd name="T10" fmla="*/ 194 w 340"/>
                <a:gd name="T11" fmla="*/ 225 h 430"/>
                <a:gd name="T12" fmla="*/ 33 w 340"/>
                <a:gd name="T13" fmla="*/ 228 h 430"/>
                <a:gd name="T14" fmla="*/ 67 w 340"/>
                <a:gd name="T15" fmla="*/ 224 h 430"/>
                <a:gd name="T16" fmla="*/ 105 w 340"/>
                <a:gd name="T17" fmla="*/ 194 h 430"/>
                <a:gd name="T18" fmla="*/ 164 w 340"/>
                <a:gd name="T19" fmla="*/ 151 h 430"/>
                <a:gd name="T20" fmla="*/ 170 w 340"/>
                <a:gd name="T21" fmla="*/ 163 h 430"/>
                <a:gd name="T22" fmla="*/ 144 w 340"/>
                <a:gd name="T23" fmla="*/ 203 h 430"/>
                <a:gd name="T24" fmla="*/ 142 w 340"/>
                <a:gd name="T25" fmla="*/ 250 h 430"/>
                <a:gd name="T26" fmla="*/ 166 w 340"/>
                <a:gd name="T27" fmla="*/ 278 h 430"/>
                <a:gd name="T28" fmla="*/ 170 w 340"/>
                <a:gd name="T29" fmla="*/ 300 h 430"/>
                <a:gd name="T30" fmla="*/ 132 w 340"/>
                <a:gd name="T31" fmla="*/ 347 h 430"/>
                <a:gd name="T32" fmla="*/ 133 w 340"/>
                <a:gd name="T33" fmla="*/ 397 h 430"/>
                <a:gd name="T34" fmla="*/ 181 w 340"/>
                <a:gd name="T35" fmla="*/ 410 h 430"/>
                <a:gd name="T36" fmla="*/ 184 w 340"/>
                <a:gd name="T37" fmla="*/ 375 h 430"/>
                <a:gd name="T38" fmla="*/ 198 w 340"/>
                <a:gd name="T39" fmla="*/ 374 h 430"/>
                <a:gd name="T40" fmla="*/ 215 w 340"/>
                <a:gd name="T41" fmla="*/ 416 h 430"/>
                <a:gd name="T42" fmla="*/ 240 w 340"/>
                <a:gd name="T43" fmla="*/ 406 h 430"/>
                <a:gd name="T44" fmla="*/ 230 w 340"/>
                <a:gd name="T45" fmla="*/ 341 h 430"/>
                <a:gd name="T46" fmla="*/ 250 w 340"/>
                <a:gd name="T47" fmla="*/ 322 h 430"/>
                <a:gd name="T48" fmla="*/ 268 w 340"/>
                <a:gd name="T49" fmla="*/ 373 h 430"/>
                <a:gd name="T50" fmla="*/ 316 w 340"/>
                <a:gd name="T51" fmla="*/ 385 h 430"/>
                <a:gd name="T52" fmla="*/ 295 w 340"/>
                <a:gd name="T53" fmla="*/ 310 h 430"/>
                <a:gd name="T54" fmla="*/ 263 w 340"/>
                <a:gd name="T55" fmla="*/ 288 h 430"/>
                <a:gd name="T56" fmla="*/ 264 w 340"/>
                <a:gd name="T57" fmla="*/ 259 h 430"/>
                <a:gd name="T58" fmla="*/ 265 w 340"/>
                <a:gd name="T59" fmla="*/ 233 h 430"/>
                <a:gd name="T60" fmla="*/ 300 w 340"/>
                <a:gd name="T61" fmla="*/ 199 h 430"/>
                <a:gd name="T62" fmla="*/ 275 w 340"/>
                <a:gd name="T63" fmla="*/ 161 h 430"/>
                <a:gd name="T64" fmla="*/ 217 w 340"/>
                <a:gd name="T65" fmla="*/ 159 h 430"/>
                <a:gd name="T66" fmla="*/ 270 w 340"/>
                <a:gd name="T67" fmla="*/ 132 h 430"/>
                <a:gd name="T68" fmla="*/ 316 w 340"/>
                <a:gd name="T69" fmla="*/ 126 h 430"/>
                <a:gd name="T70" fmla="*/ 332 w 340"/>
                <a:gd name="T71" fmla="*/ 110 h 430"/>
                <a:gd name="T72" fmla="*/ 321 w 340"/>
                <a:gd name="T73" fmla="*/ 75 h 430"/>
                <a:gd name="T74" fmla="*/ 256 w 340"/>
                <a:gd name="T75" fmla="*/ 74 h 430"/>
                <a:gd name="T76" fmla="*/ 240 w 340"/>
                <a:gd name="T77" fmla="*/ 51 h 430"/>
                <a:gd name="T78" fmla="*/ 212 w 340"/>
                <a:gd name="T79" fmla="*/ 9 h 430"/>
                <a:gd name="T80" fmla="*/ 190 w 340"/>
                <a:gd name="T81" fmla="*/ 6 h 430"/>
                <a:gd name="T82" fmla="*/ 174 w 340"/>
                <a:gd name="T83" fmla="*/ 34 h 430"/>
                <a:gd name="T84" fmla="*/ 183 w 340"/>
                <a:gd name="T85" fmla="*/ 70 h 430"/>
                <a:gd name="T86" fmla="*/ 172 w 340"/>
                <a:gd name="T87" fmla="*/ 98 h 430"/>
                <a:gd name="T88" fmla="*/ 65 w 340"/>
                <a:gd name="T89" fmla="*/ 161 h 430"/>
                <a:gd name="T90" fmla="*/ 21 w 340"/>
                <a:gd name="T91" fmla="*/ 171 h 430"/>
                <a:gd name="T92" fmla="*/ 10 w 340"/>
                <a:gd name="T93" fmla="*/ 198 h 430"/>
                <a:gd name="T94" fmla="*/ 33 w 340"/>
                <a:gd name="T95" fmla="*/ 228 h 4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340" h="430">
                  <a:moveTo>
                    <a:pt x="194" y="225"/>
                  </a:moveTo>
                  <a:cubicBezTo>
                    <a:pt x="194" y="225"/>
                    <a:pt x="178" y="212"/>
                    <a:pt x="189" y="204"/>
                  </a:cubicBezTo>
                  <a:cubicBezTo>
                    <a:pt x="201" y="196"/>
                    <a:pt x="211" y="188"/>
                    <a:pt x="222" y="196"/>
                  </a:cubicBezTo>
                  <a:cubicBezTo>
                    <a:pt x="234" y="203"/>
                    <a:pt x="238" y="207"/>
                    <a:pt x="234" y="215"/>
                  </a:cubicBezTo>
                  <a:cubicBezTo>
                    <a:pt x="230" y="222"/>
                    <a:pt x="228" y="229"/>
                    <a:pt x="217" y="231"/>
                  </a:cubicBezTo>
                  <a:cubicBezTo>
                    <a:pt x="204" y="230"/>
                    <a:pt x="194" y="225"/>
                    <a:pt x="194" y="225"/>
                  </a:cubicBezTo>
                  <a:close/>
                  <a:moveTo>
                    <a:pt x="33" y="228"/>
                  </a:moveTo>
                  <a:cubicBezTo>
                    <a:pt x="40" y="229"/>
                    <a:pt x="52" y="231"/>
                    <a:pt x="67" y="224"/>
                  </a:cubicBezTo>
                  <a:cubicBezTo>
                    <a:pt x="82" y="216"/>
                    <a:pt x="91" y="208"/>
                    <a:pt x="105" y="194"/>
                  </a:cubicBezTo>
                  <a:cubicBezTo>
                    <a:pt x="119" y="180"/>
                    <a:pt x="153" y="155"/>
                    <a:pt x="164" y="151"/>
                  </a:cubicBezTo>
                  <a:cubicBezTo>
                    <a:pt x="176" y="146"/>
                    <a:pt x="176" y="155"/>
                    <a:pt x="170" y="163"/>
                  </a:cubicBezTo>
                  <a:cubicBezTo>
                    <a:pt x="164" y="171"/>
                    <a:pt x="150" y="188"/>
                    <a:pt x="144" y="203"/>
                  </a:cubicBezTo>
                  <a:cubicBezTo>
                    <a:pt x="139" y="218"/>
                    <a:pt x="134" y="224"/>
                    <a:pt x="142" y="250"/>
                  </a:cubicBezTo>
                  <a:cubicBezTo>
                    <a:pt x="149" y="275"/>
                    <a:pt x="160" y="275"/>
                    <a:pt x="166" y="278"/>
                  </a:cubicBezTo>
                  <a:cubicBezTo>
                    <a:pt x="172" y="281"/>
                    <a:pt x="176" y="301"/>
                    <a:pt x="170" y="300"/>
                  </a:cubicBezTo>
                  <a:cubicBezTo>
                    <a:pt x="164" y="299"/>
                    <a:pt x="136" y="327"/>
                    <a:pt x="132" y="347"/>
                  </a:cubicBezTo>
                  <a:cubicBezTo>
                    <a:pt x="127" y="366"/>
                    <a:pt x="123" y="375"/>
                    <a:pt x="133" y="397"/>
                  </a:cubicBezTo>
                  <a:cubicBezTo>
                    <a:pt x="144" y="419"/>
                    <a:pt x="174" y="413"/>
                    <a:pt x="181" y="410"/>
                  </a:cubicBezTo>
                  <a:cubicBezTo>
                    <a:pt x="189" y="407"/>
                    <a:pt x="185" y="395"/>
                    <a:pt x="184" y="375"/>
                  </a:cubicBezTo>
                  <a:cubicBezTo>
                    <a:pt x="182" y="355"/>
                    <a:pt x="192" y="364"/>
                    <a:pt x="198" y="374"/>
                  </a:cubicBezTo>
                  <a:cubicBezTo>
                    <a:pt x="204" y="384"/>
                    <a:pt x="203" y="402"/>
                    <a:pt x="215" y="416"/>
                  </a:cubicBezTo>
                  <a:cubicBezTo>
                    <a:pt x="226" y="430"/>
                    <a:pt x="235" y="419"/>
                    <a:pt x="240" y="406"/>
                  </a:cubicBezTo>
                  <a:cubicBezTo>
                    <a:pt x="245" y="393"/>
                    <a:pt x="232" y="357"/>
                    <a:pt x="230" y="341"/>
                  </a:cubicBezTo>
                  <a:cubicBezTo>
                    <a:pt x="229" y="326"/>
                    <a:pt x="238" y="322"/>
                    <a:pt x="250" y="322"/>
                  </a:cubicBezTo>
                  <a:cubicBezTo>
                    <a:pt x="262" y="322"/>
                    <a:pt x="248" y="347"/>
                    <a:pt x="268" y="373"/>
                  </a:cubicBezTo>
                  <a:cubicBezTo>
                    <a:pt x="287" y="399"/>
                    <a:pt x="292" y="396"/>
                    <a:pt x="316" y="385"/>
                  </a:cubicBezTo>
                  <a:cubicBezTo>
                    <a:pt x="340" y="375"/>
                    <a:pt x="311" y="327"/>
                    <a:pt x="295" y="310"/>
                  </a:cubicBezTo>
                  <a:cubicBezTo>
                    <a:pt x="279" y="294"/>
                    <a:pt x="263" y="294"/>
                    <a:pt x="263" y="288"/>
                  </a:cubicBezTo>
                  <a:cubicBezTo>
                    <a:pt x="263" y="282"/>
                    <a:pt x="266" y="267"/>
                    <a:pt x="264" y="259"/>
                  </a:cubicBezTo>
                  <a:cubicBezTo>
                    <a:pt x="262" y="251"/>
                    <a:pt x="258" y="239"/>
                    <a:pt x="265" y="233"/>
                  </a:cubicBezTo>
                  <a:cubicBezTo>
                    <a:pt x="273" y="226"/>
                    <a:pt x="301" y="222"/>
                    <a:pt x="300" y="199"/>
                  </a:cubicBezTo>
                  <a:cubicBezTo>
                    <a:pt x="299" y="177"/>
                    <a:pt x="294" y="175"/>
                    <a:pt x="275" y="161"/>
                  </a:cubicBezTo>
                  <a:cubicBezTo>
                    <a:pt x="257" y="148"/>
                    <a:pt x="216" y="168"/>
                    <a:pt x="217" y="159"/>
                  </a:cubicBezTo>
                  <a:cubicBezTo>
                    <a:pt x="218" y="150"/>
                    <a:pt x="250" y="138"/>
                    <a:pt x="270" y="132"/>
                  </a:cubicBezTo>
                  <a:cubicBezTo>
                    <a:pt x="290" y="125"/>
                    <a:pt x="306" y="126"/>
                    <a:pt x="316" y="126"/>
                  </a:cubicBezTo>
                  <a:cubicBezTo>
                    <a:pt x="326" y="126"/>
                    <a:pt x="326" y="118"/>
                    <a:pt x="332" y="110"/>
                  </a:cubicBezTo>
                  <a:cubicBezTo>
                    <a:pt x="337" y="102"/>
                    <a:pt x="334" y="88"/>
                    <a:pt x="321" y="75"/>
                  </a:cubicBezTo>
                  <a:cubicBezTo>
                    <a:pt x="308" y="61"/>
                    <a:pt x="263" y="74"/>
                    <a:pt x="256" y="74"/>
                  </a:cubicBezTo>
                  <a:cubicBezTo>
                    <a:pt x="250" y="74"/>
                    <a:pt x="250" y="63"/>
                    <a:pt x="240" y="51"/>
                  </a:cubicBezTo>
                  <a:cubicBezTo>
                    <a:pt x="229" y="38"/>
                    <a:pt x="220" y="18"/>
                    <a:pt x="212" y="9"/>
                  </a:cubicBezTo>
                  <a:cubicBezTo>
                    <a:pt x="205" y="0"/>
                    <a:pt x="203" y="8"/>
                    <a:pt x="190" y="6"/>
                  </a:cubicBezTo>
                  <a:cubicBezTo>
                    <a:pt x="176" y="3"/>
                    <a:pt x="165" y="15"/>
                    <a:pt x="174" y="34"/>
                  </a:cubicBezTo>
                  <a:cubicBezTo>
                    <a:pt x="183" y="53"/>
                    <a:pt x="183" y="56"/>
                    <a:pt x="183" y="70"/>
                  </a:cubicBezTo>
                  <a:cubicBezTo>
                    <a:pt x="183" y="84"/>
                    <a:pt x="197" y="88"/>
                    <a:pt x="172" y="98"/>
                  </a:cubicBezTo>
                  <a:cubicBezTo>
                    <a:pt x="147" y="108"/>
                    <a:pt x="75" y="152"/>
                    <a:pt x="65" y="161"/>
                  </a:cubicBezTo>
                  <a:cubicBezTo>
                    <a:pt x="55" y="170"/>
                    <a:pt x="26" y="169"/>
                    <a:pt x="21" y="171"/>
                  </a:cubicBezTo>
                  <a:cubicBezTo>
                    <a:pt x="15" y="173"/>
                    <a:pt x="0" y="170"/>
                    <a:pt x="10" y="198"/>
                  </a:cubicBezTo>
                  <a:cubicBezTo>
                    <a:pt x="24" y="238"/>
                    <a:pt x="26" y="227"/>
                    <a:pt x="33" y="2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303" name="ïs1îḋè"/>
            <p:cNvSpPr/>
            <p:nvPr/>
          </p:nvSpPr>
          <p:spPr bwMode="auto">
            <a:xfrm>
              <a:off x="7263066" y="4780553"/>
              <a:ext cx="674688" cy="863600"/>
            </a:xfrm>
            <a:custGeom>
              <a:avLst/>
              <a:gdLst>
                <a:gd name="T0" fmla="*/ 258 w 366"/>
                <a:gd name="T1" fmla="*/ 136 h 468"/>
                <a:gd name="T2" fmla="*/ 270 w 366"/>
                <a:gd name="T3" fmla="*/ 115 h 468"/>
                <a:gd name="T4" fmla="*/ 287 w 366"/>
                <a:gd name="T5" fmla="*/ 153 h 468"/>
                <a:gd name="T6" fmla="*/ 200 w 366"/>
                <a:gd name="T7" fmla="*/ 103 h 468"/>
                <a:gd name="T8" fmla="*/ 227 w 366"/>
                <a:gd name="T9" fmla="*/ 122 h 468"/>
                <a:gd name="T10" fmla="*/ 225 w 366"/>
                <a:gd name="T11" fmla="*/ 167 h 468"/>
                <a:gd name="T12" fmla="*/ 215 w 366"/>
                <a:gd name="T13" fmla="*/ 201 h 468"/>
                <a:gd name="T14" fmla="*/ 197 w 366"/>
                <a:gd name="T15" fmla="*/ 167 h 468"/>
                <a:gd name="T16" fmla="*/ 204 w 366"/>
                <a:gd name="T17" fmla="*/ 133 h 468"/>
                <a:gd name="T18" fmla="*/ 200 w 366"/>
                <a:gd name="T19" fmla="*/ 103 h 468"/>
                <a:gd name="T20" fmla="*/ 271 w 366"/>
                <a:gd name="T21" fmla="*/ 175 h 468"/>
                <a:gd name="T22" fmla="*/ 286 w 366"/>
                <a:gd name="T23" fmla="*/ 190 h 468"/>
                <a:gd name="T24" fmla="*/ 146 w 366"/>
                <a:gd name="T25" fmla="*/ 109 h 468"/>
                <a:gd name="T26" fmla="*/ 87 w 366"/>
                <a:gd name="T27" fmla="*/ 173 h 468"/>
                <a:gd name="T28" fmla="*/ 7 w 366"/>
                <a:gd name="T29" fmla="*/ 236 h 468"/>
                <a:gd name="T30" fmla="*/ 111 w 366"/>
                <a:gd name="T31" fmla="*/ 239 h 468"/>
                <a:gd name="T32" fmla="*/ 108 w 366"/>
                <a:gd name="T33" fmla="*/ 279 h 468"/>
                <a:gd name="T34" fmla="*/ 110 w 366"/>
                <a:gd name="T35" fmla="*/ 332 h 468"/>
                <a:gd name="T36" fmla="*/ 139 w 366"/>
                <a:gd name="T37" fmla="*/ 316 h 468"/>
                <a:gd name="T38" fmla="*/ 159 w 366"/>
                <a:gd name="T39" fmla="*/ 326 h 468"/>
                <a:gd name="T40" fmla="*/ 189 w 366"/>
                <a:gd name="T41" fmla="*/ 330 h 468"/>
                <a:gd name="T42" fmla="*/ 217 w 366"/>
                <a:gd name="T43" fmla="*/ 281 h 468"/>
                <a:gd name="T44" fmla="*/ 284 w 366"/>
                <a:gd name="T45" fmla="*/ 237 h 468"/>
                <a:gd name="T46" fmla="*/ 287 w 366"/>
                <a:gd name="T47" fmla="*/ 396 h 468"/>
                <a:gd name="T48" fmla="*/ 284 w 366"/>
                <a:gd name="T49" fmla="*/ 461 h 468"/>
                <a:gd name="T50" fmla="*/ 319 w 366"/>
                <a:gd name="T51" fmla="*/ 393 h 468"/>
                <a:gd name="T52" fmla="*/ 327 w 366"/>
                <a:gd name="T53" fmla="*/ 227 h 468"/>
                <a:gd name="T54" fmla="*/ 363 w 366"/>
                <a:gd name="T55" fmla="*/ 202 h 468"/>
                <a:gd name="T56" fmla="*/ 324 w 366"/>
                <a:gd name="T57" fmla="*/ 162 h 468"/>
                <a:gd name="T58" fmla="*/ 330 w 366"/>
                <a:gd name="T59" fmla="*/ 85 h 468"/>
                <a:gd name="T60" fmla="*/ 324 w 366"/>
                <a:gd name="T61" fmla="*/ 23 h 468"/>
                <a:gd name="T62" fmla="*/ 275 w 366"/>
                <a:gd name="T63" fmla="*/ 29 h 468"/>
                <a:gd name="T64" fmla="*/ 286 w 366"/>
                <a:gd name="T65" fmla="*/ 69 h 468"/>
                <a:gd name="T66" fmla="*/ 253 w 366"/>
                <a:gd name="T67" fmla="*/ 65 h 468"/>
                <a:gd name="T68" fmla="*/ 212 w 366"/>
                <a:gd name="T69" fmla="*/ 52 h 468"/>
                <a:gd name="T70" fmla="*/ 115 w 366"/>
                <a:gd name="T71" fmla="*/ 68 h 468"/>
                <a:gd name="T72" fmla="*/ 30 w 366"/>
                <a:gd name="T73" fmla="*/ 163 h 468"/>
                <a:gd name="T74" fmla="*/ 96 w 366"/>
                <a:gd name="T75" fmla="*/ 132 h 4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366" h="468">
                  <a:moveTo>
                    <a:pt x="270" y="152"/>
                  </a:moveTo>
                  <a:cubicBezTo>
                    <a:pt x="270" y="152"/>
                    <a:pt x="273" y="146"/>
                    <a:pt x="258" y="136"/>
                  </a:cubicBezTo>
                  <a:cubicBezTo>
                    <a:pt x="242" y="126"/>
                    <a:pt x="247" y="126"/>
                    <a:pt x="254" y="122"/>
                  </a:cubicBezTo>
                  <a:cubicBezTo>
                    <a:pt x="261" y="119"/>
                    <a:pt x="262" y="114"/>
                    <a:pt x="270" y="115"/>
                  </a:cubicBezTo>
                  <a:cubicBezTo>
                    <a:pt x="279" y="116"/>
                    <a:pt x="285" y="112"/>
                    <a:pt x="287" y="120"/>
                  </a:cubicBezTo>
                  <a:cubicBezTo>
                    <a:pt x="289" y="128"/>
                    <a:pt x="291" y="151"/>
                    <a:pt x="287" y="153"/>
                  </a:cubicBezTo>
                  <a:cubicBezTo>
                    <a:pt x="284" y="155"/>
                    <a:pt x="271" y="153"/>
                    <a:pt x="270" y="152"/>
                  </a:cubicBezTo>
                  <a:close/>
                  <a:moveTo>
                    <a:pt x="200" y="103"/>
                  </a:moveTo>
                  <a:cubicBezTo>
                    <a:pt x="200" y="99"/>
                    <a:pt x="207" y="96"/>
                    <a:pt x="216" y="102"/>
                  </a:cubicBezTo>
                  <a:cubicBezTo>
                    <a:pt x="225" y="108"/>
                    <a:pt x="228" y="113"/>
                    <a:pt x="227" y="122"/>
                  </a:cubicBezTo>
                  <a:cubicBezTo>
                    <a:pt x="225" y="131"/>
                    <a:pt x="222" y="135"/>
                    <a:pt x="223" y="145"/>
                  </a:cubicBezTo>
                  <a:cubicBezTo>
                    <a:pt x="223" y="156"/>
                    <a:pt x="217" y="162"/>
                    <a:pt x="225" y="167"/>
                  </a:cubicBezTo>
                  <a:cubicBezTo>
                    <a:pt x="232" y="173"/>
                    <a:pt x="235" y="171"/>
                    <a:pt x="233" y="185"/>
                  </a:cubicBezTo>
                  <a:cubicBezTo>
                    <a:pt x="231" y="202"/>
                    <a:pt x="214" y="210"/>
                    <a:pt x="215" y="201"/>
                  </a:cubicBezTo>
                  <a:cubicBezTo>
                    <a:pt x="215" y="192"/>
                    <a:pt x="220" y="185"/>
                    <a:pt x="213" y="176"/>
                  </a:cubicBezTo>
                  <a:cubicBezTo>
                    <a:pt x="205" y="167"/>
                    <a:pt x="204" y="178"/>
                    <a:pt x="197" y="167"/>
                  </a:cubicBezTo>
                  <a:cubicBezTo>
                    <a:pt x="191" y="155"/>
                    <a:pt x="195" y="154"/>
                    <a:pt x="199" y="152"/>
                  </a:cubicBezTo>
                  <a:cubicBezTo>
                    <a:pt x="204" y="149"/>
                    <a:pt x="209" y="147"/>
                    <a:pt x="204" y="133"/>
                  </a:cubicBezTo>
                  <a:cubicBezTo>
                    <a:pt x="199" y="119"/>
                    <a:pt x="198" y="127"/>
                    <a:pt x="197" y="119"/>
                  </a:cubicBezTo>
                  <a:cubicBezTo>
                    <a:pt x="196" y="112"/>
                    <a:pt x="200" y="107"/>
                    <a:pt x="200" y="103"/>
                  </a:cubicBezTo>
                  <a:close/>
                  <a:moveTo>
                    <a:pt x="246" y="206"/>
                  </a:moveTo>
                  <a:cubicBezTo>
                    <a:pt x="243" y="205"/>
                    <a:pt x="264" y="181"/>
                    <a:pt x="271" y="175"/>
                  </a:cubicBezTo>
                  <a:cubicBezTo>
                    <a:pt x="277" y="170"/>
                    <a:pt x="289" y="166"/>
                    <a:pt x="288" y="173"/>
                  </a:cubicBezTo>
                  <a:cubicBezTo>
                    <a:pt x="287" y="180"/>
                    <a:pt x="291" y="185"/>
                    <a:pt x="286" y="190"/>
                  </a:cubicBezTo>
                  <a:cubicBezTo>
                    <a:pt x="282" y="195"/>
                    <a:pt x="250" y="207"/>
                    <a:pt x="246" y="206"/>
                  </a:cubicBezTo>
                  <a:close/>
                  <a:moveTo>
                    <a:pt x="146" y="109"/>
                  </a:moveTo>
                  <a:cubicBezTo>
                    <a:pt x="146" y="114"/>
                    <a:pt x="141" y="124"/>
                    <a:pt x="134" y="134"/>
                  </a:cubicBezTo>
                  <a:cubicBezTo>
                    <a:pt x="127" y="144"/>
                    <a:pt x="103" y="162"/>
                    <a:pt x="87" y="173"/>
                  </a:cubicBezTo>
                  <a:cubicBezTo>
                    <a:pt x="70" y="183"/>
                    <a:pt x="23" y="206"/>
                    <a:pt x="16" y="212"/>
                  </a:cubicBezTo>
                  <a:cubicBezTo>
                    <a:pt x="10" y="218"/>
                    <a:pt x="0" y="213"/>
                    <a:pt x="7" y="236"/>
                  </a:cubicBezTo>
                  <a:cubicBezTo>
                    <a:pt x="13" y="258"/>
                    <a:pt x="24" y="253"/>
                    <a:pt x="55" y="252"/>
                  </a:cubicBezTo>
                  <a:cubicBezTo>
                    <a:pt x="85" y="250"/>
                    <a:pt x="106" y="237"/>
                    <a:pt x="111" y="239"/>
                  </a:cubicBezTo>
                  <a:cubicBezTo>
                    <a:pt x="116" y="242"/>
                    <a:pt x="119" y="251"/>
                    <a:pt x="119" y="259"/>
                  </a:cubicBezTo>
                  <a:cubicBezTo>
                    <a:pt x="120" y="266"/>
                    <a:pt x="116" y="270"/>
                    <a:pt x="108" y="279"/>
                  </a:cubicBezTo>
                  <a:cubicBezTo>
                    <a:pt x="100" y="288"/>
                    <a:pt x="100" y="303"/>
                    <a:pt x="100" y="311"/>
                  </a:cubicBezTo>
                  <a:cubicBezTo>
                    <a:pt x="101" y="318"/>
                    <a:pt x="104" y="325"/>
                    <a:pt x="110" y="332"/>
                  </a:cubicBezTo>
                  <a:cubicBezTo>
                    <a:pt x="117" y="338"/>
                    <a:pt x="119" y="333"/>
                    <a:pt x="127" y="333"/>
                  </a:cubicBezTo>
                  <a:cubicBezTo>
                    <a:pt x="134" y="332"/>
                    <a:pt x="138" y="323"/>
                    <a:pt x="139" y="316"/>
                  </a:cubicBezTo>
                  <a:cubicBezTo>
                    <a:pt x="140" y="308"/>
                    <a:pt x="148" y="313"/>
                    <a:pt x="155" y="314"/>
                  </a:cubicBezTo>
                  <a:cubicBezTo>
                    <a:pt x="161" y="316"/>
                    <a:pt x="158" y="318"/>
                    <a:pt x="159" y="326"/>
                  </a:cubicBezTo>
                  <a:cubicBezTo>
                    <a:pt x="159" y="334"/>
                    <a:pt x="159" y="336"/>
                    <a:pt x="168" y="339"/>
                  </a:cubicBezTo>
                  <a:cubicBezTo>
                    <a:pt x="177" y="343"/>
                    <a:pt x="178" y="342"/>
                    <a:pt x="189" y="330"/>
                  </a:cubicBezTo>
                  <a:cubicBezTo>
                    <a:pt x="199" y="319"/>
                    <a:pt x="187" y="291"/>
                    <a:pt x="193" y="292"/>
                  </a:cubicBezTo>
                  <a:cubicBezTo>
                    <a:pt x="198" y="293"/>
                    <a:pt x="209" y="289"/>
                    <a:pt x="217" y="281"/>
                  </a:cubicBezTo>
                  <a:cubicBezTo>
                    <a:pt x="225" y="273"/>
                    <a:pt x="232" y="272"/>
                    <a:pt x="243" y="263"/>
                  </a:cubicBezTo>
                  <a:cubicBezTo>
                    <a:pt x="253" y="254"/>
                    <a:pt x="278" y="233"/>
                    <a:pt x="284" y="237"/>
                  </a:cubicBezTo>
                  <a:cubicBezTo>
                    <a:pt x="290" y="240"/>
                    <a:pt x="285" y="282"/>
                    <a:pt x="286" y="321"/>
                  </a:cubicBezTo>
                  <a:cubicBezTo>
                    <a:pt x="288" y="361"/>
                    <a:pt x="286" y="379"/>
                    <a:pt x="287" y="396"/>
                  </a:cubicBezTo>
                  <a:cubicBezTo>
                    <a:pt x="289" y="413"/>
                    <a:pt x="278" y="425"/>
                    <a:pt x="278" y="434"/>
                  </a:cubicBezTo>
                  <a:cubicBezTo>
                    <a:pt x="277" y="443"/>
                    <a:pt x="278" y="454"/>
                    <a:pt x="284" y="461"/>
                  </a:cubicBezTo>
                  <a:cubicBezTo>
                    <a:pt x="291" y="468"/>
                    <a:pt x="296" y="458"/>
                    <a:pt x="305" y="449"/>
                  </a:cubicBezTo>
                  <a:cubicBezTo>
                    <a:pt x="314" y="440"/>
                    <a:pt x="315" y="424"/>
                    <a:pt x="319" y="393"/>
                  </a:cubicBezTo>
                  <a:cubicBezTo>
                    <a:pt x="323" y="362"/>
                    <a:pt x="318" y="269"/>
                    <a:pt x="320" y="252"/>
                  </a:cubicBezTo>
                  <a:cubicBezTo>
                    <a:pt x="321" y="236"/>
                    <a:pt x="323" y="232"/>
                    <a:pt x="327" y="227"/>
                  </a:cubicBezTo>
                  <a:cubicBezTo>
                    <a:pt x="332" y="222"/>
                    <a:pt x="332" y="212"/>
                    <a:pt x="340" y="211"/>
                  </a:cubicBezTo>
                  <a:cubicBezTo>
                    <a:pt x="349" y="210"/>
                    <a:pt x="360" y="212"/>
                    <a:pt x="363" y="202"/>
                  </a:cubicBezTo>
                  <a:cubicBezTo>
                    <a:pt x="366" y="192"/>
                    <a:pt x="364" y="182"/>
                    <a:pt x="358" y="177"/>
                  </a:cubicBezTo>
                  <a:cubicBezTo>
                    <a:pt x="352" y="172"/>
                    <a:pt x="326" y="167"/>
                    <a:pt x="324" y="162"/>
                  </a:cubicBezTo>
                  <a:cubicBezTo>
                    <a:pt x="322" y="158"/>
                    <a:pt x="323" y="119"/>
                    <a:pt x="322" y="108"/>
                  </a:cubicBezTo>
                  <a:cubicBezTo>
                    <a:pt x="322" y="96"/>
                    <a:pt x="324" y="98"/>
                    <a:pt x="330" y="85"/>
                  </a:cubicBezTo>
                  <a:cubicBezTo>
                    <a:pt x="336" y="73"/>
                    <a:pt x="333" y="65"/>
                    <a:pt x="334" y="48"/>
                  </a:cubicBezTo>
                  <a:cubicBezTo>
                    <a:pt x="334" y="32"/>
                    <a:pt x="334" y="33"/>
                    <a:pt x="324" y="23"/>
                  </a:cubicBezTo>
                  <a:cubicBezTo>
                    <a:pt x="315" y="14"/>
                    <a:pt x="306" y="6"/>
                    <a:pt x="292" y="3"/>
                  </a:cubicBezTo>
                  <a:cubicBezTo>
                    <a:pt x="278" y="0"/>
                    <a:pt x="274" y="12"/>
                    <a:pt x="275" y="29"/>
                  </a:cubicBezTo>
                  <a:cubicBezTo>
                    <a:pt x="275" y="47"/>
                    <a:pt x="278" y="37"/>
                    <a:pt x="282" y="43"/>
                  </a:cubicBezTo>
                  <a:cubicBezTo>
                    <a:pt x="286" y="49"/>
                    <a:pt x="285" y="62"/>
                    <a:pt x="286" y="69"/>
                  </a:cubicBezTo>
                  <a:cubicBezTo>
                    <a:pt x="287" y="76"/>
                    <a:pt x="283" y="77"/>
                    <a:pt x="274" y="77"/>
                  </a:cubicBezTo>
                  <a:cubicBezTo>
                    <a:pt x="265" y="78"/>
                    <a:pt x="268" y="69"/>
                    <a:pt x="253" y="65"/>
                  </a:cubicBezTo>
                  <a:cubicBezTo>
                    <a:pt x="238" y="60"/>
                    <a:pt x="225" y="74"/>
                    <a:pt x="218" y="72"/>
                  </a:cubicBezTo>
                  <a:cubicBezTo>
                    <a:pt x="212" y="71"/>
                    <a:pt x="215" y="68"/>
                    <a:pt x="212" y="52"/>
                  </a:cubicBezTo>
                  <a:cubicBezTo>
                    <a:pt x="209" y="36"/>
                    <a:pt x="191" y="26"/>
                    <a:pt x="177" y="26"/>
                  </a:cubicBezTo>
                  <a:cubicBezTo>
                    <a:pt x="164" y="26"/>
                    <a:pt x="135" y="52"/>
                    <a:pt x="115" y="68"/>
                  </a:cubicBezTo>
                  <a:cubicBezTo>
                    <a:pt x="96" y="84"/>
                    <a:pt x="55" y="129"/>
                    <a:pt x="47" y="139"/>
                  </a:cubicBezTo>
                  <a:cubicBezTo>
                    <a:pt x="39" y="149"/>
                    <a:pt x="30" y="156"/>
                    <a:pt x="30" y="163"/>
                  </a:cubicBezTo>
                  <a:cubicBezTo>
                    <a:pt x="30" y="170"/>
                    <a:pt x="28" y="170"/>
                    <a:pt x="39" y="172"/>
                  </a:cubicBezTo>
                  <a:cubicBezTo>
                    <a:pt x="49" y="174"/>
                    <a:pt x="64" y="154"/>
                    <a:pt x="96" y="132"/>
                  </a:cubicBezTo>
                  <a:cubicBezTo>
                    <a:pt x="128" y="110"/>
                    <a:pt x="147" y="103"/>
                    <a:pt x="146" y="10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304" name="îš1ïdè"/>
            <p:cNvSpPr/>
            <p:nvPr/>
          </p:nvSpPr>
          <p:spPr bwMode="auto">
            <a:xfrm>
              <a:off x="5180266" y="4845640"/>
              <a:ext cx="635000" cy="660400"/>
            </a:xfrm>
            <a:custGeom>
              <a:avLst/>
              <a:gdLst>
                <a:gd name="T0" fmla="*/ 5 w 344"/>
                <a:gd name="T1" fmla="*/ 147 h 358"/>
                <a:gd name="T2" fmla="*/ 38 w 344"/>
                <a:gd name="T3" fmla="*/ 142 h 358"/>
                <a:gd name="T4" fmla="*/ 53 w 344"/>
                <a:gd name="T5" fmla="*/ 125 h 358"/>
                <a:gd name="T6" fmla="*/ 43 w 344"/>
                <a:gd name="T7" fmla="*/ 70 h 358"/>
                <a:gd name="T8" fmla="*/ 48 w 344"/>
                <a:gd name="T9" fmla="*/ 43 h 358"/>
                <a:gd name="T10" fmla="*/ 76 w 344"/>
                <a:gd name="T11" fmla="*/ 45 h 358"/>
                <a:gd name="T12" fmla="*/ 122 w 344"/>
                <a:gd name="T13" fmla="*/ 89 h 358"/>
                <a:gd name="T14" fmla="*/ 122 w 344"/>
                <a:gd name="T15" fmla="*/ 185 h 358"/>
                <a:gd name="T16" fmla="*/ 141 w 344"/>
                <a:gd name="T17" fmla="*/ 192 h 358"/>
                <a:gd name="T18" fmla="*/ 231 w 344"/>
                <a:gd name="T19" fmla="*/ 135 h 358"/>
                <a:gd name="T20" fmla="*/ 241 w 344"/>
                <a:gd name="T21" fmla="*/ 87 h 358"/>
                <a:gd name="T22" fmla="*/ 234 w 344"/>
                <a:gd name="T23" fmla="*/ 48 h 358"/>
                <a:gd name="T24" fmla="*/ 263 w 344"/>
                <a:gd name="T25" fmla="*/ 17 h 358"/>
                <a:gd name="T26" fmla="*/ 298 w 344"/>
                <a:gd name="T27" fmla="*/ 76 h 358"/>
                <a:gd name="T28" fmla="*/ 292 w 344"/>
                <a:gd name="T29" fmla="*/ 111 h 358"/>
                <a:gd name="T30" fmla="*/ 317 w 344"/>
                <a:gd name="T31" fmla="*/ 138 h 358"/>
                <a:gd name="T32" fmla="*/ 292 w 344"/>
                <a:gd name="T33" fmla="*/ 181 h 358"/>
                <a:gd name="T34" fmla="*/ 270 w 344"/>
                <a:gd name="T35" fmla="*/ 217 h 358"/>
                <a:gd name="T36" fmla="*/ 276 w 344"/>
                <a:gd name="T37" fmla="*/ 252 h 358"/>
                <a:gd name="T38" fmla="*/ 334 w 344"/>
                <a:gd name="T39" fmla="*/ 270 h 358"/>
                <a:gd name="T40" fmla="*/ 333 w 344"/>
                <a:gd name="T41" fmla="*/ 304 h 358"/>
                <a:gd name="T42" fmla="*/ 226 w 344"/>
                <a:gd name="T43" fmla="*/ 338 h 358"/>
                <a:gd name="T44" fmla="*/ 166 w 344"/>
                <a:gd name="T45" fmla="*/ 352 h 358"/>
                <a:gd name="T46" fmla="*/ 191 w 344"/>
                <a:gd name="T47" fmla="*/ 319 h 358"/>
                <a:gd name="T48" fmla="*/ 228 w 344"/>
                <a:gd name="T49" fmla="*/ 287 h 358"/>
                <a:gd name="T50" fmla="*/ 231 w 344"/>
                <a:gd name="T51" fmla="*/ 223 h 358"/>
                <a:gd name="T52" fmla="*/ 194 w 344"/>
                <a:gd name="T53" fmla="*/ 194 h 358"/>
                <a:gd name="T54" fmla="*/ 152 w 344"/>
                <a:gd name="T55" fmla="*/ 228 h 358"/>
                <a:gd name="T56" fmla="*/ 55 w 344"/>
                <a:gd name="T57" fmla="*/ 337 h 358"/>
                <a:gd name="T58" fmla="*/ 21 w 344"/>
                <a:gd name="T59" fmla="*/ 316 h 358"/>
                <a:gd name="T60" fmla="*/ 30 w 344"/>
                <a:gd name="T61" fmla="*/ 260 h 358"/>
                <a:gd name="T62" fmla="*/ 53 w 344"/>
                <a:gd name="T63" fmla="*/ 228 h 358"/>
                <a:gd name="T64" fmla="*/ 37 w 344"/>
                <a:gd name="T65" fmla="*/ 201 h 358"/>
                <a:gd name="T66" fmla="*/ 1 w 344"/>
                <a:gd name="T67" fmla="*/ 170 h 358"/>
                <a:gd name="T68" fmla="*/ 5 w 344"/>
                <a:gd name="T69" fmla="*/ 147 h 3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344" h="358">
                  <a:moveTo>
                    <a:pt x="5" y="147"/>
                  </a:moveTo>
                  <a:cubicBezTo>
                    <a:pt x="6" y="143"/>
                    <a:pt x="22" y="140"/>
                    <a:pt x="38" y="142"/>
                  </a:cubicBezTo>
                  <a:cubicBezTo>
                    <a:pt x="54" y="144"/>
                    <a:pt x="53" y="137"/>
                    <a:pt x="53" y="125"/>
                  </a:cubicBezTo>
                  <a:cubicBezTo>
                    <a:pt x="53" y="112"/>
                    <a:pt x="60" y="89"/>
                    <a:pt x="43" y="70"/>
                  </a:cubicBezTo>
                  <a:cubicBezTo>
                    <a:pt x="25" y="52"/>
                    <a:pt x="48" y="43"/>
                    <a:pt x="48" y="43"/>
                  </a:cubicBezTo>
                  <a:cubicBezTo>
                    <a:pt x="48" y="43"/>
                    <a:pt x="55" y="32"/>
                    <a:pt x="76" y="45"/>
                  </a:cubicBezTo>
                  <a:cubicBezTo>
                    <a:pt x="97" y="58"/>
                    <a:pt x="115" y="74"/>
                    <a:pt x="122" y="89"/>
                  </a:cubicBezTo>
                  <a:cubicBezTo>
                    <a:pt x="129" y="104"/>
                    <a:pt x="118" y="174"/>
                    <a:pt x="122" y="185"/>
                  </a:cubicBezTo>
                  <a:cubicBezTo>
                    <a:pt x="125" y="195"/>
                    <a:pt x="130" y="200"/>
                    <a:pt x="141" y="192"/>
                  </a:cubicBezTo>
                  <a:cubicBezTo>
                    <a:pt x="153" y="183"/>
                    <a:pt x="214" y="138"/>
                    <a:pt x="231" y="135"/>
                  </a:cubicBezTo>
                  <a:cubicBezTo>
                    <a:pt x="249" y="132"/>
                    <a:pt x="241" y="103"/>
                    <a:pt x="241" y="87"/>
                  </a:cubicBezTo>
                  <a:cubicBezTo>
                    <a:pt x="242" y="70"/>
                    <a:pt x="234" y="59"/>
                    <a:pt x="234" y="48"/>
                  </a:cubicBezTo>
                  <a:cubicBezTo>
                    <a:pt x="234" y="36"/>
                    <a:pt x="247" y="0"/>
                    <a:pt x="263" y="17"/>
                  </a:cubicBezTo>
                  <a:cubicBezTo>
                    <a:pt x="279" y="35"/>
                    <a:pt x="303" y="58"/>
                    <a:pt x="298" y="76"/>
                  </a:cubicBezTo>
                  <a:cubicBezTo>
                    <a:pt x="294" y="95"/>
                    <a:pt x="283" y="92"/>
                    <a:pt x="292" y="111"/>
                  </a:cubicBezTo>
                  <a:cubicBezTo>
                    <a:pt x="301" y="129"/>
                    <a:pt x="320" y="117"/>
                    <a:pt x="317" y="138"/>
                  </a:cubicBezTo>
                  <a:cubicBezTo>
                    <a:pt x="315" y="160"/>
                    <a:pt x="321" y="149"/>
                    <a:pt x="292" y="181"/>
                  </a:cubicBezTo>
                  <a:cubicBezTo>
                    <a:pt x="268" y="209"/>
                    <a:pt x="270" y="208"/>
                    <a:pt x="270" y="217"/>
                  </a:cubicBezTo>
                  <a:cubicBezTo>
                    <a:pt x="270" y="226"/>
                    <a:pt x="266" y="249"/>
                    <a:pt x="276" y="252"/>
                  </a:cubicBezTo>
                  <a:cubicBezTo>
                    <a:pt x="287" y="254"/>
                    <a:pt x="325" y="250"/>
                    <a:pt x="334" y="270"/>
                  </a:cubicBezTo>
                  <a:cubicBezTo>
                    <a:pt x="344" y="290"/>
                    <a:pt x="344" y="295"/>
                    <a:pt x="333" y="304"/>
                  </a:cubicBezTo>
                  <a:cubicBezTo>
                    <a:pt x="321" y="312"/>
                    <a:pt x="288" y="320"/>
                    <a:pt x="226" y="338"/>
                  </a:cubicBezTo>
                  <a:cubicBezTo>
                    <a:pt x="180" y="351"/>
                    <a:pt x="168" y="358"/>
                    <a:pt x="166" y="352"/>
                  </a:cubicBezTo>
                  <a:cubicBezTo>
                    <a:pt x="164" y="346"/>
                    <a:pt x="175" y="331"/>
                    <a:pt x="191" y="319"/>
                  </a:cubicBezTo>
                  <a:cubicBezTo>
                    <a:pt x="207" y="307"/>
                    <a:pt x="224" y="304"/>
                    <a:pt x="228" y="287"/>
                  </a:cubicBezTo>
                  <a:cubicBezTo>
                    <a:pt x="232" y="270"/>
                    <a:pt x="235" y="234"/>
                    <a:pt x="231" y="223"/>
                  </a:cubicBezTo>
                  <a:cubicBezTo>
                    <a:pt x="227" y="212"/>
                    <a:pt x="213" y="188"/>
                    <a:pt x="194" y="194"/>
                  </a:cubicBezTo>
                  <a:cubicBezTo>
                    <a:pt x="176" y="200"/>
                    <a:pt x="166" y="210"/>
                    <a:pt x="152" y="228"/>
                  </a:cubicBezTo>
                  <a:cubicBezTo>
                    <a:pt x="138" y="247"/>
                    <a:pt x="66" y="336"/>
                    <a:pt x="55" y="337"/>
                  </a:cubicBezTo>
                  <a:cubicBezTo>
                    <a:pt x="45" y="338"/>
                    <a:pt x="22" y="340"/>
                    <a:pt x="21" y="316"/>
                  </a:cubicBezTo>
                  <a:cubicBezTo>
                    <a:pt x="20" y="292"/>
                    <a:pt x="16" y="285"/>
                    <a:pt x="30" y="260"/>
                  </a:cubicBezTo>
                  <a:cubicBezTo>
                    <a:pt x="44" y="234"/>
                    <a:pt x="53" y="241"/>
                    <a:pt x="53" y="228"/>
                  </a:cubicBezTo>
                  <a:cubicBezTo>
                    <a:pt x="53" y="216"/>
                    <a:pt x="47" y="207"/>
                    <a:pt x="37" y="201"/>
                  </a:cubicBezTo>
                  <a:cubicBezTo>
                    <a:pt x="27" y="195"/>
                    <a:pt x="2" y="182"/>
                    <a:pt x="1" y="170"/>
                  </a:cubicBezTo>
                  <a:cubicBezTo>
                    <a:pt x="0" y="157"/>
                    <a:pt x="4" y="150"/>
                    <a:pt x="5" y="14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305" name="ï$líḋé"/>
            <p:cNvSpPr/>
            <p:nvPr/>
          </p:nvSpPr>
          <p:spPr bwMode="auto">
            <a:xfrm>
              <a:off x="5596191" y="5675903"/>
              <a:ext cx="25400" cy="3016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306" name="işḷíḓè"/>
            <p:cNvSpPr/>
            <p:nvPr/>
          </p:nvSpPr>
          <p:spPr bwMode="auto">
            <a:xfrm>
              <a:off x="5596191" y="5733053"/>
              <a:ext cx="25400" cy="1492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307" name="ïSḷîḋé"/>
            <p:cNvSpPr/>
            <p:nvPr/>
          </p:nvSpPr>
          <p:spPr bwMode="auto">
            <a:xfrm>
              <a:off x="5645403" y="5733053"/>
              <a:ext cx="136525" cy="149225"/>
            </a:xfrm>
            <a:custGeom>
              <a:avLst/>
              <a:gdLst>
                <a:gd name="T0" fmla="*/ 42 w 74"/>
                <a:gd name="T1" fmla="*/ 50 h 81"/>
                <a:gd name="T2" fmla="*/ 37 w 74"/>
                <a:gd name="T3" fmla="*/ 65 h 81"/>
                <a:gd name="T4" fmla="*/ 32 w 74"/>
                <a:gd name="T5" fmla="*/ 49 h 81"/>
                <a:gd name="T6" fmla="*/ 14 w 74"/>
                <a:gd name="T7" fmla="*/ 0 h 81"/>
                <a:gd name="T8" fmla="*/ 0 w 74"/>
                <a:gd name="T9" fmla="*/ 0 h 81"/>
                <a:gd name="T10" fmla="*/ 31 w 74"/>
                <a:gd name="T11" fmla="*/ 81 h 81"/>
                <a:gd name="T12" fmla="*/ 44 w 74"/>
                <a:gd name="T13" fmla="*/ 81 h 81"/>
                <a:gd name="T14" fmla="*/ 74 w 74"/>
                <a:gd name="T15" fmla="*/ 0 h 81"/>
                <a:gd name="T16" fmla="*/ 60 w 74"/>
                <a:gd name="T17" fmla="*/ 0 h 81"/>
                <a:gd name="T18" fmla="*/ 42 w 74"/>
                <a:gd name="T19" fmla="*/ 50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4" h="81">
                  <a:moveTo>
                    <a:pt x="42" y="50"/>
                  </a:moveTo>
                  <a:cubicBezTo>
                    <a:pt x="40" y="56"/>
                    <a:pt x="38" y="61"/>
                    <a:pt x="37" y="65"/>
                  </a:cubicBezTo>
                  <a:cubicBezTo>
                    <a:pt x="35" y="59"/>
                    <a:pt x="34" y="54"/>
                    <a:pt x="32" y="49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44" y="81"/>
                    <a:pt x="44" y="81"/>
                    <a:pt x="44" y="81"/>
                  </a:cubicBezTo>
                  <a:cubicBezTo>
                    <a:pt x="74" y="0"/>
                    <a:pt x="74" y="0"/>
                    <a:pt x="74" y="0"/>
                  </a:cubicBezTo>
                  <a:cubicBezTo>
                    <a:pt x="60" y="0"/>
                    <a:pt x="60" y="0"/>
                    <a:pt x="60" y="0"/>
                  </a:cubicBezTo>
                  <a:lnTo>
                    <a:pt x="42" y="5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308" name="išḷiḓé"/>
            <p:cNvSpPr/>
            <p:nvPr/>
          </p:nvSpPr>
          <p:spPr bwMode="auto">
            <a:xfrm>
              <a:off x="5796216" y="5729878"/>
              <a:ext cx="138113" cy="157163"/>
            </a:xfrm>
            <a:custGeom>
              <a:avLst/>
              <a:gdLst>
                <a:gd name="T0" fmla="*/ 38 w 75"/>
                <a:gd name="T1" fmla="*/ 0 h 85"/>
                <a:gd name="T2" fmla="*/ 10 w 75"/>
                <a:gd name="T3" fmla="*/ 12 h 85"/>
                <a:gd name="T4" fmla="*/ 0 w 75"/>
                <a:gd name="T5" fmla="*/ 43 h 85"/>
                <a:gd name="T6" fmla="*/ 10 w 75"/>
                <a:gd name="T7" fmla="*/ 74 h 85"/>
                <a:gd name="T8" fmla="*/ 39 w 75"/>
                <a:gd name="T9" fmla="*/ 85 h 85"/>
                <a:gd name="T10" fmla="*/ 62 w 75"/>
                <a:gd name="T11" fmla="*/ 78 h 85"/>
                <a:gd name="T12" fmla="*/ 74 w 75"/>
                <a:gd name="T13" fmla="*/ 59 h 85"/>
                <a:gd name="T14" fmla="*/ 60 w 75"/>
                <a:gd name="T15" fmla="*/ 57 h 85"/>
                <a:gd name="T16" fmla="*/ 52 w 75"/>
                <a:gd name="T17" fmla="*/ 70 h 85"/>
                <a:gd name="T18" fmla="*/ 39 w 75"/>
                <a:gd name="T19" fmla="*/ 74 h 85"/>
                <a:gd name="T20" fmla="*/ 22 w 75"/>
                <a:gd name="T21" fmla="*/ 67 h 85"/>
                <a:gd name="T22" fmla="*/ 14 w 75"/>
                <a:gd name="T23" fmla="*/ 46 h 85"/>
                <a:gd name="T24" fmla="*/ 75 w 75"/>
                <a:gd name="T25" fmla="*/ 46 h 85"/>
                <a:gd name="T26" fmla="*/ 75 w 75"/>
                <a:gd name="T27" fmla="*/ 43 h 85"/>
                <a:gd name="T28" fmla="*/ 64 w 75"/>
                <a:gd name="T29" fmla="*/ 11 h 85"/>
                <a:gd name="T30" fmla="*/ 38 w 75"/>
                <a:gd name="T31" fmla="*/ 0 h 85"/>
                <a:gd name="T32" fmla="*/ 15 w 75"/>
                <a:gd name="T33" fmla="*/ 35 h 85"/>
                <a:gd name="T34" fmla="*/ 22 w 75"/>
                <a:gd name="T35" fmla="*/ 18 h 85"/>
                <a:gd name="T36" fmla="*/ 38 w 75"/>
                <a:gd name="T37" fmla="*/ 12 h 85"/>
                <a:gd name="T38" fmla="*/ 55 w 75"/>
                <a:gd name="T39" fmla="*/ 20 h 85"/>
                <a:gd name="T40" fmla="*/ 60 w 75"/>
                <a:gd name="T41" fmla="*/ 35 h 85"/>
                <a:gd name="T42" fmla="*/ 15 w 75"/>
                <a:gd name="T43" fmla="*/ 35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75" h="85">
                  <a:moveTo>
                    <a:pt x="38" y="0"/>
                  </a:moveTo>
                  <a:cubicBezTo>
                    <a:pt x="27" y="0"/>
                    <a:pt x="17" y="4"/>
                    <a:pt x="10" y="12"/>
                  </a:cubicBezTo>
                  <a:cubicBezTo>
                    <a:pt x="3" y="19"/>
                    <a:pt x="0" y="30"/>
                    <a:pt x="0" y="43"/>
                  </a:cubicBezTo>
                  <a:cubicBezTo>
                    <a:pt x="0" y="57"/>
                    <a:pt x="3" y="67"/>
                    <a:pt x="10" y="74"/>
                  </a:cubicBezTo>
                  <a:cubicBezTo>
                    <a:pt x="17" y="81"/>
                    <a:pt x="27" y="85"/>
                    <a:pt x="39" y="85"/>
                  </a:cubicBezTo>
                  <a:cubicBezTo>
                    <a:pt x="48" y="85"/>
                    <a:pt x="56" y="83"/>
                    <a:pt x="62" y="78"/>
                  </a:cubicBezTo>
                  <a:cubicBezTo>
                    <a:pt x="68" y="74"/>
                    <a:pt x="72" y="67"/>
                    <a:pt x="74" y="59"/>
                  </a:cubicBezTo>
                  <a:cubicBezTo>
                    <a:pt x="60" y="57"/>
                    <a:pt x="60" y="57"/>
                    <a:pt x="60" y="57"/>
                  </a:cubicBezTo>
                  <a:cubicBezTo>
                    <a:pt x="58" y="63"/>
                    <a:pt x="55" y="67"/>
                    <a:pt x="52" y="70"/>
                  </a:cubicBezTo>
                  <a:cubicBezTo>
                    <a:pt x="48" y="73"/>
                    <a:pt x="44" y="74"/>
                    <a:pt x="39" y="74"/>
                  </a:cubicBezTo>
                  <a:cubicBezTo>
                    <a:pt x="32" y="74"/>
                    <a:pt x="26" y="71"/>
                    <a:pt x="22" y="67"/>
                  </a:cubicBezTo>
                  <a:cubicBezTo>
                    <a:pt x="17" y="62"/>
                    <a:pt x="15" y="55"/>
                    <a:pt x="14" y="46"/>
                  </a:cubicBezTo>
                  <a:cubicBezTo>
                    <a:pt x="75" y="46"/>
                    <a:pt x="75" y="46"/>
                    <a:pt x="75" y="46"/>
                  </a:cubicBezTo>
                  <a:cubicBezTo>
                    <a:pt x="75" y="45"/>
                    <a:pt x="75" y="43"/>
                    <a:pt x="75" y="43"/>
                  </a:cubicBezTo>
                  <a:cubicBezTo>
                    <a:pt x="75" y="29"/>
                    <a:pt x="71" y="19"/>
                    <a:pt x="64" y="11"/>
                  </a:cubicBezTo>
                  <a:cubicBezTo>
                    <a:pt x="58" y="4"/>
                    <a:pt x="49" y="0"/>
                    <a:pt x="38" y="0"/>
                  </a:cubicBezTo>
                  <a:close/>
                  <a:moveTo>
                    <a:pt x="15" y="35"/>
                  </a:moveTo>
                  <a:cubicBezTo>
                    <a:pt x="15" y="28"/>
                    <a:pt x="18" y="22"/>
                    <a:pt x="22" y="18"/>
                  </a:cubicBezTo>
                  <a:cubicBezTo>
                    <a:pt x="26" y="14"/>
                    <a:pt x="32" y="12"/>
                    <a:pt x="38" y="12"/>
                  </a:cubicBezTo>
                  <a:cubicBezTo>
                    <a:pt x="45" y="12"/>
                    <a:pt x="51" y="14"/>
                    <a:pt x="55" y="20"/>
                  </a:cubicBezTo>
                  <a:cubicBezTo>
                    <a:pt x="58" y="23"/>
                    <a:pt x="60" y="28"/>
                    <a:pt x="60" y="35"/>
                  </a:cubicBezTo>
                  <a:lnTo>
                    <a:pt x="15" y="3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309" name="iṩľidè"/>
            <p:cNvSpPr/>
            <p:nvPr/>
          </p:nvSpPr>
          <p:spPr bwMode="auto">
            <a:xfrm>
              <a:off x="5964491" y="5729878"/>
              <a:ext cx="82550" cy="152400"/>
            </a:xfrm>
            <a:custGeom>
              <a:avLst/>
              <a:gdLst>
                <a:gd name="T0" fmla="*/ 22 w 45"/>
                <a:gd name="T1" fmla="*/ 3 h 83"/>
                <a:gd name="T2" fmla="*/ 13 w 45"/>
                <a:gd name="T3" fmla="*/ 14 h 83"/>
                <a:gd name="T4" fmla="*/ 13 w 45"/>
                <a:gd name="T5" fmla="*/ 2 h 83"/>
                <a:gd name="T6" fmla="*/ 0 w 45"/>
                <a:gd name="T7" fmla="*/ 2 h 83"/>
                <a:gd name="T8" fmla="*/ 0 w 45"/>
                <a:gd name="T9" fmla="*/ 83 h 83"/>
                <a:gd name="T10" fmla="*/ 14 w 45"/>
                <a:gd name="T11" fmla="*/ 83 h 83"/>
                <a:gd name="T12" fmla="*/ 14 w 45"/>
                <a:gd name="T13" fmla="*/ 41 h 83"/>
                <a:gd name="T14" fmla="*/ 17 w 45"/>
                <a:gd name="T15" fmla="*/ 25 h 83"/>
                <a:gd name="T16" fmla="*/ 22 w 45"/>
                <a:gd name="T17" fmla="*/ 17 h 83"/>
                <a:gd name="T18" fmla="*/ 30 w 45"/>
                <a:gd name="T19" fmla="*/ 14 h 83"/>
                <a:gd name="T20" fmla="*/ 40 w 45"/>
                <a:gd name="T21" fmla="*/ 17 h 83"/>
                <a:gd name="T22" fmla="*/ 45 w 45"/>
                <a:gd name="T23" fmla="*/ 5 h 83"/>
                <a:gd name="T24" fmla="*/ 30 w 45"/>
                <a:gd name="T25" fmla="*/ 0 h 83"/>
                <a:gd name="T26" fmla="*/ 22 w 45"/>
                <a:gd name="T27" fmla="*/ 3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5" h="83">
                  <a:moveTo>
                    <a:pt x="22" y="3"/>
                  </a:moveTo>
                  <a:cubicBezTo>
                    <a:pt x="19" y="5"/>
                    <a:pt x="16" y="9"/>
                    <a:pt x="13" y="14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83"/>
                    <a:pt x="0" y="83"/>
                    <a:pt x="0" y="83"/>
                  </a:cubicBezTo>
                  <a:cubicBezTo>
                    <a:pt x="14" y="83"/>
                    <a:pt x="14" y="83"/>
                    <a:pt x="14" y="83"/>
                  </a:cubicBezTo>
                  <a:cubicBezTo>
                    <a:pt x="14" y="41"/>
                    <a:pt x="14" y="41"/>
                    <a:pt x="14" y="41"/>
                  </a:cubicBezTo>
                  <a:cubicBezTo>
                    <a:pt x="14" y="35"/>
                    <a:pt x="15" y="30"/>
                    <a:pt x="17" y="25"/>
                  </a:cubicBezTo>
                  <a:cubicBezTo>
                    <a:pt x="18" y="21"/>
                    <a:pt x="19" y="19"/>
                    <a:pt x="22" y="17"/>
                  </a:cubicBezTo>
                  <a:cubicBezTo>
                    <a:pt x="24" y="15"/>
                    <a:pt x="27" y="14"/>
                    <a:pt x="30" y="14"/>
                  </a:cubicBezTo>
                  <a:cubicBezTo>
                    <a:pt x="33" y="14"/>
                    <a:pt x="37" y="15"/>
                    <a:pt x="40" y="17"/>
                  </a:cubicBezTo>
                  <a:cubicBezTo>
                    <a:pt x="45" y="5"/>
                    <a:pt x="45" y="5"/>
                    <a:pt x="45" y="5"/>
                  </a:cubicBezTo>
                  <a:cubicBezTo>
                    <a:pt x="40" y="2"/>
                    <a:pt x="35" y="0"/>
                    <a:pt x="30" y="0"/>
                  </a:cubicBezTo>
                  <a:cubicBezTo>
                    <a:pt x="27" y="0"/>
                    <a:pt x="24" y="1"/>
                    <a:pt x="22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310" name="îṡļiḑe"/>
            <p:cNvSpPr/>
            <p:nvPr/>
          </p:nvSpPr>
          <p:spPr bwMode="auto">
            <a:xfrm>
              <a:off x="6050216" y="5729878"/>
              <a:ext cx="125413" cy="157163"/>
            </a:xfrm>
            <a:custGeom>
              <a:avLst/>
              <a:gdLst>
                <a:gd name="T0" fmla="*/ 55 w 68"/>
                <a:gd name="T1" fmla="*/ 40 h 85"/>
                <a:gd name="T2" fmla="*/ 35 w 68"/>
                <a:gd name="T3" fmla="*/ 34 h 85"/>
                <a:gd name="T4" fmla="*/ 23 w 68"/>
                <a:gd name="T5" fmla="*/ 31 h 85"/>
                <a:gd name="T6" fmla="*/ 18 w 68"/>
                <a:gd name="T7" fmla="*/ 27 h 85"/>
                <a:gd name="T8" fmla="*/ 16 w 68"/>
                <a:gd name="T9" fmla="*/ 22 h 85"/>
                <a:gd name="T10" fmla="*/ 20 w 68"/>
                <a:gd name="T11" fmla="*/ 15 h 85"/>
                <a:gd name="T12" fmla="*/ 34 w 68"/>
                <a:gd name="T13" fmla="*/ 12 h 85"/>
                <a:gd name="T14" fmla="*/ 46 w 68"/>
                <a:gd name="T15" fmla="*/ 15 h 85"/>
                <a:gd name="T16" fmla="*/ 51 w 68"/>
                <a:gd name="T17" fmla="*/ 25 h 85"/>
                <a:gd name="T18" fmla="*/ 65 w 68"/>
                <a:gd name="T19" fmla="*/ 23 h 85"/>
                <a:gd name="T20" fmla="*/ 60 w 68"/>
                <a:gd name="T21" fmla="*/ 10 h 85"/>
                <a:gd name="T22" fmla="*/ 49 w 68"/>
                <a:gd name="T23" fmla="*/ 3 h 85"/>
                <a:gd name="T24" fmla="*/ 33 w 68"/>
                <a:gd name="T25" fmla="*/ 0 h 85"/>
                <a:gd name="T26" fmla="*/ 21 w 68"/>
                <a:gd name="T27" fmla="*/ 2 h 85"/>
                <a:gd name="T28" fmla="*/ 12 w 68"/>
                <a:gd name="T29" fmla="*/ 6 h 85"/>
                <a:gd name="T30" fmla="*/ 5 w 68"/>
                <a:gd name="T31" fmla="*/ 14 h 85"/>
                <a:gd name="T32" fmla="*/ 3 w 68"/>
                <a:gd name="T33" fmla="*/ 24 h 85"/>
                <a:gd name="T34" fmla="*/ 6 w 68"/>
                <a:gd name="T35" fmla="*/ 35 h 85"/>
                <a:gd name="T36" fmla="*/ 15 w 68"/>
                <a:gd name="T37" fmla="*/ 42 h 85"/>
                <a:gd name="T38" fmla="*/ 36 w 68"/>
                <a:gd name="T39" fmla="*/ 49 h 85"/>
                <a:gd name="T40" fmla="*/ 50 w 68"/>
                <a:gd name="T41" fmla="*/ 54 h 85"/>
                <a:gd name="T42" fmla="*/ 54 w 68"/>
                <a:gd name="T43" fmla="*/ 61 h 85"/>
                <a:gd name="T44" fmla="*/ 49 w 68"/>
                <a:gd name="T45" fmla="*/ 70 h 85"/>
                <a:gd name="T46" fmla="*/ 35 w 68"/>
                <a:gd name="T47" fmla="*/ 74 h 85"/>
                <a:gd name="T48" fmla="*/ 20 w 68"/>
                <a:gd name="T49" fmla="*/ 69 h 85"/>
                <a:gd name="T50" fmla="*/ 14 w 68"/>
                <a:gd name="T51" fmla="*/ 57 h 85"/>
                <a:gd name="T52" fmla="*/ 0 w 68"/>
                <a:gd name="T53" fmla="*/ 59 h 85"/>
                <a:gd name="T54" fmla="*/ 11 w 68"/>
                <a:gd name="T55" fmla="*/ 79 h 85"/>
                <a:gd name="T56" fmla="*/ 35 w 68"/>
                <a:gd name="T57" fmla="*/ 85 h 85"/>
                <a:gd name="T58" fmla="*/ 52 w 68"/>
                <a:gd name="T59" fmla="*/ 82 h 85"/>
                <a:gd name="T60" fmla="*/ 64 w 68"/>
                <a:gd name="T61" fmla="*/ 72 h 85"/>
                <a:gd name="T62" fmla="*/ 68 w 68"/>
                <a:gd name="T63" fmla="*/ 59 h 85"/>
                <a:gd name="T64" fmla="*/ 65 w 68"/>
                <a:gd name="T65" fmla="*/ 48 h 85"/>
                <a:gd name="T66" fmla="*/ 55 w 68"/>
                <a:gd name="T67" fmla="*/ 40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68" h="85">
                  <a:moveTo>
                    <a:pt x="55" y="40"/>
                  </a:moveTo>
                  <a:cubicBezTo>
                    <a:pt x="52" y="39"/>
                    <a:pt x="45" y="37"/>
                    <a:pt x="35" y="34"/>
                  </a:cubicBezTo>
                  <a:cubicBezTo>
                    <a:pt x="28" y="32"/>
                    <a:pt x="24" y="31"/>
                    <a:pt x="23" y="31"/>
                  </a:cubicBezTo>
                  <a:cubicBezTo>
                    <a:pt x="20" y="30"/>
                    <a:pt x="19" y="28"/>
                    <a:pt x="18" y="27"/>
                  </a:cubicBezTo>
                  <a:cubicBezTo>
                    <a:pt x="16" y="25"/>
                    <a:pt x="16" y="24"/>
                    <a:pt x="16" y="22"/>
                  </a:cubicBezTo>
                  <a:cubicBezTo>
                    <a:pt x="16" y="19"/>
                    <a:pt x="17" y="17"/>
                    <a:pt x="20" y="15"/>
                  </a:cubicBezTo>
                  <a:cubicBezTo>
                    <a:pt x="23" y="13"/>
                    <a:pt x="27" y="12"/>
                    <a:pt x="34" y="12"/>
                  </a:cubicBezTo>
                  <a:cubicBezTo>
                    <a:pt x="39" y="12"/>
                    <a:pt x="43" y="13"/>
                    <a:pt x="46" y="15"/>
                  </a:cubicBezTo>
                  <a:cubicBezTo>
                    <a:pt x="49" y="17"/>
                    <a:pt x="51" y="21"/>
                    <a:pt x="51" y="25"/>
                  </a:cubicBezTo>
                  <a:cubicBezTo>
                    <a:pt x="65" y="23"/>
                    <a:pt x="65" y="23"/>
                    <a:pt x="65" y="23"/>
                  </a:cubicBezTo>
                  <a:cubicBezTo>
                    <a:pt x="64" y="18"/>
                    <a:pt x="62" y="14"/>
                    <a:pt x="60" y="10"/>
                  </a:cubicBezTo>
                  <a:cubicBezTo>
                    <a:pt x="58" y="7"/>
                    <a:pt x="54" y="5"/>
                    <a:pt x="49" y="3"/>
                  </a:cubicBezTo>
                  <a:cubicBezTo>
                    <a:pt x="44" y="1"/>
                    <a:pt x="39" y="0"/>
                    <a:pt x="33" y="0"/>
                  </a:cubicBezTo>
                  <a:cubicBezTo>
                    <a:pt x="28" y="0"/>
                    <a:pt x="24" y="1"/>
                    <a:pt x="21" y="2"/>
                  </a:cubicBezTo>
                  <a:cubicBezTo>
                    <a:pt x="17" y="3"/>
                    <a:pt x="14" y="4"/>
                    <a:pt x="12" y="6"/>
                  </a:cubicBezTo>
                  <a:cubicBezTo>
                    <a:pt x="9" y="8"/>
                    <a:pt x="7" y="10"/>
                    <a:pt x="5" y="14"/>
                  </a:cubicBezTo>
                  <a:cubicBezTo>
                    <a:pt x="3" y="17"/>
                    <a:pt x="3" y="20"/>
                    <a:pt x="3" y="24"/>
                  </a:cubicBezTo>
                  <a:cubicBezTo>
                    <a:pt x="3" y="28"/>
                    <a:pt x="4" y="31"/>
                    <a:pt x="6" y="35"/>
                  </a:cubicBezTo>
                  <a:cubicBezTo>
                    <a:pt x="8" y="38"/>
                    <a:pt x="11" y="40"/>
                    <a:pt x="15" y="42"/>
                  </a:cubicBezTo>
                  <a:cubicBezTo>
                    <a:pt x="18" y="44"/>
                    <a:pt x="25" y="46"/>
                    <a:pt x="36" y="49"/>
                  </a:cubicBezTo>
                  <a:cubicBezTo>
                    <a:pt x="43" y="51"/>
                    <a:pt x="48" y="52"/>
                    <a:pt x="50" y="54"/>
                  </a:cubicBezTo>
                  <a:cubicBezTo>
                    <a:pt x="52" y="55"/>
                    <a:pt x="54" y="58"/>
                    <a:pt x="54" y="61"/>
                  </a:cubicBezTo>
                  <a:cubicBezTo>
                    <a:pt x="54" y="64"/>
                    <a:pt x="52" y="67"/>
                    <a:pt x="49" y="70"/>
                  </a:cubicBezTo>
                  <a:cubicBezTo>
                    <a:pt x="46" y="73"/>
                    <a:pt x="41" y="74"/>
                    <a:pt x="35" y="74"/>
                  </a:cubicBezTo>
                  <a:cubicBezTo>
                    <a:pt x="29" y="74"/>
                    <a:pt x="24" y="72"/>
                    <a:pt x="20" y="69"/>
                  </a:cubicBezTo>
                  <a:cubicBezTo>
                    <a:pt x="17" y="67"/>
                    <a:pt x="15" y="62"/>
                    <a:pt x="14" y="57"/>
                  </a:cubicBezTo>
                  <a:cubicBezTo>
                    <a:pt x="0" y="59"/>
                    <a:pt x="0" y="59"/>
                    <a:pt x="0" y="59"/>
                  </a:cubicBezTo>
                  <a:cubicBezTo>
                    <a:pt x="2" y="68"/>
                    <a:pt x="5" y="74"/>
                    <a:pt x="11" y="79"/>
                  </a:cubicBezTo>
                  <a:cubicBezTo>
                    <a:pt x="16" y="83"/>
                    <a:pt x="24" y="85"/>
                    <a:pt x="35" y="85"/>
                  </a:cubicBezTo>
                  <a:cubicBezTo>
                    <a:pt x="41" y="85"/>
                    <a:pt x="47" y="84"/>
                    <a:pt x="52" y="82"/>
                  </a:cubicBezTo>
                  <a:cubicBezTo>
                    <a:pt x="57" y="80"/>
                    <a:pt x="61" y="76"/>
                    <a:pt x="64" y="72"/>
                  </a:cubicBezTo>
                  <a:cubicBezTo>
                    <a:pt x="66" y="68"/>
                    <a:pt x="68" y="64"/>
                    <a:pt x="68" y="59"/>
                  </a:cubicBezTo>
                  <a:cubicBezTo>
                    <a:pt x="68" y="55"/>
                    <a:pt x="67" y="51"/>
                    <a:pt x="65" y="48"/>
                  </a:cubicBezTo>
                  <a:cubicBezTo>
                    <a:pt x="62" y="45"/>
                    <a:pt x="59" y="42"/>
                    <a:pt x="55" y="4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311" name="ïśļíḓe"/>
            <p:cNvSpPr/>
            <p:nvPr/>
          </p:nvSpPr>
          <p:spPr bwMode="auto">
            <a:xfrm>
              <a:off x="6205791" y="5675903"/>
              <a:ext cx="25400" cy="3016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312" name="îṡľîdè"/>
            <p:cNvSpPr/>
            <p:nvPr/>
          </p:nvSpPr>
          <p:spPr bwMode="auto">
            <a:xfrm>
              <a:off x="6205791" y="5733053"/>
              <a:ext cx="25400" cy="1492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313" name="îś1iḋê"/>
            <p:cNvSpPr/>
            <p:nvPr/>
          </p:nvSpPr>
          <p:spPr bwMode="auto">
            <a:xfrm>
              <a:off x="6255003" y="5680665"/>
              <a:ext cx="74613" cy="203200"/>
            </a:xfrm>
            <a:custGeom>
              <a:avLst/>
              <a:gdLst>
                <a:gd name="T0" fmla="*/ 32 w 40"/>
                <a:gd name="T1" fmla="*/ 98 h 110"/>
                <a:gd name="T2" fmla="*/ 27 w 40"/>
                <a:gd name="T3" fmla="*/ 97 h 110"/>
                <a:gd name="T4" fmla="*/ 25 w 40"/>
                <a:gd name="T5" fmla="*/ 94 h 110"/>
                <a:gd name="T6" fmla="*/ 24 w 40"/>
                <a:gd name="T7" fmla="*/ 86 h 110"/>
                <a:gd name="T8" fmla="*/ 24 w 40"/>
                <a:gd name="T9" fmla="*/ 39 h 110"/>
                <a:gd name="T10" fmla="*/ 38 w 40"/>
                <a:gd name="T11" fmla="*/ 39 h 110"/>
                <a:gd name="T12" fmla="*/ 38 w 40"/>
                <a:gd name="T13" fmla="*/ 28 h 110"/>
                <a:gd name="T14" fmla="*/ 24 w 40"/>
                <a:gd name="T15" fmla="*/ 28 h 110"/>
                <a:gd name="T16" fmla="*/ 24 w 40"/>
                <a:gd name="T17" fmla="*/ 0 h 110"/>
                <a:gd name="T18" fmla="*/ 11 w 40"/>
                <a:gd name="T19" fmla="*/ 8 h 110"/>
                <a:gd name="T20" fmla="*/ 11 w 40"/>
                <a:gd name="T21" fmla="*/ 28 h 110"/>
                <a:gd name="T22" fmla="*/ 0 w 40"/>
                <a:gd name="T23" fmla="*/ 28 h 110"/>
                <a:gd name="T24" fmla="*/ 0 w 40"/>
                <a:gd name="T25" fmla="*/ 39 h 110"/>
                <a:gd name="T26" fmla="*/ 11 w 40"/>
                <a:gd name="T27" fmla="*/ 39 h 110"/>
                <a:gd name="T28" fmla="*/ 11 w 40"/>
                <a:gd name="T29" fmla="*/ 86 h 110"/>
                <a:gd name="T30" fmla="*/ 12 w 40"/>
                <a:gd name="T31" fmla="*/ 102 h 110"/>
                <a:gd name="T32" fmla="*/ 18 w 40"/>
                <a:gd name="T33" fmla="*/ 108 h 110"/>
                <a:gd name="T34" fmla="*/ 30 w 40"/>
                <a:gd name="T35" fmla="*/ 110 h 110"/>
                <a:gd name="T36" fmla="*/ 40 w 40"/>
                <a:gd name="T37" fmla="*/ 109 h 110"/>
                <a:gd name="T38" fmla="*/ 38 w 40"/>
                <a:gd name="T39" fmla="*/ 97 h 110"/>
                <a:gd name="T40" fmla="*/ 32 w 40"/>
                <a:gd name="T41" fmla="*/ 98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0" h="110">
                  <a:moveTo>
                    <a:pt x="32" y="98"/>
                  </a:moveTo>
                  <a:cubicBezTo>
                    <a:pt x="30" y="98"/>
                    <a:pt x="28" y="97"/>
                    <a:pt x="27" y="97"/>
                  </a:cubicBezTo>
                  <a:cubicBezTo>
                    <a:pt x="26" y="96"/>
                    <a:pt x="25" y="95"/>
                    <a:pt x="25" y="94"/>
                  </a:cubicBezTo>
                  <a:cubicBezTo>
                    <a:pt x="24" y="93"/>
                    <a:pt x="24" y="90"/>
                    <a:pt x="24" y="86"/>
                  </a:cubicBezTo>
                  <a:cubicBezTo>
                    <a:pt x="24" y="39"/>
                    <a:pt x="24" y="39"/>
                    <a:pt x="24" y="39"/>
                  </a:cubicBezTo>
                  <a:cubicBezTo>
                    <a:pt x="38" y="39"/>
                    <a:pt x="38" y="39"/>
                    <a:pt x="38" y="39"/>
                  </a:cubicBezTo>
                  <a:cubicBezTo>
                    <a:pt x="38" y="28"/>
                    <a:pt x="38" y="28"/>
                    <a:pt x="38" y="28"/>
                  </a:cubicBezTo>
                  <a:cubicBezTo>
                    <a:pt x="24" y="28"/>
                    <a:pt x="24" y="28"/>
                    <a:pt x="24" y="28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11" y="8"/>
                    <a:pt x="11" y="8"/>
                    <a:pt x="11" y="8"/>
                  </a:cubicBezTo>
                  <a:cubicBezTo>
                    <a:pt x="11" y="28"/>
                    <a:pt x="11" y="28"/>
                    <a:pt x="11" y="28"/>
                  </a:cubicBezTo>
                  <a:cubicBezTo>
                    <a:pt x="0" y="28"/>
                    <a:pt x="0" y="28"/>
                    <a:pt x="0" y="28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11" y="39"/>
                    <a:pt x="11" y="39"/>
                    <a:pt x="11" y="39"/>
                  </a:cubicBezTo>
                  <a:cubicBezTo>
                    <a:pt x="11" y="86"/>
                    <a:pt x="11" y="86"/>
                    <a:pt x="11" y="86"/>
                  </a:cubicBezTo>
                  <a:cubicBezTo>
                    <a:pt x="11" y="94"/>
                    <a:pt x="11" y="99"/>
                    <a:pt x="12" y="102"/>
                  </a:cubicBezTo>
                  <a:cubicBezTo>
                    <a:pt x="13" y="104"/>
                    <a:pt x="15" y="106"/>
                    <a:pt x="18" y="108"/>
                  </a:cubicBezTo>
                  <a:cubicBezTo>
                    <a:pt x="21" y="110"/>
                    <a:pt x="25" y="110"/>
                    <a:pt x="30" y="110"/>
                  </a:cubicBezTo>
                  <a:cubicBezTo>
                    <a:pt x="33" y="110"/>
                    <a:pt x="36" y="110"/>
                    <a:pt x="40" y="109"/>
                  </a:cubicBezTo>
                  <a:cubicBezTo>
                    <a:pt x="38" y="97"/>
                    <a:pt x="38" y="97"/>
                    <a:pt x="38" y="97"/>
                  </a:cubicBezTo>
                  <a:cubicBezTo>
                    <a:pt x="36" y="97"/>
                    <a:pt x="34" y="98"/>
                    <a:pt x="32" y="9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314" name="išľîḋê"/>
            <p:cNvSpPr/>
            <p:nvPr/>
          </p:nvSpPr>
          <p:spPr bwMode="auto">
            <a:xfrm>
              <a:off x="6335966" y="5733053"/>
              <a:ext cx="136525" cy="211138"/>
            </a:xfrm>
            <a:custGeom>
              <a:avLst/>
              <a:gdLst>
                <a:gd name="T0" fmla="*/ 43 w 74"/>
                <a:gd name="T1" fmla="*/ 47 h 114"/>
                <a:gd name="T2" fmla="*/ 37 w 74"/>
                <a:gd name="T3" fmla="*/ 66 h 114"/>
                <a:gd name="T4" fmla="*/ 32 w 74"/>
                <a:gd name="T5" fmla="*/ 47 h 114"/>
                <a:gd name="T6" fmla="*/ 15 w 74"/>
                <a:gd name="T7" fmla="*/ 0 h 114"/>
                <a:gd name="T8" fmla="*/ 0 w 74"/>
                <a:gd name="T9" fmla="*/ 0 h 114"/>
                <a:gd name="T10" fmla="*/ 31 w 74"/>
                <a:gd name="T11" fmla="*/ 81 h 114"/>
                <a:gd name="T12" fmla="*/ 29 w 74"/>
                <a:gd name="T13" fmla="*/ 85 h 114"/>
                <a:gd name="T14" fmla="*/ 25 w 74"/>
                <a:gd name="T15" fmla="*/ 95 h 114"/>
                <a:gd name="T16" fmla="*/ 21 w 74"/>
                <a:gd name="T17" fmla="*/ 99 h 114"/>
                <a:gd name="T18" fmla="*/ 13 w 74"/>
                <a:gd name="T19" fmla="*/ 101 h 114"/>
                <a:gd name="T20" fmla="*/ 5 w 74"/>
                <a:gd name="T21" fmla="*/ 100 h 114"/>
                <a:gd name="T22" fmla="*/ 7 w 74"/>
                <a:gd name="T23" fmla="*/ 113 h 114"/>
                <a:gd name="T24" fmla="*/ 16 w 74"/>
                <a:gd name="T25" fmla="*/ 114 h 114"/>
                <a:gd name="T26" fmla="*/ 27 w 74"/>
                <a:gd name="T27" fmla="*/ 111 h 114"/>
                <a:gd name="T28" fmla="*/ 36 w 74"/>
                <a:gd name="T29" fmla="*/ 101 h 114"/>
                <a:gd name="T30" fmla="*/ 43 w 74"/>
                <a:gd name="T31" fmla="*/ 83 h 114"/>
                <a:gd name="T32" fmla="*/ 74 w 74"/>
                <a:gd name="T33" fmla="*/ 0 h 114"/>
                <a:gd name="T34" fmla="*/ 60 w 74"/>
                <a:gd name="T35" fmla="*/ 0 h 114"/>
                <a:gd name="T36" fmla="*/ 43 w 74"/>
                <a:gd name="T37" fmla="*/ 47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74" h="114">
                  <a:moveTo>
                    <a:pt x="43" y="47"/>
                  </a:moveTo>
                  <a:cubicBezTo>
                    <a:pt x="41" y="53"/>
                    <a:pt x="39" y="60"/>
                    <a:pt x="37" y="66"/>
                  </a:cubicBezTo>
                  <a:cubicBezTo>
                    <a:pt x="36" y="59"/>
                    <a:pt x="34" y="53"/>
                    <a:pt x="32" y="47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0" y="83"/>
                    <a:pt x="30" y="84"/>
                    <a:pt x="29" y="85"/>
                  </a:cubicBezTo>
                  <a:cubicBezTo>
                    <a:pt x="27" y="90"/>
                    <a:pt x="26" y="94"/>
                    <a:pt x="25" y="95"/>
                  </a:cubicBezTo>
                  <a:cubicBezTo>
                    <a:pt x="24" y="97"/>
                    <a:pt x="22" y="98"/>
                    <a:pt x="21" y="99"/>
                  </a:cubicBezTo>
                  <a:cubicBezTo>
                    <a:pt x="19" y="100"/>
                    <a:pt x="16" y="101"/>
                    <a:pt x="13" y="101"/>
                  </a:cubicBezTo>
                  <a:cubicBezTo>
                    <a:pt x="11" y="101"/>
                    <a:pt x="8" y="101"/>
                    <a:pt x="5" y="100"/>
                  </a:cubicBezTo>
                  <a:cubicBezTo>
                    <a:pt x="7" y="113"/>
                    <a:pt x="7" y="113"/>
                    <a:pt x="7" y="113"/>
                  </a:cubicBezTo>
                  <a:cubicBezTo>
                    <a:pt x="10" y="114"/>
                    <a:pt x="13" y="114"/>
                    <a:pt x="16" y="114"/>
                  </a:cubicBezTo>
                  <a:cubicBezTo>
                    <a:pt x="20" y="114"/>
                    <a:pt x="24" y="113"/>
                    <a:pt x="27" y="111"/>
                  </a:cubicBezTo>
                  <a:cubicBezTo>
                    <a:pt x="30" y="109"/>
                    <a:pt x="33" y="106"/>
                    <a:pt x="36" y="101"/>
                  </a:cubicBezTo>
                  <a:cubicBezTo>
                    <a:pt x="37" y="98"/>
                    <a:pt x="40" y="92"/>
                    <a:pt x="43" y="83"/>
                  </a:cubicBezTo>
                  <a:cubicBezTo>
                    <a:pt x="74" y="0"/>
                    <a:pt x="74" y="0"/>
                    <a:pt x="74" y="0"/>
                  </a:cubicBezTo>
                  <a:cubicBezTo>
                    <a:pt x="60" y="0"/>
                    <a:pt x="60" y="0"/>
                    <a:pt x="60" y="0"/>
                  </a:cubicBezTo>
                  <a:lnTo>
                    <a:pt x="43" y="4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315" name="íSḷiḑè"/>
            <p:cNvSpPr/>
            <p:nvPr/>
          </p:nvSpPr>
          <p:spPr bwMode="auto">
            <a:xfrm>
              <a:off x="6564566" y="5729878"/>
              <a:ext cx="142875" cy="157163"/>
            </a:xfrm>
            <a:custGeom>
              <a:avLst/>
              <a:gdLst>
                <a:gd name="T0" fmla="*/ 38 w 77"/>
                <a:gd name="T1" fmla="*/ 0 h 85"/>
                <a:gd name="T2" fmla="*/ 13 w 77"/>
                <a:gd name="T3" fmla="*/ 9 h 85"/>
                <a:gd name="T4" fmla="*/ 0 w 77"/>
                <a:gd name="T5" fmla="*/ 43 h 85"/>
                <a:gd name="T6" fmla="*/ 11 w 77"/>
                <a:gd name="T7" fmla="*/ 74 h 85"/>
                <a:gd name="T8" fmla="*/ 38 w 77"/>
                <a:gd name="T9" fmla="*/ 85 h 85"/>
                <a:gd name="T10" fmla="*/ 58 w 77"/>
                <a:gd name="T11" fmla="*/ 80 h 85"/>
                <a:gd name="T12" fmla="*/ 72 w 77"/>
                <a:gd name="T13" fmla="*/ 66 h 85"/>
                <a:gd name="T14" fmla="*/ 77 w 77"/>
                <a:gd name="T15" fmla="*/ 42 h 85"/>
                <a:gd name="T16" fmla="*/ 66 w 77"/>
                <a:gd name="T17" fmla="*/ 11 h 85"/>
                <a:gd name="T18" fmla="*/ 38 w 77"/>
                <a:gd name="T19" fmla="*/ 0 h 85"/>
                <a:gd name="T20" fmla="*/ 56 w 77"/>
                <a:gd name="T21" fmla="*/ 66 h 85"/>
                <a:gd name="T22" fmla="*/ 38 w 77"/>
                <a:gd name="T23" fmla="*/ 74 h 85"/>
                <a:gd name="T24" fmla="*/ 21 w 77"/>
                <a:gd name="T25" fmla="*/ 66 h 85"/>
                <a:gd name="T26" fmla="*/ 15 w 77"/>
                <a:gd name="T27" fmla="*/ 43 h 85"/>
                <a:gd name="T28" fmla="*/ 21 w 77"/>
                <a:gd name="T29" fmla="*/ 19 h 85"/>
                <a:gd name="T30" fmla="*/ 38 w 77"/>
                <a:gd name="T31" fmla="*/ 12 h 85"/>
                <a:gd name="T32" fmla="*/ 56 w 77"/>
                <a:gd name="T33" fmla="*/ 19 h 85"/>
                <a:gd name="T34" fmla="*/ 62 w 77"/>
                <a:gd name="T35" fmla="*/ 42 h 85"/>
                <a:gd name="T36" fmla="*/ 56 w 77"/>
                <a:gd name="T37" fmla="*/ 66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77" h="85">
                  <a:moveTo>
                    <a:pt x="38" y="0"/>
                  </a:moveTo>
                  <a:cubicBezTo>
                    <a:pt x="28" y="0"/>
                    <a:pt x="20" y="3"/>
                    <a:pt x="13" y="9"/>
                  </a:cubicBezTo>
                  <a:cubicBezTo>
                    <a:pt x="5" y="16"/>
                    <a:pt x="0" y="28"/>
                    <a:pt x="0" y="43"/>
                  </a:cubicBezTo>
                  <a:cubicBezTo>
                    <a:pt x="0" y="56"/>
                    <a:pt x="4" y="67"/>
                    <a:pt x="11" y="74"/>
                  </a:cubicBezTo>
                  <a:cubicBezTo>
                    <a:pt x="18" y="82"/>
                    <a:pt x="27" y="85"/>
                    <a:pt x="38" y="85"/>
                  </a:cubicBezTo>
                  <a:cubicBezTo>
                    <a:pt x="46" y="85"/>
                    <a:pt x="52" y="84"/>
                    <a:pt x="58" y="80"/>
                  </a:cubicBezTo>
                  <a:cubicBezTo>
                    <a:pt x="64" y="77"/>
                    <a:pt x="69" y="72"/>
                    <a:pt x="72" y="66"/>
                  </a:cubicBezTo>
                  <a:cubicBezTo>
                    <a:pt x="75" y="60"/>
                    <a:pt x="77" y="52"/>
                    <a:pt x="77" y="42"/>
                  </a:cubicBezTo>
                  <a:cubicBezTo>
                    <a:pt x="77" y="29"/>
                    <a:pt x="73" y="19"/>
                    <a:pt x="66" y="11"/>
                  </a:cubicBezTo>
                  <a:cubicBezTo>
                    <a:pt x="59" y="4"/>
                    <a:pt x="50" y="0"/>
                    <a:pt x="38" y="0"/>
                  </a:cubicBezTo>
                  <a:close/>
                  <a:moveTo>
                    <a:pt x="56" y="66"/>
                  </a:moveTo>
                  <a:cubicBezTo>
                    <a:pt x="51" y="71"/>
                    <a:pt x="45" y="74"/>
                    <a:pt x="38" y="74"/>
                  </a:cubicBezTo>
                  <a:cubicBezTo>
                    <a:pt x="32" y="74"/>
                    <a:pt x="26" y="71"/>
                    <a:pt x="21" y="66"/>
                  </a:cubicBezTo>
                  <a:cubicBezTo>
                    <a:pt x="17" y="61"/>
                    <a:pt x="15" y="53"/>
                    <a:pt x="15" y="43"/>
                  </a:cubicBezTo>
                  <a:cubicBezTo>
                    <a:pt x="15" y="32"/>
                    <a:pt x="17" y="24"/>
                    <a:pt x="21" y="19"/>
                  </a:cubicBezTo>
                  <a:cubicBezTo>
                    <a:pt x="26" y="14"/>
                    <a:pt x="32" y="12"/>
                    <a:pt x="38" y="12"/>
                  </a:cubicBezTo>
                  <a:cubicBezTo>
                    <a:pt x="45" y="12"/>
                    <a:pt x="51" y="14"/>
                    <a:pt x="56" y="19"/>
                  </a:cubicBezTo>
                  <a:cubicBezTo>
                    <a:pt x="60" y="25"/>
                    <a:pt x="62" y="32"/>
                    <a:pt x="62" y="42"/>
                  </a:cubicBezTo>
                  <a:cubicBezTo>
                    <a:pt x="62" y="53"/>
                    <a:pt x="60" y="61"/>
                    <a:pt x="56" y="6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316" name="ïṣľïḑe"/>
            <p:cNvSpPr/>
            <p:nvPr/>
          </p:nvSpPr>
          <p:spPr bwMode="auto">
            <a:xfrm>
              <a:off x="6720141" y="5672728"/>
              <a:ext cx="85725" cy="209550"/>
            </a:xfrm>
            <a:custGeom>
              <a:avLst/>
              <a:gdLst>
                <a:gd name="T0" fmla="*/ 20 w 47"/>
                <a:gd name="T1" fmla="*/ 4 h 114"/>
                <a:gd name="T2" fmla="*/ 13 w 47"/>
                <a:gd name="T3" fmla="*/ 12 h 114"/>
                <a:gd name="T4" fmla="*/ 12 w 47"/>
                <a:gd name="T5" fmla="*/ 24 h 114"/>
                <a:gd name="T6" fmla="*/ 12 w 47"/>
                <a:gd name="T7" fmla="*/ 33 h 114"/>
                <a:gd name="T8" fmla="*/ 0 w 47"/>
                <a:gd name="T9" fmla="*/ 33 h 114"/>
                <a:gd name="T10" fmla="*/ 0 w 47"/>
                <a:gd name="T11" fmla="*/ 44 h 114"/>
                <a:gd name="T12" fmla="*/ 12 w 47"/>
                <a:gd name="T13" fmla="*/ 44 h 114"/>
                <a:gd name="T14" fmla="*/ 12 w 47"/>
                <a:gd name="T15" fmla="*/ 114 h 114"/>
                <a:gd name="T16" fmla="*/ 26 w 47"/>
                <a:gd name="T17" fmla="*/ 114 h 114"/>
                <a:gd name="T18" fmla="*/ 26 w 47"/>
                <a:gd name="T19" fmla="*/ 44 h 114"/>
                <a:gd name="T20" fmla="*/ 41 w 47"/>
                <a:gd name="T21" fmla="*/ 44 h 114"/>
                <a:gd name="T22" fmla="*/ 41 w 47"/>
                <a:gd name="T23" fmla="*/ 33 h 114"/>
                <a:gd name="T24" fmla="*/ 26 w 47"/>
                <a:gd name="T25" fmla="*/ 33 h 114"/>
                <a:gd name="T26" fmla="*/ 26 w 47"/>
                <a:gd name="T27" fmla="*/ 26 h 114"/>
                <a:gd name="T28" fmla="*/ 28 w 47"/>
                <a:gd name="T29" fmla="*/ 16 h 114"/>
                <a:gd name="T30" fmla="*/ 37 w 47"/>
                <a:gd name="T31" fmla="*/ 13 h 114"/>
                <a:gd name="T32" fmla="*/ 45 w 47"/>
                <a:gd name="T33" fmla="*/ 14 h 114"/>
                <a:gd name="T34" fmla="*/ 47 w 47"/>
                <a:gd name="T35" fmla="*/ 2 h 114"/>
                <a:gd name="T36" fmla="*/ 34 w 47"/>
                <a:gd name="T37" fmla="*/ 0 h 114"/>
                <a:gd name="T38" fmla="*/ 20 w 47"/>
                <a:gd name="T39" fmla="*/ 4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47" h="114">
                  <a:moveTo>
                    <a:pt x="20" y="4"/>
                  </a:moveTo>
                  <a:cubicBezTo>
                    <a:pt x="17" y="6"/>
                    <a:pt x="15" y="9"/>
                    <a:pt x="13" y="12"/>
                  </a:cubicBezTo>
                  <a:cubicBezTo>
                    <a:pt x="12" y="15"/>
                    <a:pt x="12" y="19"/>
                    <a:pt x="12" y="24"/>
                  </a:cubicBezTo>
                  <a:cubicBezTo>
                    <a:pt x="12" y="33"/>
                    <a:pt x="12" y="33"/>
                    <a:pt x="12" y="33"/>
                  </a:cubicBezTo>
                  <a:cubicBezTo>
                    <a:pt x="0" y="33"/>
                    <a:pt x="0" y="33"/>
                    <a:pt x="0" y="33"/>
                  </a:cubicBezTo>
                  <a:cubicBezTo>
                    <a:pt x="0" y="44"/>
                    <a:pt x="0" y="44"/>
                    <a:pt x="0" y="44"/>
                  </a:cubicBezTo>
                  <a:cubicBezTo>
                    <a:pt x="12" y="44"/>
                    <a:pt x="12" y="44"/>
                    <a:pt x="12" y="44"/>
                  </a:cubicBezTo>
                  <a:cubicBezTo>
                    <a:pt x="12" y="114"/>
                    <a:pt x="12" y="114"/>
                    <a:pt x="12" y="114"/>
                  </a:cubicBezTo>
                  <a:cubicBezTo>
                    <a:pt x="26" y="114"/>
                    <a:pt x="26" y="114"/>
                    <a:pt x="26" y="114"/>
                  </a:cubicBezTo>
                  <a:cubicBezTo>
                    <a:pt x="26" y="44"/>
                    <a:pt x="26" y="44"/>
                    <a:pt x="26" y="44"/>
                  </a:cubicBezTo>
                  <a:cubicBezTo>
                    <a:pt x="41" y="44"/>
                    <a:pt x="41" y="44"/>
                    <a:pt x="41" y="44"/>
                  </a:cubicBezTo>
                  <a:cubicBezTo>
                    <a:pt x="41" y="33"/>
                    <a:pt x="41" y="33"/>
                    <a:pt x="41" y="33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26" y="26"/>
                    <a:pt x="26" y="26"/>
                    <a:pt x="26" y="26"/>
                  </a:cubicBezTo>
                  <a:cubicBezTo>
                    <a:pt x="26" y="21"/>
                    <a:pt x="27" y="17"/>
                    <a:pt x="28" y="16"/>
                  </a:cubicBezTo>
                  <a:cubicBezTo>
                    <a:pt x="30" y="14"/>
                    <a:pt x="33" y="13"/>
                    <a:pt x="37" y="13"/>
                  </a:cubicBezTo>
                  <a:cubicBezTo>
                    <a:pt x="40" y="13"/>
                    <a:pt x="42" y="13"/>
                    <a:pt x="45" y="14"/>
                  </a:cubicBezTo>
                  <a:cubicBezTo>
                    <a:pt x="47" y="2"/>
                    <a:pt x="47" y="2"/>
                    <a:pt x="47" y="2"/>
                  </a:cubicBezTo>
                  <a:cubicBezTo>
                    <a:pt x="43" y="1"/>
                    <a:pt x="38" y="0"/>
                    <a:pt x="34" y="0"/>
                  </a:cubicBezTo>
                  <a:cubicBezTo>
                    <a:pt x="28" y="0"/>
                    <a:pt x="24" y="1"/>
                    <a:pt x="20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317" name="ïš1îḍè"/>
            <p:cNvSpPr/>
            <p:nvPr/>
          </p:nvSpPr>
          <p:spPr bwMode="auto">
            <a:xfrm>
              <a:off x="6890003" y="5672728"/>
              <a:ext cx="165100" cy="214313"/>
            </a:xfrm>
            <a:custGeom>
              <a:avLst/>
              <a:gdLst>
                <a:gd name="T0" fmla="*/ 71 w 90"/>
                <a:gd name="T1" fmla="*/ 55 h 116"/>
                <a:gd name="T2" fmla="*/ 46 w 90"/>
                <a:gd name="T3" fmla="*/ 48 h 116"/>
                <a:gd name="T4" fmla="*/ 23 w 90"/>
                <a:gd name="T5" fmla="*/ 40 h 116"/>
                <a:gd name="T6" fmla="*/ 19 w 90"/>
                <a:gd name="T7" fmla="*/ 30 h 116"/>
                <a:gd name="T8" fmla="*/ 25 w 90"/>
                <a:gd name="T9" fmla="*/ 18 h 116"/>
                <a:gd name="T10" fmla="*/ 45 w 90"/>
                <a:gd name="T11" fmla="*/ 13 h 116"/>
                <a:gd name="T12" fmla="*/ 64 w 90"/>
                <a:gd name="T13" fmla="*/ 19 h 116"/>
                <a:gd name="T14" fmla="*/ 72 w 90"/>
                <a:gd name="T15" fmla="*/ 35 h 116"/>
                <a:gd name="T16" fmla="*/ 86 w 90"/>
                <a:gd name="T17" fmla="*/ 34 h 116"/>
                <a:gd name="T18" fmla="*/ 81 w 90"/>
                <a:gd name="T19" fmla="*/ 16 h 116"/>
                <a:gd name="T20" fmla="*/ 66 w 90"/>
                <a:gd name="T21" fmla="*/ 4 h 116"/>
                <a:gd name="T22" fmla="*/ 44 w 90"/>
                <a:gd name="T23" fmla="*/ 0 h 116"/>
                <a:gd name="T24" fmla="*/ 24 w 90"/>
                <a:gd name="T25" fmla="*/ 4 h 116"/>
                <a:gd name="T26" fmla="*/ 10 w 90"/>
                <a:gd name="T27" fmla="*/ 15 h 116"/>
                <a:gd name="T28" fmla="*/ 5 w 90"/>
                <a:gd name="T29" fmla="*/ 31 h 116"/>
                <a:gd name="T30" fmla="*/ 9 w 90"/>
                <a:gd name="T31" fmla="*/ 45 h 116"/>
                <a:gd name="T32" fmla="*/ 21 w 90"/>
                <a:gd name="T33" fmla="*/ 56 h 116"/>
                <a:gd name="T34" fmla="*/ 42 w 90"/>
                <a:gd name="T35" fmla="*/ 63 h 116"/>
                <a:gd name="T36" fmla="*/ 62 w 90"/>
                <a:gd name="T37" fmla="*/ 68 h 116"/>
                <a:gd name="T38" fmla="*/ 72 w 90"/>
                <a:gd name="T39" fmla="*/ 75 h 116"/>
                <a:gd name="T40" fmla="*/ 75 w 90"/>
                <a:gd name="T41" fmla="*/ 84 h 116"/>
                <a:gd name="T42" fmla="*/ 72 w 90"/>
                <a:gd name="T43" fmla="*/ 93 h 116"/>
                <a:gd name="T44" fmla="*/ 63 w 90"/>
                <a:gd name="T45" fmla="*/ 100 h 116"/>
                <a:gd name="T46" fmla="*/ 48 w 90"/>
                <a:gd name="T47" fmla="*/ 103 h 116"/>
                <a:gd name="T48" fmla="*/ 30 w 90"/>
                <a:gd name="T49" fmla="*/ 100 h 116"/>
                <a:gd name="T50" fmla="*/ 19 w 90"/>
                <a:gd name="T51" fmla="*/ 91 h 116"/>
                <a:gd name="T52" fmla="*/ 14 w 90"/>
                <a:gd name="T53" fmla="*/ 77 h 116"/>
                <a:gd name="T54" fmla="*/ 0 w 90"/>
                <a:gd name="T55" fmla="*/ 78 h 116"/>
                <a:gd name="T56" fmla="*/ 7 w 90"/>
                <a:gd name="T57" fmla="*/ 98 h 116"/>
                <a:gd name="T58" fmla="*/ 23 w 90"/>
                <a:gd name="T59" fmla="*/ 112 h 116"/>
                <a:gd name="T60" fmla="*/ 48 w 90"/>
                <a:gd name="T61" fmla="*/ 116 h 116"/>
                <a:gd name="T62" fmla="*/ 70 w 90"/>
                <a:gd name="T63" fmla="*/ 112 h 116"/>
                <a:gd name="T64" fmla="*/ 85 w 90"/>
                <a:gd name="T65" fmla="*/ 100 h 116"/>
                <a:gd name="T66" fmla="*/ 90 w 90"/>
                <a:gd name="T67" fmla="*/ 83 h 116"/>
                <a:gd name="T68" fmla="*/ 85 w 90"/>
                <a:gd name="T69" fmla="*/ 67 h 116"/>
                <a:gd name="T70" fmla="*/ 71 w 90"/>
                <a:gd name="T71" fmla="*/ 55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90" h="116">
                  <a:moveTo>
                    <a:pt x="71" y="55"/>
                  </a:moveTo>
                  <a:cubicBezTo>
                    <a:pt x="66" y="53"/>
                    <a:pt x="58" y="51"/>
                    <a:pt x="46" y="48"/>
                  </a:cubicBezTo>
                  <a:cubicBezTo>
                    <a:pt x="34" y="45"/>
                    <a:pt x="26" y="43"/>
                    <a:pt x="23" y="40"/>
                  </a:cubicBezTo>
                  <a:cubicBezTo>
                    <a:pt x="21" y="38"/>
                    <a:pt x="19" y="34"/>
                    <a:pt x="19" y="30"/>
                  </a:cubicBezTo>
                  <a:cubicBezTo>
                    <a:pt x="19" y="26"/>
                    <a:pt x="21" y="22"/>
                    <a:pt x="25" y="18"/>
                  </a:cubicBezTo>
                  <a:cubicBezTo>
                    <a:pt x="29" y="15"/>
                    <a:pt x="36" y="13"/>
                    <a:pt x="45" y="13"/>
                  </a:cubicBezTo>
                  <a:cubicBezTo>
                    <a:pt x="53" y="13"/>
                    <a:pt x="60" y="15"/>
                    <a:pt x="64" y="19"/>
                  </a:cubicBezTo>
                  <a:cubicBezTo>
                    <a:pt x="69" y="22"/>
                    <a:pt x="71" y="28"/>
                    <a:pt x="72" y="35"/>
                  </a:cubicBezTo>
                  <a:cubicBezTo>
                    <a:pt x="86" y="34"/>
                    <a:pt x="86" y="34"/>
                    <a:pt x="86" y="34"/>
                  </a:cubicBezTo>
                  <a:cubicBezTo>
                    <a:pt x="86" y="27"/>
                    <a:pt x="84" y="21"/>
                    <a:pt x="81" y="16"/>
                  </a:cubicBezTo>
                  <a:cubicBezTo>
                    <a:pt x="77" y="11"/>
                    <a:pt x="73" y="7"/>
                    <a:pt x="66" y="4"/>
                  </a:cubicBezTo>
                  <a:cubicBezTo>
                    <a:pt x="60" y="2"/>
                    <a:pt x="53" y="0"/>
                    <a:pt x="44" y="0"/>
                  </a:cubicBezTo>
                  <a:cubicBezTo>
                    <a:pt x="37" y="0"/>
                    <a:pt x="30" y="1"/>
                    <a:pt x="24" y="4"/>
                  </a:cubicBezTo>
                  <a:cubicBezTo>
                    <a:pt x="17" y="7"/>
                    <a:pt x="13" y="10"/>
                    <a:pt x="10" y="15"/>
                  </a:cubicBezTo>
                  <a:cubicBezTo>
                    <a:pt x="6" y="20"/>
                    <a:pt x="5" y="25"/>
                    <a:pt x="5" y="31"/>
                  </a:cubicBezTo>
                  <a:cubicBezTo>
                    <a:pt x="5" y="36"/>
                    <a:pt x="6" y="41"/>
                    <a:pt x="9" y="45"/>
                  </a:cubicBezTo>
                  <a:cubicBezTo>
                    <a:pt x="11" y="49"/>
                    <a:pt x="15" y="53"/>
                    <a:pt x="21" y="56"/>
                  </a:cubicBezTo>
                  <a:cubicBezTo>
                    <a:pt x="25" y="58"/>
                    <a:pt x="32" y="60"/>
                    <a:pt x="42" y="63"/>
                  </a:cubicBezTo>
                  <a:cubicBezTo>
                    <a:pt x="53" y="65"/>
                    <a:pt x="59" y="67"/>
                    <a:pt x="62" y="68"/>
                  </a:cubicBezTo>
                  <a:cubicBezTo>
                    <a:pt x="67" y="70"/>
                    <a:pt x="70" y="72"/>
                    <a:pt x="72" y="75"/>
                  </a:cubicBezTo>
                  <a:cubicBezTo>
                    <a:pt x="74" y="77"/>
                    <a:pt x="75" y="80"/>
                    <a:pt x="75" y="84"/>
                  </a:cubicBezTo>
                  <a:cubicBezTo>
                    <a:pt x="75" y="87"/>
                    <a:pt x="74" y="91"/>
                    <a:pt x="72" y="93"/>
                  </a:cubicBezTo>
                  <a:cubicBezTo>
                    <a:pt x="70" y="96"/>
                    <a:pt x="67" y="99"/>
                    <a:pt x="63" y="100"/>
                  </a:cubicBezTo>
                  <a:cubicBezTo>
                    <a:pt x="58" y="102"/>
                    <a:pt x="53" y="103"/>
                    <a:pt x="48" y="103"/>
                  </a:cubicBezTo>
                  <a:cubicBezTo>
                    <a:pt x="41" y="103"/>
                    <a:pt x="35" y="102"/>
                    <a:pt x="30" y="100"/>
                  </a:cubicBezTo>
                  <a:cubicBezTo>
                    <a:pt x="25" y="97"/>
                    <a:pt x="22" y="94"/>
                    <a:pt x="19" y="91"/>
                  </a:cubicBezTo>
                  <a:cubicBezTo>
                    <a:pt x="17" y="87"/>
                    <a:pt x="15" y="83"/>
                    <a:pt x="14" y="77"/>
                  </a:cubicBezTo>
                  <a:cubicBezTo>
                    <a:pt x="0" y="78"/>
                    <a:pt x="0" y="78"/>
                    <a:pt x="0" y="78"/>
                  </a:cubicBezTo>
                  <a:cubicBezTo>
                    <a:pt x="1" y="86"/>
                    <a:pt x="3" y="93"/>
                    <a:pt x="7" y="98"/>
                  </a:cubicBezTo>
                  <a:cubicBezTo>
                    <a:pt x="11" y="104"/>
                    <a:pt x="16" y="109"/>
                    <a:pt x="23" y="112"/>
                  </a:cubicBezTo>
                  <a:cubicBezTo>
                    <a:pt x="30" y="115"/>
                    <a:pt x="38" y="116"/>
                    <a:pt x="48" y="116"/>
                  </a:cubicBezTo>
                  <a:cubicBezTo>
                    <a:pt x="56" y="116"/>
                    <a:pt x="64" y="115"/>
                    <a:pt x="70" y="112"/>
                  </a:cubicBezTo>
                  <a:cubicBezTo>
                    <a:pt x="76" y="109"/>
                    <a:pt x="81" y="105"/>
                    <a:pt x="85" y="100"/>
                  </a:cubicBezTo>
                  <a:cubicBezTo>
                    <a:pt x="88" y="94"/>
                    <a:pt x="90" y="89"/>
                    <a:pt x="90" y="83"/>
                  </a:cubicBezTo>
                  <a:cubicBezTo>
                    <a:pt x="90" y="77"/>
                    <a:pt x="88" y="71"/>
                    <a:pt x="85" y="67"/>
                  </a:cubicBezTo>
                  <a:cubicBezTo>
                    <a:pt x="82" y="62"/>
                    <a:pt x="77" y="58"/>
                    <a:pt x="71" y="5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318" name="iṥľïḍê"/>
            <p:cNvSpPr/>
            <p:nvPr/>
          </p:nvSpPr>
          <p:spPr bwMode="auto">
            <a:xfrm>
              <a:off x="7080503" y="5729878"/>
              <a:ext cx="131763" cy="157163"/>
            </a:xfrm>
            <a:custGeom>
              <a:avLst/>
              <a:gdLst>
                <a:gd name="T0" fmla="*/ 50 w 71"/>
                <a:gd name="T1" fmla="*/ 69 h 85"/>
                <a:gd name="T2" fmla="*/ 37 w 71"/>
                <a:gd name="T3" fmla="*/ 74 h 85"/>
                <a:gd name="T4" fmla="*/ 21 w 71"/>
                <a:gd name="T5" fmla="*/ 66 h 85"/>
                <a:gd name="T6" fmla="*/ 14 w 71"/>
                <a:gd name="T7" fmla="*/ 43 h 85"/>
                <a:gd name="T8" fmla="*/ 21 w 71"/>
                <a:gd name="T9" fmla="*/ 19 h 85"/>
                <a:gd name="T10" fmla="*/ 38 w 71"/>
                <a:gd name="T11" fmla="*/ 12 h 85"/>
                <a:gd name="T12" fmla="*/ 49 w 71"/>
                <a:gd name="T13" fmla="*/ 16 h 85"/>
                <a:gd name="T14" fmla="*/ 56 w 71"/>
                <a:gd name="T15" fmla="*/ 28 h 85"/>
                <a:gd name="T16" fmla="*/ 70 w 71"/>
                <a:gd name="T17" fmla="*/ 26 h 85"/>
                <a:gd name="T18" fmla="*/ 59 w 71"/>
                <a:gd name="T19" fmla="*/ 7 h 85"/>
                <a:gd name="T20" fmla="*/ 37 w 71"/>
                <a:gd name="T21" fmla="*/ 0 h 85"/>
                <a:gd name="T22" fmla="*/ 18 w 71"/>
                <a:gd name="T23" fmla="*/ 5 h 85"/>
                <a:gd name="T24" fmla="*/ 4 w 71"/>
                <a:gd name="T25" fmla="*/ 20 h 85"/>
                <a:gd name="T26" fmla="*/ 0 w 71"/>
                <a:gd name="T27" fmla="*/ 43 h 85"/>
                <a:gd name="T28" fmla="*/ 10 w 71"/>
                <a:gd name="T29" fmla="*/ 74 h 85"/>
                <a:gd name="T30" fmla="*/ 37 w 71"/>
                <a:gd name="T31" fmla="*/ 85 h 85"/>
                <a:gd name="T32" fmla="*/ 60 w 71"/>
                <a:gd name="T33" fmla="*/ 77 h 85"/>
                <a:gd name="T34" fmla="*/ 71 w 71"/>
                <a:gd name="T35" fmla="*/ 55 h 85"/>
                <a:gd name="T36" fmla="*/ 57 w 71"/>
                <a:gd name="T37" fmla="*/ 54 h 85"/>
                <a:gd name="T38" fmla="*/ 50 w 71"/>
                <a:gd name="T39" fmla="*/ 69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71" h="85">
                  <a:moveTo>
                    <a:pt x="50" y="69"/>
                  </a:moveTo>
                  <a:cubicBezTo>
                    <a:pt x="47" y="72"/>
                    <a:pt x="42" y="74"/>
                    <a:pt x="37" y="74"/>
                  </a:cubicBezTo>
                  <a:cubicBezTo>
                    <a:pt x="30" y="74"/>
                    <a:pt x="25" y="71"/>
                    <a:pt x="21" y="66"/>
                  </a:cubicBezTo>
                  <a:cubicBezTo>
                    <a:pt x="16" y="61"/>
                    <a:pt x="14" y="54"/>
                    <a:pt x="14" y="43"/>
                  </a:cubicBezTo>
                  <a:cubicBezTo>
                    <a:pt x="14" y="32"/>
                    <a:pt x="16" y="24"/>
                    <a:pt x="21" y="19"/>
                  </a:cubicBezTo>
                  <a:cubicBezTo>
                    <a:pt x="25" y="14"/>
                    <a:pt x="31" y="12"/>
                    <a:pt x="38" y="12"/>
                  </a:cubicBezTo>
                  <a:cubicBezTo>
                    <a:pt x="42" y="12"/>
                    <a:pt x="46" y="13"/>
                    <a:pt x="49" y="16"/>
                  </a:cubicBezTo>
                  <a:cubicBezTo>
                    <a:pt x="53" y="18"/>
                    <a:pt x="55" y="23"/>
                    <a:pt x="56" y="28"/>
                  </a:cubicBezTo>
                  <a:cubicBezTo>
                    <a:pt x="70" y="26"/>
                    <a:pt x="70" y="26"/>
                    <a:pt x="70" y="26"/>
                  </a:cubicBezTo>
                  <a:cubicBezTo>
                    <a:pt x="68" y="18"/>
                    <a:pt x="64" y="11"/>
                    <a:pt x="59" y="7"/>
                  </a:cubicBezTo>
                  <a:cubicBezTo>
                    <a:pt x="53" y="2"/>
                    <a:pt x="46" y="0"/>
                    <a:pt x="37" y="0"/>
                  </a:cubicBezTo>
                  <a:cubicBezTo>
                    <a:pt x="30" y="0"/>
                    <a:pt x="24" y="2"/>
                    <a:pt x="18" y="5"/>
                  </a:cubicBezTo>
                  <a:cubicBezTo>
                    <a:pt x="12" y="8"/>
                    <a:pt x="7" y="13"/>
                    <a:pt x="4" y="20"/>
                  </a:cubicBezTo>
                  <a:cubicBezTo>
                    <a:pt x="2" y="27"/>
                    <a:pt x="0" y="34"/>
                    <a:pt x="0" y="43"/>
                  </a:cubicBezTo>
                  <a:cubicBezTo>
                    <a:pt x="0" y="57"/>
                    <a:pt x="3" y="67"/>
                    <a:pt x="10" y="74"/>
                  </a:cubicBezTo>
                  <a:cubicBezTo>
                    <a:pt x="17" y="82"/>
                    <a:pt x="26" y="85"/>
                    <a:pt x="37" y="85"/>
                  </a:cubicBezTo>
                  <a:cubicBezTo>
                    <a:pt x="46" y="85"/>
                    <a:pt x="53" y="83"/>
                    <a:pt x="60" y="77"/>
                  </a:cubicBezTo>
                  <a:cubicBezTo>
                    <a:pt x="66" y="72"/>
                    <a:pt x="69" y="65"/>
                    <a:pt x="71" y="55"/>
                  </a:cubicBezTo>
                  <a:cubicBezTo>
                    <a:pt x="57" y="54"/>
                    <a:pt x="57" y="54"/>
                    <a:pt x="57" y="54"/>
                  </a:cubicBezTo>
                  <a:cubicBezTo>
                    <a:pt x="56" y="60"/>
                    <a:pt x="54" y="66"/>
                    <a:pt x="50" y="6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319" name="íṥ1ïdê"/>
            <p:cNvSpPr/>
            <p:nvPr/>
          </p:nvSpPr>
          <p:spPr bwMode="auto">
            <a:xfrm>
              <a:off x="7234491" y="5675903"/>
              <a:ext cx="25400" cy="3016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320" name="îṡ1îďé"/>
            <p:cNvSpPr/>
            <p:nvPr/>
          </p:nvSpPr>
          <p:spPr bwMode="auto">
            <a:xfrm>
              <a:off x="7234491" y="5733053"/>
              <a:ext cx="25400" cy="1492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321" name="íṩḷïḑé"/>
            <p:cNvSpPr/>
            <p:nvPr/>
          </p:nvSpPr>
          <p:spPr bwMode="auto">
            <a:xfrm>
              <a:off x="7290053" y="5729878"/>
              <a:ext cx="138113" cy="157163"/>
            </a:xfrm>
            <a:custGeom>
              <a:avLst/>
              <a:gdLst>
                <a:gd name="T0" fmla="*/ 38 w 75"/>
                <a:gd name="T1" fmla="*/ 0 h 85"/>
                <a:gd name="T2" fmla="*/ 10 w 75"/>
                <a:gd name="T3" fmla="*/ 12 h 85"/>
                <a:gd name="T4" fmla="*/ 0 w 75"/>
                <a:gd name="T5" fmla="*/ 43 h 85"/>
                <a:gd name="T6" fmla="*/ 10 w 75"/>
                <a:gd name="T7" fmla="*/ 74 h 85"/>
                <a:gd name="T8" fmla="*/ 39 w 75"/>
                <a:gd name="T9" fmla="*/ 85 h 85"/>
                <a:gd name="T10" fmla="*/ 62 w 75"/>
                <a:gd name="T11" fmla="*/ 78 h 85"/>
                <a:gd name="T12" fmla="*/ 74 w 75"/>
                <a:gd name="T13" fmla="*/ 59 h 85"/>
                <a:gd name="T14" fmla="*/ 60 w 75"/>
                <a:gd name="T15" fmla="*/ 57 h 85"/>
                <a:gd name="T16" fmla="*/ 52 w 75"/>
                <a:gd name="T17" fmla="*/ 70 h 85"/>
                <a:gd name="T18" fmla="*/ 39 w 75"/>
                <a:gd name="T19" fmla="*/ 74 h 85"/>
                <a:gd name="T20" fmla="*/ 22 w 75"/>
                <a:gd name="T21" fmla="*/ 67 h 85"/>
                <a:gd name="T22" fmla="*/ 14 w 75"/>
                <a:gd name="T23" fmla="*/ 46 h 85"/>
                <a:gd name="T24" fmla="*/ 75 w 75"/>
                <a:gd name="T25" fmla="*/ 46 h 85"/>
                <a:gd name="T26" fmla="*/ 75 w 75"/>
                <a:gd name="T27" fmla="*/ 43 h 85"/>
                <a:gd name="T28" fmla="*/ 65 w 75"/>
                <a:gd name="T29" fmla="*/ 11 h 85"/>
                <a:gd name="T30" fmla="*/ 38 w 75"/>
                <a:gd name="T31" fmla="*/ 0 h 85"/>
                <a:gd name="T32" fmla="*/ 15 w 75"/>
                <a:gd name="T33" fmla="*/ 35 h 85"/>
                <a:gd name="T34" fmla="*/ 22 w 75"/>
                <a:gd name="T35" fmla="*/ 18 h 85"/>
                <a:gd name="T36" fmla="*/ 38 w 75"/>
                <a:gd name="T37" fmla="*/ 12 h 85"/>
                <a:gd name="T38" fmla="*/ 55 w 75"/>
                <a:gd name="T39" fmla="*/ 20 h 85"/>
                <a:gd name="T40" fmla="*/ 60 w 75"/>
                <a:gd name="T41" fmla="*/ 35 h 85"/>
                <a:gd name="T42" fmla="*/ 15 w 75"/>
                <a:gd name="T43" fmla="*/ 35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75" h="85">
                  <a:moveTo>
                    <a:pt x="38" y="0"/>
                  </a:moveTo>
                  <a:cubicBezTo>
                    <a:pt x="27" y="0"/>
                    <a:pt x="18" y="4"/>
                    <a:pt x="10" y="12"/>
                  </a:cubicBezTo>
                  <a:cubicBezTo>
                    <a:pt x="3" y="19"/>
                    <a:pt x="0" y="30"/>
                    <a:pt x="0" y="43"/>
                  </a:cubicBezTo>
                  <a:cubicBezTo>
                    <a:pt x="0" y="57"/>
                    <a:pt x="3" y="67"/>
                    <a:pt x="10" y="74"/>
                  </a:cubicBezTo>
                  <a:cubicBezTo>
                    <a:pt x="17" y="81"/>
                    <a:pt x="27" y="85"/>
                    <a:pt x="39" y="85"/>
                  </a:cubicBezTo>
                  <a:cubicBezTo>
                    <a:pt x="48" y="85"/>
                    <a:pt x="56" y="83"/>
                    <a:pt x="62" y="78"/>
                  </a:cubicBezTo>
                  <a:cubicBezTo>
                    <a:pt x="68" y="74"/>
                    <a:pt x="72" y="67"/>
                    <a:pt x="74" y="59"/>
                  </a:cubicBezTo>
                  <a:cubicBezTo>
                    <a:pt x="60" y="57"/>
                    <a:pt x="60" y="57"/>
                    <a:pt x="60" y="57"/>
                  </a:cubicBezTo>
                  <a:cubicBezTo>
                    <a:pt x="58" y="63"/>
                    <a:pt x="55" y="67"/>
                    <a:pt x="52" y="70"/>
                  </a:cubicBezTo>
                  <a:cubicBezTo>
                    <a:pt x="48" y="73"/>
                    <a:pt x="44" y="74"/>
                    <a:pt x="39" y="74"/>
                  </a:cubicBezTo>
                  <a:cubicBezTo>
                    <a:pt x="32" y="74"/>
                    <a:pt x="26" y="71"/>
                    <a:pt x="22" y="67"/>
                  </a:cubicBezTo>
                  <a:cubicBezTo>
                    <a:pt x="17" y="62"/>
                    <a:pt x="15" y="55"/>
                    <a:pt x="14" y="46"/>
                  </a:cubicBezTo>
                  <a:cubicBezTo>
                    <a:pt x="75" y="46"/>
                    <a:pt x="75" y="46"/>
                    <a:pt x="75" y="46"/>
                  </a:cubicBezTo>
                  <a:cubicBezTo>
                    <a:pt x="75" y="45"/>
                    <a:pt x="75" y="43"/>
                    <a:pt x="75" y="43"/>
                  </a:cubicBezTo>
                  <a:cubicBezTo>
                    <a:pt x="75" y="29"/>
                    <a:pt x="71" y="19"/>
                    <a:pt x="65" y="11"/>
                  </a:cubicBezTo>
                  <a:cubicBezTo>
                    <a:pt x="58" y="4"/>
                    <a:pt x="49" y="0"/>
                    <a:pt x="38" y="0"/>
                  </a:cubicBezTo>
                  <a:close/>
                  <a:moveTo>
                    <a:pt x="15" y="35"/>
                  </a:moveTo>
                  <a:cubicBezTo>
                    <a:pt x="15" y="28"/>
                    <a:pt x="18" y="22"/>
                    <a:pt x="22" y="18"/>
                  </a:cubicBezTo>
                  <a:cubicBezTo>
                    <a:pt x="26" y="14"/>
                    <a:pt x="32" y="12"/>
                    <a:pt x="38" y="12"/>
                  </a:cubicBezTo>
                  <a:cubicBezTo>
                    <a:pt x="45" y="12"/>
                    <a:pt x="51" y="14"/>
                    <a:pt x="55" y="20"/>
                  </a:cubicBezTo>
                  <a:cubicBezTo>
                    <a:pt x="58" y="23"/>
                    <a:pt x="60" y="28"/>
                    <a:pt x="60" y="35"/>
                  </a:cubicBezTo>
                  <a:lnTo>
                    <a:pt x="15" y="3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322" name="ïşḷiḋè"/>
            <p:cNvSpPr/>
            <p:nvPr/>
          </p:nvSpPr>
          <p:spPr bwMode="auto">
            <a:xfrm>
              <a:off x="7458328" y="5729878"/>
              <a:ext cx="122238" cy="152400"/>
            </a:xfrm>
            <a:custGeom>
              <a:avLst/>
              <a:gdLst>
                <a:gd name="T0" fmla="*/ 61 w 66"/>
                <a:gd name="T1" fmla="*/ 10 h 83"/>
                <a:gd name="T2" fmla="*/ 51 w 66"/>
                <a:gd name="T3" fmla="*/ 3 h 83"/>
                <a:gd name="T4" fmla="*/ 38 w 66"/>
                <a:gd name="T5" fmla="*/ 0 h 83"/>
                <a:gd name="T6" fmla="*/ 12 w 66"/>
                <a:gd name="T7" fmla="*/ 14 h 83"/>
                <a:gd name="T8" fmla="*/ 12 w 66"/>
                <a:gd name="T9" fmla="*/ 2 h 83"/>
                <a:gd name="T10" fmla="*/ 0 w 66"/>
                <a:gd name="T11" fmla="*/ 2 h 83"/>
                <a:gd name="T12" fmla="*/ 0 w 66"/>
                <a:gd name="T13" fmla="*/ 83 h 83"/>
                <a:gd name="T14" fmla="*/ 13 w 66"/>
                <a:gd name="T15" fmla="*/ 83 h 83"/>
                <a:gd name="T16" fmla="*/ 13 w 66"/>
                <a:gd name="T17" fmla="*/ 39 h 83"/>
                <a:gd name="T18" fmla="*/ 20 w 66"/>
                <a:gd name="T19" fmla="*/ 18 h 83"/>
                <a:gd name="T20" fmla="*/ 35 w 66"/>
                <a:gd name="T21" fmla="*/ 12 h 83"/>
                <a:gd name="T22" fmla="*/ 45 w 66"/>
                <a:gd name="T23" fmla="*/ 15 h 83"/>
                <a:gd name="T24" fmla="*/ 50 w 66"/>
                <a:gd name="T25" fmla="*/ 21 h 83"/>
                <a:gd name="T26" fmla="*/ 52 w 66"/>
                <a:gd name="T27" fmla="*/ 34 h 83"/>
                <a:gd name="T28" fmla="*/ 52 w 66"/>
                <a:gd name="T29" fmla="*/ 83 h 83"/>
                <a:gd name="T30" fmla="*/ 66 w 66"/>
                <a:gd name="T31" fmla="*/ 83 h 83"/>
                <a:gd name="T32" fmla="*/ 66 w 66"/>
                <a:gd name="T33" fmla="*/ 33 h 83"/>
                <a:gd name="T34" fmla="*/ 65 w 66"/>
                <a:gd name="T35" fmla="*/ 20 h 83"/>
                <a:gd name="T36" fmla="*/ 61 w 66"/>
                <a:gd name="T37" fmla="*/ 10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6" h="83">
                  <a:moveTo>
                    <a:pt x="61" y="10"/>
                  </a:moveTo>
                  <a:cubicBezTo>
                    <a:pt x="59" y="7"/>
                    <a:pt x="56" y="5"/>
                    <a:pt x="51" y="3"/>
                  </a:cubicBezTo>
                  <a:cubicBezTo>
                    <a:pt x="47" y="1"/>
                    <a:pt x="43" y="0"/>
                    <a:pt x="38" y="0"/>
                  </a:cubicBezTo>
                  <a:cubicBezTo>
                    <a:pt x="27" y="0"/>
                    <a:pt x="18" y="5"/>
                    <a:pt x="12" y="14"/>
                  </a:cubicBezTo>
                  <a:cubicBezTo>
                    <a:pt x="12" y="2"/>
                    <a:pt x="12" y="2"/>
                    <a:pt x="12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83"/>
                    <a:pt x="0" y="83"/>
                    <a:pt x="0" y="83"/>
                  </a:cubicBezTo>
                  <a:cubicBezTo>
                    <a:pt x="13" y="83"/>
                    <a:pt x="13" y="83"/>
                    <a:pt x="13" y="83"/>
                  </a:cubicBezTo>
                  <a:cubicBezTo>
                    <a:pt x="13" y="39"/>
                    <a:pt x="13" y="39"/>
                    <a:pt x="13" y="39"/>
                  </a:cubicBezTo>
                  <a:cubicBezTo>
                    <a:pt x="13" y="29"/>
                    <a:pt x="16" y="21"/>
                    <a:pt x="20" y="18"/>
                  </a:cubicBezTo>
                  <a:cubicBezTo>
                    <a:pt x="24" y="14"/>
                    <a:pt x="29" y="12"/>
                    <a:pt x="35" y="12"/>
                  </a:cubicBezTo>
                  <a:cubicBezTo>
                    <a:pt x="39" y="12"/>
                    <a:pt x="42" y="13"/>
                    <a:pt x="45" y="15"/>
                  </a:cubicBezTo>
                  <a:cubicBezTo>
                    <a:pt x="47" y="16"/>
                    <a:pt x="49" y="19"/>
                    <a:pt x="50" y="21"/>
                  </a:cubicBezTo>
                  <a:cubicBezTo>
                    <a:pt x="51" y="24"/>
                    <a:pt x="52" y="28"/>
                    <a:pt x="52" y="34"/>
                  </a:cubicBezTo>
                  <a:cubicBezTo>
                    <a:pt x="52" y="83"/>
                    <a:pt x="52" y="83"/>
                    <a:pt x="52" y="83"/>
                  </a:cubicBezTo>
                  <a:cubicBezTo>
                    <a:pt x="66" y="83"/>
                    <a:pt x="66" y="83"/>
                    <a:pt x="66" y="83"/>
                  </a:cubicBezTo>
                  <a:cubicBezTo>
                    <a:pt x="66" y="33"/>
                    <a:pt x="66" y="33"/>
                    <a:pt x="66" y="33"/>
                  </a:cubicBezTo>
                  <a:cubicBezTo>
                    <a:pt x="66" y="27"/>
                    <a:pt x="65" y="23"/>
                    <a:pt x="65" y="20"/>
                  </a:cubicBezTo>
                  <a:cubicBezTo>
                    <a:pt x="64" y="16"/>
                    <a:pt x="63" y="13"/>
                    <a:pt x="61" y="1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323" name="îṩľiḍé"/>
            <p:cNvSpPr/>
            <p:nvPr/>
          </p:nvSpPr>
          <p:spPr bwMode="auto">
            <a:xfrm>
              <a:off x="7612316" y="5729878"/>
              <a:ext cx="128588" cy="157163"/>
            </a:xfrm>
            <a:custGeom>
              <a:avLst/>
              <a:gdLst>
                <a:gd name="T0" fmla="*/ 50 w 70"/>
                <a:gd name="T1" fmla="*/ 69 h 85"/>
                <a:gd name="T2" fmla="*/ 36 w 70"/>
                <a:gd name="T3" fmla="*/ 74 h 85"/>
                <a:gd name="T4" fmla="*/ 20 w 70"/>
                <a:gd name="T5" fmla="*/ 66 h 85"/>
                <a:gd name="T6" fmla="*/ 14 w 70"/>
                <a:gd name="T7" fmla="*/ 43 h 85"/>
                <a:gd name="T8" fmla="*/ 20 w 70"/>
                <a:gd name="T9" fmla="*/ 19 h 85"/>
                <a:gd name="T10" fmla="*/ 37 w 70"/>
                <a:gd name="T11" fmla="*/ 12 h 85"/>
                <a:gd name="T12" fmla="*/ 49 w 70"/>
                <a:gd name="T13" fmla="*/ 16 h 85"/>
                <a:gd name="T14" fmla="*/ 56 w 70"/>
                <a:gd name="T15" fmla="*/ 28 h 85"/>
                <a:gd name="T16" fmla="*/ 69 w 70"/>
                <a:gd name="T17" fmla="*/ 26 h 85"/>
                <a:gd name="T18" fmla="*/ 58 w 70"/>
                <a:gd name="T19" fmla="*/ 7 h 85"/>
                <a:gd name="T20" fmla="*/ 37 w 70"/>
                <a:gd name="T21" fmla="*/ 0 h 85"/>
                <a:gd name="T22" fmla="*/ 17 w 70"/>
                <a:gd name="T23" fmla="*/ 5 h 85"/>
                <a:gd name="T24" fmla="*/ 4 w 70"/>
                <a:gd name="T25" fmla="*/ 20 h 85"/>
                <a:gd name="T26" fmla="*/ 0 w 70"/>
                <a:gd name="T27" fmla="*/ 43 h 85"/>
                <a:gd name="T28" fmla="*/ 10 w 70"/>
                <a:gd name="T29" fmla="*/ 74 h 85"/>
                <a:gd name="T30" fmla="*/ 37 w 70"/>
                <a:gd name="T31" fmla="*/ 85 h 85"/>
                <a:gd name="T32" fmla="*/ 59 w 70"/>
                <a:gd name="T33" fmla="*/ 77 h 85"/>
                <a:gd name="T34" fmla="*/ 70 w 70"/>
                <a:gd name="T35" fmla="*/ 55 h 85"/>
                <a:gd name="T36" fmla="*/ 57 w 70"/>
                <a:gd name="T37" fmla="*/ 54 h 85"/>
                <a:gd name="T38" fmla="*/ 50 w 70"/>
                <a:gd name="T39" fmla="*/ 69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70" h="85">
                  <a:moveTo>
                    <a:pt x="50" y="69"/>
                  </a:moveTo>
                  <a:cubicBezTo>
                    <a:pt x="46" y="72"/>
                    <a:pt x="42" y="74"/>
                    <a:pt x="36" y="74"/>
                  </a:cubicBezTo>
                  <a:cubicBezTo>
                    <a:pt x="30" y="74"/>
                    <a:pt x="24" y="71"/>
                    <a:pt x="20" y="66"/>
                  </a:cubicBezTo>
                  <a:cubicBezTo>
                    <a:pt x="16" y="61"/>
                    <a:pt x="14" y="54"/>
                    <a:pt x="14" y="43"/>
                  </a:cubicBezTo>
                  <a:cubicBezTo>
                    <a:pt x="14" y="32"/>
                    <a:pt x="16" y="24"/>
                    <a:pt x="20" y="19"/>
                  </a:cubicBezTo>
                  <a:cubicBezTo>
                    <a:pt x="25" y="14"/>
                    <a:pt x="30" y="12"/>
                    <a:pt x="37" y="12"/>
                  </a:cubicBezTo>
                  <a:cubicBezTo>
                    <a:pt x="42" y="12"/>
                    <a:pt x="46" y="13"/>
                    <a:pt x="49" y="16"/>
                  </a:cubicBezTo>
                  <a:cubicBezTo>
                    <a:pt x="52" y="18"/>
                    <a:pt x="54" y="23"/>
                    <a:pt x="56" y="28"/>
                  </a:cubicBezTo>
                  <a:cubicBezTo>
                    <a:pt x="69" y="26"/>
                    <a:pt x="69" y="26"/>
                    <a:pt x="69" y="26"/>
                  </a:cubicBezTo>
                  <a:cubicBezTo>
                    <a:pt x="68" y="18"/>
                    <a:pt x="64" y="11"/>
                    <a:pt x="58" y="7"/>
                  </a:cubicBezTo>
                  <a:cubicBezTo>
                    <a:pt x="53" y="2"/>
                    <a:pt x="46" y="0"/>
                    <a:pt x="37" y="0"/>
                  </a:cubicBezTo>
                  <a:cubicBezTo>
                    <a:pt x="30" y="0"/>
                    <a:pt x="23" y="2"/>
                    <a:pt x="17" y="5"/>
                  </a:cubicBezTo>
                  <a:cubicBezTo>
                    <a:pt x="11" y="8"/>
                    <a:pt x="7" y="13"/>
                    <a:pt x="4" y="20"/>
                  </a:cubicBezTo>
                  <a:cubicBezTo>
                    <a:pt x="1" y="27"/>
                    <a:pt x="0" y="34"/>
                    <a:pt x="0" y="43"/>
                  </a:cubicBezTo>
                  <a:cubicBezTo>
                    <a:pt x="0" y="57"/>
                    <a:pt x="3" y="67"/>
                    <a:pt x="10" y="74"/>
                  </a:cubicBezTo>
                  <a:cubicBezTo>
                    <a:pt x="17" y="82"/>
                    <a:pt x="26" y="85"/>
                    <a:pt x="37" y="85"/>
                  </a:cubicBezTo>
                  <a:cubicBezTo>
                    <a:pt x="45" y="85"/>
                    <a:pt x="53" y="83"/>
                    <a:pt x="59" y="77"/>
                  </a:cubicBezTo>
                  <a:cubicBezTo>
                    <a:pt x="65" y="72"/>
                    <a:pt x="69" y="65"/>
                    <a:pt x="70" y="55"/>
                  </a:cubicBezTo>
                  <a:cubicBezTo>
                    <a:pt x="57" y="54"/>
                    <a:pt x="57" y="54"/>
                    <a:pt x="57" y="54"/>
                  </a:cubicBezTo>
                  <a:cubicBezTo>
                    <a:pt x="56" y="60"/>
                    <a:pt x="54" y="66"/>
                    <a:pt x="50" y="6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324" name="íṡḷïďe"/>
            <p:cNvSpPr/>
            <p:nvPr/>
          </p:nvSpPr>
          <p:spPr bwMode="auto">
            <a:xfrm>
              <a:off x="7755191" y="5729878"/>
              <a:ext cx="138113" cy="157163"/>
            </a:xfrm>
            <a:custGeom>
              <a:avLst/>
              <a:gdLst>
                <a:gd name="T0" fmla="*/ 38 w 75"/>
                <a:gd name="T1" fmla="*/ 0 h 85"/>
                <a:gd name="T2" fmla="*/ 10 w 75"/>
                <a:gd name="T3" fmla="*/ 12 h 85"/>
                <a:gd name="T4" fmla="*/ 0 w 75"/>
                <a:gd name="T5" fmla="*/ 43 h 85"/>
                <a:gd name="T6" fmla="*/ 10 w 75"/>
                <a:gd name="T7" fmla="*/ 74 h 85"/>
                <a:gd name="T8" fmla="*/ 38 w 75"/>
                <a:gd name="T9" fmla="*/ 85 h 85"/>
                <a:gd name="T10" fmla="*/ 62 w 75"/>
                <a:gd name="T11" fmla="*/ 78 h 85"/>
                <a:gd name="T12" fmla="*/ 74 w 75"/>
                <a:gd name="T13" fmla="*/ 59 h 85"/>
                <a:gd name="T14" fmla="*/ 60 w 75"/>
                <a:gd name="T15" fmla="*/ 57 h 85"/>
                <a:gd name="T16" fmla="*/ 51 w 75"/>
                <a:gd name="T17" fmla="*/ 70 h 85"/>
                <a:gd name="T18" fmla="*/ 38 w 75"/>
                <a:gd name="T19" fmla="*/ 74 h 85"/>
                <a:gd name="T20" fmla="*/ 21 w 75"/>
                <a:gd name="T21" fmla="*/ 67 h 85"/>
                <a:gd name="T22" fmla="*/ 14 w 75"/>
                <a:gd name="T23" fmla="*/ 46 h 85"/>
                <a:gd name="T24" fmla="*/ 75 w 75"/>
                <a:gd name="T25" fmla="*/ 46 h 85"/>
                <a:gd name="T26" fmla="*/ 75 w 75"/>
                <a:gd name="T27" fmla="*/ 43 h 85"/>
                <a:gd name="T28" fmla="*/ 64 w 75"/>
                <a:gd name="T29" fmla="*/ 11 h 85"/>
                <a:gd name="T30" fmla="*/ 38 w 75"/>
                <a:gd name="T31" fmla="*/ 0 h 85"/>
                <a:gd name="T32" fmla="*/ 15 w 75"/>
                <a:gd name="T33" fmla="*/ 35 h 85"/>
                <a:gd name="T34" fmla="*/ 22 w 75"/>
                <a:gd name="T35" fmla="*/ 18 h 85"/>
                <a:gd name="T36" fmla="*/ 38 w 75"/>
                <a:gd name="T37" fmla="*/ 12 h 85"/>
                <a:gd name="T38" fmla="*/ 55 w 75"/>
                <a:gd name="T39" fmla="*/ 20 h 85"/>
                <a:gd name="T40" fmla="*/ 60 w 75"/>
                <a:gd name="T41" fmla="*/ 35 h 85"/>
                <a:gd name="T42" fmla="*/ 15 w 75"/>
                <a:gd name="T43" fmla="*/ 35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75" h="85">
                  <a:moveTo>
                    <a:pt x="38" y="0"/>
                  </a:moveTo>
                  <a:cubicBezTo>
                    <a:pt x="26" y="0"/>
                    <a:pt x="17" y="4"/>
                    <a:pt x="10" y="12"/>
                  </a:cubicBezTo>
                  <a:cubicBezTo>
                    <a:pt x="3" y="19"/>
                    <a:pt x="0" y="30"/>
                    <a:pt x="0" y="43"/>
                  </a:cubicBezTo>
                  <a:cubicBezTo>
                    <a:pt x="0" y="57"/>
                    <a:pt x="3" y="67"/>
                    <a:pt x="10" y="74"/>
                  </a:cubicBezTo>
                  <a:cubicBezTo>
                    <a:pt x="17" y="81"/>
                    <a:pt x="26" y="85"/>
                    <a:pt x="38" y="85"/>
                  </a:cubicBezTo>
                  <a:cubicBezTo>
                    <a:pt x="48" y="85"/>
                    <a:pt x="56" y="83"/>
                    <a:pt x="62" y="78"/>
                  </a:cubicBezTo>
                  <a:cubicBezTo>
                    <a:pt x="68" y="74"/>
                    <a:pt x="72" y="67"/>
                    <a:pt x="74" y="59"/>
                  </a:cubicBezTo>
                  <a:cubicBezTo>
                    <a:pt x="60" y="57"/>
                    <a:pt x="60" y="57"/>
                    <a:pt x="60" y="57"/>
                  </a:cubicBezTo>
                  <a:cubicBezTo>
                    <a:pt x="58" y="63"/>
                    <a:pt x="55" y="67"/>
                    <a:pt x="51" y="70"/>
                  </a:cubicBezTo>
                  <a:cubicBezTo>
                    <a:pt x="48" y="73"/>
                    <a:pt x="43" y="74"/>
                    <a:pt x="38" y="74"/>
                  </a:cubicBezTo>
                  <a:cubicBezTo>
                    <a:pt x="32" y="74"/>
                    <a:pt x="26" y="71"/>
                    <a:pt x="21" y="67"/>
                  </a:cubicBezTo>
                  <a:cubicBezTo>
                    <a:pt x="17" y="62"/>
                    <a:pt x="14" y="55"/>
                    <a:pt x="14" y="46"/>
                  </a:cubicBezTo>
                  <a:cubicBezTo>
                    <a:pt x="75" y="46"/>
                    <a:pt x="75" y="46"/>
                    <a:pt x="75" y="46"/>
                  </a:cubicBezTo>
                  <a:cubicBezTo>
                    <a:pt x="75" y="45"/>
                    <a:pt x="75" y="43"/>
                    <a:pt x="75" y="43"/>
                  </a:cubicBezTo>
                  <a:cubicBezTo>
                    <a:pt x="75" y="29"/>
                    <a:pt x="71" y="19"/>
                    <a:pt x="64" y="11"/>
                  </a:cubicBezTo>
                  <a:cubicBezTo>
                    <a:pt x="57" y="4"/>
                    <a:pt x="48" y="0"/>
                    <a:pt x="38" y="0"/>
                  </a:cubicBezTo>
                  <a:close/>
                  <a:moveTo>
                    <a:pt x="15" y="35"/>
                  </a:moveTo>
                  <a:cubicBezTo>
                    <a:pt x="15" y="28"/>
                    <a:pt x="17" y="22"/>
                    <a:pt x="22" y="18"/>
                  </a:cubicBezTo>
                  <a:cubicBezTo>
                    <a:pt x="26" y="14"/>
                    <a:pt x="31" y="12"/>
                    <a:pt x="38" y="12"/>
                  </a:cubicBezTo>
                  <a:cubicBezTo>
                    <a:pt x="45" y="12"/>
                    <a:pt x="50" y="14"/>
                    <a:pt x="55" y="20"/>
                  </a:cubicBezTo>
                  <a:cubicBezTo>
                    <a:pt x="58" y="23"/>
                    <a:pt x="59" y="28"/>
                    <a:pt x="60" y="35"/>
                  </a:cubicBezTo>
                  <a:lnTo>
                    <a:pt x="15" y="3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325" name="í$ľîde"/>
            <p:cNvSpPr/>
            <p:nvPr/>
          </p:nvSpPr>
          <p:spPr bwMode="auto">
            <a:xfrm>
              <a:off x="7994903" y="5729878"/>
              <a:ext cx="138113" cy="157163"/>
            </a:xfrm>
            <a:custGeom>
              <a:avLst/>
              <a:gdLst>
                <a:gd name="T0" fmla="*/ 71 w 75"/>
                <a:gd name="T1" fmla="*/ 49 h 85"/>
                <a:gd name="T2" fmla="*/ 71 w 75"/>
                <a:gd name="T3" fmla="*/ 31 h 85"/>
                <a:gd name="T4" fmla="*/ 70 w 75"/>
                <a:gd name="T5" fmla="*/ 18 h 85"/>
                <a:gd name="T6" fmla="*/ 66 w 75"/>
                <a:gd name="T7" fmla="*/ 9 h 85"/>
                <a:gd name="T8" fmla="*/ 56 w 75"/>
                <a:gd name="T9" fmla="*/ 3 h 85"/>
                <a:gd name="T10" fmla="*/ 39 w 75"/>
                <a:gd name="T11" fmla="*/ 0 h 85"/>
                <a:gd name="T12" fmla="*/ 21 w 75"/>
                <a:gd name="T13" fmla="*/ 3 h 85"/>
                <a:gd name="T14" fmla="*/ 9 w 75"/>
                <a:gd name="T15" fmla="*/ 11 h 85"/>
                <a:gd name="T16" fmla="*/ 3 w 75"/>
                <a:gd name="T17" fmla="*/ 25 h 85"/>
                <a:gd name="T18" fmla="*/ 16 w 75"/>
                <a:gd name="T19" fmla="*/ 27 h 85"/>
                <a:gd name="T20" fmla="*/ 23 w 75"/>
                <a:gd name="T21" fmla="*/ 15 h 85"/>
                <a:gd name="T22" fmla="*/ 37 w 75"/>
                <a:gd name="T23" fmla="*/ 12 h 85"/>
                <a:gd name="T24" fmla="*/ 53 w 75"/>
                <a:gd name="T25" fmla="*/ 16 h 85"/>
                <a:gd name="T26" fmla="*/ 57 w 75"/>
                <a:gd name="T27" fmla="*/ 28 h 85"/>
                <a:gd name="T28" fmla="*/ 57 w 75"/>
                <a:gd name="T29" fmla="*/ 32 h 85"/>
                <a:gd name="T30" fmla="*/ 32 w 75"/>
                <a:gd name="T31" fmla="*/ 36 h 85"/>
                <a:gd name="T32" fmla="*/ 20 w 75"/>
                <a:gd name="T33" fmla="*/ 39 h 85"/>
                <a:gd name="T34" fmla="*/ 10 w 75"/>
                <a:gd name="T35" fmla="*/ 43 h 85"/>
                <a:gd name="T36" fmla="*/ 3 w 75"/>
                <a:gd name="T37" fmla="*/ 51 h 85"/>
                <a:gd name="T38" fmla="*/ 0 w 75"/>
                <a:gd name="T39" fmla="*/ 62 h 85"/>
                <a:gd name="T40" fmla="*/ 7 w 75"/>
                <a:gd name="T41" fmla="*/ 79 h 85"/>
                <a:gd name="T42" fmla="*/ 28 w 75"/>
                <a:gd name="T43" fmla="*/ 85 h 85"/>
                <a:gd name="T44" fmla="*/ 43 w 75"/>
                <a:gd name="T45" fmla="*/ 82 h 85"/>
                <a:gd name="T46" fmla="*/ 58 w 75"/>
                <a:gd name="T47" fmla="*/ 73 h 85"/>
                <a:gd name="T48" fmla="*/ 61 w 75"/>
                <a:gd name="T49" fmla="*/ 83 h 85"/>
                <a:gd name="T50" fmla="*/ 75 w 75"/>
                <a:gd name="T51" fmla="*/ 83 h 85"/>
                <a:gd name="T52" fmla="*/ 72 w 75"/>
                <a:gd name="T53" fmla="*/ 74 h 85"/>
                <a:gd name="T54" fmla="*/ 71 w 75"/>
                <a:gd name="T55" fmla="*/ 49 h 85"/>
                <a:gd name="T56" fmla="*/ 57 w 75"/>
                <a:gd name="T57" fmla="*/ 48 h 85"/>
                <a:gd name="T58" fmla="*/ 55 w 75"/>
                <a:gd name="T59" fmla="*/ 61 h 85"/>
                <a:gd name="T60" fmla="*/ 46 w 75"/>
                <a:gd name="T61" fmla="*/ 71 h 85"/>
                <a:gd name="T62" fmla="*/ 31 w 75"/>
                <a:gd name="T63" fmla="*/ 74 h 85"/>
                <a:gd name="T64" fmla="*/ 19 w 75"/>
                <a:gd name="T65" fmla="*/ 71 h 85"/>
                <a:gd name="T66" fmla="*/ 15 w 75"/>
                <a:gd name="T67" fmla="*/ 62 h 85"/>
                <a:gd name="T68" fmla="*/ 17 w 75"/>
                <a:gd name="T69" fmla="*/ 55 h 85"/>
                <a:gd name="T70" fmla="*/ 22 w 75"/>
                <a:gd name="T71" fmla="*/ 50 h 85"/>
                <a:gd name="T72" fmla="*/ 34 w 75"/>
                <a:gd name="T73" fmla="*/ 48 h 85"/>
                <a:gd name="T74" fmla="*/ 57 w 75"/>
                <a:gd name="T75" fmla="*/ 43 h 85"/>
                <a:gd name="T76" fmla="*/ 57 w 75"/>
                <a:gd name="T77" fmla="*/ 48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75" h="85">
                  <a:moveTo>
                    <a:pt x="71" y="49"/>
                  </a:moveTo>
                  <a:cubicBezTo>
                    <a:pt x="71" y="31"/>
                    <a:pt x="71" y="31"/>
                    <a:pt x="71" y="31"/>
                  </a:cubicBezTo>
                  <a:cubicBezTo>
                    <a:pt x="71" y="25"/>
                    <a:pt x="71" y="21"/>
                    <a:pt x="70" y="18"/>
                  </a:cubicBezTo>
                  <a:cubicBezTo>
                    <a:pt x="69" y="14"/>
                    <a:pt x="68" y="11"/>
                    <a:pt x="66" y="9"/>
                  </a:cubicBezTo>
                  <a:cubicBezTo>
                    <a:pt x="64" y="6"/>
                    <a:pt x="61" y="4"/>
                    <a:pt x="56" y="3"/>
                  </a:cubicBezTo>
                  <a:cubicBezTo>
                    <a:pt x="52" y="1"/>
                    <a:pt x="46" y="0"/>
                    <a:pt x="39" y="0"/>
                  </a:cubicBezTo>
                  <a:cubicBezTo>
                    <a:pt x="32" y="0"/>
                    <a:pt x="26" y="1"/>
                    <a:pt x="21" y="3"/>
                  </a:cubicBezTo>
                  <a:cubicBezTo>
                    <a:pt x="16" y="5"/>
                    <a:pt x="12" y="8"/>
                    <a:pt x="9" y="11"/>
                  </a:cubicBezTo>
                  <a:cubicBezTo>
                    <a:pt x="6" y="15"/>
                    <a:pt x="4" y="19"/>
                    <a:pt x="3" y="25"/>
                  </a:cubicBezTo>
                  <a:cubicBezTo>
                    <a:pt x="16" y="27"/>
                    <a:pt x="16" y="27"/>
                    <a:pt x="16" y="27"/>
                  </a:cubicBezTo>
                  <a:cubicBezTo>
                    <a:pt x="18" y="21"/>
                    <a:pt x="20" y="17"/>
                    <a:pt x="23" y="15"/>
                  </a:cubicBezTo>
                  <a:cubicBezTo>
                    <a:pt x="26" y="13"/>
                    <a:pt x="31" y="12"/>
                    <a:pt x="37" y="12"/>
                  </a:cubicBezTo>
                  <a:cubicBezTo>
                    <a:pt x="44" y="12"/>
                    <a:pt x="50" y="13"/>
                    <a:pt x="53" y="16"/>
                  </a:cubicBezTo>
                  <a:cubicBezTo>
                    <a:pt x="56" y="19"/>
                    <a:pt x="57" y="23"/>
                    <a:pt x="57" y="28"/>
                  </a:cubicBezTo>
                  <a:cubicBezTo>
                    <a:pt x="57" y="29"/>
                    <a:pt x="57" y="30"/>
                    <a:pt x="57" y="32"/>
                  </a:cubicBezTo>
                  <a:cubicBezTo>
                    <a:pt x="52" y="34"/>
                    <a:pt x="43" y="35"/>
                    <a:pt x="32" y="36"/>
                  </a:cubicBezTo>
                  <a:cubicBezTo>
                    <a:pt x="27" y="37"/>
                    <a:pt x="23" y="38"/>
                    <a:pt x="20" y="39"/>
                  </a:cubicBezTo>
                  <a:cubicBezTo>
                    <a:pt x="16" y="40"/>
                    <a:pt x="13" y="41"/>
                    <a:pt x="10" y="43"/>
                  </a:cubicBezTo>
                  <a:cubicBezTo>
                    <a:pt x="7" y="45"/>
                    <a:pt x="5" y="48"/>
                    <a:pt x="3" y="51"/>
                  </a:cubicBezTo>
                  <a:cubicBezTo>
                    <a:pt x="1" y="54"/>
                    <a:pt x="0" y="58"/>
                    <a:pt x="0" y="62"/>
                  </a:cubicBezTo>
                  <a:cubicBezTo>
                    <a:pt x="0" y="69"/>
                    <a:pt x="3" y="74"/>
                    <a:pt x="7" y="79"/>
                  </a:cubicBezTo>
                  <a:cubicBezTo>
                    <a:pt x="12" y="83"/>
                    <a:pt x="19" y="85"/>
                    <a:pt x="28" y="85"/>
                  </a:cubicBezTo>
                  <a:cubicBezTo>
                    <a:pt x="33" y="85"/>
                    <a:pt x="39" y="84"/>
                    <a:pt x="43" y="82"/>
                  </a:cubicBezTo>
                  <a:cubicBezTo>
                    <a:pt x="48" y="81"/>
                    <a:pt x="53" y="78"/>
                    <a:pt x="58" y="73"/>
                  </a:cubicBezTo>
                  <a:cubicBezTo>
                    <a:pt x="58" y="77"/>
                    <a:pt x="59" y="80"/>
                    <a:pt x="61" y="83"/>
                  </a:cubicBezTo>
                  <a:cubicBezTo>
                    <a:pt x="75" y="83"/>
                    <a:pt x="75" y="83"/>
                    <a:pt x="75" y="83"/>
                  </a:cubicBezTo>
                  <a:cubicBezTo>
                    <a:pt x="73" y="80"/>
                    <a:pt x="72" y="77"/>
                    <a:pt x="72" y="74"/>
                  </a:cubicBezTo>
                  <a:cubicBezTo>
                    <a:pt x="71" y="70"/>
                    <a:pt x="71" y="62"/>
                    <a:pt x="71" y="49"/>
                  </a:cubicBezTo>
                  <a:close/>
                  <a:moveTo>
                    <a:pt x="57" y="48"/>
                  </a:moveTo>
                  <a:cubicBezTo>
                    <a:pt x="57" y="54"/>
                    <a:pt x="56" y="58"/>
                    <a:pt x="55" y="61"/>
                  </a:cubicBezTo>
                  <a:cubicBezTo>
                    <a:pt x="53" y="65"/>
                    <a:pt x="50" y="69"/>
                    <a:pt x="46" y="71"/>
                  </a:cubicBezTo>
                  <a:cubicBezTo>
                    <a:pt x="41" y="73"/>
                    <a:pt x="37" y="74"/>
                    <a:pt x="31" y="74"/>
                  </a:cubicBezTo>
                  <a:cubicBezTo>
                    <a:pt x="26" y="74"/>
                    <a:pt x="22" y="73"/>
                    <a:pt x="19" y="71"/>
                  </a:cubicBezTo>
                  <a:cubicBezTo>
                    <a:pt x="16" y="68"/>
                    <a:pt x="15" y="65"/>
                    <a:pt x="15" y="62"/>
                  </a:cubicBezTo>
                  <a:cubicBezTo>
                    <a:pt x="15" y="59"/>
                    <a:pt x="16" y="57"/>
                    <a:pt x="17" y="55"/>
                  </a:cubicBezTo>
                  <a:cubicBezTo>
                    <a:pt x="18" y="53"/>
                    <a:pt x="20" y="52"/>
                    <a:pt x="22" y="50"/>
                  </a:cubicBezTo>
                  <a:cubicBezTo>
                    <a:pt x="25" y="49"/>
                    <a:pt x="29" y="49"/>
                    <a:pt x="34" y="48"/>
                  </a:cubicBezTo>
                  <a:cubicBezTo>
                    <a:pt x="44" y="46"/>
                    <a:pt x="52" y="45"/>
                    <a:pt x="57" y="43"/>
                  </a:cubicBezTo>
                  <a:lnTo>
                    <a:pt x="57" y="4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326" name="ï$ḻíḋê"/>
            <p:cNvSpPr/>
            <p:nvPr/>
          </p:nvSpPr>
          <p:spPr bwMode="auto">
            <a:xfrm>
              <a:off x="8164766" y="5729878"/>
              <a:ext cx="122238" cy="152400"/>
            </a:xfrm>
            <a:custGeom>
              <a:avLst/>
              <a:gdLst>
                <a:gd name="T0" fmla="*/ 61 w 66"/>
                <a:gd name="T1" fmla="*/ 10 h 83"/>
                <a:gd name="T2" fmla="*/ 52 w 66"/>
                <a:gd name="T3" fmla="*/ 3 h 83"/>
                <a:gd name="T4" fmla="*/ 38 w 66"/>
                <a:gd name="T5" fmla="*/ 0 h 83"/>
                <a:gd name="T6" fmla="*/ 13 w 66"/>
                <a:gd name="T7" fmla="*/ 14 h 83"/>
                <a:gd name="T8" fmla="*/ 13 w 66"/>
                <a:gd name="T9" fmla="*/ 2 h 83"/>
                <a:gd name="T10" fmla="*/ 0 w 66"/>
                <a:gd name="T11" fmla="*/ 2 h 83"/>
                <a:gd name="T12" fmla="*/ 0 w 66"/>
                <a:gd name="T13" fmla="*/ 83 h 83"/>
                <a:gd name="T14" fmla="*/ 14 w 66"/>
                <a:gd name="T15" fmla="*/ 83 h 83"/>
                <a:gd name="T16" fmla="*/ 14 w 66"/>
                <a:gd name="T17" fmla="*/ 39 h 83"/>
                <a:gd name="T18" fmla="*/ 20 w 66"/>
                <a:gd name="T19" fmla="*/ 18 h 83"/>
                <a:gd name="T20" fmla="*/ 36 w 66"/>
                <a:gd name="T21" fmla="*/ 12 h 83"/>
                <a:gd name="T22" fmla="*/ 45 w 66"/>
                <a:gd name="T23" fmla="*/ 15 h 83"/>
                <a:gd name="T24" fmla="*/ 51 w 66"/>
                <a:gd name="T25" fmla="*/ 21 h 83"/>
                <a:gd name="T26" fmla="*/ 52 w 66"/>
                <a:gd name="T27" fmla="*/ 34 h 83"/>
                <a:gd name="T28" fmla="*/ 52 w 66"/>
                <a:gd name="T29" fmla="*/ 83 h 83"/>
                <a:gd name="T30" fmla="*/ 66 w 66"/>
                <a:gd name="T31" fmla="*/ 83 h 83"/>
                <a:gd name="T32" fmla="*/ 66 w 66"/>
                <a:gd name="T33" fmla="*/ 33 h 83"/>
                <a:gd name="T34" fmla="*/ 65 w 66"/>
                <a:gd name="T35" fmla="*/ 20 h 83"/>
                <a:gd name="T36" fmla="*/ 61 w 66"/>
                <a:gd name="T37" fmla="*/ 10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6" h="83">
                  <a:moveTo>
                    <a:pt x="61" y="10"/>
                  </a:moveTo>
                  <a:cubicBezTo>
                    <a:pt x="59" y="7"/>
                    <a:pt x="56" y="5"/>
                    <a:pt x="52" y="3"/>
                  </a:cubicBezTo>
                  <a:cubicBezTo>
                    <a:pt x="48" y="1"/>
                    <a:pt x="43" y="0"/>
                    <a:pt x="38" y="0"/>
                  </a:cubicBezTo>
                  <a:cubicBezTo>
                    <a:pt x="27" y="0"/>
                    <a:pt x="19" y="5"/>
                    <a:pt x="13" y="14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83"/>
                    <a:pt x="0" y="83"/>
                    <a:pt x="0" y="83"/>
                  </a:cubicBezTo>
                  <a:cubicBezTo>
                    <a:pt x="14" y="83"/>
                    <a:pt x="14" y="83"/>
                    <a:pt x="14" y="83"/>
                  </a:cubicBezTo>
                  <a:cubicBezTo>
                    <a:pt x="14" y="39"/>
                    <a:pt x="14" y="39"/>
                    <a:pt x="14" y="39"/>
                  </a:cubicBezTo>
                  <a:cubicBezTo>
                    <a:pt x="14" y="29"/>
                    <a:pt x="16" y="21"/>
                    <a:pt x="20" y="18"/>
                  </a:cubicBezTo>
                  <a:cubicBezTo>
                    <a:pt x="25" y="14"/>
                    <a:pt x="30" y="12"/>
                    <a:pt x="36" y="12"/>
                  </a:cubicBezTo>
                  <a:cubicBezTo>
                    <a:pt x="39" y="12"/>
                    <a:pt x="42" y="13"/>
                    <a:pt x="45" y="15"/>
                  </a:cubicBezTo>
                  <a:cubicBezTo>
                    <a:pt x="48" y="16"/>
                    <a:pt x="50" y="19"/>
                    <a:pt x="51" y="21"/>
                  </a:cubicBezTo>
                  <a:cubicBezTo>
                    <a:pt x="52" y="24"/>
                    <a:pt x="52" y="28"/>
                    <a:pt x="52" y="34"/>
                  </a:cubicBezTo>
                  <a:cubicBezTo>
                    <a:pt x="52" y="83"/>
                    <a:pt x="52" y="83"/>
                    <a:pt x="52" y="83"/>
                  </a:cubicBezTo>
                  <a:cubicBezTo>
                    <a:pt x="66" y="83"/>
                    <a:pt x="66" y="83"/>
                    <a:pt x="66" y="83"/>
                  </a:cubicBezTo>
                  <a:cubicBezTo>
                    <a:pt x="66" y="33"/>
                    <a:pt x="66" y="33"/>
                    <a:pt x="66" y="33"/>
                  </a:cubicBezTo>
                  <a:cubicBezTo>
                    <a:pt x="66" y="27"/>
                    <a:pt x="66" y="23"/>
                    <a:pt x="65" y="20"/>
                  </a:cubicBezTo>
                  <a:cubicBezTo>
                    <a:pt x="65" y="16"/>
                    <a:pt x="63" y="13"/>
                    <a:pt x="61" y="1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327" name="îśḻïďè"/>
            <p:cNvSpPr/>
            <p:nvPr/>
          </p:nvSpPr>
          <p:spPr bwMode="auto">
            <a:xfrm>
              <a:off x="8315578" y="5675903"/>
              <a:ext cx="131763" cy="211138"/>
            </a:xfrm>
            <a:custGeom>
              <a:avLst/>
              <a:gdLst>
                <a:gd name="T0" fmla="*/ 57 w 71"/>
                <a:gd name="T1" fmla="*/ 40 h 114"/>
                <a:gd name="T2" fmla="*/ 48 w 71"/>
                <a:gd name="T3" fmla="*/ 32 h 114"/>
                <a:gd name="T4" fmla="*/ 35 w 71"/>
                <a:gd name="T5" fmla="*/ 29 h 114"/>
                <a:gd name="T6" fmla="*/ 17 w 71"/>
                <a:gd name="T7" fmla="*/ 35 h 114"/>
                <a:gd name="T8" fmla="*/ 4 w 71"/>
                <a:gd name="T9" fmla="*/ 50 h 114"/>
                <a:gd name="T10" fmla="*/ 0 w 71"/>
                <a:gd name="T11" fmla="*/ 72 h 114"/>
                <a:gd name="T12" fmla="*/ 5 w 71"/>
                <a:gd name="T13" fmla="*/ 94 h 114"/>
                <a:gd name="T14" fmla="*/ 17 w 71"/>
                <a:gd name="T15" fmla="*/ 109 h 114"/>
                <a:gd name="T16" fmla="*/ 35 w 71"/>
                <a:gd name="T17" fmla="*/ 114 h 114"/>
                <a:gd name="T18" fmla="*/ 58 w 71"/>
                <a:gd name="T19" fmla="*/ 102 h 114"/>
                <a:gd name="T20" fmla="*/ 58 w 71"/>
                <a:gd name="T21" fmla="*/ 112 h 114"/>
                <a:gd name="T22" fmla="*/ 71 w 71"/>
                <a:gd name="T23" fmla="*/ 112 h 114"/>
                <a:gd name="T24" fmla="*/ 71 w 71"/>
                <a:gd name="T25" fmla="*/ 0 h 114"/>
                <a:gd name="T26" fmla="*/ 57 w 71"/>
                <a:gd name="T27" fmla="*/ 0 h 114"/>
                <a:gd name="T28" fmla="*/ 57 w 71"/>
                <a:gd name="T29" fmla="*/ 40 h 114"/>
                <a:gd name="T30" fmla="*/ 52 w 71"/>
                <a:gd name="T31" fmla="*/ 95 h 114"/>
                <a:gd name="T32" fmla="*/ 37 w 71"/>
                <a:gd name="T33" fmla="*/ 103 h 114"/>
                <a:gd name="T34" fmla="*/ 21 w 71"/>
                <a:gd name="T35" fmla="*/ 95 h 114"/>
                <a:gd name="T36" fmla="*/ 15 w 71"/>
                <a:gd name="T37" fmla="*/ 72 h 114"/>
                <a:gd name="T38" fmla="*/ 21 w 71"/>
                <a:gd name="T39" fmla="*/ 48 h 114"/>
                <a:gd name="T40" fmla="*/ 36 w 71"/>
                <a:gd name="T41" fmla="*/ 41 h 114"/>
                <a:gd name="T42" fmla="*/ 52 w 71"/>
                <a:gd name="T43" fmla="*/ 48 h 114"/>
                <a:gd name="T44" fmla="*/ 58 w 71"/>
                <a:gd name="T45" fmla="*/ 73 h 114"/>
                <a:gd name="T46" fmla="*/ 52 w 71"/>
                <a:gd name="T47" fmla="*/ 95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71" h="114">
                  <a:moveTo>
                    <a:pt x="57" y="40"/>
                  </a:moveTo>
                  <a:cubicBezTo>
                    <a:pt x="55" y="37"/>
                    <a:pt x="52" y="34"/>
                    <a:pt x="48" y="32"/>
                  </a:cubicBezTo>
                  <a:cubicBezTo>
                    <a:pt x="44" y="30"/>
                    <a:pt x="40" y="29"/>
                    <a:pt x="35" y="29"/>
                  </a:cubicBezTo>
                  <a:cubicBezTo>
                    <a:pt x="28" y="29"/>
                    <a:pt x="22" y="31"/>
                    <a:pt x="17" y="35"/>
                  </a:cubicBezTo>
                  <a:cubicBezTo>
                    <a:pt x="11" y="38"/>
                    <a:pt x="7" y="43"/>
                    <a:pt x="4" y="50"/>
                  </a:cubicBezTo>
                  <a:cubicBezTo>
                    <a:pt x="2" y="56"/>
                    <a:pt x="0" y="64"/>
                    <a:pt x="0" y="72"/>
                  </a:cubicBezTo>
                  <a:cubicBezTo>
                    <a:pt x="0" y="80"/>
                    <a:pt x="2" y="87"/>
                    <a:pt x="5" y="94"/>
                  </a:cubicBezTo>
                  <a:cubicBezTo>
                    <a:pt x="8" y="100"/>
                    <a:pt x="12" y="105"/>
                    <a:pt x="17" y="109"/>
                  </a:cubicBezTo>
                  <a:cubicBezTo>
                    <a:pt x="23" y="112"/>
                    <a:pt x="29" y="114"/>
                    <a:pt x="35" y="114"/>
                  </a:cubicBezTo>
                  <a:cubicBezTo>
                    <a:pt x="45" y="114"/>
                    <a:pt x="53" y="110"/>
                    <a:pt x="58" y="102"/>
                  </a:cubicBezTo>
                  <a:cubicBezTo>
                    <a:pt x="58" y="112"/>
                    <a:pt x="58" y="112"/>
                    <a:pt x="58" y="112"/>
                  </a:cubicBezTo>
                  <a:cubicBezTo>
                    <a:pt x="71" y="112"/>
                    <a:pt x="71" y="112"/>
                    <a:pt x="71" y="112"/>
                  </a:cubicBezTo>
                  <a:cubicBezTo>
                    <a:pt x="71" y="0"/>
                    <a:pt x="71" y="0"/>
                    <a:pt x="71" y="0"/>
                  </a:cubicBezTo>
                  <a:cubicBezTo>
                    <a:pt x="57" y="0"/>
                    <a:pt x="57" y="0"/>
                    <a:pt x="57" y="0"/>
                  </a:cubicBezTo>
                  <a:lnTo>
                    <a:pt x="57" y="40"/>
                  </a:lnTo>
                  <a:close/>
                  <a:moveTo>
                    <a:pt x="52" y="95"/>
                  </a:moveTo>
                  <a:cubicBezTo>
                    <a:pt x="48" y="100"/>
                    <a:pt x="43" y="103"/>
                    <a:pt x="37" y="103"/>
                  </a:cubicBezTo>
                  <a:cubicBezTo>
                    <a:pt x="31" y="103"/>
                    <a:pt x="25" y="100"/>
                    <a:pt x="21" y="95"/>
                  </a:cubicBezTo>
                  <a:cubicBezTo>
                    <a:pt x="17" y="90"/>
                    <a:pt x="15" y="82"/>
                    <a:pt x="15" y="72"/>
                  </a:cubicBezTo>
                  <a:cubicBezTo>
                    <a:pt x="15" y="61"/>
                    <a:pt x="17" y="53"/>
                    <a:pt x="21" y="48"/>
                  </a:cubicBezTo>
                  <a:cubicBezTo>
                    <a:pt x="25" y="43"/>
                    <a:pt x="30" y="41"/>
                    <a:pt x="36" y="41"/>
                  </a:cubicBezTo>
                  <a:cubicBezTo>
                    <a:pt x="42" y="41"/>
                    <a:pt x="48" y="43"/>
                    <a:pt x="52" y="48"/>
                  </a:cubicBezTo>
                  <a:cubicBezTo>
                    <a:pt x="56" y="54"/>
                    <a:pt x="58" y="62"/>
                    <a:pt x="58" y="73"/>
                  </a:cubicBezTo>
                  <a:cubicBezTo>
                    <a:pt x="58" y="83"/>
                    <a:pt x="56" y="91"/>
                    <a:pt x="52" y="9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328" name="iṡľîdé"/>
            <p:cNvSpPr/>
            <p:nvPr/>
          </p:nvSpPr>
          <p:spPr bwMode="auto">
            <a:xfrm>
              <a:off x="8550528" y="5675903"/>
              <a:ext cx="163513" cy="206375"/>
            </a:xfrm>
            <a:custGeom>
              <a:avLst/>
              <a:gdLst>
                <a:gd name="T0" fmla="*/ 103 w 103"/>
                <a:gd name="T1" fmla="*/ 0 h 130"/>
                <a:gd name="T2" fmla="*/ 0 w 103"/>
                <a:gd name="T3" fmla="*/ 0 h 130"/>
                <a:gd name="T4" fmla="*/ 0 w 103"/>
                <a:gd name="T5" fmla="*/ 15 h 130"/>
                <a:gd name="T6" fmla="*/ 43 w 103"/>
                <a:gd name="T7" fmla="*/ 15 h 130"/>
                <a:gd name="T8" fmla="*/ 43 w 103"/>
                <a:gd name="T9" fmla="*/ 130 h 130"/>
                <a:gd name="T10" fmla="*/ 59 w 103"/>
                <a:gd name="T11" fmla="*/ 130 h 130"/>
                <a:gd name="T12" fmla="*/ 59 w 103"/>
                <a:gd name="T13" fmla="*/ 15 h 130"/>
                <a:gd name="T14" fmla="*/ 103 w 103"/>
                <a:gd name="T15" fmla="*/ 15 h 130"/>
                <a:gd name="T16" fmla="*/ 103 w 103"/>
                <a:gd name="T17" fmla="*/ 0 h 1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3" h="130">
                  <a:moveTo>
                    <a:pt x="103" y="0"/>
                  </a:moveTo>
                  <a:lnTo>
                    <a:pt x="0" y="0"/>
                  </a:lnTo>
                  <a:lnTo>
                    <a:pt x="0" y="15"/>
                  </a:lnTo>
                  <a:lnTo>
                    <a:pt x="43" y="15"/>
                  </a:lnTo>
                  <a:lnTo>
                    <a:pt x="43" y="130"/>
                  </a:lnTo>
                  <a:lnTo>
                    <a:pt x="59" y="130"/>
                  </a:lnTo>
                  <a:lnTo>
                    <a:pt x="59" y="15"/>
                  </a:lnTo>
                  <a:lnTo>
                    <a:pt x="103" y="15"/>
                  </a:lnTo>
                  <a:lnTo>
                    <a:pt x="103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329" name="íṥḻíḋé"/>
            <p:cNvSpPr/>
            <p:nvPr/>
          </p:nvSpPr>
          <p:spPr bwMode="auto">
            <a:xfrm>
              <a:off x="8698166" y="5729878"/>
              <a:ext cx="138113" cy="157163"/>
            </a:xfrm>
            <a:custGeom>
              <a:avLst/>
              <a:gdLst>
                <a:gd name="T0" fmla="*/ 38 w 75"/>
                <a:gd name="T1" fmla="*/ 0 h 85"/>
                <a:gd name="T2" fmla="*/ 11 w 75"/>
                <a:gd name="T3" fmla="*/ 12 h 85"/>
                <a:gd name="T4" fmla="*/ 0 w 75"/>
                <a:gd name="T5" fmla="*/ 43 h 85"/>
                <a:gd name="T6" fmla="*/ 10 w 75"/>
                <a:gd name="T7" fmla="*/ 74 h 85"/>
                <a:gd name="T8" fmla="*/ 39 w 75"/>
                <a:gd name="T9" fmla="*/ 85 h 85"/>
                <a:gd name="T10" fmla="*/ 62 w 75"/>
                <a:gd name="T11" fmla="*/ 78 h 85"/>
                <a:gd name="T12" fmla="*/ 74 w 75"/>
                <a:gd name="T13" fmla="*/ 59 h 85"/>
                <a:gd name="T14" fmla="*/ 60 w 75"/>
                <a:gd name="T15" fmla="*/ 57 h 85"/>
                <a:gd name="T16" fmla="*/ 52 w 75"/>
                <a:gd name="T17" fmla="*/ 70 h 85"/>
                <a:gd name="T18" fmla="*/ 39 w 75"/>
                <a:gd name="T19" fmla="*/ 74 h 85"/>
                <a:gd name="T20" fmla="*/ 22 w 75"/>
                <a:gd name="T21" fmla="*/ 67 h 85"/>
                <a:gd name="T22" fmla="*/ 14 w 75"/>
                <a:gd name="T23" fmla="*/ 46 h 85"/>
                <a:gd name="T24" fmla="*/ 75 w 75"/>
                <a:gd name="T25" fmla="*/ 46 h 85"/>
                <a:gd name="T26" fmla="*/ 75 w 75"/>
                <a:gd name="T27" fmla="*/ 43 h 85"/>
                <a:gd name="T28" fmla="*/ 65 w 75"/>
                <a:gd name="T29" fmla="*/ 11 h 85"/>
                <a:gd name="T30" fmla="*/ 38 w 75"/>
                <a:gd name="T31" fmla="*/ 0 h 85"/>
                <a:gd name="T32" fmla="*/ 15 w 75"/>
                <a:gd name="T33" fmla="*/ 35 h 85"/>
                <a:gd name="T34" fmla="*/ 22 w 75"/>
                <a:gd name="T35" fmla="*/ 18 h 85"/>
                <a:gd name="T36" fmla="*/ 38 w 75"/>
                <a:gd name="T37" fmla="*/ 12 h 85"/>
                <a:gd name="T38" fmla="*/ 55 w 75"/>
                <a:gd name="T39" fmla="*/ 20 h 85"/>
                <a:gd name="T40" fmla="*/ 60 w 75"/>
                <a:gd name="T41" fmla="*/ 35 h 85"/>
                <a:gd name="T42" fmla="*/ 15 w 75"/>
                <a:gd name="T43" fmla="*/ 35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75" h="85">
                  <a:moveTo>
                    <a:pt x="38" y="0"/>
                  </a:moveTo>
                  <a:cubicBezTo>
                    <a:pt x="27" y="0"/>
                    <a:pt x="18" y="4"/>
                    <a:pt x="11" y="12"/>
                  </a:cubicBezTo>
                  <a:cubicBezTo>
                    <a:pt x="4" y="19"/>
                    <a:pt x="0" y="30"/>
                    <a:pt x="0" y="43"/>
                  </a:cubicBezTo>
                  <a:cubicBezTo>
                    <a:pt x="0" y="57"/>
                    <a:pt x="3" y="67"/>
                    <a:pt x="10" y="74"/>
                  </a:cubicBezTo>
                  <a:cubicBezTo>
                    <a:pt x="17" y="81"/>
                    <a:pt x="27" y="85"/>
                    <a:pt x="39" y="85"/>
                  </a:cubicBezTo>
                  <a:cubicBezTo>
                    <a:pt x="48" y="85"/>
                    <a:pt x="56" y="83"/>
                    <a:pt x="62" y="78"/>
                  </a:cubicBezTo>
                  <a:cubicBezTo>
                    <a:pt x="68" y="74"/>
                    <a:pt x="72" y="67"/>
                    <a:pt x="74" y="59"/>
                  </a:cubicBezTo>
                  <a:cubicBezTo>
                    <a:pt x="60" y="57"/>
                    <a:pt x="60" y="57"/>
                    <a:pt x="60" y="57"/>
                  </a:cubicBezTo>
                  <a:cubicBezTo>
                    <a:pt x="58" y="63"/>
                    <a:pt x="55" y="67"/>
                    <a:pt x="52" y="70"/>
                  </a:cubicBezTo>
                  <a:cubicBezTo>
                    <a:pt x="48" y="73"/>
                    <a:pt x="44" y="74"/>
                    <a:pt x="39" y="74"/>
                  </a:cubicBezTo>
                  <a:cubicBezTo>
                    <a:pt x="32" y="74"/>
                    <a:pt x="26" y="71"/>
                    <a:pt x="22" y="67"/>
                  </a:cubicBezTo>
                  <a:cubicBezTo>
                    <a:pt x="17" y="62"/>
                    <a:pt x="15" y="55"/>
                    <a:pt x="14" y="46"/>
                  </a:cubicBezTo>
                  <a:cubicBezTo>
                    <a:pt x="75" y="46"/>
                    <a:pt x="75" y="46"/>
                    <a:pt x="75" y="46"/>
                  </a:cubicBezTo>
                  <a:cubicBezTo>
                    <a:pt x="75" y="45"/>
                    <a:pt x="75" y="43"/>
                    <a:pt x="75" y="43"/>
                  </a:cubicBezTo>
                  <a:cubicBezTo>
                    <a:pt x="75" y="29"/>
                    <a:pt x="72" y="19"/>
                    <a:pt x="65" y="11"/>
                  </a:cubicBezTo>
                  <a:cubicBezTo>
                    <a:pt x="58" y="4"/>
                    <a:pt x="49" y="0"/>
                    <a:pt x="38" y="0"/>
                  </a:cubicBezTo>
                  <a:close/>
                  <a:moveTo>
                    <a:pt x="15" y="35"/>
                  </a:moveTo>
                  <a:cubicBezTo>
                    <a:pt x="15" y="28"/>
                    <a:pt x="18" y="22"/>
                    <a:pt x="22" y="18"/>
                  </a:cubicBezTo>
                  <a:cubicBezTo>
                    <a:pt x="26" y="14"/>
                    <a:pt x="32" y="12"/>
                    <a:pt x="38" y="12"/>
                  </a:cubicBezTo>
                  <a:cubicBezTo>
                    <a:pt x="45" y="12"/>
                    <a:pt x="51" y="14"/>
                    <a:pt x="55" y="20"/>
                  </a:cubicBezTo>
                  <a:cubicBezTo>
                    <a:pt x="58" y="23"/>
                    <a:pt x="60" y="28"/>
                    <a:pt x="60" y="35"/>
                  </a:cubicBezTo>
                  <a:lnTo>
                    <a:pt x="15" y="3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330" name="ïṡļïḍè"/>
            <p:cNvSpPr/>
            <p:nvPr/>
          </p:nvSpPr>
          <p:spPr bwMode="auto">
            <a:xfrm>
              <a:off x="8860091" y="5729878"/>
              <a:ext cx="128588" cy="157163"/>
            </a:xfrm>
            <a:custGeom>
              <a:avLst/>
              <a:gdLst>
                <a:gd name="T0" fmla="*/ 50 w 70"/>
                <a:gd name="T1" fmla="*/ 69 h 85"/>
                <a:gd name="T2" fmla="*/ 36 w 70"/>
                <a:gd name="T3" fmla="*/ 74 h 85"/>
                <a:gd name="T4" fmla="*/ 20 w 70"/>
                <a:gd name="T5" fmla="*/ 66 h 85"/>
                <a:gd name="T6" fmla="*/ 14 w 70"/>
                <a:gd name="T7" fmla="*/ 43 h 85"/>
                <a:gd name="T8" fmla="*/ 20 w 70"/>
                <a:gd name="T9" fmla="*/ 19 h 85"/>
                <a:gd name="T10" fmla="*/ 37 w 70"/>
                <a:gd name="T11" fmla="*/ 12 h 85"/>
                <a:gd name="T12" fmla="*/ 49 w 70"/>
                <a:gd name="T13" fmla="*/ 16 h 85"/>
                <a:gd name="T14" fmla="*/ 56 w 70"/>
                <a:gd name="T15" fmla="*/ 28 h 85"/>
                <a:gd name="T16" fmla="*/ 69 w 70"/>
                <a:gd name="T17" fmla="*/ 26 h 85"/>
                <a:gd name="T18" fmla="*/ 58 w 70"/>
                <a:gd name="T19" fmla="*/ 7 h 85"/>
                <a:gd name="T20" fmla="*/ 37 w 70"/>
                <a:gd name="T21" fmla="*/ 0 h 85"/>
                <a:gd name="T22" fmla="*/ 17 w 70"/>
                <a:gd name="T23" fmla="*/ 5 h 85"/>
                <a:gd name="T24" fmla="*/ 4 w 70"/>
                <a:gd name="T25" fmla="*/ 20 h 85"/>
                <a:gd name="T26" fmla="*/ 0 w 70"/>
                <a:gd name="T27" fmla="*/ 43 h 85"/>
                <a:gd name="T28" fmla="*/ 10 w 70"/>
                <a:gd name="T29" fmla="*/ 74 h 85"/>
                <a:gd name="T30" fmla="*/ 37 w 70"/>
                <a:gd name="T31" fmla="*/ 85 h 85"/>
                <a:gd name="T32" fmla="*/ 59 w 70"/>
                <a:gd name="T33" fmla="*/ 77 h 85"/>
                <a:gd name="T34" fmla="*/ 70 w 70"/>
                <a:gd name="T35" fmla="*/ 55 h 85"/>
                <a:gd name="T36" fmla="*/ 57 w 70"/>
                <a:gd name="T37" fmla="*/ 54 h 85"/>
                <a:gd name="T38" fmla="*/ 50 w 70"/>
                <a:gd name="T39" fmla="*/ 69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70" h="85">
                  <a:moveTo>
                    <a:pt x="50" y="69"/>
                  </a:moveTo>
                  <a:cubicBezTo>
                    <a:pt x="46" y="72"/>
                    <a:pt x="42" y="74"/>
                    <a:pt x="36" y="74"/>
                  </a:cubicBezTo>
                  <a:cubicBezTo>
                    <a:pt x="30" y="74"/>
                    <a:pt x="24" y="71"/>
                    <a:pt x="20" y="66"/>
                  </a:cubicBezTo>
                  <a:cubicBezTo>
                    <a:pt x="16" y="61"/>
                    <a:pt x="14" y="54"/>
                    <a:pt x="14" y="43"/>
                  </a:cubicBezTo>
                  <a:cubicBezTo>
                    <a:pt x="14" y="32"/>
                    <a:pt x="16" y="24"/>
                    <a:pt x="20" y="19"/>
                  </a:cubicBezTo>
                  <a:cubicBezTo>
                    <a:pt x="25" y="14"/>
                    <a:pt x="30" y="12"/>
                    <a:pt x="37" y="12"/>
                  </a:cubicBezTo>
                  <a:cubicBezTo>
                    <a:pt x="42" y="12"/>
                    <a:pt x="46" y="13"/>
                    <a:pt x="49" y="16"/>
                  </a:cubicBezTo>
                  <a:cubicBezTo>
                    <a:pt x="52" y="18"/>
                    <a:pt x="54" y="23"/>
                    <a:pt x="56" y="28"/>
                  </a:cubicBezTo>
                  <a:cubicBezTo>
                    <a:pt x="69" y="26"/>
                    <a:pt x="69" y="26"/>
                    <a:pt x="69" y="26"/>
                  </a:cubicBezTo>
                  <a:cubicBezTo>
                    <a:pt x="67" y="18"/>
                    <a:pt x="64" y="11"/>
                    <a:pt x="58" y="7"/>
                  </a:cubicBezTo>
                  <a:cubicBezTo>
                    <a:pt x="53" y="2"/>
                    <a:pt x="45" y="0"/>
                    <a:pt x="37" y="0"/>
                  </a:cubicBezTo>
                  <a:cubicBezTo>
                    <a:pt x="30" y="0"/>
                    <a:pt x="23" y="2"/>
                    <a:pt x="17" y="5"/>
                  </a:cubicBezTo>
                  <a:cubicBezTo>
                    <a:pt x="11" y="8"/>
                    <a:pt x="7" y="13"/>
                    <a:pt x="4" y="20"/>
                  </a:cubicBezTo>
                  <a:cubicBezTo>
                    <a:pt x="1" y="27"/>
                    <a:pt x="0" y="34"/>
                    <a:pt x="0" y="43"/>
                  </a:cubicBezTo>
                  <a:cubicBezTo>
                    <a:pt x="0" y="57"/>
                    <a:pt x="3" y="67"/>
                    <a:pt x="10" y="74"/>
                  </a:cubicBezTo>
                  <a:cubicBezTo>
                    <a:pt x="16" y="82"/>
                    <a:pt x="25" y="85"/>
                    <a:pt x="37" y="85"/>
                  </a:cubicBezTo>
                  <a:cubicBezTo>
                    <a:pt x="45" y="85"/>
                    <a:pt x="53" y="83"/>
                    <a:pt x="59" y="77"/>
                  </a:cubicBezTo>
                  <a:cubicBezTo>
                    <a:pt x="65" y="72"/>
                    <a:pt x="69" y="65"/>
                    <a:pt x="70" y="55"/>
                  </a:cubicBezTo>
                  <a:cubicBezTo>
                    <a:pt x="57" y="54"/>
                    <a:pt x="57" y="54"/>
                    <a:pt x="57" y="54"/>
                  </a:cubicBezTo>
                  <a:cubicBezTo>
                    <a:pt x="56" y="60"/>
                    <a:pt x="54" y="66"/>
                    <a:pt x="50" y="6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331" name="iṩḷídê"/>
            <p:cNvSpPr/>
            <p:nvPr/>
          </p:nvSpPr>
          <p:spPr bwMode="auto">
            <a:xfrm>
              <a:off x="9010903" y="5675903"/>
              <a:ext cx="122238" cy="206375"/>
            </a:xfrm>
            <a:custGeom>
              <a:avLst/>
              <a:gdLst>
                <a:gd name="T0" fmla="*/ 54 w 66"/>
                <a:gd name="T1" fmla="*/ 33 h 112"/>
                <a:gd name="T2" fmla="*/ 38 w 66"/>
                <a:gd name="T3" fmla="*/ 29 h 112"/>
                <a:gd name="T4" fmla="*/ 14 w 66"/>
                <a:gd name="T5" fmla="*/ 40 h 112"/>
                <a:gd name="T6" fmla="*/ 14 w 66"/>
                <a:gd name="T7" fmla="*/ 0 h 112"/>
                <a:gd name="T8" fmla="*/ 0 w 66"/>
                <a:gd name="T9" fmla="*/ 0 h 112"/>
                <a:gd name="T10" fmla="*/ 0 w 66"/>
                <a:gd name="T11" fmla="*/ 112 h 112"/>
                <a:gd name="T12" fmla="*/ 14 w 66"/>
                <a:gd name="T13" fmla="*/ 112 h 112"/>
                <a:gd name="T14" fmla="*/ 14 w 66"/>
                <a:gd name="T15" fmla="*/ 68 h 112"/>
                <a:gd name="T16" fmla="*/ 16 w 66"/>
                <a:gd name="T17" fmla="*/ 53 h 112"/>
                <a:gd name="T18" fmla="*/ 24 w 66"/>
                <a:gd name="T19" fmla="*/ 44 h 112"/>
                <a:gd name="T20" fmla="*/ 35 w 66"/>
                <a:gd name="T21" fmla="*/ 41 h 112"/>
                <a:gd name="T22" fmla="*/ 48 w 66"/>
                <a:gd name="T23" fmla="*/ 46 h 112"/>
                <a:gd name="T24" fmla="*/ 53 w 66"/>
                <a:gd name="T25" fmla="*/ 61 h 112"/>
                <a:gd name="T26" fmla="*/ 53 w 66"/>
                <a:gd name="T27" fmla="*/ 112 h 112"/>
                <a:gd name="T28" fmla="*/ 66 w 66"/>
                <a:gd name="T29" fmla="*/ 112 h 112"/>
                <a:gd name="T30" fmla="*/ 66 w 66"/>
                <a:gd name="T31" fmla="*/ 61 h 112"/>
                <a:gd name="T32" fmla="*/ 63 w 66"/>
                <a:gd name="T33" fmla="*/ 43 h 112"/>
                <a:gd name="T34" fmla="*/ 54 w 66"/>
                <a:gd name="T35" fmla="*/ 33 h 1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66" h="112">
                  <a:moveTo>
                    <a:pt x="54" y="33"/>
                  </a:moveTo>
                  <a:cubicBezTo>
                    <a:pt x="50" y="30"/>
                    <a:pt x="44" y="29"/>
                    <a:pt x="38" y="29"/>
                  </a:cubicBezTo>
                  <a:cubicBezTo>
                    <a:pt x="28" y="29"/>
                    <a:pt x="20" y="33"/>
                    <a:pt x="14" y="40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12"/>
                    <a:pt x="0" y="112"/>
                    <a:pt x="0" y="112"/>
                  </a:cubicBezTo>
                  <a:cubicBezTo>
                    <a:pt x="14" y="112"/>
                    <a:pt x="14" y="112"/>
                    <a:pt x="14" y="112"/>
                  </a:cubicBezTo>
                  <a:cubicBezTo>
                    <a:pt x="14" y="68"/>
                    <a:pt x="14" y="68"/>
                    <a:pt x="14" y="68"/>
                  </a:cubicBezTo>
                  <a:cubicBezTo>
                    <a:pt x="14" y="61"/>
                    <a:pt x="15" y="56"/>
                    <a:pt x="16" y="53"/>
                  </a:cubicBezTo>
                  <a:cubicBezTo>
                    <a:pt x="18" y="49"/>
                    <a:pt x="20" y="46"/>
                    <a:pt x="24" y="44"/>
                  </a:cubicBezTo>
                  <a:cubicBezTo>
                    <a:pt x="28" y="42"/>
                    <a:pt x="31" y="41"/>
                    <a:pt x="35" y="41"/>
                  </a:cubicBezTo>
                  <a:cubicBezTo>
                    <a:pt x="41" y="41"/>
                    <a:pt x="45" y="43"/>
                    <a:pt x="48" y="46"/>
                  </a:cubicBezTo>
                  <a:cubicBezTo>
                    <a:pt x="51" y="49"/>
                    <a:pt x="53" y="54"/>
                    <a:pt x="53" y="61"/>
                  </a:cubicBezTo>
                  <a:cubicBezTo>
                    <a:pt x="53" y="112"/>
                    <a:pt x="53" y="112"/>
                    <a:pt x="53" y="112"/>
                  </a:cubicBezTo>
                  <a:cubicBezTo>
                    <a:pt x="66" y="112"/>
                    <a:pt x="66" y="112"/>
                    <a:pt x="66" y="112"/>
                  </a:cubicBezTo>
                  <a:cubicBezTo>
                    <a:pt x="66" y="61"/>
                    <a:pt x="66" y="61"/>
                    <a:pt x="66" y="61"/>
                  </a:cubicBezTo>
                  <a:cubicBezTo>
                    <a:pt x="66" y="53"/>
                    <a:pt x="65" y="47"/>
                    <a:pt x="63" y="43"/>
                  </a:cubicBezTo>
                  <a:cubicBezTo>
                    <a:pt x="62" y="38"/>
                    <a:pt x="58" y="35"/>
                    <a:pt x="54" y="3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332" name="íslîḍe"/>
            <p:cNvSpPr/>
            <p:nvPr/>
          </p:nvSpPr>
          <p:spPr bwMode="auto">
            <a:xfrm>
              <a:off x="9171241" y="5729878"/>
              <a:ext cx="122238" cy="152400"/>
            </a:xfrm>
            <a:custGeom>
              <a:avLst/>
              <a:gdLst>
                <a:gd name="T0" fmla="*/ 61 w 66"/>
                <a:gd name="T1" fmla="*/ 10 h 83"/>
                <a:gd name="T2" fmla="*/ 52 w 66"/>
                <a:gd name="T3" fmla="*/ 3 h 83"/>
                <a:gd name="T4" fmla="*/ 39 w 66"/>
                <a:gd name="T5" fmla="*/ 0 h 83"/>
                <a:gd name="T6" fmla="*/ 13 w 66"/>
                <a:gd name="T7" fmla="*/ 14 h 83"/>
                <a:gd name="T8" fmla="*/ 13 w 66"/>
                <a:gd name="T9" fmla="*/ 2 h 83"/>
                <a:gd name="T10" fmla="*/ 0 w 66"/>
                <a:gd name="T11" fmla="*/ 2 h 83"/>
                <a:gd name="T12" fmla="*/ 0 w 66"/>
                <a:gd name="T13" fmla="*/ 83 h 83"/>
                <a:gd name="T14" fmla="*/ 14 w 66"/>
                <a:gd name="T15" fmla="*/ 83 h 83"/>
                <a:gd name="T16" fmla="*/ 14 w 66"/>
                <a:gd name="T17" fmla="*/ 39 h 83"/>
                <a:gd name="T18" fmla="*/ 20 w 66"/>
                <a:gd name="T19" fmla="*/ 18 h 83"/>
                <a:gd name="T20" fmla="*/ 36 w 66"/>
                <a:gd name="T21" fmla="*/ 12 h 83"/>
                <a:gd name="T22" fmla="*/ 45 w 66"/>
                <a:gd name="T23" fmla="*/ 15 h 83"/>
                <a:gd name="T24" fmla="*/ 51 w 66"/>
                <a:gd name="T25" fmla="*/ 21 h 83"/>
                <a:gd name="T26" fmla="*/ 53 w 66"/>
                <a:gd name="T27" fmla="*/ 34 h 83"/>
                <a:gd name="T28" fmla="*/ 53 w 66"/>
                <a:gd name="T29" fmla="*/ 83 h 83"/>
                <a:gd name="T30" fmla="*/ 66 w 66"/>
                <a:gd name="T31" fmla="*/ 83 h 83"/>
                <a:gd name="T32" fmla="*/ 66 w 66"/>
                <a:gd name="T33" fmla="*/ 33 h 83"/>
                <a:gd name="T34" fmla="*/ 66 w 66"/>
                <a:gd name="T35" fmla="*/ 20 h 83"/>
                <a:gd name="T36" fmla="*/ 61 w 66"/>
                <a:gd name="T37" fmla="*/ 10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6" h="83">
                  <a:moveTo>
                    <a:pt x="61" y="10"/>
                  </a:moveTo>
                  <a:cubicBezTo>
                    <a:pt x="59" y="7"/>
                    <a:pt x="56" y="5"/>
                    <a:pt x="52" y="3"/>
                  </a:cubicBezTo>
                  <a:cubicBezTo>
                    <a:pt x="48" y="1"/>
                    <a:pt x="43" y="0"/>
                    <a:pt x="39" y="0"/>
                  </a:cubicBezTo>
                  <a:cubicBezTo>
                    <a:pt x="27" y="0"/>
                    <a:pt x="19" y="5"/>
                    <a:pt x="13" y="14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83"/>
                    <a:pt x="0" y="83"/>
                    <a:pt x="0" y="83"/>
                  </a:cubicBezTo>
                  <a:cubicBezTo>
                    <a:pt x="14" y="83"/>
                    <a:pt x="14" y="83"/>
                    <a:pt x="14" y="83"/>
                  </a:cubicBezTo>
                  <a:cubicBezTo>
                    <a:pt x="14" y="39"/>
                    <a:pt x="14" y="39"/>
                    <a:pt x="14" y="39"/>
                  </a:cubicBezTo>
                  <a:cubicBezTo>
                    <a:pt x="14" y="29"/>
                    <a:pt x="16" y="21"/>
                    <a:pt x="20" y="18"/>
                  </a:cubicBezTo>
                  <a:cubicBezTo>
                    <a:pt x="25" y="14"/>
                    <a:pt x="30" y="12"/>
                    <a:pt x="36" y="12"/>
                  </a:cubicBezTo>
                  <a:cubicBezTo>
                    <a:pt x="39" y="12"/>
                    <a:pt x="43" y="13"/>
                    <a:pt x="45" y="15"/>
                  </a:cubicBezTo>
                  <a:cubicBezTo>
                    <a:pt x="48" y="16"/>
                    <a:pt x="50" y="19"/>
                    <a:pt x="51" y="21"/>
                  </a:cubicBezTo>
                  <a:cubicBezTo>
                    <a:pt x="52" y="24"/>
                    <a:pt x="53" y="28"/>
                    <a:pt x="53" y="34"/>
                  </a:cubicBezTo>
                  <a:cubicBezTo>
                    <a:pt x="53" y="83"/>
                    <a:pt x="53" y="83"/>
                    <a:pt x="53" y="83"/>
                  </a:cubicBezTo>
                  <a:cubicBezTo>
                    <a:pt x="66" y="83"/>
                    <a:pt x="66" y="83"/>
                    <a:pt x="66" y="83"/>
                  </a:cubicBezTo>
                  <a:cubicBezTo>
                    <a:pt x="66" y="33"/>
                    <a:pt x="66" y="33"/>
                    <a:pt x="66" y="33"/>
                  </a:cubicBezTo>
                  <a:cubicBezTo>
                    <a:pt x="66" y="27"/>
                    <a:pt x="66" y="23"/>
                    <a:pt x="66" y="20"/>
                  </a:cubicBezTo>
                  <a:cubicBezTo>
                    <a:pt x="65" y="16"/>
                    <a:pt x="63" y="13"/>
                    <a:pt x="61" y="1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333" name="ïṣľíḓè"/>
            <p:cNvSpPr/>
            <p:nvPr/>
          </p:nvSpPr>
          <p:spPr bwMode="auto">
            <a:xfrm>
              <a:off x="9322053" y="5729878"/>
              <a:ext cx="142875" cy="157163"/>
            </a:xfrm>
            <a:custGeom>
              <a:avLst/>
              <a:gdLst>
                <a:gd name="T0" fmla="*/ 38 w 77"/>
                <a:gd name="T1" fmla="*/ 0 h 85"/>
                <a:gd name="T2" fmla="*/ 13 w 77"/>
                <a:gd name="T3" fmla="*/ 9 h 85"/>
                <a:gd name="T4" fmla="*/ 0 w 77"/>
                <a:gd name="T5" fmla="*/ 43 h 85"/>
                <a:gd name="T6" fmla="*/ 11 w 77"/>
                <a:gd name="T7" fmla="*/ 74 h 85"/>
                <a:gd name="T8" fmla="*/ 38 w 77"/>
                <a:gd name="T9" fmla="*/ 85 h 85"/>
                <a:gd name="T10" fmla="*/ 58 w 77"/>
                <a:gd name="T11" fmla="*/ 80 h 85"/>
                <a:gd name="T12" fmla="*/ 72 w 77"/>
                <a:gd name="T13" fmla="*/ 66 h 85"/>
                <a:gd name="T14" fmla="*/ 77 w 77"/>
                <a:gd name="T15" fmla="*/ 42 h 85"/>
                <a:gd name="T16" fmla="*/ 66 w 77"/>
                <a:gd name="T17" fmla="*/ 11 h 85"/>
                <a:gd name="T18" fmla="*/ 38 w 77"/>
                <a:gd name="T19" fmla="*/ 0 h 85"/>
                <a:gd name="T20" fmla="*/ 56 w 77"/>
                <a:gd name="T21" fmla="*/ 66 h 85"/>
                <a:gd name="T22" fmla="*/ 38 w 77"/>
                <a:gd name="T23" fmla="*/ 74 h 85"/>
                <a:gd name="T24" fmla="*/ 21 w 77"/>
                <a:gd name="T25" fmla="*/ 66 h 85"/>
                <a:gd name="T26" fmla="*/ 15 w 77"/>
                <a:gd name="T27" fmla="*/ 43 h 85"/>
                <a:gd name="T28" fmla="*/ 21 w 77"/>
                <a:gd name="T29" fmla="*/ 19 h 85"/>
                <a:gd name="T30" fmla="*/ 38 w 77"/>
                <a:gd name="T31" fmla="*/ 12 h 85"/>
                <a:gd name="T32" fmla="*/ 56 w 77"/>
                <a:gd name="T33" fmla="*/ 19 h 85"/>
                <a:gd name="T34" fmla="*/ 62 w 77"/>
                <a:gd name="T35" fmla="*/ 42 h 85"/>
                <a:gd name="T36" fmla="*/ 56 w 77"/>
                <a:gd name="T37" fmla="*/ 66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77" h="85">
                  <a:moveTo>
                    <a:pt x="38" y="0"/>
                  </a:moveTo>
                  <a:cubicBezTo>
                    <a:pt x="28" y="0"/>
                    <a:pt x="20" y="3"/>
                    <a:pt x="13" y="9"/>
                  </a:cubicBezTo>
                  <a:cubicBezTo>
                    <a:pt x="5" y="16"/>
                    <a:pt x="0" y="28"/>
                    <a:pt x="0" y="43"/>
                  </a:cubicBezTo>
                  <a:cubicBezTo>
                    <a:pt x="0" y="56"/>
                    <a:pt x="4" y="67"/>
                    <a:pt x="11" y="74"/>
                  </a:cubicBezTo>
                  <a:cubicBezTo>
                    <a:pt x="18" y="82"/>
                    <a:pt x="27" y="85"/>
                    <a:pt x="38" y="85"/>
                  </a:cubicBezTo>
                  <a:cubicBezTo>
                    <a:pt x="46" y="85"/>
                    <a:pt x="52" y="84"/>
                    <a:pt x="58" y="80"/>
                  </a:cubicBezTo>
                  <a:cubicBezTo>
                    <a:pt x="64" y="77"/>
                    <a:pt x="69" y="72"/>
                    <a:pt x="72" y="66"/>
                  </a:cubicBezTo>
                  <a:cubicBezTo>
                    <a:pt x="75" y="60"/>
                    <a:pt x="77" y="52"/>
                    <a:pt x="77" y="42"/>
                  </a:cubicBezTo>
                  <a:cubicBezTo>
                    <a:pt x="77" y="29"/>
                    <a:pt x="73" y="19"/>
                    <a:pt x="66" y="11"/>
                  </a:cubicBezTo>
                  <a:cubicBezTo>
                    <a:pt x="59" y="4"/>
                    <a:pt x="50" y="0"/>
                    <a:pt x="38" y="0"/>
                  </a:cubicBezTo>
                  <a:close/>
                  <a:moveTo>
                    <a:pt x="56" y="66"/>
                  </a:moveTo>
                  <a:cubicBezTo>
                    <a:pt x="51" y="71"/>
                    <a:pt x="45" y="74"/>
                    <a:pt x="38" y="74"/>
                  </a:cubicBezTo>
                  <a:cubicBezTo>
                    <a:pt x="32" y="74"/>
                    <a:pt x="26" y="71"/>
                    <a:pt x="21" y="66"/>
                  </a:cubicBezTo>
                  <a:cubicBezTo>
                    <a:pt x="17" y="61"/>
                    <a:pt x="15" y="53"/>
                    <a:pt x="15" y="43"/>
                  </a:cubicBezTo>
                  <a:cubicBezTo>
                    <a:pt x="15" y="32"/>
                    <a:pt x="17" y="24"/>
                    <a:pt x="21" y="19"/>
                  </a:cubicBezTo>
                  <a:cubicBezTo>
                    <a:pt x="26" y="14"/>
                    <a:pt x="32" y="12"/>
                    <a:pt x="38" y="12"/>
                  </a:cubicBezTo>
                  <a:cubicBezTo>
                    <a:pt x="45" y="12"/>
                    <a:pt x="51" y="14"/>
                    <a:pt x="56" y="19"/>
                  </a:cubicBezTo>
                  <a:cubicBezTo>
                    <a:pt x="60" y="25"/>
                    <a:pt x="62" y="32"/>
                    <a:pt x="62" y="42"/>
                  </a:cubicBezTo>
                  <a:cubicBezTo>
                    <a:pt x="62" y="53"/>
                    <a:pt x="60" y="61"/>
                    <a:pt x="56" y="6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334" name="îš1ïḋé"/>
            <p:cNvSpPr/>
            <p:nvPr/>
          </p:nvSpPr>
          <p:spPr bwMode="auto">
            <a:xfrm>
              <a:off x="9491916" y="5675903"/>
              <a:ext cx="25400" cy="2063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335" name="íŝḻíḍê"/>
            <p:cNvSpPr/>
            <p:nvPr/>
          </p:nvSpPr>
          <p:spPr bwMode="auto">
            <a:xfrm>
              <a:off x="9547478" y="5729878"/>
              <a:ext cx="141288" cy="157163"/>
            </a:xfrm>
            <a:custGeom>
              <a:avLst/>
              <a:gdLst>
                <a:gd name="T0" fmla="*/ 38 w 77"/>
                <a:gd name="T1" fmla="*/ 0 h 85"/>
                <a:gd name="T2" fmla="*/ 13 w 77"/>
                <a:gd name="T3" fmla="*/ 9 h 85"/>
                <a:gd name="T4" fmla="*/ 0 w 77"/>
                <a:gd name="T5" fmla="*/ 43 h 85"/>
                <a:gd name="T6" fmla="*/ 11 w 77"/>
                <a:gd name="T7" fmla="*/ 74 h 85"/>
                <a:gd name="T8" fmla="*/ 38 w 77"/>
                <a:gd name="T9" fmla="*/ 85 h 85"/>
                <a:gd name="T10" fmla="*/ 58 w 77"/>
                <a:gd name="T11" fmla="*/ 80 h 85"/>
                <a:gd name="T12" fmla="*/ 72 w 77"/>
                <a:gd name="T13" fmla="*/ 66 h 85"/>
                <a:gd name="T14" fmla="*/ 77 w 77"/>
                <a:gd name="T15" fmla="*/ 42 h 85"/>
                <a:gd name="T16" fmla="*/ 66 w 77"/>
                <a:gd name="T17" fmla="*/ 11 h 85"/>
                <a:gd name="T18" fmla="*/ 38 w 77"/>
                <a:gd name="T19" fmla="*/ 0 h 85"/>
                <a:gd name="T20" fmla="*/ 56 w 77"/>
                <a:gd name="T21" fmla="*/ 66 h 85"/>
                <a:gd name="T22" fmla="*/ 38 w 77"/>
                <a:gd name="T23" fmla="*/ 74 h 85"/>
                <a:gd name="T24" fmla="*/ 21 w 77"/>
                <a:gd name="T25" fmla="*/ 66 h 85"/>
                <a:gd name="T26" fmla="*/ 15 w 77"/>
                <a:gd name="T27" fmla="*/ 43 h 85"/>
                <a:gd name="T28" fmla="*/ 21 w 77"/>
                <a:gd name="T29" fmla="*/ 19 h 85"/>
                <a:gd name="T30" fmla="*/ 38 w 77"/>
                <a:gd name="T31" fmla="*/ 12 h 85"/>
                <a:gd name="T32" fmla="*/ 56 w 77"/>
                <a:gd name="T33" fmla="*/ 19 h 85"/>
                <a:gd name="T34" fmla="*/ 62 w 77"/>
                <a:gd name="T35" fmla="*/ 42 h 85"/>
                <a:gd name="T36" fmla="*/ 56 w 77"/>
                <a:gd name="T37" fmla="*/ 66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77" h="85">
                  <a:moveTo>
                    <a:pt x="38" y="0"/>
                  </a:moveTo>
                  <a:cubicBezTo>
                    <a:pt x="28" y="0"/>
                    <a:pt x="20" y="3"/>
                    <a:pt x="13" y="9"/>
                  </a:cubicBezTo>
                  <a:cubicBezTo>
                    <a:pt x="5" y="16"/>
                    <a:pt x="0" y="28"/>
                    <a:pt x="0" y="43"/>
                  </a:cubicBezTo>
                  <a:cubicBezTo>
                    <a:pt x="0" y="56"/>
                    <a:pt x="4" y="67"/>
                    <a:pt x="11" y="74"/>
                  </a:cubicBezTo>
                  <a:cubicBezTo>
                    <a:pt x="18" y="82"/>
                    <a:pt x="27" y="85"/>
                    <a:pt x="38" y="85"/>
                  </a:cubicBezTo>
                  <a:cubicBezTo>
                    <a:pt x="46" y="85"/>
                    <a:pt x="52" y="84"/>
                    <a:pt x="58" y="80"/>
                  </a:cubicBezTo>
                  <a:cubicBezTo>
                    <a:pt x="64" y="77"/>
                    <a:pt x="69" y="72"/>
                    <a:pt x="72" y="66"/>
                  </a:cubicBezTo>
                  <a:cubicBezTo>
                    <a:pt x="75" y="60"/>
                    <a:pt x="77" y="52"/>
                    <a:pt x="77" y="42"/>
                  </a:cubicBezTo>
                  <a:cubicBezTo>
                    <a:pt x="77" y="29"/>
                    <a:pt x="73" y="19"/>
                    <a:pt x="66" y="11"/>
                  </a:cubicBezTo>
                  <a:cubicBezTo>
                    <a:pt x="59" y="4"/>
                    <a:pt x="50" y="0"/>
                    <a:pt x="38" y="0"/>
                  </a:cubicBezTo>
                  <a:close/>
                  <a:moveTo>
                    <a:pt x="56" y="66"/>
                  </a:moveTo>
                  <a:cubicBezTo>
                    <a:pt x="51" y="71"/>
                    <a:pt x="45" y="74"/>
                    <a:pt x="38" y="74"/>
                  </a:cubicBezTo>
                  <a:cubicBezTo>
                    <a:pt x="32" y="74"/>
                    <a:pt x="26" y="71"/>
                    <a:pt x="21" y="66"/>
                  </a:cubicBezTo>
                  <a:cubicBezTo>
                    <a:pt x="17" y="61"/>
                    <a:pt x="15" y="53"/>
                    <a:pt x="15" y="43"/>
                  </a:cubicBezTo>
                  <a:cubicBezTo>
                    <a:pt x="15" y="32"/>
                    <a:pt x="17" y="24"/>
                    <a:pt x="21" y="19"/>
                  </a:cubicBezTo>
                  <a:cubicBezTo>
                    <a:pt x="26" y="14"/>
                    <a:pt x="32" y="12"/>
                    <a:pt x="38" y="12"/>
                  </a:cubicBezTo>
                  <a:cubicBezTo>
                    <a:pt x="45" y="12"/>
                    <a:pt x="51" y="14"/>
                    <a:pt x="56" y="19"/>
                  </a:cubicBezTo>
                  <a:cubicBezTo>
                    <a:pt x="60" y="25"/>
                    <a:pt x="62" y="32"/>
                    <a:pt x="62" y="42"/>
                  </a:cubicBezTo>
                  <a:cubicBezTo>
                    <a:pt x="62" y="53"/>
                    <a:pt x="60" y="61"/>
                    <a:pt x="56" y="6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336" name="íṧḷíḓé"/>
            <p:cNvSpPr/>
            <p:nvPr/>
          </p:nvSpPr>
          <p:spPr bwMode="auto">
            <a:xfrm>
              <a:off x="9707816" y="5729878"/>
              <a:ext cx="131763" cy="214313"/>
            </a:xfrm>
            <a:custGeom>
              <a:avLst/>
              <a:gdLst>
                <a:gd name="T0" fmla="*/ 59 w 72"/>
                <a:gd name="T1" fmla="*/ 12 h 116"/>
                <a:gd name="T2" fmla="*/ 36 w 72"/>
                <a:gd name="T3" fmla="*/ 0 h 116"/>
                <a:gd name="T4" fmla="*/ 17 w 72"/>
                <a:gd name="T5" fmla="*/ 6 h 116"/>
                <a:gd name="T6" fmla="*/ 5 w 72"/>
                <a:gd name="T7" fmla="*/ 21 h 116"/>
                <a:gd name="T8" fmla="*/ 0 w 72"/>
                <a:gd name="T9" fmla="*/ 42 h 116"/>
                <a:gd name="T10" fmla="*/ 10 w 72"/>
                <a:gd name="T11" fmla="*/ 71 h 116"/>
                <a:gd name="T12" fmla="*/ 36 w 72"/>
                <a:gd name="T13" fmla="*/ 83 h 116"/>
                <a:gd name="T14" fmla="*/ 58 w 72"/>
                <a:gd name="T15" fmla="*/ 73 h 116"/>
                <a:gd name="T16" fmla="*/ 57 w 72"/>
                <a:gd name="T17" fmla="*/ 90 h 116"/>
                <a:gd name="T18" fmla="*/ 50 w 72"/>
                <a:gd name="T19" fmla="*/ 101 h 116"/>
                <a:gd name="T20" fmla="*/ 35 w 72"/>
                <a:gd name="T21" fmla="*/ 105 h 116"/>
                <a:gd name="T22" fmla="*/ 21 w 72"/>
                <a:gd name="T23" fmla="*/ 101 h 116"/>
                <a:gd name="T24" fmla="*/ 17 w 72"/>
                <a:gd name="T25" fmla="*/ 92 h 116"/>
                <a:gd name="T26" fmla="*/ 3 w 72"/>
                <a:gd name="T27" fmla="*/ 90 h 116"/>
                <a:gd name="T28" fmla="*/ 12 w 72"/>
                <a:gd name="T29" fmla="*/ 110 h 116"/>
                <a:gd name="T30" fmla="*/ 35 w 72"/>
                <a:gd name="T31" fmla="*/ 116 h 116"/>
                <a:gd name="T32" fmla="*/ 56 w 72"/>
                <a:gd name="T33" fmla="*/ 112 h 116"/>
                <a:gd name="T34" fmla="*/ 68 w 72"/>
                <a:gd name="T35" fmla="*/ 99 h 116"/>
                <a:gd name="T36" fmla="*/ 72 w 72"/>
                <a:gd name="T37" fmla="*/ 72 h 116"/>
                <a:gd name="T38" fmla="*/ 72 w 72"/>
                <a:gd name="T39" fmla="*/ 2 h 116"/>
                <a:gd name="T40" fmla="*/ 59 w 72"/>
                <a:gd name="T41" fmla="*/ 2 h 116"/>
                <a:gd name="T42" fmla="*/ 59 w 72"/>
                <a:gd name="T43" fmla="*/ 12 h 116"/>
                <a:gd name="T44" fmla="*/ 53 w 72"/>
                <a:gd name="T45" fmla="*/ 65 h 116"/>
                <a:gd name="T46" fmla="*/ 37 w 72"/>
                <a:gd name="T47" fmla="*/ 72 h 116"/>
                <a:gd name="T48" fmla="*/ 21 w 72"/>
                <a:gd name="T49" fmla="*/ 65 h 116"/>
                <a:gd name="T50" fmla="*/ 15 w 72"/>
                <a:gd name="T51" fmla="*/ 41 h 116"/>
                <a:gd name="T52" fmla="*/ 21 w 72"/>
                <a:gd name="T53" fmla="*/ 19 h 116"/>
                <a:gd name="T54" fmla="*/ 37 w 72"/>
                <a:gd name="T55" fmla="*/ 12 h 116"/>
                <a:gd name="T56" fmla="*/ 53 w 72"/>
                <a:gd name="T57" fmla="*/ 19 h 116"/>
                <a:gd name="T58" fmla="*/ 59 w 72"/>
                <a:gd name="T59" fmla="*/ 42 h 116"/>
                <a:gd name="T60" fmla="*/ 53 w 72"/>
                <a:gd name="T61" fmla="*/ 65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72" h="116">
                  <a:moveTo>
                    <a:pt x="59" y="12"/>
                  </a:moveTo>
                  <a:cubicBezTo>
                    <a:pt x="53" y="4"/>
                    <a:pt x="45" y="0"/>
                    <a:pt x="36" y="0"/>
                  </a:cubicBezTo>
                  <a:cubicBezTo>
                    <a:pt x="28" y="0"/>
                    <a:pt x="22" y="2"/>
                    <a:pt x="17" y="6"/>
                  </a:cubicBezTo>
                  <a:cubicBezTo>
                    <a:pt x="11" y="9"/>
                    <a:pt x="7" y="14"/>
                    <a:pt x="5" y="21"/>
                  </a:cubicBezTo>
                  <a:cubicBezTo>
                    <a:pt x="2" y="27"/>
                    <a:pt x="0" y="34"/>
                    <a:pt x="0" y="42"/>
                  </a:cubicBezTo>
                  <a:cubicBezTo>
                    <a:pt x="0" y="53"/>
                    <a:pt x="3" y="63"/>
                    <a:pt x="10" y="71"/>
                  </a:cubicBezTo>
                  <a:cubicBezTo>
                    <a:pt x="16" y="79"/>
                    <a:pt x="24" y="83"/>
                    <a:pt x="36" y="83"/>
                  </a:cubicBezTo>
                  <a:cubicBezTo>
                    <a:pt x="45" y="83"/>
                    <a:pt x="52" y="80"/>
                    <a:pt x="58" y="73"/>
                  </a:cubicBezTo>
                  <a:cubicBezTo>
                    <a:pt x="58" y="82"/>
                    <a:pt x="58" y="88"/>
                    <a:pt x="57" y="90"/>
                  </a:cubicBezTo>
                  <a:cubicBezTo>
                    <a:pt x="56" y="95"/>
                    <a:pt x="53" y="99"/>
                    <a:pt x="50" y="101"/>
                  </a:cubicBezTo>
                  <a:cubicBezTo>
                    <a:pt x="47" y="104"/>
                    <a:pt x="42" y="105"/>
                    <a:pt x="35" y="105"/>
                  </a:cubicBezTo>
                  <a:cubicBezTo>
                    <a:pt x="29" y="105"/>
                    <a:pt x="25" y="104"/>
                    <a:pt x="21" y="101"/>
                  </a:cubicBezTo>
                  <a:cubicBezTo>
                    <a:pt x="19" y="99"/>
                    <a:pt x="17" y="96"/>
                    <a:pt x="17" y="92"/>
                  </a:cubicBezTo>
                  <a:cubicBezTo>
                    <a:pt x="3" y="90"/>
                    <a:pt x="3" y="90"/>
                    <a:pt x="3" y="90"/>
                  </a:cubicBezTo>
                  <a:cubicBezTo>
                    <a:pt x="3" y="99"/>
                    <a:pt x="6" y="105"/>
                    <a:pt x="12" y="110"/>
                  </a:cubicBezTo>
                  <a:cubicBezTo>
                    <a:pt x="18" y="114"/>
                    <a:pt x="26" y="116"/>
                    <a:pt x="35" y="116"/>
                  </a:cubicBezTo>
                  <a:cubicBezTo>
                    <a:pt x="43" y="116"/>
                    <a:pt x="50" y="115"/>
                    <a:pt x="56" y="112"/>
                  </a:cubicBezTo>
                  <a:cubicBezTo>
                    <a:pt x="62" y="109"/>
                    <a:pt x="66" y="104"/>
                    <a:pt x="68" y="99"/>
                  </a:cubicBezTo>
                  <a:cubicBezTo>
                    <a:pt x="71" y="94"/>
                    <a:pt x="72" y="85"/>
                    <a:pt x="72" y="72"/>
                  </a:cubicBezTo>
                  <a:cubicBezTo>
                    <a:pt x="72" y="2"/>
                    <a:pt x="72" y="2"/>
                    <a:pt x="72" y="2"/>
                  </a:cubicBezTo>
                  <a:cubicBezTo>
                    <a:pt x="59" y="2"/>
                    <a:pt x="59" y="2"/>
                    <a:pt x="59" y="2"/>
                  </a:cubicBezTo>
                  <a:lnTo>
                    <a:pt x="59" y="12"/>
                  </a:lnTo>
                  <a:close/>
                  <a:moveTo>
                    <a:pt x="53" y="65"/>
                  </a:moveTo>
                  <a:cubicBezTo>
                    <a:pt x="48" y="69"/>
                    <a:pt x="43" y="72"/>
                    <a:pt x="37" y="72"/>
                  </a:cubicBezTo>
                  <a:cubicBezTo>
                    <a:pt x="30" y="72"/>
                    <a:pt x="25" y="69"/>
                    <a:pt x="21" y="65"/>
                  </a:cubicBezTo>
                  <a:cubicBezTo>
                    <a:pt x="17" y="60"/>
                    <a:pt x="15" y="52"/>
                    <a:pt x="15" y="41"/>
                  </a:cubicBezTo>
                  <a:cubicBezTo>
                    <a:pt x="15" y="31"/>
                    <a:pt x="17" y="24"/>
                    <a:pt x="21" y="19"/>
                  </a:cubicBezTo>
                  <a:cubicBezTo>
                    <a:pt x="25" y="14"/>
                    <a:pt x="30" y="12"/>
                    <a:pt x="37" y="12"/>
                  </a:cubicBezTo>
                  <a:cubicBezTo>
                    <a:pt x="43" y="12"/>
                    <a:pt x="48" y="14"/>
                    <a:pt x="53" y="19"/>
                  </a:cubicBezTo>
                  <a:cubicBezTo>
                    <a:pt x="57" y="24"/>
                    <a:pt x="59" y="32"/>
                    <a:pt x="59" y="42"/>
                  </a:cubicBezTo>
                  <a:cubicBezTo>
                    <a:pt x="59" y="52"/>
                    <a:pt x="57" y="60"/>
                    <a:pt x="53" y="6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337" name="îŝlíde"/>
            <p:cNvSpPr/>
            <p:nvPr/>
          </p:nvSpPr>
          <p:spPr bwMode="auto">
            <a:xfrm>
              <a:off x="9864978" y="5733053"/>
              <a:ext cx="138113" cy="211138"/>
            </a:xfrm>
            <a:custGeom>
              <a:avLst/>
              <a:gdLst>
                <a:gd name="T0" fmla="*/ 43 w 75"/>
                <a:gd name="T1" fmla="*/ 47 h 114"/>
                <a:gd name="T2" fmla="*/ 38 w 75"/>
                <a:gd name="T3" fmla="*/ 66 h 114"/>
                <a:gd name="T4" fmla="*/ 32 w 75"/>
                <a:gd name="T5" fmla="*/ 47 h 114"/>
                <a:gd name="T6" fmla="*/ 15 w 75"/>
                <a:gd name="T7" fmla="*/ 0 h 114"/>
                <a:gd name="T8" fmla="*/ 0 w 75"/>
                <a:gd name="T9" fmla="*/ 0 h 114"/>
                <a:gd name="T10" fmla="*/ 31 w 75"/>
                <a:gd name="T11" fmla="*/ 81 h 114"/>
                <a:gd name="T12" fmla="*/ 30 w 75"/>
                <a:gd name="T13" fmla="*/ 85 h 114"/>
                <a:gd name="T14" fmla="*/ 25 w 75"/>
                <a:gd name="T15" fmla="*/ 95 h 114"/>
                <a:gd name="T16" fmla="*/ 21 w 75"/>
                <a:gd name="T17" fmla="*/ 99 h 114"/>
                <a:gd name="T18" fmla="*/ 14 w 75"/>
                <a:gd name="T19" fmla="*/ 101 h 114"/>
                <a:gd name="T20" fmla="*/ 6 w 75"/>
                <a:gd name="T21" fmla="*/ 100 h 114"/>
                <a:gd name="T22" fmla="*/ 7 w 75"/>
                <a:gd name="T23" fmla="*/ 113 h 114"/>
                <a:gd name="T24" fmla="*/ 16 w 75"/>
                <a:gd name="T25" fmla="*/ 114 h 114"/>
                <a:gd name="T26" fmla="*/ 27 w 75"/>
                <a:gd name="T27" fmla="*/ 111 h 114"/>
                <a:gd name="T28" fmla="*/ 36 w 75"/>
                <a:gd name="T29" fmla="*/ 101 h 114"/>
                <a:gd name="T30" fmla="*/ 44 w 75"/>
                <a:gd name="T31" fmla="*/ 83 h 114"/>
                <a:gd name="T32" fmla="*/ 75 w 75"/>
                <a:gd name="T33" fmla="*/ 0 h 114"/>
                <a:gd name="T34" fmla="*/ 61 w 75"/>
                <a:gd name="T35" fmla="*/ 0 h 114"/>
                <a:gd name="T36" fmla="*/ 43 w 75"/>
                <a:gd name="T37" fmla="*/ 47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75" h="114">
                  <a:moveTo>
                    <a:pt x="43" y="47"/>
                  </a:moveTo>
                  <a:cubicBezTo>
                    <a:pt x="41" y="53"/>
                    <a:pt x="39" y="60"/>
                    <a:pt x="38" y="66"/>
                  </a:cubicBezTo>
                  <a:cubicBezTo>
                    <a:pt x="36" y="59"/>
                    <a:pt x="34" y="53"/>
                    <a:pt x="32" y="47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0" y="83"/>
                    <a:pt x="30" y="84"/>
                    <a:pt x="30" y="85"/>
                  </a:cubicBezTo>
                  <a:cubicBezTo>
                    <a:pt x="28" y="90"/>
                    <a:pt x="26" y="94"/>
                    <a:pt x="25" y="95"/>
                  </a:cubicBezTo>
                  <a:cubicBezTo>
                    <a:pt x="24" y="97"/>
                    <a:pt x="23" y="98"/>
                    <a:pt x="21" y="99"/>
                  </a:cubicBezTo>
                  <a:cubicBezTo>
                    <a:pt x="19" y="100"/>
                    <a:pt x="17" y="101"/>
                    <a:pt x="14" y="101"/>
                  </a:cubicBezTo>
                  <a:cubicBezTo>
                    <a:pt x="11" y="101"/>
                    <a:pt x="9" y="101"/>
                    <a:pt x="6" y="100"/>
                  </a:cubicBezTo>
                  <a:cubicBezTo>
                    <a:pt x="7" y="113"/>
                    <a:pt x="7" y="113"/>
                    <a:pt x="7" y="113"/>
                  </a:cubicBezTo>
                  <a:cubicBezTo>
                    <a:pt x="11" y="114"/>
                    <a:pt x="13" y="114"/>
                    <a:pt x="16" y="114"/>
                  </a:cubicBezTo>
                  <a:cubicBezTo>
                    <a:pt x="21" y="114"/>
                    <a:pt x="24" y="113"/>
                    <a:pt x="27" y="111"/>
                  </a:cubicBezTo>
                  <a:cubicBezTo>
                    <a:pt x="31" y="109"/>
                    <a:pt x="33" y="106"/>
                    <a:pt x="36" y="101"/>
                  </a:cubicBezTo>
                  <a:cubicBezTo>
                    <a:pt x="38" y="98"/>
                    <a:pt x="40" y="92"/>
                    <a:pt x="44" y="83"/>
                  </a:cubicBezTo>
                  <a:cubicBezTo>
                    <a:pt x="75" y="0"/>
                    <a:pt x="75" y="0"/>
                    <a:pt x="75" y="0"/>
                  </a:cubicBezTo>
                  <a:cubicBezTo>
                    <a:pt x="61" y="0"/>
                    <a:pt x="61" y="0"/>
                    <a:pt x="61" y="0"/>
                  </a:cubicBezTo>
                  <a:lnTo>
                    <a:pt x="43" y="4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338" name="íṧ1ïḍé"/>
            <p:cNvSpPr/>
            <p:nvPr/>
          </p:nvSpPr>
          <p:spPr bwMode="auto">
            <a:xfrm>
              <a:off x="10106278" y="5675903"/>
              <a:ext cx="155575" cy="206375"/>
            </a:xfrm>
            <a:custGeom>
              <a:avLst/>
              <a:gdLst>
                <a:gd name="T0" fmla="*/ 64 w 85"/>
                <a:gd name="T1" fmla="*/ 53 h 112"/>
                <a:gd name="T2" fmla="*/ 75 w 85"/>
                <a:gd name="T3" fmla="*/ 42 h 112"/>
                <a:gd name="T4" fmla="*/ 79 w 85"/>
                <a:gd name="T5" fmla="*/ 29 h 112"/>
                <a:gd name="T6" fmla="*/ 75 w 85"/>
                <a:gd name="T7" fmla="*/ 14 h 112"/>
                <a:gd name="T8" fmla="*/ 63 w 85"/>
                <a:gd name="T9" fmla="*/ 4 h 112"/>
                <a:gd name="T10" fmla="*/ 42 w 85"/>
                <a:gd name="T11" fmla="*/ 0 h 112"/>
                <a:gd name="T12" fmla="*/ 0 w 85"/>
                <a:gd name="T13" fmla="*/ 0 h 112"/>
                <a:gd name="T14" fmla="*/ 0 w 85"/>
                <a:gd name="T15" fmla="*/ 112 h 112"/>
                <a:gd name="T16" fmla="*/ 43 w 85"/>
                <a:gd name="T17" fmla="*/ 112 h 112"/>
                <a:gd name="T18" fmla="*/ 61 w 85"/>
                <a:gd name="T19" fmla="*/ 110 h 112"/>
                <a:gd name="T20" fmla="*/ 73 w 85"/>
                <a:gd name="T21" fmla="*/ 105 h 112"/>
                <a:gd name="T22" fmla="*/ 81 w 85"/>
                <a:gd name="T23" fmla="*/ 94 h 112"/>
                <a:gd name="T24" fmla="*/ 85 w 85"/>
                <a:gd name="T25" fmla="*/ 80 h 112"/>
                <a:gd name="T26" fmla="*/ 79 w 85"/>
                <a:gd name="T27" fmla="*/ 63 h 112"/>
                <a:gd name="T28" fmla="*/ 64 w 85"/>
                <a:gd name="T29" fmla="*/ 53 h 112"/>
                <a:gd name="T30" fmla="*/ 15 w 85"/>
                <a:gd name="T31" fmla="*/ 13 h 112"/>
                <a:gd name="T32" fmla="*/ 37 w 85"/>
                <a:gd name="T33" fmla="*/ 13 h 112"/>
                <a:gd name="T34" fmla="*/ 54 w 85"/>
                <a:gd name="T35" fmla="*/ 15 h 112"/>
                <a:gd name="T36" fmla="*/ 62 w 85"/>
                <a:gd name="T37" fmla="*/ 21 h 112"/>
                <a:gd name="T38" fmla="*/ 65 w 85"/>
                <a:gd name="T39" fmla="*/ 31 h 112"/>
                <a:gd name="T40" fmla="*/ 62 w 85"/>
                <a:gd name="T41" fmla="*/ 40 h 112"/>
                <a:gd name="T42" fmla="*/ 53 w 85"/>
                <a:gd name="T43" fmla="*/ 46 h 112"/>
                <a:gd name="T44" fmla="*/ 39 w 85"/>
                <a:gd name="T45" fmla="*/ 47 h 112"/>
                <a:gd name="T46" fmla="*/ 15 w 85"/>
                <a:gd name="T47" fmla="*/ 47 h 112"/>
                <a:gd name="T48" fmla="*/ 15 w 85"/>
                <a:gd name="T49" fmla="*/ 13 h 112"/>
                <a:gd name="T50" fmla="*/ 67 w 85"/>
                <a:gd name="T51" fmla="*/ 89 h 112"/>
                <a:gd name="T52" fmla="*/ 61 w 85"/>
                <a:gd name="T53" fmla="*/ 95 h 112"/>
                <a:gd name="T54" fmla="*/ 53 w 85"/>
                <a:gd name="T55" fmla="*/ 99 h 112"/>
                <a:gd name="T56" fmla="*/ 43 w 85"/>
                <a:gd name="T57" fmla="*/ 99 h 112"/>
                <a:gd name="T58" fmla="*/ 15 w 85"/>
                <a:gd name="T59" fmla="*/ 99 h 112"/>
                <a:gd name="T60" fmla="*/ 15 w 85"/>
                <a:gd name="T61" fmla="*/ 61 h 112"/>
                <a:gd name="T62" fmla="*/ 41 w 85"/>
                <a:gd name="T63" fmla="*/ 61 h 112"/>
                <a:gd name="T64" fmla="*/ 57 w 85"/>
                <a:gd name="T65" fmla="*/ 62 h 112"/>
                <a:gd name="T66" fmla="*/ 66 w 85"/>
                <a:gd name="T67" fmla="*/ 69 h 112"/>
                <a:gd name="T68" fmla="*/ 69 w 85"/>
                <a:gd name="T69" fmla="*/ 80 h 112"/>
                <a:gd name="T70" fmla="*/ 67 w 85"/>
                <a:gd name="T71" fmla="*/ 89 h 1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85" h="112">
                  <a:moveTo>
                    <a:pt x="64" y="53"/>
                  </a:moveTo>
                  <a:cubicBezTo>
                    <a:pt x="69" y="50"/>
                    <a:pt x="73" y="47"/>
                    <a:pt x="75" y="42"/>
                  </a:cubicBezTo>
                  <a:cubicBezTo>
                    <a:pt x="78" y="38"/>
                    <a:pt x="79" y="34"/>
                    <a:pt x="79" y="29"/>
                  </a:cubicBezTo>
                  <a:cubicBezTo>
                    <a:pt x="79" y="24"/>
                    <a:pt x="78" y="19"/>
                    <a:pt x="75" y="14"/>
                  </a:cubicBezTo>
                  <a:cubicBezTo>
                    <a:pt x="72" y="9"/>
                    <a:pt x="68" y="6"/>
                    <a:pt x="63" y="4"/>
                  </a:cubicBezTo>
                  <a:cubicBezTo>
                    <a:pt x="57" y="1"/>
                    <a:pt x="51" y="0"/>
                    <a:pt x="42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12"/>
                    <a:pt x="0" y="112"/>
                    <a:pt x="0" y="112"/>
                  </a:cubicBezTo>
                  <a:cubicBezTo>
                    <a:pt x="43" y="112"/>
                    <a:pt x="43" y="112"/>
                    <a:pt x="43" y="112"/>
                  </a:cubicBezTo>
                  <a:cubicBezTo>
                    <a:pt x="50" y="112"/>
                    <a:pt x="56" y="112"/>
                    <a:pt x="61" y="110"/>
                  </a:cubicBezTo>
                  <a:cubicBezTo>
                    <a:pt x="66" y="109"/>
                    <a:pt x="70" y="107"/>
                    <a:pt x="73" y="105"/>
                  </a:cubicBezTo>
                  <a:cubicBezTo>
                    <a:pt x="76" y="102"/>
                    <a:pt x="79" y="99"/>
                    <a:pt x="81" y="94"/>
                  </a:cubicBezTo>
                  <a:cubicBezTo>
                    <a:pt x="84" y="90"/>
                    <a:pt x="85" y="85"/>
                    <a:pt x="85" y="80"/>
                  </a:cubicBezTo>
                  <a:cubicBezTo>
                    <a:pt x="85" y="73"/>
                    <a:pt x="83" y="68"/>
                    <a:pt x="79" y="63"/>
                  </a:cubicBezTo>
                  <a:cubicBezTo>
                    <a:pt x="76" y="58"/>
                    <a:pt x="70" y="55"/>
                    <a:pt x="64" y="53"/>
                  </a:cubicBezTo>
                  <a:close/>
                  <a:moveTo>
                    <a:pt x="15" y="13"/>
                  </a:moveTo>
                  <a:cubicBezTo>
                    <a:pt x="37" y="13"/>
                    <a:pt x="37" y="13"/>
                    <a:pt x="37" y="13"/>
                  </a:cubicBezTo>
                  <a:cubicBezTo>
                    <a:pt x="45" y="13"/>
                    <a:pt x="51" y="14"/>
                    <a:pt x="54" y="15"/>
                  </a:cubicBezTo>
                  <a:cubicBezTo>
                    <a:pt x="58" y="16"/>
                    <a:pt x="60" y="18"/>
                    <a:pt x="62" y="21"/>
                  </a:cubicBezTo>
                  <a:cubicBezTo>
                    <a:pt x="64" y="24"/>
                    <a:pt x="65" y="27"/>
                    <a:pt x="65" y="31"/>
                  </a:cubicBezTo>
                  <a:cubicBezTo>
                    <a:pt x="65" y="35"/>
                    <a:pt x="64" y="38"/>
                    <a:pt x="62" y="40"/>
                  </a:cubicBezTo>
                  <a:cubicBezTo>
                    <a:pt x="60" y="43"/>
                    <a:pt x="57" y="45"/>
                    <a:pt x="53" y="46"/>
                  </a:cubicBezTo>
                  <a:cubicBezTo>
                    <a:pt x="50" y="47"/>
                    <a:pt x="46" y="47"/>
                    <a:pt x="39" y="47"/>
                  </a:cubicBezTo>
                  <a:cubicBezTo>
                    <a:pt x="15" y="47"/>
                    <a:pt x="15" y="47"/>
                    <a:pt x="15" y="47"/>
                  </a:cubicBezTo>
                  <a:lnTo>
                    <a:pt x="15" y="13"/>
                  </a:lnTo>
                  <a:close/>
                  <a:moveTo>
                    <a:pt x="67" y="89"/>
                  </a:moveTo>
                  <a:cubicBezTo>
                    <a:pt x="66" y="92"/>
                    <a:pt x="64" y="94"/>
                    <a:pt x="61" y="95"/>
                  </a:cubicBezTo>
                  <a:cubicBezTo>
                    <a:pt x="59" y="97"/>
                    <a:pt x="56" y="98"/>
                    <a:pt x="53" y="99"/>
                  </a:cubicBezTo>
                  <a:cubicBezTo>
                    <a:pt x="51" y="99"/>
                    <a:pt x="48" y="99"/>
                    <a:pt x="43" y="99"/>
                  </a:cubicBezTo>
                  <a:cubicBezTo>
                    <a:pt x="15" y="99"/>
                    <a:pt x="15" y="99"/>
                    <a:pt x="15" y="99"/>
                  </a:cubicBezTo>
                  <a:cubicBezTo>
                    <a:pt x="15" y="61"/>
                    <a:pt x="15" y="61"/>
                    <a:pt x="15" y="61"/>
                  </a:cubicBezTo>
                  <a:cubicBezTo>
                    <a:pt x="41" y="61"/>
                    <a:pt x="41" y="61"/>
                    <a:pt x="41" y="61"/>
                  </a:cubicBezTo>
                  <a:cubicBezTo>
                    <a:pt x="48" y="61"/>
                    <a:pt x="53" y="61"/>
                    <a:pt x="57" y="62"/>
                  </a:cubicBezTo>
                  <a:cubicBezTo>
                    <a:pt x="61" y="64"/>
                    <a:pt x="64" y="66"/>
                    <a:pt x="66" y="69"/>
                  </a:cubicBezTo>
                  <a:cubicBezTo>
                    <a:pt x="68" y="72"/>
                    <a:pt x="69" y="76"/>
                    <a:pt x="69" y="80"/>
                  </a:cubicBezTo>
                  <a:cubicBezTo>
                    <a:pt x="69" y="83"/>
                    <a:pt x="69" y="87"/>
                    <a:pt x="67" y="8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339" name="iŝļidé"/>
            <p:cNvSpPr/>
            <p:nvPr/>
          </p:nvSpPr>
          <p:spPr bwMode="auto">
            <a:xfrm>
              <a:off x="10288841" y="5729878"/>
              <a:ext cx="138113" cy="157163"/>
            </a:xfrm>
            <a:custGeom>
              <a:avLst/>
              <a:gdLst>
                <a:gd name="T0" fmla="*/ 38 w 75"/>
                <a:gd name="T1" fmla="*/ 0 h 85"/>
                <a:gd name="T2" fmla="*/ 10 w 75"/>
                <a:gd name="T3" fmla="*/ 12 h 85"/>
                <a:gd name="T4" fmla="*/ 0 w 75"/>
                <a:gd name="T5" fmla="*/ 43 h 85"/>
                <a:gd name="T6" fmla="*/ 10 w 75"/>
                <a:gd name="T7" fmla="*/ 74 h 85"/>
                <a:gd name="T8" fmla="*/ 38 w 75"/>
                <a:gd name="T9" fmla="*/ 85 h 85"/>
                <a:gd name="T10" fmla="*/ 62 w 75"/>
                <a:gd name="T11" fmla="*/ 78 h 85"/>
                <a:gd name="T12" fmla="*/ 74 w 75"/>
                <a:gd name="T13" fmla="*/ 59 h 85"/>
                <a:gd name="T14" fmla="*/ 60 w 75"/>
                <a:gd name="T15" fmla="*/ 57 h 85"/>
                <a:gd name="T16" fmla="*/ 51 w 75"/>
                <a:gd name="T17" fmla="*/ 70 h 85"/>
                <a:gd name="T18" fmla="*/ 39 w 75"/>
                <a:gd name="T19" fmla="*/ 74 h 85"/>
                <a:gd name="T20" fmla="*/ 22 w 75"/>
                <a:gd name="T21" fmla="*/ 67 h 85"/>
                <a:gd name="T22" fmla="*/ 14 w 75"/>
                <a:gd name="T23" fmla="*/ 46 h 85"/>
                <a:gd name="T24" fmla="*/ 75 w 75"/>
                <a:gd name="T25" fmla="*/ 46 h 85"/>
                <a:gd name="T26" fmla="*/ 75 w 75"/>
                <a:gd name="T27" fmla="*/ 43 h 85"/>
                <a:gd name="T28" fmla="*/ 64 w 75"/>
                <a:gd name="T29" fmla="*/ 11 h 85"/>
                <a:gd name="T30" fmla="*/ 38 w 75"/>
                <a:gd name="T31" fmla="*/ 0 h 85"/>
                <a:gd name="T32" fmla="*/ 15 w 75"/>
                <a:gd name="T33" fmla="*/ 35 h 85"/>
                <a:gd name="T34" fmla="*/ 22 w 75"/>
                <a:gd name="T35" fmla="*/ 18 h 85"/>
                <a:gd name="T36" fmla="*/ 38 w 75"/>
                <a:gd name="T37" fmla="*/ 12 h 85"/>
                <a:gd name="T38" fmla="*/ 55 w 75"/>
                <a:gd name="T39" fmla="*/ 20 h 85"/>
                <a:gd name="T40" fmla="*/ 60 w 75"/>
                <a:gd name="T41" fmla="*/ 35 h 85"/>
                <a:gd name="T42" fmla="*/ 15 w 75"/>
                <a:gd name="T43" fmla="*/ 35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75" h="85">
                  <a:moveTo>
                    <a:pt x="38" y="0"/>
                  </a:moveTo>
                  <a:cubicBezTo>
                    <a:pt x="26" y="0"/>
                    <a:pt x="17" y="4"/>
                    <a:pt x="10" y="12"/>
                  </a:cubicBezTo>
                  <a:cubicBezTo>
                    <a:pt x="3" y="19"/>
                    <a:pt x="0" y="30"/>
                    <a:pt x="0" y="43"/>
                  </a:cubicBezTo>
                  <a:cubicBezTo>
                    <a:pt x="0" y="57"/>
                    <a:pt x="3" y="67"/>
                    <a:pt x="10" y="74"/>
                  </a:cubicBezTo>
                  <a:cubicBezTo>
                    <a:pt x="17" y="81"/>
                    <a:pt x="27" y="85"/>
                    <a:pt x="38" y="85"/>
                  </a:cubicBezTo>
                  <a:cubicBezTo>
                    <a:pt x="48" y="85"/>
                    <a:pt x="56" y="83"/>
                    <a:pt x="62" y="78"/>
                  </a:cubicBezTo>
                  <a:cubicBezTo>
                    <a:pt x="68" y="74"/>
                    <a:pt x="72" y="67"/>
                    <a:pt x="74" y="59"/>
                  </a:cubicBezTo>
                  <a:cubicBezTo>
                    <a:pt x="60" y="57"/>
                    <a:pt x="60" y="57"/>
                    <a:pt x="60" y="57"/>
                  </a:cubicBezTo>
                  <a:cubicBezTo>
                    <a:pt x="58" y="63"/>
                    <a:pt x="55" y="67"/>
                    <a:pt x="51" y="70"/>
                  </a:cubicBezTo>
                  <a:cubicBezTo>
                    <a:pt x="48" y="73"/>
                    <a:pt x="44" y="74"/>
                    <a:pt x="39" y="74"/>
                  </a:cubicBezTo>
                  <a:cubicBezTo>
                    <a:pt x="32" y="74"/>
                    <a:pt x="26" y="71"/>
                    <a:pt x="22" y="67"/>
                  </a:cubicBezTo>
                  <a:cubicBezTo>
                    <a:pt x="17" y="62"/>
                    <a:pt x="14" y="55"/>
                    <a:pt x="14" y="46"/>
                  </a:cubicBezTo>
                  <a:cubicBezTo>
                    <a:pt x="75" y="46"/>
                    <a:pt x="75" y="46"/>
                    <a:pt x="75" y="46"/>
                  </a:cubicBezTo>
                  <a:cubicBezTo>
                    <a:pt x="75" y="45"/>
                    <a:pt x="75" y="43"/>
                    <a:pt x="75" y="43"/>
                  </a:cubicBezTo>
                  <a:cubicBezTo>
                    <a:pt x="75" y="29"/>
                    <a:pt x="71" y="19"/>
                    <a:pt x="64" y="11"/>
                  </a:cubicBezTo>
                  <a:cubicBezTo>
                    <a:pt x="57" y="4"/>
                    <a:pt x="49" y="0"/>
                    <a:pt x="38" y="0"/>
                  </a:cubicBezTo>
                  <a:close/>
                  <a:moveTo>
                    <a:pt x="15" y="35"/>
                  </a:moveTo>
                  <a:cubicBezTo>
                    <a:pt x="15" y="28"/>
                    <a:pt x="18" y="22"/>
                    <a:pt x="22" y="18"/>
                  </a:cubicBezTo>
                  <a:cubicBezTo>
                    <a:pt x="26" y="14"/>
                    <a:pt x="32" y="12"/>
                    <a:pt x="38" y="12"/>
                  </a:cubicBezTo>
                  <a:cubicBezTo>
                    <a:pt x="45" y="12"/>
                    <a:pt x="51" y="14"/>
                    <a:pt x="55" y="20"/>
                  </a:cubicBezTo>
                  <a:cubicBezTo>
                    <a:pt x="58" y="23"/>
                    <a:pt x="60" y="28"/>
                    <a:pt x="60" y="35"/>
                  </a:cubicBezTo>
                  <a:lnTo>
                    <a:pt x="15" y="3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340" name="í$lidè"/>
            <p:cNvSpPr/>
            <p:nvPr/>
          </p:nvSpPr>
          <p:spPr bwMode="auto">
            <a:xfrm>
              <a:off x="10457116" y="5675903"/>
              <a:ext cx="25400" cy="3016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341" name="iSļiḋé"/>
            <p:cNvSpPr/>
            <p:nvPr/>
          </p:nvSpPr>
          <p:spPr bwMode="auto">
            <a:xfrm>
              <a:off x="10457116" y="5733053"/>
              <a:ext cx="25400" cy="1492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342" name="íṩḷïḑe"/>
            <p:cNvSpPr/>
            <p:nvPr/>
          </p:nvSpPr>
          <p:spPr bwMode="auto">
            <a:xfrm>
              <a:off x="10520616" y="5675903"/>
              <a:ext cx="25400" cy="3016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343" name="i$ḷïḍè"/>
            <p:cNvSpPr/>
            <p:nvPr/>
          </p:nvSpPr>
          <p:spPr bwMode="auto">
            <a:xfrm>
              <a:off x="10488866" y="5733053"/>
              <a:ext cx="57150" cy="211138"/>
            </a:xfrm>
            <a:custGeom>
              <a:avLst/>
              <a:gdLst>
                <a:gd name="T0" fmla="*/ 17 w 31"/>
                <a:gd name="T1" fmla="*/ 85 h 114"/>
                <a:gd name="T2" fmla="*/ 15 w 31"/>
                <a:gd name="T3" fmla="*/ 99 h 114"/>
                <a:gd name="T4" fmla="*/ 9 w 31"/>
                <a:gd name="T5" fmla="*/ 102 h 114"/>
                <a:gd name="T6" fmla="*/ 2 w 31"/>
                <a:gd name="T7" fmla="*/ 101 h 114"/>
                <a:gd name="T8" fmla="*/ 0 w 31"/>
                <a:gd name="T9" fmla="*/ 113 h 114"/>
                <a:gd name="T10" fmla="*/ 11 w 31"/>
                <a:gd name="T11" fmla="*/ 114 h 114"/>
                <a:gd name="T12" fmla="*/ 27 w 31"/>
                <a:gd name="T13" fmla="*/ 107 h 114"/>
                <a:gd name="T14" fmla="*/ 31 w 31"/>
                <a:gd name="T15" fmla="*/ 86 h 114"/>
                <a:gd name="T16" fmla="*/ 31 w 31"/>
                <a:gd name="T17" fmla="*/ 0 h 114"/>
                <a:gd name="T18" fmla="*/ 17 w 31"/>
                <a:gd name="T19" fmla="*/ 0 h 114"/>
                <a:gd name="T20" fmla="*/ 17 w 31"/>
                <a:gd name="T21" fmla="*/ 85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1" h="114">
                  <a:moveTo>
                    <a:pt x="17" y="85"/>
                  </a:moveTo>
                  <a:cubicBezTo>
                    <a:pt x="17" y="93"/>
                    <a:pt x="17" y="98"/>
                    <a:pt x="15" y="99"/>
                  </a:cubicBezTo>
                  <a:cubicBezTo>
                    <a:pt x="14" y="101"/>
                    <a:pt x="12" y="102"/>
                    <a:pt x="9" y="102"/>
                  </a:cubicBezTo>
                  <a:cubicBezTo>
                    <a:pt x="7" y="102"/>
                    <a:pt x="5" y="102"/>
                    <a:pt x="2" y="101"/>
                  </a:cubicBezTo>
                  <a:cubicBezTo>
                    <a:pt x="0" y="113"/>
                    <a:pt x="0" y="113"/>
                    <a:pt x="0" y="113"/>
                  </a:cubicBezTo>
                  <a:cubicBezTo>
                    <a:pt x="3" y="114"/>
                    <a:pt x="7" y="114"/>
                    <a:pt x="11" y="114"/>
                  </a:cubicBezTo>
                  <a:cubicBezTo>
                    <a:pt x="18" y="114"/>
                    <a:pt x="24" y="112"/>
                    <a:pt x="27" y="107"/>
                  </a:cubicBezTo>
                  <a:cubicBezTo>
                    <a:pt x="30" y="103"/>
                    <a:pt x="31" y="96"/>
                    <a:pt x="31" y="86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17" y="0"/>
                    <a:pt x="17" y="0"/>
                    <a:pt x="17" y="0"/>
                  </a:cubicBezTo>
                  <a:lnTo>
                    <a:pt x="17" y="8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344" name="íṩliḋé"/>
            <p:cNvSpPr/>
            <p:nvPr/>
          </p:nvSpPr>
          <p:spPr bwMode="auto">
            <a:xfrm>
              <a:off x="10585703" y="5675903"/>
              <a:ext cx="25400" cy="3016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345" name="ísḷiďé"/>
            <p:cNvSpPr/>
            <p:nvPr/>
          </p:nvSpPr>
          <p:spPr bwMode="auto">
            <a:xfrm>
              <a:off x="10585703" y="5733053"/>
              <a:ext cx="25400" cy="1492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346" name="íṩļïḍe"/>
            <p:cNvSpPr/>
            <p:nvPr/>
          </p:nvSpPr>
          <p:spPr bwMode="auto">
            <a:xfrm>
              <a:off x="10649203" y="5729878"/>
              <a:ext cx="122238" cy="152400"/>
            </a:xfrm>
            <a:custGeom>
              <a:avLst/>
              <a:gdLst>
                <a:gd name="T0" fmla="*/ 65 w 66"/>
                <a:gd name="T1" fmla="*/ 20 h 83"/>
                <a:gd name="T2" fmla="*/ 61 w 66"/>
                <a:gd name="T3" fmla="*/ 10 h 83"/>
                <a:gd name="T4" fmla="*/ 52 w 66"/>
                <a:gd name="T5" fmla="*/ 3 h 83"/>
                <a:gd name="T6" fmla="*/ 38 w 66"/>
                <a:gd name="T7" fmla="*/ 0 h 83"/>
                <a:gd name="T8" fmla="*/ 12 w 66"/>
                <a:gd name="T9" fmla="*/ 14 h 83"/>
                <a:gd name="T10" fmla="*/ 12 w 66"/>
                <a:gd name="T11" fmla="*/ 2 h 83"/>
                <a:gd name="T12" fmla="*/ 0 w 66"/>
                <a:gd name="T13" fmla="*/ 2 h 83"/>
                <a:gd name="T14" fmla="*/ 0 w 66"/>
                <a:gd name="T15" fmla="*/ 83 h 83"/>
                <a:gd name="T16" fmla="*/ 14 w 66"/>
                <a:gd name="T17" fmla="*/ 83 h 83"/>
                <a:gd name="T18" fmla="*/ 14 w 66"/>
                <a:gd name="T19" fmla="*/ 39 h 83"/>
                <a:gd name="T20" fmla="*/ 20 w 66"/>
                <a:gd name="T21" fmla="*/ 18 h 83"/>
                <a:gd name="T22" fmla="*/ 35 w 66"/>
                <a:gd name="T23" fmla="*/ 12 h 83"/>
                <a:gd name="T24" fmla="*/ 45 w 66"/>
                <a:gd name="T25" fmla="*/ 15 h 83"/>
                <a:gd name="T26" fmla="*/ 51 w 66"/>
                <a:gd name="T27" fmla="*/ 21 h 83"/>
                <a:gd name="T28" fmla="*/ 52 w 66"/>
                <a:gd name="T29" fmla="*/ 34 h 83"/>
                <a:gd name="T30" fmla="*/ 52 w 66"/>
                <a:gd name="T31" fmla="*/ 83 h 83"/>
                <a:gd name="T32" fmla="*/ 66 w 66"/>
                <a:gd name="T33" fmla="*/ 83 h 83"/>
                <a:gd name="T34" fmla="*/ 66 w 66"/>
                <a:gd name="T35" fmla="*/ 33 h 83"/>
                <a:gd name="T36" fmla="*/ 65 w 66"/>
                <a:gd name="T37" fmla="*/ 20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6" h="83">
                  <a:moveTo>
                    <a:pt x="65" y="20"/>
                  </a:moveTo>
                  <a:cubicBezTo>
                    <a:pt x="64" y="16"/>
                    <a:pt x="63" y="13"/>
                    <a:pt x="61" y="10"/>
                  </a:cubicBezTo>
                  <a:cubicBezTo>
                    <a:pt x="59" y="7"/>
                    <a:pt x="56" y="5"/>
                    <a:pt x="52" y="3"/>
                  </a:cubicBezTo>
                  <a:cubicBezTo>
                    <a:pt x="48" y="1"/>
                    <a:pt x="43" y="0"/>
                    <a:pt x="38" y="0"/>
                  </a:cubicBezTo>
                  <a:cubicBezTo>
                    <a:pt x="27" y="0"/>
                    <a:pt x="18" y="5"/>
                    <a:pt x="12" y="14"/>
                  </a:cubicBezTo>
                  <a:cubicBezTo>
                    <a:pt x="12" y="2"/>
                    <a:pt x="12" y="2"/>
                    <a:pt x="12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83"/>
                    <a:pt x="0" y="83"/>
                    <a:pt x="0" y="83"/>
                  </a:cubicBezTo>
                  <a:cubicBezTo>
                    <a:pt x="14" y="83"/>
                    <a:pt x="14" y="83"/>
                    <a:pt x="14" y="83"/>
                  </a:cubicBezTo>
                  <a:cubicBezTo>
                    <a:pt x="14" y="39"/>
                    <a:pt x="14" y="39"/>
                    <a:pt x="14" y="39"/>
                  </a:cubicBezTo>
                  <a:cubicBezTo>
                    <a:pt x="14" y="29"/>
                    <a:pt x="16" y="21"/>
                    <a:pt x="20" y="18"/>
                  </a:cubicBezTo>
                  <a:cubicBezTo>
                    <a:pt x="24" y="14"/>
                    <a:pt x="29" y="12"/>
                    <a:pt x="35" y="12"/>
                  </a:cubicBezTo>
                  <a:cubicBezTo>
                    <a:pt x="39" y="12"/>
                    <a:pt x="42" y="13"/>
                    <a:pt x="45" y="15"/>
                  </a:cubicBezTo>
                  <a:cubicBezTo>
                    <a:pt x="48" y="16"/>
                    <a:pt x="50" y="19"/>
                    <a:pt x="51" y="21"/>
                  </a:cubicBezTo>
                  <a:cubicBezTo>
                    <a:pt x="52" y="24"/>
                    <a:pt x="52" y="28"/>
                    <a:pt x="52" y="34"/>
                  </a:cubicBezTo>
                  <a:cubicBezTo>
                    <a:pt x="52" y="83"/>
                    <a:pt x="52" y="83"/>
                    <a:pt x="52" y="83"/>
                  </a:cubicBezTo>
                  <a:cubicBezTo>
                    <a:pt x="66" y="83"/>
                    <a:pt x="66" y="83"/>
                    <a:pt x="66" y="83"/>
                  </a:cubicBezTo>
                  <a:cubicBezTo>
                    <a:pt x="66" y="33"/>
                    <a:pt x="66" y="33"/>
                    <a:pt x="66" y="33"/>
                  </a:cubicBezTo>
                  <a:cubicBezTo>
                    <a:pt x="66" y="27"/>
                    <a:pt x="66" y="23"/>
                    <a:pt x="65" y="2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347" name="í$ľíḍê"/>
            <p:cNvSpPr/>
            <p:nvPr/>
          </p:nvSpPr>
          <p:spPr bwMode="auto">
            <a:xfrm>
              <a:off x="10800016" y="5729878"/>
              <a:ext cx="133350" cy="214313"/>
            </a:xfrm>
            <a:custGeom>
              <a:avLst/>
              <a:gdLst>
                <a:gd name="T0" fmla="*/ 59 w 72"/>
                <a:gd name="T1" fmla="*/ 2 h 116"/>
                <a:gd name="T2" fmla="*/ 59 w 72"/>
                <a:gd name="T3" fmla="*/ 12 h 116"/>
                <a:gd name="T4" fmla="*/ 35 w 72"/>
                <a:gd name="T5" fmla="*/ 0 h 116"/>
                <a:gd name="T6" fmla="*/ 16 w 72"/>
                <a:gd name="T7" fmla="*/ 6 h 116"/>
                <a:gd name="T8" fmla="*/ 4 w 72"/>
                <a:gd name="T9" fmla="*/ 21 h 116"/>
                <a:gd name="T10" fmla="*/ 0 w 72"/>
                <a:gd name="T11" fmla="*/ 42 h 116"/>
                <a:gd name="T12" fmla="*/ 9 w 72"/>
                <a:gd name="T13" fmla="*/ 71 h 116"/>
                <a:gd name="T14" fmla="*/ 35 w 72"/>
                <a:gd name="T15" fmla="*/ 83 h 116"/>
                <a:gd name="T16" fmla="*/ 58 w 72"/>
                <a:gd name="T17" fmla="*/ 73 h 116"/>
                <a:gd name="T18" fmla="*/ 57 w 72"/>
                <a:gd name="T19" fmla="*/ 90 h 116"/>
                <a:gd name="T20" fmla="*/ 49 w 72"/>
                <a:gd name="T21" fmla="*/ 101 h 116"/>
                <a:gd name="T22" fmla="*/ 35 w 72"/>
                <a:gd name="T23" fmla="*/ 105 h 116"/>
                <a:gd name="T24" fmla="*/ 21 w 72"/>
                <a:gd name="T25" fmla="*/ 101 h 116"/>
                <a:gd name="T26" fmla="*/ 16 w 72"/>
                <a:gd name="T27" fmla="*/ 92 h 116"/>
                <a:gd name="T28" fmla="*/ 3 w 72"/>
                <a:gd name="T29" fmla="*/ 90 h 116"/>
                <a:gd name="T30" fmla="*/ 11 w 72"/>
                <a:gd name="T31" fmla="*/ 110 h 116"/>
                <a:gd name="T32" fmla="*/ 35 w 72"/>
                <a:gd name="T33" fmla="*/ 116 h 116"/>
                <a:gd name="T34" fmla="*/ 55 w 72"/>
                <a:gd name="T35" fmla="*/ 112 h 116"/>
                <a:gd name="T36" fmla="*/ 68 w 72"/>
                <a:gd name="T37" fmla="*/ 99 h 116"/>
                <a:gd name="T38" fmla="*/ 72 w 72"/>
                <a:gd name="T39" fmla="*/ 72 h 116"/>
                <a:gd name="T40" fmla="*/ 72 w 72"/>
                <a:gd name="T41" fmla="*/ 2 h 116"/>
                <a:gd name="T42" fmla="*/ 59 w 72"/>
                <a:gd name="T43" fmla="*/ 2 h 116"/>
                <a:gd name="T44" fmla="*/ 52 w 72"/>
                <a:gd name="T45" fmla="*/ 65 h 116"/>
                <a:gd name="T46" fmla="*/ 36 w 72"/>
                <a:gd name="T47" fmla="*/ 72 h 116"/>
                <a:gd name="T48" fmla="*/ 20 w 72"/>
                <a:gd name="T49" fmla="*/ 65 h 116"/>
                <a:gd name="T50" fmla="*/ 14 w 72"/>
                <a:gd name="T51" fmla="*/ 41 h 116"/>
                <a:gd name="T52" fmla="*/ 20 w 72"/>
                <a:gd name="T53" fmla="*/ 19 h 116"/>
                <a:gd name="T54" fmla="*/ 36 w 72"/>
                <a:gd name="T55" fmla="*/ 12 h 116"/>
                <a:gd name="T56" fmla="*/ 52 w 72"/>
                <a:gd name="T57" fmla="*/ 19 h 116"/>
                <a:gd name="T58" fmla="*/ 59 w 72"/>
                <a:gd name="T59" fmla="*/ 42 h 116"/>
                <a:gd name="T60" fmla="*/ 52 w 72"/>
                <a:gd name="T61" fmla="*/ 65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72" h="116">
                  <a:moveTo>
                    <a:pt x="59" y="2"/>
                  </a:moveTo>
                  <a:cubicBezTo>
                    <a:pt x="59" y="12"/>
                    <a:pt x="59" y="12"/>
                    <a:pt x="59" y="12"/>
                  </a:cubicBezTo>
                  <a:cubicBezTo>
                    <a:pt x="53" y="4"/>
                    <a:pt x="45" y="0"/>
                    <a:pt x="35" y="0"/>
                  </a:cubicBezTo>
                  <a:cubicBezTo>
                    <a:pt x="28" y="0"/>
                    <a:pt x="22" y="2"/>
                    <a:pt x="16" y="6"/>
                  </a:cubicBezTo>
                  <a:cubicBezTo>
                    <a:pt x="11" y="9"/>
                    <a:pt x="7" y="14"/>
                    <a:pt x="4" y="21"/>
                  </a:cubicBezTo>
                  <a:cubicBezTo>
                    <a:pt x="1" y="27"/>
                    <a:pt x="0" y="34"/>
                    <a:pt x="0" y="42"/>
                  </a:cubicBezTo>
                  <a:cubicBezTo>
                    <a:pt x="0" y="53"/>
                    <a:pt x="3" y="63"/>
                    <a:pt x="9" y="71"/>
                  </a:cubicBezTo>
                  <a:cubicBezTo>
                    <a:pt x="15" y="79"/>
                    <a:pt x="24" y="83"/>
                    <a:pt x="35" y="83"/>
                  </a:cubicBezTo>
                  <a:cubicBezTo>
                    <a:pt x="44" y="83"/>
                    <a:pt x="51" y="80"/>
                    <a:pt x="58" y="73"/>
                  </a:cubicBezTo>
                  <a:cubicBezTo>
                    <a:pt x="58" y="82"/>
                    <a:pt x="57" y="88"/>
                    <a:pt x="57" y="90"/>
                  </a:cubicBezTo>
                  <a:cubicBezTo>
                    <a:pt x="55" y="95"/>
                    <a:pt x="53" y="99"/>
                    <a:pt x="49" y="101"/>
                  </a:cubicBezTo>
                  <a:cubicBezTo>
                    <a:pt x="46" y="104"/>
                    <a:pt x="41" y="105"/>
                    <a:pt x="35" y="105"/>
                  </a:cubicBezTo>
                  <a:cubicBezTo>
                    <a:pt x="29" y="105"/>
                    <a:pt x="24" y="104"/>
                    <a:pt x="21" y="101"/>
                  </a:cubicBezTo>
                  <a:cubicBezTo>
                    <a:pt x="18" y="99"/>
                    <a:pt x="17" y="96"/>
                    <a:pt x="16" y="92"/>
                  </a:cubicBezTo>
                  <a:cubicBezTo>
                    <a:pt x="3" y="90"/>
                    <a:pt x="3" y="90"/>
                    <a:pt x="3" y="90"/>
                  </a:cubicBezTo>
                  <a:cubicBezTo>
                    <a:pt x="2" y="99"/>
                    <a:pt x="5" y="105"/>
                    <a:pt x="11" y="110"/>
                  </a:cubicBezTo>
                  <a:cubicBezTo>
                    <a:pt x="17" y="114"/>
                    <a:pt x="25" y="116"/>
                    <a:pt x="35" y="116"/>
                  </a:cubicBezTo>
                  <a:cubicBezTo>
                    <a:pt x="43" y="116"/>
                    <a:pt x="50" y="115"/>
                    <a:pt x="55" y="112"/>
                  </a:cubicBezTo>
                  <a:cubicBezTo>
                    <a:pt x="61" y="109"/>
                    <a:pt x="65" y="104"/>
                    <a:pt x="68" y="99"/>
                  </a:cubicBezTo>
                  <a:cubicBezTo>
                    <a:pt x="70" y="94"/>
                    <a:pt x="72" y="85"/>
                    <a:pt x="72" y="72"/>
                  </a:cubicBezTo>
                  <a:cubicBezTo>
                    <a:pt x="72" y="2"/>
                    <a:pt x="72" y="2"/>
                    <a:pt x="72" y="2"/>
                  </a:cubicBezTo>
                  <a:lnTo>
                    <a:pt x="59" y="2"/>
                  </a:lnTo>
                  <a:close/>
                  <a:moveTo>
                    <a:pt x="52" y="65"/>
                  </a:moveTo>
                  <a:cubicBezTo>
                    <a:pt x="48" y="69"/>
                    <a:pt x="43" y="72"/>
                    <a:pt x="36" y="72"/>
                  </a:cubicBezTo>
                  <a:cubicBezTo>
                    <a:pt x="30" y="72"/>
                    <a:pt x="25" y="69"/>
                    <a:pt x="20" y="65"/>
                  </a:cubicBezTo>
                  <a:cubicBezTo>
                    <a:pt x="16" y="60"/>
                    <a:pt x="14" y="52"/>
                    <a:pt x="14" y="41"/>
                  </a:cubicBezTo>
                  <a:cubicBezTo>
                    <a:pt x="14" y="31"/>
                    <a:pt x="16" y="24"/>
                    <a:pt x="20" y="19"/>
                  </a:cubicBezTo>
                  <a:cubicBezTo>
                    <a:pt x="25" y="14"/>
                    <a:pt x="30" y="12"/>
                    <a:pt x="36" y="12"/>
                  </a:cubicBezTo>
                  <a:cubicBezTo>
                    <a:pt x="42" y="12"/>
                    <a:pt x="48" y="14"/>
                    <a:pt x="52" y="19"/>
                  </a:cubicBezTo>
                  <a:cubicBezTo>
                    <a:pt x="56" y="24"/>
                    <a:pt x="59" y="32"/>
                    <a:pt x="59" y="42"/>
                  </a:cubicBezTo>
                  <a:cubicBezTo>
                    <a:pt x="59" y="52"/>
                    <a:pt x="57" y="60"/>
                    <a:pt x="52" y="6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348" name="î$1ïḍè"/>
            <p:cNvSpPr/>
            <p:nvPr/>
          </p:nvSpPr>
          <p:spPr bwMode="auto">
            <a:xfrm>
              <a:off x="5231066" y="5675903"/>
              <a:ext cx="161925" cy="211138"/>
            </a:xfrm>
            <a:custGeom>
              <a:avLst/>
              <a:gdLst>
                <a:gd name="T0" fmla="*/ 73 w 88"/>
                <a:gd name="T1" fmla="*/ 65 h 114"/>
                <a:gd name="T2" fmla="*/ 66 w 88"/>
                <a:gd name="T3" fmla="*/ 93 h 114"/>
                <a:gd name="T4" fmla="*/ 43 w 88"/>
                <a:gd name="T5" fmla="*/ 101 h 114"/>
                <a:gd name="T6" fmla="*/ 27 w 88"/>
                <a:gd name="T7" fmla="*/ 97 h 114"/>
                <a:gd name="T8" fmla="*/ 17 w 88"/>
                <a:gd name="T9" fmla="*/ 86 h 114"/>
                <a:gd name="T10" fmla="*/ 15 w 88"/>
                <a:gd name="T11" fmla="*/ 65 h 114"/>
                <a:gd name="T12" fmla="*/ 15 w 88"/>
                <a:gd name="T13" fmla="*/ 0 h 114"/>
                <a:gd name="T14" fmla="*/ 0 w 88"/>
                <a:gd name="T15" fmla="*/ 0 h 114"/>
                <a:gd name="T16" fmla="*/ 0 w 88"/>
                <a:gd name="T17" fmla="*/ 65 h 114"/>
                <a:gd name="T18" fmla="*/ 4 w 88"/>
                <a:gd name="T19" fmla="*/ 93 h 114"/>
                <a:gd name="T20" fmla="*/ 18 w 88"/>
                <a:gd name="T21" fmla="*/ 109 h 114"/>
                <a:gd name="T22" fmla="*/ 44 w 88"/>
                <a:gd name="T23" fmla="*/ 114 h 114"/>
                <a:gd name="T24" fmla="*/ 70 w 88"/>
                <a:gd name="T25" fmla="*/ 108 h 114"/>
                <a:gd name="T26" fmla="*/ 84 w 88"/>
                <a:gd name="T27" fmla="*/ 92 h 114"/>
                <a:gd name="T28" fmla="*/ 88 w 88"/>
                <a:gd name="T29" fmla="*/ 65 h 114"/>
                <a:gd name="T30" fmla="*/ 88 w 88"/>
                <a:gd name="T31" fmla="*/ 0 h 114"/>
                <a:gd name="T32" fmla="*/ 73 w 88"/>
                <a:gd name="T33" fmla="*/ 0 h 114"/>
                <a:gd name="T34" fmla="*/ 73 w 88"/>
                <a:gd name="T35" fmla="*/ 65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88" h="114">
                  <a:moveTo>
                    <a:pt x="73" y="65"/>
                  </a:moveTo>
                  <a:cubicBezTo>
                    <a:pt x="73" y="79"/>
                    <a:pt x="71" y="88"/>
                    <a:pt x="66" y="93"/>
                  </a:cubicBezTo>
                  <a:cubicBezTo>
                    <a:pt x="62" y="98"/>
                    <a:pt x="54" y="101"/>
                    <a:pt x="43" y="101"/>
                  </a:cubicBezTo>
                  <a:cubicBezTo>
                    <a:pt x="37" y="101"/>
                    <a:pt x="31" y="100"/>
                    <a:pt x="27" y="97"/>
                  </a:cubicBezTo>
                  <a:cubicBezTo>
                    <a:pt x="22" y="95"/>
                    <a:pt x="19" y="91"/>
                    <a:pt x="17" y="86"/>
                  </a:cubicBezTo>
                  <a:cubicBezTo>
                    <a:pt x="16" y="82"/>
                    <a:pt x="15" y="75"/>
                    <a:pt x="15" y="65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65"/>
                    <a:pt x="0" y="65"/>
                    <a:pt x="0" y="65"/>
                  </a:cubicBezTo>
                  <a:cubicBezTo>
                    <a:pt x="0" y="77"/>
                    <a:pt x="1" y="86"/>
                    <a:pt x="4" y="93"/>
                  </a:cubicBezTo>
                  <a:cubicBezTo>
                    <a:pt x="7" y="100"/>
                    <a:pt x="12" y="105"/>
                    <a:pt x="18" y="109"/>
                  </a:cubicBezTo>
                  <a:cubicBezTo>
                    <a:pt x="25" y="112"/>
                    <a:pt x="34" y="114"/>
                    <a:pt x="44" y="114"/>
                  </a:cubicBezTo>
                  <a:cubicBezTo>
                    <a:pt x="55" y="114"/>
                    <a:pt x="64" y="112"/>
                    <a:pt x="70" y="108"/>
                  </a:cubicBezTo>
                  <a:cubicBezTo>
                    <a:pt x="77" y="104"/>
                    <a:pt x="82" y="98"/>
                    <a:pt x="84" y="92"/>
                  </a:cubicBezTo>
                  <a:cubicBezTo>
                    <a:pt x="87" y="85"/>
                    <a:pt x="88" y="76"/>
                    <a:pt x="88" y="65"/>
                  </a:cubicBezTo>
                  <a:cubicBezTo>
                    <a:pt x="88" y="0"/>
                    <a:pt x="88" y="0"/>
                    <a:pt x="88" y="0"/>
                  </a:cubicBezTo>
                  <a:cubicBezTo>
                    <a:pt x="73" y="0"/>
                    <a:pt x="73" y="0"/>
                    <a:pt x="73" y="0"/>
                  </a:cubicBezTo>
                  <a:lnTo>
                    <a:pt x="73" y="6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349" name="ïṡļîḑê"/>
            <p:cNvSpPr/>
            <p:nvPr/>
          </p:nvSpPr>
          <p:spPr bwMode="auto">
            <a:xfrm>
              <a:off x="5435853" y="5729878"/>
              <a:ext cx="120650" cy="152400"/>
            </a:xfrm>
            <a:custGeom>
              <a:avLst/>
              <a:gdLst>
                <a:gd name="T0" fmla="*/ 61 w 66"/>
                <a:gd name="T1" fmla="*/ 10 h 83"/>
                <a:gd name="T2" fmla="*/ 52 w 66"/>
                <a:gd name="T3" fmla="*/ 3 h 83"/>
                <a:gd name="T4" fmla="*/ 38 w 66"/>
                <a:gd name="T5" fmla="*/ 0 h 83"/>
                <a:gd name="T6" fmla="*/ 12 w 66"/>
                <a:gd name="T7" fmla="*/ 14 h 83"/>
                <a:gd name="T8" fmla="*/ 12 w 66"/>
                <a:gd name="T9" fmla="*/ 2 h 83"/>
                <a:gd name="T10" fmla="*/ 0 w 66"/>
                <a:gd name="T11" fmla="*/ 2 h 83"/>
                <a:gd name="T12" fmla="*/ 0 w 66"/>
                <a:gd name="T13" fmla="*/ 83 h 83"/>
                <a:gd name="T14" fmla="*/ 14 w 66"/>
                <a:gd name="T15" fmla="*/ 83 h 83"/>
                <a:gd name="T16" fmla="*/ 14 w 66"/>
                <a:gd name="T17" fmla="*/ 39 h 83"/>
                <a:gd name="T18" fmla="*/ 20 w 66"/>
                <a:gd name="T19" fmla="*/ 18 h 83"/>
                <a:gd name="T20" fmla="*/ 35 w 66"/>
                <a:gd name="T21" fmla="*/ 12 h 83"/>
                <a:gd name="T22" fmla="*/ 45 w 66"/>
                <a:gd name="T23" fmla="*/ 15 h 83"/>
                <a:gd name="T24" fmla="*/ 51 w 66"/>
                <a:gd name="T25" fmla="*/ 21 h 83"/>
                <a:gd name="T26" fmla="*/ 52 w 66"/>
                <a:gd name="T27" fmla="*/ 34 h 83"/>
                <a:gd name="T28" fmla="*/ 52 w 66"/>
                <a:gd name="T29" fmla="*/ 83 h 83"/>
                <a:gd name="T30" fmla="*/ 66 w 66"/>
                <a:gd name="T31" fmla="*/ 83 h 83"/>
                <a:gd name="T32" fmla="*/ 66 w 66"/>
                <a:gd name="T33" fmla="*/ 33 h 83"/>
                <a:gd name="T34" fmla="*/ 65 w 66"/>
                <a:gd name="T35" fmla="*/ 20 h 83"/>
                <a:gd name="T36" fmla="*/ 61 w 66"/>
                <a:gd name="T37" fmla="*/ 10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6" h="83">
                  <a:moveTo>
                    <a:pt x="61" y="10"/>
                  </a:moveTo>
                  <a:cubicBezTo>
                    <a:pt x="59" y="7"/>
                    <a:pt x="56" y="5"/>
                    <a:pt x="52" y="3"/>
                  </a:cubicBezTo>
                  <a:cubicBezTo>
                    <a:pt x="48" y="1"/>
                    <a:pt x="43" y="0"/>
                    <a:pt x="38" y="0"/>
                  </a:cubicBezTo>
                  <a:cubicBezTo>
                    <a:pt x="27" y="0"/>
                    <a:pt x="18" y="5"/>
                    <a:pt x="12" y="14"/>
                  </a:cubicBezTo>
                  <a:cubicBezTo>
                    <a:pt x="12" y="2"/>
                    <a:pt x="12" y="2"/>
                    <a:pt x="12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83"/>
                    <a:pt x="0" y="83"/>
                    <a:pt x="0" y="83"/>
                  </a:cubicBezTo>
                  <a:cubicBezTo>
                    <a:pt x="14" y="83"/>
                    <a:pt x="14" y="83"/>
                    <a:pt x="14" y="83"/>
                  </a:cubicBezTo>
                  <a:cubicBezTo>
                    <a:pt x="14" y="39"/>
                    <a:pt x="14" y="39"/>
                    <a:pt x="14" y="39"/>
                  </a:cubicBezTo>
                  <a:cubicBezTo>
                    <a:pt x="14" y="29"/>
                    <a:pt x="16" y="21"/>
                    <a:pt x="20" y="18"/>
                  </a:cubicBezTo>
                  <a:cubicBezTo>
                    <a:pt x="25" y="14"/>
                    <a:pt x="30" y="12"/>
                    <a:pt x="35" y="12"/>
                  </a:cubicBezTo>
                  <a:cubicBezTo>
                    <a:pt x="39" y="12"/>
                    <a:pt x="42" y="13"/>
                    <a:pt x="45" y="15"/>
                  </a:cubicBezTo>
                  <a:cubicBezTo>
                    <a:pt x="48" y="16"/>
                    <a:pt x="50" y="19"/>
                    <a:pt x="51" y="21"/>
                  </a:cubicBezTo>
                  <a:cubicBezTo>
                    <a:pt x="52" y="24"/>
                    <a:pt x="52" y="28"/>
                    <a:pt x="52" y="34"/>
                  </a:cubicBezTo>
                  <a:cubicBezTo>
                    <a:pt x="52" y="83"/>
                    <a:pt x="52" y="83"/>
                    <a:pt x="52" y="83"/>
                  </a:cubicBezTo>
                  <a:cubicBezTo>
                    <a:pt x="66" y="83"/>
                    <a:pt x="66" y="83"/>
                    <a:pt x="66" y="83"/>
                  </a:cubicBezTo>
                  <a:cubicBezTo>
                    <a:pt x="66" y="33"/>
                    <a:pt x="66" y="33"/>
                    <a:pt x="66" y="33"/>
                  </a:cubicBezTo>
                  <a:cubicBezTo>
                    <a:pt x="66" y="27"/>
                    <a:pt x="66" y="23"/>
                    <a:pt x="65" y="20"/>
                  </a:cubicBezTo>
                  <a:cubicBezTo>
                    <a:pt x="65" y="16"/>
                    <a:pt x="63" y="13"/>
                    <a:pt x="61" y="1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 sz="1350"/>
            </a:p>
          </p:txBody>
        </p:sp>
      </p:grpSp>
      <p:sp>
        <p:nvSpPr>
          <p:cNvPr id="118" name="文本框 117"/>
          <p:cNvSpPr txBox="1"/>
          <p:nvPr userDrawn="1"/>
        </p:nvSpPr>
        <p:spPr>
          <a:xfrm>
            <a:off x="4107180" y="6441440"/>
            <a:ext cx="929640" cy="2527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zh-CN" altLang="en-US" sz="1050" spc="300" dirty="0">
                <a:gradFill>
                  <a:gsLst>
                    <a:gs pos="0">
                      <a:srgbClr val="A22B17">
                        <a:lumMod val="90000"/>
                        <a:lumOff val="10000"/>
                      </a:srgbClr>
                    </a:gs>
                    <a:gs pos="100000">
                      <a:srgbClr val="A22B17">
                        <a:alpha val="92000"/>
                        <a:lumMod val="75000"/>
                        <a:lumOff val="25000"/>
                      </a:srgbClr>
                    </a:gs>
                  </a:gsLst>
                  <a:lin ang="0" scaled="1"/>
                </a:gradFill>
                <a:latin typeface="优设标题黑" panose="00000500000000000000" pitchFamily="2" charset="-122"/>
                <a:ea typeface="优设标题黑" panose="00000500000000000000" pitchFamily="2" charset="-122"/>
              </a:rPr>
              <a:t>求实鼎新</a:t>
            </a:r>
            <a:endParaRPr lang="zh-CN" altLang="en-US" sz="1050" spc="300" dirty="0">
              <a:gradFill>
                <a:gsLst>
                  <a:gs pos="0">
                    <a:srgbClr val="A22B17">
                      <a:lumMod val="90000"/>
                      <a:lumOff val="10000"/>
                    </a:srgbClr>
                  </a:gs>
                  <a:gs pos="100000">
                    <a:srgbClr val="A22B17">
                      <a:alpha val="92000"/>
                      <a:lumMod val="75000"/>
                      <a:lumOff val="25000"/>
                    </a:srgbClr>
                  </a:gs>
                </a:gsLst>
                <a:lin ang="0" scaled="1"/>
              </a:gradFill>
              <a:latin typeface="优设标题黑" panose="00000500000000000000" pitchFamily="2" charset="-122"/>
              <a:ea typeface="优设标题黑" panose="00000500000000000000" pitchFamily="2" charset="-122"/>
            </a:endParaRPr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A-图片 14"/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0" y="1"/>
            <a:ext cx="9144000" cy="3429000"/>
          </a:xfrm>
          <a:custGeom>
            <a:avLst/>
            <a:gdLst>
              <a:gd name="connsiteX0" fmla="*/ 0 w 12192000"/>
              <a:gd name="connsiteY0" fmla="*/ 0 h 3429001"/>
              <a:gd name="connsiteX1" fmla="*/ 12192000 w 12192000"/>
              <a:gd name="connsiteY1" fmla="*/ 0 h 3429001"/>
              <a:gd name="connsiteX2" fmla="*/ 12192000 w 12192000"/>
              <a:gd name="connsiteY2" fmla="*/ 2925589 h 3429001"/>
              <a:gd name="connsiteX3" fmla="*/ 12119571 w 12192000"/>
              <a:gd name="connsiteY3" fmla="*/ 2939984 h 3429001"/>
              <a:gd name="connsiteX4" fmla="*/ 6096001 w 12192000"/>
              <a:gd name="connsiteY4" fmla="*/ 3429001 h 3429001"/>
              <a:gd name="connsiteX5" fmla="*/ 72430 w 12192000"/>
              <a:gd name="connsiteY5" fmla="*/ 2939984 h 3429001"/>
              <a:gd name="connsiteX6" fmla="*/ 0 w 12192000"/>
              <a:gd name="connsiteY6" fmla="*/ 2925589 h 3429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3429001">
                <a:moveTo>
                  <a:pt x="0" y="0"/>
                </a:moveTo>
                <a:lnTo>
                  <a:pt x="12192000" y="0"/>
                </a:lnTo>
                <a:lnTo>
                  <a:pt x="12192000" y="2925589"/>
                </a:lnTo>
                <a:lnTo>
                  <a:pt x="12119571" y="2939984"/>
                </a:lnTo>
                <a:cubicBezTo>
                  <a:pt x="10400109" y="3248724"/>
                  <a:pt x="8327268" y="3429001"/>
                  <a:pt x="6096001" y="3429001"/>
                </a:cubicBezTo>
                <a:cubicBezTo>
                  <a:pt x="3864735" y="3429001"/>
                  <a:pt x="1791894" y="3248724"/>
                  <a:pt x="72430" y="2939984"/>
                </a:cubicBezTo>
                <a:lnTo>
                  <a:pt x="0" y="2925589"/>
                </a:lnTo>
                <a:close/>
              </a:path>
            </a:pathLst>
          </a:custGeom>
        </p:spPr>
      </p:pic>
      <p:sp>
        <p:nvSpPr>
          <p:cNvPr id="10" name="PA-椭圆 7"/>
          <p:cNvSpPr/>
          <p:nvPr userDrawn="1">
            <p:custDataLst>
              <p:tags r:id="rId4"/>
            </p:custDataLst>
          </p:nvPr>
        </p:nvSpPr>
        <p:spPr>
          <a:xfrm>
            <a:off x="-3508130" y="-2297723"/>
            <a:ext cx="16160261" cy="5726723"/>
          </a:xfrm>
          <a:prstGeom prst="ellipse">
            <a:avLst/>
          </a:prstGeom>
          <a:gradFill flip="none" rotWithShape="1">
            <a:gsLst>
              <a:gs pos="0">
                <a:srgbClr val="A22B17">
                  <a:lumMod val="94000"/>
                  <a:lumOff val="6000"/>
                </a:srgbClr>
              </a:gs>
              <a:gs pos="100000">
                <a:srgbClr val="A22B17">
                  <a:alpha val="72000"/>
                  <a:lumMod val="85000"/>
                  <a:lumOff val="15000"/>
                </a:srgb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zh-CN" altLang="en-US" sz="1350" dirty="0"/>
          </a:p>
        </p:txBody>
      </p:sp>
      <p:grpSp>
        <p:nvGrpSpPr>
          <p:cNvPr id="120" name="组合 119"/>
          <p:cNvGrpSpPr/>
          <p:nvPr userDrawn="1"/>
        </p:nvGrpSpPr>
        <p:grpSpPr>
          <a:xfrm>
            <a:off x="4331279" y="636936"/>
            <a:ext cx="481443" cy="642498"/>
            <a:chOff x="5775038" y="636936"/>
            <a:chExt cx="641924" cy="642498"/>
          </a:xfrm>
        </p:grpSpPr>
        <p:grpSp>
          <p:nvGrpSpPr>
            <p:cNvPr id="121" name="组合 120"/>
            <p:cNvGrpSpPr/>
            <p:nvPr/>
          </p:nvGrpSpPr>
          <p:grpSpPr>
            <a:xfrm>
              <a:off x="5775038" y="636936"/>
              <a:ext cx="641924" cy="642498"/>
              <a:chOff x="1560409" y="2069897"/>
              <a:chExt cx="1776413" cy="1778000"/>
            </a:xfrm>
          </p:grpSpPr>
          <p:sp>
            <p:nvSpPr>
              <p:cNvPr id="180" name="îS1îḋé"/>
              <p:cNvSpPr/>
              <p:nvPr/>
            </p:nvSpPr>
            <p:spPr bwMode="auto">
              <a:xfrm>
                <a:off x="1560409" y="2069897"/>
                <a:ext cx="1776413" cy="1778000"/>
              </a:xfrm>
              <a:prstGeom prst="ellipse">
                <a:avLst/>
              </a:prstGeom>
              <a:noFill/>
              <a:ln w="15875" cap="flat">
                <a:solidFill>
                  <a:srgbClr val="F2C68E"/>
                </a:solidFill>
                <a:prstDash val="solid"/>
                <a:miter lim="800000"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181" name="îṣḷïďé"/>
              <p:cNvSpPr/>
              <p:nvPr/>
            </p:nvSpPr>
            <p:spPr bwMode="auto">
              <a:xfrm>
                <a:off x="1779484" y="2288972"/>
                <a:ext cx="1336675" cy="1338263"/>
              </a:xfrm>
              <a:prstGeom prst="ellipse">
                <a:avLst/>
              </a:prstGeom>
              <a:noFill/>
              <a:ln w="9525" cap="flat">
                <a:solidFill>
                  <a:srgbClr val="F2C68E"/>
                </a:solidFill>
                <a:prstDash val="solid"/>
                <a:miter lim="800000"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</p:grpSp>
        <p:grpSp>
          <p:nvGrpSpPr>
            <p:cNvPr id="122" name="组合 121"/>
            <p:cNvGrpSpPr/>
            <p:nvPr/>
          </p:nvGrpSpPr>
          <p:grpSpPr>
            <a:xfrm>
              <a:off x="5804581" y="657875"/>
              <a:ext cx="582837" cy="600621"/>
              <a:chOff x="1641372" y="4491628"/>
              <a:chExt cx="1612900" cy="1662113"/>
            </a:xfrm>
            <a:solidFill>
              <a:srgbClr val="F2C68E"/>
            </a:solidFill>
          </p:grpSpPr>
          <p:sp>
            <p:nvSpPr>
              <p:cNvPr id="123" name="ïś1íďê"/>
              <p:cNvSpPr/>
              <p:nvPr/>
            </p:nvSpPr>
            <p:spPr bwMode="auto">
              <a:xfrm>
                <a:off x="2889147" y="4701178"/>
                <a:ext cx="153988" cy="138113"/>
              </a:xfrm>
              <a:custGeom>
                <a:avLst/>
                <a:gdLst>
                  <a:gd name="T0" fmla="*/ 62 w 83"/>
                  <a:gd name="T1" fmla="*/ 8 h 75"/>
                  <a:gd name="T2" fmla="*/ 53 w 83"/>
                  <a:gd name="T3" fmla="*/ 10 h 75"/>
                  <a:gd name="T4" fmla="*/ 57 w 83"/>
                  <a:gd name="T5" fmla="*/ 0 h 75"/>
                  <a:gd name="T6" fmla="*/ 44 w 83"/>
                  <a:gd name="T7" fmla="*/ 21 h 75"/>
                  <a:gd name="T8" fmla="*/ 58 w 83"/>
                  <a:gd name="T9" fmla="*/ 11 h 75"/>
                  <a:gd name="T10" fmla="*/ 54 w 83"/>
                  <a:gd name="T11" fmla="*/ 18 h 75"/>
                  <a:gd name="T12" fmla="*/ 28 w 83"/>
                  <a:gd name="T13" fmla="*/ 18 h 75"/>
                  <a:gd name="T14" fmla="*/ 19 w 83"/>
                  <a:gd name="T15" fmla="*/ 17 h 75"/>
                  <a:gd name="T16" fmla="*/ 25 w 83"/>
                  <a:gd name="T17" fmla="*/ 12 h 75"/>
                  <a:gd name="T18" fmla="*/ 1 w 83"/>
                  <a:gd name="T19" fmla="*/ 30 h 75"/>
                  <a:gd name="T20" fmla="*/ 13 w 83"/>
                  <a:gd name="T21" fmla="*/ 24 h 75"/>
                  <a:gd name="T22" fmla="*/ 36 w 83"/>
                  <a:gd name="T23" fmla="*/ 28 h 75"/>
                  <a:gd name="T24" fmla="*/ 22 w 83"/>
                  <a:gd name="T25" fmla="*/ 35 h 75"/>
                  <a:gd name="T26" fmla="*/ 45 w 83"/>
                  <a:gd name="T27" fmla="*/ 41 h 75"/>
                  <a:gd name="T28" fmla="*/ 42 w 83"/>
                  <a:gd name="T29" fmla="*/ 41 h 75"/>
                  <a:gd name="T30" fmla="*/ 35 w 83"/>
                  <a:gd name="T31" fmla="*/ 40 h 75"/>
                  <a:gd name="T32" fmla="*/ 37 w 83"/>
                  <a:gd name="T33" fmla="*/ 45 h 75"/>
                  <a:gd name="T34" fmla="*/ 12 w 83"/>
                  <a:gd name="T35" fmla="*/ 34 h 75"/>
                  <a:gd name="T36" fmla="*/ 9 w 83"/>
                  <a:gd name="T37" fmla="*/ 35 h 75"/>
                  <a:gd name="T38" fmla="*/ 20 w 83"/>
                  <a:gd name="T39" fmla="*/ 64 h 75"/>
                  <a:gd name="T40" fmla="*/ 0 w 83"/>
                  <a:gd name="T41" fmla="*/ 57 h 75"/>
                  <a:gd name="T42" fmla="*/ 35 w 83"/>
                  <a:gd name="T43" fmla="*/ 58 h 75"/>
                  <a:gd name="T44" fmla="*/ 46 w 83"/>
                  <a:gd name="T45" fmla="*/ 57 h 75"/>
                  <a:gd name="T46" fmla="*/ 42 w 83"/>
                  <a:gd name="T47" fmla="*/ 48 h 75"/>
                  <a:gd name="T48" fmla="*/ 62 w 83"/>
                  <a:gd name="T49" fmla="*/ 57 h 75"/>
                  <a:gd name="T50" fmla="*/ 61 w 83"/>
                  <a:gd name="T51" fmla="*/ 35 h 75"/>
                  <a:gd name="T52" fmla="*/ 62 w 83"/>
                  <a:gd name="T53" fmla="*/ 34 h 75"/>
                  <a:gd name="T54" fmla="*/ 66 w 83"/>
                  <a:gd name="T55" fmla="*/ 16 h 75"/>
                  <a:gd name="T56" fmla="*/ 63 w 83"/>
                  <a:gd name="T57" fmla="*/ 44 h 75"/>
                  <a:gd name="T58" fmla="*/ 54 w 83"/>
                  <a:gd name="T59" fmla="*/ 32 h 75"/>
                  <a:gd name="T60" fmla="*/ 60 w 83"/>
                  <a:gd name="T61" fmla="*/ 27 h 75"/>
                  <a:gd name="T62" fmla="*/ 67 w 83"/>
                  <a:gd name="T63" fmla="*/ 18 h 75"/>
                  <a:gd name="T64" fmla="*/ 77 w 83"/>
                  <a:gd name="T65" fmla="*/ 23 h 75"/>
                  <a:gd name="T66" fmla="*/ 60 w 83"/>
                  <a:gd name="T67" fmla="*/ 27 h 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83" h="75">
                    <a:moveTo>
                      <a:pt x="66" y="16"/>
                    </a:moveTo>
                    <a:cubicBezTo>
                      <a:pt x="65" y="13"/>
                      <a:pt x="63" y="11"/>
                      <a:pt x="62" y="8"/>
                    </a:cubicBezTo>
                    <a:cubicBezTo>
                      <a:pt x="59" y="9"/>
                      <a:pt x="57" y="9"/>
                      <a:pt x="54" y="10"/>
                    </a:cubicBezTo>
                    <a:cubicBezTo>
                      <a:pt x="54" y="10"/>
                      <a:pt x="53" y="10"/>
                      <a:pt x="53" y="10"/>
                    </a:cubicBezTo>
                    <a:cubicBezTo>
                      <a:pt x="54" y="7"/>
                      <a:pt x="57" y="6"/>
                      <a:pt x="59" y="3"/>
                    </a:cubicBezTo>
                    <a:cubicBezTo>
                      <a:pt x="58" y="2"/>
                      <a:pt x="58" y="1"/>
                      <a:pt x="57" y="0"/>
                    </a:cubicBezTo>
                    <a:cubicBezTo>
                      <a:pt x="48" y="1"/>
                      <a:pt x="37" y="9"/>
                      <a:pt x="42" y="19"/>
                    </a:cubicBezTo>
                    <a:cubicBezTo>
                      <a:pt x="42" y="19"/>
                      <a:pt x="43" y="20"/>
                      <a:pt x="44" y="21"/>
                    </a:cubicBezTo>
                    <a:cubicBezTo>
                      <a:pt x="47" y="19"/>
                      <a:pt x="48" y="15"/>
                      <a:pt x="51" y="14"/>
                    </a:cubicBezTo>
                    <a:cubicBezTo>
                      <a:pt x="53" y="13"/>
                      <a:pt x="55" y="13"/>
                      <a:pt x="58" y="11"/>
                    </a:cubicBezTo>
                    <a:cubicBezTo>
                      <a:pt x="58" y="11"/>
                      <a:pt x="59" y="11"/>
                      <a:pt x="59" y="11"/>
                    </a:cubicBezTo>
                    <a:cubicBezTo>
                      <a:pt x="57" y="14"/>
                      <a:pt x="56" y="16"/>
                      <a:pt x="54" y="18"/>
                    </a:cubicBezTo>
                    <a:cubicBezTo>
                      <a:pt x="54" y="21"/>
                      <a:pt x="55" y="24"/>
                      <a:pt x="54" y="27"/>
                    </a:cubicBezTo>
                    <a:cubicBezTo>
                      <a:pt x="54" y="27"/>
                      <a:pt x="30" y="18"/>
                      <a:pt x="28" y="18"/>
                    </a:cubicBezTo>
                    <a:cubicBezTo>
                      <a:pt x="25" y="17"/>
                      <a:pt x="22" y="17"/>
                      <a:pt x="20" y="17"/>
                    </a:cubicBezTo>
                    <a:cubicBezTo>
                      <a:pt x="19" y="17"/>
                      <a:pt x="19" y="17"/>
                      <a:pt x="19" y="17"/>
                    </a:cubicBezTo>
                    <a:cubicBezTo>
                      <a:pt x="22" y="15"/>
                      <a:pt x="23" y="15"/>
                      <a:pt x="25" y="13"/>
                    </a:cubicBezTo>
                    <a:cubicBezTo>
                      <a:pt x="25" y="12"/>
                      <a:pt x="25" y="12"/>
                      <a:pt x="25" y="12"/>
                    </a:cubicBezTo>
                    <a:cubicBezTo>
                      <a:pt x="18" y="12"/>
                      <a:pt x="11" y="16"/>
                      <a:pt x="4" y="18"/>
                    </a:cubicBezTo>
                    <a:cubicBezTo>
                      <a:pt x="0" y="22"/>
                      <a:pt x="0" y="25"/>
                      <a:pt x="1" y="30"/>
                    </a:cubicBezTo>
                    <a:cubicBezTo>
                      <a:pt x="3" y="31"/>
                      <a:pt x="3" y="31"/>
                      <a:pt x="3" y="31"/>
                    </a:cubicBezTo>
                    <a:cubicBezTo>
                      <a:pt x="6" y="29"/>
                      <a:pt x="9" y="26"/>
                      <a:pt x="13" y="24"/>
                    </a:cubicBezTo>
                    <a:cubicBezTo>
                      <a:pt x="19" y="20"/>
                      <a:pt x="30" y="22"/>
                      <a:pt x="37" y="27"/>
                    </a:cubicBezTo>
                    <a:cubicBezTo>
                      <a:pt x="37" y="28"/>
                      <a:pt x="36" y="28"/>
                      <a:pt x="36" y="28"/>
                    </a:cubicBezTo>
                    <a:cubicBezTo>
                      <a:pt x="31" y="29"/>
                      <a:pt x="28" y="28"/>
                      <a:pt x="22" y="32"/>
                    </a:cubicBezTo>
                    <a:cubicBezTo>
                      <a:pt x="22" y="33"/>
                      <a:pt x="22" y="34"/>
                      <a:pt x="22" y="35"/>
                    </a:cubicBezTo>
                    <a:cubicBezTo>
                      <a:pt x="22" y="37"/>
                      <a:pt x="22" y="37"/>
                      <a:pt x="24" y="39"/>
                    </a:cubicBezTo>
                    <a:cubicBezTo>
                      <a:pt x="31" y="37"/>
                      <a:pt x="37" y="36"/>
                      <a:pt x="45" y="41"/>
                    </a:cubicBezTo>
                    <a:cubicBezTo>
                      <a:pt x="44" y="41"/>
                      <a:pt x="44" y="41"/>
                      <a:pt x="44" y="41"/>
                    </a:cubicBezTo>
                    <a:cubicBezTo>
                      <a:pt x="43" y="41"/>
                      <a:pt x="42" y="41"/>
                      <a:pt x="42" y="41"/>
                    </a:cubicBezTo>
                    <a:cubicBezTo>
                      <a:pt x="41" y="40"/>
                      <a:pt x="40" y="39"/>
                      <a:pt x="39" y="39"/>
                    </a:cubicBezTo>
                    <a:cubicBezTo>
                      <a:pt x="37" y="41"/>
                      <a:pt x="37" y="41"/>
                      <a:pt x="35" y="40"/>
                    </a:cubicBezTo>
                    <a:cubicBezTo>
                      <a:pt x="35" y="40"/>
                      <a:pt x="34" y="41"/>
                      <a:pt x="34" y="41"/>
                    </a:cubicBezTo>
                    <a:cubicBezTo>
                      <a:pt x="35" y="43"/>
                      <a:pt x="35" y="43"/>
                      <a:pt x="37" y="45"/>
                    </a:cubicBezTo>
                    <a:cubicBezTo>
                      <a:pt x="36" y="46"/>
                      <a:pt x="36" y="47"/>
                      <a:pt x="35" y="48"/>
                    </a:cubicBezTo>
                    <a:cubicBezTo>
                      <a:pt x="27" y="44"/>
                      <a:pt x="20" y="40"/>
                      <a:pt x="12" y="34"/>
                    </a:cubicBezTo>
                    <a:cubicBezTo>
                      <a:pt x="11" y="34"/>
                      <a:pt x="11" y="34"/>
                      <a:pt x="10" y="34"/>
                    </a:cubicBezTo>
                    <a:cubicBezTo>
                      <a:pt x="9" y="34"/>
                      <a:pt x="9" y="35"/>
                      <a:pt x="9" y="35"/>
                    </a:cubicBezTo>
                    <a:cubicBezTo>
                      <a:pt x="11" y="55"/>
                      <a:pt x="20" y="44"/>
                      <a:pt x="31" y="54"/>
                    </a:cubicBezTo>
                    <a:cubicBezTo>
                      <a:pt x="27" y="58"/>
                      <a:pt x="23" y="61"/>
                      <a:pt x="20" y="64"/>
                    </a:cubicBezTo>
                    <a:cubicBezTo>
                      <a:pt x="15" y="63"/>
                      <a:pt x="6" y="55"/>
                      <a:pt x="1" y="56"/>
                    </a:cubicBezTo>
                    <a:cubicBezTo>
                      <a:pt x="1" y="56"/>
                      <a:pt x="1" y="56"/>
                      <a:pt x="0" y="57"/>
                    </a:cubicBezTo>
                    <a:cubicBezTo>
                      <a:pt x="2" y="62"/>
                      <a:pt x="7" y="67"/>
                      <a:pt x="9" y="72"/>
                    </a:cubicBezTo>
                    <a:cubicBezTo>
                      <a:pt x="17" y="75"/>
                      <a:pt x="26" y="66"/>
                      <a:pt x="35" y="58"/>
                    </a:cubicBezTo>
                    <a:cubicBezTo>
                      <a:pt x="37" y="60"/>
                      <a:pt x="39" y="63"/>
                      <a:pt x="42" y="65"/>
                    </a:cubicBezTo>
                    <a:cubicBezTo>
                      <a:pt x="46" y="63"/>
                      <a:pt x="46" y="60"/>
                      <a:pt x="46" y="57"/>
                    </a:cubicBezTo>
                    <a:cubicBezTo>
                      <a:pt x="45" y="54"/>
                      <a:pt x="43" y="53"/>
                      <a:pt x="40" y="50"/>
                    </a:cubicBezTo>
                    <a:cubicBezTo>
                      <a:pt x="41" y="49"/>
                      <a:pt x="42" y="48"/>
                      <a:pt x="42" y="48"/>
                    </a:cubicBezTo>
                    <a:cubicBezTo>
                      <a:pt x="46" y="48"/>
                      <a:pt x="49" y="48"/>
                      <a:pt x="53" y="46"/>
                    </a:cubicBezTo>
                    <a:cubicBezTo>
                      <a:pt x="56" y="49"/>
                      <a:pt x="59" y="53"/>
                      <a:pt x="62" y="57"/>
                    </a:cubicBezTo>
                    <a:cubicBezTo>
                      <a:pt x="65" y="56"/>
                      <a:pt x="68" y="55"/>
                      <a:pt x="70" y="52"/>
                    </a:cubicBezTo>
                    <a:cubicBezTo>
                      <a:pt x="72" y="47"/>
                      <a:pt x="66" y="40"/>
                      <a:pt x="61" y="35"/>
                    </a:cubicBezTo>
                    <a:cubicBezTo>
                      <a:pt x="61" y="35"/>
                      <a:pt x="61" y="35"/>
                      <a:pt x="61" y="35"/>
                    </a:cubicBezTo>
                    <a:cubicBezTo>
                      <a:pt x="62" y="34"/>
                      <a:pt x="62" y="34"/>
                      <a:pt x="62" y="34"/>
                    </a:cubicBezTo>
                    <a:cubicBezTo>
                      <a:pt x="69" y="34"/>
                      <a:pt x="72" y="37"/>
                      <a:pt x="79" y="32"/>
                    </a:cubicBezTo>
                    <a:cubicBezTo>
                      <a:pt x="83" y="17"/>
                      <a:pt x="74" y="21"/>
                      <a:pt x="66" y="16"/>
                    </a:cubicBezTo>
                    <a:close/>
                    <a:moveTo>
                      <a:pt x="63" y="44"/>
                    </a:moveTo>
                    <a:cubicBezTo>
                      <a:pt x="63" y="44"/>
                      <a:pt x="63" y="44"/>
                      <a:pt x="63" y="44"/>
                    </a:cubicBezTo>
                    <a:cubicBezTo>
                      <a:pt x="55" y="42"/>
                      <a:pt x="46" y="34"/>
                      <a:pt x="38" y="32"/>
                    </a:cubicBezTo>
                    <a:cubicBezTo>
                      <a:pt x="43" y="28"/>
                      <a:pt x="48" y="31"/>
                      <a:pt x="54" y="32"/>
                    </a:cubicBezTo>
                    <a:cubicBezTo>
                      <a:pt x="57" y="36"/>
                      <a:pt x="60" y="40"/>
                      <a:pt x="63" y="44"/>
                    </a:cubicBezTo>
                    <a:close/>
                    <a:moveTo>
                      <a:pt x="60" y="27"/>
                    </a:moveTo>
                    <a:cubicBezTo>
                      <a:pt x="60" y="27"/>
                      <a:pt x="60" y="26"/>
                      <a:pt x="59" y="26"/>
                    </a:cubicBezTo>
                    <a:cubicBezTo>
                      <a:pt x="61" y="23"/>
                      <a:pt x="63" y="20"/>
                      <a:pt x="67" y="18"/>
                    </a:cubicBezTo>
                    <a:cubicBezTo>
                      <a:pt x="69" y="19"/>
                      <a:pt x="71" y="19"/>
                      <a:pt x="74" y="20"/>
                    </a:cubicBezTo>
                    <a:cubicBezTo>
                      <a:pt x="75" y="21"/>
                      <a:pt x="76" y="22"/>
                      <a:pt x="77" y="23"/>
                    </a:cubicBezTo>
                    <a:cubicBezTo>
                      <a:pt x="77" y="24"/>
                      <a:pt x="77" y="24"/>
                      <a:pt x="77" y="25"/>
                    </a:cubicBezTo>
                    <a:cubicBezTo>
                      <a:pt x="72" y="29"/>
                      <a:pt x="66" y="27"/>
                      <a:pt x="60" y="2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124" name="ïṩḻîḓé"/>
              <p:cNvSpPr/>
              <p:nvPr/>
            </p:nvSpPr>
            <p:spPr bwMode="auto">
              <a:xfrm>
                <a:off x="2728809" y="4582115"/>
                <a:ext cx="101600" cy="147638"/>
              </a:xfrm>
              <a:custGeom>
                <a:avLst/>
                <a:gdLst>
                  <a:gd name="T0" fmla="*/ 47 w 55"/>
                  <a:gd name="T1" fmla="*/ 0 h 80"/>
                  <a:gd name="T2" fmla="*/ 49 w 55"/>
                  <a:gd name="T3" fmla="*/ 20 h 80"/>
                  <a:gd name="T4" fmla="*/ 51 w 55"/>
                  <a:gd name="T5" fmla="*/ 34 h 80"/>
                  <a:gd name="T6" fmla="*/ 28 w 55"/>
                  <a:gd name="T7" fmla="*/ 38 h 80"/>
                  <a:gd name="T8" fmla="*/ 41 w 55"/>
                  <a:gd name="T9" fmla="*/ 68 h 80"/>
                  <a:gd name="T10" fmla="*/ 25 w 55"/>
                  <a:gd name="T11" fmla="*/ 74 h 80"/>
                  <a:gd name="T12" fmla="*/ 26 w 55"/>
                  <a:gd name="T13" fmla="*/ 39 h 80"/>
                  <a:gd name="T14" fmla="*/ 23 w 55"/>
                  <a:gd name="T15" fmla="*/ 40 h 80"/>
                  <a:gd name="T16" fmla="*/ 7 w 55"/>
                  <a:gd name="T17" fmla="*/ 54 h 80"/>
                  <a:gd name="T18" fmla="*/ 0 w 55"/>
                  <a:gd name="T19" fmla="*/ 43 h 80"/>
                  <a:gd name="T20" fmla="*/ 14 w 55"/>
                  <a:gd name="T21" fmla="*/ 28 h 80"/>
                  <a:gd name="T22" fmla="*/ 6 w 55"/>
                  <a:gd name="T23" fmla="*/ 15 h 80"/>
                  <a:gd name="T24" fmla="*/ 7 w 55"/>
                  <a:gd name="T25" fmla="*/ 15 h 80"/>
                  <a:gd name="T26" fmla="*/ 26 w 55"/>
                  <a:gd name="T27" fmla="*/ 18 h 80"/>
                  <a:gd name="T28" fmla="*/ 47 w 55"/>
                  <a:gd name="T29" fmla="*/ 0 h 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55" h="80">
                    <a:moveTo>
                      <a:pt x="47" y="0"/>
                    </a:moveTo>
                    <a:cubicBezTo>
                      <a:pt x="55" y="7"/>
                      <a:pt x="49" y="11"/>
                      <a:pt x="49" y="20"/>
                    </a:cubicBezTo>
                    <a:cubicBezTo>
                      <a:pt x="49" y="25"/>
                      <a:pt x="55" y="25"/>
                      <a:pt x="51" y="34"/>
                    </a:cubicBezTo>
                    <a:cubicBezTo>
                      <a:pt x="44" y="37"/>
                      <a:pt x="34" y="32"/>
                      <a:pt x="28" y="38"/>
                    </a:cubicBezTo>
                    <a:cubicBezTo>
                      <a:pt x="38" y="44"/>
                      <a:pt x="45" y="59"/>
                      <a:pt x="41" y="68"/>
                    </a:cubicBezTo>
                    <a:cubicBezTo>
                      <a:pt x="39" y="74"/>
                      <a:pt x="28" y="80"/>
                      <a:pt x="25" y="74"/>
                    </a:cubicBezTo>
                    <a:cubicBezTo>
                      <a:pt x="19" y="62"/>
                      <a:pt x="39" y="55"/>
                      <a:pt x="26" y="39"/>
                    </a:cubicBezTo>
                    <a:cubicBezTo>
                      <a:pt x="25" y="39"/>
                      <a:pt x="25" y="39"/>
                      <a:pt x="23" y="40"/>
                    </a:cubicBezTo>
                    <a:cubicBezTo>
                      <a:pt x="17" y="44"/>
                      <a:pt x="14" y="52"/>
                      <a:pt x="7" y="54"/>
                    </a:cubicBezTo>
                    <a:cubicBezTo>
                      <a:pt x="2" y="51"/>
                      <a:pt x="2" y="48"/>
                      <a:pt x="0" y="43"/>
                    </a:cubicBezTo>
                    <a:cubicBezTo>
                      <a:pt x="3" y="39"/>
                      <a:pt x="14" y="30"/>
                      <a:pt x="14" y="28"/>
                    </a:cubicBezTo>
                    <a:cubicBezTo>
                      <a:pt x="14" y="25"/>
                      <a:pt x="7" y="19"/>
                      <a:pt x="6" y="15"/>
                    </a:cubicBezTo>
                    <a:cubicBezTo>
                      <a:pt x="6" y="15"/>
                      <a:pt x="7" y="15"/>
                      <a:pt x="7" y="15"/>
                    </a:cubicBezTo>
                    <a:cubicBezTo>
                      <a:pt x="13" y="15"/>
                      <a:pt x="20" y="18"/>
                      <a:pt x="26" y="18"/>
                    </a:cubicBezTo>
                    <a:cubicBezTo>
                      <a:pt x="34" y="17"/>
                      <a:pt x="41" y="5"/>
                      <a:pt x="47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125" name="išḷïḓe"/>
              <p:cNvSpPr/>
              <p:nvPr/>
            </p:nvSpPr>
            <p:spPr bwMode="auto">
              <a:xfrm>
                <a:off x="2490684" y="4510678"/>
                <a:ext cx="144463" cy="160338"/>
              </a:xfrm>
              <a:custGeom>
                <a:avLst/>
                <a:gdLst>
                  <a:gd name="T0" fmla="*/ 55 w 78"/>
                  <a:gd name="T1" fmla="*/ 64 h 87"/>
                  <a:gd name="T2" fmla="*/ 62 w 78"/>
                  <a:gd name="T3" fmla="*/ 50 h 87"/>
                  <a:gd name="T4" fmla="*/ 54 w 78"/>
                  <a:gd name="T5" fmla="*/ 43 h 87"/>
                  <a:gd name="T6" fmla="*/ 69 w 78"/>
                  <a:gd name="T7" fmla="*/ 29 h 87"/>
                  <a:gd name="T8" fmla="*/ 67 w 78"/>
                  <a:gd name="T9" fmla="*/ 21 h 87"/>
                  <a:gd name="T10" fmla="*/ 70 w 78"/>
                  <a:gd name="T11" fmla="*/ 11 h 87"/>
                  <a:gd name="T12" fmla="*/ 69 w 78"/>
                  <a:gd name="T13" fmla="*/ 3 h 87"/>
                  <a:gd name="T14" fmla="*/ 64 w 78"/>
                  <a:gd name="T15" fmla="*/ 0 h 87"/>
                  <a:gd name="T16" fmla="*/ 63 w 78"/>
                  <a:gd name="T17" fmla="*/ 0 h 87"/>
                  <a:gd name="T18" fmla="*/ 63 w 78"/>
                  <a:gd name="T19" fmla="*/ 12 h 87"/>
                  <a:gd name="T20" fmla="*/ 42 w 78"/>
                  <a:gd name="T21" fmla="*/ 25 h 87"/>
                  <a:gd name="T22" fmla="*/ 42 w 78"/>
                  <a:gd name="T23" fmla="*/ 33 h 87"/>
                  <a:gd name="T24" fmla="*/ 33 w 78"/>
                  <a:gd name="T25" fmla="*/ 36 h 87"/>
                  <a:gd name="T26" fmla="*/ 39 w 78"/>
                  <a:gd name="T27" fmla="*/ 33 h 87"/>
                  <a:gd name="T28" fmla="*/ 39 w 78"/>
                  <a:gd name="T29" fmla="*/ 23 h 87"/>
                  <a:gd name="T30" fmla="*/ 36 w 78"/>
                  <a:gd name="T31" fmla="*/ 0 h 87"/>
                  <a:gd name="T32" fmla="*/ 36 w 78"/>
                  <a:gd name="T33" fmla="*/ 0 h 87"/>
                  <a:gd name="T34" fmla="*/ 36 w 78"/>
                  <a:gd name="T35" fmla="*/ 8 h 87"/>
                  <a:gd name="T36" fmla="*/ 30 w 78"/>
                  <a:gd name="T37" fmla="*/ 24 h 87"/>
                  <a:gd name="T38" fmla="*/ 1 w 78"/>
                  <a:gd name="T39" fmla="*/ 29 h 87"/>
                  <a:gd name="T40" fmla="*/ 0 w 78"/>
                  <a:gd name="T41" fmla="*/ 31 h 87"/>
                  <a:gd name="T42" fmla="*/ 18 w 78"/>
                  <a:gd name="T43" fmla="*/ 39 h 87"/>
                  <a:gd name="T44" fmla="*/ 25 w 78"/>
                  <a:gd name="T45" fmla="*/ 36 h 87"/>
                  <a:gd name="T46" fmla="*/ 25 w 78"/>
                  <a:gd name="T47" fmla="*/ 36 h 87"/>
                  <a:gd name="T48" fmla="*/ 3 w 78"/>
                  <a:gd name="T49" fmla="*/ 62 h 87"/>
                  <a:gd name="T50" fmla="*/ 5 w 78"/>
                  <a:gd name="T51" fmla="*/ 67 h 87"/>
                  <a:gd name="T52" fmla="*/ 12 w 78"/>
                  <a:gd name="T53" fmla="*/ 66 h 87"/>
                  <a:gd name="T54" fmla="*/ 22 w 78"/>
                  <a:gd name="T55" fmla="*/ 74 h 87"/>
                  <a:gd name="T56" fmla="*/ 25 w 78"/>
                  <a:gd name="T57" fmla="*/ 61 h 87"/>
                  <a:gd name="T58" fmla="*/ 30 w 78"/>
                  <a:gd name="T59" fmla="*/ 49 h 87"/>
                  <a:gd name="T60" fmla="*/ 48 w 78"/>
                  <a:gd name="T61" fmla="*/ 63 h 87"/>
                  <a:gd name="T62" fmla="*/ 24 w 78"/>
                  <a:gd name="T63" fmla="*/ 71 h 87"/>
                  <a:gd name="T64" fmla="*/ 48 w 78"/>
                  <a:gd name="T65" fmla="*/ 71 h 87"/>
                  <a:gd name="T66" fmla="*/ 51 w 78"/>
                  <a:gd name="T67" fmla="*/ 69 h 87"/>
                  <a:gd name="T68" fmla="*/ 77 w 78"/>
                  <a:gd name="T69" fmla="*/ 87 h 87"/>
                  <a:gd name="T70" fmla="*/ 78 w 78"/>
                  <a:gd name="T71" fmla="*/ 86 h 87"/>
                  <a:gd name="T72" fmla="*/ 55 w 78"/>
                  <a:gd name="T73" fmla="*/ 64 h 87"/>
                  <a:gd name="T74" fmla="*/ 15 w 78"/>
                  <a:gd name="T75" fmla="*/ 64 h 87"/>
                  <a:gd name="T76" fmla="*/ 15 w 78"/>
                  <a:gd name="T77" fmla="*/ 65 h 87"/>
                  <a:gd name="T78" fmla="*/ 11 w 78"/>
                  <a:gd name="T79" fmla="*/ 63 h 87"/>
                  <a:gd name="T80" fmla="*/ 12 w 78"/>
                  <a:gd name="T81" fmla="*/ 60 h 87"/>
                  <a:gd name="T82" fmla="*/ 15 w 78"/>
                  <a:gd name="T83" fmla="*/ 57 h 87"/>
                  <a:gd name="T84" fmla="*/ 17 w 78"/>
                  <a:gd name="T85" fmla="*/ 58 h 87"/>
                  <a:gd name="T86" fmla="*/ 15 w 78"/>
                  <a:gd name="T87" fmla="*/ 64 h 87"/>
                  <a:gd name="T88" fmla="*/ 32 w 78"/>
                  <a:gd name="T89" fmla="*/ 46 h 87"/>
                  <a:gd name="T90" fmla="*/ 44 w 78"/>
                  <a:gd name="T91" fmla="*/ 34 h 87"/>
                  <a:gd name="T92" fmla="*/ 52 w 78"/>
                  <a:gd name="T93" fmla="*/ 35 h 87"/>
                  <a:gd name="T94" fmla="*/ 46 w 78"/>
                  <a:gd name="T95" fmla="*/ 50 h 87"/>
                  <a:gd name="T96" fmla="*/ 48 w 78"/>
                  <a:gd name="T97" fmla="*/ 52 h 87"/>
                  <a:gd name="T98" fmla="*/ 56 w 78"/>
                  <a:gd name="T99" fmla="*/ 50 h 87"/>
                  <a:gd name="T100" fmla="*/ 52 w 78"/>
                  <a:gd name="T101" fmla="*/ 61 h 87"/>
                  <a:gd name="T102" fmla="*/ 32 w 78"/>
                  <a:gd name="T103" fmla="*/ 46 h 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78" h="87">
                    <a:moveTo>
                      <a:pt x="55" y="64"/>
                    </a:moveTo>
                    <a:cubicBezTo>
                      <a:pt x="58" y="60"/>
                      <a:pt x="60" y="55"/>
                      <a:pt x="62" y="50"/>
                    </a:cubicBezTo>
                    <a:cubicBezTo>
                      <a:pt x="61" y="47"/>
                      <a:pt x="58" y="44"/>
                      <a:pt x="54" y="43"/>
                    </a:cubicBezTo>
                    <a:cubicBezTo>
                      <a:pt x="57" y="36"/>
                      <a:pt x="64" y="33"/>
                      <a:pt x="69" y="29"/>
                    </a:cubicBezTo>
                    <a:cubicBezTo>
                      <a:pt x="69" y="25"/>
                      <a:pt x="67" y="24"/>
                      <a:pt x="67" y="21"/>
                    </a:cubicBezTo>
                    <a:cubicBezTo>
                      <a:pt x="68" y="18"/>
                      <a:pt x="69" y="15"/>
                      <a:pt x="70" y="11"/>
                    </a:cubicBezTo>
                    <a:cubicBezTo>
                      <a:pt x="70" y="9"/>
                      <a:pt x="69" y="6"/>
                      <a:pt x="69" y="3"/>
                    </a:cubicBezTo>
                    <a:cubicBezTo>
                      <a:pt x="68" y="2"/>
                      <a:pt x="67" y="1"/>
                      <a:pt x="64" y="0"/>
                    </a:cubicBezTo>
                    <a:cubicBezTo>
                      <a:pt x="64" y="0"/>
                      <a:pt x="63" y="0"/>
                      <a:pt x="63" y="0"/>
                    </a:cubicBezTo>
                    <a:cubicBezTo>
                      <a:pt x="61" y="5"/>
                      <a:pt x="63" y="8"/>
                      <a:pt x="63" y="12"/>
                    </a:cubicBezTo>
                    <a:cubicBezTo>
                      <a:pt x="63" y="24"/>
                      <a:pt x="52" y="26"/>
                      <a:pt x="42" y="25"/>
                    </a:cubicBezTo>
                    <a:cubicBezTo>
                      <a:pt x="41" y="28"/>
                      <a:pt x="41" y="31"/>
                      <a:pt x="42" y="33"/>
                    </a:cubicBezTo>
                    <a:cubicBezTo>
                      <a:pt x="39" y="34"/>
                      <a:pt x="36" y="35"/>
                      <a:pt x="33" y="36"/>
                    </a:cubicBezTo>
                    <a:cubicBezTo>
                      <a:pt x="34" y="32"/>
                      <a:pt x="36" y="32"/>
                      <a:pt x="39" y="33"/>
                    </a:cubicBezTo>
                    <a:cubicBezTo>
                      <a:pt x="41" y="29"/>
                      <a:pt x="38" y="27"/>
                      <a:pt x="39" y="23"/>
                    </a:cubicBezTo>
                    <a:cubicBezTo>
                      <a:pt x="39" y="14"/>
                      <a:pt x="53" y="6"/>
                      <a:pt x="36" y="0"/>
                    </a:cubicBezTo>
                    <a:cubicBezTo>
                      <a:pt x="36" y="0"/>
                      <a:pt x="36" y="0"/>
                      <a:pt x="36" y="0"/>
                    </a:cubicBezTo>
                    <a:cubicBezTo>
                      <a:pt x="35" y="3"/>
                      <a:pt x="36" y="5"/>
                      <a:pt x="36" y="8"/>
                    </a:cubicBezTo>
                    <a:cubicBezTo>
                      <a:pt x="34" y="14"/>
                      <a:pt x="32" y="19"/>
                      <a:pt x="30" y="24"/>
                    </a:cubicBezTo>
                    <a:cubicBezTo>
                      <a:pt x="22" y="26"/>
                      <a:pt x="9" y="26"/>
                      <a:pt x="1" y="29"/>
                    </a:cubicBezTo>
                    <a:cubicBezTo>
                      <a:pt x="1" y="30"/>
                      <a:pt x="1" y="30"/>
                      <a:pt x="0" y="31"/>
                    </a:cubicBezTo>
                    <a:cubicBezTo>
                      <a:pt x="1" y="35"/>
                      <a:pt x="12" y="39"/>
                      <a:pt x="18" y="39"/>
                    </a:cubicBezTo>
                    <a:cubicBezTo>
                      <a:pt x="20" y="38"/>
                      <a:pt x="22" y="37"/>
                      <a:pt x="25" y="36"/>
                    </a:cubicBezTo>
                    <a:cubicBezTo>
                      <a:pt x="25" y="36"/>
                      <a:pt x="25" y="36"/>
                      <a:pt x="25" y="36"/>
                    </a:cubicBezTo>
                    <a:cubicBezTo>
                      <a:pt x="21" y="52"/>
                      <a:pt x="9" y="50"/>
                      <a:pt x="3" y="62"/>
                    </a:cubicBezTo>
                    <a:cubicBezTo>
                      <a:pt x="4" y="63"/>
                      <a:pt x="4" y="65"/>
                      <a:pt x="5" y="67"/>
                    </a:cubicBezTo>
                    <a:cubicBezTo>
                      <a:pt x="7" y="67"/>
                      <a:pt x="10" y="67"/>
                      <a:pt x="12" y="66"/>
                    </a:cubicBezTo>
                    <a:cubicBezTo>
                      <a:pt x="17" y="68"/>
                      <a:pt x="17" y="72"/>
                      <a:pt x="22" y="74"/>
                    </a:cubicBezTo>
                    <a:cubicBezTo>
                      <a:pt x="25" y="71"/>
                      <a:pt x="24" y="66"/>
                      <a:pt x="25" y="61"/>
                    </a:cubicBezTo>
                    <a:cubicBezTo>
                      <a:pt x="25" y="56"/>
                      <a:pt x="28" y="52"/>
                      <a:pt x="30" y="49"/>
                    </a:cubicBezTo>
                    <a:cubicBezTo>
                      <a:pt x="40" y="53"/>
                      <a:pt x="42" y="58"/>
                      <a:pt x="48" y="63"/>
                    </a:cubicBezTo>
                    <a:cubicBezTo>
                      <a:pt x="44" y="74"/>
                      <a:pt x="29" y="63"/>
                      <a:pt x="24" y="71"/>
                    </a:cubicBezTo>
                    <a:cubicBezTo>
                      <a:pt x="39" y="78"/>
                      <a:pt x="36" y="74"/>
                      <a:pt x="48" y="71"/>
                    </a:cubicBezTo>
                    <a:cubicBezTo>
                      <a:pt x="49" y="70"/>
                      <a:pt x="50" y="70"/>
                      <a:pt x="51" y="69"/>
                    </a:cubicBezTo>
                    <a:cubicBezTo>
                      <a:pt x="58" y="79"/>
                      <a:pt x="58" y="87"/>
                      <a:pt x="77" y="87"/>
                    </a:cubicBezTo>
                    <a:cubicBezTo>
                      <a:pt x="77" y="87"/>
                      <a:pt x="78" y="86"/>
                      <a:pt x="78" y="86"/>
                    </a:cubicBezTo>
                    <a:cubicBezTo>
                      <a:pt x="74" y="76"/>
                      <a:pt x="60" y="73"/>
                      <a:pt x="55" y="64"/>
                    </a:cubicBezTo>
                    <a:close/>
                    <a:moveTo>
                      <a:pt x="15" y="64"/>
                    </a:moveTo>
                    <a:cubicBezTo>
                      <a:pt x="15" y="65"/>
                      <a:pt x="15" y="65"/>
                      <a:pt x="15" y="65"/>
                    </a:cubicBezTo>
                    <a:cubicBezTo>
                      <a:pt x="14" y="64"/>
                      <a:pt x="13" y="64"/>
                      <a:pt x="11" y="63"/>
                    </a:cubicBezTo>
                    <a:cubicBezTo>
                      <a:pt x="11" y="62"/>
                      <a:pt x="12" y="61"/>
                      <a:pt x="12" y="60"/>
                    </a:cubicBezTo>
                    <a:cubicBezTo>
                      <a:pt x="13" y="59"/>
                      <a:pt x="14" y="58"/>
                      <a:pt x="15" y="57"/>
                    </a:cubicBezTo>
                    <a:cubicBezTo>
                      <a:pt x="16" y="57"/>
                      <a:pt x="16" y="58"/>
                      <a:pt x="17" y="58"/>
                    </a:cubicBezTo>
                    <a:cubicBezTo>
                      <a:pt x="16" y="60"/>
                      <a:pt x="16" y="62"/>
                      <a:pt x="15" y="64"/>
                    </a:cubicBezTo>
                    <a:close/>
                    <a:moveTo>
                      <a:pt x="32" y="46"/>
                    </a:moveTo>
                    <a:cubicBezTo>
                      <a:pt x="35" y="43"/>
                      <a:pt x="44" y="37"/>
                      <a:pt x="44" y="34"/>
                    </a:cubicBezTo>
                    <a:cubicBezTo>
                      <a:pt x="47" y="34"/>
                      <a:pt x="49" y="35"/>
                      <a:pt x="52" y="35"/>
                    </a:cubicBezTo>
                    <a:cubicBezTo>
                      <a:pt x="50" y="40"/>
                      <a:pt x="45" y="44"/>
                      <a:pt x="46" y="50"/>
                    </a:cubicBezTo>
                    <a:cubicBezTo>
                      <a:pt x="46" y="51"/>
                      <a:pt x="47" y="51"/>
                      <a:pt x="48" y="52"/>
                    </a:cubicBezTo>
                    <a:cubicBezTo>
                      <a:pt x="50" y="51"/>
                      <a:pt x="53" y="49"/>
                      <a:pt x="56" y="50"/>
                    </a:cubicBezTo>
                    <a:cubicBezTo>
                      <a:pt x="55" y="54"/>
                      <a:pt x="53" y="57"/>
                      <a:pt x="52" y="61"/>
                    </a:cubicBezTo>
                    <a:cubicBezTo>
                      <a:pt x="45" y="56"/>
                      <a:pt x="44" y="49"/>
                      <a:pt x="32" y="4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126" name="ï$ľíḍe"/>
              <p:cNvSpPr/>
              <p:nvPr/>
            </p:nvSpPr>
            <p:spPr bwMode="auto">
              <a:xfrm>
                <a:off x="2255734" y="4491628"/>
                <a:ext cx="136525" cy="174625"/>
              </a:xfrm>
              <a:custGeom>
                <a:avLst/>
                <a:gdLst>
                  <a:gd name="T0" fmla="*/ 74 w 74"/>
                  <a:gd name="T1" fmla="*/ 41 h 94"/>
                  <a:gd name="T2" fmla="*/ 64 w 74"/>
                  <a:gd name="T3" fmla="*/ 35 h 94"/>
                  <a:gd name="T4" fmla="*/ 51 w 74"/>
                  <a:gd name="T5" fmla="*/ 5 h 94"/>
                  <a:gd name="T6" fmla="*/ 58 w 74"/>
                  <a:gd name="T7" fmla="*/ 39 h 94"/>
                  <a:gd name="T8" fmla="*/ 47 w 74"/>
                  <a:gd name="T9" fmla="*/ 47 h 94"/>
                  <a:gd name="T10" fmla="*/ 55 w 74"/>
                  <a:gd name="T11" fmla="*/ 34 h 94"/>
                  <a:gd name="T12" fmla="*/ 47 w 74"/>
                  <a:gd name="T13" fmla="*/ 29 h 94"/>
                  <a:gd name="T14" fmla="*/ 54 w 74"/>
                  <a:gd name="T15" fmla="*/ 22 h 94"/>
                  <a:gd name="T16" fmla="*/ 54 w 74"/>
                  <a:gd name="T17" fmla="*/ 20 h 94"/>
                  <a:gd name="T18" fmla="*/ 54 w 74"/>
                  <a:gd name="T19" fmla="*/ 19 h 94"/>
                  <a:gd name="T20" fmla="*/ 41 w 74"/>
                  <a:gd name="T21" fmla="*/ 19 h 94"/>
                  <a:gd name="T22" fmla="*/ 44 w 74"/>
                  <a:gd name="T23" fmla="*/ 22 h 94"/>
                  <a:gd name="T24" fmla="*/ 44 w 74"/>
                  <a:gd name="T25" fmla="*/ 32 h 94"/>
                  <a:gd name="T26" fmla="*/ 48 w 74"/>
                  <a:gd name="T27" fmla="*/ 37 h 94"/>
                  <a:gd name="T28" fmla="*/ 40 w 74"/>
                  <a:gd name="T29" fmla="*/ 58 h 94"/>
                  <a:gd name="T30" fmla="*/ 44 w 74"/>
                  <a:gd name="T31" fmla="*/ 61 h 94"/>
                  <a:gd name="T32" fmla="*/ 59 w 74"/>
                  <a:gd name="T33" fmla="*/ 46 h 94"/>
                  <a:gd name="T34" fmla="*/ 59 w 74"/>
                  <a:gd name="T35" fmla="*/ 46 h 94"/>
                  <a:gd name="T36" fmla="*/ 66 w 74"/>
                  <a:gd name="T37" fmla="*/ 93 h 94"/>
                  <a:gd name="T38" fmla="*/ 68 w 74"/>
                  <a:gd name="T39" fmla="*/ 93 h 94"/>
                  <a:gd name="T40" fmla="*/ 65 w 74"/>
                  <a:gd name="T41" fmla="*/ 42 h 94"/>
                  <a:gd name="T42" fmla="*/ 73 w 74"/>
                  <a:gd name="T43" fmla="*/ 41 h 94"/>
                  <a:gd name="T44" fmla="*/ 74 w 74"/>
                  <a:gd name="T45" fmla="*/ 41 h 94"/>
                  <a:gd name="T46" fmla="*/ 43 w 74"/>
                  <a:gd name="T47" fmla="*/ 42 h 94"/>
                  <a:gd name="T48" fmla="*/ 35 w 74"/>
                  <a:gd name="T49" fmla="*/ 48 h 94"/>
                  <a:gd name="T50" fmla="*/ 39 w 74"/>
                  <a:gd name="T51" fmla="*/ 38 h 94"/>
                  <a:gd name="T52" fmla="*/ 37 w 74"/>
                  <a:gd name="T53" fmla="*/ 29 h 94"/>
                  <a:gd name="T54" fmla="*/ 40 w 74"/>
                  <a:gd name="T55" fmla="*/ 27 h 94"/>
                  <a:gd name="T56" fmla="*/ 34 w 74"/>
                  <a:gd name="T57" fmla="*/ 16 h 94"/>
                  <a:gd name="T58" fmla="*/ 32 w 74"/>
                  <a:gd name="T59" fmla="*/ 15 h 94"/>
                  <a:gd name="T60" fmla="*/ 4 w 74"/>
                  <a:gd name="T61" fmla="*/ 46 h 94"/>
                  <a:gd name="T62" fmla="*/ 30 w 74"/>
                  <a:gd name="T63" fmla="*/ 29 h 94"/>
                  <a:gd name="T64" fmla="*/ 8 w 74"/>
                  <a:gd name="T65" fmla="*/ 52 h 94"/>
                  <a:gd name="T66" fmla="*/ 0 w 74"/>
                  <a:gd name="T67" fmla="*/ 56 h 94"/>
                  <a:gd name="T68" fmla="*/ 3 w 74"/>
                  <a:gd name="T69" fmla="*/ 61 h 94"/>
                  <a:gd name="T70" fmla="*/ 23 w 74"/>
                  <a:gd name="T71" fmla="*/ 54 h 94"/>
                  <a:gd name="T72" fmla="*/ 25 w 74"/>
                  <a:gd name="T73" fmla="*/ 53 h 94"/>
                  <a:gd name="T74" fmla="*/ 25 w 74"/>
                  <a:gd name="T75" fmla="*/ 53 h 94"/>
                  <a:gd name="T76" fmla="*/ 20 w 74"/>
                  <a:gd name="T77" fmla="*/ 72 h 94"/>
                  <a:gd name="T78" fmla="*/ 25 w 74"/>
                  <a:gd name="T79" fmla="*/ 76 h 94"/>
                  <a:gd name="T80" fmla="*/ 26 w 74"/>
                  <a:gd name="T81" fmla="*/ 76 h 94"/>
                  <a:gd name="T82" fmla="*/ 30 w 74"/>
                  <a:gd name="T83" fmla="*/ 67 h 94"/>
                  <a:gd name="T84" fmla="*/ 31 w 74"/>
                  <a:gd name="T85" fmla="*/ 66 h 94"/>
                  <a:gd name="T86" fmla="*/ 32 w 74"/>
                  <a:gd name="T87" fmla="*/ 75 h 94"/>
                  <a:gd name="T88" fmla="*/ 35 w 74"/>
                  <a:gd name="T89" fmla="*/ 76 h 94"/>
                  <a:gd name="T90" fmla="*/ 38 w 74"/>
                  <a:gd name="T91" fmla="*/ 76 h 94"/>
                  <a:gd name="T92" fmla="*/ 35 w 74"/>
                  <a:gd name="T93" fmla="*/ 61 h 94"/>
                  <a:gd name="T94" fmla="*/ 43 w 74"/>
                  <a:gd name="T95" fmla="*/ 42 h 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74" h="94">
                    <a:moveTo>
                      <a:pt x="74" y="41"/>
                    </a:moveTo>
                    <a:cubicBezTo>
                      <a:pt x="73" y="36"/>
                      <a:pt x="70" y="34"/>
                      <a:pt x="64" y="35"/>
                    </a:cubicBezTo>
                    <a:cubicBezTo>
                      <a:pt x="63" y="24"/>
                      <a:pt x="67" y="0"/>
                      <a:pt x="51" y="5"/>
                    </a:cubicBezTo>
                    <a:cubicBezTo>
                      <a:pt x="50" y="9"/>
                      <a:pt x="61" y="31"/>
                      <a:pt x="58" y="39"/>
                    </a:cubicBezTo>
                    <a:cubicBezTo>
                      <a:pt x="58" y="39"/>
                      <a:pt x="47" y="47"/>
                      <a:pt x="47" y="47"/>
                    </a:cubicBezTo>
                    <a:cubicBezTo>
                      <a:pt x="48" y="41"/>
                      <a:pt x="53" y="39"/>
                      <a:pt x="55" y="34"/>
                    </a:cubicBezTo>
                    <a:cubicBezTo>
                      <a:pt x="56" y="30"/>
                      <a:pt x="49" y="31"/>
                      <a:pt x="47" y="29"/>
                    </a:cubicBezTo>
                    <a:cubicBezTo>
                      <a:pt x="48" y="26"/>
                      <a:pt x="51" y="23"/>
                      <a:pt x="54" y="22"/>
                    </a:cubicBezTo>
                    <a:cubicBezTo>
                      <a:pt x="54" y="21"/>
                      <a:pt x="54" y="21"/>
                      <a:pt x="54" y="20"/>
                    </a:cubicBezTo>
                    <a:cubicBezTo>
                      <a:pt x="54" y="20"/>
                      <a:pt x="54" y="19"/>
                      <a:pt x="54" y="19"/>
                    </a:cubicBezTo>
                    <a:cubicBezTo>
                      <a:pt x="50" y="17"/>
                      <a:pt x="45" y="17"/>
                      <a:pt x="41" y="19"/>
                    </a:cubicBezTo>
                    <a:cubicBezTo>
                      <a:pt x="41" y="22"/>
                      <a:pt x="42" y="22"/>
                      <a:pt x="44" y="22"/>
                    </a:cubicBezTo>
                    <a:cubicBezTo>
                      <a:pt x="44" y="26"/>
                      <a:pt x="44" y="29"/>
                      <a:pt x="44" y="32"/>
                    </a:cubicBezTo>
                    <a:cubicBezTo>
                      <a:pt x="45" y="34"/>
                      <a:pt x="47" y="35"/>
                      <a:pt x="48" y="37"/>
                    </a:cubicBezTo>
                    <a:cubicBezTo>
                      <a:pt x="46" y="41"/>
                      <a:pt x="35" y="51"/>
                      <a:pt x="40" y="58"/>
                    </a:cubicBezTo>
                    <a:cubicBezTo>
                      <a:pt x="41" y="60"/>
                      <a:pt x="42" y="60"/>
                      <a:pt x="44" y="61"/>
                    </a:cubicBezTo>
                    <a:cubicBezTo>
                      <a:pt x="49" y="55"/>
                      <a:pt x="51" y="50"/>
                      <a:pt x="59" y="46"/>
                    </a:cubicBezTo>
                    <a:cubicBezTo>
                      <a:pt x="59" y="46"/>
                      <a:pt x="59" y="46"/>
                      <a:pt x="59" y="46"/>
                    </a:cubicBezTo>
                    <a:cubicBezTo>
                      <a:pt x="61" y="60"/>
                      <a:pt x="59" y="83"/>
                      <a:pt x="66" y="93"/>
                    </a:cubicBezTo>
                    <a:cubicBezTo>
                      <a:pt x="67" y="94"/>
                      <a:pt x="67" y="93"/>
                      <a:pt x="68" y="93"/>
                    </a:cubicBezTo>
                    <a:cubicBezTo>
                      <a:pt x="68" y="78"/>
                      <a:pt x="67" y="60"/>
                      <a:pt x="65" y="42"/>
                    </a:cubicBezTo>
                    <a:cubicBezTo>
                      <a:pt x="68" y="42"/>
                      <a:pt x="72" y="42"/>
                      <a:pt x="73" y="41"/>
                    </a:cubicBezTo>
                    <a:cubicBezTo>
                      <a:pt x="74" y="41"/>
                      <a:pt x="74" y="41"/>
                      <a:pt x="74" y="41"/>
                    </a:cubicBezTo>
                    <a:close/>
                    <a:moveTo>
                      <a:pt x="43" y="42"/>
                    </a:moveTo>
                    <a:cubicBezTo>
                      <a:pt x="39" y="44"/>
                      <a:pt x="38" y="46"/>
                      <a:pt x="35" y="48"/>
                    </a:cubicBezTo>
                    <a:cubicBezTo>
                      <a:pt x="35" y="42"/>
                      <a:pt x="39" y="42"/>
                      <a:pt x="39" y="38"/>
                    </a:cubicBezTo>
                    <a:cubicBezTo>
                      <a:pt x="40" y="35"/>
                      <a:pt x="37" y="33"/>
                      <a:pt x="37" y="29"/>
                    </a:cubicBezTo>
                    <a:cubicBezTo>
                      <a:pt x="38" y="28"/>
                      <a:pt x="39" y="28"/>
                      <a:pt x="40" y="27"/>
                    </a:cubicBezTo>
                    <a:cubicBezTo>
                      <a:pt x="41" y="24"/>
                      <a:pt x="36" y="16"/>
                      <a:pt x="34" y="16"/>
                    </a:cubicBezTo>
                    <a:cubicBezTo>
                      <a:pt x="33" y="16"/>
                      <a:pt x="32" y="15"/>
                      <a:pt x="32" y="15"/>
                    </a:cubicBezTo>
                    <a:cubicBezTo>
                      <a:pt x="22" y="28"/>
                      <a:pt x="10" y="30"/>
                      <a:pt x="4" y="46"/>
                    </a:cubicBezTo>
                    <a:cubicBezTo>
                      <a:pt x="13" y="41"/>
                      <a:pt x="17" y="31"/>
                      <a:pt x="30" y="29"/>
                    </a:cubicBezTo>
                    <a:cubicBezTo>
                      <a:pt x="29" y="39"/>
                      <a:pt x="16" y="48"/>
                      <a:pt x="8" y="52"/>
                    </a:cubicBezTo>
                    <a:cubicBezTo>
                      <a:pt x="4" y="54"/>
                      <a:pt x="2" y="52"/>
                      <a:pt x="0" y="56"/>
                    </a:cubicBezTo>
                    <a:cubicBezTo>
                      <a:pt x="0" y="59"/>
                      <a:pt x="1" y="60"/>
                      <a:pt x="3" y="61"/>
                    </a:cubicBezTo>
                    <a:cubicBezTo>
                      <a:pt x="10" y="63"/>
                      <a:pt x="22" y="58"/>
                      <a:pt x="23" y="54"/>
                    </a:cubicBezTo>
                    <a:cubicBezTo>
                      <a:pt x="24" y="54"/>
                      <a:pt x="24" y="53"/>
                      <a:pt x="25" y="53"/>
                    </a:cubicBezTo>
                    <a:cubicBezTo>
                      <a:pt x="25" y="53"/>
                      <a:pt x="25" y="53"/>
                      <a:pt x="25" y="53"/>
                    </a:cubicBezTo>
                    <a:cubicBezTo>
                      <a:pt x="23" y="59"/>
                      <a:pt x="22" y="66"/>
                      <a:pt x="20" y="72"/>
                    </a:cubicBezTo>
                    <a:cubicBezTo>
                      <a:pt x="21" y="74"/>
                      <a:pt x="23" y="75"/>
                      <a:pt x="25" y="76"/>
                    </a:cubicBezTo>
                    <a:cubicBezTo>
                      <a:pt x="25" y="76"/>
                      <a:pt x="26" y="76"/>
                      <a:pt x="26" y="76"/>
                    </a:cubicBezTo>
                    <a:cubicBezTo>
                      <a:pt x="28" y="73"/>
                      <a:pt x="29" y="70"/>
                      <a:pt x="30" y="67"/>
                    </a:cubicBezTo>
                    <a:cubicBezTo>
                      <a:pt x="31" y="67"/>
                      <a:pt x="31" y="67"/>
                      <a:pt x="31" y="66"/>
                    </a:cubicBezTo>
                    <a:cubicBezTo>
                      <a:pt x="32" y="69"/>
                      <a:pt x="32" y="72"/>
                      <a:pt x="32" y="75"/>
                    </a:cubicBezTo>
                    <a:cubicBezTo>
                      <a:pt x="33" y="75"/>
                      <a:pt x="34" y="76"/>
                      <a:pt x="35" y="76"/>
                    </a:cubicBezTo>
                    <a:cubicBezTo>
                      <a:pt x="36" y="76"/>
                      <a:pt x="37" y="76"/>
                      <a:pt x="38" y="76"/>
                    </a:cubicBezTo>
                    <a:cubicBezTo>
                      <a:pt x="37" y="71"/>
                      <a:pt x="36" y="66"/>
                      <a:pt x="35" y="61"/>
                    </a:cubicBezTo>
                    <a:cubicBezTo>
                      <a:pt x="38" y="54"/>
                      <a:pt x="40" y="48"/>
                      <a:pt x="43" y="4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127" name="î$ḻîḑe"/>
              <p:cNvSpPr/>
              <p:nvPr/>
            </p:nvSpPr>
            <p:spPr bwMode="auto">
              <a:xfrm>
                <a:off x="2055709" y="4566240"/>
                <a:ext cx="136525" cy="150813"/>
              </a:xfrm>
              <a:custGeom>
                <a:avLst/>
                <a:gdLst>
                  <a:gd name="T0" fmla="*/ 55 w 74"/>
                  <a:gd name="T1" fmla="*/ 53 h 82"/>
                  <a:gd name="T2" fmla="*/ 54 w 74"/>
                  <a:gd name="T3" fmla="*/ 51 h 82"/>
                  <a:gd name="T4" fmla="*/ 57 w 74"/>
                  <a:gd name="T5" fmla="*/ 49 h 82"/>
                  <a:gd name="T6" fmla="*/ 56 w 74"/>
                  <a:gd name="T7" fmla="*/ 45 h 82"/>
                  <a:gd name="T8" fmla="*/ 52 w 74"/>
                  <a:gd name="T9" fmla="*/ 45 h 82"/>
                  <a:gd name="T10" fmla="*/ 51 w 74"/>
                  <a:gd name="T11" fmla="*/ 44 h 82"/>
                  <a:gd name="T12" fmla="*/ 60 w 74"/>
                  <a:gd name="T13" fmla="*/ 32 h 82"/>
                  <a:gd name="T14" fmla="*/ 60 w 74"/>
                  <a:gd name="T15" fmla="*/ 30 h 82"/>
                  <a:gd name="T16" fmla="*/ 34 w 74"/>
                  <a:gd name="T17" fmla="*/ 38 h 82"/>
                  <a:gd name="T18" fmla="*/ 33 w 74"/>
                  <a:gd name="T19" fmla="*/ 38 h 82"/>
                  <a:gd name="T20" fmla="*/ 60 w 74"/>
                  <a:gd name="T21" fmla="*/ 16 h 82"/>
                  <a:gd name="T22" fmla="*/ 61 w 74"/>
                  <a:gd name="T23" fmla="*/ 10 h 82"/>
                  <a:gd name="T24" fmla="*/ 42 w 74"/>
                  <a:gd name="T25" fmla="*/ 11 h 82"/>
                  <a:gd name="T26" fmla="*/ 27 w 74"/>
                  <a:gd name="T27" fmla="*/ 0 h 82"/>
                  <a:gd name="T28" fmla="*/ 24 w 74"/>
                  <a:gd name="T29" fmla="*/ 0 h 82"/>
                  <a:gd name="T30" fmla="*/ 29 w 74"/>
                  <a:gd name="T31" fmla="*/ 21 h 82"/>
                  <a:gd name="T32" fmla="*/ 11 w 74"/>
                  <a:gd name="T33" fmla="*/ 39 h 82"/>
                  <a:gd name="T34" fmla="*/ 1 w 74"/>
                  <a:gd name="T35" fmla="*/ 44 h 82"/>
                  <a:gd name="T36" fmla="*/ 0 w 74"/>
                  <a:gd name="T37" fmla="*/ 47 h 82"/>
                  <a:gd name="T38" fmla="*/ 35 w 74"/>
                  <a:gd name="T39" fmla="*/ 26 h 82"/>
                  <a:gd name="T40" fmla="*/ 35 w 74"/>
                  <a:gd name="T41" fmla="*/ 26 h 82"/>
                  <a:gd name="T42" fmla="*/ 30 w 74"/>
                  <a:gd name="T43" fmla="*/ 48 h 82"/>
                  <a:gd name="T44" fmla="*/ 40 w 74"/>
                  <a:gd name="T45" fmla="*/ 57 h 82"/>
                  <a:gd name="T46" fmla="*/ 35 w 74"/>
                  <a:gd name="T47" fmla="*/ 78 h 82"/>
                  <a:gd name="T48" fmla="*/ 45 w 74"/>
                  <a:gd name="T49" fmla="*/ 82 h 82"/>
                  <a:gd name="T50" fmla="*/ 47 w 74"/>
                  <a:gd name="T51" fmla="*/ 80 h 82"/>
                  <a:gd name="T52" fmla="*/ 46 w 74"/>
                  <a:gd name="T53" fmla="*/ 67 h 82"/>
                  <a:gd name="T54" fmla="*/ 47 w 74"/>
                  <a:gd name="T55" fmla="*/ 66 h 82"/>
                  <a:gd name="T56" fmla="*/ 50 w 74"/>
                  <a:gd name="T57" fmla="*/ 73 h 82"/>
                  <a:gd name="T58" fmla="*/ 58 w 74"/>
                  <a:gd name="T59" fmla="*/ 79 h 82"/>
                  <a:gd name="T60" fmla="*/ 59 w 74"/>
                  <a:gd name="T61" fmla="*/ 79 h 82"/>
                  <a:gd name="T62" fmla="*/ 53 w 74"/>
                  <a:gd name="T63" fmla="*/ 57 h 82"/>
                  <a:gd name="T64" fmla="*/ 56 w 74"/>
                  <a:gd name="T65" fmla="*/ 55 h 82"/>
                  <a:gd name="T66" fmla="*/ 56 w 74"/>
                  <a:gd name="T67" fmla="*/ 55 h 82"/>
                  <a:gd name="T68" fmla="*/ 69 w 74"/>
                  <a:gd name="T69" fmla="*/ 69 h 82"/>
                  <a:gd name="T70" fmla="*/ 74 w 74"/>
                  <a:gd name="T71" fmla="*/ 64 h 82"/>
                  <a:gd name="T72" fmla="*/ 55 w 74"/>
                  <a:gd name="T73" fmla="*/ 53 h 82"/>
                  <a:gd name="T74" fmla="*/ 40 w 74"/>
                  <a:gd name="T75" fmla="*/ 46 h 82"/>
                  <a:gd name="T76" fmla="*/ 39 w 74"/>
                  <a:gd name="T77" fmla="*/ 46 h 82"/>
                  <a:gd name="T78" fmla="*/ 38 w 74"/>
                  <a:gd name="T79" fmla="*/ 46 h 82"/>
                  <a:gd name="T80" fmla="*/ 37 w 74"/>
                  <a:gd name="T81" fmla="*/ 44 h 82"/>
                  <a:gd name="T82" fmla="*/ 44 w 74"/>
                  <a:gd name="T83" fmla="*/ 36 h 82"/>
                  <a:gd name="T84" fmla="*/ 46 w 74"/>
                  <a:gd name="T85" fmla="*/ 35 h 82"/>
                  <a:gd name="T86" fmla="*/ 46 w 74"/>
                  <a:gd name="T87" fmla="*/ 35 h 82"/>
                  <a:gd name="T88" fmla="*/ 40 w 74"/>
                  <a:gd name="T89" fmla="*/ 46 h 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74" h="82">
                    <a:moveTo>
                      <a:pt x="55" y="53"/>
                    </a:moveTo>
                    <a:cubicBezTo>
                      <a:pt x="55" y="53"/>
                      <a:pt x="54" y="52"/>
                      <a:pt x="54" y="51"/>
                    </a:cubicBezTo>
                    <a:cubicBezTo>
                      <a:pt x="55" y="51"/>
                      <a:pt x="56" y="50"/>
                      <a:pt x="57" y="49"/>
                    </a:cubicBezTo>
                    <a:cubicBezTo>
                      <a:pt x="57" y="48"/>
                      <a:pt x="56" y="47"/>
                      <a:pt x="56" y="45"/>
                    </a:cubicBezTo>
                    <a:cubicBezTo>
                      <a:pt x="54" y="45"/>
                      <a:pt x="53" y="45"/>
                      <a:pt x="52" y="45"/>
                    </a:cubicBezTo>
                    <a:cubicBezTo>
                      <a:pt x="51" y="45"/>
                      <a:pt x="51" y="44"/>
                      <a:pt x="51" y="44"/>
                    </a:cubicBezTo>
                    <a:cubicBezTo>
                      <a:pt x="53" y="40"/>
                      <a:pt x="59" y="36"/>
                      <a:pt x="60" y="32"/>
                    </a:cubicBezTo>
                    <a:cubicBezTo>
                      <a:pt x="60" y="31"/>
                      <a:pt x="60" y="31"/>
                      <a:pt x="60" y="30"/>
                    </a:cubicBezTo>
                    <a:cubicBezTo>
                      <a:pt x="50" y="21"/>
                      <a:pt x="41" y="31"/>
                      <a:pt x="34" y="38"/>
                    </a:cubicBezTo>
                    <a:cubicBezTo>
                      <a:pt x="33" y="38"/>
                      <a:pt x="33" y="38"/>
                      <a:pt x="33" y="38"/>
                    </a:cubicBezTo>
                    <a:cubicBezTo>
                      <a:pt x="34" y="30"/>
                      <a:pt x="48" y="16"/>
                      <a:pt x="60" y="16"/>
                    </a:cubicBezTo>
                    <a:cubicBezTo>
                      <a:pt x="61" y="14"/>
                      <a:pt x="61" y="12"/>
                      <a:pt x="61" y="10"/>
                    </a:cubicBezTo>
                    <a:cubicBezTo>
                      <a:pt x="50" y="3"/>
                      <a:pt x="52" y="11"/>
                      <a:pt x="42" y="11"/>
                    </a:cubicBezTo>
                    <a:cubicBezTo>
                      <a:pt x="38" y="10"/>
                      <a:pt x="32" y="1"/>
                      <a:pt x="27" y="0"/>
                    </a:cubicBezTo>
                    <a:cubicBezTo>
                      <a:pt x="26" y="0"/>
                      <a:pt x="25" y="0"/>
                      <a:pt x="24" y="0"/>
                    </a:cubicBezTo>
                    <a:cubicBezTo>
                      <a:pt x="21" y="5"/>
                      <a:pt x="30" y="14"/>
                      <a:pt x="29" y="21"/>
                    </a:cubicBezTo>
                    <a:cubicBezTo>
                      <a:pt x="19" y="27"/>
                      <a:pt x="17" y="33"/>
                      <a:pt x="11" y="39"/>
                    </a:cubicBezTo>
                    <a:cubicBezTo>
                      <a:pt x="8" y="42"/>
                      <a:pt x="4" y="42"/>
                      <a:pt x="1" y="44"/>
                    </a:cubicBezTo>
                    <a:cubicBezTo>
                      <a:pt x="1" y="45"/>
                      <a:pt x="0" y="46"/>
                      <a:pt x="0" y="47"/>
                    </a:cubicBezTo>
                    <a:cubicBezTo>
                      <a:pt x="11" y="69"/>
                      <a:pt x="23" y="30"/>
                      <a:pt x="35" y="26"/>
                    </a:cubicBezTo>
                    <a:cubicBezTo>
                      <a:pt x="35" y="26"/>
                      <a:pt x="35" y="26"/>
                      <a:pt x="35" y="26"/>
                    </a:cubicBezTo>
                    <a:cubicBezTo>
                      <a:pt x="33" y="33"/>
                      <a:pt x="28" y="39"/>
                      <a:pt x="30" y="48"/>
                    </a:cubicBezTo>
                    <a:cubicBezTo>
                      <a:pt x="30" y="51"/>
                      <a:pt x="37" y="56"/>
                      <a:pt x="40" y="57"/>
                    </a:cubicBezTo>
                    <a:cubicBezTo>
                      <a:pt x="37" y="64"/>
                      <a:pt x="32" y="69"/>
                      <a:pt x="35" y="78"/>
                    </a:cubicBezTo>
                    <a:cubicBezTo>
                      <a:pt x="39" y="79"/>
                      <a:pt x="42" y="80"/>
                      <a:pt x="45" y="82"/>
                    </a:cubicBezTo>
                    <a:cubicBezTo>
                      <a:pt x="46" y="81"/>
                      <a:pt x="46" y="81"/>
                      <a:pt x="47" y="80"/>
                    </a:cubicBezTo>
                    <a:cubicBezTo>
                      <a:pt x="49" y="77"/>
                      <a:pt x="45" y="70"/>
                      <a:pt x="46" y="67"/>
                    </a:cubicBezTo>
                    <a:cubicBezTo>
                      <a:pt x="46" y="66"/>
                      <a:pt x="46" y="66"/>
                      <a:pt x="47" y="66"/>
                    </a:cubicBezTo>
                    <a:cubicBezTo>
                      <a:pt x="48" y="67"/>
                      <a:pt x="49" y="71"/>
                      <a:pt x="50" y="73"/>
                    </a:cubicBezTo>
                    <a:cubicBezTo>
                      <a:pt x="52" y="76"/>
                      <a:pt x="55" y="77"/>
                      <a:pt x="58" y="79"/>
                    </a:cubicBezTo>
                    <a:cubicBezTo>
                      <a:pt x="58" y="79"/>
                      <a:pt x="58" y="79"/>
                      <a:pt x="59" y="79"/>
                    </a:cubicBezTo>
                    <a:cubicBezTo>
                      <a:pt x="60" y="72"/>
                      <a:pt x="53" y="64"/>
                      <a:pt x="53" y="57"/>
                    </a:cubicBezTo>
                    <a:cubicBezTo>
                      <a:pt x="54" y="56"/>
                      <a:pt x="55" y="56"/>
                      <a:pt x="56" y="55"/>
                    </a:cubicBezTo>
                    <a:cubicBezTo>
                      <a:pt x="56" y="55"/>
                      <a:pt x="56" y="55"/>
                      <a:pt x="56" y="55"/>
                    </a:cubicBezTo>
                    <a:cubicBezTo>
                      <a:pt x="63" y="60"/>
                      <a:pt x="59" y="67"/>
                      <a:pt x="69" y="69"/>
                    </a:cubicBezTo>
                    <a:cubicBezTo>
                      <a:pt x="71" y="67"/>
                      <a:pt x="72" y="66"/>
                      <a:pt x="74" y="64"/>
                    </a:cubicBezTo>
                    <a:cubicBezTo>
                      <a:pt x="71" y="56"/>
                      <a:pt x="63" y="51"/>
                      <a:pt x="55" y="53"/>
                    </a:cubicBezTo>
                    <a:close/>
                    <a:moveTo>
                      <a:pt x="40" y="46"/>
                    </a:moveTo>
                    <a:cubicBezTo>
                      <a:pt x="40" y="46"/>
                      <a:pt x="39" y="46"/>
                      <a:pt x="39" y="46"/>
                    </a:cubicBezTo>
                    <a:cubicBezTo>
                      <a:pt x="38" y="46"/>
                      <a:pt x="38" y="46"/>
                      <a:pt x="38" y="46"/>
                    </a:cubicBezTo>
                    <a:cubicBezTo>
                      <a:pt x="38" y="45"/>
                      <a:pt x="37" y="45"/>
                      <a:pt x="37" y="44"/>
                    </a:cubicBezTo>
                    <a:cubicBezTo>
                      <a:pt x="39" y="41"/>
                      <a:pt x="42" y="39"/>
                      <a:pt x="44" y="36"/>
                    </a:cubicBezTo>
                    <a:cubicBezTo>
                      <a:pt x="45" y="36"/>
                      <a:pt x="45" y="35"/>
                      <a:pt x="46" y="35"/>
                    </a:cubicBezTo>
                    <a:cubicBezTo>
                      <a:pt x="46" y="35"/>
                      <a:pt x="46" y="35"/>
                      <a:pt x="46" y="35"/>
                    </a:cubicBezTo>
                    <a:cubicBezTo>
                      <a:pt x="44" y="39"/>
                      <a:pt x="42" y="42"/>
                      <a:pt x="40" y="4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128" name="ïşḻíḍe"/>
              <p:cNvSpPr/>
              <p:nvPr/>
            </p:nvSpPr>
            <p:spPr bwMode="auto">
              <a:xfrm>
                <a:off x="1882672" y="4669428"/>
                <a:ext cx="160338" cy="169863"/>
              </a:xfrm>
              <a:custGeom>
                <a:avLst/>
                <a:gdLst>
                  <a:gd name="T0" fmla="*/ 29 w 87"/>
                  <a:gd name="T1" fmla="*/ 8 h 92"/>
                  <a:gd name="T2" fmla="*/ 52 w 87"/>
                  <a:gd name="T3" fmla="*/ 17 h 92"/>
                  <a:gd name="T4" fmla="*/ 61 w 87"/>
                  <a:gd name="T5" fmla="*/ 16 h 92"/>
                  <a:gd name="T6" fmla="*/ 62 w 87"/>
                  <a:gd name="T7" fmla="*/ 17 h 92"/>
                  <a:gd name="T8" fmla="*/ 69 w 87"/>
                  <a:gd name="T9" fmla="*/ 42 h 92"/>
                  <a:gd name="T10" fmla="*/ 86 w 87"/>
                  <a:gd name="T11" fmla="*/ 35 h 92"/>
                  <a:gd name="T12" fmla="*/ 87 w 87"/>
                  <a:gd name="T13" fmla="*/ 39 h 92"/>
                  <a:gd name="T14" fmla="*/ 76 w 87"/>
                  <a:gd name="T15" fmla="*/ 55 h 92"/>
                  <a:gd name="T16" fmla="*/ 67 w 87"/>
                  <a:gd name="T17" fmla="*/ 76 h 92"/>
                  <a:gd name="T18" fmla="*/ 65 w 87"/>
                  <a:gd name="T19" fmla="*/ 74 h 92"/>
                  <a:gd name="T20" fmla="*/ 69 w 87"/>
                  <a:gd name="T21" fmla="*/ 53 h 92"/>
                  <a:gd name="T22" fmla="*/ 55 w 87"/>
                  <a:gd name="T23" fmla="*/ 40 h 92"/>
                  <a:gd name="T24" fmla="*/ 45 w 87"/>
                  <a:gd name="T25" fmla="*/ 44 h 92"/>
                  <a:gd name="T26" fmla="*/ 46 w 87"/>
                  <a:gd name="T27" fmla="*/ 89 h 92"/>
                  <a:gd name="T28" fmla="*/ 38 w 87"/>
                  <a:gd name="T29" fmla="*/ 92 h 92"/>
                  <a:gd name="T30" fmla="*/ 27 w 87"/>
                  <a:gd name="T31" fmla="*/ 68 h 92"/>
                  <a:gd name="T32" fmla="*/ 14 w 87"/>
                  <a:gd name="T33" fmla="*/ 70 h 92"/>
                  <a:gd name="T34" fmla="*/ 12 w 87"/>
                  <a:gd name="T35" fmla="*/ 65 h 92"/>
                  <a:gd name="T36" fmla="*/ 18 w 87"/>
                  <a:gd name="T37" fmla="*/ 58 h 92"/>
                  <a:gd name="T38" fmla="*/ 0 w 87"/>
                  <a:gd name="T39" fmla="*/ 42 h 92"/>
                  <a:gd name="T40" fmla="*/ 0 w 87"/>
                  <a:gd name="T41" fmla="*/ 42 h 92"/>
                  <a:gd name="T42" fmla="*/ 21 w 87"/>
                  <a:gd name="T43" fmla="*/ 39 h 92"/>
                  <a:gd name="T44" fmla="*/ 27 w 87"/>
                  <a:gd name="T45" fmla="*/ 48 h 92"/>
                  <a:gd name="T46" fmla="*/ 34 w 87"/>
                  <a:gd name="T47" fmla="*/ 52 h 92"/>
                  <a:gd name="T48" fmla="*/ 36 w 87"/>
                  <a:gd name="T49" fmla="*/ 62 h 92"/>
                  <a:gd name="T50" fmla="*/ 39 w 87"/>
                  <a:gd name="T51" fmla="*/ 44 h 92"/>
                  <a:gd name="T52" fmla="*/ 46 w 87"/>
                  <a:gd name="T53" fmla="*/ 28 h 92"/>
                  <a:gd name="T54" fmla="*/ 29 w 87"/>
                  <a:gd name="T55" fmla="*/ 8 h 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87" h="92">
                    <a:moveTo>
                      <a:pt x="29" y="8"/>
                    </a:moveTo>
                    <a:cubicBezTo>
                      <a:pt x="42" y="0"/>
                      <a:pt x="43" y="12"/>
                      <a:pt x="52" y="17"/>
                    </a:cubicBezTo>
                    <a:cubicBezTo>
                      <a:pt x="55" y="15"/>
                      <a:pt x="58" y="15"/>
                      <a:pt x="61" y="16"/>
                    </a:cubicBezTo>
                    <a:cubicBezTo>
                      <a:pt x="61" y="16"/>
                      <a:pt x="62" y="17"/>
                      <a:pt x="62" y="17"/>
                    </a:cubicBezTo>
                    <a:cubicBezTo>
                      <a:pt x="62" y="26"/>
                      <a:pt x="58" y="33"/>
                      <a:pt x="69" y="42"/>
                    </a:cubicBezTo>
                    <a:cubicBezTo>
                      <a:pt x="75" y="35"/>
                      <a:pt x="80" y="33"/>
                      <a:pt x="86" y="35"/>
                    </a:cubicBezTo>
                    <a:cubicBezTo>
                      <a:pt x="87" y="36"/>
                      <a:pt x="87" y="38"/>
                      <a:pt x="87" y="39"/>
                    </a:cubicBezTo>
                    <a:cubicBezTo>
                      <a:pt x="83" y="45"/>
                      <a:pt x="80" y="50"/>
                      <a:pt x="76" y="55"/>
                    </a:cubicBezTo>
                    <a:cubicBezTo>
                      <a:pt x="71" y="62"/>
                      <a:pt x="71" y="70"/>
                      <a:pt x="67" y="76"/>
                    </a:cubicBezTo>
                    <a:cubicBezTo>
                      <a:pt x="66" y="75"/>
                      <a:pt x="66" y="75"/>
                      <a:pt x="65" y="74"/>
                    </a:cubicBezTo>
                    <a:cubicBezTo>
                      <a:pt x="63" y="66"/>
                      <a:pt x="67" y="60"/>
                      <a:pt x="69" y="53"/>
                    </a:cubicBezTo>
                    <a:cubicBezTo>
                      <a:pt x="64" y="51"/>
                      <a:pt x="60" y="46"/>
                      <a:pt x="55" y="40"/>
                    </a:cubicBezTo>
                    <a:cubicBezTo>
                      <a:pt x="52" y="42"/>
                      <a:pt x="49" y="41"/>
                      <a:pt x="45" y="44"/>
                    </a:cubicBezTo>
                    <a:cubicBezTo>
                      <a:pt x="40" y="59"/>
                      <a:pt x="48" y="75"/>
                      <a:pt x="46" y="89"/>
                    </a:cubicBezTo>
                    <a:cubicBezTo>
                      <a:pt x="43" y="92"/>
                      <a:pt x="41" y="91"/>
                      <a:pt x="38" y="92"/>
                    </a:cubicBezTo>
                    <a:cubicBezTo>
                      <a:pt x="31" y="83"/>
                      <a:pt x="33" y="76"/>
                      <a:pt x="27" y="68"/>
                    </a:cubicBezTo>
                    <a:cubicBezTo>
                      <a:pt x="23" y="71"/>
                      <a:pt x="18" y="71"/>
                      <a:pt x="14" y="70"/>
                    </a:cubicBezTo>
                    <a:cubicBezTo>
                      <a:pt x="12" y="68"/>
                      <a:pt x="12" y="67"/>
                      <a:pt x="12" y="65"/>
                    </a:cubicBezTo>
                    <a:cubicBezTo>
                      <a:pt x="14" y="63"/>
                      <a:pt x="16" y="60"/>
                      <a:pt x="18" y="58"/>
                    </a:cubicBezTo>
                    <a:cubicBezTo>
                      <a:pt x="13" y="49"/>
                      <a:pt x="3" y="48"/>
                      <a:pt x="0" y="42"/>
                    </a:cubicBezTo>
                    <a:cubicBezTo>
                      <a:pt x="0" y="42"/>
                      <a:pt x="0" y="42"/>
                      <a:pt x="0" y="42"/>
                    </a:cubicBezTo>
                    <a:cubicBezTo>
                      <a:pt x="6" y="39"/>
                      <a:pt x="15" y="35"/>
                      <a:pt x="21" y="39"/>
                    </a:cubicBezTo>
                    <a:cubicBezTo>
                      <a:pt x="23" y="42"/>
                      <a:pt x="25" y="45"/>
                      <a:pt x="27" y="48"/>
                    </a:cubicBezTo>
                    <a:cubicBezTo>
                      <a:pt x="29" y="50"/>
                      <a:pt x="31" y="51"/>
                      <a:pt x="34" y="52"/>
                    </a:cubicBezTo>
                    <a:cubicBezTo>
                      <a:pt x="34" y="55"/>
                      <a:pt x="35" y="58"/>
                      <a:pt x="36" y="62"/>
                    </a:cubicBezTo>
                    <a:cubicBezTo>
                      <a:pt x="39" y="56"/>
                      <a:pt x="38" y="50"/>
                      <a:pt x="39" y="44"/>
                    </a:cubicBezTo>
                    <a:cubicBezTo>
                      <a:pt x="42" y="39"/>
                      <a:pt x="44" y="34"/>
                      <a:pt x="46" y="28"/>
                    </a:cubicBezTo>
                    <a:cubicBezTo>
                      <a:pt x="42" y="22"/>
                      <a:pt x="31" y="15"/>
                      <a:pt x="29" y="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129" name="íṩľíḑè"/>
              <p:cNvSpPr/>
              <p:nvPr/>
            </p:nvSpPr>
            <p:spPr bwMode="auto">
              <a:xfrm>
                <a:off x="2243034" y="6066428"/>
                <a:ext cx="22225" cy="25400"/>
              </a:xfrm>
              <a:custGeom>
                <a:avLst/>
                <a:gdLst>
                  <a:gd name="T0" fmla="*/ 0 w 14"/>
                  <a:gd name="T1" fmla="*/ 12 h 16"/>
                  <a:gd name="T2" fmla="*/ 2 w 14"/>
                  <a:gd name="T3" fmla="*/ 0 h 16"/>
                  <a:gd name="T4" fmla="*/ 14 w 14"/>
                  <a:gd name="T5" fmla="*/ 4 h 16"/>
                  <a:gd name="T6" fmla="*/ 11 w 14"/>
                  <a:gd name="T7" fmla="*/ 16 h 16"/>
                  <a:gd name="T8" fmla="*/ 0 w 14"/>
                  <a:gd name="T9" fmla="*/ 12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4" h="16">
                    <a:moveTo>
                      <a:pt x="0" y="12"/>
                    </a:moveTo>
                    <a:lnTo>
                      <a:pt x="2" y="0"/>
                    </a:lnTo>
                    <a:lnTo>
                      <a:pt x="14" y="4"/>
                    </a:lnTo>
                    <a:lnTo>
                      <a:pt x="11" y="16"/>
                    </a:lnTo>
                    <a:lnTo>
                      <a:pt x="0" y="1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130" name="îṣḷïḓê"/>
              <p:cNvSpPr/>
              <p:nvPr/>
            </p:nvSpPr>
            <p:spPr bwMode="auto">
              <a:xfrm>
                <a:off x="2292247" y="6042615"/>
                <a:ext cx="49213" cy="100013"/>
              </a:xfrm>
              <a:custGeom>
                <a:avLst/>
                <a:gdLst>
                  <a:gd name="T0" fmla="*/ 17 w 27"/>
                  <a:gd name="T1" fmla="*/ 54 h 54"/>
                  <a:gd name="T2" fmla="*/ 7 w 27"/>
                  <a:gd name="T3" fmla="*/ 52 h 54"/>
                  <a:gd name="T4" fmla="*/ 14 w 27"/>
                  <a:gd name="T5" fmla="*/ 15 h 54"/>
                  <a:gd name="T6" fmla="*/ 0 w 27"/>
                  <a:gd name="T7" fmla="*/ 20 h 54"/>
                  <a:gd name="T8" fmla="*/ 1 w 27"/>
                  <a:gd name="T9" fmla="*/ 11 h 54"/>
                  <a:gd name="T10" fmla="*/ 11 w 27"/>
                  <a:gd name="T11" fmla="*/ 7 h 54"/>
                  <a:gd name="T12" fmla="*/ 18 w 27"/>
                  <a:gd name="T13" fmla="*/ 0 h 54"/>
                  <a:gd name="T14" fmla="*/ 27 w 27"/>
                  <a:gd name="T15" fmla="*/ 2 h 54"/>
                  <a:gd name="T16" fmla="*/ 17 w 27"/>
                  <a:gd name="T17" fmla="*/ 54 h 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7" h="54">
                    <a:moveTo>
                      <a:pt x="17" y="54"/>
                    </a:moveTo>
                    <a:cubicBezTo>
                      <a:pt x="7" y="52"/>
                      <a:pt x="7" y="52"/>
                      <a:pt x="7" y="52"/>
                    </a:cubicBezTo>
                    <a:cubicBezTo>
                      <a:pt x="14" y="15"/>
                      <a:pt x="14" y="15"/>
                      <a:pt x="14" y="15"/>
                    </a:cubicBezTo>
                    <a:cubicBezTo>
                      <a:pt x="10" y="17"/>
                      <a:pt x="5" y="19"/>
                      <a:pt x="0" y="20"/>
                    </a:cubicBezTo>
                    <a:cubicBezTo>
                      <a:pt x="1" y="11"/>
                      <a:pt x="1" y="11"/>
                      <a:pt x="1" y="11"/>
                    </a:cubicBezTo>
                    <a:cubicBezTo>
                      <a:pt x="4" y="10"/>
                      <a:pt x="7" y="9"/>
                      <a:pt x="11" y="7"/>
                    </a:cubicBezTo>
                    <a:cubicBezTo>
                      <a:pt x="14" y="6"/>
                      <a:pt x="17" y="3"/>
                      <a:pt x="18" y="0"/>
                    </a:cubicBezTo>
                    <a:cubicBezTo>
                      <a:pt x="27" y="2"/>
                      <a:pt x="27" y="2"/>
                      <a:pt x="27" y="2"/>
                    </a:cubicBezTo>
                    <a:lnTo>
                      <a:pt x="17" y="5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131" name="i$ḻîḓé"/>
              <p:cNvSpPr/>
              <p:nvPr/>
            </p:nvSpPr>
            <p:spPr bwMode="auto">
              <a:xfrm>
                <a:off x="2363684" y="6052140"/>
                <a:ext cx="66675" cy="100013"/>
              </a:xfrm>
              <a:custGeom>
                <a:avLst/>
                <a:gdLst>
                  <a:gd name="T0" fmla="*/ 0 w 36"/>
                  <a:gd name="T1" fmla="*/ 40 h 54"/>
                  <a:gd name="T2" fmla="*/ 10 w 36"/>
                  <a:gd name="T3" fmla="*/ 39 h 54"/>
                  <a:gd name="T4" fmla="*/ 11 w 36"/>
                  <a:gd name="T5" fmla="*/ 44 h 54"/>
                  <a:gd name="T6" fmla="*/ 15 w 36"/>
                  <a:gd name="T7" fmla="*/ 46 h 54"/>
                  <a:gd name="T8" fmla="*/ 21 w 36"/>
                  <a:gd name="T9" fmla="*/ 43 h 54"/>
                  <a:gd name="T10" fmla="*/ 24 w 36"/>
                  <a:gd name="T11" fmla="*/ 31 h 54"/>
                  <a:gd name="T12" fmla="*/ 15 w 36"/>
                  <a:gd name="T13" fmla="*/ 35 h 54"/>
                  <a:gd name="T14" fmla="*/ 4 w 36"/>
                  <a:gd name="T15" fmla="*/ 30 h 54"/>
                  <a:gd name="T16" fmla="*/ 0 w 36"/>
                  <a:gd name="T17" fmla="*/ 17 h 54"/>
                  <a:gd name="T18" fmla="*/ 6 w 36"/>
                  <a:gd name="T19" fmla="*/ 4 h 54"/>
                  <a:gd name="T20" fmla="*/ 19 w 36"/>
                  <a:gd name="T21" fmla="*/ 0 h 54"/>
                  <a:gd name="T22" fmla="*/ 31 w 36"/>
                  <a:gd name="T23" fmla="*/ 7 h 54"/>
                  <a:gd name="T24" fmla="*/ 35 w 36"/>
                  <a:gd name="T25" fmla="*/ 28 h 54"/>
                  <a:gd name="T26" fmla="*/ 28 w 36"/>
                  <a:gd name="T27" fmla="*/ 49 h 54"/>
                  <a:gd name="T28" fmla="*/ 14 w 36"/>
                  <a:gd name="T29" fmla="*/ 54 h 54"/>
                  <a:gd name="T30" fmla="*/ 4 w 36"/>
                  <a:gd name="T31" fmla="*/ 50 h 54"/>
                  <a:gd name="T32" fmla="*/ 0 w 36"/>
                  <a:gd name="T33" fmla="*/ 40 h 54"/>
                  <a:gd name="T34" fmla="*/ 24 w 36"/>
                  <a:gd name="T35" fmla="*/ 19 h 54"/>
                  <a:gd name="T36" fmla="*/ 23 w 36"/>
                  <a:gd name="T37" fmla="*/ 11 h 54"/>
                  <a:gd name="T38" fmla="*/ 18 w 36"/>
                  <a:gd name="T39" fmla="*/ 8 h 54"/>
                  <a:gd name="T40" fmla="*/ 13 w 36"/>
                  <a:gd name="T41" fmla="*/ 10 h 54"/>
                  <a:gd name="T42" fmla="*/ 10 w 36"/>
                  <a:gd name="T43" fmla="*/ 17 h 54"/>
                  <a:gd name="T44" fmla="*/ 12 w 36"/>
                  <a:gd name="T45" fmla="*/ 25 h 54"/>
                  <a:gd name="T46" fmla="*/ 17 w 36"/>
                  <a:gd name="T47" fmla="*/ 28 h 54"/>
                  <a:gd name="T48" fmla="*/ 22 w 36"/>
                  <a:gd name="T49" fmla="*/ 26 h 54"/>
                  <a:gd name="T50" fmla="*/ 24 w 36"/>
                  <a:gd name="T51" fmla="*/ 19 h 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6" h="54">
                    <a:moveTo>
                      <a:pt x="0" y="40"/>
                    </a:moveTo>
                    <a:cubicBezTo>
                      <a:pt x="10" y="39"/>
                      <a:pt x="10" y="39"/>
                      <a:pt x="10" y="39"/>
                    </a:cubicBezTo>
                    <a:cubicBezTo>
                      <a:pt x="10" y="41"/>
                      <a:pt x="10" y="43"/>
                      <a:pt x="11" y="44"/>
                    </a:cubicBezTo>
                    <a:cubicBezTo>
                      <a:pt x="12" y="45"/>
                      <a:pt x="14" y="46"/>
                      <a:pt x="15" y="46"/>
                    </a:cubicBezTo>
                    <a:cubicBezTo>
                      <a:pt x="17" y="46"/>
                      <a:pt x="19" y="45"/>
                      <a:pt x="21" y="43"/>
                    </a:cubicBezTo>
                    <a:cubicBezTo>
                      <a:pt x="22" y="41"/>
                      <a:pt x="24" y="37"/>
                      <a:pt x="24" y="31"/>
                    </a:cubicBezTo>
                    <a:cubicBezTo>
                      <a:pt x="22" y="34"/>
                      <a:pt x="18" y="35"/>
                      <a:pt x="15" y="35"/>
                    </a:cubicBezTo>
                    <a:cubicBezTo>
                      <a:pt x="10" y="35"/>
                      <a:pt x="7" y="33"/>
                      <a:pt x="4" y="30"/>
                    </a:cubicBezTo>
                    <a:cubicBezTo>
                      <a:pt x="1" y="26"/>
                      <a:pt x="0" y="22"/>
                      <a:pt x="0" y="17"/>
                    </a:cubicBezTo>
                    <a:cubicBezTo>
                      <a:pt x="1" y="11"/>
                      <a:pt x="3" y="7"/>
                      <a:pt x="6" y="4"/>
                    </a:cubicBezTo>
                    <a:cubicBezTo>
                      <a:pt x="10" y="1"/>
                      <a:pt x="14" y="0"/>
                      <a:pt x="19" y="0"/>
                    </a:cubicBezTo>
                    <a:cubicBezTo>
                      <a:pt x="24" y="0"/>
                      <a:pt x="28" y="3"/>
                      <a:pt x="31" y="7"/>
                    </a:cubicBezTo>
                    <a:cubicBezTo>
                      <a:pt x="35" y="12"/>
                      <a:pt x="36" y="19"/>
                      <a:pt x="35" y="28"/>
                    </a:cubicBezTo>
                    <a:cubicBezTo>
                      <a:pt x="34" y="38"/>
                      <a:pt x="32" y="44"/>
                      <a:pt x="28" y="49"/>
                    </a:cubicBezTo>
                    <a:cubicBezTo>
                      <a:pt x="24" y="53"/>
                      <a:pt x="20" y="54"/>
                      <a:pt x="14" y="54"/>
                    </a:cubicBezTo>
                    <a:cubicBezTo>
                      <a:pt x="10" y="54"/>
                      <a:pt x="7" y="52"/>
                      <a:pt x="4" y="50"/>
                    </a:cubicBezTo>
                    <a:cubicBezTo>
                      <a:pt x="2" y="48"/>
                      <a:pt x="0" y="44"/>
                      <a:pt x="0" y="40"/>
                    </a:cubicBezTo>
                    <a:close/>
                    <a:moveTo>
                      <a:pt x="24" y="19"/>
                    </a:moveTo>
                    <a:cubicBezTo>
                      <a:pt x="25" y="16"/>
                      <a:pt x="24" y="13"/>
                      <a:pt x="23" y="11"/>
                    </a:cubicBezTo>
                    <a:cubicBezTo>
                      <a:pt x="21" y="10"/>
                      <a:pt x="20" y="9"/>
                      <a:pt x="18" y="8"/>
                    </a:cubicBezTo>
                    <a:cubicBezTo>
                      <a:pt x="16" y="8"/>
                      <a:pt x="14" y="9"/>
                      <a:pt x="13" y="10"/>
                    </a:cubicBezTo>
                    <a:cubicBezTo>
                      <a:pt x="11" y="12"/>
                      <a:pt x="11" y="14"/>
                      <a:pt x="10" y="17"/>
                    </a:cubicBezTo>
                    <a:cubicBezTo>
                      <a:pt x="10" y="21"/>
                      <a:pt x="11" y="23"/>
                      <a:pt x="12" y="25"/>
                    </a:cubicBezTo>
                    <a:cubicBezTo>
                      <a:pt x="13" y="27"/>
                      <a:pt x="15" y="28"/>
                      <a:pt x="17" y="28"/>
                    </a:cubicBezTo>
                    <a:cubicBezTo>
                      <a:pt x="19" y="28"/>
                      <a:pt x="20" y="27"/>
                      <a:pt x="22" y="26"/>
                    </a:cubicBezTo>
                    <a:cubicBezTo>
                      <a:pt x="23" y="24"/>
                      <a:pt x="24" y="22"/>
                      <a:pt x="24" y="1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132" name="îṧľîḋé"/>
              <p:cNvSpPr/>
              <p:nvPr/>
            </p:nvSpPr>
            <p:spPr bwMode="auto">
              <a:xfrm>
                <a:off x="2446234" y="6053728"/>
                <a:ext cx="66675" cy="100013"/>
              </a:xfrm>
              <a:custGeom>
                <a:avLst/>
                <a:gdLst>
                  <a:gd name="T0" fmla="*/ 0 w 36"/>
                  <a:gd name="T1" fmla="*/ 40 h 54"/>
                  <a:gd name="T2" fmla="*/ 10 w 36"/>
                  <a:gd name="T3" fmla="*/ 39 h 54"/>
                  <a:gd name="T4" fmla="*/ 13 w 36"/>
                  <a:gd name="T5" fmla="*/ 44 h 54"/>
                  <a:gd name="T6" fmla="*/ 18 w 36"/>
                  <a:gd name="T7" fmla="*/ 46 h 54"/>
                  <a:gd name="T8" fmla="*/ 23 w 36"/>
                  <a:gd name="T9" fmla="*/ 43 h 54"/>
                  <a:gd name="T10" fmla="*/ 25 w 36"/>
                  <a:gd name="T11" fmla="*/ 35 h 54"/>
                  <a:gd name="T12" fmla="*/ 23 w 36"/>
                  <a:gd name="T13" fmla="*/ 28 h 54"/>
                  <a:gd name="T14" fmla="*/ 17 w 36"/>
                  <a:gd name="T15" fmla="*/ 26 h 54"/>
                  <a:gd name="T16" fmla="*/ 9 w 36"/>
                  <a:gd name="T17" fmla="*/ 30 h 54"/>
                  <a:gd name="T18" fmla="*/ 1 w 36"/>
                  <a:gd name="T19" fmla="*/ 29 h 54"/>
                  <a:gd name="T20" fmla="*/ 5 w 36"/>
                  <a:gd name="T21" fmla="*/ 1 h 54"/>
                  <a:gd name="T22" fmla="*/ 32 w 36"/>
                  <a:gd name="T23" fmla="*/ 0 h 54"/>
                  <a:gd name="T24" fmla="*/ 32 w 36"/>
                  <a:gd name="T25" fmla="*/ 10 h 54"/>
                  <a:gd name="T26" fmla="*/ 13 w 36"/>
                  <a:gd name="T27" fmla="*/ 10 h 54"/>
                  <a:gd name="T28" fmla="*/ 12 w 36"/>
                  <a:gd name="T29" fmla="*/ 19 h 54"/>
                  <a:gd name="T30" fmla="*/ 19 w 36"/>
                  <a:gd name="T31" fmla="*/ 17 h 54"/>
                  <a:gd name="T32" fmla="*/ 30 w 36"/>
                  <a:gd name="T33" fmla="*/ 22 h 54"/>
                  <a:gd name="T34" fmla="*/ 36 w 36"/>
                  <a:gd name="T35" fmla="*/ 34 h 54"/>
                  <a:gd name="T36" fmla="*/ 32 w 36"/>
                  <a:gd name="T37" fmla="*/ 46 h 54"/>
                  <a:gd name="T38" fmla="*/ 18 w 36"/>
                  <a:gd name="T39" fmla="*/ 54 h 54"/>
                  <a:gd name="T40" fmla="*/ 6 w 36"/>
                  <a:gd name="T41" fmla="*/ 50 h 54"/>
                  <a:gd name="T42" fmla="*/ 0 w 36"/>
                  <a:gd name="T43" fmla="*/ 40 h 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36" h="54">
                    <a:moveTo>
                      <a:pt x="0" y="40"/>
                    </a:moveTo>
                    <a:cubicBezTo>
                      <a:pt x="10" y="39"/>
                      <a:pt x="10" y="39"/>
                      <a:pt x="10" y="39"/>
                    </a:cubicBezTo>
                    <a:cubicBezTo>
                      <a:pt x="11" y="41"/>
                      <a:pt x="11" y="43"/>
                      <a:pt x="13" y="44"/>
                    </a:cubicBezTo>
                    <a:cubicBezTo>
                      <a:pt x="14" y="45"/>
                      <a:pt x="16" y="46"/>
                      <a:pt x="18" y="46"/>
                    </a:cubicBezTo>
                    <a:cubicBezTo>
                      <a:pt x="20" y="46"/>
                      <a:pt x="22" y="45"/>
                      <a:pt x="23" y="43"/>
                    </a:cubicBezTo>
                    <a:cubicBezTo>
                      <a:pt x="25" y="41"/>
                      <a:pt x="25" y="38"/>
                      <a:pt x="25" y="35"/>
                    </a:cubicBezTo>
                    <a:cubicBezTo>
                      <a:pt x="25" y="32"/>
                      <a:pt x="24" y="29"/>
                      <a:pt x="23" y="28"/>
                    </a:cubicBezTo>
                    <a:cubicBezTo>
                      <a:pt x="21" y="26"/>
                      <a:pt x="19" y="25"/>
                      <a:pt x="17" y="26"/>
                    </a:cubicBezTo>
                    <a:cubicBezTo>
                      <a:pt x="14" y="26"/>
                      <a:pt x="11" y="27"/>
                      <a:pt x="9" y="30"/>
                    </a:cubicBezTo>
                    <a:cubicBezTo>
                      <a:pt x="1" y="29"/>
                      <a:pt x="1" y="29"/>
                      <a:pt x="1" y="29"/>
                    </a:cubicBezTo>
                    <a:cubicBezTo>
                      <a:pt x="5" y="1"/>
                      <a:pt x="5" y="1"/>
                      <a:pt x="5" y="1"/>
                    </a:cubicBezTo>
                    <a:cubicBezTo>
                      <a:pt x="32" y="0"/>
                      <a:pt x="32" y="0"/>
                      <a:pt x="32" y="0"/>
                    </a:cubicBezTo>
                    <a:cubicBezTo>
                      <a:pt x="32" y="10"/>
                      <a:pt x="32" y="10"/>
                      <a:pt x="32" y="10"/>
                    </a:cubicBezTo>
                    <a:cubicBezTo>
                      <a:pt x="13" y="10"/>
                      <a:pt x="13" y="10"/>
                      <a:pt x="13" y="10"/>
                    </a:cubicBezTo>
                    <a:cubicBezTo>
                      <a:pt x="12" y="19"/>
                      <a:pt x="12" y="19"/>
                      <a:pt x="12" y="19"/>
                    </a:cubicBezTo>
                    <a:cubicBezTo>
                      <a:pt x="14" y="18"/>
                      <a:pt x="16" y="17"/>
                      <a:pt x="19" y="17"/>
                    </a:cubicBezTo>
                    <a:cubicBezTo>
                      <a:pt x="23" y="17"/>
                      <a:pt x="27" y="19"/>
                      <a:pt x="30" y="22"/>
                    </a:cubicBezTo>
                    <a:cubicBezTo>
                      <a:pt x="34" y="25"/>
                      <a:pt x="35" y="29"/>
                      <a:pt x="36" y="34"/>
                    </a:cubicBezTo>
                    <a:cubicBezTo>
                      <a:pt x="36" y="39"/>
                      <a:pt x="35" y="43"/>
                      <a:pt x="32" y="46"/>
                    </a:cubicBezTo>
                    <a:cubicBezTo>
                      <a:pt x="29" y="51"/>
                      <a:pt x="24" y="54"/>
                      <a:pt x="18" y="54"/>
                    </a:cubicBezTo>
                    <a:cubicBezTo>
                      <a:pt x="13" y="54"/>
                      <a:pt x="9" y="53"/>
                      <a:pt x="6" y="50"/>
                    </a:cubicBezTo>
                    <a:cubicBezTo>
                      <a:pt x="3" y="48"/>
                      <a:pt x="1" y="44"/>
                      <a:pt x="0" y="4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133" name="i$ḻïḑê"/>
              <p:cNvSpPr/>
              <p:nvPr/>
            </p:nvSpPr>
            <p:spPr bwMode="auto">
              <a:xfrm>
                <a:off x="2522434" y="6045790"/>
                <a:ext cx="74613" cy="103188"/>
              </a:xfrm>
              <a:custGeom>
                <a:avLst/>
                <a:gdLst>
                  <a:gd name="T0" fmla="*/ 39 w 40"/>
                  <a:gd name="T1" fmla="*/ 42 h 56"/>
                  <a:gd name="T2" fmla="*/ 40 w 40"/>
                  <a:gd name="T3" fmla="*/ 51 h 56"/>
                  <a:gd name="T4" fmla="*/ 5 w 40"/>
                  <a:gd name="T5" fmla="*/ 56 h 56"/>
                  <a:gd name="T6" fmla="*/ 7 w 40"/>
                  <a:gd name="T7" fmla="*/ 46 h 56"/>
                  <a:gd name="T8" fmla="*/ 16 w 40"/>
                  <a:gd name="T9" fmla="*/ 32 h 56"/>
                  <a:gd name="T10" fmla="*/ 23 w 40"/>
                  <a:gd name="T11" fmla="*/ 22 h 56"/>
                  <a:gd name="T12" fmla="*/ 24 w 40"/>
                  <a:gd name="T13" fmla="*/ 15 h 56"/>
                  <a:gd name="T14" fmla="*/ 22 w 40"/>
                  <a:gd name="T15" fmla="*/ 10 h 56"/>
                  <a:gd name="T16" fmla="*/ 17 w 40"/>
                  <a:gd name="T17" fmla="*/ 9 h 56"/>
                  <a:gd name="T18" fmla="*/ 12 w 40"/>
                  <a:gd name="T19" fmla="*/ 12 h 56"/>
                  <a:gd name="T20" fmla="*/ 11 w 40"/>
                  <a:gd name="T21" fmla="*/ 19 h 56"/>
                  <a:gd name="T22" fmla="*/ 1 w 40"/>
                  <a:gd name="T23" fmla="*/ 19 h 56"/>
                  <a:gd name="T24" fmla="*/ 4 w 40"/>
                  <a:gd name="T25" fmla="*/ 6 h 56"/>
                  <a:gd name="T26" fmla="*/ 16 w 40"/>
                  <a:gd name="T27" fmla="*/ 1 h 56"/>
                  <a:gd name="T28" fmla="*/ 28 w 40"/>
                  <a:gd name="T29" fmla="*/ 3 h 56"/>
                  <a:gd name="T30" fmla="*/ 34 w 40"/>
                  <a:gd name="T31" fmla="*/ 13 h 56"/>
                  <a:gd name="T32" fmla="*/ 34 w 40"/>
                  <a:gd name="T33" fmla="*/ 20 h 56"/>
                  <a:gd name="T34" fmla="*/ 31 w 40"/>
                  <a:gd name="T35" fmla="*/ 27 h 56"/>
                  <a:gd name="T36" fmla="*/ 26 w 40"/>
                  <a:gd name="T37" fmla="*/ 35 h 56"/>
                  <a:gd name="T38" fmla="*/ 20 w 40"/>
                  <a:gd name="T39" fmla="*/ 42 h 56"/>
                  <a:gd name="T40" fmla="*/ 19 w 40"/>
                  <a:gd name="T41" fmla="*/ 45 h 56"/>
                  <a:gd name="T42" fmla="*/ 39 w 40"/>
                  <a:gd name="T43" fmla="*/ 42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40" h="56">
                    <a:moveTo>
                      <a:pt x="39" y="42"/>
                    </a:moveTo>
                    <a:cubicBezTo>
                      <a:pt x="40" y="51"/>
                      <a:pt x="40" y="51"/>
                      <a:pt x="40" y="51"/>
                    </a:cubicBezTo>
                    <a:cubicBezTo>
                      <a:pt x="5" y="56"/>
                      <a:pt x="5" y="56"/>
                      <a:pt x="5" y="56"/>
                    </a:cubicBezTo>
                    <a:cubicBezTo>
                      <a:pt x="5" y="53"/>
                      <a:pt x="5" y="49"/>
                      <a:pt x="7" y="46"/>
                    </a:cubicBezTo>
                    <a:cubicBezTo>
                      <a:pt x="8" y="42"/>
                      <a:pt x="11" y="38"/>
                      <a:pt x="16" y="32"/>
                    </a:cubicBezTo>
                    <a:cubicBezTo>
                      <a:pt x="20" y="27"/>
                      <a:pt x="22" y="23"/>
                      <a:pt x="23" y="22"/>
                    </a:cubicBezTo>
                    <a:cubicBezTo>
                      <a:pt x="24" y="19"/>
                      <a:pt x="25" y="17"/>
                      <a:pt x="24" y="15"/>
                    </a:cubicBezTo>
                    <a:cubicBezTo>
                      <a:pt x="24" y="13"/>
                      <a:pt x="23" y="11"/>
                      <a:pt x="22" y="10"/>
                    </a:cubicBezTo>
                    <a:cubicBezTo>
                      <a:pt x="21" y="9"/>
                      <a:pt x="19" y="9"/>
                      <a:pt x="17" y="9"/>
                    </a:cubicBezTo>
                    <a:cubicBezTo>
                      <a:pt x="15" y="10"/>
                      <a:pt x="13" y="11"/>
                      <a:pt x="12" y="12"/>
                    </a:cubicBezTo>
                    <a:cubicBezTo>
                      <a:pt x="11" y="13"/>
                      <a:pt x="10" y="16"/>
                      <a:pt x="11" y="19"/>
                    </a:cubicBezTo>
                    <a:cubicBezTo>
                      <a:pt x="1" y="19"/>
                      <a:pt x="1" y="19"/>
                      <a:pt x="1" y="19"/>
                    </a:cubicBezTo>
                    <a:cubicBezTo>
                      <a:pt x="0" y="13"/>
                      <a:pt x="2" y="9"/>
                      <a:pt x="4" y="6"/>
                    </a:cubicBezTo>
                    <a:cubicBezTo>
                      <a:pt x="7" y="3"/>
                      <a:pt x="11" y="2"/>
                      <a:pt x="16" y="1"/>
                    </a:cubicBezTo>
                    <a:cubicBezTo>
                      <a:pt x="21" y="0"/>
                      <a:pt x="25" y="1"/>
                      <a:pt x="28" y="3"/>
                    </a:cubicBezTo>
                    <a:cubicBezTo>
                      <a:pt x="32" y="6"/>
                      <a:pt x="34" y="9"/>
                      <a:pt x="34" y="13"/>
                    </a:cubicBezTo>
                    <a:cubicBezTo>
                      <a:pt x="35" y="15"/>
                      <a:pt x="35" y="18"/>
                      <a:pt x="34" y="20"/>
                    </a:cubicBezTo>
                    <a:cubicBezTo>
                      <a:pt x="34" y="22"/>
                      <a:pt x="33" y="25"/>
                      <a:pt x="31" y="27"/>
                    </a:cubicBezTo>
                    <a:cubicBezTo>
                      <a:pt x="30" y="29"/>
                      <a:pt x="28" y="32"/>
                      <a:pt x="26" y="35"/>
                    </a:cubicBezTo>
                    <a:cubicBezTo>
                      <a:pt x="23" y="38"/>
                      <a:pt x="21" y="41"/>
                      <a:pt x="20" y="42"/>
                    </a:cubicBezTo>
                    <a:cubicBezTo>
                      <a:pt x="20" y="43"/>
                      <a:pt x="19" y="44"/>
                      <a:pt x="19" y="45"/>
                    </a:cubicBezTo>
                    <a:lnTo>
                      <a:pt x="39" y="4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134" name="íṧlíḍe"/>
              <p:cNvSpPr/>
              <p:nvPr/>
            </p:nvSpPr>
            <p:spPr bwMode="auto">
              <a:xfrm>
                <a:off x="2611334" y="6072778"/>
                <a:ext cx="22225" cy="23813"/>
              </a:xfrm>
              <a:custGeom>
                <a:avLst/>
                <a:gdLst>
                  <a:gd name="T0" fmla="*/ 3 w 14"/>
                  <a:gd name="T1" fmla="*/ 15 h 15"/>
                  <a:gd name="T2" fmla="*/ 0 w 14"/>
                  <a:gd name="T3" fmla="*/ 3 h 15"/>
                  <a:gd name="T4" fmla="*/ 11 w 14"/>
                  <a:gd name="T5" fmla="*/ 0 h 15"/>
                  <a:gd name="T6" fmla="*/ 14 w 14"/>
                  <a:gd name="T7" fmla="*/ 12 h 15"/>
                  <a:gd name="T8" fmla="*/ 3 w 14"/>
                  <a:gd name="T9" fmla="*/ 15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4" h="15">
                    <a:moveTo>
                      <a:pt x="3" y="15"/>
                    </a:moveTo>
                    <a:lnTo>
                      <a:pt x="0" y="3"/>
                    </a:lnTo>
                    <a:lnTo>
                      <a:pt x="11" y="0"/>
                    </a:lnTo>
                    <a:lnTo>
                      <a:pt x="14" y="12"/>
                    </a:lnTo>
                    <a:lnTo>
                      <a:pt x="3" y="1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135" name="îŝľîḓê"/>
              <p:cNvSpPr/>
              <p:nvPr/>
            </p:nvSpPr>
            <p:spPr bwMode="auto">
              <a:xfrm>
                <a:off x="2108097" y="5261565"/>
                <a:ext cx="141288" cy="257175"/>
              </a:xfrm>
              <a:custGeom>
                <a:avLst/>
                <a:gdLst>
                  <a:gd name="T0" fmla="*/ 12 w 77"/>
                  <a:gd name="T1" fmla="*/ 25 h 139"/>
                  <a:gd name="T2" fmla="*/ 9 w 77"/>
                  <a:gd name="T3" fmla="*/ 21 h 139"/>
                  <a:gd name="T4" fmla="*/ 12 w 77"/>
                  <a:gd name="T5" fmla="*/ 17 h 139"/>
                  <a:gd name="T6" fmla="*/ 39 w 77"/>
                  <a:gd name="T7" fmla="*/ 21 h 139"/>
                  <a:gd name="T8" fmla="*/ 46 w 77"/>
                  <a:gd name="T9" fmla="*/ 36 h 139"/>
                  <a:gd name="T10" fmla="*/ 46 w 77"/>
                  <a:gd name="T11" fmla="*/ 39 h 139"/>
                  <a:gd name="T12" fmla="*/ 61 w 77"/>
                  <a:gd name="T13" fmla="*/ 33 h 139"/>
                  <a:gd name="T14" fmla="*/ 57 w 77"/>
                  <a:gd name="T15" fmla="*/ 16 h 139"/>
                  <a:gd name="T16" fmla="*/ 35 w 77"/>
                  <a:gd name="T17" fmla="*/ 9 h 139"/>
                  <a:gd name="T18" fmla="*/ 27 w 77"/>
                  <a:gd name="T19" fmla="*/ 3 h 139"/>
                  <a:gd name="T20" fmla="*/ 32 w 77"/>
                  <a:gd name="T21" fmla="*/ 0 h 139"/>
                  <a:gd name="T22" fmla="*/ 61 w 77"/>
                  <a:gd name="T23" fmla="*/ 9 h 139"/>
                  <a:gd name="T24" fmla="*/ 72 w 77"/>
                  <a:gd name="T25" fmla="*/ 30 h 139"/>
                  <a:gd name="T26" fmla="*/ 48 w 77"/>
                  <a:gd name="T27" fmla="*/ 45 h 139"/>
                  <a:gd name="T28" fmla="*/ 45 w 77"/>
                  <a:gd name="T29" fmla="*/ 46 h 139"/>
                  <a:gd name="T30" fmla="*/ 45 w 77"/>
                  <a:gd name="T31" fmla="*/ 54 h 139"/>
                  <a:gd name="T32" fmla="*/ 59 w 77"/>
                  <a:gd name="T33" fmla="*/ 61 h 139"/>
                  <a:gd name="T34" fmla="*/ 77 w 77"/>
                  <a:gd name="T35" fmla="*/ 80 h 139"/>
                  <a:gd name="T36" fmla="*/ 75 w 77"/>
                  <a:gd name="T37" fmla="*/ 84 h 139"/>
                  <a:gd name="T38" fmla="*/ 71 w 77"/>
                  <a:gd name="T39" fmla="*/ 83 h 139"/>
                  <a:gd name="T40" fmla="*/ 59 w 77"/>
                  <a:gd name="T41" fmla="*/ 70 h 139"/>
                  <a:gd name="T42" fmla="*/ 45 w 77"/>
                  <a:gd name="T43" fmla="*/ 63 h 139"/>
                  <a:gd name="T44" fmla="*/ 45 w 77"/>
                  <a:gd name="T45" fmla="*/ 77 h 139"/>
                  <a:gd name="T46" fmla="*/ 53 w 77"/>
                  <a:gd name="T47" fmla="*/ 83 h 139"/>
                  <a:gd name="T48" fmla="*/ 66 w 77"/>
                  <a:gd name="T49" fmla="*/ 102 h 139"/>
                  <a:gd name="T50" fmla="*/ 72 w 77"/>
                  <a:gd name="T51" fmla="*/ 121 h 139"/>
                  <a:gd name="T52" fmla="*/ 70 w 77"/>
                  <a:gd name="T53" fmla="*/ 124 h 139"/>
                  <a:gd name="T54" fmla="*/ 67 w 77"/>
                  <a:gd name="T55" fmla="*/ 122 h 139"/>
                  <a:gd name="T56" fmla="*/ 64 w 77"/>
                  <a:gd name="T57" fmla="*/ 115 h 139"/>
                  <a:gd name="T58" fmla="*/ 55 w 77"/>
                  <a:gd name="T59" fmla="*/ 97 h 139"/>
                  <a:gd name="T60" fmla="*/ 45 w 77"/>
                  <a:gd name="T61" fmla="*/ 87 h 139"/>
                  <a:gd name="T62" fmla="*/ 45 w 77"/>
                  <a:gd name="T63" fmla="*/ 102 h 139"/>
                  <a:gd name="T64" fmla="*/ 44 w 77"/>
                  <a:gd name="T65" fmla="*/ 136 h 139"/>
                  <a:gd name="T66" fmla="*/ 41 w 77"/>
                  <a:gd name="T67" fmla="*/ 139 h 139"/>
                  <a:gd name="T68" fmla="*/ 38 w 77"/>
                  <a:gd name="T69" fmla="*/ 137 h 139"/>
                  <a:gd name="T70" fmla="*/ 37 w 77"/>
                  <a:gd name="T71" fmla="*/ 103 h 139"/>
                  <a:gd name="T72" fmla="*/ 37 w 77"/>
                  <a:gd name="T73" fmla="*/ 86 h 139"/>
                  <a:gd name="T74" fmla="*/ 28 w 77"/>
                  <a:gd name="T75" fmla="*/ 92 h 139"/>
                  <a:gd name="T76" fmla="*/ 19 w 77"/>
                  <a:gd name="T77" fmla="*/ 109 h 139"/>
                  <a:gd name="T78" fmla="*/ 12 w 77"/>
                  <a:gd name="T79" fmla="*/ 121 h 139"/>
                  <a:gd name="T80" fmla="*/ 8 w 77"/>
                  <a:gd name="T81" fmla="*/ 122 h 139"/>
                  <a:gd name="T82" fmla="*/ 7 w 77"/>
                  <a:gd name="T83" fmla="*/ 120 h 139"/>
                  <a:gd name="T84" fmla="*/ 8 w 77"/>
                  <a:gd name="T85" fmla="*/ 117 h 139"/>
                  <a:gd name="T86" fmla="*/ 11 w 77"/>
                  <a:gd name="T87" fmla="*/ 106 h 139"/>
                  <a:gd name="T88" fmla="*/ 22 w 77"/>
                  <a:gd name="T89" fmla="*/ 86 h 139"/>
                  <a:gd name="T90" fmla="*/ 37 w 77"/>
                  <a:gd name="T91" fmla="*/ 76 h 139"/>
                  <a:gd name="T92" fmla="*/ 37 w 77"/>
                  <a:gd name="T93" fmla="*/ 68 h 139"/>
                  <a:gd name="T94" fmla="*/ 37 w 77"/>
                  <a:gd name="T95" fmla="*/ 63 h 139"/>
                  <a:gd name="T96" fmla="*/ 24 w 77"/>
                  <a:gd name="T97" fmla="*/ 69 h 139"/>
                  <a:gd name="T98" fmla="*/ 16 w 77"/>
                  <a:gd name="T99" fmla="*/ 77 h 139"/>
                  <a:gd name="T100" fmla="*/ 9 w 77"/>
                  <a:gd name="T101" fmla="*/ 85 h 139"/>
                  <a:gd name="T102" fmla="*/ 6 w 77"/>
                  <a:gd name="T103" fmla="*/ 86 h 139"/>
                  <a:gd name="T104" fmla="*/ 5 w 77"/>
                  <a:gd name="T105" fmla="*/ 82 h 139"/>
                  <a:gd name="T106" fmla="*/ 22 w 77"/>
                  <a:gd name="T107" fmla="*/ 60 h 139"/>
                  <a:gd name="T108" fmla="*/ 37 w 77"/>
                  <a:gd name="T109" fmla="*/ 54 h 139"/>
                  <a:gd name="T110" fmla="*/ 37 w 77"/>
                  <a:gd name="T111" fmla="*/ 47 h 139"/>
                  <a:gd name="T112" fmla="*/ 3 w 77"/>
                  <a:gd name="T113" fmla="*/ 45 h 139"/>
                  <a:gd name="T114" fmla="*/ 0 w 77"/>
                  <a:gd name="T115" fmla="*/ 40 h 139"/>
                  <a:gd name="T116" fmla="*/ 5 w 77"/>
                  <a:gd name="T117" fmla="*/ 38 h 139"/>
                  <a:gd name="T118" fmla="*/ 37 w 77"/>
                  <a:gd name="T119" fmla="*/ 39 h 139"/>
                  <a:gd name="T120" fmla="*/ 37 w 77"/>
                  <a:gd name="T121" fmla="*/ 39 h 139"/>
                  <a:gd name="T122" fmla="*/ 33 w 77"/>
                  <a:gd name="T123" fmla="*/ 28 h 139"/>
                  <a:gd name="T124" fmla="*/ 12 w 77"/>
                  <a:gd name="T125" fmla="*/ 25 h 1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77" h="139">
                    <a:moveTo>
                      <a:pt x="12" y="25"/>
                    </a:moveTo>
                    <a:cubicBezTo>
                      <a:pt x="10" y="25"/>
                      <a:pt x="9" y="24"/>
                      <a:pt x="9" y="21"/>
                    </a:cubicBezTo>
                    <a:cubicBezTo>
                      <a:pt x="9" y="18"/>
                      <a:pt x="10" y="17"/>
                      <a:pt x="12" y="17"/>
                    </a:cubicBezTo>
                    <a:cubicBezTo>
                      <a:pt x="24" y="17"/>
                      <a:pt x="33" y="18"/>
                      <a:pt x="39" y="21"/>
                    </a:cubicBezTo>
                    <a:cubicBezTo>
                      <a:pt x="45" y="24"/>
                      <a:pt x="47" y="28"/>
                      <a:pt x="46" y="36"/>
                    </a:cubicBezTo>
                    <a:cubicBezTo>
                      <a:pt x="46" y="37"/>
                      <a:pt x="46" y="38"/>
                      <a:pt x="46" y="39"/>
                    </a:cubicBezTo>
                    <a:cubicBezTo>
                      <a:pt x="53" y="38"/>
                      <a:pt x="58" y="35"/>
                      <a:pt x="61" y="33"/>
                    </a:cubicBezTo>
                    <a:cubicBezTo>
                      <a:pt x="65" y="27"/>
                      <a:pt x="64" y="22"/>
                      <a:pt x="57" y="16"/>
                    </a:cubicBezTo>
                    <a:cubicBezTo>
                      <a:pt x="52" y="12"/>
                      <a:pt x="44" y="9"/>
                      <a:pt x="35" y="9"/>
                    </a:cubicBezTo>
                    <a:cubicBezTo>
                      <a:pt x="30" y="8"/>
                      <a:pt x="28" y="6"/>
                      <a:pt x="27" y="3"/>
                    </a:cubicBezTo>
                    <a:cubicBezTo>
                      <a:pt x="27" y="1"/>
                      <a:pt x="29" y="0"/>
                      <a:pt x="32" y="0"/>
                    </a:cubicBezTo>
                    <a:cubicBezTo>
                      <a:pt x="44" y="0"/>
                      <a:pt x="53" y="3"/>
                      <a:pt x="61" y="9"/>
                    </a:cubicBezTo>
                    <a:cubicBezTo>
                      <a:pt x="69" y="16"/>
                      <a:pt x="73" y="23"/>
                      <a:pt x="72" y="30"/>
                    </a:cubicBezTo>
                    <a:cubicBezTo>
                      <a:pt x="68" y="37"/>
                      <a:pt x="60" y="43"/>
                      <a:pt x="48" y="45"/>
                    </a:cubicBezTo>
                    <a:cubicBezTo>
                      <a:pt x="47" y="46"/>
                      <a:pt x="46" y="46"/>
                      <a:pt x="45" y="46"/>
                    </a:cubicBezTo>
                    <a:cubicBezTo>
                      <a:pt x="45" y="48"/>
                      <a:pt x="45" y="51"/>
                      <a:pt x="45" y="54"/>
                    </a:cubicBezTo>
                    <a:cubicBezTo>
                      <a:pt x="49" y="54"/>
                      <a:pt x="54" y="57"/>
                      <a:pt x="59" y="61"/>
                    </a:cubicBezTo>
                    <a:cubicBezTo>
                      <a:pt x="66" y="66"/>
                      <a:pt x="72" y="72"/>
                      <a:pt x="77" y="80"/>
                    </a:cubicBezTo>
                    <a:cubicBezTo>
                      <a:pt x="77" y="82"/>
                      <a:pt x="77" y="83"/>
                      <a:pt x="75" y="84"/>
                    </a:cubicBezTo>
                    <a:cubicBezTo>
                      <a:pt x="74" y="85"/>
                      <a:pt x="72" y="85"/>
                      <a:pt x="71" y="83"/>
                    </a:cubicBezTo>
                    <a:cubicBezTo>
                      <a:pt x="69" y="80"/>
                      <a:pt x="65" y="76"/>
                      <a:pt x="59" y="70"/>
                    </a:cubicBezTo>
                    <a:cubicBezTo>
                      <a:pt x="54" y="66"/>
                      <a:pt x="49" y="64"/>
                      <a:pt x="45" y="63"/>
                    </a:cubicBezTo>
                    <a:cubicBezTo>
                      <a:pt x="45" y="77"/>
                      <a:pt x="45" y="77"/>
                      <a:pt x="45" y="77"/>
                    </a:cubicBezTo>
                    <a:cubicBezTo>
                      <a:pt x="48" y="78"/>
                      <a:pt x="51" y="80"/>
                      <a:pt x="53" y="83"/>
                    </a:cubicBezTo>
                    <a:cubicBezTo>
                      <a:pt x="59" y="88"/>
                      <a:pt x="63" y="94"/>
                      <a:pt x="66" y="102"/>
                    </a:cubicBezTo>
                    <a:cubicBezTo>
                      <a:pt x="71" y="109"/>
                      <a:pt x="73" y="116"/>
                      <a:pt x="72" y="121"/>
                    </a:cubicBezTo>
                    <a:cubicBezTo>
                      <a:pt x="72" y="122"/>
                      <a:pt x="72" y="123"/>
                      <a:pt x="70" y="124"/>
                    </a:cubicBezTo>
                    <a:cubicBezTo>
                      <a:pt x="69" y="124"/>
                      <a:pt x="68" y="124"/>
                      <a:pt x="67" y="122"/>
                    </a:cubicBezTo>
                    <a:cubicBezTo>
                      <a:pt x="67" y="121"/>
                      <a:pt x="66" y="118"/>
                      <a:pt x="64" y="115"/>
                    </a:cubicBezTo>
                    <a:cubicBezTo>
                      <a:pt x="60" y="107"/>
                      <a:pt x="57" y="102"/>
                      <a:pt x="55" y="97"/>
                    </a:cubicBezTo>
                    <a:cubicBezTo>
                      <a:pt x="51" y="91"/>
                      <a:pt x="48" y="88"/>
                      <a:pt x="45" y="87"/>
                    </a:cubicBezTo>
                    <a:cubicBezTo>
                      <a:pt x="45" y="102"/>
                      <a:pt x="45" y="102"/>
                      <a:pt x="45" y="102"/>
                    </a:cubicBezTo>
                    <a:cubicBezTo>
                      <a:pt x="45" y="117"/>
                      <a:pt x="45" y="128"/>
                      <a:pt x="44" y="136"/>
                    </a:cubicBezTo>
                    <a:cubicBezTo>
                      <a:pt x="43" y="137"/>
                      <a:pt x="42" y="138"/>
                      <a:pt x="41" y="139"/>
                    </a:cubicBezTo>
                    <a:cubicBezTo>
                      <a:pt x="40" y="139"/>
                      <a:pt x="39" y="139"/>
                      <a:pt x="38" y="137"/>
                    </a:cubicBezTo>
                    <a:cubicBezTo>
                      <a:pt x="37" y="135"/>
                      <a:pt x="37" y="123"/>
                      <a:pt x="37" y="103"/>
                    </a:cubicBezTo>
                    <a:cubicBezTo>
                      <a:pt x="37" y="97"/>
                      <a:pt x="37" y="92"/>
                      <a:pt x="37" y="86"/>
                    </a:cubicBezTo>
                    <a:cubicBezTo>
                      <a:pt x="34" y="87"/>
                      <a:pt x="31" y="89"/>
                      <a:pt x="28" y="92"/>
                    </a:cubicBezTo>
                    <a:cubicBezTo>
                      <a:pt x="24" y="98"/>
                      <a:pt x="21" y="103"/>
                      <a:pt x="19" y="109"/>
                    </a:cubicBezTo>
                    <a:cubicBezTo>
                      <a:pt x="17" y="113"/>
                      <a:pt x="15" y="117"/>
                      <a:pt x="12" y="121"/>
                    </a:cubicBezTo>
                    <a:cubicBezTo>
                      <a:pt x="11" y="122"/>
                      <a:pt x="9" y="122"/>
                      <a:pt x="8" y="122"/>
                    </a:cubicBezTo>
                    <a:cubicBezTo>
                      <a:pt x="7" y="122"/>
                      <a:pt x="7" y="121"/>
                      <a:pt x="7" y="120"/>
                    </a:cubicBezTo>
                    <a:cubicBezTo>
                      <a:pt x="7" y="119"/>
                      <a:pt x="7" y="118"/>
                      <a:pt x="8" y="117"/>
                    </a:cubicBezTo>
                    <a:cubicBezTo>
                      <a:pt x="9" y="112"/>
                      <a:pt x="10" y="108"/>
                      <a:pt x="11" y="106"/>
                    </a:cubicBezTo>
                    <a:cubicBezTo>
                      <a:pt x="13" y="101"/>
                      <a:pt x="17" y="94"/>
                      <a:pt x="22" y="86"/>
                    </a:cubicBezTo>
                    <a:cubicBezTo>
                      <a:pt x="27" y="80"/>
                      <a:pt x="32" y="77"/>
                      <a:pt x="37" y="76"/>
                    </a:cubicBezTo>
                    <a:cubicBezTo>
                      <a:pt x="37" y="68"/>
                      <a:pt x="37" y="68"/>
                      <a:pt x="37" y="68"/>
                    </a:cubicBezTo>
                    <a:cubicBezTo>
                      <a:pt x="37" y="63"/>
                      <a:pt x="37" y="63"/>
                      <a:pt x="37" y="63"/>
                    </a:cubicBezTo>
                    <a:cubicBezTo>
                      <a:pt x="33" y="64"/>
                      <a:pt x="29" y="66"/>
                      <a:pt x="24" y="69"/>
                    </a:cubicBezTo>
                    <a:cubicBezTo>
                      <a:pt x="23" y="70"/>
                      <a:pt x="20" y="72"/>
                      <a:pt x="16" y="77"/>
                    </a:cubicBezTo>
                    <a:cubicBezTo>
                      <a:pt x="13" y="81"/>
                      <a:pt x="11" y="83"/>
                      <a:pt x="9" y="85"/>
                    </a:cubicBezTo>
                    <a:cubicBezTo>
                      <a:pt x="8" y="86"/>
                      <a:pt x="7" y="87"/>
                      <a:pt x="6" y="86"/>
                    </a:cubicBezTo>
                    <a:cubicBezTo>
                      <a:pt x="5" y="86"/>
                      <a:pt x="5" y="84"/>
                      <a:pt x="5" y="82"/>
                    </a:cubicBezTo>
                    <a:cubicBezTo>
                      <a:pt x="10" y="73"/>
                      <a:pt x="15" y="65"/>
                      <a:pt x="22" y="60"/>
                    </a:cubicBezTo>
                    <a:cubicBezTo>
                      <a:pt x="27" y="56"/>
                      <a:pt x="32" y="54"/>
                      <a:pt x="37" y="54"/>
                    </a:cubicBezTo>
                    <a:cubicBezTo>
                      <a:pt x="37" y="47"/>
                      <a:pt x="37" y="47"/>
                      <a:pt x="37" y="47"/>
                    </a:cubicBezTo>
                    <a:cubicBezTo>
                      <a:pt x="22" y="49"/>
                      <a:pt x="10" y="48"/>
                      <a:pt x="3" y="45"/>
                    </a:cubicBezTo>
                    <a:cubicBezTo>
                      <a:pt x="1" y="44"/>
                      <a:pt x="0" y="42"/>
                      <a:pt x="0" y="40"/>
                    </a:cubicBezTo>
                    <a:cubicBezTo>
                      <a:pt x="1" y="38"/>
                      <a:pt x="3" y="38"/>
                      <a:pt x="5" y="38"/>
                    </a:cubicBezTo>
                    <a:cubicBezTo>
                      <a:pt x="12" y="40"/>
                      <a:pt x="22" y="40"/>
                      <a:pt x="37" y="39"/>
                    </a:cubicBezTo>
                    <a:cubicBezTo>
                      <a:pt x="37" y="39"/>
                      <a:pt x="37" y="39"/>
                      <a:pt x="37" y="39"/>
                    </a:cubicBezTo>
                    <a:cubicBezTo>
                      <a:pt x="38" y="32"/>
                      <a:pt x="36" y="29"/>
                      <a:pt x="33" y="28"/>
                    </a:cubicBezTo>
                    <a:cubicBezTo>
                      <a:pt x="26" y="25"/>
                      <a:pt x="19" y="24"/>
                      <a:pt x="12" y="2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136" name="íṣlíḑe"/>
              <p:cNvSpPr/>
              <p:nvPr/>
            </p:nvSpPr>
            <p:spPr bwMode="auto">
              <a:xfrm>
                <a:off x="2273197" y="5255215"/>
                <a:ext cx="163513" cy="263525"/>
              </a:xfrm>
              <a:custGeom>
                <a:avLst/>
                <a:gdLst>
                  <a:gd name="T0" fmla="*/ 47 w 88"/>
                  <a:gd name="T1" fmla="*/ 8 h 143"/>
                  <a:gd name="T2" fmla="*/ 74 w 88"/>
                  <a:gd name="T3" fmla="*/ 14 h 143"/>
                  <a:gd name="T4" fmla="*/ 82 w 88"/>
                  <a:gd name="T5" fmla="*/ 26 h 143"/>
                  <a:gd name="T6" fmla="*/ 79 w 88"/>
                  <a:gd name="T7" fmla="*/ 75 h 143"/>
                  <a:gd name="T8" fmla="*/ 86 w 88"/>
                  <a:gd name="T9" fmla="*/ 136 h 143"/>
                  <a:gd name="T10" fmla="*/ 73 w 88"/>
                  <a:gd name="T11" fmla="*/ 45 h 143"/>
                  <a:gd name="T12" fmla="*/ 67 w 88"/>
                  <a:gd name="T13" fmla="*/ 44 h 143"/>
                  <a:gd name="T14" fmla="*/ 54 w 88"/>
                  <a:gd name="T15" fmla="*/ 58 h 143"/>
                  <a:gd name="T16" fmla="*/ 22 w 88"/>
                  <a:gd name="T17" fmla="*/ 54 h 143"/>
                  <a:gd name="T18" fmla="*/ 15 w 88"/>
                  <a:gd name="T19" fmla="*/ 45 h 143"/>
                  <a:gd name="T20" fmla="*/ 11 w 88"/>
                  <a:gd name="T21" fmla="*/ 91 h 143"/>
                  <a:gd name="T22" fmla="*/ 9 w 88"/>
                  <a:gd name="T23" fmla="*/ 118 h 143"/>
                  <a:gd name="T24" fmla="*/ 2 w 88"/>
                  <a:gd name="T25" fmla="*/ 139 h 143"/>
                  <a:gd name="T26" fmla="*/ 6 w 88"/>
                  <a:gd name="T27" fmla="*/ 80 h 143"/>
                  <a:gd name="T28" fmla="*/ 2 w 88"/>
                  <a:gd name="T29" fmla="*/ 26 h 143"/>
                  <a:gd name="T30" fmla="*/ 32 w 88"/>
                  <a:gd name="T31" fmla="*/ 10 h 143"/>
                  <a:gd name="T32" fmla="*/ 39 w 88"/>
                  <a:gd name="T33" fmla="*/ 0 h 143"/>
                  <a:gd name="T34" fmla="*/ 24 w 88"/>
                  <a:gd name="T35" fmla="*/ 23 h 143"/>
                  <a:gd name="T36" fmla="*/ 66 w 88"/>
                  <a:gd name="T37" fmla="*/ 29 h 143"/>
                  <a:gd name="T38" fmla="*/ 67 w 88"/>
                  <a:gd name="T39" fmla="*/ 37 h 143"/>
                  <a:gd name="T40" fmla="*/ 73 w 88"/>
                  <a:gd name="T41" fmla="*/ 34 h 143"/>
                  <a:gd name="T42" fmla="*/ 66 w 88"/>
                  <a:gd name="T43" fmla="*/ 20 h 143"/>
                  <a:gd name="T44" fmla="*/ 13 w 88"/>
                  <a:gd name="T45" fmla="*/ 21 h 143"/>
                  <a:gd name="T46" fmla="*/ 12 w 88"/>
                  <a:gd name="T47" fmla="*/ 32 h 143"/>
                  <a:gd name="T48" fmla="*/ 17 w 88"/>
                  <a:gd name="T49" fmla="*/ 38 h 143"/>
                  <a:gd name="T50" fmla="*/ 24 w 88"/>
                  <a:gd name="T51" fmla="*/ 23 h 143"/>
                  <a:gd name="T52" fmla="*/ 61 w 88"/>
                  <a:gd name="T53" fmla="*/ 64 h 143"/>
                  <a:gd name="T54" fmla="*/ 66 w 88"/>
                  <a:gd name="T55" fmla="*/ 96 h 143"/>
                  <a:gd name="T56" fmla="*/ 61 w 88"/>
                  <a:gd name="T57" fmla="*/ 136 h 143"/>
                  <a:gd name="T58" fmla="*/ 59 w 88"/>
                  <a:gd name="T59" fmla="*/ 143 h 143"/>
                  <a:gd name="T60" fmla="*/ 46 w 88"/>
                  <a:gd name="T61" fmla="*/ 105 h 143"/>
                  <a:gd name="T62" fmla="*/ 30 w 88"/>
                  <a:gd name="T63" fmla="*/ 140 h 143"/>
                  <a:gd name="T64" fmla="*/ 26 w 88"/>
                  <a:gd name="T65" fmla="*/ 137 h 143"/>
                  <a:gd name="T66" fmla="*/ 32 w 88"/>
                  <a:gd name="T67" fmla="*/ 121 h 143"/>
                  <a:gd name="T68" fmla="*/ 35 w 88"/>
                  <a:gd name="T69" fmla="*/ 105 h 143"/>
                  <a:gd name="T70" fmla="*/ 18 w 88"/>
                  <a:gd name="T71" fmla="*/ 75 h 143"/>
                  <a:gd name="T72" fmla="*/ 24 w 88"/>
                  <a:gd name="T73" fmla="*/ 35 h 143"/>
                  <a:gd name="T74" fmla="*/ 39 w 88"/>
                  <a:gd name="T75" fmla="*/ 37 h 143"/>
                  <a:gd name="T76" fmla="*/ 34 w 88"/>
                  <a:gd name="T77" fmla="*/ 29 h 143"/>
                  <a:gd name="T78" fmla="*/ 24 w 88"/>
                  <a:gd name="T79" fmla="*/ 35 h 143"/>
                  <a:gd name="T80" fmla="*/ 62 w 88"/>
                  <a:gd name="T81" fmla="*/ 84 h 143"/>
                  <a:gd name="T82" fmla="*/ 43 w 88"/>
                  <a:gd name="T83" fmla="*/ 81 h 143"/>
                  <a:gd name="T84" fmla="*/ 25 w 88"/>
                  <a:gd name="T85" fmla="*/ 87 h 143"/>
                  <a:gd name="T86" fmla="*/ 26 w 88"/>
                  <a:gd name="T87" fmla="*/ 48 h 143"/>
                  <a:gd name="T88" fmla="*/ 38 w 88"/>
                  <a:gd name="T89" fmla="*/ 52 h 143"/>
                  <a:gd name="T90" fmla="*/ 25 w 88"/>
                  <a:gd name="T91" fmla="*/ 44 h 143"/>
                  <a:gd name="T92" fmla="*/ 32 w 88"/>
                  <a:gd name="T93" fmla="*/ 69 h 143"/>
                  <a:gd name="T94" fmla="*/ 41 w 88"/>
                  <a:gd name="T95" fmla="*/ 75 h 143"/>
                  <a:gd name="T96" fmla="*/ 57 w 88"/>
                  <a:gd name="T97" fmla="*/ 70 h 143"/>
                  <a:gd name="T98" fmla="*/ 56 w 88"/>
                  <a:gd name="T99" fmla="*/ 98 h 143"/>
                  <a:gd name="T100" fmla="*/ 54 w 88"/>
                  <a:gd name="T101" fmla="*/ 93 h 143"/>
                  <a:gd name="T102" fmla="*/ 36 w 88"/>
                  <a:gd name="T103" fmla="*/ 93 h 143"/>
                  <a:gd name="T104" fmla="*/ 32 w 88"/>
                  <a:gd name="T105" fmla="*/ 98 h 143"/>
                  <a:gd name="T106" fmla="*/ 56 w 88"/>
                  <a:gd name="T107" fmla="*/ 29 h 143"/>
                  <a:gd name="T108" fmla="*/ 46 w 88"/>
                  <a:gd name="T109" fmla="*/ 29 h 143"/>
                  <a:gd name="T110" fmla="*/ 60 w 88"/>
                  <a:gd name="T111" fmla="*/ 37 h 143"/>
                  <a:gd name="T112" fmla="*/ 56 w 88"/>
                  <a:gd name="T113" fmla="*/ 29 h 143"/>
                  <a:gd name="T114" fmla="*/ 60 w 88"/>
                  <a:gd name="T115" fmla="*/ 43 h 143"/>
                  <a:gd name="T116" fmla="*/ 46 w 88"/>
                  <a:gd name="T117" fmla="*/ 52 h 143"/>
                  <a:gd name="T118" fmla="*/ 59 w 88"/>
                  <a:gd name="T119" fmla="*/ 48 h 1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88" h="143">
                    <a:moveTo>
                      <a:pt x="43" y="2"/>
                    </a:moveTo>
                    <a:cubicBezTo>
                      <a:pt x="45" y="3"/>
                      <a:pt x="47" y="6"/>
                      <a:pt x="47" y="8"/>
                    </a:cubicBezTo>
                    <a:cubicBezTo>
                      <a:pt x="47" y="9"/>
                      <a:pt x="48" y="10"/>
                      <a:pt x="49" y="10"/>
                    </a:cubicBezTo>
                    <a:cubicBezTo>
                      <a:pt x="57" y="10"/>
                      <a:pt x="66" y="12"/>
                      <a:pt x="74" y="14"/>
                    </a:cubicBezTo>
                    <a:cubicBezTo>
                      <a:pt x="78" y="16"/>
                      <a:pt x="81" y="18"/>
                      <a:pt x="81" y="19"/>
                    </a:cubicBezTo>
                    <a:cubicBezTo>
                      <a:pt x="82" y="21"/>
                      <a:pt x="82" y="24"/>
                      <a:pt x="82" y="26"/>
                    </a:cubicBezTo>
                    <a:cubicBezTo>
                      <a:pt x="82" y="27"/>
                      <a:pt x="82" y="27"/>
                      <a:pt x="82" y="28"/>
                    </a:cubicBezTo>
                    <a:cubicBezTo>
                      <a:pt x="79" y="39"/>
                      <a:pt x="78" y="55"/>
                      <a:pt x="79" y="75"/>
                    </a:cubicBezTo>
                    <a:cubicBezTo>
                      <a:pt x="80" y="87"/>
                      <a:pt x="83" y="106"/>
                      <a:pt x="87" y="131"/>
                    </a:cubicBezTo>
                    <a:cubicBezTo>
                      <a:pt x="88" y="134"/>
                      <a:pt x="87" y="135"/>
                      <a:pt x="86" y="136"/>
                    </a:cubicBezTo>
                    <a:cubicBezTo>
                      <a:pt x="84" y="137"/>
                      <a:pt x="82" y="136"/>
                      <a:pt x="82" y="133"/>
                    </a:cubicBezTo>
                    <a:cubicBezTo>
                      <a:pt x="74" y="106"/>
                      <a:pt x="71" y="76"/>
                      <a:pt x="73" y="45"/>
                    </a:cubicBezTo>
                    <a:cubicBezTo>
                      <a:pt x="72" y="45"/>
                      <a:pt x="71" y="44"/>
                      <a:pt x="70" y="44"/>
                    </a:cubicBezTo>
                    <a:cubicBezTo>
                      <a:pt x="69" y="44"/>
                      <a:pt x="68" y="44"/>
                      <a:pt x="67" y="44"/>
                    </a:cubicBezTo>
                    <a:cubicBezTo>
                      <a:pt x="67" y="48"/>
                      <a:pt x="66" y="51"/>
                      <a:pt x="64" y="54"/>
                    </a:cubicBezTo>
                    <a:cubicBezTo>
                      <a:pt x="62" y="57"/>
                      <a:pt x="59" y="59"/>
                      <a:pt x="54" y="58"/>
                    </a:cubicBezTo>
                    <a:cubicBezTo>
                      <a:pt x="47" y="58"/>
                      <a:pt x="39" y="58"/>
                      <a:pt x="32" y="58"/>
                    </a:cubicBezTo>
                    <a:cubicBezTo>
                      <a:pt x="28" y="59"/>
                      <a:pt x="25" y="58"/>
                      <a:pt x="22" y="54"/>
                    </a:cubicBezTo>
                    <a:cubicBezTo>
                      <a:pt x="20" y="51"/>
                      <a:pt x="19" y="48"/>
                      <a:pt x="18" y="45"/>
                    </a:cubicBezTo>
                    <a:cubicBezTo>
                      <a:pt x="17" y="45"/>
                      <a:pt x="16" y="45"/>
                      <a:pt x="15" y="45"/>
                    </a:cubicBezTo>
                    <a:cubicBezTo>
                      <a:pt x="14" y="45"/>
                      <a:pt x="13" y="45"/>
                      <a:pt x="13" y="45"/>
                    </a:cubicBezTo>
                    <a:cubicBezTo>
                      <a:pt x="13" y="60"/>
                      <a:pt x="13" y="75"/>
                      <a:pt x="11" y="91"/>
                    </a:cubicBezTo>
                    <a:cubicBezTo>
                      <a:pt x="11" y="95"/>
                      <a:pt x="11" y="102"/>
                      <a:pt x="10" y="111"/>
                    </a:cubicBezTo>
                    <a:cubicBezTo>
                      <a:pt x="10" y="108"/>
                      <a:pt x="10" y="111"/>
                      <a:pt x="9" y="118"/>
                    </a:cubicBezTo>
                    <a:cubicBezTo>
                      <a:pt x="9" y="124"/>
                      <a:pt x="8" y="130"/>
                      <a:pt x="6" y="134"/>
                    </a:cubicBezTo>
                    <a:cubicBezTo>
                      <a:pt x="5" y="138"/>
                      <a:pt x="3" y="139"/>
                      <a:pt x="2" y="139"/>
                    </a:cubicBezTo>
                    <a:cubicBezTo>
                      <a:pt x="0" y="139"/>
                      <a:pt x="0" y="137"/>
                      <a:pt x="0" y="133"/>
                    </a:cubicBezTo>
                    <a:cubicBezTo>
                      <a:pt x="3" y="112"/>
                      <a:pt x="5" y="94"/>
                      <a:pt x="6" y="80"/>
                    </a:cubicBezTo>
                    <a:cubicBezTo>
                      <a:pt x="8" y="64"/>
                      <a:pt x="7" y="51"/>
                      <a:pt x="6" y="38"/>
                    </a:cubicBezTo>
                    <a:cubicBezTo>
                      <a:pt x="5" y="34"/>
                      <a:pt x="4" y="30"/>
                      <a:pt x="2" y="26"/>
                    </a:cubicBezTo>
                    <a:cubicBezTo>
                      <a:pt x="0" y="21"/>
                      <a:pt x="1" y="17"/>
                      <a:pt x="6" y="16"/>
                    </a:cubicBezTo>
                    <a:cubicBezTo>
                      <a:pt x="14" y="12"/>
                      <a:pt x="23" y="11"/>
                      <a:pt x="32" y="10"/>
                    </a:cubicBezTo>
                    <a:cubicBezTo>
                      <a:pt x="36" y="9"/>
                      <a:pt x="38" y="7"/>
                      <a:pt x="38" y="4"/>
                    </a:cubicBezTo>
                    <a:cubicBezTo>
                      <a:pt x="38" y="2"/>
                      <a:pt x="38" y="1"/>
                      <a:pt x="39" y="0"/>
                    </a:cubicBezTo>
                    <a:cubicBezTo>
                      <a:pt x="41" y="0"/>
                      <a:pt x="42" y="0"/>
                      <a:pt x="43" y="2"/>
                    </a:cubicBezTo>
                    <a:close/>
                    <a:moveTo>
                      <a:pt x="24" y="23"/>
                    </a:moveTo>
                    <a:cubicBezTo>
                      <a:pt x="33" y="22"/>
                      <a:pt x="44" y="22"/>
                      <a:pt x="58" y="23"/>
                    </a:cubicBezTo>
                    <a:cubicBezTo>
                      <a:pt x="63" y="24"/>
                      <a:pt x="66" y="26"/>
                      <a:pt x="66" y="29"/>
                    </a:cubicBezTo>
                    <a:cubicBezTo>
                      <a:pt x="66" y="30"/>
                      <a:pt x="66" y="30"/>
                      <a:pt x="67" y="31"/>
                    </a:cubicBezTo>
                    <a:cubicBezTo>
                      <a:pt x="67" y="33"/>
                      <a:pt x="67" y="35"/>
                      <a:pt x="67" y="37"/>
                    </a:cubicBezTo>
                    <a:cubicBezTo>
                      <a:pt x="69" y="38"/>
                      <a:pt x="71" y="38"/>
                      <a:pt x="73" y="38"/>
                    </a:cubicBezTo>
                    <a:cubicBezTo>
                      <a:pt x="73" y="37"/>
                      <a:pt x="73" y="36"/>
                      <a:pt x="73" y="34"/>
                    </a:cubicBezTo>
                    <a:cubicBezTo>
                      <a:pt x="73" y="32"/>
                      <a:pt x="73" y="30"/>
                      <a:pt x="74" y="29"/>
                    </a:cubicBezTo>
                    <a:cubicBezTo>
                      <a:pt x="75" y="25"/>
                      <a:pt x="72" y="21"/>
                      <a:pt x="66" y="20"/>
                    </a:cubicBezTo>
                    <a:cubicBezTo>
                      <a:pt x="58" y="17"/>
                      <a:pt x="50" y="16"/>
                      <a:pt x="40" y="16"/>
                    </a:cubicBezTo>
                    <a:cubicBezTo>
                      <a:pt x="29" y="16"/>
                      <a:pt x="20" y="18"/>
                      <a:pt x="13" y="21"/>
                    </a:cubicBezTo>
                    <a:cubicBezTo>
                      <a:pt x="11" y="22"/>
                      <a:pt x="11" y="24"/>
                      <a:pt x="11" y="26"/>
                    </a:cubicBezTo>
                    <a:cubicBezTo>
                      <a:pt x="11" y="28"/>
                      <a:pt x="12" y="30"/>
                      <a:pt x="12" y="32"/>
                    </a:cubicBezTo>
                    <a:cubicBezTo>
                      <a:pt x="12" y="35"/>
                      <a:pt x="12" y="37"/>
                      <a:pt x="12" y="38"/>
                    </a:cubicBezTo>
                    <a:cubicBezTo>
                      <a:pt x="14" y="38"/>
                      <a:pt x="15" y="38"/>
                      <a:pt x="17" y="38"/>
                    </a:cubicBezTo>
                    <a:cubicBezTo>
                      <a:pt x="17" y="35"/>
                      <a:pt x="17" y="32"/>
                      <a:pt x="17" y="30"/>
                    </a:cubicBezTo>
                    <a:cubicBezTo>
                      <a:pt x="18" y="26"/>
                      <a:pt x="20" y="24"/>
                      <a:pt x="24" y="23"/>
                    </a:cubicBezTo>
                    <a:close/>
                    <a:moveTo>
                      <a:pt x="28" y="64"/>
                    </a:moveTo>
                    <a:cubicBezTo>
                      <a:pt x="39" y="62"/>
                      <a:pt x="50" y="62"/>
                      <a:pt x="61" y="64"/>
                    </a:cubicBezTo>
                    <a:cubicBezTo>
                      <a:pt x="65" y="65"/>
                      <a:pt x="67" y="67"/>
                      <a:pt x="67" y="71"/>
                    </a:cubicBezTo>
                    <a:cubicBezTo>
                      <a:pt x="69" y="79"/>
                      <a:pt x="68" y="88"/>
                      <a:pt x="66" y="96"/>
                    </a:cubicBezTo>
                    <a:cubicBezTo>
                      <a:pt x="65" y="102"/>
                      <a:pt x="61" y="105"/>
                      <a:pt x="54" y="105"/>
                    </a:cubicBezTo>
                    <a:cubicBezTo>
                      <a:pt x="55" y="115"/>
                      <a:pt x="57" y="125"/>
                      <a:pt x="61" y="136"/>
                    </a:cubicBezTo>
                    <a:cubicBezTo>
                      <a:pt x="63" y="138"/>
                      <a:pt x="63" y="140"/>
                      <a:pt x="61" y="142"/>
                    </a:cubicBezTo>
                    <a:cubicBezTo>
                      <a:pt x="60" y="142"/>
                      <a:pt x="59" y="143"/>
                      <a:pt x="59" y="143"/>
                    </a:cubicBezTo>
                    <a:cubicBezTo>
                      <a:pt x="58" y="143"/>
                      <a:pt x="57" y="142"/>
                      <a:pt x="57" y="141"/>
                    </a:cubicBezTo>
                    <a:cubicBezTo>
                      <a:pt x="52" y="131"/>
                      <a:pt x="48" y="120"/>
                      <a:pt x="46" y="105"/>
                    </a:cubicBezTo>
                    <a:cubicBezTo>
                      <a:pt x="41" y="105"/>
                      <a:pt x="41" y="105"/>
                      <a:pt x="41" y="105"/>
                    </a:cubicBezTo>
                    <a:cubicBezTo>
                      <a:pt x="40" y="120"/>
                      <a:pt x="37" y="131"/>
                      <a:pt x="30" y="140"/>
                    </a:cubicBezTo>
                    <a:cubicBezTo>
                      <a:pt x="29" y="141"/>
                      <a:pt x="27" y="142"/>
                      <a:pt x="26" y="142"/>
                    </a:cubicBezTo>
                    <a:cubicBezTo>
                      <a:pt x="25" y="141"/>
                      <a:pt x="25" y="139"/>
                      <a:pt x="26" y="137"/>
                    </a:cubicBezTo>
                    <a:cubicBezTo>
                      <a:pt x="26" y="137"/>
                      <a:pt x="26" y="135"/>
                      <a:pt x="28" y="132"/>
                    </a:cubicBezTo>
                    <a:cubicBezTo>
                      <a:pt x="30" y="127"/>
                      <a:pt x="32" y="123"/>
                      <a:pt x="32" y="121"/>
                    </a:cubicBezTo>
                    <a:cubicBezTo>
                      <a:pt x="33" y="118"/>
                      <a:pt x="34" y="113"/>
                      <a:pt x="35" y="107"/>
                    </a:cubicBezTo>
                    <a:cubicBezTo>
                      <a:pt x="35" y="106"/>
                      <a:pt x="35" y="106"/>
                      <a:pt x="35" y="105"/>
                    </a:cubicBezTo>
                    <a:cubicBezTo>
                      <a:pt x="29" y="105"/>
                      <a:pt x="25" y="103"/>
                      <a:pt x="22" y="98"/>
                    </a:cubicBezTo>
                    <a:cubicBezTo>
                      <a:pt x="19" y="93"/>
                      <a:pt x="17" y="85"/>
                      <a:pt x="18" y="75"/>
                    </a:cubicBezTo>
                    <a:cubicBezTo>
                      <a:pt x="19" y="68"/>
                      <a:pt x="22" y="65"/>
                      <a:pt x="28" y="64"/>
                    </a:cubicBezTo>
                    <a:close/>
                    <a:moveTo>
                      <a:pt x="24" y="35"/>
                    </a:moveTo>
                    <a:cubicBezTo>
                      <a:pt x="24" y="36"/>
                      <a:pt x="24" y="36"/>
                      <a:pt x="24" y="37"/>
                    </a:cubicBezTo>
                    <a:cubicBezTo>
                      <a:pt x="29" y="37"/>
                      <a:pt x="34" y="37"/>
                      <a:pt x="39" y="37"/>
                    </a:cubicBezTo>
                    <a:cubicBezTo>
                      <a:pt x="39" y="34"/>
                      <a:pt x="38" y="31"/>
                      <a:pt x="38" y="29"/>
                    </a:cubicBezTo>
                    <a:cubicBezTo>
                      <a:pt x="37" y="29"/>
                      <a:pt x="36" y="29"/>
                      <a:pt x="34" y="29"/>
                    </a:cubicBezTo>
                    <a:cubicBezTo>
                      <a:pt x="31" y="29"/>
                      <a:pt x="30" y="29"/>
                      <a:pt x="28" y="29"/>
                    </a:cubicBezTo>
                    <a:cubicBezTo>
                      <a:pt x="25" y="31"/>
                      <a:pt x="24" y="32"/>
                      <a:pt x="24" y="35"/>
                    </a:cubicBezTo>
                    <a:close/>
                    <a:moveTo>
                      <a:pt x="61" y="87"/>
                    </a:moveTo>
                    <a:cubicBezTo>
                      <a:pt x="61" y="86"/>
                      <a:pt x="62" y="85"/>
                      <a:pt x="62" y="84"/>
                    </a:cubicBezTo>
                    <a:cubicBezTo>
                      <a:pt x="62" y="83"/>
                      <a:pt x="62" y="82"/>
                      <a:pt x="62" y="82"/>
                    </a:cubicBezTo>
                    <a:cubicBezTo>
                      <a:pt x="56" y="81"/>
                      <a:pt x="50" y="80"/>
                      <a:pt x="43" y="81"/>
                    </a:cubicBezTo>
                    <a:cubicBezTo>
                      <a:pt x="37" y="81"/>
                      <a:pt x="31" y="82"/>
                      <a:pt x="24" y="83"/>
                    </a:cubicBezTo>
                    <a:cubicBezTo>
                      <a:pt x="25" y="87"/>
                      <a:pt x="25" y="87"/>
                      <a:pt x="25" y="87"/>
                    </a:cubicBezTo>
                    <a:cubicBezTo>
                      <a:pt x="35" y="86"/>
                      <a:pt x="48" y="86"/>
                      <a:pt x="61" y="87"/>
                    </a:cubicBezTo>
                    <a:close/>
                    <a:moveTo>
                      <a:pt x="26" y="48"/>
                    </a:moveTo>
                    <a:cubicBezTo>
                      <a:pt x="28" y="51"/>
                      <a:pt x="30" y="52"/>
                      <a:pt x="35" y="52"/>
                    </a:cubicBezTo>
                    <a:cubicBezTo>
                      <a:pt x="38" y="52"/>
                      <a:pt x="38" y="52"/>
                      <a:pt x="38" y="52"/>
                    </a:cubicBezTo>
                    <a:cubicBezTo>
                      <a:pt x="38" y="49"/>
                      <a:pt x="39" y="46"/>
                      <a:pt x="39" y="44"/>
                    </a:cubicBezTo>
                    <a:cubicBezTo>
                      <a:pt x="34" y="44"/>
                      <a:pt x="30" y="44"/>
                      <a:pt x="25" y="44"/>
                    </a:cubicBezTo>
                    <a:cubicBezTo>
                      <a:pt x="25" y="46"/>
                      <a:pt x="25" y="47"/>
                      <a:pt x="26" y="48"/>
                    </a:cubicBezTo>
                    <a:close/>
                    <a:moveTo>
                      <a:pt x="32" y="69"/>
                    </a:moveTo>
                    <a:cubicBezTo>
                      <a:pt x="28" y="70"/>
                      <a:pt x="25" y="72"/>
                      <a:pt x="25" y="76"/>
                    </a:cubicBezTo>
                    <a:cubicBezTo>
                      <a:pt x="30" y="75"/>
                      <a:pt x="35" y="75"/>
                      <a:pt x="41" y="75"/>
                    </a:cubicBezTo>
                    <a:cubicBezTo>
                      <a:pt x="46" y="74"/>
                      <a:pt x="53" y="74"/>
                      <a:pt x="61" y="75"/>
                    </a:cubicBezTo>
                    <a:cubicBezTo>
                      <a:pt x="61" y="72"/>
                      <a:pt x="59" y="71"/>
                      <a:pt x="57" y="70"/>
                    </a:cubicBezTo>
                    <a:cubicBezTo>
                      <a:pt x="49" y="68"/>
                      <a:pt x="40" y="68"/>
                      <a:pt x="32" y="69"/>
                    </a:cubicBezTo>
                    <a:close/>
                    <a:moveTo>
                      <a:pt x="56" y="98"/>
                    </a:moveTo>
                    <a:cubicBezTo>
                      <a:pt x="59" y="97"/>
                      <a:pt x="60" y="96"/>
                      <a:pt x="61" y="93"/>
                    </a:cubicBezTo>
                    <a:cubicBezTo>
                      <a:pt x="60" y="93"/>
                      <a:pt x="57" y="93"/>
                      <a:pt x="54" y="93"/>
                    </a:cubicBezTo>
                    <a:cubicBezTo>
                      <a:pt x="48" y="92"/>
                      <a:pt x="44" y="92"/>
                      <a:pt x="41" y="92"/>
                    </a:cubicBezTo>
                    <a:cubicBezTo>
                      <a:pt x="40" y="92"/>
                      <a:pt x="38" y="92"/>
                      <a:pt x="36" y="93"/>
                    </a:cubicBezTo>
                    <a:cubicBezTo>
                      <a:pt x="31" y="93"/>
                      <a:pt x="28" y="94"/>
                      <a:pt x="26" y="94"/>
                    </a:cubicBezTo>
                    <a:cubicBezTo>
                      <a:pt x="27" y="96"/>
                      <a:pt x="29" y="98"/>
                      <a:pt x="32" y="98"/>
                    </a:cubicBezTo>
                    <a:cubicBezTo>
                      <a:pt x="39" y="99"/>
                      <a:pt x="47" y="99"/>
                      <a:pt x="56" y="98"/>
                    </a:cubicBezTo>
                    <a:close/>
                    <a:moveTo>
                      <a:pt x="56" y="29"/>
                    </a:moveTo>
                    <a:cubicBezTo>
                      <a:pt x="55" y="29"/>
                      <a:pt x="53" y="29"/>
                      <a:pt x="51" y="29"/>
                    </a:cubicBezTo>
                    <a:cubicBezTo>
                      <a:pt x="49" y="29"/>
                      <a:pt x="47" y="29"/>
                      <a:pt x="46" y="29"/>
                    </a:cubicBezTo>
                    <a:cubicBezTo>
                      <a:pt x="46" y="31"/>
                      <a:pt x="46" y="34"/>
                      <a:pt x="46" y="37"/>
                    </a:cubicBezTo>
                    <a:cubicBezTo>
                      <a:pt x="50" y="37"/>
                      <a:pt x="55" y="37"/>
                      <a:pt x="60" y="37"/>
                    </a:cubicBezTo>
                    <a:cubicBezTo>
                      <a:pt x="60" y="35"/>
                      <a:pt x="60" y="35"/>
                      <a:pt x="60" y="35"/>
                    </a:cubicBezTo>
                    <a:cubicBezTo>
                      <a:pt x="60" y="32"/>
                      <a:pt x="58" y="30"/>
                      <a:pt x="56" y="29"/>
                    </a:cubicBezTo>
                    <a:close/>
                    <a:moveTo>
                      <a:pt x="59" y="48"/>
                    </a:moveTo>
                    <a:cubicBezTo>
                      <a:pt x="59" y="47"/>
                      <a:pt x="59" y="45"/>
                      <a:pt x="60" y="43"/>
                    </a:cubicBezTo>
                    <a:cubicBezTo>
                      <a:pt x="55" y="43"/>
                      <a:pt x="51" y="43"/>
                      <a:pt x="46" y="43"/>
                    </a:cubicBezTo>
                    <a:cubicBezTo>
                      <a:pt x="46" y="52"/>
                      <a:pt x="46" y="52"/>
                      <a:pt x="46" y="52"/>
                    </a:cubicBezTo>
                    <a:cubicBezTo>
                      <a:pt x="48" y="52"/>
                      <a:pt x="51" y="52"/>
                      <a:pt x="54" y="52"/>
                    </a:cubicBezTo>
                    <a:cubicBezTo>
                      <a:pt x="57" y="51"/>
                      <a:pt x="59" y="49"/>
                      <a:pt x="59" y="4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137" name="îSḻide"/>
              <p:cNvSpPr/>
              <p:nvPr/>
            </p:nvSpPr>
            <p:spPr bwMode="auto">
              <a:xfrm>
                <a:off x="2449409" y="5256803"/>
                <a:ext cx="139700" cy="265113"/>
              </a:xfrm>
              <a:custGeom>
                <a:avLst/>
                <a:gdLst>
                  <a:gd name="T0" fmla="*/ 56 w 76"/>
                  <a:gd name="T1" fmla="*/ 3 h 144"/>
                  <a:gd name="T2" fmla="*/ 61 w 76"/>
                  <a:gd name="T3" fmla="*/ 45 h 144"/>
                  <a:gd name="T4" fmla="*/ 50 w 76"/>
                  <a:gd name="T5" fmla="*/ 74 h 144"/>
                  <a:gd name="T6" fmla="*/ 68 w 76"/>
                  <a:gd name="T7" fmla="*/ 65 h 144"/>
                  <a:gd name="T8" fmla="*/ 70 w 76"/>
                  <a:gd name="T9" fmla="*/ 31 h 144"/>
                  <a:gd name="T10" fmla="*/ 74 w 76"/>
                  <a:gd name="T11" fmla="*/ 31 h 144"/>
                  <a:gd name="T12" fmla="*/ 74 w 76"/>
                  <a:gd name="T13" fmla="*/ 64 h 144"/>
                  <a:gd name="T14" fmla="*/ 50 w 76"/>
                  <a:gd name="T15" fmla="*/ 81 h 144"/>
                  <a:gd name="T16" fmla="*/ 69 w 76"/>
                  <a:gd name="T17" fmla="*/ 103 h 144"/>
                  <a:gd name="T18" fmla="*/ 74 w 76"/>
                  <a:gd name="T19" fmla="*/ 140 h 144"/>
                  <a:gd name="T20" fmla="*/ 63 w 76"/>
                  <a:gd name="T21" fmla="*/ 105 h 144"/>
                  <a:gd name="T22" fmla="*/ 52 w 76"/>
                  <a:gd name="T23" fmla="*/ 138 h 144"/>
                  <a:gd name="T24" fmla="*/ 46 w 76"/>
                  <a:gd name="T25" fmla="*/ 139 h 144"/>
                  <a:gd name="T26" fmla="*/ 42 w 76"/>
                  <a:gd name="T27" fmla="*/ 57 h 144"/>
                  <a:gd name="T28" fmla="*/ 35 w 76"/>
                  <a:gd name="T29" fmla="*/ 132 h 144"/>
                  <a:gd name="T30" fmla="*/ 27 w 76"/>
                  <a:gd name="T31" fmla="*/ 136 h 144"/>
                  <a:gd name="T32" fmla="*/ 29 w 76"/>
                  <a:gd name="T33" fmla="*/ 95 h 144"/>
                  <a:gd name="T34" fmla="*/ 5 w 76"/>
                  <a:gd name="T35" fmla="*/ 135 h 144"/>
                  <a:gd name="T36" fmla="*/ 0 w 76"/>
                  <a:gd name="T37" fmla="*/ 135 h 144"/>
                  <a:gd name="T38" fmla="*/ 30 w 76"/>
                  <a:gd name="T39" fmla="*/ 86 h 144"/>
                  <a:gd name="T40" fmla="*/ 26 w 76"/>
                  <a:gd name="T41" fmla="*/ 80 h 144"/>
                  <a:gd name="T42" fmla="*/ 5 w 76"/>
                  <a:gd name="T43" fmla="*/ 66 h 144"/>
                  <a:gd name="T44" fmla="*/ 3 w 76"/>
                  <a:gd name="T45" fmla="*/ 29 h 144"/>
                  <a:gd name="T46" fmla="*/ 9 w 76"/>
                  <a:gd name="T47" fmla="*/ 59 h 144"/>
                  <a:gd name="T48" fmla="*/ 31 w 76"/>
                  <a:gd name="T49" fmla="*/ 74 h 144"/>
                  <a:gd name="T50" fmla="*/ 32 w 76"/>
                  <a:gd name="T51" fmla="*/ 57 h 144"/>
                  <a:gd name="T52" fmla="*/ 16 w 76"/>
                  <a:gd name="T53" fmla="*/ 14 h 144"/>
                  <a:gd name="T54" fmla="*/ 22 w 76"/>
                  <a:gd name="T55" fmla="*/ 19 h 144"/>
                  <a:gd name="T56" fmla="*/ 57 w 76"/>
                  <a:gd name="T57" fmla="*/ 19 h 144"/>
                  <a:gd name="T58" fmla="*/ 50 w 76"/>
                  <a:gd name="T59" fmla="*/ 9 h 144"/>
                  <a:gd name="T60" fmla="*/ 22 w 76"/>
                  <a:gd name="T61" fmla="*/ 19 h 144"/>
                  <a:gd name="T62" fmla="*/ 23 w 76"/>
                  <a:gd name="T63" fmla="*/ 31 h 144"/>
                  <a:gd name="T64" fmla="*/ 57 w 76"/>
                  <a:gd name="T65" fmla="*/ 34 h 144"/>
                  <a:gd name="T66" fmla="*/ 22 w 76"/>
                  <a:gd name="T67" fmla="*/ 27 h 144"/>
                  <a:gd name="T68" fmla="*/ 48 w 76"/>
                  <a:gd name="T69" fmla="*/ 50 h 144"/>
                  <a:gd name="T70" fmla="*/ 57 w 76"/>
                  <a:gd name="T71" fmla="*/ 41 h 144"/>
                  <a:gd name="T72" fmla="*/ 25 w 76"/>
                  <a:gd name="T73" fmla="*/ 44 h 1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76" h="144">
                    <a:moveTo>
                      <a:pt x="27" y="2"/>
                    </a:moveTo>
                    <a:cubicBezTo>
                      <a:pt x="37" y="0"/>
                      <a:pt x="47" y="0"/>
                      <a:pt x="56" y="3"/>
                    </a:cubicBezTo>
                    <a:cubicBezTo>
                      <a:pt x="60" y="3"/>
                      <a:pt x="62" y="7"/>
                      <a:pt x="63" y="15"/>
                    </a:cubicBezTo>
                    <a:cubicBezTo>
                      <a:pt x="65" y="25"/>
                      <a:pt x="64" y="35"/>
                      <a:pt x="61" y="45"/>
                    </a:cubicBezTo>
                    <a:cubicBezTo>
                      <a:pt x="60" y="53"/>
                      <a:pt x="55" y="56"/>
                      <a:pt x="49" y="57"/>
                    </a:cubicBezTo>
                    <a:cubicBezTo>
                      <a:pt x="49" y="62"/>
                      <a:pt x="50" y="68"/>
                      <a:pt x="50" y="74"/>
                    </a:cubicBezTo>
                    <a:cubicBezTo>
                      <a:pt x="53" y="74"/>
                      <a:pt x="56" y="74"/>
                      <a:pt x="58" y="74"/>
                    </a:cubicBezTo>
                    <a:cubicBezTo>
                      <a:pt x="62" y="75"/>
                      <a:pt x="66" y="72"/>
                      <a:pt x="68" y="65"/>
                    </a:cubicBezTo>
                    <a:cubicBezTo>
                      <a:pt x="69" y="62"/>
                      <a:pt x="70" y="53"/>
                      <a:pt x="70" y="39"/>
                    </a:cubicBezTo>
                    <a:cubicBezTo>
                      <a:pt x="70" y="35"/>
                      <a:pt x="70" y="32"/>
                      <a:pt x="70" y="31"/>
                    </a:cubicBezTo>
                    <a:cubicBezTo>
                      <a:pt x="71" y="31"/>
                      <a:pt x="71" y="30"/>
                      <a:pt x="72" y="30"/>
                    </a:cubicBezTo>
                    <a:cubicBezTo>
                      <a:pt x="73" y="30"/>
                      <a:pt x="74" y="30"/>
                      <a:pt x="74" y="31"/>
                    </a:cubicBezTo>
                    <a:cubicBezTo>
                      <a:pt x="75" y="33"/>
                      <a:pt x="76" y="36"/>
                      <a:pt x="76" y="41"/>
                    </a:cubicBezTo>
                    <a:cubicBezTo>
                      <a:pt x="76" y="49"/>
                      <a:pt x="75" y="56"/>
                      <a:pt x="74" y="64"/>
                    </a:cubicBezTo>
                    <a:cubicBezTo>
                      <a:pt x="72" y="75"/>
                      <a:pt x="67" y="81"/>
                      <a:pt x="58" y="81"/>
                    </a:cubicBezTo>
                    <a:cubicBezTo>
                      <a:pt x="50" y="81"/>
                      <a:pt x="50" y="81"/>
                      <a:pt x="50" y="81"/>
                    </a:cubicBezTo>
                    <a:cubicBezTo>
                      <a:pt x="50" y="87"/>
                      <a:pt x="50" y="87"/>
                      <a:pt x="50" y="87"/>
                    </a:cubicBezTo>
                    <a:cubicBezTo>
                      <a:pt x="60" y="87"/>
                      <a:pt x="66" y="92"/>
                      <a:pt x="69" y="103"/>
                    </a:cubicBezTo>
                    <a:cubicBezTo>
                      <a:pt x="72" y="112"/>
                      <a:pt x="74" y="122"/>
                      <a:pt x="76" y="134"/>
                    </a:cubicBezTo>
                    <a:cubicBezTo>
                      <a:pt x="76" y="138"/>
                      <a:pt x="75" y="140"/>
                      <a:pt x="74" y="140"/>
                    </a:cubicBezTo>
                    <a:cubicBezTo>
                      <a:pt x="72" y="141"/>
                      <a:pt x="71" y="139"/>
                      <a:pt x="70" y="136"/>
                    </a:cubicBezTo>
                    <a:cubicBezTo>
                      <a:pt x="68" y="126"/>
                      <a:pt x="66" y="116"/>
                      <a:pt x="63" y="105"/>
                    </a:cubicBezTo>
                    <a:cubicBezTo>
                      <a:pt x="61" y="98"/>
                      <a:pt x="57" y="95"/>
                      <a:pt x="50" y="95"/>
                    </a:cubicBezTo>
                    <a:cubicBezTo>
                      <a:pt x="50" y="109"/>
                      <a:pt x="51" y="123"/>
                      <a:pt x="52" y="138"/>
                    </a:cubicBezTo>
                    <a:cubicBezTo>
                      <a:pt x="52" y="141"/>
                      <a:pt x="51" y="143"/>
                      <a:pt x="49" y="144"/>
                    </a:cubicBezTo>
                    <a:cubicBezTo>
                      <a:pt x="47" y="144"/>
                      <a:pt x="46" y="142"/>
                      <a:pt x="46" y="139"/>
                    </a:cubicBezTo>
                    <a:cubicBezTo>
                      <a:pt x="44" y="134"/>
                      <a:pt x="43" y="118"/>
                      <a:pt x="43" y="92"/>
                    </a:cubicBezTo>
                    <a:cubicBezTo>
                      <a:pt x="43" y="76"/>
                      <a:pt x="43" y="64"/>
                      <a:pt x="42" y="57"/>
                    </a:cubicBezTo>
                    <a:cubicBezTo>
                      <a:pt x="38" y="57"/>
                      <a:pt x="38" y="57"/>
                      <a:pt x="38" y="57"/>
                    </a:cubicBezTo>
                    <a:cubicBezTo>
                      <a:pt x="36" y="88"/>
                      <a:pt x="35" y="113"/>
                      <a:pt x="35" y="132"/>
                    </a:cubicBezTo>
                    <a:cubicBezTo>
                      <a:pt x="35" y="138"/>
                      <a:pt x="33" y="142"/>
                      <a:pt x="31" y="142"/>
                    </a:cubicBezTo>
                    <a:cubicBezTo>
                      <a:pt x="29" y="142"/>
                      <a:pt x="27" y="140"/>
                      <a:pt x="27" y="136"/>
                    </a:cubicBezTo>
                    <a:cubicBezTo>
                      <a:pt x="27" y="136"/>
                      <a:pt x="27" y="134"/>
                      <a:pt x="27" y="132"/>
                    </a:cubicBezTo>
                    <a:cubicBezTo>
                      <a:pt x="28" y="118"/>
                      <a:pt x="29" y="105"/>
                      <a:pt x="29" y="95"/>
                    </a:cubicBezTo>
                    <a:cubicBezTo>
                      <a:pt x="19" y="95"/>
                      <a:pt x="14" y="98"/>
                      <a:pt x="13" y="105"/>
                    </a:cubicBezTo>
                    <a:cubicBezTo>
                      <a:pt x="10" y="114"/>
                      <a:pt x="7" y="124"/>
                      <a:pt x="5" y="135"/>
                    </a:cubicBezTo>
                    <a:cubicBezTo>
                      <a:pt x="4" y="137"/>
                      <a:pt x="3" y="139"/>
                      <a:pt x="2" y="139"/>
                    </a:cubicBezTo>
                    <a:cubicBezTo>
                      <a:pt x="1" y="140"/>
                      <a:pt x="0" y="138"/>
                      <a:pt x="0" y="135"/>
                    </a:cubicBezTo>
                    <a:cubicBezTo>
                      <a:pt x="0" y="125"/>
                      <a:pt x="2" y="115"/>
                      <a:pt x="7" y="104"/>
                    </a:cubicBezTo>
                    <a:cubicBezTo>
                      <a:pt x="11" y="92"/>
                      <a:pt x="18" y="86"/>
                      <a:pt x="30" y="86"/>
                    </a:cubicBezTo>
                    <a:cubicBezTo>
                      <a:pt x="30" y="85"/>
                      <a:pt x="30" y="83"/>
                      <a:pt x="31" y="80"/>
                    </a:cubicBezTo>
                    <a:cubicBezTo>
                      <a:pt x="29" y="81"/>
                      <a:pt x="28" y="81"/>
                      <a:pt x="26" y="80"/>
                    </a:cubicBezTo>
                    <a:cubicBezTo>
                      <a:pt x="24" y="80"/>
                      <a:pt x="23" y="80"/>
                      <a:pt x="22" y="80"/>
                    </a:cubicBezTo>
                    <a:cubicBezTo>
                      <a:pt x="14" y="81"/>
                      <a:pt x="8" y="76"/>
                      <a:pt x="5" y="66"/>
                    </a:cubicBezTo>
                    <a:cubicBezTo>
                      <a:pt x="2" y="59"/>
                      <a:pt x="0" y="49"/>
                      <a:pt x="0" y="37"/>
                    </a:cubicBezTo>
                    <a:cubicBezTo>
                      <a:pt x="0" y="32"/>
                      <a:pt x="1" y="29"/>
                      <a:pt x="3" y="29"/>
                    </a:cubicBezTo>
                    <a:cubicBezTo>
                      <a:pt x="6" y="31"/>
                      <a:pt x="8" y="35"/>
                      <a:pt x="8" y="39"/>
                    </a:cubicBezTo>
                    <a:cubicBezTo>
                      <a:pt x="7" y="45"/>
                      <a:pt x="7" y="52"/>
                      <a:pt x="9" y="59"/>
                    </a:cubicBezTo>
                    <a:cubicBezTo>
                      <a:pt x="10" y="68"/>
                      <a:pt x="16" y="73"/>
                      <a:pt x="24" y="74"/>
                    </a:cubicBezTo>
                    <a:cubicBezTo>
                      <a:pt x="26" y="74"/>
                      <a:pt x="29" y="74"/>
                      <a:pt x="31" y="74"/>
                    </a:cubicBezTo>
                    <a:cubicBezTo>
                      <a:pt x="31" y="72"/>
                      <a:pt x="31" y="69"/>
                      <a:pt x="31" y="65"/>
                    </a:cubicBezTo>
                    <a:cubicBezTo>
                      <a:pt x="31" y="61"/>
                      <a:pt x="32" y="58"/>
                      <a:pt x="32" y="57"/>
                    </a:cubicBezTo>
                    <a:cubicBezTo>
                      <a:pt x="25" y="56"/>
                      <a:pt x="20" y="53"/>
                      <a:pt x="19" y="48"/>
                    </a:cubicBezTo>
                    <a:cubicBezTo>
                      <a:pt x="15" y="36"/>
                      <a:pt x="14" y="25"/>
                      <a:pt x="16" y="14"/>
                    </a:cubicBezTo>
                    <a:cubicBezTo>
                      <a:pt x="17" y="6"/>
                      <a:pt x="21" y="2"/>
                      <a:pt x="27" y="2"/>
                    </a:cubicBezTo>
                    <a:close/>
                    <a:moveTo>
                      <a:pt x="22" y="19"/>
                    </a:moveTo>
                    <a:cubicBezTo>
                      <a:pt x="22" y="20"/>
                      <a:pt x="22" y="20"/>
                      <a:pt x="22" y="20"/>
                    </a:cubicBezTo>
                    <a:cubicBezTo>
                      <a:pt x="30" y="20"/>
                      <a:pt x="42" y="19"/>
                      <a:pt x="57" y="19"/>
                    </a:cubicBezTo>
                    <a:cubicBezTo>
                      <a:pt x="57" y="18"/>
                      <a:pt x="57" y="17"/>
                      <a:pt x="57" y="16"/>
                    </a:cubicBezTo>
                    <a:cubicBezTo>
                      <a:pt x="56" y="13"/>
                      <a:pt x="54" y="10"/>
                      <a:pt x="50" y="9"/>
                    </a:cubicBezTo>
                    <a:cubicBezTo>
                      <a:pt x="44" y="8"/>
                      <a:pt x="37" y="7"/>
                      <a:pt x="31" y="9"/>
                    </a:cubicBezTo>
                    <a:cubicBezTo>
                      <a:pt x="25" y="11"/>
                      <a:pt x="22" y="14"/>
                      <a:pt x="22" y="19"/>
                    </a:cubicBezTo>
                    <a:close/>
                    <a:moveTo>
                      <a:pt x="22" y="27"/>
                    </a:moveTo>
                    <a:cubicBezTo>
                      <a:pt x="22" y="28"/>
                      <a:pt x="22" y="29"/>
                      <a:pt x="23" y="31"/>
                    </a:cubicBezTo>
                    <a:cubicBezTo>
                      <a:pt x="23" y="32"/>
                      <a:pt x="23" y="33"/>
                      <a:pt x="23" y="34"/>
                    </a:cubicBezTo>
                    <a:cubicBezTo>
                      <a:pt x="57" y="34"/>
                      <a:pt x="57" y="34"/>
                      <a:pt x="57" y="34"/>
                    </a:cubicBezTo>
                    <a:cubicBezTo>
                      <a:pt x="57" y="27"/>
                      <a:pt x="57" y="27"/>
                      <a:pt x="57" y="27"/>
                    </a:cubicBezTo>
                    <a:cubicBezTo>
                      <a:pt x="45" y="26"/>
                      <a:pt x="33" y="26"/>
                      <a:pt x="22" y="27"/>
                    </a:cubicBezTo>
                    <a:close/>
                    <a:moveTo>
                      <a:pt x="35" y="50"/>
                    </a:moveTo>
                    <a:cubicBezTo>
                      <a:pt x="48" y="50"/>
                      <a:pt x="48" y="50"/>
                      <a:pt x="48" y="50"/>
                    </a:cubicBezTo>
                    <a:cubicBezTo>
                      <a:pt x="53" y="50"/>
                      <a:pt x="55" y="47"/>
                      <a:pt x="57" y="42"/>
                    </a:cubicBezTo>
                    <a:cubicBezTo>
                      <a:pt x="57" y="41"/>
                      <a:pt x="57" y="41"/>
                      <a:pt x="57" y="41"/>
                    </a:cubicBezTo>
                    <a:cubicBezTo>
                      <a:pt x="43" y="41"/>
                      <a:pt x="32" y="41"/>
                      <a:pt x="24" y="42"/>
                    </a:cubicBezTo>
                    <a:cubicBezTo>
                      <a:pt x="24" y="43"/>
                      <a:pt x="24" y="43"/>
                      <a:pt x="25" y="44"/>
                    </a:cubicBezTo>
                    <a:cubicBezTo>
                      <a:pt x="27" y="48"/>
                      <a:pt x="30" y="50"/>
                      <a:pt x="35" y="5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138" name="iṣlîḋè"/>
              <p:cNvSpPr/>
              <p:nvPr/>
            </p:nvSpPr>
            <p:spPr bwMode="auto">
              <a:xfrm>
                <a:off x="2604984" y="5259978"/>
                <a:ext cx="177800" cy="255588"/>
              </a:xfrm>
              <a:custGeom>
                <a:avLst/>
                <a:gdLst>
                  <a:gd name="T0" fmla="*/ 5 w 96"/>
                  <a:gd name="T1" fmla="*/ 37 h 138"/>
                  <a:gd name="T2" fmla="*/ 24 w 96"/>
                  <a:gd name="T3" fmla="*/ 49 h 138"/>
                  <a:gd name="T4" fmla="*/ 7 w 96"/>
                  <a:gd name="T5" fmla="*/ 26 h 138"/>
                  <a:gd name="T6" fmla="*/ 0 w 96"/>
                  <a:gd name="T7" fmla="*/ 22 h 138"/>
                  <a:gd name="T8" fmla="*/ 44 w 96"/>
                  <a:gd name="T9" fmla="*/ 19 h 138"/>
                  <a:gd name="T10" fmla="*/ 40 w 96"/>
                  <a:gd name="T11" fmla="*/ 26 h 138"/>
                  <a:gd name="T12" fmla="*/ 29 w 96"/>
                  <a:gd name="T13" fmla="*/ 49 h 138"/>
                  <a:gd name="T14" fmla="*/ 42 w 96"/>
                  <a:gd name="T15" fmla="*/ 39 h 138"/>
                  <a:gd name="T16" fmla="*/ 36 w 96"/>
                  <a:gd name="T17" fmla="*/ 64 h 138"/>
                  <a:gd name="T18" fmla="*/ 44 w 96"/>
                  <a:gd name="T19" fmla="*/ 70 h 138"/>
                  <a:gd name="T20" fmla="*/ 30 w 96"/>
                  <a:gd name="T21" fmla="*/ 78 h 138"/>
                  <a:gd name="T22" fmla="*/ 48 w 96"/>
                  <a:gd name="T23" fmla="*/ 111 h 138"/>
                  <a:gd name="T24" fmla="*/ 42 w 96"/>
                  <a:gd name="T25" fmla="*/ 124 h 138"/>
                  <a:gd name="T26" fmla="*/ 33 w 96"/>
                  <a:gd name="T27" fmla="*/ 93 h 138"/>
                  <a:gd name="T28" fmla="*/ 30 w 96"/>
                  <a:gd name="T29" fmla="*/ 116 h 138"/>
                  <a:gd name="T30" fmla="*/ 24 w 96"/>
                  <a:gd name="T31" fmla="*/ 133 h 138"/>
                  <a:gd name="T32" fmla="*/ 20 w 96"/>
                  <a:gd name="T33" fmla="*/ 93 h 138"/>
                  <a:gd name="T34" fmla="*/ 11 w 96"/>
                  <a:gd name="T35" fmla="*/ 122 h 138"/>
                  <a:gd name="T36" fmla="*/ 8 w 96"/>
                  <a:gd name="T37" fmla="*/ 102 h 138"/>
                  <a:gd name="T38" fmla="*/ 24 w 96"/>
                  <a:gd name="T39" fmla="*/ 81 h 138"/>
                  <a:gd name="T40" fmla="*/ 3 w 96"/>
                  <a:gd name="T41" fmla="*/ 77 h 138"/>
                  <a:gd name="T42" fmla="*/ 14 w 96"/>
                  <a:gd name="T43" fmla="*/ 70 h 138"/>
                  <a:gd name="T44" fmla="*/ 20 w 96"/>
                  <a:gd name="T45" fmla="*/ 65 h 138"/>
                  <a:gd name="T46" fmla="*/ 2 w 96"/>
                  <a:gd name="T47" fmla="*/ 37 h 138"/>
                  <a:gd name="T48" fmla="*/ 40 w 96"/>
                  <a:gd name="T49" fmla="*/ 3 h 138"/>
                  <a:gd name="T50" fmla="*/ 14 w 96"/>
                  <a:gd name="T51" fmla="*/ 11 h 138"/>
                  <a:gd name="T52" fmla="*/ 5 w 96"/>
                  <a:gd name="T53" fmla="*/ 6 h 138"/>
                  <a:gd name="T54" fmla="*/ 33 w 96"/>
                  <a:gd name="T55" fmla="*/ 26 h 138"/>
                  <a:gd name="T56" fmla="*/ 27 w 96"/>
                  <a:gd name="T57" fmla="*/ 45 h 138"/>
                  <a:gd name="T58" fmla="*/ 54 w 96"/>
                  <a:gd name="T59" fmla="*/ 2 h 138"/>
                  <a:gd name="T60" fmla="*/ 58 w 96"/>
                  <a:gd name="T61" fmla="*/ 10 h 138"/>
                  <a:gd name="T62" fmla="*/ 88 w 96"/>
                  <a:gd name="T63" fmla="*/ 22 h 138"/>
                  <a:gd name="T64" fmla="*/ 74 w 96"/>
                  <a:gd name="T65" fmla="*/ 37 h 138"/>
                  <a:gd name="T66" fmla="*/ 62 w 96"/>
                  <a:gd name="T67" fmla="*/ 66 h 138"/>
                  <a:gd name="T68" fmla="*/ 53 w 96"/>
                  <a:gd name="T69" fmla="*/ 136 h 138"/>
                  <a:gd name="T70" fmla="*/ 48 w 96"/>
                  <a:gd name="T71" fmla="*/ 130 h 138"/>
                  <a:gd name="T72" fmla="*/ 55 w 96"/>
                  <a:gd name="T73" fmla="*/ 48 h 138"/>
                  <a:gd name="T74" fmla="*/ 76 w 96"/>
                  <a:gd name="T75" fmla="*/ 31 h 138"/>
                  <a:gd name="T76" fmla="*/ 65 w 96"/>
                  <a:gd name="T77" fmla="*/ 18 h 138"/>
                  <a:gd name="T78" fmla="*/ 52 w 96"/>
                  <a:gd name="T79" fmla="*/ 13 h 138"/>
                  <a:gd name="T80" fmla="*/ 94 w 96"/>
                  <a:gd name="T81" fmla="*/ 74 h 138"/>
                  <a:gd name="T82" fmla="*/ 76 w 96"/>
                  <a:gd name="T83" fmla="*/ 54 h 138"/>
                  <a:gd name="T84" fmla="*/ 83 w 96"/>
                  <a:gd name="T85" fmla="*/ 119 h 138"/>
                  <a:gd name="T86" fmla="*/ 88 w 96"/>
                  <a:gd name="T87" fmla="*/ 133 h 138"/>
                  <a:gd name="T88" fmla="*/ 70 w 96"/>
                  <a:gd name="T89" fmla="*/ 93 h 138"/>
                  <a:gd name="T90" fmla="*/ 70 w 96"/>
                  <a:gd name="T91" fmla="*/ 42 h 138"/>
                  <a:gd name="T92" fmla="*/ 95 w 96"/>
                  <a:gd name="T93" fmla="*/ 70 h 1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96" h="138">
                    <a:moveTo>
                      <a:pt x="2" y="37"/>
                    </a:moveTo>
                    <a:cubicBezTo>
                      <a:pt x="2" y="36"/>
                      <a:pt x="2" y="35"/>
                      <a:pt x="3" y="35"/>
                    </a:cubicBezTo>
                    <a:cubicBezTo>
                      <a:pt x="4" y="35"/>
                      <a:pt x="5" y="36"/>
                      <a:pt x="5" y="37"/>
                    </a:cubicBezTo>
                    <a:cubicBezTo>
                      <a:pt x="9" y="49"/>
                      <a:pt x="14" y="56"/>
                      <a:pt x="21" y="59"/>
                    </a:cubicBezTo>
                    <a:cubicBezTo>
                      <a:pt x="21" y="59"/>
                      <a:pt x="22" y="60"/>
                      <a:pt x="24" y="60"/>
                    </a:cubicBezTo>
                    <a:cubicBezTo>
                      <a:pt x="24" y="56"/>
                      <a:pt x="24" y="53"/>
                      <a:pt x="24" y="49"/>
                    </a:cubicBezTo>
                    <a:cubicBezTo>
                      <a:pt x="21" y="48"/>
                      <a:pt x="18" y="46"/>
                      <a:pt x="16" y="42"/>
                    </a:cubicBezTo>
                    <a:cubicBezTo>
                      <a:pt x="13" y="38"/>
                      <a:pt x="12" y="33"/>
                      <a:pt x="12" y="26"/>
                    </a:cubicBezTo>
                    <a:cubicBezTo>
                      <a:pt x="9" y="26"/>
                      <a:pt x="8" y="26"/>
                      <a:pt x="7" y="26"/>
                    </a:cubicBezTo>
                    <a:cubicBezTo>
                      <a:pt x="4" y="27"/>
                      <a:pt x="2" y="27"/>
                      <a:pt x="1" y="25"/>
                    </a:cubicBezTo>
                    <a:cubicBezTo>
                      <a:pt x="0" y="24"/>
                      <a:pt x="0" y="23"/>
                      <a:pt x="0" y="22"/>
                    </a:cubicBezTo>
                    <a:cubicBezTo>
                      <a:pt x="0" y="22"/>
                      <a:pt x="0" y="22"/>
                      <a:pt x="0" y="22"/>
                    </a:cubicBezTo>
                    <a:cubicBezTo>
                      <a:pt x="1" y="19"/>
                      <a:pt x="2" y="18"/>
                      <a:pt x="4" y="19"/>
                    </a:cubicBezTo>
                    <a:cubicBezTo>
                      <a:pt x="6" y="19"/>
                      <a:pt x="8" y="19"/>
                      <a:pt x="11" y="19"/>
                    </a:cubicBezTo>
                    <a:cubicBezTo>
                      <a:pt x="44" y="19"/>
                      <a:pt x="44" y="19"/>
                      <a:pt x="44" y="19"/>
                    </a:cubicBezTo>
                    <a:cubicBezTo>
                      <a:pt x="46" y="19"/>
                      <a:pt x="48" y="20"/>
                      <a:pt x="48" y="23"/>
                    </a:cubicBezTo>
                    <a:cubicBezTo>
                      <a:pt x="47" y="25"/>
                      <a:pt x="45" y="26"/>
                      <a:pt x="42" y="26"/>
                    </a:cubicBezTo>
                    <a:cubicBezTo>
                      <a:pt x="42" y="26"/>
                      <a:pt x="41" y="26"/>
                      <a:pt x="40" y="26"/>
                    </a:cubicBezTo>
                    <a:cubicBezTo>
                      <a:pt x="40" y="26"/>
                      <a:pt x="40" y="26"/>
                      <a:pt x="40" y="26"/>
                    </a:cubicBezTo>
                    <a:cubicBezTo>
                      <a:pt x="39" y="34"/>
                      <a:pt x="38" y="39"/>
                      <a:pt x="37" y="42"/>
                    </a:cubicBezTo>
                    <a:cubicBezTo>
                      <a:pt x="34" y="46"/>
                      <a:pt x="32" y="49"/>
                      <a:pt x="29" y="49"/>
                    </a:cubicBezTo>
                    <a:cubicBezTo>
                      <a:pt x="30" y="53"/>
                      <a:pt x="30" y="56"/>
                      <a:pt x="30" y="60"/>
                    </a:cubicBezTo>
                    <a:cubicBezTo>
                      <a:pt x="31" y="60"/>
                      <a:pt x="32" y="59"/>
                      <a:pt x="33" y="58"/>
                    </a:cubicBezTo>
                    <a:cubicBezTo>
                      <a:pt x="39" y="56"/>
                      <a:pt x="42" y="49"/>
                      <a:pt x="42" y="39"/>
                    </a:cubicBezTo>
                    <a:cubicBezTo>
                      <a:pt x="43" y="37"/>
                      <a:pt x="44" y="36"/>
                      <a:pt x="46" y="36"/>
                    </a:cubicBezTo>
                    <a:cubicBezTo>
                      <a:pt x="47" y="36"/>
                      <a:pt x="48" y="37"/>
                      <a:pt x="48" y="39"/>
                    </a:cubicBezTo>
                    <a:cubicBezTo>
                      <a:pt x="49" y="49"/>
                      <a:pt x="45" y="57"/>
                      <a:pt x="36" y="64"/>
                    </a:cubicBezTo>
                    <a:cubicBezTo>
                      <a:pt x="34" y="65"/>
                      <a:pt x="32" y="66"/>
                      <a:pt x="30" y="66"/>
                    </a:cubicBezTo>
                    <a:cubicBezTo>
                      <a:pt x="30" y="70"/>
                      <a:pt x="30" y="70"/>
                      <a:pt x="30" y="70"/>
                    </a:cubicBezTo>
                    <a:cubicBezTo>
                      <a:pt x="44" y="70"/>
                      <a:pt x="44" y="70"/>
                      <a:pt x="44" y="70"/>
                    </a:cubicBezTo>
                    <a:cubicBezTo>
                      <a:pt x="47" y="70"/>
                      <a:pt x="49" y="71"/>
                      <a:pt x="49" y="73"/>
                    </a:cubicBezTo>
                    <a:cubicBezTo>
                      <a:pt x="49" y="76"/>
                      <a:pt x="47" y="77"/>
                      <a:pt x="43" y="77"/>
                    </a:cubicBezTo>
                    <a:cubicBezTo>
                      <a:pt x="37" y="77"/>
                      <a:pt x="33" y="77"/>
                      <a:pt x="30" y="78"/>
                    </a:cubicBezTo>
                    <a:cubicBezTo>
                      <a:pt x="30" y="80"/>
                      <a:pt x="30" y="82"/>
                      <a:pt x="30" y="84"/>
                    </a:cubicBezTo>
                    <a:cubicBezTo>
                      <a:pt x="34" y="84"/>
                      <a:pt x="37" y="87"/>
                      <a:pt x="40" y="91"/>
                    </a:cubicBezTo>
                    <a:cubicBezTo>
                      <a:pt x="44" y="96"/>
                      <a:pt x="46" y="103"/>
                      <a:pt x="48" y="111"/>
                    </a:cubicBezTo>
                    <a:cubicBezTo>
                      <a:pt x="49" y="116"/>
                      <a:pt x="49" y="120"/>
                      <a:pt x="48" y="124"/>
                    </a:cubicBezTo>
                    <a:cubicBezTo>
                      <a:pt x="47" y="125"/>
                      <a:pt x="46" y="125"/>
                      <a:pt x="45" y="125"/>
                    </a:cubicBezTo>
                    <a:cubicBezTo>
                      <a:pt x="44" y="125"/>
                      <a:pt x="43" y="125"/>
                      <a:pt x="42" y="124"/>
                    </a:cubicBezTo>
                    <a:cubicBezTo>
                      <a:pt x="42" y="123"/>
                      <a:pt x="42" y="121"/>
                      <a:pt x="42" y="118"/>
                    </a:cubicBezTo>
                    <a:cubicBezTo>
                      <a:pt x="41" y="116"/>
                      <a:pt x="41" y="114"/>
                      <a:pt x="41" y="113"/>
                    </a:cubicBezTo>
                    <a:cubicBezTo>
                      <a:pt x="40" y="104"/>
                      <a:pt x="37" y="97"/>
                      <a:pt x="33" y="93"/>
                    </a:cubicBezTo>
                    <a:cubicBezTo>
                      <a:pt x="33" y="92"/>
                      <a:pt x="32" y="91"/>
                      <a:pt x="30" y="91"/>
                    </a:cubicBezTo>
                    <a:cubicBezTo>
                      <a:pt x="31" y="97"/>
                      <a:pt x="31" y="101"/>
                      <a:pt x="31" y="105"/>
                    </a:cubicBezTo>
                    <a:cubicBezTo>
                      <a:pt x="31" y="107"/>
                      <a:pt x="31" y="111"/>
                      <a:pt x="30" y="116"/>
                    </a:cubicBezTo>
                    <a:cubicBezTo>
                      <a:pt x="30" y="124"/>
                      <a:pt x="30" y="129"/>
                      <a:pt x="29" y="133"/>
                    </a:cubicBezTo>
                    <a:cubicBezTo>
                      <a:pt x="29" y="136"/>
                      <a:pt x="28" y="137"/>
                      <a:pt x="27" y="137"/>
                    </a:cubicBezTo>
                    <a:cubicBezTo>
                      <a:pt x="26" y="137"/>
                      <a:pt x="25" y="136"/>
                      <a:pt x="24" y="133"/>
                    </a:cubicBezTo>
                    <a:cubicBezTo>
                      <a:pt x="24" y="120"/>
                      <a:pt x="24" y="111"/>
                      <a:pt x="24" y="105"/>
                    </a:cubicBezTo>
                    <a:cubicBezTo>
                      <a:pt x="24" y="100"/>
                      <a:pt x="24" y="95"/>
                      <a:pt x="24" y="90"/>
                    </a:cubicBezTo>
                    <a:cubicBezTo>
                      <a:pt x="22" y="91"/>
                      <a:pt x="21" y="92"/>
                      <a:pt x="20" y="93"/>
                    </a:cubicBezTo>
                    <a:cubicBezTo>
                      <a:pt x="18" y="94"/>
                      <a:pt x="16" y="98"/>
                      <a:pt x="14" y="102"/>
                    </a:cubicBezTo>
                    <a:cubicBezTo>
                      <a:pt x="13" y="104"/>
                      <a:pt x="13" y="104"/>
                      <a:pt x="13" y="104"/>
                    </a:cubicBezTo>
                    <a:cubicBezTo>
                      <a:pt x="12" y="108"/>
                      <a:pt x="11" y="114"/>
                      <a:pt x="11" y="122"/>
                    </a:cubicBezTo>
                    <a:cubicBezTo>
                      <a:pt x="10" y="124"/>
                      <a:pt x="9" y="125"/>
                      <a:pt x="7" y="125"/>
                    </a:cubicBezTo>
                    <a:cubicBezTo>
                      <a:pt x="6" y="125"/>
                      <a:pt x="5" y="124"/>
                      <a:pt x="5" y="122"/>
                    </a:cubicBezTo>
                    <a:cubicBezTo>
                      <a:pt x="6" y="115"/>
                      <a:pt x="7" y="108"/>
                      <a:pt x="8" y="102"/>
                    </a:cubicBezTo>
                    <a:cubicBezTo>
                      <a:pt x="9" y="97"/>
                      <a:pt x="11" y="92"/>
                      <a:pt x="14" y="89"/>
                    </a:cubicBezTo>
                    <a:cubicBezTo>
                      <a:pt x="17" y="86"/>
                      <a:pt x="20" y="84"/>
                      <a:pt x="24" y="84"/>
                    </a:cubicBezTo>
                    <a:cubicBezTo>
                      <a:pt x="24" y="81"/>
                      <a:pt x="24" y="81"/>
                      <a:pt x="24" y="81"/>
                    </a:cubicBezTo>
                    <a:cubicBezTo>
                      <a:pt x="24" y="80"/>
                      <a:pt x="24" y="79"/>
                      <a:pt x="24" y="78"/>
                    </a:cubicBezTo>
                    <a:cubicBezTo>
                      <a:pt x="14" y="78"/>
                      <a:pt x="9" y="78"/>
                      <a:pt x="9" y="78"/>
                    </a:cubicBezTo>
                    <a:cubicBezTo>
                      <a:pt x="6" y="79"/>
                      <a:pt x="4" y="79"/>
                      <a:pt x="3" y="77"/>
                    </a:cubicBezTo>
                    <a:cubicBezTo>
                      <a:pt x="2" y="76"/>
                      <a:pt x="2" y="74"/>
                      <a:pt x="3" y="72"/>
                    </a:cubicBezTo>
                    <a:cubicBezTo>
                      <a:pt x="3" y="70"/>
                      <a:pt x="4" y="70"/>
                      <a:pt x="7" y="70"/>
                    </a:cubicBezTo>
                    <a:cubicBezTo>
                      <a:pt x="8" y="70"/>
                      <a:pt x="10" y="70"/>
                      <a:pt x="14" y="70"/>
                    </a:cubicBezTo>
                    <a:cubicBezTo>
                      <a:pt x="24" y="70"/>
                      <a:pt x="24" y="70"/>
                      <a:pt x="24" y="70"/>
                    </a:cubicBezTo>
                    <a:cubicBezTo>
                      <a:pt x="24" y="66"/>
                      <a:pt x="24" y="66"/>
                      <a:pt x="24" y="66"/>
                    </a:cubicBezTo>
                    <a:cubicBezTo>
                      <a:pt x="22" y="66"/>
                      <a:pt x="21" y="66"/>
                      <a:pt x="20" y="65"/>
                    </a:cubicBezTo>
                    <a:cubicBezTo>
                      <a:pt x="12" y="62"/>
                      <a:pt x="6" y="56"/>
                      <a:pt x="2" y="46"/>
                    </a:cubicBezTo>
                    <a:cubicBezTo>
                      <a:pt x="2" y="46"/>
                      <a:pt x="2" y="43"/>
                      <a:pt x="2" y="40"/>
                    </a:cubicBezTo>
                    <a:cubicBezTo>
                      <a:pt x="2" y="39"/>
                      <a:pt x="2" y="38"/>
                      <a:pt x="2" y="37"/>
                    </a:cubicBezTo>
                    <a:close/>
                    <a:moveTo>
                      <a:pt x="9" y="3"/>
                    </a:moveTo>
                    <a:cubicBezTo>
                      <a:pt x="11" y="3"/>
                      <a:pt x="15" y="3"/>
                      <a:pt x="19" y="3"/>
                    </a:cubicBezTo>
                    <a:cubicBezTo>
                      <a:pt x="40" y="3"/>
                      <a:pt x="40" y="3"/>
                      <a:pt x="40" y="3"/>
                    </a:cubicBezTo>
                    <a:cubicBezTo>
                      <a:pt x="43" y="3"/>
                      <a:pt x="44" y="5"/>
                      <a:pt x="44" y="7"/>
                    </a:cubicBezTo>
                    <a:cubicBezTo>
                      <a:pt x="44" y="9"/>
                      <a:pt x="42" y="10"/>
                      <a:pt x="39" y="10"/>
                    </a:cubicBezTo>
                    <a:cubicBezTo>
                      <a:pt x="34" y="10"/>
                      <a:pt x="25" y="10"/>
                      <a:pt x="14" y="11"/>
                    </a:cubicBezTo>
                    <a:cubicBezTo>
                      <a:pt x="13" y="11"/>
                      <a:pt x="12" y="11"/>
                      <a:pt x="11" y="11"/>
                    </a:cubicBezTo>
                    <a:cubicBezTo>
                      <a:pt x="7" y="11"/>
                      <a:pt x="5" y="11"/>
                      <a:pt x="5" y="9"/>
                    </a:cubicBezTo>
                    <a:cubicBezTo>
                      <a:pt x="5" y="9"/>
                      <a:pt x="4" y="8"/>
                      <a:pt x="5" y="6"/>
                    </a:cubicBezTo>
                    <a:cubicBezTo>
                      <a:pt x="5" y="5"/>
                      <a:pt x="5" y="5"/>
                      <a:pt x="5" y="5"/>
                    </a:cubicBezTo>
                    <a:cubicBezTo>
                      <a:pt x="5" y="3"/>
                      <a:pt x="6" y="3"/>
                      <a:pt x="9" y="3"/>
                    </a:cubicBezTo>
                    <a:close/>
                    <a:moveTo>
                      <a:pt x="33" y="26"/>
                    </a:moveTo>
                    <a:cubicBezTo>
                      <a:pt x="28" y="26"/>
                      <a:pt x="23" y="26"/>
                      <a:pt x="17" y="26"/>
                    </a:cubicBezTo>
                    <a:cubicBezTo>
                      <a:pt x="18" y="32"/>
                      <a:pt x="20" y="38"/>
                      <a:pt x="24" y="42"/>
                    </a:cubicBezTo>
                    <a:cubicBezTo>
                      <a:pt x="25" y="44"/>
                      <a:pt x="26" y="45"/>
                      <a:pt x="27" y="45"/>
                    </a:cubicBezTo>
                    <a:cubicBezTo>
                      <a:pt x="28" y="45"/>
                      <a:pt x="29" y="44"/>
                      <a:pt x="29" y="42"/>
                    </a:cubicBezTo>
                    <a:cubicBezTo>
                      <a:pt x="32" y="38"/>
                      <a:pt x="33" y="33"/>
                      <a:pt x="33" y="26"/>
                    </a:cubicBezTo>
                    <a:close/>
                    <a:moveTo>
                      <a:pt x="54" y="2"/>
                    </a:moveTo>
                    <a:cubicBezTo>
                      <a:pt x="55" y="0"/>
                      <a:pt x="57" y="0"/>
                      <a:pt x="58" y="1"/>
                    </a:cubicBezTo>
                    <a:cubicBezTo>
                      <a:pt x="59" y="2"/>
                      <a:pt x="60" y="4"/>
                      <a:pt x="59" y="6"/>
                    </a:cubicBezTo>
                    <a:cubicBezTo>
                      <a:pt x="57" y="8"/>
                      <a:pt x="57" y="9"/>
                      <a:pt x="58" y="10"/>
                    </a:cubicBezTo>
                    <a:cubicBezTo>
                      <a:pt x="59" y="11"/>
                      <a:pt x="61" y="12"/>
                      <a:pt x="63" y="11"/>
                    </a:cubicBezTo>
                    <a:cubicBezTo>
                      <a:pt x="67" y="9"/>
                      <a:pt x="73" y="9"/>
                      <a:pt x="80" y="11"/>
                    </a:cubicBezTo>
                    <a:cubicBezTo>
                      <a:pt x="84" y="13"/>
                      <a:pt x="87" y="16"/>
                      <a:pt x="88" y="22"/>
                    </a:cubicBezTo>
                    <a:cubicBezTo>
                      <a:pt x="89" y="27"/>
                      <a:pt x="88" y="32"/>
                      <a:pt x="85" y="35"/>
                    </a:cubicBezTo>
                    <a:cubicBezTo>
                      <a:pt x="84" y="38"/>
                      <a:pt x="81" y="39"/>
                      <a:pt x="75" y="37"/>
                    </a:cubicBezTo>
                    <a:cubicBezTo>
                      <a:pt x="75" y="37"/>
                      <a:pt x="74" y="37"/>
                      <a:pt x="74" y="37"/>
                    </a:cubicBezTo>
                    <a:cubicBezTo>
                      <a:pt x="69" y="37"/>
                      <a:pt x="66" y="37"/>
                      <a:pt x="63" y="38"/>
                    </a:cubicBezTo>
                    <a:cubicBezTo>
                      <a:pt x="62" y="38"/>
                      <a:pt x="61" y="40"/>
                      <a:pt x="61" y="43"/>
                    </a:cubicBezTo>
                    <a:cubicBezTo>
                      <a:pt x="62" y="48"/>
                      <a:pt x="62" y="56"/>
                      <a:pt x="62" y="66"/>
                    </a:cubicBezTo>
                    <a:cubicBezTo>
                      <a:pt x="62" y="70"/>
                      <a:pt x="61" y="76"/>
                      <a:pt x="61" y="84"/>
                    </a:cubicBezTo>
                    <a:cubicBezTo>
                      <a:pt x="59" y="99"/>
                      <a:pt x="58" y="110"/>
                      <a:pt x="57" y="116"/>
                    </a:cubicBezTo>
                    <a:cubicBezTo>
                      <a:pt x="57" y="122"/>
                      <a:pt x="55" y="128"/>
                      <a:pt x="53" y="136"/>
                    </a:cubicBezTo>
                    <a:cubicBezTo>
                      <a:pt x="52" y="137"/>
                      <a:pt x="51" y="138"/>
                      <a:pt x="50" y="138"/>
                    </a:cubicBezTo>
                    <a:cubicBezTo>
                      <a:pt x="48" y="138"/>
                      <a:pt x="48" y="137"/>
                      <a:pt x="48" y="136"/>
                    </a:cubicBezTo>
                    <a:cubicBezTo>
                      <a:pt x="48" y="135"/>
                      <a:pt x="48" y="133"/>
                      <a:pt x="48" y="130"/>
                    </a:cubicBezTo>
                    <a:cubicBezTo>
                      <a:pt x="49" y="127"/>
                      <a:pt x="49" y="126"/>
                      <a:pt x="49" y="125"/>
                    </a:cubicBezTo>
                    <a:cubicBezTo>
                      <a:pt x="53" y="104"/>
                      <a:pt x="55" y="85"/>
                      <a:pt x="55" y="68"/>
                    </a:cubicBezTo>
                    <a:cubicBezTo>
                      <a:pt x="56" y="60"/>
                      <a:pt x="56" y="54"/>
                      <a:pt x="55" y="48"/>
                    </a:cubicBezTo>
                    <a:cubicBezTo>
                      <a:pt x="54" y="45"/>
                      <a:pt x="53" y="42"/>
                      <a:pt x="52" y="40"/>
                    </a:cubicBezTo>
                    <a:cubicBezTo>
                      <a:pt x="50" y="38"/>
                      <a:pt x="51" y="36"/>
                      <a:pt x="54" y="34"/>
                    </a:cubicBezTo>
                    <a:cubicBezTo>
                      <a:pt x="58" y="30"/>
                      <a:pt x="66" y="29"/>
                      <a:pt x="76" y="31"/>
                    </a:cubicBezTo>
                    <a:cubicBezTo>
                      <a:pt x="81" y="32"/>
                      <a:pt x="83" y="30"/>
                      <a:pt x="83" y="25"/>
                    </a:cubicBezTo>
                    <a:cubicBezTo>
                      <a:pt x="83" y="21"/>
                      <a:pt x="81" y="18"/>
                      <a:pt x="77" y="18"/>
                    </a:cubicBezTo>
                    <a:cubicBezTo>
                      <a:pt x="70" y="17"/>
                      <a:pt x="66" y="17"/>
                      <a:pt x="65" y="18"/>
                    </a:cubicBezTo>
                    <a:cubicBezTo>
                      <a:pt x="63" y="19"/>
                      <a:pt x="60" y="19"/>
                      <a:pt x="57" y="19"/>
                    </a:cubicBezTo>
                    <a:cubicBezTo>
                      <a:pt x="57" y="18"/>
                      <a:pt x="55" y="17"/>
                      <a:pt x="53" y="15"/>
                    </a:cubicBezTo>
                    <a:cubicBezTo>
                      <a:pt x="53" y="14"/>
                      <a:pt x="52" y="14"/>
                      <a:pt x="52" y="13"/>
                    </a:cubicBezTo>
                    <a:cubicBezTo>
                      <a:pt x="50" y="10"/>
                      <a:pt x="51" y="6"/>
                      <a:pt x="54" y="2"/>
                    </a:cubicBezTo>
                    <a:close/>
                    <a:moveTo>
                      <a:pt x="95" y="70"/>
                    </a:moveTo>
                    <a:cubicBezTo>
                      <a:pt x="96" y="72"/>
                      <a:pt x="95" y="73"/>
                      <a:pt x="94" y="74"/>
                    </a:cubicBezTo>
                    <a:cubicBezTo>
                      <a:pt x="92" y="74"/>
                      <a:pt x="91" y="74"/>
                      <a:pt x="90" y="72"/>
                    </a:cubicBezTo>
                    <a:cubicBezTo>
                      <a:pt x="88" y="67"/>
                      <a:pt x="84" y="62"/>
                      <a:pt x="78" y="56"/>
                    </a:cubicBezTo>
                    <a:cubicBezTo>
                      <a:pt x="77" y="55"/>
                      <a:pt x="76" y="54"/>
                      <a:pt x="76" y="54"/>
                    </a:cubicBezTo>
                    <a:cubicBezTo>
                      <a:pt x="75" y="56"/>
                      <a:pt x="75" y="56"/>
                      <a:pt x="75" y="56"/>
                    </a:cubicBezTo>
                    <a:cubicBezTo>
                      <a:pt x="75" y="61"/>
                      <a:pt x="75" y="73"/>
                      <a:pt x="77" y="93"/>
                    </a:cubicBezTo>
                    <a:cubicBezTo>
                      <a:pt x="78" y="99"/>
                      <a:pt x="80" y="107"/>
                      <a:pt x="83" y="119"/>
                    </a:cubicBezTo>
                    <a:cubicBezTo>
                      <a:pt x="84" y="122"/>
                      <a:pt x="85" y="124"/>
                      <a:pt x="85" y="124"/>
                    </a:cubicBezTo>
                    <a:cubicBezTo>
                      <a:pt x="86" y="126"/>
                      <a:pt x="86" y="128"/>
                      <a:pt x="87" y="131"/>
                    </a:cubicBezTo>
                    <a:cubicBezTo>
                      <a:pt x="88" y="132"/>
                      <a:pt x="88" y="133"/>
                      <a:pt x="88" y="133"/>
                    </a:cubicBezTo>
                    <a:cubicBezTo>
                      <a:pt x="88" y="135"/>
                      <a:pt x="88" y="136"/>
                      <a:pt x="86" y="136"/>
                    </a:cubicBezTo>
                    <a:cubicBezTo>
                      <a:pt x="84" y="136"/>
                      <a:pt x="83" y="135"/>
                      <a:pt x="82" y="133"/>
                    </a:cubicBezTo>
                    <a:cubicBezTo>
                      <a:pt x="77" y="123"/>
                      <a:pt x="73" y="110"/>
                      <a:pt x="70" y="93"/>
                    </a:cubicBezTo>
                    <a:cubicBezTo>
                      <a:pt x="69" y="79"/>
                      <a:pt x="68" y="68"/>
                      <a:pt x="68" y="58"/>
                    </a:cubicBezTo>
                    <a:cubicBezTo>
                      <a:pt x="68" y="51"/>
                      <a:pt x="68" y="46"/>
                      <a:pt x="68" y="44"/>
                    </a:cubicBezTo>
                    <a:cubicBezTo>
                      <a:pt x="68" y="43"/>
                      <a:pt x="69" y="42"/>
                      <a:pt x="70" y="42"/>
                    </a:cubicBezTo>
                    <a:cubicBezTo>
                      <a:pt x="71" y="41"/>
                      <a:pt x="71" y="41"/>
                      <a:pt x="72" y="42"/>
                    </a:cubicBezTo>
                    <a:cubicBezTo>
                      <a:pt x="76" y="45"/>
                      <a:pt x="78" y="48"/>
                      <a:pt x="80" y="49"/>
                    </a:cubicBezTo>
                    <a:cubicBezTo>
                      <a:pt x="86" y="54"/>
                      <a:pt x="91" y="61"/>
                      <a:pt x="95" y="7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139" name="íṣ1ïḑe"/>
              <p:cNvSpPr/>
              <p:nvPr/>
            </p:nvSpPr>
            <p:spPr bwMode="auto">
              <a:xfrm>
                <a:off x="1750909" y="4905965"/>
                <a:ext cx="93663" cy="87313"/>
              </a:xfrm>
              <a:custGeom>
                <a:avLst/>
                <a:gdLst>
                  <a:gd name="T0" fmla="*/ 51 w 51"/>
                  <a:gd name="T1" fmla="*/ 17 h 47"/>
                  <a:gd name="T2" fmla="*/ 46 w 51"/>
                  <a:gd name="T3" fmla="*/ 25 h 47"/>
                  <a:gd name="T4" fmla="*/ 26 w 51"/>
                  <a:gd name="T5" fmla="*/ 13 h 47"/>
                  <a:gd name="T6" fmla="*/ 20 w 51"/>
                  <a:gd name="T7" fmla="*/ 9 h 47"/>
                  <a:gd name="T8" fmla="*/ 14 w 51"/>
                  <a:gd name="T9" fmla="*/ 9 h 47"/>
                  <a:gd name="T10" fmla="*/ 10 w 51"/>
                  <a:gd name="T11" fmla="*/ 13 h 47"/>
                  <a:gd name="T12" fmla="*/ 8 w 51"/>
                  <a:gd name="T13" fmla="*/ 19 h 47"/>
                  <a:gd name="T14" fmla="*/ 10 w 51"/>
                  <a:gd name="T15" fmla="*/ 23 h 47"/>
                  <a:gd name="T16" fmla="*/ 17 w 51"/>
                  <a:gd name="T17" fmla="*/ 27 h 47"/>
                  <a:gd name="T18" fmla="*/ 37 w 51"/>
                  <a:gd name="T19" fmla="*/ 40 h 47"/>
                  <a:gd name="T20" fmla="*/ 33 w 51"/>
                  <a:gd name="T21" fmla="*/ 47 h 47"/>
                  <a:gd name="T22" fmla="*/ 13 w 51"/>
                  <a:gd name="T23" fmla="*/ 35 h 47"/>
                  <a:gd name="T24" fmla="*/ 4 w 51"/>
                  <a:gd name="T25" fmla="*/ 29 h 47"/>
                  <a:gd name="T26" fmla="*/ 1 w 51"/>
                  <a:gd name="T27" fmla="*/ 24 h 47"/>
                  <a:gd name="T28" fmla="*/ 0 w 51"/>
                  <a:gd name="T29" fmla="*/ 18 h 47"/>
                  <a:gd name="T30" fmla="*/ 3 w 51"/>
                  <a:gd name="T31" fmla="*/ 10 h 47"/>
                  <a:gd name="T32" fmla="*/ 10 w 51"/>
                  <a:gd name="T33" fmla="*/ 2 h 47"/>
                  <a:gd name="T34" fmla="*/ 15 w 51"/>
                  <a:gd name="T35" fmla="*/ 0 h 47"/>
                  <a:gd name="T36" fmla="*/ 21 w 51"/>
                  <a:gd name="T37" fmla="*/ 0 h 47"/>
                  <a:gd name="T38" fmla="*/ 31 w 51"/>
                  <a:gd name="T39" fmla="*/ 5 h 47"/>
                  <a:gd name="T40" fmla="*/ 51 w 51"/>
                  <a:gd name="T41" fmla="*/ 17 h 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51" h="47">
                    <a:moveTo>
                      <a:pt x="51" y="17"/>
                    </a:moveTo>
                    <a:cubicBezTo>
                      <a:pt x="46" y="25"/>
                      <a:pt x="46" y="25"/>
                      <a:pt x="46" y="25"/>
                    </a:cubicBezTo>
                    <a:cubicBezTo>
                      <a:pt x="26" y="13"/>
                      <a:pt x="26" y="13"/>
                      <a:pt x="26" y="13"/>
                    </a:cubicBezTo>
                    <a:cubicBezTo>
                      <a:pt x="23" y="11"/>
                      <a:pt x="21" y="10"/>
                      <a:pt x="20" y="9"/>
                    </a:cubicBezTo>
                    <a:cubicBezTo>
                      <a:pt x="18" y="9"/>
                      <a:pt x="16" y="9"/>
                      <a:pt x="14" y="9"/>
                    </a:cubicBezTo>
                    <a:cubicBezTo>
                      <a:pt x="13" y="10"/>
                      <a:pt x="11" y="11"/>
                      <a:pt x="10" y="13"/>
                    </a:cubicBezTo>
                    <a:cubicBezTo>
                      <a:pt x="9" y="16"/>
                      <a:pt x="8" y="17"/>
                      <a:pt x="8" y="19"/>
                    </a:cubicBezTo>
                    <a:cubicBezTo>
                      <a:pt x="9" y="21"/>
                      <a:pt x="9" y="22"/>
                      <a:pt x="10" y="23"/>
                    </a:cubicBezTo>
                    <a:cubicBezTo>
                      <a:pt x="12" y="24"/>
                      <a:pt x="14" y="25"/>
                      <a:pt x="17" y="27"/>
                    </a:cubicBezTo>
                    <a:cubicBezTo>
                      <a:pt x="37" y="40"/>
                      <a:pt x="37" y="40"/>
                      <a:pt x="37" y="40"/>
                    </a:cubicBezTo>
                    <a:cubicBezTo>
                      <a:pt x="33" y="47"/>
                      <a:pt x="33" y="47"/>
                      <a:pt x="33" y="47"/>
                    </a:cubicBezTo>
                    <a:cubicBezTo>
                      <a:pt x="13" y="35"/>
                      <a:pt x="13" y="35"/>
                      <a:pt x="13" y="35"/>
                    </a:cubicBezTo>
                    <a:cubicBezTo>
                      <a:pt x="9" y="33"/>
                      <a:pt x="6" y="31"/>
                      <a:pt x="4" y="29"/>
                    </a:cubicBezTo>
                    <a:cubicBezTo>
                      <a:pt x="2" y="28"/>
                      <a:pt x="1" y="26"/>
                      <a:pt x="1" y="24"/>
                    </a:cubicBezTo>
                    <a:cubicBezTo>
                      <a:pt x="0" y="22"/>
                      <a:pt x="0" y="20"/>
                      <a:pt x="0" y="18"/>
                    </a:cubicBezTo>
                    <a:cubicBezTo>
                      <a:pt x="0" y="15"/>
                      <a:pt x="2" y="13"/>
                      <a:pt x="3" y="10"/>
                    </a:cubicBezTo>
                    <a:cubicBezTo>
                      <a:pt x="6" y="6"/>
                      <a:pt x="8" y="4"/>
                      <a:pt x="10" y="2"/>
                    </a:cubicBezTo>
                    <a:cubicBezTo>
                      <a:pt x="11" y="1"/>
                      <a:pt x="13" y="0"/>
                      <a:pt x="15" y="0"/>
                    </a:cubicBezTo>
                    <a:cubicBezTo>
                      <a:pt x="17" y="0"/>
                      <a:pt x="19" y="0"/>
                      <a:pt x="21" y="0"/>
                    </a:cubicBezTo>
                    <a:cubicBezTo>
                      <a:pt x="23" y="1"/>
                      <a:pt x="27" y="3"/>
                      <a:pt x="31" y="5"/>
                    </a:cubicBezTo>
                    <a:lnTo>
                      <a:pt x="51" y="1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140" name="íṧḷîde"/>
              <p:cNvSpPr/>
              <p:nvPr/>
            </p:nvSpPr>
            <p:spPr bwMode="auto">
              <a:xfrm>
                <a:off x="1704872" y="4971053"/>
                <a:ext cx="100013" cy="92075"/>
              </a:xfrm>
              <a:custGeom>
                <a:avLst/>
                <a:gdLst>
                  <a:gd name="T0" fmla="*/ 17 w 63"/>
                  <a:gd name="T1" fmla="*/ 0 h 58"/>
                  <a:gd name="T2" fmla="*/ 63 w 63"/>
                  <a:gd name="T3" fmla="*/ 21 h 58"/>
                  <a:gd name="T4" fmla="*/ 59 w 63"/>
                  <a:gd name="T5" fmla="*/ 30 h 58"/>
                  <a:gd name="T6" fmla="*/ 19 w 63"/>
                  <a:gd name="T7" fmla="*/ 35 h 58"/>
                  <a:gd name="T8" fmla="*/ 50 w 63"/>
                  <a:gd name="T9" fmla="*/ 50 h 58"/>
                  <a:gd name="T10" fmla="*/ 46 w 63"/>
                  <a:gd name="T11" fmla="*/ 58 h 58"/>
                  <a:gd name="T12" fmla="*/ 0 w 63"/>
                  <a:gd name="T13" fmla="*/ 37 h 58"/>
                  <a:gd name="T14" fmla="*/ 4 w 63"/>
                  <a:gd name="T15" fmla="*/ 26 h 58"/>
                  <a:gd name="T16" fmla="*/ 43 w 63"/>
                  <a:gd name="T17" fmla="*/ 22 h 58"/>
                  <a:gd name="T18" fmla="*/ 12 w 63"/>
                  <a:gd name="T19" fmla="*/ 8 h 58"/>
                  <a:gd name="T20" fmla="*/ 17 w 63"/>
                  <a:gd name="T21" fmla="*/ 0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63" h="58">
                    <a:moveTo>
                      <a:pt x="17" y="0"/>
                    </a:moveTo>
                    <a:lnTo>
                      <a:pt x="63" y="21"/>
                    </a:lnTo>
                    <a:lnTo>
                      <a:pt x="59" y="30"/>
                    </a:lnTo>
                    <a:lnTo>
                      <a:pt x="19" y="35"/>
                    </a:lnTo>
                    <a:lnTo>
                      <a:pt x="50" y="50"/>
                    </a:lnTo>
                    <a:lnTo>
                      <a:pt x="46" y="58"/>
                    </a:lnTo>
                    <a:lnTo>
                      <a:pt x="0" y="37"/>
                    </a:lnTo>
                    <a:lnTo>
                      <a:pt x="4" y="26"/>
                    </a:lnTo>
                    <a:lnTo>
                      <a:pt x="43" y="22"/>
                    </a:lnTo>
                    <a:lnTo>
                      <a:pt x="12" y="8"/>
                    </a:lnTo>
                    <a:lnTo>
                      <a:pt x="17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141" name="íS1îḍé"/>
              <p:cNvSpPr/>
              <p:nvPr/>
            </p:nvSpPr>
            <p:spPr bwMode="auto">
              <a:xfrm>
                <a:off x="1690584" y="5045665"/>
                <a:ext cx="84138" cy="44450"/>
              </a:xfrm>
              <a:custGeom>
                <a:avLst/>
                <a:gdLst>
                  <a:gd name="T0" fmla="*/ 5 w 53"/>
                  <a:gd name="T1" fmla="*/ 0 h 28"/>
                  <a:gd name="T2" fmla="*/ 53 w 53"/>
                  <a:gd name="T3" fmla="*/ 19 h 28"/>
                  <a:gd name="T4" fmla="*/ 49 w 53"/>
                  <a:gd name="T5" fmla="*/ 28 h 28"/>
                  <a:gd name="T6" fmla="*/ 0 w 53"/>
                  <a:gd name="T7" fmla="*/ 10 h 28"/>
                  <a:gd name="T8" fmla="*/ 5 w 53"/>
                  <a:gd name="T9" fmla="*/ 0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3" h="28">
                    <a:moveTo>
                      <a:pt x="5" y="0"/>
                    </a:moveTo>
                    <a:lnTo>
                      <a:pt x="53" y="19"/>
                    </a:lnTo>
                    <a:lnTo>
                      <a:pt x="49" y="28"/>
                    </a:lnTo>
                    <a:lnTo>
                      <a:pt x="0" y="10"/>
                    </a:lnTo>
                    <a:lnTo>
                      <a:pt x="5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142" name="íṧļïḋè"/>
              <p:cNvSpPr/>
              <p:nvPr/>
            </p:nvSpPr>
            <p:spPr bwMode="auto">
              <a:xfrm>
                <a:off x="1674709" y="5091703"/>
                <a:ext cx="92075" cy="73025"/>
              </a:xfrm>
              <a:custGeom>
                <a:avLst/>
                <a:gdLst>
                  <a:gd name="T0" fmla="*/ 4 w 58"/>
                  <a:gd name="T1" fmla="*/ 3 h 46"/>
                  <a:gd name="T2" fmla="*/ 58 w 58"/>
                  <a:gd name="T3" fmla="*/ 0 h 46"/>
                  <a:gd name="T4" fmla="*/ 55 w 58"/>
                  <a:gd name="T5" fmla="*/ 11 h 46"/>
                  <a:gd name="T6" fmla="*/ 14 w 58"/>
                  <a:gd name="T7" fmla="*/ 13 h 46"/>
                  <a:gd name="T8" fmla="*/ 46 w 58"/>
                  <a:gd name="T9" fmla="*/ 35 h 46"/>
                  <a:gd name="T10" fmla="*/ 44 w 58"/>
                  <a:gd name="T11" fmla="*/ 46 h 46"/>
                  <a:gd name="T12" fmla="*/ 0 w 58"/>
                  <a:gd name="T13" fmla="*/ 14 h 46"/>
                  <a:gd name="T14" fmla="*/ 4 w 58"/>
                  <a:gd name="T15" fmla="*/ 3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58" h="46">
                    <a:moveTo>
                      <a:pt x="4" y="3"/>
                    </a:moveTo>
                    <a:lnTo>
                      <a:pt x="58" y="0"/>
                    </a:lnTo>
                    <a:lnTo>
                      <a:pt x="55" y="11"/>
                    </a:lnTo>
                    <a:lnTo>
                      <a:pt x="14" y="13"/>
                    </a:lnTo>
                    <a:lnTo>
                      <a:pt x="46" y="35"/>
                    </a:lnTo>
                    <a:lnTo>
                      <a:pt x="44" y="46"/>
                    </a:lnTo>
                    <a:lnTo>
                      <a:pt x="0" y="14"/>
                    </a:lnTo>
                    <a:lnTo>
                      <a:pt x="4" y="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143" name="ïṡḷiḋé"/>
              <p:cNvSpPr/>
              <p:nvPr/>
            </p:nvSpPr>
            <p:spPr bwMode="auto">
              <a:xfrm>
                <a:off x="1652484" y="5153615"/>
                <a:ext cx="90488" cy="73025"/>
              </a:xfrm>
              <a:custGeom>
                <a:avLst/>
                <a:gdLst>
                  <a:gd name="T0" fmla="*/ 7 w 57"/>
                  <a:gd name="T1" fmla="*/ 0 h 46"/>
                  <a:gd name="T2" fmla="*/ 57 w 57"/>
                  <a:gd name="T3" fmla="*/ 10 h 46"/>
                  <a:gd name="T4" fmla="*/ 50 w 57"/>
                  <a:gd name="T5" fmla="*/ 46 h 46"/>
                  <a:gd name="T6" fmla="*/ 42 w 57"/>
                  <a:gd name="T7" fmla="*/ 45 h 46"/>
                  <a:gd name="T8" fmla="*/ 47 w 57"/>
                  <a:gd name="T9" fmla="*/ 18 h 46"/>
                  <a:gd name="T10" fmla="*/ 36 w 57"/>
                  <a:gd name="T11" fmla="*/ 16 h 46"/>
                  <a:gd name="T12" fmla="*/ 30 w 57"/>
                  <a:gd name="T13" fmla="*/ 40 h 46"/>
                  <a:gd name="T14" fmla="*/ 22 w 57"/>
                  <a:gd name="T15" fmla="*/ 39 h 46"/>
                  <a:gd name="T16" fmla="*/ 27 w 57"/>
                  <a:gd name="T17" fmla="*/ 14 h 46"/>
                  <a:gd name="T18" fmla="*/ 14 w 57"/>
                  <a:gd name="T19" fmla="*/ 11 h 46"/>
                  <a:gd name="T20" fmla="*/ 8 w 57"/>
                  <a:gd name="T21" fmla="*/ 39 h 46"/>
                  <a:gd name="T22" fmla="*/ 0 w 57"/>
                  <a:gd name="T23" fmla="*/ 38 h 46"/>
                  <a:gd name="T24" fmla="*/ 7 w 57"/>
                  <a:gd name="T25" fmla="*/ 0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57" h="46">
                    <a:moveTo>
                      <a:pt x="7" y="0"/>
                    </a:moveTo>
                    <a:lnTo>
                      <a:pt x="57" y="10"/>
                    </a:lnTo>
                    <a:lnTo>
                      <a:pt x="50" y="46"/>
                    </a:lnTo>
                    <a:lnTo>
                      <a:pt x="42" y="45"/>
                    </a:lnTo>
                    <a:lnTo>
                      <a:pt x="47" y="18"/>
                    </a:lnTo>
                    <a:lnTo>
                      <a:pt x="36" y="16"/>
                    </a:lnTo>
                    <a:lnTo>
                      <a:pt x="30" y="40"/>
                    </a:lnTo>
                    <a:lnTo>
                      <a:pt x="22" y="39"/>
                    </a:lnTo>
                    <a:lnTo>
                      <a:pt x="27" y="14"/>
                    </a:lnTo>
                    <a:lnTo>
                      <a:pt x="14" y="11"/>
                    </a:lnTo>
                    <a:lnTo>
                      <a:pt x="8" y="39"/>
                    </a:lnTo>
                    <a:lnTo>
                      <a:pt x="0" y="38"/>
                    </a:lnTo>
                    <a:lnTo>
                      <a:pt x="7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144" name="ïşļiḋe"/>
              <p:cNvSpPr/>
              <p:nvPr/>
            </p:nvSpPr>
            <p:spPr bwMode="auto">
              <a:xfrm>
                <a:off x="1641372" y="5231403"/>
                <a:ext cx="88900" cy="71438"/>
              </a:xfrm>
              <a:custGeom>
                <a:avLst/>
                <a:gdLst>
                  <a:gd name="T0" fmla="*/ 4 w 48"/>
                  <a:gd name="T1" fmla="*/ 0 h 39"/>
                  <a:gd name="T2" fmla="*/ 48 w 48"/>
                  <a:gd name="T3" fmla="*/ 4 h 39"/>
                  <a:gd name="T4" fmla="*/ 46 w 48"/>
                  <a:gd name="T5" fmla="*/ 23 h 39"/>
                  <a:gd name="T6" fmla="*/ 44 w 48"/>
                  <a:gd name="T7" fmla="*/ 33 h 39"/>
                  <a:gd name="T8" fmla="*/ 39 w 48"/>
                  <a:gd name="T9" fmla="*/ 38 h 39"/>
                  <a:gd name="T10" fmla="*/ 32 w 48"/>
                  <a:gd name="T11" fmla="*/ 39 h 39"/>
                  <a:gd name="T12" fmla="*/ 24 w 48"/>
                  <a:gd name="T13" fmla="*/ 35 h 39"/>
                  <a:gd name="T14" fmla="*/ 21 w 48"/>
                  <a:gd name="T15" fmla="*/ 26 h 39"/>
                  <a:gd name="T16" fmla="*/ 17 w 48"/>
                  <a:gd name="T17" fmla="*/ 30 h 39"/>
                  <a:gd name="T18" fmla="*/ 9 w 48"/>
                  <a:gd name="T19" fmla="*/ 35 h 39"/>
                  <a:gd name="T20" fmla="*/ 0 w 48"/>
                  <a:gd name="T21" fmla="*/ 39 h 39"/>
                  <a:gd name="T22" fmla="*/ 1 w 48"/>
                  <a:gd name="T23" fmla="*/ 29 h 39"/>
                  <a:gd name="T24" fmla="*/ 12 w 48"/>
                  <a:gd name="T25" fmla="*/ 23 h 39"/>
                  <a:gd name="T26" fmla="*/ 18 w 48"/>
                  <a:gd name="T27" fmla="*/ 19 h 39"/>
                  <a:gd name="T28" fmla="*/ 20 w 48"/>
                  <a:gd name="T29" fmla="*/ 17 h 39"/>
                  <a:gd name="T30" fmla="*/ 21 w 48"/>
                  <a:gd name="T31" fmla="*/ 12 h 39"/>
                  <a:gd name="T32" fmla="*/ 22 w 48"/>
                  <a:gd name="T33" fmla="*/ 11 h 39"/>
                  <a:gd name="T34" fmla="*/ 3 w 48"/>
                  <a:gd name="T35" fmla="*/ 9 h 39"/>
                  <a:gd name="T36" fmla="*/ 4 w 48"/>
                  <a:gd name="T37" fmla="*/ 0 h 39"/>
                  <a:gd name="T38" fmla="*/ 29 w 48"/>
                  <a:gd name="T39" fmla="*/ 11 h 39"/>
                  <a:gd name="T40" fmla="*/ 28 w 48"/>
                  <a:gd name="T41" fmla="*/ 18 h 39"/>
                  <a:gd name="T42" fmla="*/ 28 w 48"/>
                  <a:gd name="T43" fmla="*/ 26 h 39"/>
                  <a:gd name="T44" fmla="*/ 29 w 48"/>
                  <a:gd name="T45" fmla="*/ 28 h 39"/>
                  <a:gd name="T46" fmla="*/ 32 w 48"/>
                  <a:gd name="T47" fmla="*/ 30 h 39"/>
                  <a:gd name="T48" fmla="*/ 36 w 48"/>
                  <a:gd name="T49" fmla="*/ 29 h 39"/>
                  <a:gd name="T50" fmla="*/ 38 w 48"/>
                  <a:gd name="T51" fmla="*/ 26 h 39"/>
                  <a:gd name="T52" fmla="*/ 39 w 48"/>
                  <a:gd name="T53" fmla="*/ 19 h 39"/>
                  <a:gd name="T54" fmla="*/ 40 w 48"/>
                  <a:gd name="T55" fmla="*/ 12 h 39"/>
                  <a:gd name="T56" fmla="*/ 29 w 48"/>
                  <a:gd name="T57" fmla="*/ 11 h 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48" h="39">
                    <a:moveTo>
                      <a:pt x="4" y="0"/>
                    </a:moveTo>
                    <a:cubicBezTo>
                      <a:pt x="48" y="4"/>
                      <a:pt x="48" y="4"/>
                      <a:pt x="48" y="4"/>
                    </a:cubicBezTo>
                    <a:cubicBezTo>
                      <a:pt x="46" y="23"/>
                      <a:pt x="46" y="23"/>
                      <a:pt x="46" y="23"/>
                    </a:cubicBezTo>
                    <a:cubicBezTo>
                      <a:pt x="46" y="27"/>
                      <a:pt x="45" y="31"/>
                      <a:pt x="44" y="33"/>
                    </a:cubicBezTo>
                    <a:cubicBezTo>
                      <a:pt x="43" y="35"/>
                      <a:pt x="41" y="36"/>
                      <a:pt x="39" y="38"/>
                    </a:cubicBezTo>
                    <a:cubicBezTo>
                      <a:pt x="37" y="39"/>
                      <a:pt x="35" y="39"/>
                      <a:pt x="32" y="39"/>
                    </a:cubicBezTo>
                    <a:cubicBezTo>
                      <a:pt x="29" y="38"/>
                      <a:pt x="26" y="37"/>
                      <a:pt x="24" y="35"/>
                    </a:cubicBezTo>
                    <a:cubicBezTo>
                      <a:pt x="22" y="33"/>
                      <a:pt x="21" y="30"/>
                      <a:pt x="21" y="26"/>
                    </a:cubicBezTo>
                    <a:cubicBezTo>
                      <a:pt x="20" y="28"/>
                      <a:pt x="18" y="29"/>
                      <a:pt x="17" y="30"/>
                    </a:cubicBezTo>
                    <a:cubicBezTo>
                      <a:pt x="16" y="32"/>
                      <a:pt x="13" y="33"/>
                      <a:pt x="9" y="35"/>
                    </a:cubicBezTo>
                    <a:cubicBezTo>
                      <a:pt x="0" y="39"/>
                      <a:pt x="0" y="39"/>
                      <a:pt x="0" y="39"/>
                    </a:cubicBezTo>
                    <a:cubicBezTo>
                      <a:pt x="1" y="29"/>
                      <a:pt x="1" y="29"/>
                      <a:pt x="1" y="29"/>
                    </a:cubicBezTo>
                    <a:cubicBezTo>
                      <a:pt x="12" y="23"/>
                      <a:pt x="12" y="23"/>
                      <a:pt x="12" y="23"/>
                    </a:cubicBezTo>
                    <a:cubicBezTo>
                      <a:pt x="15" y="21"/>
                      <a:pt x="17" y="20"/>
                      <a:pt x="18" y="19"/>
                    </a:cubicBezTo>
                    <a:cubicBezTo>
                      <a:pt x="19" y="18"/>
                      <a:pt x="20" y="18"/>
                      <a:pt x="20" y="17"/>
                    </a:cubicBezTo>
                    <a:cubicBezTo>
                      <a:pt x="21" y="16"/>
                      <a:pt x="21" y="14"/>
                      <a:pt x="21" y="12"/>
                    </a:cubicBezTo>
                    <a:cubicBezTo>
                      <a:pt x="22" y="11"/>
                      <a:pt x="22" y="11"/>
                      <a:pt x="22" y="11"/>
                    </a:cubicBezTo>
                    <a:cubicBezTo>
                      <a:pt x="3" y="9"/>
                      <a:pt x="3" y="9"/>
                      <a:pt x="3" y="9"/>
                    </a:cubicBezTo>
                    <a:lnTo>
                      <a:pt x="4" y="0"/>
                    </a:lnTo>
                    <a:close/>
                    <a:moveTo>
                      <a:pt x="29" y="11"/>
                    </a:moveTo>
                    <a:cubicBezTo>
                      <a:pt x="28" y="18"/>
                      <a:pt x="28" y="18"/>
                      <a:pt x="28" y="18"/>
                    </a:cubicBezTo>
                    <a:cubicBezTo>
                      <a:pt x="28" y="22"/>
                      <a:pt x="27" y="25"/>
                      <a:pt x="28" y="26"/>
                    </a:cubicBezTo>
                    <a:cubicBezTo>
                      <a:pt x="28" y="27"/>
                      <a:pt x="28" y="28"/>
                      <a:pt x="29" y="28"/>
                    </a:cubicBezTo>
                    <a:cubicBezTo>
                      <a:pt x="30" y="29"/>
                      <a:pt x="31" y="30"/>
                      <a:pt x="32" y="30"/>
                    </a:cubicBezTo>
                    <a:cubicBezTo>
                      <a:pt x="34" y="30"/>
                      <a:pt x="35" y="30"/>
                      <a:pt x="36" y="29"/>
                    </a:cubicBezTo>
                    <a:cubicBezTo>
                      <a:pt x="37" y="28"/>
                      <a:pt x="38" y="27"/>
                      <a:pt x="38" y="26"/>
                    </a:cubicBezTo>
                    <a:cubicBezTo>
                      <a:pt x="38" y="25"/>
                      <a:pt x="39" y="23"/>
                      <a:pt x="39" y="19"/>
                    </a:cubicBezTo>
                    <a:cubicBezTo>
                      <a:pt x="40" y="12"/>
                      <a:pt x="40" y="12"/>
                      <a:pt x="40" y="12"/>
                    </a:cubicBezTo>
                    <a:lnTo>
                      <a:pt x="29" y="1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145" name="îś1iḓê"/>
              <p:cNvSpPr/>
              <p:nvPr/>
            </p:nvSpPr>
            <p:spPr bwMode="auto">
              <a:xfrm>
                <a:off x="1641372" y="5312365"/>
                <a:ext cx="82550" cy="66675"/>
              </a:xfrm>
              <a:custGeom>
                <a:avLst/>
                <a:gdLst>
                  <a:gd name="T0" fmla="*/ 15 w 45"/>
                  <a:gd name="T1" fmla="*/ 0 h 36"/>
                  <a:gd name="T2" fmla="*/ 16 w 45"/>
                  <a:gd name="T3" fmla="*/ 8 h 36"/>
                  <a:gd name="T4" fmla="*/ 9 w 45"/>
                  <a:gd name="T5" fmla="*/ 12 h 36"/>
                  <a:gd name="T6" fmla="*/ 7 w 45"/>
                  <a:gd name="T7" fmla="*/ 18 h 36"/>
                  <a:gd name="T8" fmla="*/ 9 w 45"/>
                  <a:gd name="T9" fmla="*/ 25 h 36"/>
                  <a:gd name="T10" fmla="*/ 13 w 45"/>
                  <a:gd name="T11" fmla="*/ 27 h 36"/>
                  <a:gd name="T12" fmla="*/ 16 w 45"/>
                  <a:gd name="T13" fmla="*/ 26 h 36"/>
                  <a:gd name="T14" fmla="*/ 18 w 45"/>
                  <a:gd name="T15" fmla="*/ 23 h 36"/>
                  <a:gd name="T16" fmla="*/ 20 w 45"/>
                  <a:gd name="T17" fmla="*/ 15 h 36"/>
                  <a:gd name="T18" fmla="*/ 24 w 45"/>
                  <a:gd name="T19" fmla="*/ 5 h 36"/>
                  <a:gd name="T20" fmla="*/ 33 w 45"/>
                  <a:gd name="T21" fmla="*/ 1 h 36"/>
                  <a:gd name="T22" fmla="*/ 39 w 45"/>
                  <a:gd name="T23" fmla="*/ 3 h 36"/>
                  <a:gd name="T24" fmla="*/ 44 w 45"/>
                  <a:gd name="T25" fmla="*/ 9 h 36"/>
                  <a:gd name="T26" fmla="*/ 45 w 45"/>
                  <a:gd name="T27" fmla="*/ 17 h 36"/>
                  <a:gd name="T28" fmla="*/ 42 w 45"/>
                  <a:gd name="T29" fmla="*/ 30 h 36"/>
                  <a:gd name="T30" fmla="*/ 32 w 45"/>
                  <a:gd name="T31" fmla="*/ 34 h 36"/>
                  <a:gd name="T32" fmla="*/ 31 w 45"/>
                  <a:gd name="T33" fmla="*/ 25 h 36"/>
                  <a:gd name="T34" fmla="*/ 36 w 45"/>
                  <a:gd name="T35" fmla="*/ 23 h 36"/>
                  <a:gd name="T36" fmla="*/ 38 w 45"/>
                  <a:gd name="T37" fmla="*/ 17 h 36"/>
                  <a:gd name="T38" fmla="*/ 36 w 45"/>
                  <a:gd name="T39" fmla="*/ 11 h 36"/>
                  <a:gd name="T40" fmla="*/ 33 w 45"/>
                  <a:gd name="T41" fmla="*/ 10 h 36"/>
                  <a:gd name="T42" fmla="*/ 31 w 45"/>
                  <a:gd name="T43" fmla="*/ 11 h 36"/>
                  <a:gd name="T44" fmla="*/ 28 w 45"/>
                  <a:gd name="T45" fmla="*/ 19 h 36"/>
                  <a:gd name="T46" fmla="*/ 25 w 45"/>
                  <a:gd name="T47" fmla="*/ 29 h 36"/>
                  <a:gd name="T48" fmla="*/ 20 w 45"/>
                  <a:gd name="T49" fmla="*/ 34 h 36"/>
                  <a:gd name="T50" fmla="*/ 13 w 45"/>
                  <a:gd name="T51" fmla="*/ 36 h 36"/>
                  <a:gd name="T52" fmla="*/ 6 w 45"/>
                  <a:gd name="T53" fmla="*/ 33 h 36"/>
                  <a:gd name="T54" fmla="*/ 1 w 45"/>
                  <a:gd name="T55" fmla="*/ 28 h 36"/>
                  <a:gd name="T56" fmla="*/ 0 w 45"/>
                  <a:gd name="T57" fmla="*/ 18 h 36"/>
                  <a:gd name="T58" fmla="*/ 3 w 45"/>
                  <a:gd name="T59" fmla="*/ 5 h 36"/>
                  <a:gd name="T60" fmla="*/ 15 w 45"/>
                  <a:gd name="T61" fmla="*/ 0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45" h="36">
                    <a:moveTo>
                      <a:pt x="15" y="0"/>
                    </a:moveTo>
                    <a:cubicBezTo>
                      <a:pt x="16" y="8"/>
                      <a:pt x="16" y="8"/>
                      <a:pt x="16" y="8"/>
                    </a:cubicBezTo>
                    <a:cubicBezTo>
                      <a:pt x="13" y="9"/>
                      <a:pt x="10" y="10"/>
                      <a:pt x="9" y="12"/>
                    </a:cubicBezTo>
                    <a:cubicBezTo>
                      <a:pt x="8" y="13"/>
                      <a:pt x="7" y="15"/>
                      <a:pt x="7" y="18"/>
                    </a:cubicBezTo>
                    <a:cubicBezTo>
                      <a:pt x="7" y="21"/>
                      <a:pt x="8" y="23"/>
                      <a:pt x="9" y="25"/>
                    </a:cubicBezTo>
                    <a:cubicBezTo>
                      <a:pt x="10" y="26"/>
                      <a:pt x="12" y="27"/>
                      <a:pt x="13" y="27"/>
                    </a:cubicBezTo>
                    <a:cubicBezTo>
                      <a:pt x="14" y="27"/>
                      <a:pt x="15" y="26"/>
                      <a:pt x="16" y="26"/>
                    </a:cubicBezTo>
                    <a:cubicBezTo>
                      <a:pt x="17" y="25"/>
                      <a:pt x="17" y="24"/>
                      <a:pt x="18" y="23"/>
                    </a:cubicBezTo>
                    <a:cubicBezTo>
                      <a:pt x="18" y="22"/>
                      <a:pt x="19" y="19"/>
                      <a:pt x="20" y="15"/>
                    </a:cubicBezTo>
                    <a:cubicBezTo>
                      <a:pt x="21" y="11"/>
                      <a:pt x="22" y="7"/>
                      <a:pt x="24" y="5"/>
                    </a:cubicBezTo>
                    <a:cubicBezTo>
                      <a:pt x="26" y="3"/>
                      <a:pt x="29" y="1"/>
                      <a:pt x="33" y="1"/>
                    </a:cubicBezTo>
                    <a:cubicBezTo>
                      <a:pt x="35" y="1"/>
                      <a:pt x="37" y="2"/>
                      <a:pt x="39" y="3"/>
                    </a:cubicBezTo>
                    <a:cubicBezTo>
                      <a:pt x="41" y="4"/>
                      <a:pt x="43" y="6"/>
                      <a:pt x="44" y="9"/>
                    </a:cubicBezTo>
                    <a:cubicBezTo>
                      <a:pt x="45" y="11"/>
                      <a:pt x="45" y="14"/>
                      <a:pt x="45" y="17"/>
                    </a:cubicBezTo>
                    <a:cubicBezTo>
                      <a:pt x="45" y="23"/>
                      <a:pt x="44" y="27"/>
                      <a:pt x="42" y="30"/>
                    </a:cubicBezTo>
                    <a:cubicBezTo>
                      <a:pt x="39" y="33"/>
                      <a:pt x="36" y="34"/>
                      <a:pt x="32" y="34"/>
                    </a:cubicBezTo>
                    <a:cubicBezTo>
                      <a:pt x="31" y="25"/>
                      <a:pt x="31" y="25"/>
                      <a:pt x="31" y="25"/>
                    </a:cubicBezTo>
                    <a:cubicBezTo>
                      <a:pt x="34" y="25"/>
                      <a:pt x="35" y="24"/>
                      <a:pt x="36" y="23"/>
                    </a:cubicBezTo>
                    <a:cubicBezTo>
                      <a:pt x="37" y="22"/>
                      <a:pt x="38" y="20"/>
                      <a:pt x="38" y="17"/>
                    </a:cubicBezTo>
                    <a:cubicBezTo>
                      <a:pt x="38" y="15"/>
                      <a:pt x="37" y="13"/>
                      <a:pt x="36" y="11"/>
                    </a:cubicBezTo>
                    <a:cubicBezTo>
                      <a:pt x="35" y="10"/>
                      <a:pt x="35" y="10"/>
                      <a:pt x="33" y="10"/>
                    </a:cubicBezTo>
                    <a:cubicBezTo>
                      <a:pt x="32" y="10"/>
                      <a:pt x="31" y="10"/>
                      <a:pt x="31" y="11"/>
                    </a:cubicBezTo>
                    <a:cubicBezTo>
                      <a:pt x="30" y="12"/>
                      <a:pt x="29" y="15"/>
                      <a:pt x="28" y="19"/>
                    </a:cubicBezTo>
                    <a:cubicBezTo>
                      <a:pt x="27" y="24"/>
                      <a:pt x="26" y="27"/>
                      <a:pt x="25" y="29"/>
                    </a:cubicBezTo>
                    <a:cubicBezTo>
                      <a:pt x="24" y="31"/>
                      <a:pt x="22" y="33"/>
                      <a:pt x="20" y="34"/>
                    </a:cubicBezTo>
                    <a:cubicBezTo>
                      <a:pt x="18" y="35"/>
                      <a:pt x="16" y="36"/>
                      <a:pt x="13" y="36"/>
                    </a:cubicBezTo>
                    <a:cubicBezTo>
                      <a:pt x="11" y="36"/>
                      <a:pt x="8" y="35"/>
                      <a:pt x="6" y="33"/>
                    </a:cubicBezTo>
                    <a:cubicBezTo>
                      <a:pt x="4" y="32"/>
                      <a:pt x="2" y="30"/>
                      <a:pt x="1" y="28"/>
                    </a:cubicBezTo>
                    <a:cubicBezTo>
                      <a:pt x="0" y="25"/>
                      <a:pt x="0" y="22"/>
                      <a:pt x="0" y="18"/>
                    </a:cubicBezTo>
                    <a:cubicBezTo>
                      <a:pt x="0" y="12"/>
                      <a:pt x="1" y="8"/>
                      <a:pt x="3" y="5"/>
                    </a:cubicBezTo>
                    <a:cubicBezTo>
                      <a:pt x="6" y="2"/>
                      <a:pt x="10" y="0"/>
                      <a:pt x="15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146" name="íş1ïḓe"/>
              <p:cNvSpPr/>
              <p:nvPr/>
            </p:nvSpPr>
            <p:spPr bwMode="auto">
              <a:xfrm>
                <a:off x="1642959" y="5385390"/>
                <a:ext cx="84138" cy="22225"/>
              </a:xfrm>
              <a:custGeom>
                <a:avLst/>
                <a:gdLst>
                  <a:gd name="T0" fmla="*/ 0 w 53"/>
                  <a:gd name="T1" fmla="*/ 5 h 14"/>
                  <a:gd name="T2" fmla="*/ 51 w 53"/>
                  <a:gd name="T3" fmla="*/ 0 h 14"/>
                  <a:gd name="T4" fmla="*/ 53 w 53"/>
                  <a:gd name="T5" fmla="*/ 11 h 14"/>
                  <a:gd name="T6" fmla="*/ 1 w 53"/>
                  <a:gd name="T7" fmla="*/ 14 h 14"/>
                  <a:gd name="T8" fmla="*/ 0 w 53"/>
                  <a:gd name="T9" fmla="*/ 5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3" h="14">
                    <a:moveTo>
                      <a:pt x="0" y="5"/>
                    </a:moveTo>
                    <a:lnTo>
                      <a:pt x="51" y="0"/>
                    </a:lnTo>
                    <a:lnTo>
                      <a:pt x="53" y="11"/>
                    </a:lnTo>
                    <a:lnTo>
                      <a:pt x="1" y="14"/>
                    </a:lnTo>
                    <a:lnTo>
                      <a:pt x="0" y="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147" name="ïṩlîḋè"/>
              <p:cNvSpPr/>
              <p:nvPr/>
            </p:nvSpPr>
            <p:spPr bwMode="auto">
              <a:xfrm>
                <a:off x="1649309" y="5407615"/>
                <a:ext cx="84138" cy="66675"/>
              </a:xfrm>
              <a:custGeom>
                <a:avLst/>
                <a:gdLst>
                  <a:gd name="T0" fmla="*/ 0 w 53"/>
                  <a:gd name="T1" fmla="*/ 22 h 42"/>
                  <a:gd name="T2" fmla="*/ 42 w 53"/>
                  <a:gd name="T3" fmla="*/ 17 h 42"/>
                  <a:gd name="T4" fmla="*/ 39 w 53"/>
                  <a:gd name="T5" fmla="*/ 1 h 42"/>
                  <a:gd name="T6" fmla="*/ 49 w 53"/>
                  <a:gd name="T7" fmla="*/ 0 h 42"/>
                  <a:gd name="T8" fmla="*/ 53 w 53"/>
                  <a:gd name="T9" fmla="*/ 41 h 42"/>
                  <a:gd name="T10" fmla="*/ 45 w 53"/>
                  <a:gd name="T11" fmla="*/ 42 h 42"/>
                  <a:gd name="T12" fmla="*/ 43 w 53"/>
                  <a:gd name="T13" fmla="*/ 27 h 42"/>
                  <a:gd name="T14" fmla="*/ 1 w 53"/>
                  <a:gd name="T15" fmla="*/ 33 h 42"/>
                  <a:gd name="T16" fmla="*/ 0 w 53"/>
                  <a:gd name="T17" fmla="*/ 22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3" h="42">
                    <a:moveTo>
                      <a:pt x="0" y="22"/>
                    </a:moveTo>
                    <a:lnTo>
                      <a:pt x="42" y="17"/>
                    </a:lnTo>
                    <a:lnTo>
                      <a:pt x="39" y="1"/>
                    </a:lnTo>
                    <a:lnTo>
                      <a:pt x="49" y="0"/>
                    </a:lnTo>
                    <a:lnTo>
                      <a:pt x="53" y="41"/>
                    </a:lnTo>
                    <a:lnTo>
                      <a:pt x="45" y="42"/>
                    </a:lnTo>
                    <a:lnTo>
                      <a:pt x="43" y="27"/>
                    </a:lnTo>
                    <a:lnTo>
                      <a:pt x="1" y="33"/>
                    </a:lnTo>
                    <a:lnTo>
                      <a:pt x="0" y="2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148" name="ïṣľîďe"/>
              <p:cNvSpPr/>
              <p:nvPr/>
            </p:nvSpPr>
            <p:spPr bwMode="auto">
              <a:xfrm>
                <a:off x="1662009" y="5471115"/>
                <a:ext cx="90488" cy="73025"/>
              </a:xfrm>
              <a:custGeom>
                <a:avLst/>
                <a:gdLst>
                  <a:gd name="T0" fmla="*/ 0 w 57"/>
                  <a:gd name="T1" fmla="*/ 29 h 46"/>
                  <a:gd name="T2" fmla="*/ 21 w 57"/>
                  <a:gd name="T3" fmla="*/ 24 h 46"/>
                  <a:gd name="T4" fmla="*/ 45 w 57"/>
                  <a:gd name="T5" fmla="*/ 0 h 46"/>
                  <a:gd name="T6" fmla="*/ 49 w 57"/>
                  <a:gd name="T7" fmla="*/ 11 h 46"/>
                  <a:gd name="T8" fmla="*/ 31 w 57"/>
                  <a:gd name="T9" fmla="*/ 28 h 46"/>
                  <a:gd name="T10" fmla="*/ 53 w 57"/>
                  <a:gd name="T11" fmla="*/ 35 h 46"/>
                  <a:gd name="T12" fmla="*/ 57 w 57"/>
                  <a:gd name="T13" fmla="*/ 46 h 46"/>
                  <a:gd name="T14" fmla="*/ 23 w 57"/>
                  <a:gd name="T15" fmla="*/ 35 h 46"/>
                  <a:gd name="T16" fmla="*/ 2 w 57"/>
                  <a:gd name="T17" fmla="*/ 39 h 46"/>
                  <a:gd name="T18" fmla="*/ 0 w 57"/>
                  <a:gd name="T19" fmla="*/ 29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57" h="46">
                    <a:moveTo>
                      <a:pt x="0" y="29"/>
                    </a:moveTo>
                    <a:lnTo>
                      <a:pt x="21" y="24"/>
                    </a:lnTo>
                    <a:lnTo>
                      <a:pt x="45" y="0"/>
                    </a:lnTo>
                    <a:lnTo>
                      <a:pt x="49" y="11"/>
                    </a:lnTo>
                    <a:lnTo>
                      <a:pt x="31" y="28"/>
                    </a:lnTo>
                    <a:lnTo>
                      <a:pt x="53" y="35"/>
                    </a:lnTo>
                    <a:lnTo>
                      <a:pt x="57" y="46"/>
                    </a:lnTo>
                    <a:lnTo>
                      <a:pt x="23" y="35"/>
                    </a:lnTo>
                    <a:lnTo>
                      <a:pt x="2" y="39"/>
                    </a:lnTo>
                    <a:lnTo>
                      <a:pt x="0" y="2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149" name="íśļiḓe"/>
              <p:cNvSpPr/>
              <p:nvPr/>
            </p:nvSpPr>
            <p:spPr bwMode="auto">
              <a:xfrm>
                <a:off x="1704872" y="5609228"/>
                <a:ext cx="85725" cy="80963"/>
              </a:xfrm>
              <a:custGeom>
                <a:avLst/>
                <a:gdLst>
                  <a:gd name="T0" fmla="*/ 15 w 47"/>
                  <a:gd name="T1" fmla="*/ 2 h 44"/>
                  <a:gd name="T2" fmla="*/ 26 w 47"/>
                  <a:gd name="T3" fmla="*/ 0 h 44"/>
                  <a:gd name="T4" fmla="*/ 33 w 47"/>
                  <a:gd name="T5" fmla="*/ 1 h 44"/>
                  <a:gd name="T6" fmla="*/ 39 w 47"/>
                  <a:gd name="T7" fmla="*/ 4 h 44"/>
                  <a:gd name="T8" fmla="*/ 44 w 47"/>
                  <a:gd name="T9" fmla="*/ 12 h 44"/>
                  <a:gd name="T10" fmla="*/ 45 w 47"/>
                  <a:gd name="T11" fmla="*/ 29 h 44"/>
                  <a:gd name="T12" fmla="*/ 32 w 47"/>
                  <a:gd name="T13" fmla="*/ 41 h 44"/>
                  <a:gd name="T14" fmla="*/ 15 w 47"/>
                  <a:gd name="T15" fmla="*/ 43 h 44"/>
                  <a:gd name="T16" fmla="*/ 3 w 47"/>
                  <a:gd name="T17" fmla="*/ 31 h 44"/>
                  <a:gd name="T18" fmla="*/ 2 w 47"/>
                  <a:gd name="T19" fmla="*/ 14 h 44"/>
                  <a:gd name="T20" fmla="*/ 15 w 47"/>
                  <a:gd name="T21" fmla="*/ 2 h 44"/>
                  <a:gd name="T22" fmla="*/ 19 w 47"/>
                  <a:gd name="T23" fmla="*/ 10 h 44"/>
                  <a:gd name="T24" fmla="*/ 10 w 47"/>
                  <a:gd name="T25" fmla="*/ 18 h 44"/>
                  <a:gd name="T26" fmla="*/ 10 w 47"/>
                  <a:gd name="T27" fmla="*/ 28 h 44"/>
                  <a:gd name="T28" fmla="*/ 17 w 47"/>
                  <a:gd name="T29" fmla="*/ 34 h 44"/>
                  <a:gd name="T30" fmla="*/ 29 w 47"/>
                  <a:gd name="T31" fmla="*/ 33 h 44"/>
                  <a:gd name="T32" fmla="*/ 38 w 47"/>
                  <a:gd name="T33" fmla="*/ 25 h 44"/>
                  <a:gd name="T34" fmla="*/ 37 w 47"/>
                  <a:gd name="T35" fmla="*/ 16 h 44"/>
                  <a:gd name="T36" fmla="*/ 30 w 47"/>
                  <a:gd name="T37" fmla="*/ 9 h 44"/>
                  <a:gd name="T38" fmla="*/ 19 w 47"/>
                  <a:gd name="T39" fmla="*/ 10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47" h="44">
                    <a:moveTo>
                      <a:pt x="15" y="2"/>
                    </a:moveTo>
                    <a:cubicBezTo>
                      <a:pt x="19" y="0"/>
                      <a:pt x="23" y="0"/>
                      <a:pt x="26" y="0"/>
                    </a:cubicBezTo>
                    <a:cubicBezTo>
                      <a:pt x="28" y="0"/>
                      <a:pt x="31" y="0"/>
                      <a:pt x="33" y="1"/>
                    </a:cubicBezTo>
                    <a:cubicBezTo>
                      <a:pt x="35" y="2"/>
                      <a:pt x="37" y="3"/>
                      <a:pt x="39" y="4"/>
                    </a:cubicBezTo>
                    <a:cubicBezTo>
                      <a:pt x="41" y="6"/>
                      <a:pt x="43" y="9"/>
                      <a:pt x="44" y="12"/>
                    </a:cubicBezTo>
                    <a:cubicBezTo>
                      <a:pt x="47" y="18"/>
                      <a:pt x="47" y="24"/>
                      <a:pt x="45" y="29"/>
                    </a:cubicBezTo>
                    <a:cubicBezTo>
                      <a:pt x="43" y="34"/>
                      <a:pt x="39" y="38"/>
                      <a:pt x="32" y="41"/>
                    </a:cubicBezTo>
                    <a:cubicBezTo>
                      <a:pt x="26" y="44"/>
                      <a:pt x="20" y="44"/>
                      <a:pt x="15" y="43"/>
                    </a:cubicBezTo>
                    <a:cubicBezTo>
                      <a:pt x="9" y="41"/>
                      <a:pt x="5" y="37"/>
                      <a:pt x="3" y="31"/>
                    </a:cubicBezTo>
                    <a:cubicBezTo>
                      <a:pt x="0" y="25"/>
                      <a:pt x="0" y="19"/>
                      <a:pt x="2" y="14"/>
                    </a:cubicBezTo>
                    <a:cubicBezTo>
                      <a:pt x="4" y="9"/>
                      <a:pt x="8" y="5"/>
                      <a:pt x="15" y="2"/>
                    </a:cubicBezTo>
                    <a:close/>
                    <a:moveTo>
                      <a:pt x="19" y="10"/>
                    </a:moveTo>
                    <a:cubicBezTo>
                      <a:pt x="14" y="12"/>
                      <a:pt x="11" y="15"/>
                      <a:pt x="10" y="18"/>
                    </a:cubicBezTo>
                    <a:cubicBezTo>
                      <a:pt x="8" y="21"/>
                      <a:pt x="8" y="24"/>
                      <a:pt x="10" y="28"/>
                    </a:cubicBezTo>
                    <a:cubicBezTo>
                      <a:pt x="11" y="31"/>
                      <a:pt x="13" y="33"/>
                      <a:pt x="17" y="34"/>
                    </a:cubicBezTo>
                    <a:cubicBezTo>
                      <a:pt x="20" y="35"/>
                      <a:pt x="24" y="35"/>
                      <a:pt x="29" y="33"/>
                    </a:cubicBezTo>
                    <a:cubicBezTo>
                      <a:pt x="33" y="31"/>
                      <a:pt x="36" y="28"/>
                      <a:pt x="38" y="25"/>
                    </a:cubicBezTo>
                    <a:cubicBezTo>
                      <a:pt x="39" y="22"/>
                      <a:pt x="39" y="19"/>
                      <a:pt x="37" y="16"/>
                    </a:cubicBezTo>
                    <a:cubicBezTo>
                      <a:pt x="36" y="12"/>
                      <a:pt x="34" y="10"/>
                      <a:pt x="30" y="9"/>
                    </a:cubicBezTo>
                    <a:cubicBezTo>
                      <a:pt x="27" y="8"/>
                      <a:pt x="23" y="8"/>
                      <a:pt x="19" y="1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150" name="î$ḷïďe"/>
              <p:cNvSpPr/>
              <p:nvPr/>
            </p:nvSpPr>
            <p:spPr bwMode="auto">
              <a:xfrm>
                <a:off x="1733447" y="5675903"/>
                <a:ext cx="98425" cy="66675"/>
              </a:xfrm>
              <a:custGeom>
                <a:avLst/>
                <a:gdLst>
                  <a:gd name="T0" fmla="*/ 0 w 62"/>
                  <a:gd name="T1" fmla="*/ 26 h 42"/>
                  <a:gd name="T2" fmla="*/ 45 w 62"/>
                  <a:gd name="T3" fmla="*/ 0 h 42"/>
                  <a:gd name="T4" fmla="*/ 62 w 62"/>
                  <a:gd name="T5" fmla="*/ 30 h 42"/>
                  <a:gd name="T6" fmla="*/ 55 w 62"/>
                  <a:gd name="T7" fmla="*/ 35 h 42"/>
                  <a:gd name="T8" fmla="*/ 43 w 62"/>
                  <a:gd name="T9" fmla="*/ 14 h 42"/>
                  <a:gd name="T10" fmla="*/ 32 w 62"/>
                  <a:gd name="T11" fmla="*/ 20 h 42"/>
                  <a:gd name="T12" fmla="*/ 43 w 62"/>
                  <a:gd name="T13" fmla="*/ 38 h 42"/>
                  <a:gd name="T14" fmla="*/ 35 w 62"/>
                  <a:gd name="T15" fmla="*/ 42 h 42"/>
                  <a:gd name="T16" fmla="*/ 25 w 62"/>
                  <a:gd name="T17" fmla="*/ 23 h 42"/>
                  <a:gd name="T18" fmla="*/ 6 w 62"/>
                  <a:gd name="T19" fmla="*/ 35 h 42"/>
                  <a:gd name="T20" fmla="*/ 0 w 62"/>
                  <a:gd name="T21" fmla="*/ 26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62" h="42">
                    <a:moveTo>
                      <a:pt x="0" y="26"/>
                    </a:moveTo>
                    <a:lnTo>
                      <a:pt x="45" y="0"/>
                    </a:lnTo>
                    <a:lnTo>
                      <a:pt x="62" y="30"/>
                    </a:lnTo>
                    <a:lnTo>
                      <a:pt x="55" y="35"/>
                    </a:lnTo>
                    <a:lnTo>
                      <a:pt x="43" y="14"/>
                    </a:lnTo>
                    <a:lnTo>
                      <a:pt x="32" y="20"/>
                    </a:lnTo>
                    <a:lnTo>
                      <a:pt x="43" y="38"/>
                    </a:lnTo>
                    <a:lnTo>
                      <a:pt x="35" y="42"/>
                    </a:lnTo>
                    <a:lnTo>
                      <a:pt x="25" y="23"/>
                    </a:lnTo>
                    <a:lnTo>
                      <a:pt x="6" y="35"/>
                    </a:lnTo>
                    <a:lnTo>
                      <a:pt x="0" y="26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151" name="îśḻîḍe"/>
              <p:cNvSpPr/>
              <p:nvPr/>
            </p:nvSpPr>
            <p:spPr bwMode="auto">
              <a:xfrm>
                <a:off x="1812822" y="5785440"/>
                <a:ext cx="85725" cy="82550"/>
              </a:xfrm>
              <a:custGeom>
                <a:avLst/>
                <a:gdLst>
                  <a:gd name="T0" fmla="*/ 6 w 46"/>
                  <a:gd name="T1" fmla="*/ 13 h 45"/>
                  <a:gd name="T2" fmla="*/ 12 w 46"/>
                  <a:gd name="T3" fmla="*/ 19 h 45"/>
                  <a:gd name="T4" fmla="*/ 9 w 46"/>
                  <a:gd name="T5" fmla="*/ 26 h 45"/>
                  <a:gd name="T6" fmla="*/ 11 w 46"/>
                  <a:gd name="T7" fmla="*/ 32 h 45"/>
                  <a:gd name="T8" fmla="*/ 17 w 46"/>
                  <a:gd name="T9" fmla="*/ 36 h 45"/>
                  <a:gd name="T10" fmla="*/ 22 w 46"/>
                  <a:gd name="T11" fmla="*/ 35 h 45"/>
                  <a:gd name="T12" fmla="*/ 23 w 46"/>
                  <a:gd name="T13" fmla="*/ 32 h 45"/>
                  <a:gd name="T14" fmla="*/ 22 w 46"/>
                  <a:gd name="T15" fmla="*/ 29 h 45"/>
                  <a:gd name="T16" fmla="*/ 19 w 46"/>
                  <a:gd name="T17" fmla="*/ 22 h 45"/>
                  <a:gd name="T18" fmla="*/ 16 w 46"/>
                  <a:gd name="T19" fmla="*/ 12 h 45"/>
                  <a:gd name="T20" fmla="*/ 21 w 46"/>
                  <a:gd name="T21" fmla="*/ 3 h 45"/>
                  <a:gd name="T22" fmla="*/ 27 w 46"/>
                  <a:gd name="T23" fmla="*/ 0 h 45"/>
                  <a:gd name="T24" fmla="*/ 34 w 46"/>
                  <a:gd name="T25" fmla="*/ 2 h 45"/>
                  <a:gd name="T26" fmla="*/ 40 w 46"/>
                  <a:gd name="T27" fmla="*/ 8 h 45"/>
                  <a:gd name="T28" fmla="*/ 45 w 46"/>
                  <a:gd name="T29" fmla="*/ 19 h 45"/>
                  <a:gd name="T30" fmla="*/ 41 w 46"/>
                  <a:gd name="T31" fmla="*/ 29 h 45"/>
                  <a:gd name="T32" fmla="*/ 35 w 46"/>
                  <a:gd name="T33" fmla="*/ 22 h 45"/>
                  <a:gd name="T34" fmla="*/ 37 w 46"/>
                  <a:gd name="T35" fmla="*/ 17 h 45"/>
                  <a:gd name="T36" fmla="*/ 35 w 46"/>
                  <a:gd name="T37" fmla="*/ 12 h 45"/>
                  <a:gd name="T38" fmla="*/ 30 w 46"/>
                  <a:gd name="T39" fmla="*/ 8 h 45"/>
                  <a:gd name="T40" fmla="*/ 27 w 46"/>
                  <a:gd name="T41" fmla="*/ 9 h 45"/>
                  <a:gd name="T42" fmla="*/ 25 w 46"/>
                  <a:gd name="T43" fmla="*/ 12 h 45"/>
                  <a:gd name="T44" fmla="*/ 28 w 46"/>
                  <a:gd name="T45" fmla="*/ 20 h 45"/>
                  <a:gd name="T46" fmla="*/ 32 w 46"/>
                  <a:gd name="T47" fmla="*/ 29 h 45"/>
                  <a:gd name="T48" fmla="*/ 31 w 46"/>
                  <a:gd name="T49" fmla="*/ 36 h 45"/>
                  <a:gd name="T50" fmla="*/ 27 w 46"/>
                  <a:gd name="T51" fmla="*/ 42 h 45"/>
                  <a:gd name="T52" fmla="*/ 20 w 46"/>
                  <a:gd name="T53" fmla="*/ 45 h 45"/>
                  <a:gd name="T54" fmla="*/ 13 w 46"/>
                  <a:gd name="T55" fmla="*/ 43 h 45"/>
                  <a:gd name="T56" fmla="*/ 6 w 46"/>
                  <a:gd name="T57" fmla="*/ 37 h 45"/>
                  <a:gd name="T58" fmla="*/ 0 w 46"/>
                  <a:gd name="T59" fmla="*/ 24 h 45"/>
                  <a:gd name="T60" fmla="*/ 6 w 46"/>
                  <a:gd name="T61" fmla="*/ 13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46" h="45">
                    <a:moveTo>
                      <a:pt x="6" y="13"/>
                    </a:moveTo>
                    <a:cubicBezTo>
                      <a:pt x="12" y="19"/>
                      <a:pt x="12" y="19"/>
                      <a:pt x="12" y="19"/>
                    </a:cubicBezTo>
                    <a:cubicBezTo>
                      <a:pt x="10" y="21"/>
                      <a:pt x="9" y="24"/>
                      <a:pt x="9" y="26"/>
                    </a:cubicBezTo>
                    <a:cubicBezTo>
                      <a:pt x="9" y="28"/>
                      <a:pt x="10" y="30"/>
                      <a:pt x="11" y="32"/>
                    </a:cubicBezTo>
                    <a:cubicBezTo>
                      <a:pt x="13" y="34"/>
                      <a:pt x="15" y="35"/>
                      <a:pt x="17" y="36"/>
                    </a:cubicBezTo>
                    <a:cubicBezTo>
                      <a:pt x="19" y="36"/>
                      <a:pt x="20" y="36"/>
                      <a:pt x="22" y="35"/>
                    </a:cubicBezTo>
                    <a:cubicBezTo>
                      <a:pt x="22" y="34"/>
                      <a:pt x="23" y="33"/>
                      <a:pt x="23" y="32"/>
                    </a:cubicBezTo>
                    <a:cubicBezTo>
                      <a:pt x="23" y="32"/>
                      <a:pt x="23" y="30"/>
                      <a:pt x="22" y="29"/>
                    </a:cubicBezTo>
                    <a:cubicBezTo>
                      <a:pt x="22" y="28"/>
                      <a:pt x="21" y="26"/>
                      <a:pt x="19" y="22"/>
                    </a:cubicBezTo>
                    <a:cubicBezTo>
                      <a:pt x="17" y="18"/>
                      <a:pt x="16" y="14"/>
                      <a:pt x="16" y="12"/>
                    </a:cubicBezTo>
                    <a:cubicBezTo>
                      <a:pt x="17" y="8"/>
                      <a:pt x="18" y="5"/>
                      <a:pt x="21" y="3"/>
                    </a:cubicBezTo>
                    <a:cubicBezTo>
                      <a:pt x="23" y="1"/>
                      <a:pt x="25" y="1"/>
                      <a:pt x="27" y="0"/>
                    </a:cubicBezTo>
                    <a:cubicBezTo>
                      <a:pt x="29" y="0"/>
                      <a:pt x="31" y="1"/>
                      <a:pt x="34" y="2"/>
                    </a:cubicBezTo>
                    <a:cubicBezTo>
                      <a:pt x="36" y="3"/>
                      <a:pt x="38" y="5"/>
                      <a:pt x="40" y="8"/>
                    </a:cubicBezTo>
                    <a:cubicBezTo>
                      <a:pt x="44" y="12"/>
                      <a:pt x="46" y="16"/>
                      <a:pt x="45" y="19"/>
                    </a:cubicBezTo>
                    <a:cubicBezTo>
                      <a:pt x="45" y="23"/>
                      <a:pt x="44" y="26"/>
                      <a:pt x="41" y="29"/>
                    </a:cubicBezTo>
                    <a:cubicBezTo>
                      <a:pt x="35" y="22"/>
                      <a:pt x="35" y="22"/>
                      <a:pt x="35" y="22"/>
                    </a:cubicBezTo>
                    <a:cubicBezTo>
                      <a:pt x="36" y="21"/>
                      <a:pt x="37" y="19"/>
                      <a:pt x="37" y="17"/>
                    </a:cubicBezTo>
                    <a:cubicBezTo>
                      <a:pt x="37" y="16"/>
                      <a:pt x="36" y="14"/>
                      <a:pt x="35" y="12"/>
                    </a:cubicBezTo>
                    <a:cubicBezTo>
                      <a:pt x="33" y="10"/>
                      <a:pt x="31" y="9"/>
                      <a:pt x="30" y="8"/>
                    </a:cubicBezTo>
                    <a:cubicBezTo>
                      <a:pt x="28" y="8"/>
                      <a:pt x="27" y="8"/>
                      <a:pt x="27" y="9"/>
                    </a:cubicBezTo>
                    <a:cubicBezTo>
                      <a:pt x="26" y="10"/>
                      <a:pt x="25" y="11"/>
                      <a:pt x="25" y="12"/>
                    </a:cubicBezTo>
                    <a:cubicBezTo>
                      <a:pt x="25" y="13"/>
                      <a:pt x="26" y="16"/>
                      <a:pt x="28" y="20"/>
                    </a:cubicBezTo>
                    <a:cubicBezTo>
                      <a:pt x="30" y="24"/>
                      <a:pt x="31" y="27"/>
                      <a:pt x="32" y="29"/>
                    </a:cubicBezTo>
                    <a:cubicBezTo>
                      <a:pt x="32" y="32"/>
                      <a:pt x="32" y="34"/>
                      <a:pt x="31" y="36"/>
                    </a:cubicBezTo>
                    <a:cubicBezTo>
                      <a:pt x="31" y="38"/>
                      <a:pt x="29" y="40"/>
                      <a:pt x="27" y="42"/>
                    </a:cubicBezTo>
                    <a:cubicBezTo>
                      <a:pt x="25" y="43"/>
                      <a:pt x="23" y="44"/>
                      <a:pt x="20" y="45"/>
                    </a:cubicBezTo>
                    <a:cubicBezTo>
                      <a:pt x="18" y="45"/>
                      <a:pt x="15" y="44"/>
                      <a:pt x="13" y="43"/>
                    </a:cubicBezTo>
                    <a:cubicBezTo>
                      <a:pt x="10" y="42"/>
                      <a:pt x="8" y="40"/>
                      <a:pt x="6" y="37"/>
                    </a:cubicBezTo>
                    <a:cubicBezTo>
                      <a:pt x="2" y="32"/>
                      <a:pt x="0" y="28"/>
                      <a:pt x="0" y="24"/>
                    </a:cubicBezTo>
                    <a:cubicBezTo>
                      <a:pt x="1" y="20"/>
                      <a:pt x="2" y="17"/>
                      <a:pt x="6" y="1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152" name="í$ļîḋê"/>
              <p:cNvSpPr/>
              <p:nvPr/>
            </p:nvSpPr>
            <p:spPr bwMode="auto">
              <a:xfrm>
                <a:off x="1868384" y="5844178"/>
                <a:ext cx="82550" cy="82550"/>
              </a:xfrm>
              <a:custGeom>
                <a:avLst/>
                <a:gdLst>
                  <a:gd name="T0" fmla="*/ 25 w 45"/>
                  <a:gd name="T1" fmla="*/ 33 h 45"/>
                  <a:gd name="T2" fmla="*/ 29 w 45"/>
                  <a:gd name="T3" fmla="*/ 41 h 45"/>
                  <a:gd name="T4" fmla="*/ 17 w 45"/>
                  <a:gd name="T5" fmla="*/ 44 h 45"/>
                  <a:gd name="T6" fmla="*/ 6 w 45"/>
                  <a:gd name="T7" fmla="*/ 38 h 45"/>
                  <a:gd name="T8" fmla="*/ 0 w 45"/>
                  <a:gd name="T9" fmla="*/ 24 h 45"/>
                  <a:gd name="T10" fmla="*/ 8 w 45"/>
                  <a:gd name="T11" fmla="*/ 8 h 45"/>
                  <a:gd name="T12" fmla="*/ 24 w 45"/>
                  <a:gd name="T13" fmla="*/ 0 h 45"/>
                  <a:gd name="T14" fmla="*/ 39 w 45"/>
                  <a:gd name="T15" fmla="*/ 7 h 45"/>
                  <a:gd name="T16" fmla="*/ 45 w 45"/>
                  <a:gd name="T17" fmla="*/ 19 h 45"/>
                  <a:gd name="T18" fmla="*/ 42 w 45"/>
                  <a:gd name="T19" fmla="*/ 28 h 45"/>
                  <a:gd name="T20" fmla="*/ 34 w 45"/>
                  <a:gd name="T21" fmla="*/ 23 h 45"/>
                  <a:gd name="T22" fmla="*/ 36 w 45"/>
                  <a:gd name="T23" fmla="*/ 17 h 45"/>
                  <a:gd name="T24" fmla="*/ 33 w 45"/>
                  <a:gd name="T25" fmla="*/ 12 h 45"/>
                  <a:gd name="T26" fmla="*/ 25 w 45"/>
                  <a:gd name="T27" fmla="*/ 9 h 45"/>
                  <a:gd name="T28" fmla="*/ 15 w 45"/>
                  <a:gd name="T29" fmla="*/ 14 h 45"/>
                  <a:gd name="T30" fmla="*/ 8 w 45"/>
                  <a:gd name="T31" fmla="*/ 25 h 45"/>
                  <a:gd name="T32" fmla="*/ 11 w 45"/>
                  <a:gd name="T33" fmla="*/ 33 h 45"/>
                  <a:gd name="T34" fmla="*/ 17 w 45"/>
                  <a:gd name="T35" fmla="*/ 36 h 45"/>
                  <a:gd name="T36" fmla="*/ 25 w 45"/>
                  <a:gd name="T37" fmla="*/ 33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45" h="45">
                    <a:moveTo>
                      <a:pt x="25" y="33"/>
                    </a:moveTo>
                    <a:cubicBezTo>
                      <a:pt x="29" y="41"/>
                      <a:pt x="29" y="41"/>
                      <a:pt x="29" y="41"/>
                    </a:cubicBezTo>
                    <a:cubicBezTo>
                      <a:pt x="25" y="44"/>
                      <a:pt x="21" y="45"/>
                      <a:pt x="17" y="44"/>
                    </a:cubicBezTo>
                    <a:cubicBezTo>
                      <a:pt x="13" y="44"/>
                      <a:pt x="9" y="42"/>
                      <a:pt x="6" y="38"/>
                    </a:cubicBezTo>
                    <a:cubicBezTo>
                      <a:pt x="2" y="34"/>
                      <a:pt x="0" y="29"/>
                      <a:pt x="0" y="24"/>
                    </a:cubicBezTo>
                    <a:cubicBezTo>
                      <a:pt x="0" y="19"/>
                      <a:pt x="3" y="13"/>
                      <a:pt x="8" y="8"/>
                    </a:cubicBezTo>
                    <a:cubicBezTo>
                      <a:pt x="13" y="3"/>
                      <a:pt x="18" y="1"/>
                      <a:pt x="24" y="0"/>
                    </a:cubicBezTo>
                    <a:cubicBezTo>
                      <a:pt x="29" y="0"/>
                      <a:pt x="34" y="2"/>
                      <a:pt x="39" y="7"/>
                    </a:cubicBezTo>
                    <a:cubicBezTo>
                      <a:pt x="42" y="10"/>
                      <a:pt x="44" y="15"/>
                      <a:pt x="45" y="19"/>
                    </a:cubicBezTo>
                    <a:cubicBezTo>
                      <a:pt x="45" y="22"/>
                      <a:pt x="44" y="25"/>
                      <a:pt x="42" y="28"/>
                    </a:cubicBezTo>
                    <a:cubicBezTo>
                      <a:pt x="34" y="23"/>
                      <a:pt x="34" y="23"/>
                      <a:pt x="34" y="23"/>
                    </a:cubicBezTo>
                    <a:cubicBezTo>
                      <a:pt x="36" y="21"/>
                      <a:pt x="36" y="19"/>
                      <a:pt x="36" y="17"/>
                    </a:cubicBezTo>
                    <a:cubicBezTo>
                      <a:pt x="36" y="15"/>
                      <a:pt x="35" y="13"/>
                      <a:pt x="33" y="12"/>
                    </a:cubicBezTo>
                    <a:cubicBezTo>
                      <a:pt x="31" y="9"/>
                      <a:pt x="28" y="8"/>
                      <a:pt x="25" y="9"/>
                    </a:cubicBezTo>
                    <a:cubicBezTo>
                      <a:pt x="22" y="9"/>
                      <a:pt x="18" y="11"/>
                      <a:pt x="15" y="14"/>
                    </a:cubicBezTo>
                    <a:cubicBezTo>
                      <a:pt x="11" y="18"/>
                      <a:pt x="9" y="22"/>
                      <a:pt x="8" y="25"/>
                    </a:cubicBezTo>
                    <a:cubicBezTo>
                      <a:pt x="8" y="28"/>
                      <a:pt x="9" y="31"/>
                      <a:pt x="11" y="33"/>
                    </a:cubicBezTo>
                    <a:cubicBezTo>
                      <a:pt x="13" y="35"/>
                      <a:pt x="15" y="36"/>
                      <a:pt x="17" y="36"/>
                    </a:cubicBezTo>
                    <a:cubicBezTo>
                      <a:pt x="20" y="36"/>
                      <a:pt x="22" y="35"/>
                      <a:pt x="25" y="3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153" name="íṩḷiḋé"/>
              <p:cNvSpPr/>
              <p:nvPr/>
            </p:nvSpPr>
            <p:spPr bwMode="auto">
              <a:xfrm>
                <a:off x="1916009" y="5887040"/>
                <a:ext cx="65088" cy="71438"/>
              </a:xfrm>
              <a:custGeom>
                <a:avLst/>
                <a:gdLst>
                  <a:gd name="T0" fmla="*/ 0 w 41"/>
                  <a:gd name="T1" fmla="*/ 38 h 45"/>
                  <a:gd name="T2" fmla="*/ 34 w 41"/>
                  <a:gd name="T3" fmla="*/ 0 h 45"/>
                  <a:gd name="T4" fmla="*/ 41 w 41"/>
                  <a:gd name="T5" fmla="*/ 6 h 45"/>
                  <a:gd name="T6" fmla="*/ 8 w 41"/>
                  <a:gd name="T7" fmla="*/ 45 h 45"/>
                  <a:gd name="T8" fmla="*/ 0 w 41"/>
                  <a:gd name="T9" fmla="*/ 38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1" h="45">
                    <a:moveTo>
                      <a:pt x="0" y="38"/>
                    </a:moveTo>
                    <a:lnTo>
                      <a:pt x="34" y="0"/>
                    </a:lnTo>
                    <a:lnTo>
                      <a:pt x="41" y="6"/>
                    </a:lnTo>
                    <a:lnTo>
                      <a:pt x="8" y="45"/>
                    </a:lnTo>
                    <a:lnTo>
                      <a:pt x="0" y="3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154" name="îsľïďé"/>
              <p:cNvSpPr/>
              <p:nvPr/>
            </p:nvSpPr>
            <p:spPr bwMode="auto">
              <a:xfrm>
                <a:off x="1941409" y="5904503"/>
                <a:ext cx="96838" cy="101600"/>
              </a:xfrm>
              <a:custGeom>
                <a:avLst/>
                <a:gdLst>
                  <a:gd name="T0" fmla="*/ 0 w 61"/>
                  <a:gd name="T1" fmla="*/ 41 h 64"/>
                  <a:gd name="T2" fmla="*/ 31 w 61"/>
                  <a:gd name="T3" fmla="*/ 0 h 64"/>
                  <a:gd name="T4" fmla="*/ 61 w 61"/>
                  <a:gd name="T5" fmla="*/ 22 h 64"/>
                  <a:gd name="T6" fmla="*/ 56 w 61"/>
                  <a:gd name="T7" fmla="*/ 29 h 64"/>
                  <a:gd name="T8" fmla="*/ 34 w 61"/>
                  <a:gd name="T9" fmla="*/ 13 h 64"/>
                  <a:gd name="T10" fmla="*/ 27 w 61"/>
                  <a:gd name="T11" fmla="*/ 22 h 64"/>
                  <a:gd name="T12" fmla="*/ 47 w 61"/>
                  <a:gd name="T13" fmla="*/ 37 h 64"/>
                  <a:gd name="T14" fmla="*/ 42 w 61"/>
                  <a:gd name="T15" fmla="*/ 44 h 64"/>
                  <a:gd name="T16" fmla="*/ 21 w 61"/>
                  <a:gd name="T17" fmla="*/ 29 h 64"/>
                  <a:gd name="T18" fmla="*/ 13 w 61"/>
                  <a:gd name="T19" fmla="*/ 40 h 64"/>
                  <a:gd name="T20" fmla="*/ 36 w 61"/>
                  <a:gd name="T21" fmla="*/ 57 h 64"/>
                  <a:gd name="T22" fmla="*/ 31 w 61"/>
                  <a:gd name="T23" fmla="*/ 64 h 64"/>
                  <a:gd name="T24" fmla="*/ 0 w 61"/>
                  <a:gd name="T25" fmla="*/ 41 h 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1" h="64">
                    <a:moveTo>
                      <a:pt x="0" y="41"/>
                    </a:moveTo>
                    <a:lnTo>
                      <a:pt x="31" y="0"/>
                    </a:lnTo>
                    <a:lnTo>
                      <a:pt x="61" y="22"/>
                    </a:lnTo>
                    <a:lnTo>
                      <a:pt x="56" y="29"/>
                    </a:lnTo>
                    <a:lnTo>
                      <a:pt x="34" y="13"/>
                    </a:lnTo>
                    <a:lnTo>
                      <a:pt x="27" y="22"/>
                    </a:lnTo>
                    <a:lnTo>
                      <a:pt x="47" y="37"/>
                    </a:lnTo>
                    <a:lnTo>
                      <a:pt x="42" y="44"/>
                    </a:lnTo>
                    <a:lnTo>
                      <a:pt x="21" y="29"/>
                    </a:lnTo>
                    <a:lnTo>
                      <a:pt x="13" y="40"/>
                    </a:lnTo>
                    <a:lnTo>
                      <a:pt x="36" y="57"/>
                    </a:lnTo>
                    <a:lnTo>
                      <a:pt x="31" y="64"/>
                    </a:lnTo>
                    <a:lnTo>
                      <a:pt x="0" y="4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155" name="íśliḋé"/>
              <p:cNvSpPr/>
              <p:nvPr/>
            </p:nvSpPr>
            <p:spPr bwMode="auto">
              <a:xfrm>
                <a:off x="2004909" y="5947365"/>
                <a:ext cx="96838" cy="101600"/>
              </a:xfrm>
              <a:custGeom>
                <a:avLst/>
                <a:gdLst>
                  <a:gd name="T0" fmla="*/ 0 w 61"/>
                  <a:gd name="T1" fmla="*/ 43 h 64"/>
                  <a:gd name="T2" fmla="*/ 27 w 61"/>
                  <a:gd name="T3" fmla="*/ 0 h 64"/>
                  <a:gd name="T4" fmla="*/ 35 w 61"/>
                  <a:gd name="T5" fmla="*/ 5 h 64"/>
                  <a:gd name="T6" fmla="*/ 36 w 61"/>
                  <a:gd name="T7" fmla="*/ 45 h 64"/>
                  <a:gd name="T8" fmla="*/ 53 w 61"/>
                  <a:gd name="T9" fmla="*/ 15 h 64"/>
                  <a:gd name="T10" fmla="*/ 61 w 61"/>
                  <a:gd name="T11" fmla="*/ 21 h 64"/>
                  <a:gd name="T12" fmla="*/ 35 w 61"/>
                  <a:gd name="T13" fmla="*/ 64 h 64"/>
                  <a:gd name="T14" fmla="*/ 27 w 61"/>
                  <a:gd name="T15" fmla="*/ 59 h 64"/>
                  <a:gd name="T16" fmla="*/ 25 w 61"/>
                  <a:gd name="T17" fmla="*/ 20 h 64"/>
                  <a:gd name="T18" fmla="*/ 8 w 61"/>
                  <a:gd name="T19" fmla="*/ 49 h 64"/>
                  <a:gd name="T20" fmla="*/ 0 w 61"/>
                  <a:gd name="T21" fmla="*/ 43 h 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61" h="64">
                    <a:moveTo>
                      <a:pt x="0" y="43"/>
                    </a:moveTo>
                    <a:lnTo>
                      <a:pt x="27" y="0"/>
                    </a:lnTo>
                    <a:lnTo>
                      <a:pt x="35" y="5"/>
                    </a:lnTo>
                    <a:lnTo>
                      <a:pt x="36" y="45"/>
                    </a:lnTo>
                    <a:lnTo>
                      <a:pt x="53" y="15"/>
                    </a:lnTo>
                    <a:lnTo>
                      <a:pt x="61" y="21"/>
                    </a:lnTo>
                    <a:lnTo>
                      <a:pt x="35" y="64"/>
                    </a:lnTo>
                    <a:lnTo>
                      <a:pt x="27" y="59"/>
                    </a:lnTo>
                    <a:lnTo>
                      <a:pt x="25" y="20"/>
                    </a:lnTo>
                    <a:lnTo>
                      <a:pt x="8" y="49"/>
                    </a:lnTo>
                    <a:lnTo>
                      <a:pt x="0" y="4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156" name="iSļiďê"/>
              <p:cNvSpPr/>
              <p:nvPr/>
            </p:nvSpPr>
            <p:spPr bwMode="auto">
              <a:xfrm>
                <a:off x="2087459" y="5993403"/>
                <a:ext cx="79375" cy="87313"/>
              </a:xfrm>
              <a:custGeom>
                <a:avLst/>
                <a:gdLst>
                  <a:gd name="T0" fmla="*/ 28 w 43"/>
                  <a:gd name="T1" fmla="*/ 33 h 47"/>
                  <a:gd name="T2" fmla="*/ 34 w 43"/>
                  <a:gd name="T3" fmla="*/ 39 h 47"/>
                  <a:gd name="T4" fmla="*/ 24 w 43"/>
                  <a:gd name="T5" fmla="*/ 46 h 47"/>
                  <a:gd name="T6" fmla="*/ 12 w 43"/>
                  <a:gd name="T7" fmla="*/ 44 h 47"/>
                  <a:gd name="T8" fmla="*/ 1 w 43"/>
                  <a:gd name="T9" fmla="*/ 33 h 47"/>
                  <a:gd name="T10" fmla="*/ 3 w 43"/>
                  <a:gd name="T11" fmla="*/ 15 h 47"/>
                  <a:gd name="T12" fmla="*/ 15 w 43"/>
                  <a:gd name="T13" fmla="*/ 2 h 47"/>
                  <a:gd name="T14" fmla="*/ 32 w 43"/>
                  <a:gd name="T15" fmla="*/ 3 h 47"/>
                  <a:gd name="T16" fmla="*/ 41 w 43"/>
                  <a:gd name="T17" fmla="*/ 13 h 47"/>
                  <a:gd name="T18" fmla="*/ 42 w 43"/>
                  <a:gd name="T19" fmla="*/ 22 h 47"/>
                  <a:gd name="T20" fmla="*/ 33 w 43"/>
                  <a:gd name="T21" fmla="*/ 20 h 47"/>
                  <a:gd name="T22" fmla="*/ 33 w 43"/>
                  <a:gd name="T23" fmla="*/ 14 h 47"/>
                  <a:gd name="T24" fmla="*/ 28 w 43"/>
                  <a:gd name="T25" fmla="*/ 10 h 47"/>
                  <a:gd name="T26" fmla="*/ 19 w 43"/>
                  <a:gd name="T27" fmla="*/ 10 h 47"/>
                  <a:gd name="T28" fmla="*/ 12 w 43"/>
                  <a:gd name="T29" fmla="*/ 19 h 47"/>
                  <a:gd name="T30" fmla="*/ 9 w 43"/>
                  <a:gd name="T31" fmla="*/ 31 h 47"/>
                  <a:gd name="T32" fmla="*/ 15 w 43"/>
                  <a:gd name="T33" fmla="*/ 37 h 47"/>
                  <a:gd name="T34" fmla="*/ 22 w 43"/>
                  <a:gd name="T35" fmla="*/ 38 h 47"/>
                  <a:gd name="T36" fmla="*/ 28 w 43"/>
                  <a:gd name="T37" fmla="*/ 33 h 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43" h="47">
                    <a:moveTo>
                      <a:pt x="28" y="33"/>
                    </a:moveTo>
                    <a:cubicBezTo>
                      <a:pt x="34" y="39"/>
                      <a:pt x="34" y="39"/>
                      <a:pt x="34" y="39"/>
                    </a:cubicBezTo>
                    <a:cubicBezTo>
                      <a:pt x="31" y="43"/>
                      <a:pt x="28" y="45"/>
                      <a:pt x="24" y="46"/>
                    </a:cubicBezTo>
                    <a:cubicBezTo>
                      <a:pt x="20" y="47"/>
                      <a:pt x="16" y="46"/>
                      <a:pt x="12" y="44"/>
                    </a:cubicBezTo>
                    <a:cubicBezTo>
                      <a:pt x="7" y="42"/>
                      <a:pt x="3" y="38"/>
                      <a:pt x="1" y="33"/>
                    </a:cubicBezTo>
                    <a:cubicBezTo>
                      <a:pt x="0" y="27"/>
                      <a:pt x="0" y="22"/>
                      <a:pt x="3" y="15"/>
                    </a:cubicBezTo>
                    <a:cubicBezTo>
                      <a:pt x="6" y="9"/>
                      <a:pt x="10" y="4"/>
                      <a:pt x="15" y="2"/>
                    </a:cubicBezTo>
                    <a:cubicBezTo>
                      <a:pt x="21" y="0"/>
                      <a:pt x="26" y="1"/>
                      <a:pt x="32" y="3"/>
                    </a:cubicBezTo>
                    <a:cubicBezTo>
                      <a:pt x="36" y="5"/>
                      <a:pt x="40" y="9"/>
                      <a:pt x="41" y="13"/>
                    </a:cubicBezTo>
                    <a:cubicBezTo>
                      <a:pt x="42" y="16"/>
                      <a:pt x="43" y="19"/>
                      <a:pt x="42" y="22"/>
                    </a:cubicBezTo>
                    <a:cubicBezTo>
                      <a:pt x="33" y="20"/>
                      <a:pt x="33" y="20"/>
                      <a:pt x="33" y="20"/>
                    </a:cubicBezTo>
                    <a:cubicBezTo>
                      <a:pt x="34" y="18"/>
                      <a:pt x="34" y="16"/>
                      <a:pt x="33" y="14"/>
                    </a:cubicBezTo>
                    <a:cubicBezTo>
                      <a:pt x="32" y="12"/>
                      <a:pt x="30" y="11"/>
                      <a:pt x="28" y="10"/>
                    </a:cubicBezTo>
                    <a:cubicBezTo>
                      <a:pt x="25" y="8"/>
                      <a:pt x="22" y="8"/>
                      <a:pt x="19" y="10"/>
                    </a:cubicBezTo>
                    <a:cubicBezTo>
                      <a:pt x="16" y="11"/>
                      <a:pt x="14" y="14"/>
                      <a:pt x="12" y="19"/>
                    </a:cubicBezTo>
                    <a:cubicBezTo>
                      <a:pt x="9" y="24"/>
                      <a:pt x="9" y="28"/>
                      <a:pt x="9" y="31"/>
                    </a:cubicBezTo>
                    <a:cubicBezTo>
                      <a:pt x="10" y="34"/>
                      <a:pt x="12" y="36"/>
                      <a:pt x="15" y="37"/>
                    </a:cubicBezTo>
                    <a:cubicBezTo>
                      <a:pt x="17" y="38"/>
                      <a:pt x="19" y="38"/>
                      <a:pt x="22" y="38"/>
                    </a:cubicBezTo>
                    <a:cubicBezTo>
                      <a:pt x="24" y="37"/>
                      <a:pt x="26" y="35"/>
                      <a:pt x="28" y="3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157" name="íSliḋé"/>
              <p:cNvSpPr/>
              <p:nvPr/>
            </p:nvSpPr>
            <p:spPr bwMode="auto">
              <a:xfrm>
                <a:off x="2157309" y="6017215"/>
                <a:ext cx="82550" cy="96838"/>
              </a:xfrm>
              <a:custGeom>
                <a:avLst/>
                <a:gdLst>
                  <a:gd name="T0" fmla="*/ 0 w 52"/>
                  <a:gd name="T1" fmla="*/ 49 h 61"/>
                  <a:gd name="T2" fmla="*/ 16 w 52"/>
                  <a:gd name="T3" fmla="*/ 0 h 61"/>
                  <a:gd name="T4" fmla="*/ 52 w 52"/>
                  <a:gd name="T5" fmla="*/ 13 h 61"/>
                  <a:gd name="T6" fmla="*/ 50 w 52"/>
                  <a:gd name="T7" fmla="*/ 21 h 61"/>
                  <a:gd name="T8" fmla="*/ 23 w 52"/>
                  <a:gd name="T9" fmla="*/ 12 h 61"/>
                  <a:gd name="T10" fmla="*/ 20 w 52"/>
                  <a:gd name="T11" fmla="*/ 22 h 61"/>
                  <a:gd name="T12" fmla="*/ 44 w 52"/>
                  <a:gd name="T13" fmla="*/ 30 h 61"/>
                  <a:gd name="T14" fmla="*/ 41 w 52"/>
                  <a:gd name="T15" fmla="*/ 38 h 61"/>
                  <a:gd name="T16" fmla="*/ 18 w 52"/>
                  <a:gd name="T17" fmla="*/ 30 h 61"/>
                  <a:gd name="T18" fmla="*/ 13 w 52"/>
                  <a:gd name="T19" fmla="*/ 43 h 61"/>
                  <a:gd name="T20" fmla="*/ 40 w 52"/>
                  <a:gd name="T21" fmla="*/ 52 h 61"/>
                  <a:gd name="T22" fmla="*/ 36 w 52"/>
                  <a:gd name="T23" fmla="*/ 61 h 61"/>
                  <a:gd name="T24" fmla="*/ 0 w 52"/>
                  <a:gd name="T25" fmla="*/ 49 h 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52" h="61">
                    <a:moveTo>
                      <a:pt x="0" y="49"/>
                    </a:moveTo>
                    <a:lnTo>
                      <a:pt x="16" y="0"/>
                    </a:lnTo>
                    <a:lnTo>
                      <a:pt x="52" y="13"/>
                    </a:lnTo>
                    <a:lnTo>
                      <a:pt x="50" y="21"/>
                    </a:lnTo>
                    <a:lnTo>
                      <a:pt x="23" y="12"/>
                    </a:lnTo>
                    <a:lnTo>
                      <a:pt x="20" y="22"/>
                    </a:lnTo>
                    <a:lnTo>
                      <a:pt x="44" y="30"/>
                    </a:lnTo>
                    <a:lnTo>
                      <a:pt x="41" y="38"/>
                    </a:lnTo>
                    <a:lnTo>
                      <a:pt x="18" y="30"/>
                    </a:lnTo>
                    <a:lnTo>
                      <a:pt x="13" y="43"/>
                    </a:lnTo>
                    <a:lnTo>
                      <a:pt x="40" y="52"/>
                    </a:lnTo>
                    <a:lnTo>
                      <a:pt x="36" y="61"/>
                    </a:lnTo>
                    <a:lnTo>
                      <a:pt x="0" y="4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158" name="îŝ1îḑè"/>
              <p:cNvSpPr/>
              <p:nvPr/>
            </p:nvSpPr>
            <p:spPr bwMode="auto">
              <a:xfrm>
                <a:off x="2663722" y="6026740"/>
                <a:ext cx="77788" cy="92075"/>
              </a:xfrm>
              <a:custGeom>
                <a:avLst/>
                <a:gdLst>
                  <a:gd name="T0" fmla="*/ 49 w 49"/>
                  <a:gd name="T1" fmla="*/ 42 h 58"/>
                  <a:gd name="T2" fmla="*/ 39 w 49"/>
                  <a:gd name="T3" fmla="*/ 45 h 58"/>
                  <a:gd name="T4" fmla="*/ 31 w 49"/>
                  <a:gd name="T5" fmla="*/ 36 h 58"/>
                  <a:gd name="T6" fmla="*/ 11 w 49"/>
                  <a:gd name="T7" fmla="*/ 43 h 58"/>
                  <a:gd name="T8" fmla="*/ 11 w 49"/>
                  <a:gd name="T9" fmla="*/ 55 h 58"/>
                  <a:gd name="T10" fmla="*/ 0 w 49"/>
                  <a:gd name="T11" fmla="*/ 58 h 58"/>
                  <a:gd name="T12" fmla="*/ 3 w 49"/>
                  <a:gd name="T13" fmla="*/ 3 h 58"/>
                  <a:gd name="T14" fmla="*/ 13 w 49"/>
                  <a:gd name="T15" fmla="*/ 0 h 58"/>
                  <a:gd name="T16" fmla="*/ 49 w 49"/>
                  <a:gd name="T17" fmla="*/ 42 h 58"/>
                  <a:gd name="T18" fmla="*/ 25 w 49"/>
                  <a:gd name="T19" fmla="*/ 29 h 58"/>
                  <a:gd name="T20" fmla="*/ 12 w 49"/>
                  <a:gd name="T21" fmla="*/ 14 h 58"/>
                  <a:gd name="T22" fmla="*/ 11 w 49"/>
                  <a:gd name="T23" fmla="*/ 34 h 58"/>
                  <a:gd name="T24" fmla="*/ 25 w 49"/>
                  <a:gd name="T25" fmla="*/ 29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49" h="58">
                    <a:moveTo>
                      <a:pt x="49" y="42"/>
                    </a:moveTo>
                    <a:lnTo>
                      <a:pt x="39" y="45"/>
                    </a:lnTo>
                    <a:lnTo>
                      <a:pt x="31" y="36"/>
                    </a:lnTo>
                    <a:lnTo>
                      <a:pt x="11" y="43"/>
                    </a:lnTo>
                    <a:lnTo>
                      <a:pt x="11" y="55"/>
                    </a:lnTo>
                    <a:lnTo>
                      <a:pt x="0" y="58"/>
                    </a:lnTo>
                    <a:lnTo>
                      <a:pt x="3" y="3"/>
                    </a:lnTo>
                    <a:lnTo>
                      <a:pt x="13" y="0"/>
                    </a:lnTo>
                    <a:lnTo>
                      <a:pt x="49" y="42"/>
                    </a:lnTo>
                    <a:close/>
                    <a:moveTo>
                      <a:pt x="25" y="29"/>
                    </a:moveTo>
                    <a:lnTo>
                      <a:pt x="12" y="14"/>
                    </a:lnTo>
                    <a:lnTo>
                      <a:pt x="11" y="34"/>
                    </a:lnTo>
                    <a:lnTo>
                      <a:pt x="25" y="2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159" name="íṩḻiḋê"/>
              <p:cNvSpPr/>
              <p:nvPr/>
            </p:nvSpPr>
            <p:spPr bwMode="auto">
              <a:xfrm>
                <a:off x="2714522" y="5990228"/>
                <a:ext cx="92075" cy="101600"/>
              </a:xfrm>
              <a:custGeom>
                <a:avLst/>
                <a:gdLst>
                  <a:gd name="T0" fmla="*/ 21 w 58"/>
                  <a:gd name="T1" fmla="*/ 64 h 64"/>
                  <a:gd name="T2" fmla="*/ 0 w 58"/>
                  <a:gd name="T3" fmla="*/ 17 h 64"/>
                  <a:gd name="T4" fmla="*/ 9 w 58"/>
                  <a:gd name="T5" fmla="*/ 12 h 64"/>
                  <a:gd name="T6" fmla="*/ 43 w 58"/>
                  <a:gd name="T7" fmla="*/ 36 h 64"/>
                  <a:gd name="T8" fmla="*/ 29 w 58"/>
                  <a:gd name="T9" fmla="*/ 4 h 64"/>
                  <a:gd name="T10" fmla="*/ 37 w 58"/>
                  <a:gd name="T11" fmla="*/ 0 h 64"/>
                  <a:gd name="T12" fmla="*/ 58 w 58"/>
                  <a:gd name="T13" fmla="*/ 46 h 64"/>
                  <a:gd name="T14" fmla="*/ 49 w 58"/>
                  <a:gd name="T15" fmla="*/ 51 h 64"/>
                  <a:gd name="T16" fmla="*/ 16 w 58"/>
                  <a:gd name="T17" fmla="*/ 29 h 64"/>
                  <a:gd name="T18" fmla="*/ 30 w 58"/>
                  <a:gd name="T19" fmla="*/ 59 h 64"/>
                  <a:gd name="T20" fmla="*/ 21 w 58"/>
                  <a:gd name="T21" fmla="*/ 64 h 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58" h="64">
                    <a:moveTo>
                      <a:pt x="21" y="64"/>
                    </a:moveTo>
                    <a:lnTo>
                      <a:pt x="0" y="17"/>
                    </a:lnTo>
                    <a:lnTo>
                      <a:pt x="9" y="12"/>
                    </a:lnTo>
                    <a:lnTo>
                      <a:pt x="43" y="36"/>
                    </a:lnTo>
                    <a:lnTo>
                      <a:pt x="29" y="4"/>
                    </a:lnTo>
                    <a:lnTo>
                      <a:pt x="37" y="0"/>
                    </a:lnTo>
                    <a:lnTo>
                      <a:pt x="58" y="46"/>
                    </a:lnTo>
                    <a:lnTo>
                      <a:pt x="49" y="51"/>
                    </a:lnTo>
                    <a:lnTo>
                      <a:pt x="16" y="29"/>
                    </a:lnTo>
                    <a:lnTo>
                      <a:pt x="30" y="59"/>
                    </a:lnTo>
                    <a:lnTo>
                      <a:pt x="21" y="6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160" name="îṧľíḍe"/>
              <p:cNvSpPr/>
              <p:nvPr/>
            </p:nvSpPr>
            <p:spPr bwMode="auto">
              <a:xfrm>
                <a:off x="2781197" y="5963240"/>
                <a:ext cx="85725" cy="95250"/>
              </a:xfrm>
              <a:custGeom>
                <a:avLst/>
                <a:gdLst>
                  <a:gd name="T0" fmla="*/ 0 w 47"/>
                  <a:gd name="T1" fmla="*/ 13 h 51"/>
                  <a:gd name="T2" fmla="*/ 14 w 47"/>
                  <a:gd name="T3" fmla="*/ 4 h 51"/>
                  <a:gd name="T4" fmla="*/ 22 w 47"/>
                  <a:gd name="T5" fmla="*/ 1 h 51"/>
                  <a:gd name="T6" fmla="*/ 29 w 47"/>
                  <a:gd name="T7" fmla="*/ 1 h 51"/>
                  <a:gd name="T8" fmla="*/ 37 w 47"/>
                  <a:gd name="T9" fmla="*/ 5 h 51"/>
                  <a:gd name="T10" fmla="*/ 43 w 47"/>
                  <a:gd name="T11" fmla="*/ 14 h 51"/>
                  <a:gd name="T12" fmla="*/ 47 w 47"/>
                  <a:gd name="T13" fmla="*/ 22 h 51"/>
                  <a:gd name="T14" fmla="*/ 46 w 47"/>
                  <a:gd name="T15" fmla="*/ 31 h 51"/>
                  <a:gd name="T16" fmla="*/ 43 w 47"/>
                  <a:gd name="T17" fmla="*/ 38 h 51"/>
                  <a:gd name="T18" fmla="*/ 36 w 47"/>
                  <a:gd name="T19" fmla="*/ 42 h 51"/>
                  <a:gd name="T20" fmla="*/ 22 w 47"/>
                  <a:gd name="T21" fmla="*/ 51 h 51"/>
                  <a:gd name="T22" fmla="*/ 0 w 47"/>
                  <a:gd name="T23" fmla="*/ 13 h 51"/>
                  <a:gd name="T24" fmla="*/ 11 w 47"/>
                  <a:gd name="T25" fmla="*/ 15 h 51"/>
                  <a:gd name="T26" fmla="*/ 26 w 47"/>
                  <a:gd name="T27" fmla="*/ 40 h 51"/>
                  <a:gd name="T28" fmla="*/ 32 w 47"/>
                  <a:gd name="T29" fmla="*/ 37 h 51"/>
                  <a:gd name="T30" fmla="*/ 36 w 47"/>
                  <a:gd name="T31" fmla="*/ 33 h 51"/>
                  <a:gd name="T32" fmla="*/ 38 w 47"/>
                  <a:gd name="T33" fmla="*/ 30 h 51"/>
                  <a:gd name="T34" fmla="*/ 38 w 47"/>
                  <a:gd name="T35" fmla="*/ 25 h 51"/>
                  <a:gd name="T36" fmla="*/ 35 w 47"/>
                  <a:gd name="T37" fmla="*/ 18 h 51"/>
                  <a:gd name="T38" fmla="*/ 30 w 47"/>
                  <a:gd name="T39" fmla="*/ 11 h 51"/>
                  <a:gd name="T40" fmla="*/ 26 w 47"/>
                  <a:gd name="T41" fmla="*/ 9 h 51"/>
                  <a:gd name="T42" fmla="*/ 21 w 47"/>
                  <a:gd name="T43" fmla="*/ 9 h 51"/>
                  <a:gd name="T44" fmla="*/ 15 w 47"/>
                  <a:gd name="T45" fmla="*/ 13 h 51"/>
                  <a:gd name="T46" fmla="*/ 11 w 47"/>
                  <a:gd name="T47" fmla="*/ 15 h 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47" h="51">
                    <a:moveTo>
                      <a:pt x="0" y="13"/>
                    </a:moveTo>
                    <a:cubicBezTo>
                      <a:pt x="14" y="4"/>
                      <a:pt x="14" y="4"/>
                      <a:pt x="14" y="4"/>
                    </a:cubicBezTo>
                    <a:cubicBezTo>
                      <a:pt x="17" y="3"/>
                      <a:pt x="20" y="1"/>
                      <a:pt x="22" y="1"/>
                    </a:cubicBezTo>
                    <a:cubicBezTo>
                      <a:pt x="24" y="0"/>
                      <a:pt x="27" y="0"/>
                      <a:pt x="29" y="1"/>
                    </a:cubicBezTo>
                    <a:cubicBezTo>
                      <a:pt x="32" y="2"/>
                      <a:pt x="34" y="3"/>
                      <a:pt x="37" y="5"/>
                    </a:cubicBezTo>
                    <a:cubicBezTo>
                      <a:pt x="39" y="7"/>
                      <a:pt x="41" y="10"/>
                      <a:pt x="43" y="14"/>
                    </a:cubicBezTo>
                    <a:cubicBezTo>
                      <a:pt x="45" y="17"/>
                      <a:pt x="46" y="20"/>
                      <a:pt x="47" y="22"/>
                    </a:cubicBezTo>
                    <a:cubicBezTo>
                      <a:pt x="47" y="26"/>
                      <a:pt x="47" y="29"/>
                      <a:pt x="46" y="31"/>
                    </a:cubicBezTo>
                    <a:cubicBezTo>
                      <a:pt x="46" y="34"/>
                      <a:pt x="45" y="36"/>
                      <a:pt x="43" y="38"/>
                    </a:cubicBezTo>
                    <a:cubicBezTo>
                      <a:pt x="41" y="39"/>
                      <a:pt x="39" y="41"/>
                      <a:pt x="36" y="42"/>
                    </a:cubicBezTo>
                    <a:cubicBezTo>
                      <a:pt x="22" y="51"/>
                      <a:pt x="22" y="51"/>
                      <a:pt x="22" y="51"/>
                    </a:cubicBezTo>
                    <a:lnTo>
                      <a:pt x="0" y="13"/>
                    </a:lnTo>
                    <a:close/>
                    <a:moveTo>
                      <a:pt x="11" y="15"/>
                    </a:moveTo>
                    <a:cubicBezTo>
                      <a:pt x="26" y="40"/>
                      <a:pt x="26" y="40"/>
                      <a:pt x="26" y="40"/>
                    </a:cubicBezTo>
                    <a:cubicBezTo>
                      <a:pt x="32" y="37"/>
                      <a:pt x="32" y="37"/>
                      <a:pt x="32" y="37"/>
                    </a:cubicBezTo>
                    <a:cubicBezTo>
                      <a:pt x="34" y="35"/>
                      <a:pt x="35" y="34"/>
                      <a:pt x="36" y="33"/>
                    </a:cubicBezTo>
                    <a:cubicBezTo>
                      <a:pt x="37" y="32"/>
                      <a:pt x="38" y="31"/>
                      <a:pt x="38" y="30"/>
                    </a:cubicBezTo>
                    <a:cubicBezTo>
                      <a:pt x="39" y="29"/>
                      <a:pt x="39" y="27"/>
                      <a:pt x="38" y="25"/>
                    </a:cubicBezTo>
                    <a:cubicBezTo>
                      <a:pt x="38" y="23"/>
                      <a:pt x="37" y="21"/>
                      <a:pt x="35" y="18"/>
                    </a:cubicBezTo>
                    <a:cubicBezTo>
                      <a:pt x="33" y="15"/>
                      <a:pt x="32" y="13"/>
                      <a:pt x="30" y="11"/>
                    </a:cubicBezTo>
                    <a:cubicBezTo>
                      <a:pt x="29" y="10"/>
                      <a:pt x="27" y="9"/>
                      <a:pt x="26" y="9"/>
                    </a:cubicBezTo>
                    <a:cubicBezTo>
                      <a:pt x="25" y="9"/>
                      <a:pt x="23" y="9"/>
                      <a:pt x="21" y="9"/>
                    </a:cubicBezTo>
                    <a:cubicBezTo>
                      <a:pt x="20" y="10"/>
                      <a:pt x="18" y="11"/>
                      <a:pt x="15" y="13"/>
                    </a:cubicBezTo>
                    <a:lnTo>
                      <a:pt x="11" y="1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161" name="ïṩḻiḍe"/>
              <p:cNvSpPr/>
              <p:nvPr/>
            </p:nvSpPr>
            <p:spPr bwMode="auto">
              <a:xfrm>
                <a:off x="2876447" y="5888628"/>
                <a:ext cx="80963" cy="88900"/>
              </a:xfrm>
              <a:custGeom>
                <a:avLst/>
                <a:gdLst>
                  <a:gd name="T0" fmla="*/ 43 w 51"/>
                  <a:gd name="T1" fmla="*/ 56 h 56"/>
                  <a:gd name="T2" fmla="*/ 16 w 51"/>
                  <a:gd name="T3" fmla="*/ 22 h 56"/>
                  <a:gd name="T4" fmla="*/ 5 w 51"/>
                  <a:gd name="T5" fmla="*/ 31 h 56"/>
                  <a:gd name="T6" fmla="*/ 0 w 51"/>
                  <a:gd name="T7" fmla="*/ 25 h 56"/>
                  <a:gd name="T8" fmla="*/ 31 w 51"/>
                  <a:gd name="T9" fmla="*/ 0 h 56"/>
                  <a:gd name="T10" fmla="*/ 37 w 51"/>
                  <a:gd name="T11" fmla="*/ 7 h 56"/>
                  <a:gd name="T12" fmla="*/ 24 w 51"/>
                  <a:gd name="T13" fmla="*/ 16 h 56"/>
                  <a:gd name="T14" fmla="*/ 51 w 51"/>
                  <a:gd name="T15" fmla="*/ 49 h 56"/>
                  <a:gd name="T16" fmla="*/ 43 w 51"/>
                  <a:gd name="T17" fmla="*/ 56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1" h="56">
                    <a:moveTo>
                      <a:pt x="43" y="56"/>
                    </a:moveTo>
                    <a:lnTo>
                      <a:pt x="16" y="22"/>
                    </a:lnTo>
                    <a:lnTo>
                      <a:pt x="5" y="31"/>
                    </a:lnTo>
                    <a:lnTo>
                      <a:pt x="0" y="25"/>
                    </a:lnTo>
                    <a:lnTo>
                      <a:pt x="31" y="0"/>
                    </a:lnTo>
                    <a:lnTo>
                      <a:pt x="37" y="7"/>
                    </a:lnTo>
                    <a:lnTo>
                      <a:pt x="24" y="16"/>
                    </a:lnTo>
                    <a:lnTo>
                      <a:pt x="51" y="49"/>
                    </a:lnTo>
                    <a:lnTo>
                      <a:pt x="43" y="56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162" name="íśļïḓè"/>
              <p:cNvSpPr/>
              <p:nvPr/>
            </p:nvSpPr>
            <p:spPr bwMode="auto">
              <a:xfrm>
                <a:off x="2925659" y="5845765"/>
                <a:ext cx="101600" cy="100013"/>
              </a:xfrm>
              <a:custGeom>
                <a:avLst/>
                <a:gdLst>
                  <a:gd name="T0" fmla="*/ 36 w 64"/>
                  <a:gd name="T1" fmla="*/ 63 h 63"/>
                  <a:gd name="T2" fmla="*/ 0 w 64"/>
                  <a:gd name="T3" fmla="*/ 26 h 63"/>
                  <a:gd name="T4" fmla="*/ 28 w 64"/>
                  <a:gd name="T5" fmla="*/ 0 h 63"/>
                  <a:gd name="T6" fmla="*/ 34 w 64"/>
                  <a:gd name="T7" fmla="*/ 6 h 63"/>
                  <a:gd name="T8" fmla="*/ 14 w 64"/>
                  <a:gd name="T9" fmla="*/ 26 h 63"/>
                  <a:gd name="T10" fmla="*/ 22 w 64"/>
                  <a:gd name="T11" fmla="*/ 34 h 63"/>
                  <a:gd name="T12" fmla="*/ 41 w 64"/>
                  <a:gd name="T13" fmla="*/ 16 h 63"/>
                  <a:gd name="T14" fmla="*/ 47 w 64"/>
                  <a:gd name="T15" fmla="*/ 22 h 63"/>
                  <a:gd name="T16" fmla="*/ 28 w 64"/>
                  <a:gd name="T17" fmla="*/ 39 h 63"/>
                  <a:gd name="T18" fmla="*/ 38 w 64"/>
                  <a:gd name="T19" fmla="*/ 50 h 63"/>
                  <a:gd name="T20" fmla="*/ 58 w 64"/>
                  <a:gd name="T21" fmla="*/ 30 h 63"/>
                  <a:gd name="T22" fmla="*/ 64 w 64"/>
                  <a:gd name="T23" fmla="*/ 36 h 63"/>
                  <a:gd name="T24" fmla="*/ 36 w 64"/>
                  <a:gd name="T25" fmla="*/ 63 h 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4" h="63">
                    <a:moveTo>
                      <a:pt x="36" y="63"/>
                    </a:moveTo>
                    <a:lnTo>
                      <a:pt x="0" y="26"/>
                    </a:lnTo>
                    <a:lnTo>
                      <a:pt x="28" y="0"/>
                    </a:lnTo>
                    <a:lnTo>
                      <a:pt x="34" y="6"/>
                    </a:lnTo>
                    <a:lnTo>
                      <a:pt x="14" y="26"/>
                    </a:lnTo>
                    <a:lnTo>
                      <a:pt x="22" y="34"/>
                    </a:lnTo>
                    <a:lnTo>
                      <a:pt x="41" y="16"/>
                    </a:lnTo>
                    <a:lnTo>
                      <a:pt x="47" y="22"/>
                    </a:lnTo>
                    <a:lnTo>
                      <a:pt x="28" y="39"/>
                    </a:lnTo>
                    <a:lnTo>
                      <a:pt x="38" y="50"/>
                    </a:lnTo>
                    <a:lnTo>
                      <a:pt x="58" y="30"/>
                    </a:lnTo>
                    <a:lnTo>
                      <a:pt x="64" y="36"/>
                    </a:lnTo>
                    <a:lnTo>
                      <a:pt x="36" y="6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163" name="íṩḻîde"/>
              <p:cNvSpPr/>
              <p:nvPr/>
            </p:nvSpPr>
            <p:spPr bwMode="auto">
              <a:xfrm>
                <a:off x="2985984" y="5801315"/>
                <a:ext cx="82550" cy="80963"/>
              </a:xfrm>
              <a:custGeom>
                <a:avLst/>
                <a:gdLst>
                  <a:gd name="T0" fmla="*/ 34 w 45"/>
                  <a:gd name="T1" fmla="*/ 19 h 44"/>
                  <a:gd name="T2" fmla="*/ 41 w 45"/>
                  <a:gd name="T3" fmla="*/ 14 h 44"/>
                  <a:gd name="T4" fmla="*/ 45 w 45"/>
                  <a:gd name="T5" fmla="*/ 26 h 44"/>
                  <a:gd name="T6" fmla="*/ 40 w 45"/>
                  <a:gd name="T7" fmla="*/ 37 h 44"/>
                  <a:gd name="T8" fmla="*/ 26 w 45"/>
                  <a:gd name="T9" fmla="*/ 44 h 44"/>
                  <a:gd name="T10" fmla="*/ 10 w 45"/>
                  <a:gd name="T11" fmla="*/ 38 h 44"/>
                  <a:gd name="T12" fmla="*/ 1 w 45"/>
                  <a:gd name="T13" fmla="*/ 22 h 44"/>
                  <a:gd name="T14" fmla="*/ 6 w 45"/>
                  <a:gd name="T15" fmla="*/ 7 h 44"/>
                  <a:gd name="T16" fmla="*/ 18 w 45"/>
                  <a:gd name="T17" fmla="*/ 0 h 44"/>
                  <a:gd name="T18" fmla="*/ 27 w 45"/>
                  <a:gd name="T19" fmla="*/ 2 h 44"/>
                  <a:gd name="T20" fmla="*/ 23 w 45"/>
                  <a:gd name="T21" fmla="*/ 10 h 44"/>
                  <a:gd name="T22" fmla="*/ 17 w 45"/>
                  <a:gd name="T23" fmla="*/ 9 h 44"/>
                  <a:gd name="T24" fmla="*/ 11 w 45"/>
                  <a:gd name="T25" fmla="*/ 12 h 44"/>
                  <a:gd name="T26" fmla="*/ 9 w 45"/>
                  <a:gd name="T27" fmla="*/ 21 h 44"/>
                  <a:gd name="T28" fmla="*/ 15 w 45"/>
                  <a:gd name="T29" fmla="*/ 30 h 44"/>
                  <a:gd name="T30" fmla="*/ 26 w 45"/>
                  <a:gd name="T31" fmla="*/ 36 h 44"/>
                  <a:gd name="T32" fmla="*/ 34 w 45"/>
                  <a:gd name="T33" fmla="*/ 32 h 44"/>
                  <a:gd name="T34" fmla="*/ 36 w 45"/>
                  <a:gd name="T35" fmla="*/ 26 h 44"/>
                  <a:gd name="T36" fmla="*/ 34 w 45"/>
                  <a:gd name="T37" fmla="*/ 19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45" h="44">
                    <a:moveTo>
                      <a:pt x="34" y="19"/>
                    </a:moveTo>
                    <a:cubicBezTo>
                      <a:pt x="41" y="14"/>
                      <a:pt x="41" y="14"/>
                      <a:pt x="41" y="14"/>
                    </a:cubicBezTo>
                    <a:cubicBezTo>
                      <a:pt x="44" y="18"/>
                      <a:pt x="45" y="22"/>
                      <a:pt x="45" y="26"/>
                    </a:cubicBezTo>
                    <a:cubicBezTo>
                      <a:pt x="45" y="30"/>
                      <a:pt x="43" y="34"/>
                      <a:pt x="40" y="37"/>
                    </a:cubicBezTo>
                    <a:cubicBezTo>
                      <a:pt x="36" y="42"/>
                      <a:pt x="31" y="44"/>
                      <a:pt x="26" y="44"/>
                    </a:cubicBezTo>
                    <a:cubicBezTo>
                      <a:pt x="21" y="44"/>
                      <a:pt x="15" y="42"/>
                      <a:pt x="10" y="38"/>
                    </a:cubicBezTo>
                    <a:cubicBezTo>
                      <a:pt x="4" y="33"/>
                      <a:pt x="1" y="28"/>
                      <a:pt x="1" y="22"/>
                    </a:cubicBezTo>
                    <a:cubicBezTo>
                      <a:pt x="0" y="17"/>
                      <a:pt x="2" y="12"/>
                      <a:pt x="6" y="7"/>
                    </a:cubicBezTo>
                    <a:cubicBezTo>
                      <a:pt x="10" y="3"/>
                      <a:pt x="14" y="1"/>
                      <a:pt x="18" y="0"/>
                    </a:cubicBezTo>
                    <a:cubicBezTo>
                      <a:pt x="21" y="0"/>
                      <a:pt x="24" y="1"/>
                      <a:pt x="27" y="2"/>
                    </a:cubicBezTo>
                    <a:cubicBezTo>
                      <a:pt x="23" y="10"/>
                      <a:pt x="23" y="10"/>
                      <a:pt x="23" y="10"/>
                    </a:cubicBezTo>
                    <a:cubicBezTo>
                      <a:pt x="21" y="9"/>
                      <a:pt x="19" y="9"/>
                      <a:pt x="17" y="9"/>
                    </a:cubicBezTo>
                    <a:cubicBezTo>
                      <a:pt x="15" y="9"/>
                      <a:pt x="13" y="11"/>
                      <a:pt x="11" y="12"/>
                    </a:cubicBezTo>
                    <a:cubicBezTo>
                      <a:pt x="9" y="15"/>
                      <a:pt x="8" y="18"/>
                      <a:pt x="9" y="21"/>
                    </a:cubicBezTo>
                    <a:cubicBezTo>
                      <a:pt x="9" y="24"/>
                      <a:pt x="12" y="27"/>
                      <a:pt x="15" y="30"/>
                    </a:cubicBezTo>
                    <a:cubicBezTo>
                      <a:pt x="20" y="34"/>
                      <a:pt x="23" y="36"/>
                      <a:pt x="26" y="36"/>
                    </a:cubicBezTo>
                    <a:cubicBezTo>
                      <a:pt x="29" y="36"/>
                      <a:pt x="32" y="35"/>
                      <a:pt x="34" y="32"/>
                    </a:cubicBezTo>
                    <a:cubicBezTo>
                      <a:pt x="36" y="31"/>
                      <a:pt x="36" y="29"/>
                      <a:pt x="36" y="26"/>
                    </a:cubicBezTo>
                    <a:cubicBezTo>
                      <a:pt x="36" y="24"/>
                      <a:pt x="35" y="22"/>
                      <a:pt x="34" y="1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164" name="îŝḷïḓê"/>
              <p:cNvSpPr/>
              <p:nvPr/>
            </p:nvSpPr>
            <p:spPr bwMode="auto">
              <a:xfrm>
                <a:off x="3022497" y="5733053"/>
                <a:ext cx="103188" cy="101600"/>
              </a:xfrm>
              <a:custGeom>
                <a:avLst/>
                <a:gdLst>
                  <a:gd name="T0" fmla="*/ 42 w 65"/>
                  <a:gd name="T1" fmla="*/ 64 h 64"/>
                  <a:gd name="T2" fmla="*/ 0 w 65"/>
                  <a:gd name="T3" fmla="*/ 34 h 64"/>
                  <a:gd name="T4" fmla="*/ 6 w 65"/>
                  <a:gd name="T5" fmla="*/ 26 h 64"/>
                  <a:gd name="T6" fmla="*/ 22 w 65"/>
                  <a:gd name="T7" fmla="*/ 37 h 64"/>
                  <a:gd name="T8" fmla="*/ 33 w 65"/>
                  <a:gd name="T9" fmla="*/ 21 h 64"/>
                  <a:gd name="T10" fmla="*/ 17 w 65"/>
                  <a:gd name="T11" fmla="*/ 9 h 64"/>
                  <a:gd name="T12" fmla="*/ 23 w 65"/>
                  <a:gd name="T13" fmla="*/ 0 h 64"/>
                  <a:gd name="T14" fmla="*/ 65 w 65"/>
                  <a:gd name="T15" fmla="*/ 30 h 64"/>
                  <a:gd name="T16" fmla="*/ 59 w 65"/>
                  <a:gd name="T17" fmla="*/ 38 h 64"/>
                  <a:gd name="T18" fmla="*/ 40 w 65"/>
                  <a:gd name="T19" fmla="*/ 26 h 64"/>
                  <a:gd name="T20" fmla="*/ 29 w 65"/>
                  <a:gd name="T21" fmla="*/ 42 h 64"/>
                  <a:gd name="T22" fmla="*/ 47 w 65"/>
                  <a:gd name="T23" fmla="*/ 55 h 64"/>
                  <a:gd name="T24" fmla="*/ 42 w 65"/>
                  <a:gd name="T25" fmla="*/ 64 h 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5" h="64">
                    <a:moveTo>
                      <a:pt x="42" y="64"/>
                    </a:moveTo>
                    <a:lnTo>
                      <a:pt x="0" y="34"/>
                    </a:lnTo>
                    <a:lnTo>
                      <a:pt x="6" y="26"/>
                    </a:lnTo>
                    <a:lnTo>
                      <a:pt x="22" y="37"/>
                    </a:lnTo>
                    <a:lnTo>
                      <a:pt x="33" y="21"/>
                    </a:lnTo>
                    <a:lnTo>
                      <a:pt x="17" y="9"/>
                    </a:lnTo>
                    <a:lnTo>
                      <a:pt x="23" y="0"/>
                    </a:lnTo>
                    <a:lnTo>
                      <a:pt x="65" y="30"/>
                    </a:lnTo>
                    <a:lnTo>
                      <a:pt x="59" y="38"/>
                    </a:lnTo>
                    <a:lnTo>
                      <a:pt x="40" y="26"/>
                    </a:lnTo>
                    <a:lnTo>
                      <a:pt x="29" y="42"/>
                    </a:lnTo>
                    <a:lnTo>
                      <a:pt x="47" y="55"/>
                    </a:lnTo>
                    <a:lnTo>
                      <a:pt x="42" y="6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165" name="îşḷîḑe"/>
              <p:cNvSpPr/>
              <p:nvPr/>
            </p:nvSpPr>
            <p:spPr bwMode="auto">
              <a:xfrm>
                <a:off x="3062184" y="5672728"/>
                <a:ext cx="103188" cy="95250"/>
              </a:xfrm>
              <a:custGeom>
                <a:avLst/>
                <a:gdLst>
                  <a:gd name="T0" fmla="*/ 44 w 65"/>
                  <a:gd name="T1" fmla="*/ 60 h 60"/>
                  <a:gd name="T2" fmla="*/ 0 w 65"/>
                  <a:gd name="T3" fmla="*/ 34 h 60"/>
                  <a:gd name="T4" fmla="*/ 5 w 65"/>
                  <a:gd name="T5" fmla="*/ 26 h 60"/>
                  <a:gd name="T6" fmla="*/ 46 w 65"/>
                  <a:gd name="T7" fmla="*/ 24 h 60"/>
                  <a:gd name="T8" fmla="*/ 15 w 65"/>
                  <a:gd name="T9" fmla="*/ 8 h 60"/>
                  <a:gd name="T10" fmla="*/ 20 w 65"/>
                  <a:gd name="T11" fmla="*/ 0 h 60"/>
                  <a:gd name="T12" fmla="*/ 65 w 65"/>
                  <a:gd name="T13" fmla="*/ 24 h 60"/>
                  <a:gd name="T14" fmla="*/ 59 w 65"/>
                  <a:gd name="T15" fmla="*/ 33 h 60"/>
                  <a:gd name="T16" fmla="*/ 20 w 65"/>
                  <a:gd name="T17" fmla="*/ 34 h 60"/>
                  <a:gd name="T18" fmla="*/ 49 w 65"/>
                  <a:gd name="T19" fmla="*/ 52 h 60"/>
                  <a:gd name="T20" fmla="*/ 44 w 65"/>
                  <a:gd name="T21" fmla="*/ 60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65" h="60">
                    <a:moveTo>
                      <a:pt x="44" y="60"/>
                    </a:moveTo>
                    <a:lnTo>
                      <a:pt x="0" y="34"/>
                    </a:lnTo>
                    <a:lnTo>
                      <a:pt x="5" y="26"/>
                    </a:lnTo>
                    <a:lnTo>
                      <a:pt x="46" y="24"/>
                    </a:lnTo>
                    <a:lnTo>
                      <a:pt x="15" y="8"/>
                    </a:lnTo>
                    <a:lnTo>
                      <a:pt x="20" y="0"/>
                    </a:lnTo>
                    <a:lnTo>
                      <a:pt x="65" y="24"/>
                    </a:lnTo>
                    <a:lnTo>
                      <a:pt x="59" y="33"/>
                    </a:lnTo>
                    <a:lnTo>
                      <a:pt x="20" y="34"/>
                    </a:lnTo>
                    <a:lnTo>
                      <a:pt x="49" y="52"/>
                    </a:lnTo>
                    <a:lnTo>
                      <a:pt x="44" y="6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166" name="îşḷïḋê"/>
              <p:cNvSpPr/>
              <p:nvPr/>
            </p:nvSpPr>
            <p:spPr bwMode="auto">
              <a:xfrm>
                <a:off x="3106634" y="5606053"/>
                <a:ext cx="87313" cy="84138"/>
              </a:xfrm>
              <a:custGeom>
                <a:avLst/>
                <a:gdLst>
                  <a:gd name="T0" fmla="*/ 15 w 47"/>
                  <a:gd name="T1" fmla="*/ 43 h 46"/>
                  <a:gd name="T2" fmla="*/ 5 w 47"/>
                  <a:gd name="T3" fmla="*/ 36 h 46"/>
                  <a:gd name="T4" fmla="*/ 2 w 47"/>
                  <a:gd name="T5" fmla="*/ 30 h 46"/>
                  <a:gd name="T6" fmla="*/ 0 w 47"/>
                  <a:gd name="T7" fmla="*/ 23 h 46"/>
                  <a:gd name="T8" fmla="*/ 2 w 47"/>
                  <a:gd name="T9" fmla="*/ 14 h 46"/>
                  <a:gd name="T10" fmla="*/ 14 w 47"/>
                  <a:gd name="T11" fmla="*/ 2 h 46"/>
                  <a:gd name="T12" fmla="*/ 32 w 47"/>
                  <a:gd name="T13" fmla="*/ 3 h 46"/>
                  <a:gd name="T14" fmla="*/ 45 w 47"/>
                  <a:gd name="T15" fmla="*/ 15 h 46"/>
                  <a:gd name="T16" fmla="*/ 44 w 47"/>
                  <a:gd name="T17" fmla="*/ 32 h 46"/>
                  <a:gd name="T18" fmla="*/ 32 w 47"/>
                  <a:gd name="T19" fmla="*/ 44 h 46"/>
                  <a:gd name="T20" fmla="*/ 15 w 47"/>
                  <a:gd name="T21" fmla="*/ 43 h 46"/>
                  <a:gd name="T22" fmla="*/ 18 w 47"/>
                  <a:gd name="T23" fmla="*/ 34 h 46"/>
                  <a:gd name="T24" fmla="*/ 30 w 47"/>
                  <a:gd name="T25" fmla="*/ 35 h 46"/>
                  <a:gd name="T26" fmla="*/ 37 w 47"/>
                  <a:gd name="T27" fmla="*/ 29 h 46"/>
                  <a:gd name="T28" fmla="*/ 37 w 47"/>
                  <a:gd name="T29" fmla="*/ 19 h 46"/>
                  <a:gd name="T30" fmla="*/ 28 w 47"/>
                  <a:gd name="T31" fmla="*/ 12 h 46"/>
                  <a:gd name="T32" fmla="*/ 16 w 47"/>
                  <a:gd name="T33" fmla="*/ 10 h 46"/>
                  <a:gd name="T34" fmla="*/ 9 w 47"/>
                  <a:gd name="T35" fmla="*/ 17 h 46"/>
                  <a:gd name="T36" fmla="*/ 9 w 47"/>
                  <a:gd name="T37" fmla="*/ 27 h 46"/>
                  <a:gd name="T38" fmla="*/ 18 w 47"/>
                  <a:gd name="T39" fmla="*/ 34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47" h="46">
                    <a:moveTo>
                      <a:pt x="15" y="43"/>
                    </a:moveTo>
                    <a:cubicBezTo>
                      <a:pt x="11" y="41"/>
                      <a:pt x="8" y="39"/>
                      <a:pt x="5" y="36"/>
                    </a:cubicBezTo>
                    <a:cubicBezTo>
                      <a:pt x="4" y="34"/>
                      <a:pt x="2" y="32"/>
                      <a:pt x="2" y="30"/>
                    </a:cubicBezTo>
                    <a:cubicBezTo>
                      <a:pt x="1" y="28"/>
                      <a:pt x="0" y="26"/>
                      <a:pt x="0" y="23"/>
                    </a:cubicBezTo>
                    <a:cubicBezTo>
                      <a:pt x="0" y="20"/>
                      <a:pt x="1" y="17"/>
                      <a:pt x="2" y="14"/>
                    </a:cubicBezTo>
                    <a:cubicBezTo>
                      <a:pt x="5" y="8"/>
                      <a:pt x="9" y="4"/>
                      <a:pt x="14" y="2"/>
                    </a:cubicBezTo>
                    <a:cubicBezTo>
                      <a:pt x="19" y="0"/>
                      <a:pt x="25" y="1"/>
                      <a:pt x="32" y="3"/>
                    </a:cubicBezTo>
                    <a:cubicBezTo>
                      <a:pt x="38" y="6"/>
                      <a:pt x="43" y="10"/>
                      <a:pt x="45" y="15"/>
                    </a:cubicBezTo>
                    <a:cubicBezTo>
                      <a:pt x="47" y="21"/>
                      <a:pt x="47" y="26"/>
                      <a:pt x="44" y="32"/>
                    </a:cubicBezTo>
                    <a:cubicBezTo>
                      <a:pt x="41" y="38"/>
                      <a:pt x="38" y="42"/>
                      <a:pt x="32" y="44"/>
                    </a:cubicBezTo>
                    <a:cubicBezTo>
                      <a:pt x="27" y="46"/>
                      <a:pt x="21" y="45"/>
                      <a:pt x="15" y="43"/>
                    </a:cubicBezTo>
                    <a:close/>
                    <a:moveTo>
                      <a:pt x="18" y="34"/>
                    </a:moveTo>
                    <a:cubicBezTo>
                      <a:pt x="23" y="36"/>
                      <a:pt x="27" y="37"/>
                      <a:pt x="30" y="35"/>
                    </a:cubicBezTo>
                    <a:cubicBezTo>
                      <a:pt x="33" y="34"/>
                      <a:pt x="36" y="32"/>
                      <a:pt x="37" y="29"/>
                    </a:cubicBezTo>
                    <a:cubicBezTo>
                      <a:pt x="39" y="26"/>
                      <a:pt x="39" y="23"/>
                      <a:pt x="37" y="19"/>
                    </a:cubicBezTo>
                    <a:cubicBezTo>
                      <a:pt x="36" y="16"/>
                      <a:pt x="33" y="14"/>
                      <a:pt x="28" y="12"/>
                    </a:cubicBezTo>
                    <a:cubicBezTo>
                      <a:pt x="23" y="10"/>
                      <a:pt x="19" y="9"/>
                      <a:pt x="16" y="10"/>
                    </a:cubicBezTo>
                    <a:cubicBezTo>
                      <a:pt x="13" y="11"/>
                      <a:pt x="11" y="14"/>
                      <a:pt x="9" y="17"/>
                    </a:cubicBezTo>
                    <a:cubicBezTo>
                      <a:pt x="8" y="20"/>
                      <a:pt x="8" y="23"/>
                      <a:pt x="9" y="27"/>
                    </a:cubicBezTo>
                    <a:cubicBezTo>
                      <a:pt x="11" y="30"/>
                      <a:pt x="14" y="32"/>
                      <a:pt x="18" y="3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167" name="îṣlïḍè"/>
              <p:cNvSpPr/>
              <p:nvPr/>
            </p:nvSpPr>
            <p:spPr bwMode="auto">
              <a:xfrm>
                <a:off x="3128859" y="5560015"/>
                <a:ext cx="93663" cy="57150"/>
              </a:xfrm>
              <a:custGeom>
                <a:avLst/>
                <a:gdLst>
                  <a:gd name="T0" fmla="*/ 49 w 59"/>
                  <a:gd name="T1" fmla="*/ 36 h 36"/>
                  <a:gd name="T2" fmla="*/ 0 w 59"/>
                  <a:gd name="T3" fmla="*/ 21 h 36"/>
                  <a:gd name="T4" fmla="*/ 4 w 59"/>
                  <a:gd name="T5" fmla="*/ 10 h 36"/>
                  <a:gd name="T6" fmla="*/ 43 w 59"/>
                  <a:gd name="T7" fmla="*/ 24 h 36"/>
                  <a:gd name="T8" fmla="*/ 51 w 59"/>
                  <a:gd name="T9" fmla="*/ 0 h 36"/>
                  <a:gd name="T10" fmla="*/ 59 w 59"/>
                  <a:gd name="T11" fmla="*/ 2 h 36"/>
                  <a:gd name="T12" fmla="*/ 49 w 59"/>
                  <a:gd name="T13" fmla="*/ 36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59" h="36">
                    <a:moveTo>
                      <a:pt x="49" y="36"/>
                    </a:moveTo>
                    <a:lnTo>
                      <a:pt x="0" y="21"/>
                    </a:lnTo>
                    <a:lnTo>
                      <a:pt x="4" y="10"/>
                    </a:lnTo>
                    <a:lnTo>
                      <a:pt x="43" y="24"/>
                    </a:lnTo>
                    <a:lnTo>
                      <a:pt x="51" y="0"/>
                    </a:lnTo>
                    <a:lnTo>
                      <a:pt x="59" y="2"/>
                    </a:lnTo>
                    <a:lnTo>
                      <a:pt x="49" y="36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168" name="ïṩḷîḓê"/>
              <p:cNvSpPr/>
              <p:nvPr/>
            </p:nvSpPr>
            <p:spPr bwMode="auto">
              <a:xfrm>
                <a:off x="3152672" y="5469528"/>
                <a:ext cx="85725" cy="80963"/>
              </a:xfrm>
              <a:custGeom>
                <a:avLst/>
                <a:gdLst>
                  <a:gd name="T0" fmla="*/ 18 w 46"/>
                  <a:gd name="T1" fmla="*/ 43 h 44"/>
                  <a:gd name="T2" fmla="*/ 8 w 46"/>
                  <a:gd name="T3" fmla="*/ 38 h 44"/>
                  <a:gd name="T4" fmla="*/ 3 w 46"/>
                  <a:gd name="T5" fmla="*/ 33 h 44"/>
                  <a:gd name="T6" fmla="*/ 0 w 46"/>
                  <a:gd name="T7" fmla="*/ 27 h 44"/>
                  <a:gd name="T8" fmla="*/ 1 w 46"/>
                  <a:gd name="T9" fmla="*/ 17 h 44"/>
                  <a:gd name="T10" fmla="*/ 10 w 46"/>
                  <a:gd name="T11" fmla="*/ 3 h 44"/>
                  <a:gd name="T12" fmla="*/ 28 w 46"/>
                  <a:gd name="T13" fmla="*/ 1 h 44"/>
                  <a:gd name="T14" fmla="*/ 43 w 46"/>
                  <a:gd name="T15" fmla="*/ 11 h 44"/>
                  <a:gd name="T16" fmla="*/ 45 w 46"/>
                  <a:gd name="T17" fmla="*/ 27 h 44"/>
                  <a:gd name="T18" fmla="*/ 36 w 46"/>
                  <a:gd name="T19" fmla="*/ 41 h 44"/>
                  <a:gd name="T20" fmla="*/ 18 w 46"/>
                  <a:gd name="T21" fmla="*/ 43 h 44"/>
                  <a:gd name="T22" fmla="*/ 20 w 46"/>
                  <a:gd name="T23" fmla="*/ 34 h 44"/>
                  <a:gd name="T24" fmla="*/ 32 w 46"/>
                  <a:gd name="T25" fmla="*/ 33 h 44"/>
                  <a:gd name="T26" fmla="*/ 38 w 46"/>
                  <a:gd name="T27" fmla="*/ 25 h 44"/>
                  <a:gd name="T28" fmla="*/ 36 w 46"/>
                  <a:gd name="T29" fmla="*/ 16 h 44"/>
                  <a:gd name="T30" fmla="*/ 25 w 46"/>
                  <a:gd name="T31" fmla="*/ 10 h 44"/>
                  <a:gd name="T32" fmla="*/ 14 w 46"/>
                  <a:gd name="T33" fmla="*/ 11 h 44"/>
                  <a:gd name="T34" fmla="*/ 8 w 46"/>
                  <a:gd name="T35" fmla="*/ 19 h 44"/>
                  <a:gd name="T36" fmla="*/ 10 w 46"/>
                  <a:gd name="T37" fmla="*/ 28 h 44"/>
                  <a:gd name="T38" fmla="*/ 20 w 46"/>
                  <a:gd name="T39" fmla="*/ 34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46" h="44">
                    <a:moveTo>
                      <a:pt x="18" y="43"/>
                    </a:moveTo>
                    <a:cubicBezTo>
                      <a:pt x="14" y="42"/>
                      <a:pt x="10" y="40"/>
                      <a:pt x="8" y="38"/>
                    </a:cubicBezTo>
                    <a:cubicBezTo>
                      <a:pt x="6" y="37"/>
                      <a:pt x="4" y="35"/>
                      <a:pt x="3" y="33"/>
                    </a:cubicBezTo>
                    <a:cubicBezTo>
                      <a:pt x="1" y="31"/>
                      <a:pt x="1" y="29"/>
                      <a:pt x="0" y="27"/>
                    </a:cubicBezTo>
                    <a:cubicBezTo>
                      <a:pt x="0" y="24"/>
                      <a:pt x="0" y="21"/>
                      <a:pt x="1" y="17"/>
                    </a:cubicBezTo>
                    <a:cubicBezTo>
                      <a:pt x="2" y="11"/>
                      <a:pt x="5" y="6"/>
                      <a:pt x="10" y="3"/>
                    </a:cubicBezTo>
                    <a:cubicBezTo>
                      <a:pt x="15" y="0"/>
                      <a:pt x="21" y="0"/>
                      <a:pt x="28" y="1"/>
                    </a:cubicBezTo>
                    <a:cubicBezTo>
                      <a:pt x="34" y="3"/>
                      <a:pt x="39" y="6"/>
                      <a:pt x="43" y="11"/>
                    </a:cubicBezTo>
                    <a:cubicBezTo>
                      <a:pt x="46" y="15"/>
                      <a:pt x="46" y="21"/>
                      <a:pt x="45" y="27"/>
                    </a:cubicBezTo>
                    <a:cubicBezTo>
                      <a:pt x="44" y="33"/>
                      <a:pt x="40" y="38"/>
                      <a:pt x="36" y="41"/>
                    </a:cubicBezTo>
                    <a:cubicBezTo>
                      <a:pt x="31" y="44"/>
                      <a:pt x="25" y="44"/>
                      <a:pt x="18" y="43"/>
                    </a:cubicBezTo>
                    <a:close/>
                    <a:moveTo>
                      <a:pt x="20" y="34"/>
                    </a:moveTo>
                    <a:cubicBezTo>
                      <a:pt x="25" y="35"/>
                      <a:pt x="29" y="35"/>
                      <a:pt x="32" y="33"/>
                    </a:cubicBezTo>
                    <a:cubicBezTo>
                      <a:pt x="35" y="31"/>
                      <a:pt x="37" y="29"/>
                      <a:pt x="38" y="25"/>
                    </a:cubicBezTo>
                    <a:cubicBezTo>
                      <a:pt x="38" y="22"/>
                      <a:pt x="38" y="19"/>
                      <a:pt x="36" y="16"/>
                    </a:cubicBezTo>
                    <a:cubicBezTo>
                      <a:pt x="34" y="13"/>
                      <a:pt x="30" y="11"/>
                      <a:pt x="25" y="10"/>
                    </a:cubicBezTo>
                    <a:cubicBezTo>
                      <a:pt x="20" y="9"/>
                      <a:pt x="16" y="9"/>
                      <a:pt x="14" y="11"/>
                    </a:cubicBezTo>
                    <a:cubicBezTo>
                      <a:pt x="11" y="13"/>
                      <a:pt x="9" y="15"/>
                      <a:pt x="8" y="19"/>
                    </a:cubicBezTo>
                    <a:cubicBezTo>
                      <a:pt x="7" y="22"/>
                      <a:pt x="8" y="25"/>
                      <a:pt x="10" y="28"/>
                    </a:cubicBezTo>
                    <a:cubicBezTo>
                      <a:pt x="12" y="31"/>
                      <a:pt x="15" y="33"/>
                      <a:pt x="20" y="3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169" name="ïSļiďé"/>
              <p:cNvSpPr/>
              <p:nvPr/>
            </p:nvSpPr>
            <p:spPr bwMode="auto">
              <a:xfrm>
                <a:off x="3165372" y="5390153"/>
                <a:ext cx="85725" cy="77788"/>
              </a:xfrm>
              <a:custGeom>
                <a:avLst/>
                <a:gdLst>
                  <a:gd name="T0" fmla="*/ 29 w 46"/>
                  <a:gd name="T1" fmla="*/ 21 h 42"/>
                  <a:gd name="T2" fmla="*/ 22 w 46"/>
                  <a:gd name="T3" fmla="*/ 20 h 42"/>
                  <a:gd name="T4" fmla="*/ 24 w 46"/>
                  <a:gd name="T5" fmla="*/ 1 h 42"/>
                  <a:gd name="T6" fmla="*/ 41 w 46"/>
                  <a:gd name="T7" fmla="*/ 3 h 42"/>
                  <a:gd name="T8" fmla="*/ 45 w 46"/>
                  <a:gd name="T9" fmla="*/ 11 h 42"/>
                  <a:gd name="T10" fmla="*/ 46 w 46"/>
                  <a:gd name="T11" fmla="*/ 22 h 42"/>
                  <a:gd name="T12" fmla="*/ 42 w 46"/>
                  <a:gd name="T13" fmla="*/ 34 h 42"/>
                  <a:gd name="T14" fmla="*/ 33 w 46"/>
                  <a:gd name="T15" fmla="*/ 41 h 42"/>
                  <a:gd name="T16" fmla="*/ 21 w 46"/>
                  <a:gd name="T17" fmla="*/ 42 h 42"/>
                  <a:gd name="T18" fmla="*/ 9 w 46"/>
                  <a:gd name="T19" fmla="*/ 38 h 42"/>
                  <a:gd name="T20" fmla="*/ 2 w 46"/>
                  <a:gd name="T21" fmla="*/ 28 h 42"/>
                  <a:gd name="T22" fmla="*/ 1 w 46"/>
                  <a:gd name="T23" fmla="*/ 18 h 42"/>
                  <a:gd name="T24" fmla="*/ 6 w 46"/>
                  <a:gd name="T25" fmla="*/ 5 h 42"/>
                  <a:gd name="T26" fmla="*/ 16 w 46"/>
                  <a:gd name="T27" fmla="*/ 0 h 42"/>
                  <a:gd name="T28" fmla="*/ 16 w 46"/>
                  <a:gd name="T29" fmla="*/ 9 h 42"/>
                  <a:gd name="T30" fmla="*/ 11 w 46"/>
                  <a:gd name="T31" fmla="*/ 12 h 42"/>
                  <a:gd name="T32" fmla="*/ 8 w 46"/>
                  <a:gd name="T33" fmla="*/ 18 h 42"/>
                  <a:gd name="T34" fmla="*/ 11 w 46"/>
                  <a:gd name="T35" fmla="*/ 28 h 42"/>
                  <a:gd name="T36" fmla="*/ 21 w 46"/>
                  <a:gd name="T37" fmla="*/ 33 h 42"/>
                  <a:gd name="T38" fmla="*/ 34 w 46"/>
                  <a:gd name="T39" fmla="*/ 31 h 42"/>
                  <a:gd name="T40" fmla="*/ 38 w 46"/>
                  <a:gd name="T41" fmla="*/ 22 h 42"/>
                  <a:gd name="T42" fmla="*/ 38 w 46"/>
                  <a:gd name="T43" fmla="*/ 16 h 42"/>
                  <a:gd name="T44" fmla="*/ 36 w 46"/>
                  <a:gd name="T45" fmla="*/ 11 h 42"/>
                  <a:gd name="T46" fmla="*/ 30 w 46"/>
                  <a:gd name="T47" fmla="*/ 11 h 42"/>
                  <a:gd name="T48" fmla="*/ 29 w 46"/>
                  <a:gd name="T49" fmla="*/ 21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46" h="42">
                    <a:moveTo>
                      <a:pt x="29" y="21"/>
                    </a:moveTo>
                    <a:cubicBezTo>
                      <a:pt x="22" y="20"/>
                      <a:pt x="22" y="20"/>
                      <a:pt x="22" y="20"/>
                    </a:cubicBezTo>
                    <a:cubicBezTo>
                      <a:pt x="24" y="1"/>
                      <a:pt x="24" y="1"/>
                      <a:pt x="24" y="1"/>
                    </a:cubicBezTo>
                    <a:cubicBezTo>
                      <a:pt x="41" y="3"/>
                      <a:pt x="41" y="3"/>
                      <a:pt x="41" y="3"/>
                    </a:cubicBezTo>
                    <a:cubicBezTo>
                      <a:pt x="43" y="5"/>
                      <a:pt x="44" y="8"/>
                      <a:pt x="45" y="11"/>
                    </a:cubicBezTo>
                    <a:cubicBezTo>
                      <a:pt x="46" y="15"/>
                      <a:pt x="46" y="19"/>
                      <a:pt x="46" y="22"/>
                    </a:cubicBezTo>
                    <a:cubicBezTo>
                      <a:pt x="46" y="27"/>
                      <a:pt x="44" y="31"/>
                      <a:pt x="42" y="34"/>
                    </a:cubicBezTo>
                    <a:cubicBezTo>
                      <a:pt x="39" y="37"/>
                      <a:pt x="36" y="39"/>
                      <a:pt x="33" y="41"/>
                    </a:cubicBezTo>
                    <a:cubicBezTo>
                      <a:pt x="29" y="42"/>
                      <a:pt x="25" y="42"/>
                      <a:pt x="21" y="42"/>
                    </a:cubicBezTo>
                    <a:cubicBezTo>
                      <a:pt x="16" y="41"/>
                      <a:pt x="12" y="40"/>
                      <a:pt x="9" y="38"/>
                    </a:cubicBezTo>
                    <a:cubicBezTo>
                      <a:pt x="6" y="35"/>
                      <a:pt x="3" y="32"/>
                      <a:pt x="2" y="28"/>
                    </a:cubicBezTo>
                    <a:cubicBezTo>
                      <a:pt x="1" y="25"/>
                      <a:pt x="0" y="22"/>
                      <a:pt x="1" y="18"/>
                    </a:cubicBezTo>
                    <a:cubicBezTo>
                      <a:pt x="1" y="12"/>
                      <a:pt x="3" y="8"/>
                      <a:pt x="6" y="5"/>
                    </a:cubicBezTo>
                    <a:cubicBezTo>
                      <a:pt x="8" y="2"/>
                      <a:pt x="12" y="1"/>
                      <a:pt x="16" y="0"/>
                    </a:cubicBezTo>
                    <a:cubicBezTo>
                      <a:pt x="16" y="9"/>
                      <a:pt x="16" y="9"/>
                      <a:pt x="16" y="9"/>
                    </a:cubicBezTo>
                    <a:cubicBezTo>
                      <a:pt x="14" y="10"/>
                      <a:pt x="12" y="11"/>
                      <a:pt x="11" y="12"/>
                    </a:cubicBezTo>
                    <a:cubicBezTo>
                      <a:pt x="10" y="14"/>
                      <a:pt x="9" y="16"/>
                      <a:pt x="8" y="18"/>
                    </a:cubicBezTo>
                    <a:cubicBezTo>
                      <a:pt x="8" y="22"/>
                      <a:pt x="9" y="25"/>
                      <a:pt x="11" y="28"/>
                    </a:cubicBezTo>
                    <a:cubicBezTo>
                      <a:pt x="13" y="31"/>
                      <a:pt x="17" y="32"/>
                      <a:pt x="21" y="33"/>
                    </a:cubicBezTo>
                    <a:cubicBezTo>
                      <a:pt x="27" y="33"/>
                      <a:pt x="31" y="33"/>
                      <a:pt x="34" y="31"/>
                    </a:cubicBezTo>
                    <a:cubicBezTo>
                      <a:pt x="36" y="29"/>
                      <a:pt x="38" y="26"/>
                      <a:pt x="38" y="22"/>
                    </a:cubicBezTo>
                    <a:cubicBezTo>
                      <a:pt x="39" y="20"/>
                      <a:pt x="39" y="18"/>
                      <a:pt x="38" y="16"/>
                    </a:cubicBezTo>
                    <a:cubicBezTo>
                      <a:pt x="37" y="14"/>
                      <a:pt x="37" y="13"/>
                      <a:pt x="36" y="11"/>
                    </a:cubicBezTo>
                    <a:cubicBezTo>
                      <a:pt x="30" y="11"/>
                      <a:pt x="30" y="11"/>
                      <a:pt x="30" y="11"/>
                    </a:cubicBezTo>
                    <a:lnTo>
                      <a:pt x="29" y="2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170" name="îSḷiḋè"/>
              <p:cNvSpPr/>
              <p:nvPr/>
            </p:nvSpPr>
            <p:spPr bwMode="auto">
              <a:xfrm>
                <a:off x="3173309" y="5313953"/>
                <a:ext cx="80963" cy="76200"/>
              </a:xfrm>
              <a:custGeom>
                <a:avLst/>
                <a:gdLst>
                  <a:gd name="T0" fmla="*/ 51 w 51"/>
                  <a:gd name="T1" fmla="*/ 30 h 48"/>
                  <a:gd name="T2" fmla="*/ 29 w 51"/>
                  <a:gd name="T3" fmla="*/ 29 h 48"/>
                  <a:gd name="T4" fmla="*/ 0 w 51"/>
                  <a:gd name="T5" fmla="*/ 48 h 48"/>
                  <a:gd name="T6" fmla="*/ 0 w 51"/>
                  <a:gd name="T7" fmla="*/ 36 h 48"/>
                  <a:gd name="T8" fmla="*/ 20 w 51"/>
                  <a:gd name="T9" fmla="*/ 24 h 48"/>
                  <a:gd name="T10" fmla="*/ 0 w 51"/>
                  <a:gd name="T11" fmla="*/ 12 h 48"/>
                  <a:gd name="T12" fmla="*/ 0 w 51"/>
                  <a:gd name="T13" fmla="*/ 0 h 48"/>
                  <a:gd name="T14" fmla="*/ 30 w 51"/>
                  <a:gd name="T15" fmla="*/ 20 h 48"/>
                  <a:gd name="T16" fmla="*/ 51 w 51"/>
                  <a:gd name="T17" fmla="*/ 20 h 48"/>
                  <a:gd name="T18" fmla="*/ 51 w 51"/>
                  <a:gd name="T19" fmla="*/ 30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51" h="48">
                    <a:moveTo>
                      <a:pt x="51" y="30"/>
                    </a:moveTo>
                    <a:lnTo>
                      <a:pt x="29" y="29"/>
                    </a:lnTo>
                    <a:lnTo>
                      <a:pt x="0" y="48"/>
                    </a:lnTo>
                    <a:lnTo>
                      <a:pt x="0" y="36"/>
                    </a:lnTo>
                    <a:lnTo>
                      <a:pt x="20" y="24"/>
                    </a:lnTo>
                    <a:lnTo>
                      <a:pt x="0" y="12"/>
                    </a:lnTo>
                    <a:lnTo>
                      <a:pt x="0" y="0"/>
                    </a:lnTo>
                    <a:lnTo>
                      <a:pt x="30" y="20"/>
                    </a:lnTo>
                    <a:lnTo>
                      <a:pt x="51" y="20"/>
                    </a:lnTo>
                    <a:lnTo>
                      <a:pt x="51" y="3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171" name="îṣḷíḋé"/>
              <p:cNvSpPr/>
              <p:nvPr/>
            </p:nvSpPr>
            <p:spPr bwMode="auto">
              <a:xfrm>
                <a:off x="3163784" y="5193303"/>
                <a:ext cx="87313" cy="76200"/>
              </a:xfrm>
              <a:custGeom>
                <a:avLst/>
                <a:gdLst>
                  <a:gd name="T0" fmla="*/ 4 w 47"/>
                  <a:gd name="T1" fmla="*/ 41 h 41"/>
                  <a:gd name="T2" fmla="*/ 1 w 47"/>
                  <a:gd name="T3" fmla="*/ 24 h 41"/>
                  <a:gd name="T4" fmla="*/ 0 w 47"/>
                  <a:gd name="T5" fmla="*/ 16 h 41"/>
                  <a:gd name="T6" fmla="*/ 2 w 47"/>
                  <a:gd name="T7" fmla="*/ 11 h 41"/>
                  <a:gd name="T8" fmla="*/ 5 w 47"/>
                  <a:gd name="T9" fmla="*/ 7 h 41"/>
                  <a:gd name="T10" fmla="*/ 10 w 47"/>
                  <a:gd name="T11" fmla="*/ 5 h 41"/>
                  <a:gd name="T12" fmla="*/ 16 w 47"/>
                  <a:gd name="T13" fmla="*/ 6 h 41"/>
                  <a:gd name="T14" fmla="*/ 20 w 47"/>
                  <a:gd name="T15" fmla="*/ 10 h 41"/>
                  <a:gd name="T16" fmla="*/ 23 w 47"/>
                  <a:gd name="T17" fmla="*/ 3 h 41"/>
                  <a:gd name="T18" fmla="*/ 29 w 47"/>
                  <a:gd name="T19" fmla="*/ 0 h 41"/>
                  <a:gd name="T20" fmla="*/ 35 w 47"/>
                  <a:gd name="T21" fmla="*/ 1 h 41"/>
                  <a:gd name="T22" fmla="*/ 40 w 47"/>
                  <a:gd name="T23" fmla="*/ 4 h 41"/>
                  <a:gd name="T24" fmla="*/ 43 w 47"/>
                  <a:gd name="T25" fmla="*/ 10 h 41"/>
                  <a:gd name="T26" fmla="*/ 45 w 47"/>
                  <a:gd name="T27" fmla="*/ 20 h 41"/>
                  <a:gd name="T28" fmla="*/ 47 w 47"/>
                  <a:gd name="T29" fmla="*/ 35 h 41"/>
                  <a:gd name="T30" fmla="*/ 4 w 47"/>
                  <a:gd name="T31" fmla="*/ 41 h 41"/>
                  <a:gd name="T32" fmla="*/ 10 w 47"/>
                  <a:gd name="T33" fmla="*/ 31 h 41"/>
                  <a:gd name="T34" fmla="*/ 20 w 47"/>
                  <a:gd name="T35" fmla="*/ 30 h 41"/>
                  <a:gd name="T36" fmla="*/ 19 w 47"/>
                  <a:gd name="T37" fmla="*/ 24 h 41"/>
                  <a:gd name="T38" fmla="*/ 18 w 47"/>
                  <a:gd name="T39" fmla="*/ 18 h 41"/>
                  <a:gd name="T40" fmla="*/ 16 w 47"/>
                  <a:gd name="T41" fmla="*/ 15 h 41"/>
                  <a:gd name="T42" fmla="*/ 12 w 47"/>
                  <a:gd name="T43" fmla="*/ 14 h 41"/>
                  <a:gd name="T44" fmla="*/ 9 w 47"/>
                  <a:gd name="T45" fmla="*/ 15 h 41"/>
                  <a:gd name="T46" fmla="*/ 8 w 47"/>
                  <a:gd name="T47" fmla="*/ 19 h 41"/>
                  <a:gd name="T48" fmla="*/ 9 w 47"/>
                  <a:gd name="T49" fmla="*/ 26 h 41"/>
                  <a:gd name="T50" fmla="*/ 10 w 47"/>
                  <a:gd name="T51" fmla="*/ 31 h 41"/>
                  <a:gd name="T52" fmla="*/ 27 w 47"/>
                  <a:gd name="T53" fmla="*/ 29 h 41"/>
                  <a:gd name="T54" fmla="*/ 39 w 47"/>
                  <a:gd name="T55" fmla="*/ 27 h 41"/>
                  <a:gd name="T56" fmla="*/ 37 w 47"/>
                  <a:gd name="T57" fmla="*/ 19 h 41"/>
                  <a:gd name="T58" fmla="*/ 36 w 47"/>
                  <a:gd name="T59" fmla="*/ 13 h 41"/>
                  <a:gd name="T60" fmla="*/ 34 w 47"/>
                  <a:gd name="T61" fmla="*/ 10 h 41"/>
                  <a:gd name="T62" fmla="*/ 30 w 47"/>
                  <a:gd name="T63" fmla="*/ 10 h 41"/>
                  <a:gd name="T64" fmla="*/ 27 w 47"/>
                  <a:gd name="T65" fmla="*/ 11 h 41"/>
                  <a:gd name="T66" fmla="*/ 25 w 47"/>
                  <a:gd name="T67" fmla="*/ 14 h 41"/>
                  <a:gd name="T68" fmla="*/ 26 w 47"/>
                  <a:gd name="T69" fmla="*/ 22 h 41"/>
                  <a:gd name="T70" fmla="*/ 27 w 47"/>
                  <a:gd name="T71" fmla="*/ 29 h 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47" h="41">
                    <a:moveTo>
                      <a:pt x="4" y="41"/>
                    </a:moveTo>
                    <a:cubicBezTo>
                      <a:pt x="1" y="24"/>
                      <a:pt x="1" y="24"/>
                      <a:pt x="1" y="24"/>
                    </a:cubicBezTo>
                    <a:cubicBezTo>
                      <a:pt x="1" y="20"/>
                      <a:pt x="0" y="18"/>
                      <a:pt x="0" y="16"/>
                    </a:cubicBezTo>
                    <a:cubicBezTo>
                      <a:pt x="1" y="14"/>
                      <a:pt x="1" y="13"/>
                      <a:pt x="2" y="11"/>
                    </a:cubicBezTo>
                    <a:cubicBezTo>
                      <a:pt x="2" y="10"/>
                      <a:pt x="3" y="9"/>
                      <a:pt x="5" y="7"/>
                    </a:cubicBezTo>
                    <a:cubicBezTo>
                      <a:pt x="6" y="6"/>
                      <a:pt x="8" y="6"/>
                      <a:pt x="10" y="5"/>
                    </a:cubicBezTo>
                    <a:cubicBezTo>
                      <a:pt x="12" y="5"/>
                      <a:pt x="14" y="5"/>
                      <a:pt x="16" y="6"/>
                    </a:cubicBezTo>
                    <a:cubicBezTo>
                      <a:pt x="17" y="7"/>
                      <a:pt x="19" y="8"/>
                      <a:pt x="20" y="10"/>
                    </a:cubicBezTo>
                    <a:cubicBezTo>
                      <a:pt x="20" y="7"/>
                      <a:pt x="21" y="5"/>
                      <a:pt x="23" y="3"/>
                    </a:cubicBezTo>
                    <a:cubicBezTo>
                      <a:pt x="25" y="2"/>
                      <a:pt x="27" y="1"/>
                      <a:pt x="29" y="0"/>
                    </a:cubicBezTo>
                    <a:cubicBezTo>
                      <a:pt x="31" y="0"/>
                      <a:pt x="33" y="0"/>
                      <a:pt x="35" y="1"/>
                    </a:cubicBezTo>
                    <a:cubicBezTo>
                      <a:pt x="37" y="2"/>
                      <a:pt x="39" y="3"/>
                      <a:pt x="40" y="4"/>
                    </a:cubicBezTo>
                    <a:cubicBezTo>
                      <a:pt x="42" y="5"/>
                      <a:pt x="43" y="7"/>
                      <a:pt x="43" y="10"/>
                    </a:cubicBezTo>
                    <a:cubicBezTo>
                      <a:pt x="44" y="11"/>
                      <a:pt x="44" y="15"/>
                      <a:pt x="45" y="20"/>
                    </a:cubicBezTo>
                    <a:cubicBezTo>
                      <a:pt x="47" y="35"/>
                      <a:pt x="47" y="35"/>
                      <a:pt x="47" y="35"/>
                    </a:cubicBezTo>
                    <a:lnTo>
                      <a:pt x="4" y="41"/>
                    </a:lnTo>
                    <a:close/>
                    <a:moveTo>
                      <a:pt x="10" y="31"/>
                    </a:moveTo>
                    <a:cubicBezTo>
                      <a:pt x="20" y="30"/>
                      <a:pt x="20" y="30"/>
                      <a:pt x="20" y="30"/>
                    </a:cubicBezTo>
                    <a:cubicBezTo>
                      <a:pt x="19" y="24"/>
                      <a:pt x="19" y="24"/>
                      <a:pt x="19" y="24"/>
                    </a:cubicBezTo>
                    <a:cubicBezTo>
                      <a:pt x="18" y="21"/>
                      <a:pt x="18" y="19"/>
                      <a:pt x="18" y="18"/>
                    </a:cubicBezTo>
                    <a:cubicBezTo>
                      <a:pt x="17" y="16"/>
                      <a:pt x="17" y="15"/>
                      <a:pt x="16" y="15"/>
                    </a:cubicBezTo>
                    <a:cubicBezTo>
                      <a:pt x="15" y="14"/>
                      <a:pt x="14" y="14"/>
                      <a:pt x="12" y="14"/>
                    </a:cubicBezTo>
                    <a:cubicBezTo>
                      <a:pt x="11" y="14"/>
                      <a:pt x="10" y="14"/>
                      <a:pt x="9" y="15"/>
                    </a:cubicBezTo>
                    <a:cubicBezTo>
                      <a:pt x="8" y="16"/>
                      <a:pt x="8" y="17"/>
                      <a:pt x="8" y="19"/>
                    </a:cubicBezTo>
                    <a:cubicBezTo>
                      <a:pt x="8" y="20"/>
                      <a:pt x="8" y="22"/>
                      <a:pt x="9" y="26"/>
                    </a:cubicBezTo>
                    <a:lnTo>
                      <a:pt x="10" y="31"/>
                    </a:lnTo>
                    <a:close/>
                    <a:moveTo>
                      <a:pt x="27" y="29"/>
                    </a:moveTo>
                    <a:cubicBezTo>
                      <a:pt x="39" y="27"/>
                      <a:pt x="39" y="27"/>
                      <a:pt x="39" y="27"/>
                    </a:cubicBezTo>
                    <a:cubicBezTo>
                      <a:pt x="37" y="19"/>
                      <a:pt x="37" y="19"/>
                      <a:pt x="37" y="19"/>
                    </a:cubicBezTo>
                    <a:cubicBezTo>
                      <a:pt x="37" y="16"/>
                      <a:pt x="37" y="14"/>
                      <a:pt x="36" y="13"/>
                    </a:cubicBezTo>
                    <a:cubicBezTo>
                      <a:pt x="36" y="12"/>
                      <a:pt x="35" y="11"/>
                      <a:pt x="34" y="10"/>
                    </a:cubicBezTo>
                    <a:cubicBezTo>
                      <a:pt x="33" y="10"/>
                      <a:pt x="32" y="9"/>
                      <a:pt x="30" y="10"/>
                    </a:cubicBezTo>
                    <a:cubicBezTo>
                      <a:pt x="29" y="10"/>
                      <a:pt x="28" y="10"/>
                      <a:pt x="27" y="11"/>
                    </a:cubicBezTo>
                    <a:cubicBezTo>
                      <a:pt x="26" y="12"/>
                      <a:pt x="26" y="13"/>
                      <a:pt x="25" y="14"/>
                    </a:cubicBezTo>
                    <a:cubicBezTo>
                      <a:pt x="25" y="15"/>
                      <a:pt x="25" y="18"/>
                      <a:pt x="26" y="22"/>
                    </a:cubicBezTo>
                    <a:lnTo>
                      <a:pt x="27" y="2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172" name="îṩliďè"/>
              <p:cNvSpPr/>
              <p:nvPr/>
            </p:nvSpPr>
            <p:spPr bwMode="auto">
              <a:xfrm>
                <a:off x="3146322" y="5120278"/>
                <a:ext cx="93663" cy="79375"/>
              </a:xfrm>
              <a:custGeom>
                <a:avLst/>
                <a:gdLst>
                  <a:gd name="T0" fmla="*/ 59 w 59"/>
                  <a:gd name="T1" fmla="*/ 37 h 50"/>
                  <a:gd name="T2" fmla="*/ 9 w 59"/>
                  <a:gd name="T3" fmla="*/ 50 h 50"/>
                  <a:gd name="T4" fmla="*/ 0 w 59"/>
                  <a:gd name="T5" fmla="*/ 13 h 50"/>
                  <a:gd name="T6" fmla="*/ 8 w 59"/>
                  <a:gd name="T7" fmla="*/ 10 h 50"/>
                  <a:gd name="T8" fmla="*/ 15 w 59"/>
                  <a:gd name="T9" fmla="*/ 37 h 50"/>
                  <a:gd name="T10" fmla="*/ 25 w 59"/>
                  <a:gd name="T11" fmla="*/ 35 h 50"/>
                  <a:gd name="T12" fmla="*/ 19 w 59"/>
                  <a:gd name="T13" fmla="*/ 9 h 50"/>
                  <a:gd name="T14" fmla="*/ 27 w 59"/>
                  <a:gd name="T15" fmla="*/ 8 h 50"/>
                  <a:gd name="T16" fmla="*/ 34 w 59"/>
                  <a:gd name="T17" fmla="*/ 32 h 50"/>
                  <a:gd name="T18" fmla="*/ 47 w 59"/>
                  <a:gd name="T19" fmla="*/ 29 h 50"/>
                  <a:gd name="T20" fmla="*/ 40 w 59"/>
                  <a:gd name="T21" fmla="*/ 1 h 50"/>
                  <a:gd name="T22" fmla="*/ 49 w 59"/>
                  <a:gd name="T23" fmla="*/ 0 h 50"/>
                  <a:gd name="T24" fmla="*/ 59 w 59"/>
                  <a:gd name="T25" fmla="*/ 37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59" h="50">
                    <a:moveTo>
                      <a:pt x="59" y="37"/>
                    </a:moveTo>
                    <a:lnTo>
                      <a:pt x="9" y="50"/>
                    </a:lnTo>
                    <a:lnTo>
                      <a:pt x="0" y="13"/>
                    </a:lnTo>
                    <a:lnTo>
                      <a:pt x="8" y="10"/>
                    </a:lnTo>
                    <a:lnTo>
                      <a:pt x="15" y="37"/>
                    </a:lnTo>
                    <a:lnTo>
                      <a:pt x="25" y="35"/>
                    </a:lnTo>
                    <a:lnTo>
                      <a:pt x="19" y="9"/>
                    </a:lnTo>
                    <a:lnTo>
                      <a:pt x="27" y="8"/>
                    </a:lnTo>
                    <a:lnTo>
                      <a:pt x="34" y="32"/>
                    </a:lnTo>
                    <a:lnTo>
                      <a:pt x="47" y="29"/>
                    </a:lnTo>
                    <a:lnTo>
                      <a:pt x="40" y="1"/>
                    </a:lnTo>
                    <a:lnTo>
                      <a:pt x="49" y="0"/>
                    </a:lnTo>
                    <a:lnTo>
                      <a:pt x="59" y="3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173" name="iṧlíḋè"/>
              <p:cNvSpPr/>
              <p:nvPr/>
            </p:nvSpPr>
            <p:spPr bwMode="auto">
              <a:xfrm>
                <a:off x="3138384" y="5096465"/>
                <a:ext cx="82550" cy="38100"/>
              </a:xfrm>
              <a:custGeom>
                <a:avLst/>
                <a:gdLst>
                  <a:gd name="T0" fmla="*/ 52 w 52"/>
                  <a:gd name="T1" fmla="*/ 9 h 24"/>
                  <a:gd name="T2" fmla="*/ 3 w 52"/>
                  <a:gd name="T3" fmla="*/ 24 h 24"/>
                  <a:gd name="T4" fmla="*/ 0 w 52"/>
                  <a:gd name="T5" fmla="*/ 15 h 24"/>
                  <a:gd name="T6" fmla="*/ 49 w 52"/>
                  <a:gd name="T7" fmla="*/ 0 h 24"/>
                  <a:gd name="T8" fmla="*/ 52 w 52"/>
                  <a:gd name="T9" fmla="*/ 9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2" h="24">
                    <a:moveTo>
                      <a:pt x="52" y="9"/>
                    </a:moveTo>
                    <a:lnTo>
                      <a:pt x="3" y="24"/>
                    </a:lnTo>
                    <a:lnTo>
                      <a:pt x="0" y="15"/>
                    </a:lnTo>
                    <a:lnTo>
                      <a:pt x="49" y="0"/>
                    </a:lnTo>
                    <a:lnTo>
                      <a:pt x="52" y="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174" name="islïḓè"/>
              <p:cNvSpPr/>
              <p:nvPr/>
            </p:nvSpPr>
            <p:spPr bwMode="auto">
              <a:xfrm>
                <a:off x="3120922" y="5047253"/>
                <a:ext cx="88900" cy="52388"/>
              </a:xfrm>
              <a:custGeom>
                <a:avLst/>
                <a:gdLst>
                  <a:gd name="T0" fmla="*/ 3 w 48"/>
                  <a:gd name="T1" fmla="*/ 20 h 28"/>
                  <a:gd name="T2" fmla="*/ 0 w 48"/>
                  <a:gd name="T3" fmla="*/ 12 h 28"/>
                  <a:gd name="T4" fmla="*/ 26 w 48"/>
                  <a:gd name="T5" fmla="*/ 2 h 28"/>
                  <a:gd name="T6" fmla="*/ 34 w 48"/>
                  <a:gd name="T7" fmla="*/ 0 h 28"/>
                  <a:gd name="T8" fmla="*/ 42 w 48"/>
                  <a:gd name="T9" fmla="*/ 3 h 28"/>
                  <a:gd name="T10" fmla="*/ 47 w 48"/>
                  <a:gd name="T11" fmla="*/ 10 h 28"/>
                  <a:gd name="T12" fmla="*/ 47 w 48"/>
                  <a:gd name="T13" fmla="*/ 21 h 28"/>
                  <a:gd name="T14" fmla="*/ 38 w 48"/>
                  <a:gd name="T15" fmla="*/ 28 h 28"/>
                  <a:gd name="T16" fmla="*/ 34 w 48"/>
                  <a:gd name="T17" fmla="*/ 20 h 28"/>
                  <a:gd name="T18" fmla="*/ 39 w 48"/>
                  <a:gd name="T19" fmla="*/ 17 h 28"/>
                  <a:gd name="T20" fmla="*/ 40 w 48"/>
                  <a:gd name="T21" fmla="*/ 13 h 28"/>
                  <a:gd name="T22" fmla="*/ 37 w 48"/>
                  <a:gd name="T23" fmla="*/ 9 h 28"/>
                  <a:gd name="T24" fmla="*/ 30 w 48"/>
                  <a:gd name="T25" fmla="*/ 10 h 28"/>
                  <a:gd name="T26" fmla="*/ 3 w 48"/>
                  <a:gd name="T27" fmla="*/ 20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48" h="28">
                    <a:moveTo>
                      <a:pt x="3" y="20"/>
                    </a:moveTo>
                    <a:cubicBezTo>
                      <a:pt x="0" y="12"/>
                      <a:pt x="0" y="12"/>
                      <a:pt x="0" y="12"/>
                    </a:cubicBezTo>
                    <a:cubicBezTo>
                      <a:pt x="26" y="2"/>
                      <a:pt x="26" y="2"/>
                      <a:pt x="26" y="2"/>
                    </a:cubicBezTo>
                    <a:cubicBezTo>
                      <a:pt x="29" y="1"/>
                      <a:pt x="32" y="0"/>
                      <a:pt x="34" y="0"/>
                    </a:cubicBezTo>
                    <a:cubicBezTo>
                      <a:pt x="37" y="0"/>
                      <a:pt x="39" y="1"/>
                      <a:pt x="42" y="3"/>
                    </a:cubicBezTo>
                    <a:cubicBezTo>
                      <a:pt x="44" y="4"/>
                      <a:pt x="46" y="7"/>
                      <a:pt x="47" y="10"/>
                    </a:cubicBezTo>
                    <a:cubicBezTo>
                      <a:pt x="48" y="14"/>
                      <a:pt x="48" y="18"/>
                      <a:pt x="47" y="21"/>
                    </a:cubicBezTo>
                    <a:cubicBezTo>
                      <a:pt x="45" y="24"/>
                      <a:pt x="42" y="26"/>
                      <a:pt x="38" y="28"/>
                    </a:cubicBezTo>
                    <a:cubicBezTo>
                      <a:pt x="34" y="20"/>
                      <a:pt x="34" y="20"/>
                      <a:pt x="34" y="20"/>
                    </a:cubicBezTo>
                    <a:cubicBezTo>
                      <a:pt x="37" y="19"/>
                      <a:pt x="38" y="18"/>
                      <a:pt x="39" y="17"/>
                    </a:cubicBezTo>
                    <a:cubicBezTo>
                      <a:pt x="40" y="16"/>
                      <a:pt x="40" y="14"/>
                      <a:pt x="40" y="13"/>
                    </a:cubicBezTo>
                    <a:cubicBezTo>
                      <a:pt x="39" y="11"/>
                      <a:pt x="38" y="10"/>
                      <a:pt x="37" y="9"/>
                    </a:cubicBezTo>
                    <a:cubicBezTo>
                      <a:pt x="35" y="9"/>
                      <a:pt x="33" y="9"/>
                      <a:pt x="30" y="10"/>
                    </a:cubicBezTo>
                    <a:lnTo>
                      <a:pt x="3" y="2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175" name="íṥ1iḍe"/>
              <p:cNvSpPr/>
              <p:nvPr/>
            </p:nvSpPr>
            <p:spPr bwMode="auto">
              <a:xfrm>
                <a:off x="3112984" y="5017090"/>
                <a:ext cx="80963" cy="46038"/>
              </a:xfrm>
              <a:custGeom>
                <a:avLst/>
                <a:gdLst>
                  <a:gd name="T0" fmla="*/ 51 w 51"/>
                  <a:gd name="T1" fmla="*/ 9 h 29"/>
                  <a:gd name="T2" fmla="*/ 3 w 51"/>
                  <a:gd name="T3" fmla="*/ 29 h 29"/>
                  <a:gd name="T4" fmla="*/ 0 w 51"/>
                  <a:gd name="T5" fmla="*/ 19 h 29"/>
                  <a:gd name="T6" fmla="*/ 46 w 51"/>
                  <a:gd name="T7" fmla="*/ 0 h 29"/>
                  <a:gd name="T8" fmla="*/ 51 w 51"/>
                  <a:gd name="T9" fmla="*/ 9 h 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1" h="29">
                    <a:moveTo>
                      <a:pt x="51" y="9"/>
                    </a:moveTo>
                    <a:lnTo>
                      <a:pt x="3" y="29"/>
                    </a:lnTo>
                    <a:lnTo>
                      <a:pt x="0" y="19"/>
                    </a:lnTo>
                    <a:lnTo>
                      <a:pt x="46" y="0"/>
                    </a:lnTo>
                    <a:lnTo>
                      <a:pt x="51" y="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176" name="iṥľîḋé"/>
              <p:cNvSpPr/>
              <p:nvPr/>
            </p:nvSpPr>
            <p:spPr bwMode="auto">
              <a:xfrm>
                <a:off x="3081234" y="4948828"/>
                <a:ext cx="101600" cy="93663"/>
              </a:xfrm>
              <a:custGeom>
                <a:avLst/>
                <a:gdLst>
                  <a:gd name="T0" fmla="*/ 64 w 64"/>
                  <a:gd name="T1" fmla="*/ 36 h 59"/>
                  <a:gd name="T2" fmla="*/ 18 w 64"/>
                  <a:gd name="T3" fmla="*/ 59 h 59"/>
                  <a:gd name="T4" fmla="*/ 14 w 64"/>
                  <a:gd name="T5" fmla="*/ 50 h 59"/>
                  <a:gd name="T6" fmla="*/ 35 w 64"/>
                  <a:gd name="T7" fmla="*/ 16 h 59"/>
                  <a:gd name="T8" fmla="*/ 3 w 64"/>
                  <a:gd name="T9" fmla="*/ 31 h 59"/>
                  <a:gd name="T10" fmla="*/ 0 w 64"/>
                  <a:gd name="T11" fmla="*/ 22 h 59"/>
                  <a:gd name="T12" fmla="*/ 45 w 64"/>
                  <a:gd name="T13" fmla="*/ 0 h 59"/>
                  <a:gd name="T14" fmla="*/ 50 w 64"/>
                  <a:gd name="T15" fmla="*/ 8 h 59"/>
                  <a:gd name="T16" fmla="*/ 29 w 64"/>
                  <a:gd name="T17" fmla="*/ 42 h 59"/>
                  <a:gd name="T18" fmla="*/ 59 w 64"/>
                  <a:gd name="T19" fmla="*/ 26 h 59"/>
                  <a:gd name="T20" fmla="*/ 64 w 64"/>
                  <a:gd name="T21" fmla="*/ 36 h 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64" h="59">
                    <a:moveTo>
                      <a:pt x="64" y="36"/>
                    </a:moveTo>
                    <a:lnTo>
                      <a:pt x="18" y="59"/>
                    </a:lnTo>
                    <a:lnTo>
                      <a:pt x="14" y="50"/>
                    </a:lnTo>
                    <a:lnTo>
                      <a:pt x="35" y="16"/>
                    </a:lnTo>
                    <a:lnTo>
                      <a:pt x="3" y="31"/>
                    </a:lnTo>
                    <a:lnTo>
                      <a:pt x="0" y="22"/>
                    </a:lnTo>
                    <a:lnTo>
                      <a:pt x="45" y="0"/>
                    </a:lnTo>
                    <a:lnTo>
                      <a:pt x="50" y="8"/>
                    </a:lnTo>
                    <a:lnTo>
                      <a:pt x="29" y="42"/>
                    </a:lnTo>
                    <a:lnTo>
                      <a:pt x="59" y="26"/>
                    </a:lnTo>
                    <a:lnTo>
                      <a:pt x="64" y="36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177" name="îślidè"/>
              <p:cNvSpPr/>
              <p:nvPr/>
            </p:nvSpPr>
            <p:spPr bwMode="auto">
              <a:xfrm>
                <a:off x="3047897" y="4877390"/>
                <a:ext cx="84138" cy="88900"/>
              </a:xfrm>
              <a:custGeom>
                <a:avLst/>
                <a:gdLst>
                  <a:gd name="T0" fmla="*/ 28 w 46"/>
                  <a:gd name="T1" fmla="*/ 21 h 48"/>
                  <a:gd name="T2" fmla="*/ 22 w 46"/>
                  <a:gd name="T3" fmla="*/ 25 h 48"/>
                  <a:gd name="T4" fmla="*/ 11 w 46"/>
                  <a:gd name="T5" fmla="*/ 9 h 48"/>
                  <a:gd name="T6" fmla="*/ 26 w 46"/>
                  <a:gd name="T7" fmla="*/ 0 h 48"/>
                  <a:gd name="T8" fmla="*/ 35 w 46"/>
                  <a:gd name="T9" fmla="*/ 4 h 48"/>
                  <a:gd name="T10" fmla="*/ 42 w 46"/>
                  <a:gd name="T11" fmla="*/ 12 h 48"/>
                  <a:gd name="T12" fmla="*/ 46 w 46"/>
                  <a:gd name="T13" fmla="*/ 24 h 48"/>
                  <a:gd name="T14" fmla="*/ 43 w 46"/>
                  <a:gd name="T15" fmla="*/ 35 h 48"/>
                  <a:gd name="T16" fmla="*/ 35 w 46"/>
                  <a:gd name="T17" fmla="*/ 43 h 48"/>
                  <a:gd name="T18" fmla="*/ 23 w 46"/>
                  <a:gd name="T19" fmla="*/ 47 h 48"/>
                  <a:gd name="T20" fmla="*/ 12 w 46"/>
                  <a:gd name="T21" fmla="*/ 45 h 48"/>
                  <a:gd name="T22" fmla="*/ 4 w 46"/>
                  <a:gd name="T23" fmla="*/ 37 h 48"/>
                  <a:gd name="T24" fmla="*/ 0 w 46"/>
                  <a:gd name="T25" fmla="*/ 24 h 48"/>
                  <a:gd name="T26" fmla="*/ 5 w 46"/>
                  <a:gd name="T27" fmla="*/ 14 h 48"/>
                  <a:gd name="T28" fmla="*/ 11 w 46"/>
                  <a:gd name="T29" fmla="*/ 21 h 48"/>
                  <a:gd name="T30" fmla="*/ 9 w 46"/>
                  <a:gd name="T31" fmla="*/ 27 h 48"/>
                  <a:gd name="T32" fmla="*/ 11 w 46"/>
                  <a:gd name="T33" fmla="*/ 33 h 48"/>
                  <a:gd name="T34" fmla="*/ 19 w 46"/>
                  <a:gd name="T35" fmla="*/ 39 h 48"/>
                  <a:gd name="T36" fmla="*/ 30 w 46"/>
                  <a:gd name="T37" fmla="*/ 36 h 48"/>
                  <a:gd name="T38" fmla="*/ 38 w 46"/>
                  <a:gd name="T39" fmla="*/ 26 h 48"/>
                  <a:gd name="T40" fmla="*/ 36 w 46"/>
                  <a:gd name="T41" fmla="*/ 17 h 48"/>
                  <a:gd name="T42" fmla="*/ 32 w 46"/>
                  <a:gd name="T43" fmla="*/ 13 h 48"/>
                  <a:gd name="T44" fmla="*/ 27 w 46"/>
                  <a:gd name="T45" fmla="*/ 10 h 48"/>
                  <a:gd name="T46" fmla="*/ 23 w 46"/>
                  <a:gd name="T47" fmla="*/ 13 h 48"/>
                  <a:gd name="T48" fmla="*/ 28 w 46"/>
                  <a:gd name="T49" fmla="*/ 21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46" h="48">
                    <a:moveTo>
                      <a:pt x="28" y="21"/>
                    </a:moveTo>
                    <a:cubicBezTo>
                      <a:pt x="22" y="25"/>
                      <a:pt x="22" y="25"/>
                      <a:pt x="22" y="25"/>
                    </a:cubicBezTo>
                    <a:cubicBezTo>
                      <a:pt x="11" y="9"/>
                      <a:pt x="11" y="9"/>
                      <a:pt x="11" y="9"/>
                    </a:cubicBezTo>
                    <a:cubicBezTo>
                      <a:pt x="26" y="0"/>
                      <a:pt x="26" y="0"/>
                      <a:pt x="26" y="0"/>
                    </a:cubicBezTo>
                    <a:cubicBezTo>
                      <a:pt x="29" y="1"/>
                      <a:pt x="31" y="2"/>
                      <a:pt x="35" y="4"/>
                    </a:cubicBezTo>
                    <a:cubicBezTo>
                      <a:pt x="38" y="6"/>
                      <a:pt x="40" y="9"/>
                      <a:pt x="42" y="12"/>
                    </a:cubicBezTo>
                    <a:cubicBezTo>
                      <a:pt x="45" y="16"/>
                      <a:pt x="46" y="20"/>
                      <a:pt x="46" y="24"/>
                    </a:cubicBezTo>
                    <a:cubicBezTo>
                      <a:pt x="46" y="28"/>
                      <a:pt x="45" y="31"/>
                      <a:pt x="43" y="35"/>
                    </a:cubicBezTo>
                    <a:cubicBezTo>
                      <a:pt x="41" y="38"/>
                      <a:pt x="38" y="41"/>
                      <a:pt x="35" y="43"/>
                    </a:cubicBezTo>
                    <a:cubicBezTo>
                      <a:pt x="31" y="46"/>
                      <a:pt x="27" y="47"/>
                      <a:pt x="23" y="47"/>
                    </a:cubicBezTo>
                    <a:cubicBezTo>
                      <a:pt x="19" y="48"/>
                      <a:pt x="15" y="47"/>
                      <a:pt x="12" y="45"/>
                    </a:cubicBezTo>
                    <a:cubicBezTo>
                      <a:pt x="9" y="43"/>
                      <a:pt x="6" y="41"/>
                      <a:pt x="4" y="37"/>
                    </a:cubicBezTo>
                    <a:cubicBezTo>
                      <a:pt x="1" y="32"/>
                      <a:pt x="0" y="28"/>
                      <a:pt x="0" y="24"/>
                    </a:cubicBezTo>
                    <a:cubicBezTo>
                      <a:pt x="0" y="21"/>
                      <a:pt x="2" y="17"/>
                      <a:pt x="5" y="14"/>
                    </a:cubicBezTo>
                    <a:cubicBezTo>
                      <a:pt x="11" y="21"/>
                      <a:pt x="11" y="21"/>
                      <a:pt x="11" y="21"/>
                    </a:cubicBezTo>
                    <a:cubicBezTo>
                      <a:pt x="10" y="23"/>
                      <a:pt x="9" y="24"/>
                      <a:pt x="9" y="27"/>
                    </a:cubicBezTo>
                    <a:cubicBezTo>
                      <a:pt x="8" y="29"/>
                      <a:pt x="9" y="31"/>
                      <a:pt x="11" y="33"/>
                    </a:cubicBezTo>
                    <a:cubicBezTo>
                      <a:pt x="13" y="36"/>
                      <a:pt x="15" y="38"/>
                      <a:pt x="19" y="39"/>
                    </a:cubicBezTo>
                    <a:cubicBezTo>
                      <a:pt x="22" y="39"/>
                      <a:pt x="26" y="38"/>
                      <a:pt x="30" y="36"/>
                    </a:cubicBezTo>
                    <a:cubicBezTo>
                      <a:pt x="34" y="33"/>
                      <a:pt x="37" y="30"/>
                      <a:pt x="38" y="26"/>
                    </a:cubicBezTo>
                    <a:cubicBezTo>
                      <a:pt x="39" y="23"/>
                      <a:pt x="38" y="20"/>
                      <a:pt x="36" y="17"/>
                    </a:cubicBezTo>
                    <a:cubicBezTo>
                      <a:pt x="35" y="15"/>
                      <a:pt x="34" y="14"/>
                      <a:pt x="32" y="13"/>
                    </a:cubicBezTo>
                    <a:cubicBezTo>
                      <a:pt x="30" y="11"/>
                      <a:pt x="29" y="10"/>
                      <a:pt x="27" y="10"/>
                    </a:cubicBezTo>
                    <a:cubicBezTo>
                      <a:pt x="23" y="13"/>
                      <a:pt x="23" y="13"/>
                      <a:pt x="23" y="13"/>
                    </a:cubicBezTo>
                    <a:lnTo>
                      <a:pt x="28" y="2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178" name="îŝ1ide"/>
              <p:cNvSpPr/>
              <p:nvPr/>
            </p:nvSpPr>
            <p:spPr bwMode="auto">
              <a:xfrm>
                <a:off x="1981097" y="4907553"/>
                <a:ext cx="931863" cy="969963"/>
              </a:xfrm>
              <a:custGeom>
                <a:avLst/>
                <a:gdLst>
                  <a:gd name="T0" fmla="*/ 488 w 506"/>
                  <a:gd name="T1" fmla="*/ 144 h 525"/>
                  <a:gd name="T2" fmla="*/ 449 w 506"/>
                  <a:gd name="T3" fmla="*/ 161 h 525"/>
                  <a:gd name="T4" fmla="*/ 473 w 506"/>
                  <a:gd name="T5" fmla="*/ 361 h 525"/>
                  <a:gd name="T6" fmla="*/ 434 w 506"/>
                  <a:gd name="T7" fmla="*/ 382 h 525"/>
                  <a:gd name="T8" fmla="*/ 463 w 506"/>
                  <a:gd name="T9" fmla="*/ 392 h 525"/>
                  <a:gd name="T10" fmla="*/ 434 w 506"/>
                  <a:gd name="T11" fmla="*/ 455 h 525"/>
                  <a:gd name="T12" fmla="*/ 418 w 506"/>
                  <a:gd name="T13" fmla="*/ 525 h 525"/>
                  <a:gd name="T14" fmla="*/ 328 w 506"/>
                  <a:gd name="T15" fmla="*/ 392 h 525"/>
                  <a:gd name="T16" fmla="*/ 200 w 506"/>
                  <a:gd name="T17" fmla="*/ 376 h 525"/>
                  <a:gd name="T18" fmla="*/ 179 w 506"/>
                  <a:gd name="T19" fmla="*/ 525 h 525"/>
                  <a:gd name="T20" fmla="*/ 72 w 506"/>
                  <a:gd name="T21" fmla="*/ 510 h 525"/>
                  <a:gd name="T22" fmla="*/ 44 w 506"/>
                  <a:gd name="T23" fmla="*/ 439 h 525"/>
                  <a:gd name="T24" fmla="*/ 72 w 506"/>
                  <a:gd name="T25" fmla="*/ 392 h 525"/>
                  <a:gd name="T26" fmla="*/ 57 w 506"/>
                  <a:gd name="T27" fmla="*/ 382 h 525"/>
                  <a:gd name="T28" fmla="*/ 18 w 506"/>
                  <a:gd name="T29" fmla="*/ 161 h 525"/>
                  <a:gd name="T30" fmla="*/ 56 w 506"/>
                  <a:gd name="T31" fmla="*/ 144 h 525"/>
                  <a:gd name="T32" fmla="*/ 0 w 506"/>
                  <a:gd name="T33" fmla="*/ 21 h 525"/>
                  <a:gd name="T34" fmla="*/ 92 w 506"/>
                  <a:gd name="T35" fmla="*/ 21 h 525"/>
                  <a:gd name="T36" fmla="*/ 403 w 506"/>
                  <a:gd name="T37" fmla="*/ 82 h 525"/>
                  <a:gd name="T38" fmla="*/ 457 w 506"/>
                  <a:gd name="T39" fmla="*/ 0 h 525"/>
                  <a:gd name="T40" fmla="*/ 461 w 506"/>
                  <a:gd name="T41" fmla="*/ 82 h 525"/>
                  <a:gd name="T42" fmla="*/ 455 w 506"/>
                  <a:gd name="T43" fmla="*/ 24 h 525"/>
                  <a:gd name="T44" fmla="*/ 435 w 506"/>
                  <a:gd name="T45" fmla="*/ 82 h 525"/>
                  <a:gd name="T46" fmla="*/ 454 w 506"/>
                  <a:gd name="T47" fmla="*/ 127 h 525"/>
                  <a:gd name="T48" fmla="*/ 49 w 506"/>
                  <a:gd name="T49" fmla="*/ 112 h 525"/>
                  <a:gd name="T50" fmla="*/ 78 w 506"/>
                  <a:gd name="T51" fmla="*/ 127 h 525"/>
                  <a:gd name="T52" fmla="*/ 81 w 506"/>
                  <a:gd name="T53" fmla="*/ 161 h 525"/>
                  <a:gd name="T54" fmla="*/ 426 w 506"/>
                  <a:gd name="T55" fmla="*/ 145 h 525"/>
                  <a:gd name="T56" fmla="*/ 454 w 506"/>
                  <a:gd name="T57" fmla="*/ 127 h 525"/>
                  <a:gd name="T58" fmla="*/ 450 w 506"/>
                  <a:gd name="T59" fmla="*/ 178 h 525"/>
                  <a:gd name="T60" fmla="*/ 65 w 506"/>
                  <a:gd name="T61" fmla="*/ 335 h 525"/>
                  <a:gd name="T62" fmla="*/ 421 w 506"/>
                  <a:gd name="T63" fmla="*/ 349 h 525"/>
                  <a:gd name="T64" fmla="*/ 398 w 506"/>
                  <a:gd name="T65" fmla="*/ 490 h 525"/>
                  <a:gd name="T66" fmla="*/ 356 w 506"/>
                  <a:gd name="T67" fmla="*/ 371 h 525"/>
                  <a:gd name="T68" fmla="*/ 389 w 506"/>
                  <a:gd name="T69" fmla="*/ 496 h 525"/>
                  <a:gd name="T70" fmla="*/ 150 w 506"/>
                  <a:gd name="T71" fmla="*/ 496 h 525"/>
                  <a:gd name="T72" fmla="*/ 108 w 506"/>
                  <a:gd name="T73" fmla="*/ 371 h 525"/>
                  <a:gd name="T74" fmla="*/ 117 w 506"/>
                  <a:gd name="T75" fmla="*/ 496 h 525"/>
                  <a:gd name="T76" fmla="*/ 71 w 506"/>
                  <a:gd name="T77" fmla="*/ 82 h 525"/>
                  <a:gd name="T78" fmla="*/ 51 w 506"/>
                  <a:gd name="T79" fmla="*/ 24 h 525"/>
                  <a:gd name="T80" fmla="*/ 45 w 506"/>
                  <a:gd name="T81" fmla="*/ 82 h 5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506" h="525">
                    <a:moveTo>
                      <a:pt x="506" y="21"/>
                    </a:moveTo>
                    <a:cubicBezTo>
                      <a:pt x="488" y="144"/>
                      <a:pt x="488" y="144"/>
                      <a:pt x="488" y="144"/>
                    </a:cubicBezTo>
                    <a:cubicBezTo>
                      <a:pt x="450" y="144"/>
                      <a:pt x="450" y="144"/>
                      <a:pt x="450" y="144"/>
                    </a:cubicBezTo>
                    <a:cubicBezTo>
                      <a:pt x="449" y="161"/>
                      <a:pt x="449" y="161"/>
                      <a:pt x="449" y="161"/>
                    </a:cubicBezTo>
                    <a:cubicBezTo>
                      <a:pt x="488" y="161"/>
                      <a:pt x="488" y="161"/>
                      <a:pt x="488" y="161"/>
                    </a:cubicBezTo>
                    <a:cubicBezTo>
                      <a:pt x="473" y="361"/>
                      <a:pt x="473" y="361"/>
                      <a:pt x="473" y="361"/>
                    </a:cubicBezTo>
                    <a:cubicBezTo>
                      <a:pt x="473" y="372"/>
                      <a:pt x="462" y="382"/>
                      <a:pt x="450" y="382"/>
                    </a:cubicBezTo>
                    <a:cubicBezTo>
                      <a:pt x="434" y="382"/>
                      <a:pt x="434" y="382"/>
                      <a:pt x="434" y="382"/>
                    </a:cubicBezTo>
                    <a:cubicBezTo>
                      <a:pt x="434" y="392"/>
                      <a:pt x="434" y="392"/>
                      <a:pt x="434" y="392"/>
                    </a:cubicBezTo>
                    <a:cubicBezTo>
                      <a:pt x="463" y="392"/>
                      <a:pt x="463" y="392"/>
                      <a:pt x="463" y="392"/>
                    </a:cubicBezTo>
                    <a:cubicBezTo>
                      <a:pt x="463" y="439"/>
                      <a:pt x="463" y="439"/>
                      <a:pt x="463" y="439"/>
                    </a:cubicBezTo>
                    <a:cubicBezTo>
                      <a:pt x="463" y="448"/>
                      <a:pt x="450" y="455"/>
                      <a:pt x="434" y="455"/>
                    </a:cubicBezTo>
                    <a:cubicBezTo>
                      <a:pt x="434" y="510"/>
                      <a:pt x="434" y="510"/>
                      <a:pt x="434" y="510"/>
                    </a:cubicBezTo>
                    <a:cubicBezTo>
                      <a:pt x="434" y="518"/>
                      <a:pt x="427" y="525"/>
                      <a:pt x="418" y="525"/>
                    </a:cubicBezTo>
                    <a:cubicBezTo>
                      <a:pt x="328" y="525"/>
                      <a:pt x="328" y="525"/>
                      <a:pt x="328" y="525"/>
                    </a:cubicBezTo>
                    <a:cubicBezTo>
                      <a:pt x="328" y="392"/>
                      <a:pt x="328" y="392"/>
                      <a:pt x="328" y="392"/>
                    </a:cubicBezTo>
                    <a:cubicBezTo>
                      <a:pt x="328" y="383"/>
                      <a:pt x="318" y="376"/>
                      <a:pt x="307" y="376"/>
                    </a:cubicBezTo>
                    <a:cubicBezTo>
                      <a:pt x="200" y="376"/>
                      <a:pt x="200" y="376"/>
                      <a:pt x="200" y="376"/>
                    </a:cubicBezTo>
                    <a:cubicBezTo>
                      <a:pt x="188" y="376"/>
                      <a:pt x="179" y="383"/>
                      <a:pt x="179" y="392"/>
                    </a:cubicBezTo>
                    <a:cubicBezTo>
                      <a:pt x="179" y="525"/>
                      <a:pt x="179" y="525"/>
                      <a:pt x="179" y="525"/>
                    </a:cubicBezTo>
                    <a:cubicBezTo>
                      <a:pt x="89" y="525"/>
                      <a:pt x="89" y="525"/>
                      <a:pt x="89" y="525"/>
                    </a:cubicBezTo>
                    <a:cubicBezTo>
                      <a:pt x="80" y="525"/>
                      <a:pt x="72" y="518"/>
                      <a:pt x="72" y="510"/>
                    </a:cubicBezTo>
                    <a:cubicBezTo>
                      <a:pt x="72" y="455"/>
                      <a:pt x="72" y="455"/>
                      <a:pt x="72" y="455"/>
                    </a:cubicBezTo>
                    <a:cubicBezTo>
                      <a:pt x="56" y="455"/>
                      <a:pt x="44" y="448"/>
                      <a:pt x="44" y="439"/>
                    </a:cubicBezTo>
                    <a:cubicBezTo>
                      <a:pt x="44" y="392"/>
                      <a:pt x="44" y="392"/>
                      <a:pt x="44" y="392"/>
                    </a:cubicBezTo>
                    <a:cubicBezTo>
                      <a:pt x="72" y="392"/>
                      <a:pt x="72" y="392"/>
                      <a:pt x="72" y="392"/>
                    </a:cubicBezTo>
                    <a:cubicBezTo>
                      <a:pt x="72" y="382"/>
                      <a:pt x="72" y="382"/>
                      <a:pt x="72" y="382"/>
                    </a:cubicBezTo>
                    <a:cubicBezTo>
                      <a:pt x="57" y="382"/>
                      <a:pt x="57" y="382"/>
                      <a:pt x="57" y="382"/>
                    </a:cubicBezTo>
                    <a:cubicBezTo>
                      <a:pt x="44" y="382"/>
                      <a:pt x="34" y="372"/>
                      <a:pt x="34" y="361"/>
                    </a:cubicBezTo>
                    <a:cubicBezTo>
                      <a:pt x="18" y="161"/>
                      <a:pt x="18" y="161"/>
                      <a:pt x="18" y="161"/>
                    </a:cubicBezTo>
                    <a:cubicBezTo>
                      <a:pt x="58" y="161"/>
                      <a:pt x="58" y="161"/>
                      <a:pt x="58" y="161"/>
                    </a:cubicBezTo>
                    <a:cubicBezTo>
                      <a:pt x="56" y="144"/>
                      <a:pt x="56" y="144"/>
                      <a:pt x="56" y="144"/>
                    </a:cubicBezTo>
                    <a:cubicBezTo>
                      <a:pt x="18" y="144"/>
                      <a:pt x="18" y="144"/>
                      <a:pt x="18" y="144"/>
                    </a:cubicBezTo>
                    <a:cubicBezTo>
                      <a:pt x="0" y="21"/>
                      <a:pt x="0" y="21"/>
                      <a:pt x="0" y="21"/>
                    </a:cubicBezTo>
                    <a:cubicBezTo>
                      <a:pt x="2" y="7"/>
                      <a:pt x="31" y="0"/>
                      <a:pt x="49" y="0"/>
                    </a:cubicBezTo>
                    <a:cubicBezTo>
                      <a:pt x="73" y="0"/>
                      <a:pt x="80" y="3"/>
                      <a:pt x="92" y="21"/>
                    </a:cubicBezTo>
                    <a:cubicBezTo>
                      <a:pt x="103" y="82"/>
                      <a:pt x="103" y="82"/>
                      <a:pt x="103" y="82"/>
                    </a:cubicBezTo>
                    <a:cubicBezTo>
                      <a:pt x="403" y="82"/>
                      <a:pt x="403" y="82"/>
                      <a:pt x="403" y="82"/>
                    </a:cubicBezTo>
                    <a:cubicBezTo>
                      <a:pt x="415" y="21"/>
                      <a:pt x="415" y="21"/>
                      <a:pt x="415" y="21"/>
                    </a:cubicBezTo>
                    <a:cubicBezTo>
                      <a:pt x="426" y="3"/>
                      <a:pt x="433" y="0"/>
                      <a:pt x="457" y="0"/>
                    </a:cubicBezTo>
                    <a:cubicBezTo>
                      <a:pt x="475" y="0"/>
                      <a:pt x="504" y="7"/>
                      <a:pt x="506" y="21"/>
                    </a:cubicBezTo>
                    <a:close/>
                    <a:moveTo>
                      <a:pt x="461" y="82"/>
                    </a:moveTo>
                    <a:cubicBezTo>
                      <a:pt x="469" y="32"/>
                      <a:pt x="469" y="32"/>
                      <a:pt x="469" y="32"/>
                    </a:cubicBezTo>
                    <a:cubicBezTo>
                      <a:pt x="469" y="24"/>
                      <a:pt x="463" y="24"/>
                      <a:pt x="455" y="24"/>
                    </a:cubicBezTo>
                    <a:cubicBezTo>
                      <a:pt x="450" y="24"/>
                      <a:pt x="447" y="26"/>
                      <a:pt x="445" y="32"/>
                    </a:cubicBezTo>
                    <a:cubicBezTo>
                      <a:pt x="435" y="82"/>
                      <a:pt x="435" y="82"/>
                      <a:pt x="435" y="82"/>
                    </a:cubicBezTo>
                    <a:lnTo>
                      <a:pt x="461" y="82"/>
                    </a:lnTo>
                    <a:close/>
                    <a:moveTo>
                      <a:pt x="454" y="127"/>
                    </a:moveTo>
                    <a:cubicBezTo>
                      <a:pt x="457" y="112"/>
                      <a:pt x="457" y="112"/>
                      <a:pt x="457" y="112"/>
                    </a:cubicBezTo>
                    <a:cubicBezTo>
                      <a:pt x="49" y="112"/>
                      <a:pt x="49" y="112"/>
                      <a:pt x="49" y="112"/>
                    </a:cubicBezTo>
                    <a:cubicBezTo>
                      <a:pt x="52" y="127"/>
                      <a:pt x="52" y="127"/>
                      <a:pt x="52" y="127"/>
                    </a:cubicBezTo>
                    <a:cubicBezTo>
                      <a:pt x="78" y="127"/>
                      <a:pt x="78" y="127"/>
                      <a:pt x="78" y="127"/>
                    </a:cubicBezTo>
                    <a:cubicBezTo>
                      <a:pt x="80" y="145"/>
                      <a:pt x="80" y="145"/>
                      <a:pt x="80" y="145"/>
                    </a:cubicBezTo>
                    <a:cubicBezTo>
                      <a:pt x="81" y="161"/>
                      <a:pt x="81" y="161"/>
                      <a:pt x="81" y="161"/>
                    </a:cubicBezTo>
                    <a:cubicBezTo>
                      <a:pt x="425" y="161"/>
                      <a:pt x="425" y="161"/>
                      <a:pt x="425" y="161"/>
                    </a:cubicBezTo>
                    <a:cubicBezTo>
                      <a:pt x="426" y="145"/>
                      <a:pt x="426" y="145"/>
                      <a:pt x="426" y="145"/>
                    </a:cubicBezTo>
                    <a:cubicBezTo>
                      <a:pt x="428" y="127"/>
                      <a:pt x="428" y="127"/>
                      <a:pt x="428" y="127"/>
                    </a:cubicBezTo>
                    <a:lnTo>
                      <a:pt x="454" y="127"/>
                    </a:lnTo>
                    <a:close/>
                    <a:moveTo>
                      <a:pt x="441" y="335"/>
                    </a:moveTo>
                    <a:cubicBezTo>
                      <a:pt x="450" y="178"/>
                      <a:pt x="450" y="178"/>
                      <a:pt x="450" y="178"/>
                    </a:cubicBezTo>
                    <a:cubicBezTo>
                      <a:pt x="56" y="178"/>
                      <a:pt x="56" y="178"/>
                      <a:pt x="56" y="178"/>
                    </a:cubicBezTo>
                    <a:cubicBezTo>
                      <a:pt x="65" y="335"/>
                      <a:pt x="65" y="335"/>
                      <a:pt x="65" y="335"/>
                    </a:cubicBezTo>
                    <a:cubicBezTo>
                      <a:pt x="65" y="343"/>
                      <a:pt x="74" y="349"/>
                      <a:pt x="85" y="349"/>
                    </a:cubicBezTo>
                    <a:cubicBezTo>
                      <a:pt x="421" y="349"/>
                      <a:pt x="421" y="349"/>
                      <a:pt x="421" y="349"/>
                    </a:cubicBezTo>
                    <a:cubicBezTo>
                      <a:pt x="432" y="349"/>
                      <a:pt x="441" y="343"/>
                      <a:pt x="441" y="335"/>
                    </a:cubicBezTo>
                    <a:close/>
                    <a:moveTo>
                      <a:pt x="398" y="490"/>
                    </a:moveTo>
                    <a:cubicBezTo>
                      <a:pt x="398" y="371"/>
                      <a:pt x="398" y="371"/>
                      <a:pt x="398" y="371"/>
                    </a:cubicBezTo>
                    <a:cubicBezTo>
                      <a:pt x="356" y="371"/>
                      <a:pt x="356" y="371"/>
                      <a:pt x="356" y="371"/>
                    </a:cubicBezTo>
                    <a:cubicBezTo>
                      <a:pt x="356" y="496"/>
                      <a:pt x="356" y="496"/>
                      <a:pt x="356" y="496"/>
                    </a:cubicBezTo>
                    <a:cubicBezTo>
                      <a:pt x="389" y="496"/>
                      <a:pt x="389" y="496"/>
                      <a:pt x="389" y="496"/>
                    </a:cubicBezTo>
                    <a:cubicBezTo>
                      <a:pt x="394" y="496"/>
                      <a:pt x="398" y="496"/>
                      <a:pt x="398" y="490"/>
                    </a:cubicBezTo>
                    <a:close/>
                    <a:moveTo>
                      <a:pt x="150" y="496"/>
                    </a:moveTo>
                    <a:cubicBezTo>
                      <a:pt x="150" y="371"/>
                      <a:pt x="150" y="371"/>
                      <a:pt x="150" y="371"/>
                    </a:cubicBezTo>
                    <a:cubicBezTo>
                      <a:pt x="108" y="371"/>
                      <a:pt x="108" y="371"/>
                      <a:pt x="108" y="371"/>
                    </a:cubicBezTo>
                    <a:cubicBezTo>
                      <a:pt x="108" y="490"/>
                      <a:pt x="108" y="490"/>
                      <a:pt x="108" y="490"/>
                    </a:cubicBezTo>
                    <a:cubicBezTo>
                      <a:pt x="108" y="496"/>
                      <a:pt x="112" y="496"/>
                      <a:pt x="117" y="496"/>
                    </a:cubicBezTo>
                    <a:lnTo>
                      <a:pt x="150" y="496"/>
                    </a:lnTo>
                    <a:close/>
                    <a:moveTo>
                      <a:pt x="71" y="82"/>
                    </a:moveTo>
                    <a:cubicBezTo>
                      <a:pt x="61" y="32"/>
                      <a:pt x="61" y="32"/>
                      <a:pt x="61" y="32"/>
                    </a:cubicBezTo>
                    <a:cubicBezTo>
                      <a:pt x="60" y="26"/>
                      <a:pt x="57" y="24"/>
                      <a:pt x="51" y="24"/>
                    </a:cubicBezTo>
                    <a:cubicBezTo>
                      <a:pt x="43" y="24"/>
                      <a:pt x="37" y="24"/>
                      <a:pt x="37" y="32"/>
                    </a:cubicBezTo>
                    <a:cubicBezTo>
                      <a:pt x="45" y="82"/>
                      <a:pt x="45" y="82"/>
                      <a:pt x="45" y="82"/>
                    </a:cubicBezTo>
                    <a:lnTo>
                      <a:pt x="71" y="8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179" name="í$ḻíde"/>
              <p:cNvSpPr/>
              <p:nvPr/>
            </p:nvSpPr>
            <p:spPr bwMode="auto">
              <a:xfrm>
                <a:off x="2144609" y="5142503"/>
                <a:ext cx="604838" cy="31750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</p:grpSp>
      </p:grpSp>
      <p:grpSp>
        <p:nvGrpSpPr>
          <p:cNvPr id="182" name="组合 181"/>
          <p:cNvGrpSpPr/>
          <p:nvPr userDrawn="1"/>
        </p:nvGrpSpPr>
        <p:grpSpPr>
          <a:xfrm>
            <a:off x="3989822" y="1457555"/>
            <a:ext cx="1164357" cy="320434"/>
            <a:chOff x="5180266" y="4756740"/>
            <a:chExt cx="5753100" cy="1187451"/>
          </a:xfrm>
          <a:solidFill>
            <a:srgbClr val="F2C68E"/>
          </a:solidFill>
        </p:grpSpPr>
        <p:sp>
          <p:nvSpPr>
            <p:cNvPr id="183" name="ïṩļîḑê"/>
            <p:cNvSpPr/>
            <p:nvPr/>
          </p:nvSpPr>
          <p:spPr bwMode="auto">
            <a:xfrm>
              <a:off x="10319003" y="4805953"/>
              <a:ext cx="600075" cy="771525"/>
            </a:xfrm>
            <a:custGeom>
              <a:avLst/>
              <a:gdLst>
                <a:gd name="T0" fmla="*/ 210 w 325"/>
                <a:gd name="T1" fmla="*/ 140 h 418"/>
                <a:gd name="T2" fmla="*/ 237 w 325"/>
                <a:gd name="T3" fmla="*/ 155 h 418"/>
                <a:gd name="T4" fmla="*/ 161 w 325"/>
                <a:gd name="T5" fmla="*/ 179 h 418"/>
                <a:gd name="T6" fmla="*/ 187 w 325"/>
                <a:gd name="T7" fmla="*/ 68 h 418"/>
                <a:gd name="T8" fmla="*/ 230 w 325"/>
                <a:gd name="T9" fmla="*/ 40 h 418"/>
                <a:gd name="T10" fmla="*/ 199 w 325"/>
                <a:gd name="T11" fmla="*/ 85 h 418"/>
                <a:gd name="T12" fmla="*/ 99 w 325"/>
                <a:gd name="T13" fmla="*/ 132 h 418"/>
                <a:gd name="T14" fmla="*/ 132 w 325"/>
                <a:gd name="T15" fmla="*/ 83 h 418"/>
                <a:gd name="T16" fmla="*/ 174 w 325"/>
                <a:gd name="T17" fmla="*/ 116 h 418"/>
                <a:gd name="T18" fmla="*/ 59 w 325"/>
                <a:gd name="T19" fmla="*/ 198 h 418"/>
                <a:gd name="T20" fmla="*/ 16 w 325"/>
                <a:gd name="T21" fmla="*/ 224 h 418"/>
                <a:gd name="T22" fmla="*/ 17 w 325"/>
                <a:gd name="T23" fmla="*/ 314 h 418"/>
                <a:gd name="T24" fmla="*/ 55 w 325"/>
                <a:gd name="T25" fmla="*/ 244 h 418"/>
                <a:gd name="T26" fmla="*/ 131 w 325"/>
                <a:gd name="T27" fmla="*/ 194 h 418"/>
                <a:gd name="T28" fmla="*/ 111 w 325"/>
                <a:gd name="T29" fmla="*/ 251 h 418"/>
                <a:gd name="T30" fmla="*/ 148 w 325"/>
                <a:gd name="T31" fmla="*/ 246 h 418"/>
                <a:gd name="T32" fmla="*/ 184 w 325"/>
                <a:gd name="T33" fmla="*/ 243 h 418"/>
                <a:gd name="T34" fmla="*/ 131 w 325"/>
                <a:gd name="T35" fmla="*/ 281 h 418"/>
                <a:gd name="T36" fmla="*/ 76 w 325"/>
                <a:gd name="T37" fmla="*/ 299 h 418"/>
                <a:gd name="T38" fmla="*/ 134 w 325"/>
                <a:gd name="T39" fmla="*/ 334 h 418"/>
                <a:gd name="T40" fmla="*/ 203 w 325"/>
                <a:gd name="T41" fmla="*/ 298 h 418"/>
                <a:gd name="T42" fmla="*/ 206 w 325"/>
                <a:gd name="T43" fmla="*/ 350 h 418"/>
                <a:gd name="T44" fmla="*/ 165 w 325"/>
                <a:gd name="T45" fmla="*/ 378 h 418"/>
                <a:gd name="T46" fmla="*/ 144 w 325"/>
                <a:gd name="T47" fmla="*/ 410 h 418"/>
                <a:gd name="T48" fmla="*/ 228 w 325"/>
                <a:gd name="T49" fmla="*/ 408 h 418"/>
                <a:gd name="T50" fmla="*/ 239 w 325"/>
                <a:gd name="T51" fmla="*/ 307 h 418"/>
                <a:gd name="T52" fmla="*/ 273 w 325"/>
                <a:gd name="T53" fmla="*/ 283 h 418"/>
                <a:gd name="T54" fmla="*/ 271 w 325"/>
                <a:gd name="T55" fmla="*/ 239 h 418"/>
                <a:gd name="T56" fmla="*/ 233 w 325"/>
                <a:gd name="T57" fmla="*/ 226 h 418"/>
                <a:gd name="T58" fmla="*/ 261 w 325"/>
                <a:gd name="T59" fmla="*/ 181 h 418"/>
                <a:gd name="T60" fmla="*/ 316 w 325"/>
                <a:gd name="T61" fmla="*/ 167 h 418"/>
                <a:gd name="T62" fmla="*/ 297 w 325"/>
                <a:gd name="T63" fmla="*/ 119 h 418"/>
                <a:gd name="T64" fmla="*/ 251 w 325"/>
                <a:gd name="T65" fmla="*/ 93 h 418"/>
                <a:gd name="T66" fmla="*/ 276 w 325"/>
                <a:gd name="T67" fmla="*/ 34 h 418"/>
                <a:gd name="T68" fmla="*/ 217 w 325"/>
                <a:gd name="T69" fmla="*/ 11 h 418"/>
                <a:gd name="T70" fmla="*/ 164 w 325"/>
                <a:gd name="T71" fmla="*/ 29 h 418"/>
                <a:gd name="T72" fmla="*/ 136 w 325"/>
                <a:gd name="T73" fmla="*/ 43 h 418"/>
                <a:gd name="T74" fmla="*/ 113 w 325"/>
                <a:gd name="T75" fmla="*/ 21 h 418"/>
                <a:gd name="T76" fmla="*/ 78 w 325"/>
                <a:gd name="T77" fmla="*/ 52 h 4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325" h="418">
                  <a:moveTo>
                    <a:pt x="161" y="179"/>
                  </a:moveTo>
                  <a:cubicBezTo>
                    <a:pt x="160" y="178"/>
                    <a:pt x="188" y="143"/>
                    <a:pt x="210" y="140"/>
                  </a:cubicBezTo>
                  <a:cubicBezTo>
                    <a:pt x="232" y="137"/>
                    <a:pt x="226" y="133"/>
                    <a:pt x="238" y="138"/>
                  </a:cubicBezTo>
                  <a:cubicBezTo>
                    <a:pt x="250" y="144"/>
                    <a:pt x="252" y="148"/>
                    <a:pt x="237" y="155"/>
                  </a:cubicBezTo>
                  <a:cubicBezTo>
                    <a:pt x="222" y="162"/>
                    <a:pt x="215" y="168"/>
                    <a:pt x="196" y="171"/>
                  </a:cubicBezTo>
                  <a:cubicBezTo>
                    <a:pt x="177" y="175"/>
                    <a:pt x="163" y="181"/>
                    <a:pt x="161" y="179"/>
                  </a:cubicBezTo>
                  <a:close/>
                  <a:moveTo>
                    <a:pt x="199" y="85"/>
                  </a:moveTo>
                  <a:cubicBezTo>
                    <a:pt x="197" y="87"/>
                    <a:pt x="186" y="79"/>
                    <a:pt x="187" y="68"/>
                  </a:cubicBezTo>
                  <a:cubicBezTo>
                    <a:pt x="188" y="57"/>
                    <a:pt x="197" y="38"/>
                    <a:pt x="211" y="34"/>
                  </a:cubicBezTo>
                  <a:cubicBezTo>
                    <a:pt x="225" y="30"/>
                    <a:pt x="230" y="30"/>
                    <a:pt x="230" y="40"/>
                  </a:cubicBezTo>
                  <a:cubicBezTo>
                    <a:pt x="229" y="51"/>
                    <a:pt x="229" y="62"/>
                    <a:pt x="219" y="71"/>
                  </a:cubicBezTo>
                  <a:cubicBezTo>
                    <a:pt x="210" y="80"/>
                    <a:pt x="201" y="84"/>
                    <a:pt x="199" y="85"/>
                  </a:cubicBezTo>
                  <a:close/>
                  <a:moveTo>
                    <a:pt x="79" y="112"/>
                  </a:moveTo>
                  <a:cubicBezTo>
                    <a:pt x="79" y="113"/>
                    <a:pt x="87" y="125"/>
                    <a:pt x="99" y="132"/>
                  </a:cubicBezTo>
                  <a:cubicBezTo>
                    <a:pt x="112" y="138"/>
                    <a:pt x="119" y="135"/>
                    <a:pt x="129" y="127"/>
                  </a:cubicBezTo>
                  <a:cubicBezTo>
                    <a:pt x="139" y="118"/>
                    <a:pt x="130" y="95"/>
                    <a:pt x="132" y="83"/>
                  </a:cubicBezTo>
                  <a:cubicBezTo>
                    <a:pt x="135" y="70"/>
                    <a:pt x="136" y="73"/>
                    <a:pt x="146" y="75"/>
                  </a:cubicBezTo>
                  <a:cubicBezTo>
                    <a:pt x="156" y="76"/>
                    <a:pt x="173" y="108"/>
                    <a:pt x="174" y="116"/>
                  </a:cubicBezTo>
                  <a:cubicBezTo>
                    <a:pt x="174" y="123"/>
                    <a:pt x="170" y="123"/>
                    <a:pt x="128" y="142"/>
                  </a:cubicBezTo>
                  <a:cubicBezTo>
                    <a:pt x="86" y="161"/>
                    <a:pt x="67" y="195"/>
                    <a:pt x="59" y="198"/>
                  </a:cubicBezTo>
                  <a:cubicBezTo>
                    <a:pt x="52" y="202"/>
                    <a:pt x="55" y="191"/>
                    <a:pt x="40" y="188"/>
                  </a:cubicBezTo>
                  <a:cubicBezTo>
                    <a:pt x="26" y="186"/>
                    <a:pt x="23" y="211"/>
                    <a:pt x="16" y="224"/>
                  </a:cubicBezTo>
                  <a:cubicBezTo>
                    <a:pt x="8" y="238"/>
                    <a:pt x="5" y="266"/>
                    <a:pt x="5" y="277"/>
                  </a:cubicBezTo>
                  <a:cubicBezTo>
                    <a:pt x="5" y="288"/>
                    <a:pt x="0" y="301"/>
                    <a:pt x="17" y="314"/>
                  </a:cubicBezTo>
                  <a:cubicBezTo>
                    <a:pt x="33" y="326"/>
                    <a:pt x="49" y="311"/>
                    <a:pt x="53" y="304"/>
                  </a:cubicBezTo>
                  <a:cubicBezTo>
                    <a:pt x="57" y="298"/>
                    <a:pt x="53" y="269"/>
                    <a:pt x="55" y="244"/>
                  </a:cubicBezTo>
                  <a:cubicBezTo>
                    <a:pt x="57" y="220"/>
                    <a:pt x="89" y="204"/>
                    <a:pt x="100" y="197"/>
                  </a:cubicBezTo>
                  <a:cubicBezTo>
                    <a:pt x="115" y="189"/>
                    <a:pt x="129" y="190"/>
                    <a:pt x="131" y="194"/>
                  </a:cubicBezTo>
                  <a:cubicBezTo>
                    <a:pt x="134" y="197"/>
                    <a:pt x="119" y="214"/>
                    <a:pt x="112" y="219"/>
                  </a:cubicBezTo>
                  <a:cubicBezTo>
                    <a:pt x="105" y="224"/>
                    <a:pt x="110" y="244"/>
                    <a:pt x="111" y="251"/>
                  </a:cubicBezTo>
                  <a:cubicBezTo>
                    <a:pt x="113" y="257"/>
                    <a:pt x="111" y="260"/>
                    <a:pt x="125" y="265"/>
                  </a:cubicBezTo>
                  <a:cubicBezTo>
                    <a:pt x="142" y="271"/>
                    <a:pt x="139" y="257"/>
                    <a:pt x="148" y="246"/>
                  </a:cubicBezTo>
                  <a:cubicBezTo>
                    <a:pt x="157" y="236"/>
                    <a:pt x="163" y="224"/>
                    <a:pt x="170" y="224"/>
                  </a:cubicBezTo>
                  <a:cubicBezTo>
                    <a:pt x="177" y="224"/>
                    <a:pt x="180" y="238"/>
                    <a:pt x="184" y="243"/>
                  </a:cubicBezTo>
                  <a:cubicBezTo>
                    <a:pt x="187" y="248"/>
                    <a:pt x="189" y="257"/>
                    <a:pt x="177" y="263"/>
                  </a:cubicBezTo>
                  <a:cubicBezTo>
                    <a:pt x="165" y="269"/>
                    <a:pt x="131" y="281"/>
                    <a:pt x="131" y="281"/>
                  </a:cubicBezTo>
                  <a:cubicBezTo>
                    <a:pt x="131" y="281"/>
                    <a:pt x="112" y="284"/>
                    <a:pt x="101" y="287"/>
                  </a:cubicBezTo>
                  <a:cubicBezTo>
                    <a:pt x="90" y="289"/>
                    <a:pt x="78" y="285"/>
                    <a:pt x="76" y="299"/>
                  </a:cubicBezTo>
                  <a:cubicBezTo>
                    <a:pt x="73" y="312"/>
                    <a:pt x="78" y="305"/>
                    <a:pt x="86" y="319"/>
                  </a:cubicBezTo>
                  <a:cubicBezTo>
                    <a:pt x="94" y="333"/>
                    <a:pt x="119" y="337"/>
                    <a:pt x="134" y="334"/>
                  </a:cubicBezTo>
                  <a:cubicBezTo>
                    <a:pt x="149" y="332"/>
                    <a:pt x="157" y="324"/>
                    <a:pt x="168" y="316"/>
                  </a:cubicBezTo>
                  <a:cubicBezTo>
                    <a:pt x="178" y="308"/>
                    <a:pt x="194" y="298"/>
                    <a:pt x="203" y="298"/>
                  </a:cubicBezTo>
                  <a:cubicBezTo>
                    <a:pt x="211" y="299"/>
                    <a:pt x="211" y="311"/>
                    <a:pt x="211" y="325"/>
                  </a:cubicBezTo>
                  <a:cubicBezTo>
                    <a:pt x="211" y="339"/>
                    <a:pt x="210" y="337"/>
                    <a:pt x="206" y="350"/>
                  </a:cubicBezTo>
                  <a:cubicBezTo>
                    <a:pt x="202" y="364"/>
                    <a:pt x="199" y="368"/>
                    <a:pt x="194" y="372"/>
                  </a:cubicBezTo>
                  <a:cubicBezTo>
                    <a:pt x="189" y="377"/>
                    <a:pt x="184" y="376"/>
                    <a:pt x="165" y="378"/>
                  </a:cubicBezTo>
                  <a:cubicBezTo>
                    <a:pt x="145" y="380"/>
                    <a:pt x="131" y="393"/>
                    <a:pt x="129" y="400"/>
                  </a:cubicBezTo>
                  <a:cubicBezTo>
                    <a:pt x="128" y="407"/>
                    <a:pt x="135" y="405"/>
                    <a:pt x="144" y="410"/>
                  </a:cubicBezTo>
                  <a:cubicBezTo>
                    <a:pt x="152" y="414"/>
                    <a:pt x="163" y="416"/>
                    <a:pt x="185" y="417"/>
                  </a:cubicBezTo>
                  <a:cubicBezTo>
                    <a:pt x="208" y="418"/>
                    <a:pt x="219" y="417"/>
                    <a:pt x="228" y="408"/>
                  </a:cubicBezTo>
                  <a:cubicBezTo>
                    <a:pt x="238" y="400"/>
                    <a:pt x="240" y="373"/>
                    <a:pt x="241" y="354"/>
                  </a:cubicBezTo>
                  <a:cubicBezTo>
                    <a:pt x="243" y="335"/>
                    <a:pt x="239" y="315"/>
                    <a:pt x="239" y="307"/>
                  </a:cubicBezTo>
                  <a:cubicBezTo>
                    <a:pt x="239" y="299"/>
                    <a:pt x="239" y="297"/>
                    <a:pt x="244" y="288"/>
                  </a:cubicBezTo>
                  <a:cubicBezTo>
                    <a:pt x="249" y="280"/>
                    <a:pt x="257" y="284"/>
                    <a:pt x="273" y="283"/>
                  </a:cubicBezTo>
                  <a:cubicBezTo>
                    <a:pt x="288" y="281"/>
                    <a:pt x="286" y="270"/>
                    <a:pt x="287" y="261"/>
                  </a:cubicBezTo>
                  <a:cubicBezTo>
                    <a:pt x="288" y="251"/>
                    <a:pt x="281" y="247"/>
                    <a:pt x="271" y="239"/>
                  </a:cubicBezTo>
                  <a:cubicBezTo>
                    <a:pt x="260" y="231"/>
                    <a:pt x="250" y="236"/>
                    <a:pt x="240" y="236"/>
                  </a:cubicBezTo>
                  <a:cubicBezTo>
                    <a:pt x="230" y="236"/>
                    <a:pt x="233" y="234"/>
                    <a:pt x="233" y="226"/>
                  </a:cubicBezTo>
                  <a:cubicBezTo>
                    <a:pt x="233" y="219"/>
                    <a:pt x="238" y="215"/>
                    <a:pt x="239" y="207"/>
                  </a:cubicBezTo>
                  <a:cubicBezTo>
                    <a:pt x="241" y="200"/>
                    <a:pt x="251" y="192"/>
                    <a:pt x="261" y="181"/>
                  </a:cubicBezTo>
                  <a:cubicBezTo>
                    <a:pt x="270" y="170"/>
                    <a:pt x="276" y="175"/>
                    <a:pt x="289" y="176"/>
                  </a:cubicBezTo>
                  <a:cubicBezTo>
                    <a:pt x="302" y="176"/>
                    <a:pt x="307" y="176"/>
                    <a:pt x="316" y="167"/>
                  </a:cubicBezTo>
                  <a:cubicBezTo>
                    <a:pt x="325" y="157"/>
                    <a:pt x="318" y="138"/>
                    <a:pt x="316" y="132"/>
                  </a:cubicBezTo>
                  <a:cubicBezTo>
                    <a:pt x="315" y="125"/>
                    <a:pt x="309" y="129"/>
                    <a:pt x="297" y="119"/>
                  </a:cubicBezTo>
                  <a:cubicBezTo>
                    <a:pt x="285" y="108"/>
                    <a:pt x="274" y="111"/>
                    <a:pt x="261" y="111"/>
                  </a:cubicBezTo>
                  <a:cubicBezTo>
                    <a:pt x="248" y="111"/>
                    <a:pt x="244" y="100"/>
                    <a:pt x="251" y="93"/>
                  </a:cubicBezTo>
                  <a:cubicBezTo>
                    <a:pt x="259" y="87"/>
                    <a:pt x="265" y="77"/>
                    <a:pt x="272" y="66"/>
                  </a:cubicBezTo>
                  <a:cubicBezTo>
                    <a:pt x="278" y="55"/>
                    <a:pt x="276" y="45"/>
                    <a:pt x="276" y="34"/>
                  </a:cubicBezTo>
                  <a:cubicBezTo>
                    <a:pt x="275" y="24"/>
                    <a:pt x="264" y="20"/>
                    <a:pt x="252" y="10"/>
                  </a:cubicBezTo>
                  <a:cubicBezTo>
                    <a:pt x="240" y="0"/>
                    <a:pt x="225" y="8"/>
                    <a:pt x="217" y="11"/>
                  </a:cubicBezTo>
                  <a:cubicBezTo>
                    <a:pt x="208" y="14"/>
                    <a:pt x="196" y="20"/>
                    <a:pt x="187" y="25"/>
                  </a:cubicBezTo>
                  <a:cubicBezTo>
                    <a:pt x="178" y="30"/>
                    <a:pt x="172" y="30"/>
                    <a:pt x="164" y="29"/>
                  </a:cubicBezTo>
                  <a:cubicBezTo>
                    <a:pt x="157" y="29"/>
                    <a:pt x="150" y="29"/>
                    <a:pt x="147" y="29"/>
                  </a:cubicBezTo>
                  <a:cubicBezTo>
                    <a:pt x="144" y="29"/>
                    <a:pt x="141" y="35"/>
                    <a:pt x="136" y="43"/>
                  </a:cubicBezTo>
                  <a:cubicBezTo>
                    <a:pt x="131" y="51"/>
                    <a:pt x="126" y="47"/>
                    <a:pt x="124" y="43"/>
                  </a:cubicBezTo>
                  <a:cubicBezTo>
                    <a:pt x="121" y="38"/>
                    <a:pt x="116" y="28"/>
                    <a:pt x="113" y="21"/>
                  </a:cubicBezTo>
                  <a:cubicBezTo>
                    <a:pt x="110" y="15"/>
                    <a:pt x="97" y="18"/>
                    <a:pt x="91" y="21"/>
                  </a:cubicBezTo>
                  <a:cubicBezTo>
                    <a:pt x="84" y="25"/>
                    <a:pt x="80" y="41"/>
                    <a:pt x="78" y="52"/>
                  </a:cubicBezTo>
                  <a:cubicBezTo>
                    <a:pt x="75" y="63"/>
                    <a:pt x="78" y="111"/>
                    <a:pt x="79" y="1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184" name="îşḷïḍe"/>
            <p:cNvSpPr/>
            <p:nvPr/>
          </p:nvSpPr>
          <p:spPr bwMode="auto">
            <a:xfrm>
              <a:off x="9461753" y="4939303"/>
              <a:ext cx="388938" cy="534988"/>
            </a:xfrm>
            <a:custGeom>
              <a:avLst/>
              <a:gdLst>
                <a:gd name="T0" fmla="*/ 4 w 211"/>
                <a:gd name="T1" fmla="*/ 137 h 290"/>
                <a:gd name="T2" fmla="*/ 41 w 211"/>
                <a:gd name="T3" fmla="*/ 117 h 290"/>
                <a:gd name="T4" fmla="*/ 75 w 211"/>
                <a:gd name="T5" fmla="*/ 83 h 290"/>
                <a:gd name="T6" fmla="*/ 82 w 211"/>
                <a:gd name="T7" fmla="*/ 29 h 290"/>
                <a:gd name="T8" fmla="*/ 94 w 211"/>
                <a:gd name="T9" fmla="*/ 6 h 290"/>
                <a:gd name="T10" fmla="*/ 126 w 211"/>
                <a:gd name="T11" fmla="*/ 27 h 290"/>
                <a:gd name="T12" fmla="*/ 145 w 211"/>
                <a:gd name="T13" fmla="*/ 65 h 290"/>
                <a:gd name="T14" fmla="*/ 170 w 211"/>
                <a:gd name="T15" fmla="*/ 93 h 290"/>
                <a:gd name="T16" fmla="*/ 164 w 211"/>
                <a:gd name="T17" fmla="*/ 119 h 290"/>
                <a:gd name="T18" fmla="*/ 127 w 211"/>
                <a:gd name="T19" fmla="*/ 151 h 290"/>
                <a:gd name="T20" fmla="*/ 123 w 211"/>
                <a:gd name="T21" fmla="*/ 165 h 290"/>
                <a:gd name="T22" fmla="*/ 181 w 211"/>
                <a:gd name="T23" fmla="*/ 187 h 290"/>
                <a:gd name="T24" fmla="*/ 210 w 211"/>
                <a:gd name="T25" fmla="*/ 231 h 290"/>
                <a:gd name="T26" fmla="*/ 202 w 211"/>
                <a:gd name="T27" fmla="*/ 281 h 290"/>
                <a:gd name="T28" fmla="*/ 185 w 211"/>
                <a:gd name="T29" fmla="*/ 289 h 290"/>
                <a:gd name="T30" fmla="*/ 162 w 211"/>
                <a:gd name="T31" fmla="*/ 267 h 290"/>
                <a:gd name="T32" fmla="*/ 158 w 211"/>
                <a:gd name="T33" fmla="*/ 217 h 290"/>
                <a:gd name="T34" fmla="*/ 134 w 211"/>
                <a:gd name="T35" fmla="*/ 188 h 290"/>
                <a:gd name="T36" fmla="*/ 117 w 211"/>
                <a:gd name="T37" fmla="*/ 183 h 290"/>
                <a:gd name="T38" fmla="*/ 105 w 211"/>
                <a:gd name="T39" fmla="*/ 191 h 290"/>
                <a:gd name="T40" fmla="*/ 95 w 211"/>
                <a:gd name="T41" fmla="*/ 225 h 290"/>
                <a:gd name="T42" fmla="*/ 92 w 211"/>
                <a:gd name="T43" fmla="*/ 251 h 290"/>
                <a:gd name="T44" fmla="*/ 58 w 211"/>
                <a:gd name="T45" fmla="*/ 261 h 290"/>
                <a:gd name="T46" fmla="*/ 37 w 211"/>
                <a:gd name="T47" fmla="*/ 235 h 290"/>
                <a:gd name="T48" fmla="*/ 39 w 211"/>
                <a:gd name="T49" fmla="*/ 205 h 290"/>
                <a:gd name="T50" fmla="*/ 45 w 211"/>
                <a:gd name="T51" fmla="*/ 177 h 290"/>
                <a:gd name="T52" fmla="*/ 18 w 211"/>
                <a:gd name="T53" fmla="*/ 155 h 290"/>
                <a:gd name="T54" fmla="*/ 0 w 211"/>
                <a:gd name="T55" fmla="*/ 147 h 290"/>
                <a:gd name="T56" fmla="*/ 4 w 211"/>
                <a:gd name="T57" fmla="*/ 137 h 2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211" h="290">
                  <a:moveTo>
                    <a:pt x="4" y="137"/>
                  </a:moveTo>
                  <a:cubicBezTo>
                    <a:pt x="4" y="137"/>
                    <a:pt x="32" y="120"/>
                    <a:pt x="41" y="117"/>
                  </a:cubicBezTo>
                  <a:cubicBezTo>
                    <a:pt x="50" y="115"/>
                    <a:pt x="69" y="103"/>
                    <a:pt x="75" y="83"/>
                  </a:cubicBezTo>
                  <a:cubicBezTo>
                    <a:pt x="81" y="63"/>
                    <a:pt x="82" y="39"/>
                    <a:pt x="82" y="29"/>
                  </a:cubicBezTo>
                  <a:cubicBezTo>
                    <a:pt x="82" y="19"/>
                    <a:pt x="76" y="0"/>
                    <a:pt x="94" y="6"/>
                  </a:cubicBezTo>
                  <a:cubicBezTo>
                    <a:pt x="112" y="12"/>
                    <a:pt x="124" y="15"/>
                    <a:pt x="126" y="27"/>
                  </a:cubicBezTo>
                  <a:cubicBezTo>
                    <a:pt x="129" y="39"/>
                    <a:pt x="131" y="55"/>
                    <a:pt x="145" y="65"/>
                  </a:cubicBezTo>
                  <a:cubicBezTo>
                    <a:pt x="159" y="75"/>
                    <a:pt x="168" y="83"/>
                    <a:pt x="170" y="93"/>
                  </a:cubicBezTo>
                  <a:cubicBezTo>
                    <a:pt x="172" y="103"/>
                    <a:pt x="172" y="114"/>
                    <a:pt x="164" y="119"/>
                  </a:cubicBezTo>
                  <a:cubicBezTo>
                    <a:pt x="157" y="123"/>
                    <a:pt x="132" y="147"/>
                    <a:pt x="127" y="151"/>
                  </a:cubicBezTo>
                  <a:cubicBezTo>
                    <a:pt x="121" y="154"/>
                    <a:pt x="119" y="165"/>
                    <a:pt x="123" y="165"/>
                  </a:cubicBezTo>
                  <a:cubicBezTo>
                    <a:pt x="127" y="165"/>
                    <a:pt x="163" y="172"/>
                    <a:pt x="181" y="187"/>
                  </a:cubicBezTo>
                  <a:cubicBezTo>
                    <a:pt x="198" y="202"/>
                    <a:pt x="209" y="216"/>
                    <a:pt x="210" y="231"/>
                  </a:cubicBezTo>
                  <a:cubicBezTo>
                    <a:pt x="211" y="247"/>
                    <a:pt x="210" y="273"/>
                    <a:pt x="202" y="281"/>
                  </a:cubicBezTo>
                  <a:cubicBezTo>
                    <a:pt x="194" y="288"/>
                    <a:pt x="192" y="290"/>
                    <a:pt x="185" y="289"/>
                  </a:cubicBezTo>
                  <a:cubicBezTo>
                    <a:pt x="178" y="288"/>
                    <a:pt x="164" y="279"/>
                    <a:pt x="162" y="267"/>
                  </a:cubicBezTo>
                  <a:cubicBezTo>
                    <a:pt x="160" y="255"/>
                    <a:pt x="164" y="239"/>
                    <a:pt x="158" y="217"/>
                  </a:cubicBezTo>
                  <a:cubicBezTo>
                    <a:pt x="153" y="196"/>
                    <a:pt x="139" y="191"/>
                    <a:pt x="134" y="188"/>
                  </a:cubicBezTo>
                  <a:cubicBezTo>
                    <a:pt x="129" y="186"/>
                    <a:pt x="117" y="183"/>
                    <a:pt x="117" y="183"/>
                  </a:cubicBezTo>
                  <a:cubicBezTo>
                    <a:pt x="117" y="183"/>
                    <a:pt x="108" y="182"/>
                    <a:pt x="105" y="191"/>
                  </a:cubicBezTo>
                  <a:cubicBezTo>
                    <a:pt x="102" y="199"/>
                    <a:pt x="96" y="215"/>
                    <a:pt x="95" y="225"/>
                  </a:cubicBezTo>
                  <a:cubicBezTo>
                    <a:pt x="94" y="235"/>
                    <a:pt x="96" y="247"/>
                    <a:pt x="92" y="251"/>
                  </a:cubicBezTo>
                  <a:cubicBezTo>
                    <a:pt x="87" y="256"/>
                    <a:pt x="77" y="267"/>
                    <a:pt x="58" y="261"/>
                  </a:cubicBezTo>
                  <a:cubicBezTo>
                    <a:pt x="39" y="255"/>
                    <a:pt x="41" y="238"/>
                    <a:pt x="37" y="235"/>
                  </a:cubicBezTo>
                  <a:cubicBezTo>
                    <a:pt x="33" y="231"/>
                    <a:pt x="39" y="211"/>
                    <a:pt x="39" y="205"/>
                  </a:cubicBezTo>
                  <a:cubicBezTo>
                    <a:pt x="39" y="200"/>
                    <a:pt x="47" y="182"/>
                    <a:pt x="45" y="177"/>
                  </a:cubicBezTo>
                  <a:cubicBezTo>
                    <a:pt x="44" y="173"/>
                    <a:pt x="25" y="153"/>
                    <a:pt x="18" y="155"/>
                  </a:cubicBezTo>
                  <a:cubicBezTo>
                    <a:pt x="11" y="157"/>
                    <a:pt x="1" y="155"/>
                    <a:pt x="0" y="147"/>
                  </a:cubicBezTo>
                  <a:cubicBezTo>
                    <a:pt x="0" y="140"/>
                    <a:pt x="4" y="137"/>
                    <a:pt x="4" y="13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185" name="îṧļíďe"/>
            <p:cNvSpPr/>
            <p:nvPr/>
          </p:nvSpPr>
          <p:spPr bwMode="auto">
            <a:xfrm>
              <a:off x="8326691" y="4823415"/>
              <a:ext cx="746125" cy="695325"/>
            </a:xfrm>
            <a:custGeom>
              <a:avLst/>
              <a:gdLst>
                <a:gd name="T0" fmla="*/ 159 w 405"/>
                <a:gd name="T1" fmla="*/ 229 h 377"/>
                <a:gd name="T2" fmla="*/ 218 w 405"/>
                <a:gd name="T3" fmla="*/ 183 h 377"/>
                <a:gd name="T4" fmla="*/ 234 w 405"/>
                <a:gd name="T5" fmla="*/ 247 h 377"/>
                <a:gd name="T6" fmla="*/ 260 w 405"/>
                <a:gd name="T7" fmla="*/ 269 h 377"/>
                <a:gd name="T8" fmla="*/ 209 w 405"/>
                <a:gd name="T9" fmla="*/ 247 h 377"/>
                <a:gd name="T10" fmla="*/ 108 w 405"/>
                <a:gd name="T11" fmla="*/ 215 h 377"/>
                <a:gd name="T12" fmla="*/ 73 w 405"/>
                <a:gd name="T13" fmla="*/ 283 h 377"/>
                <a:gd name="T14" fmla="*/ 43 w 405"/>
                <a:gd name="T15" fmla="*/ 350 h 377"/>
                <a:gd name="T16" fmla="*/ 91 w 405"/>
                <a:gd name="T17" fmla="*/ 347 h 377"/>
                <a:gd name="T18" fmla="*/ 118 w 405"/>
                <a:gd name="T19" fmla="*/ 372 h 377"/>
                <a:gd name="T20" fmla="*/ 136 w 405"/>
                <a:gd name="T21" fmla="*/ 328 h 377"/>
                <a:gd name="T22" fmla="*/ 147 w 405"/>
                <a:gd name="T23" fmla="*/ 265 h 377"/>
                <a:gd name="T24" fmla="*/ 242 w 405"/>
                <a:gd name="T25" fmla="*/ 306 h 377"/>
                <a:gd name="T26" fmla="*/ 186 w 405"/>
                <a:gd name="T27" fmla="*/ 337 h 377"/>
                <a:gd name="T28" fmla="*/ 172 w 405"/>
                <a:gd name="T29" fmla="*/ 367 h 377"/>
                <a:gd name="T30" fmla="*/ 272 w 405"/>
                <a:gd name="T31" fmla="*/ 328 h 377"/>
                <a:gd name="T32" fmla="*/ 352 w 405"/>
                <a:gd name="T33" fmla="*/ 373 h 377"/>
                <a:gd name="T34" fmla="*/ 389 w 405"/>
                <a:gd name="T35" fmla="*/ 333 h 377"/>
                <a:gd name="T36" fmla="*/ 292 w 405"/>
                <a:gd name="T37" fmla="*/ 299 h 377"/>
                <a:gd name="T38" fmla="*/ 291 w 405"/>
                <a:gd name="T39" fmla="*/ 217 h 377"/>
                <a:gd name="T40" fmla="*/ 261 w 405"/>
                <a:gd name="T41" fmla="*/ 173 h 377"/>
                <a:gd name="T42" fmla="*/ 297 w 405"/>
                <a:gd name="T43" fmla="*/ 107 h 377"/>
                <a:gd name="T44" fmla="*/ 283 w 405"/>
                <a:gd name="T45" fmla="*/ 43 h 377"/>
                <a:gd name="T46" fmla="*/ 241 w 405"/>
                <a:gd name="T47" fmla="*/ 1 h 377"/>
                <a:gd name="T48" fmla="*/ 241 w 405"/>
                <a:gd name="T49" fmla="*/ 35 h 377"/>
                <a:gd name="T50" fmla="*/ 245 w 405"/>
                <a:gd name="T51" fmla="*/ 97 h 377"/>
                <a:gd name="T52" fmla="*/ 194 w 405"/>
                <a:gd name="T53" fmla="*/ 129 h 377"/>
                <a:gd name="T54" fmla="*/ 161 w 405"/>
                <a:gd name="T55" fmla="*/ 121 h 377"/>
                <a:gd name="T56" fmla="*/ 150 w 405"/>
                <a:gd name="T57" fmla="*/ 33 h 377"/>
                <a:gd name="T58" fmla="*/ 122 w 405"/>
                <a:gd name="T59" fmla="*/ 56 h 377"/>
                <a:gd name="T60" fmla="*/ 121 w 405"/>
                <a:gd name="T61" fmla="*/ 133 h 377"/>
                <a:gd name="T62" fmla="*/ 30 w 405"/>
                <a:gd name="T63" fmla="*/ 180 h 377"/>
                <a:gd name="T64" fmla="*/ 22 w 405"/>
                <a:gd name="T65" fmla="*/ 219 h 3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05" h="377">
                  <a:moveTo>
                    <a:pt x="174" y="243"/>
                  </a:moveTo>
                  <a:cubicBezTo>
                    <a:pt x="172" y="243"/>
                    <a:pt x="154" y="236"/>
                    <a:pt x="159" y="229"/>
                  </a:cubicBezTo>
                  <a:cubicBezTo>
                    <a:pt x="163" y="221"/>
                    <a:pt x="190" y="187"/>
                    <a:pt x="199" y="183"/>
                  </a:cubicBezTo>
                  <a:cubicBezTo>
                    <a:pt x="208" y="178"/>
                    <a:pt x="215" y="172"/>
                    <a:pt x="218" y="183"/>
                  </a:cubicBezTo>
                  <a:cubicBezTo>
                    <a:pt x="221" y="193"/>
                    <a:pt x="215" y="230"/>
                    <a:pt x="220" y="236"/>
                  </a:cubicBezTo>
                  <a:cubicBezTo>
                    <a:pt x="225" y="241"/>
                    <a:pt x="227" y="248"/>
                    <a:pt x="234" y="247"/>
                  </a:cubicBezTo>
                  <a:cubicBezTo>
                    <a:pt x="241" y="246"/>
                    <a:pt x="256" y="238"/>
                    <a:pt x="260" y="245"/>
                  </a:cubicBezTo>
                  <a:cubicBezTo>
                    <a:pt x="263" y="252"/>
                    <a:pt x="268" y="259"/>
                    <a:pt x="260" y="269"/>
                  </a:cubicBezTo>
                  <a:cubicBezTo>
                    <a:pt x="253" y="278"/>
                    <a:pt x="247" y="281"/>
                    <a:pt x="239" y="274"/>
                  </a:cubicBezTo>
                  <a:cubicBezTo>
                    <a:pt x="230" y="267"/>
                    <a:pt x="221" y="250"/>
                    <a:pt x="209" y="247"/>
                  </a:cubicBezTo>
                  <a:cubicBezTo>
                    <a:pt x="198" y="245"/>
                    <a:pt x="176" y="243"/>
                    <a:pt x="174" y="243"/>
                  </a:cubicBezTo>
                  <a:close/>
                  <a:moveTo>
                    <a:pt x="108" y="215"/>
                  </a:moveTo>
                  <a:cubicBezTo>
                    <a:pt x="109" y="216"/>
                    <a:pt x="102" y="238"/>
                    <a:pt x="93" y="254"/>
                  </a:cubicBezTo>
                  <a:cubicBezTo>
                    <a:pt x="84" y="271"/>
                    <a:pt x="81" y="271"/>
                    <a:pt x="73" y="283"/>
                  </a:cubicBezTo>
                  <a:cubicBezTo>
                    <a:pt x="65" y="295"/>
                    <a:pt x="45" y="309"/>
                    <a:pt x="44" y="316"/>
                  </a:cubicBezTo>
                  <a:cubicBezTo>
                    <a:pt x="43" y="323"/>
                    <a:pt x="41" y="343"/>
                    <a:pt x="43" y="350"/>
                  </a:cubicBezTo>
                  <a:cubicBezTo>
                    <a:pt x="44" y="357"/>
                    <a:pt x="61" y="358"/>
                    <a:pt x="69" y="357"/>
                  </a:cubicBezTo>
                  <a:cubicBezTo>
                    <a:pt x="77" y="355"/>
                    <a:pt x="84" y="347"/>
                    <a:pt x="91" y="347"/>
                  </a:cubicBezTo>
                  <a:cubicBezTo>
                    <a:pt x="98" y="347"/>
                    <a:pt x="96" y="355"/>
                    <a:pt x="97" y="361"/>
                  </a:cubicBezTo>
                  <a:cubicBezTo>
                    <a:pt x="97" y="366"/>
                    <a:pt x="101" y="368"/>
                    <a:pt x="118" y="372"/>
                  </a:cubicBezTo>
                  <a:cubicBezTo>
                    <a:pt x="136" y="377"/>
                    <a:pt x="140" y="364"/>
                    <a:pt x="144" y="352"/>
                  </a:cubicBezTo>
                  <a:cubicBezTo>
                    <a:pt x="148" y="339"/>
                    <a:pt x="140" y="339"/>
                    <a:pt x="136" y="328"/>
                  </a:cubicBezTo>
                  <a:cubicBezTo>
                    <a:pt x="133" y="316"/>
                    <a:pt x="136" y="302"/>
                    <a:pt x="136" y="292"/>
                  </a:cubicBezTo>
                  <a:cubicBezTo>
                    <a:pt x="135" y="281"/>
                    <a:pt x="141" y="272"/>
                    <a:pt x="147" y="265"/>
                  </a:cubicBezTo>
                  <a:cubicBezTo>
                    <a:pt x="153" y="258"/>
                    <a:pt x="160" y="248"/>
                    <a:pt x="186" y="258"/>
                  </a:cubicBezTo>
                  <a:cubicBezTo>
                    <a:pt x="212" y="267"/>
                    <a:pt x="239" y="298"/>
                    <a:pt x="242" y="306"/>
                  </a:cubicBezTo>
                  <a:cubicBezTo>
                    <a:pt x="245" y="313"/>
                    <a:pt x="232" y="318"/>
                    <a:pt x="227" y="325"/>
                  </a:cubicBezTo>
                  <a:cubicBezTo>
                    <a:pt x="222" y="332"/>
                    <a:pt x="196" y="338"/>
                    <a:pt x="186" y="337"/>
                  </a:cubicBezTo>
                  <a:cubicBezTo>
                    <a:pt x="175" y="336"/>
                    <a:pt x="172" y="344"/>
                    <a:pt x="167" y="348"/>
                  </a:cubicBezTo>
                  <a:cubicBezTo>
                    <a:pt x="162" y="351"/>
                    <a:pt x="167" y="361"/>
                    <a:pt x="172" y="367"/>
                  </a:cubicBezTo>
                  <a:cubicBezTo>
                    <a:pt x="177" y="373"/>
                    <a:pt x="211" y="373"/>
                    <a:pt x="224" y="364"/>
                  </a:cubicBezTo>
                  <a:cubicBezTo>
                    <a:pt x="237" y="354"/>
                    <a:pt x="272" y="328"/>
                    <a:pt x="272" y="328"/>
                  </a:cubicBezTo>
                  <a:cubicBezTo>
                    <a:pt x="272" y="328"/>
                    <a:pt x="285" y="340"/>
                    <a:pt x="293" y="348"/>
                  </a:cubicBezTo>
                  <a:cubicBezTo>
                    <a:pt x="301" y="357"/>
                    <a:pt x="319" y="369"/>
                    <a:pt x="352" y="373"/>
                  </a:cubicBezTo>
                  <a:cubicBezTo>
                    <a:pt x="385" y="377"/>
                    <a:pt x="398" y="356"/>
                    <a:pt x="401" y="352"/>
                  </a:cubicBezTo>
                  <a:cubicBezTo>
                    <a:pt x="405" y="348"/>
                    <a:pt x="399" y="342"/>
                    <a:pt x="389" y="333"/>
                  </a:cubicBezTo>
                  <a:cubicBezTo>
                    <a:pt x="379" y="323"/>
                    <a:pt x="353" y="312"/>
                    <a:pt x="337" y="313"/>
                  </a:cubicBezTo>
                  <a:cubicBezTo>
                    <a:pt x="321" y="315"/>
                    <a:pt x="303" y="305"/>
                    <a:pt x="292" y="299"/>
                  </a:cubicBezTo>
                  <a:cubicBezTo>
                    <a:pt x="282" y="293"/>
                    <a:pt x="287" y="293"/>
                    <a:pt x="291" y="277"/>
                  </a:cubicBezTo>
                  <a:cubicBezTo>
                    <a:pt x="295" y="261"/>
                    <a:pt x="294" y="231"/>
                    <a:pt x="291" y="217"/>
                  </a:cubicBezTo>
                  <a:cubicBezTo>
                    <a:pt x="287" y="204"/>
                    <a:pt x="269" y="200"/>
                    <a:pt x="264" y="192"/>
                  </a:cubicBezTo>
                  <a:cubicBezTo>
                    <a:pt x="258" y="184"/>
                    <a:pt x="251" y="180"/>
                    <a:pt x="261" y="173"/>
                  </a:cubicBezTo>
                  <a:cubicBezTo>
                    <a:pt x="272" y="166"/>
                    <a:pt x="282" y="146"/>
                    <a:pt x="290" y="135"/>
                  </a:cubicBezTo>
                  <a:cubicBezTo>
                    <a:pt x="298" y="123"/>
                    <a:pt x="305" y="117"/>
                    <a:pt x="297" y="107"/>
                  </a:cubicBezTo>
                  <a:cubicBezTo>
                    <a:pt x="289" y="97"/>
                    <a:pt x="283" y="94"/>
                    <a:pt x="281" y="86"/>
                  </a:cubicBezTo>
                  <a:cubicBezTo>
                    <a:pt x="280" y="79"/>
                    <a:pt x="283" y="57"/>
                    <a:pt x="283" y="43"/>
                  </a:cubicBezTo>
                  <a:cubicBezTo>
                    <a:pt x="283" y="29"/>
                    <a:pt x="285" y="30"/>
                    <a:pt x="272" y="15"/>
                  </a:cubicBezTo>
                  <a:cubicBezTo>
                    <a:pt x="260" y="0"/>
                    <a:pt x="248" y="2"/>
                    <a:pt x="241" y="1"/>
                  </a:cubicBezTo>
                  <a:cubicBezTo>
                    <a:pt x="235" y="0"/>
                    <a:pt x="231" y="21"/>
                    <a:pt x="233" y="26"/>
                  </a:cubicBezTo>
                  <a:cubicBezTo>
                    <a:pt x="235" y="31"/>
                    <a:pt x="239" y="31"/>
                    <a:pt x="241" y="35"/>
                  </a:cubicBezTo>
                  <a:cubicBezTo>
                    <a:pt x="242" y="39"/>
                    <a:pt x="239" y="36"/>
                    <a:pt x="243" y="53"/>
                  </a:cubicBezTo>
                  <a:cubicBezTo>
                    <a:pt x="247" y="70"/>
                    <a:pt x="245" y="91"/>
                    <a:pt x="245" y="97"/>
                  </a:cubicBezTo>
                  <a:cubicBezTo>
                    <a:pt x="245" y="103"/>
                    <a:pt x="240" y="107"/>
                    <a:pt x="234" y="114"/>
                  </a:cubicBezTo>
                  <a:cubicBezTo>
                    <a:pt x="228" y="121"/>
                    <a:pt x="206" y="123"/>
                    <a:pt x="194" y="129"/>
                  </a:cubicBezTo>
                  <a:cubicBezTo>
                    <a:pt x="181" y="135"/>
                    <a:pt x="179" y="146"/>
                    <a:pt x="170" y="149"/>
                  </a:cubicBezTo>
                  <a:cubicBezTo>
                    <a:pt x="161" y="151"/>
                    <a:pt x="157" y="138"/>
                    <a:pt x="161" y="121"/>
                  </a:cubicBezTo>
                  <a:cubicBezTo>
                    <a:pt x="164" y="109"/>
                    <a:pt x="168" y="79"/>
                    <a:pt x="168" y="64"/>
                  </a:cubicBezTo>
                  <a:cubicBezTo>
                    <a:pt x="167" y="54"/>
                    <a:pt x="158" y="40"/>
                    <a:pt x="150" y="33"/>
                  </a:cubicBezTo>
                  <a:cubicBezTo>
                    <a:pt x="142" y="25"/>
                    <a:pt x="136" y="30"/>
                    <a:pt x="131" y="32"/>
                  </a:cubicBezTo>
                  <a:cubicBezTo>
                    <a:pt x="126" y="35"/>
                    <a:pt x="120" y="43"/>
                    <a:pt x="122" y="56"/>
                  </a:cubicBezTo>
                  <a:cubicBezTo>
                    <a:pt x="124" y="70"/>
                    <a:pt x="127" y="72"/>
                    <a:pt x="127" y="82"/>
                  </a:cubicBezTo>
                  <a:cubicBezTo>
                    <a:pt x="128" y="92"/>
                    <a:pt x="124" y="113"/>
                    <a:pt x="121" y="133"/>
                  </a:cubicBezTo>
                  <a:cubicBezTo>
                    <a:pt x="117" y="152"/>
                    <a:pt x="104" y="151"/>
                    <a:pt x="90" y="158"/>
                  </a:cubicBezTo>
                  <a:cubicBezTo>
                    <a:pt x="76" y="165"/>
                    <a:pt x="48" y="175"/>
                    <a:pt x="30" y="180"/>
                  </a:cubicBezTo>
                  <a:cubicBezTo>
                    <a:pt x="13" y="184"/>
                    <a:pt x="0" y="191"/>
                    <a:pt x="0" y="200"/>
                  </a:cubicBezTo>
                  <a:cubicBezTo>
                    <a:pt x="0" y="209"/>
                    <a:pt x="9" y="210"/>
                    <a:pt x="22" y="219"/>
                  </a:cubicBezTo>
                  <a:cubicBezTo>
                    <a:pt x="35" y="228"/>
                    <a:pt x="107" y="215"/>
                    <a:pt x="108" y="2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186" name="íŝļïḓè"/>
            <p:cNvSpPr/>
            <p:nvPr/>
          </p:nvSpPr>
          <p:spPr bwMode="auto">
            <a:xfrm>
              <a:off x="6220078" y="4756740"/>
              <a:ext cx="627063" cy="793750"/>
            </a:xfrm>
            <a:custGeom>
              <a:avLst/>
              <a:gdLst>
                <a:gd name="T0" fmla="*/ 194 w 340"/>
                <a:gd name="T1" fmla="*/ 225 h 430"/>
                <a:gd name="T2" fmla="*/ 189 w 340"/>
                <a:gd name="T3" fmla="*/ 204 h 430"/>
                <a:gd name="T4" fmla="*/ 222 w 340"/>
                <a:gd name="T5" fmla="*/ 196 h 430"/>
                <a:gd name="T6" fmla="*/ 234 w 340"/>
                <a:gd name="T7" fmla="*/ 215 h 430"/>
                <a:gd name="T8" fmla="*/ 217 w 340"/>
                <a:gd name="T9" fmla="*/ 231 h 430"/>
                <a:gd name="T10" fmla="*/ 194 w 340"/>
                <a:gd name="T11" fmla="*/ 225 h 430"/>
                <a:gd name="T12" fmla="*/ 33 w 340"/>
                <a:gd name="T13" fmla="*/ 228 h 430"/>
                <a:gd name="T14" fmla="*/ 67 w 340"/>
                <a:gd name="T15" fmla="*/ 224 h 430"/>
                <a:gd name="T16" fmla="*/ 105 w 340"/>
                <a:gd name="T17" fmla="*/ 194 h 430"/>
                <a:gd name="T18" fmla="*/ 164 w 340"/>
                <a:gd name="T19" fmla="*/ 151 h 430"/>
                <a:gd name="T20" fmla="*/ 170 w 340"/>
                <a:gd name="T21" fmla="*/ 163 h 430"/>
                <a:gd name="T22" fmla="*/ 144 w 340"/>
                <a:gd name="T23" fmla="*/ 203 h 430"/>
                <a:gd name="T24" fmla="*/ 142 w 340"/>
                <a:gd name="T25" fmla="*/ 250 h 430"/>
                <a:gd name="T26" fmla="*/ 166 w 340"/>
                <a:gd name="T27" fmla="*/ 278 h 430"/>
                <a:gd name="T28" fmla="*/ 170 w 340"/>
                <a:gd name="T29" fmla="*/ 300 h 430"/>
                <a:gd name="T30" fmla="*/ 132 w 340"/>
                <a:gd name="T31" fmla="*/ 347 h 430"/>
                <a:gd name="T32" fmla="*/ 133 w 340"/>
                <a:gd name="T33" fmla="*/ 397 h 430"/>
                <a:gd name="T34" fmla="*/ 181 w 340"/>
                <a:gd name="T35" fmla="*/ 410 h 430"/>
                <a:gd name="T36" fmla="*/ 184 w 340"/>
                <a:gd name="T37" fmla="*/ 375 h 430"/>
                <a:gd name="T38" fmla="*/ 198 w 340"/>
                <a:gd name="T39" fmla="*/ 374 h 430"/>
                <a:gd name="T40" fmla="*/ 215 w 340"/>
                <a:gd name="T41" fmla="*/ 416 h 430"/>
                <a:gd name="T42" fmla="*/ 240 w 340"/>
                <a:gd name="T43" fmla="*/ 406 h 430"/>
                <a:gd name="T44" fmla="*/ 230 w 340"/>
                <a:gd name="T45" fmla="*/ 341 h 430"/>
                <a:gd name="T46" fmla="*/ 250 w 340"/>
                <a:gd name="T47" fmla="*/ 322 h 430"/>
                <a:gd name="T48" fmla="*/ 268 w 340"/>
                <a:gd name="T49" fmla="*/ 373 h 430"/>
                <a:gd name="T50" fmla="*/ 316 w 340"/>
                <a:gd name="T51" fmla="*/ 385 h 430"/>
                <a:gd name="T52" fmla="*/ 295 w 340"/>
                <a:gd name="T53" fmla="*/ 310 h 430"/>
                <a:gd name="T54" fmla="*/ 263 w 340"/>
                <a:gd name="T55" fmla="*/ 288 h 430"/>
                <a:gd name="T56" fmla="*/ 264 w 340"/>
                <a:gd name="T57" fmla="*/ 259 h 430"/>
                <a:gd name="T58" fmla="*/ 265 w 340"/>
                <a:gd name="T59" fmla="*/ 233 h 430"/>
                <a:gd name="T60" fmla="*/ 300 w 340"/>
                <a:gd name="T61" fmla="*/ 199 h 430"/>
                <a:gd name="T62" fmla="*/ 275 w 340"/>
                <a:gd name="T63" fmla="*/ 161 h 430"/>
                <a:gd name="T64" fmla="*/ 217 w 340"/>
                <a:gd name="T65" fmla="*/ 159 h 430"/>
                <a:gd name="T66" fmla="*/ 270 w 340"/>
                <a:gd name="T67" fmla="*/ 132 h 430"/>
                <a:gd name="T68" fmla="*/ 316 w 340"/>
                <a:gd name="T69" fmla="*/ 126 h 430"/>
                <a:gd name="T70" fmla="*/ 332 w 340"/>
                <a:gd name="T71" fmla="*/ 110 h 430"/>
                <a:gd name="T72" fmla="*/ 321 w 340"/>
                <a:gd name="T73" fmla="*/ 75 h 430"/>
                <a:gd name="T74" fmla="*/ 256 w 340"/>
                <a:gd name="T75" fmla="*/ 74 h 430"/>
                <a:gd name="T76" fmla="*/ 240 w 340"/>
                <a:gd name="T77" fmla="*/ 51 h 430"/>
                <a:gd name="T78" fmla="*/ 212 w 340"/>
                <a:gd name="T79" fmla="*/ 9 h 430"/>
                <a:gd name="T80" fmla="*/ 190 w 340"/>
                <a:gd name="T81" fmla="*/ 6 h 430"/>
                <a:gd name="T82" fmla="*/ 174 w 340"/>
                <a:gd name="T83" fmla="*/ 34 h 430"/>
                <a:gd name="T84" fmla="*/ 183 w 340"/>
                <a:gd name="T85" fmla="*/ 70 h 430"/>
                <a:gd name="T86" fmla="*/ 172 w 340"/>
                <a:gd name="T87" fmla="*/ 98 h 430"/>
                <a:gd name="T88" fmla="*/ 65 w 340"/>
                <a:gd name="T89" fmla="*/ 161 h 430"/>
                <a:gd name="T90" fmla="*/ 21 w 340"/>
                <a:gd name="T91" fmla="*/ 171 h 430"/>
                <a:gd name="T92" fmla="*/ 10 w 340"/>
                <a:gd name="T93" fmla="*/ 198 h 430"/>
                <a:gd name="T94" fmla="*/ 33 w 340"/>
                <a:gd name="T95" fmla="*/ 228 h 4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340" h="430">
                  <a:moveTo>
                    <a:pt x="194" y="225"/>
                  </a:moveTo>
                  <a:cubicBezTo>
                    <a:pt x="194" y="225"/>
                    <a:pt x="178" y="212"/>
                    <a:pt x="189" y="204"/>
                  </a:cubicBezTo>
                  <a:cubicBezTo>
                    <a:pt x="201" y="196"/>
                    <a:pt x="211" y="188"/>
                    <a:pt x="222" y="196"/>
                  </a:cubicBezTo>
                  <a:cubicBezTo>
                    <a:pt x="234" y="203"/>
                    <a:pt x="238" y="207"/>
                    <a:pt x="234" y="215"/>
                  </a:cubicBezTo>
                  <a:cubicBezTo>
                    <a:pt x="230" y="222"/>
                    <a:pt x="228" y="229"/>
                    <a:pt x="217" y="231"/>
                  </a:cubicBezTo>
                  <a:cubicBezTo>
                    <a:pt x="204" y="230"/>
                    <a:pt x="194" y="225"/>
                    <a:pt x="194" y="225"/>
                  </a:cubicBezTo>
                  <a:close/>
                  <a:moveTo>
                    <a:pt x="33" y="228"/>
                  </a:moveTo>
                  <a:cubicBezTo>
                    <a:pt x="40" y="229"/>
                    <a:pt x="52" y="231"/>
                    <a:pt x="67" y="224"/>
                  </a:cubicBezTo>
                  <a:cubicBezTo>
                    <a:pt x="82" y="216"/>
                    <a:pt x="91" y="208"/>
                    <a:pt x="105" y="194"/>
                  </a:cubicBezTo>
                  <a:cubicBezTo>
                    <a:pt x="119" y="180"/>
                    <a:pt x="153" y="155"/>
                    <a:pt x="164" y="151"/>
                  </a:cubicBezTo>
                  <a:cubicBezTo>
                    <a:pt x="176" y="146"/>
                    <a:pt x="176" y="155"/>
                    <a:pt x="170" y="163"/>
                  </a:cubicBezTo>
                  <a:cubicBezTo>
                    <a:pt x="164" y="171"/>
                    <a:pt x="150" y="188"/>
                    <a:pt x="144" y="203"/>
                  </a:cubicBezTo>
                  <a:cubicBezTo>
                    <a:pt x="139" y="218"/>
                    <a:pt x="134" y="224"/>
                    <a:pt x="142" y="250"/>
                  </a:cubicBezTo>
                  <a:cubicBezTo>
                    <a:pt x="149" y="275"/>
                    <a:pt x="160" y="275"/>
                    <a:pt x="166" y="278"/>
                  </a:cubicBezTo>
                  <a:cubicBezTo>
                    <a:pt x="172" y="281"/>
                    <a:pt x="176" y="301"/>
                    <a:pt x="170" y="300"/>
                  </a:cubicBezTo>
                  <a:cubicBezTo>
                    <a:pt x="164" y="299"/>
                    <a:pt x="136" y="327"/>
                    <a:pt x="132" y="347"/>
                  </a:cubicBezTo>
                  <a:cubicBezTo>
                    <a:pt x="127" y="366"/>
                    <a:pt x="123" y="375"/>
                    <a:pt x="133" y="397"/>
                  </a:cubicBezTo>
                  <a:cubicBezTo>
                    <a:pt x="144" y="419"/>
                    <a:pt x="174" y="413"/>
                    <a:pt x="181" y="410"/>
                  </a:cubicBezTo>
                  <a:cubicBezTo>
                    <a:pt x="189" y="407"/>
                    <a:pt x="185" y="395"/>
                    <a:pt x="184" y="375"/>
                  </a:cubicBezTo>
                  <a:cubicBezTo>
                    <a:pt x="182" y="355"/>
                    <a:pt x="192" y="364"/>
                    <a:pt x="198" y="374"/>
                  </a:cubicBezTo>
                  <a:cubicBezTo>
                    <a:pt x="204" y="384"/>
                    <a:pt x="203" y="402"/>
                    <a:pt x="215" y="416"/>
                  </a:cubicBezTo>
                  <a:cubicBezTo>
                    <a:pt x="226" y="430"/>
                    <a:pt x="235" y="419"/>
                    <a:pt x="240" y="406"/>
                  </a:cubicBezTo>
                  <a:cubicBezTo>
                    <a:pt x="245" y="393"/>
                    <a:pt x="232" y="357"/>
                    <a:pt x="230" y="341"/>
                  </a:cubicBezTo>
                  <a:cubicBezTo>
                    <a:pt x="229" y="326"/>
                    <a:pt x="238" y="322"/>
                    <a:pt x="250" y="322"/>
                  </a:cubicBezTo>
                  <a:cubicBezTo>
                    <a:pt x="262" y="322"/>
                    <a:pt x="248" y="347"/>
                    <a:pt x="268" y="373"/>
                  </a:cubicBezTo>
                  <a:cubicBezTo>
                    <a:pt x="287" y="399"/>
                    <a:pt x="292" y="396"/>
                    <a:pt x="316" y="385"/>
                  </a:cubicBezTo>
                  <a:cubicBezTo>
                    <a:pt x="340" y="375"/>
                    <a:pt x="311" y="327"/>
                    <a:pt x="295" y="310"/>
                  </a:cubicBezTo>
                  <a:cubicBezTo>
                    <a:pt x="279" y="294"/>
                    <a:pt x="263" y="294"/>
                    <a:pt x="263" y="288"/>
                  </a:cubicBezTo>
                  <a:cubicBezTo>
                    <a:pt x="263" y="282"/>
                    <a:pt x="266" y="267"/>
                    <a:pt x="264" y="259"/>
                  </a:cubicBezTo>
                  <a:cubicBezTo>
                    <a:pt x="262" y="251"/>
                    <a:pt x="258" y="239"/>
                    <a:pt x="265" y="233"/>
                  </a:cubicBezTo>
                  <a:cubicBezTo>
                    <a:pt x="273" y="226"/>
                    <a:pt x="301" y="222"/>
                    <a:pt x="300" y="199"/>
                  </a:cubicBezTo>
                  <a:cubicBezTo>
                    <a:pt x="299" y="177"/>
                    <a:pt x="294" y="175"/>
                    <a:pt x="275" y="161"/>
                  </a:cubicBezTo>
                  <a:cubicBezTo>
                    <a:pt x="257" y="148"/>
                    <a:pt x="216" y="168"/>
                    <a:pt x="217" y="159"/>
                  </a:cubicBezTo>
                  <a:cubicBezTo>
                    <a:pt x="218" y="150"/>
                    <a:pt x="250" y="138"/>
                    <a:pt x="270" y="132"/>
                  </a:cubicBezTo>
                  <a:cubicBezTo>
                    <a:pt x="290" y="125"/>
                    <a:pt x="306" y="126"/>
                    <a:pt x="316" y="126"/>
                  </a:cubicBezTo>
                  <a:cubicBezTo>
                    <a:pt x="326" y="126"/>
                    <a:pt x="326" y="118"/>
                    <a:pt x="332" y="110"/>
                  </a:cubicBezTo>
                  <a:cubicBezTo>
                    <a:pt x="337" y="102"/>
                    <a:pt x="334" y="88"/>
                    <a:pt x="321" y="75"/>
                  </a:cubicBezTo>
                  <a:cubicBezTo>
                    <a:pt x="308" y="61"/>
                    <a:pt x="263" y="74"/>
                    <a:pt x="256" y="74"/>
                  </a:cubicBezTo>
                  <a:cubicBezTo>
                    <a:pt x="250" y="74"/>
                    <a:pt x="250" y="63"/>
                    <a:pt x="240" y="51"/>
                  </a:cubicBezTo>
                  <a:cubicBezTo>
                    <a:pt x="229" y="38"/>
                    <a:pt x="220" y="18"/>
                    <a:pt x="212" y="9"/>
                  </a:cubicBezTo>
                  <a:cubicBezTo>
                    <a:pt x="205" y="0"/>
                    <a:pt x="203" y="8"/>
                    <a:pt x="190" y="6"/>
                  </a:cubicBezTo>
                  <a:cubicBezTo>
                    <a:pt x="176" y="3"/>
                    <a:pt x="165" y="15"/>
                    <a:pt x="174" y="34"/>
                  </a:cubicBezTo>
                  <a:cubicBezTo>
                    <a:pt x="183" y="53"/>
                    <a:pt x="183" y="56"/>
                    <a:pt x="183" y="70"/>
                  </a:cubicBezTo>
                  <a:cubicBezTo>
                    <a:pt x="183" y="84"/>
                    <a:pt x="197" y="88"/>
                    <a:pt x="172" y="98"/>
                  </a:cubicBezTo>
                  <a:cubicBezTo>
                    <a:pt x="147" y="108"/>
                    <a:pt x="75" y="152"/>
                    <a:pt x="65" y="161"/>
                  </a:cubicBezTo>
                  <a:cubicBezTo>
                    <a:pt x="55" y="170"/>
                    <a:pt x="26" y="169"/>
                    <a:pt x="21" y="171"/>
                  </a:cubicBezTo>
                  <a:cubicBezTo>
                    <a:pt x="15" y="173"/>
                    <a:pt x="0" y="170"/>
                    <a:pt x="10" y="198"/>
                  </a:cubicBezTo>
                  <a:cubicBezTo>
                    <a:pt x="24" y="238"/>
                    <a:pt x="26" y="227"/>
                    <a:pt x="33" y="2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187" name="ïs1îḋè"/>
            <p:cNvSpPr/>
            <p:nvPr/>
          </p:nvSpPr>
          <p:spPr bwMode="auto">
            <a:xfrm>
              <a:off x="7263066" y="4780553"/>
              <a:ext cx="674688" cy="863600"/>
            </a:xfrm>
            <a:custGeom>
              <a:avLst/>
              <a:gdLst>
                <a:gd name="T0" fmla="*/ 258 w 366"/>
                <a:gd name="T1" fmla="*/ 136 h 468"/>
                <a:gd name="T2" fmla="*/ 270 w 366"/>
                <a:gd name="T3" fmla="*/ 115 h 468"/>
                <a:gd name="T4" fmla="*/ 287 w 366"/>
                <a:gd name="T5" fmla="*/ 153 h 468"/>
                <a:gd name="T6" fmla="*/ 200 w 366"/>
                <a:gd name="T7" fmla="*/ 103 h 468"/>
                <a:gd name="T8" fmla="*/ 227 w 366"/>
                <a:gd name="T9" fmla="*/ 122 h 468"/>
                <a:gd name="T10" fmla="*/ 225 w 366"/>
                <a:gd name="T11" fmla="*/ 167 h 468"/>
                <a:gd name="T12" fmla="*/ 215 w 366"/>
                <a:gd name="T13" fmla="*/ 201 h 468"/>
                <a:gd name="T14" fmla="*/ 197 w 366"/>
                <a:gd name="T15" fmla="*/ 167 h 468"/>
                <a:gd name="T16" fmla="*/ 204 w 366"/>
                <a:gd name="T17" fmla="*/ 133 h 468"/>
                <a:gd name="T18" fmla="*/ 200 w 366"/>
                <a:gd name="T19" fmla="*/ 103 h 468"/>
                <a:gd name="T20" fmla="*/ 271 w 366"/>
                <a:gd name="T21" fmla="*/ 175 h 468"/>
                <a:gd name="T22" fmla="*/ 286 w 366"/>
                <a:gd name="T23" fmla="*/ 190 h 468"/>
                <a:gd name="T24" fmla="*/ 146 w 366"/>
                <a:gd name="T25" fmla="*/ 109 h 468"/>
                <a:gd name="T26" fmla="*/ 87 w 366"/>
                <a:gd name="T27" fmla="*/ 173 h 468"/>
                <a:gd name="T28" fmla="*/ 7 w 366"/>
                <a:gd name="T29" fmla="*/ 236 h 468"/>
                <a:gd name="T30" fmla="*/ 111 w 366"/>
                <a:gd name="T31" fmla="*/ 239 h 468"/>
                <a:gd name="T32" fmla="*/ 108 w 366"/>
                <a:gd name="T33" fmla="*/ 279 h 468"/>
                <a:gd name="T34" fmla="*/ 110 w 366"/>
                <a:gd name="T35" fmla="*/ 332 h 468"/>
                <a:gd name="T36" fmla="*/ 139 w 366"/>
                <a:gd name="T37" fmla="*/ 316 h 468"/>
                <a:gd name="T38" fmla="*/ 159 w 366"/>
                <a:gd name="T39" fmla="*/ 326 h 468"/>
                <a:gd name="T40" fmla="*/ 189 w 366"/>
                <a:gd name="T41" fmla="*/ 330 h 468"/>
                <a:gd name="T42" fmla="*/ 217 w 366"/>
                <a:gd name="T43" fmla="*/ 281 h 468"/>
                <a:gd name="T44" fmla="*/ 284 w 366"/>
                <a:gd name="T45" fmla="*/ 237 h 468"/>
                <a:gd name="T46" fmla="*/ 287 w 366"/>
                <a:gd name="T47" fmla="*/ 396 h 468"/>
                <a:gd name="T48" fmla="*/ 284 w 366"/>
                <a:gd name="T49" fmla="*/ 461 h 468"/>
                <a:gd name="T50" fmla="*/ 319 w 366"/>
                <a:gd name="T51" fmla="*/ 393 h 468"/>
                <a:gd name="T52" fmla="*/ 327 w 366"/>
                <a:gd name="T53" fmla="*/ 227 h 468"/>
                <a:gd name="T54" fmla="*/ 363 w 366"/>
                <a:gd name="T55" fmla="*/ 202 h 468"/>
                <a:gd name="T56" fmla="*/ 324 w 366"/>
                <a:gd name="T57" fmla="*/ 162 h 468"/>
                <a:gd name="T58" fmla="*/ 330 w 366"/>
                <a:gd name="T59" fmla="*/ 85 h 468"/>
                <a:gd name="T60" fmla="*/ 324 w 366"/>
                <a:gd name="T61" fmla="*/ 23 h 468"/>
                <a:gd name="T62" fmla="*/ 275 w 366"/>
                <a:gd name="T63" fmla="*/ 29 h 468"/>
                <a:gd name="T64" fmla="*/ 286 w 366"/>
                <a:gd name="T65" fmla="*/ 69 h 468"/>
                <a:gd name="T66" fmla="*/ 253 w 366"/>
                <a:gd name="T67" fmla="*/ 65 h 468"/>
                <a:gd name="T68" fmla="*/ 212 w 366"/>
                <a:gd name="T69" fmla="*/ 52 h 468"/>
                <a:gd name="T70" fmla="*/ 115 w 366"/>
                <a:gd name="T71" fmla="*/ 68 h 468"/>
                <a:gd name="T72" fmla="*/ 30 w 366"/>
                <a:gd name="T73" fmla="*/ 163 h 468"/>
                <a:gd name="T74" fmla="*/ 96 w 366"/>
                <a:gd name="T75" fmla="*/ 132 h 4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366" h="468">
                  <a:moveTo>
                    <a:pt x="270" y="152"/>
                  </a:moveTo>
                  <a:cubicBezTo>
                    <a:pt x="270" y="152"/>
                    <a:pt x="273" y="146"/>
                    <a:pt x="258" y="136"/>
                  </a:cubicBezTo>
                  <a:cubicBezTo>
                    <a:pt x="242" y="126"/>
                    <a:pt x="247" y="126"/>
                    <a:pt x="254" y="122"/>
                  </a:cubicBezTo>
                  <a:cubicBezTo>
                    <a:pt x="261" y="119"/>
                    <a:pt x="262" y="114"/>
                    <a:pt x="270" y="115"/>
                  </a:cubicBezTo>
                  <a:cubicBezTo>
                    <a:pt x="279" y="116"/>
                    <a:pt x="285" y="112"/>
                    <a:pt x="287" y="120"/>
                  </a:cubicBezTo>
                  <a:cubicBezTo>
                    <a:pt x="289" y="128"/>
                    <a:pt x="291" y="151"/>
                    <a:pt x="287" y="153"/>
                  </a:cubicBezTo>
                  <a:cubicBezTo>
                    <a:pt x="284" y="155"/>
                    <a:pt x="271" y="153"/>
                    <a:pt x="270" y="152"/>
                  </a:cubicBezTo>
                  <a:close/>
                  <a:moveTo>
                    <a:pt x="200" y="103"/>
                  </a:moveTo>
                  <a:cubicBezTo>
                    <a:pt x="200" y="99"/>
                    <a:pt x="207" y="96"/>
                    <a:pt x="216" y="102"/>
                  </a:cubicBezTo>
                  <a:cubicBezTo>
                    <a:pt x="225" y="108"/>
                    <a:pt x="228" y="113"/>
                    <a:pt x="227" y="122"/>
                  </a:cubicBezTo>
                  <a:cubicBezTo>
                    <a:pt x="225" y="131"/>
                    <a:pt x="222" y="135"/>
                    <a:pt x="223" y="145"/>
                  </a:cubicBezTo>
                  <a:cubicBezTo>
                    <a:pt x="223" y="156"/>
                    <a:pt x="217" y="162"/>
                    <a:pt x="225" y="167"/>
                  </a:cubicBezTo>
                  <a:cubicBezTo>
                    <a:pt x="232" y="173"/>
                    <a:pt x="235" y="171"/>
                    <a:pt x="233" y="185"/>
                  </a:cubicBezTo>
                  <a:cubicBezTo>
                    <a:pt x="231" y="202"/>
                    <a:pt x="214" y="210"/>
                    <a:pt x="215" y="201"/>
                  </a:cubicBezTo>
                  <a:cubicBezTo>
                    <a:pt x="215" y="192"/>
                    <a:pt x="220" y="185"/>
                    <a:pt x="213" y="176"/>
                  </a:cubicBezTo>
                  <a:cubicBezTo>
                    <a:pt x="205" y="167"/>
                    <a:pt x="204" y="178"/>
                    <a:pt x="197" y="167"/>
                  </a:cubicBezTo>
                  <a:cubicBezTo>
                    <a:pt x="191" y="155"/>
                    <a:pt x="195" y="154"/>
                    <a:pt x="199" y="152"/>
                  </a:cubicBezTo>
                  <a:cubicBezTo>
                    <a:pt x="204" y="149"/>
                    <a:pt x="209" y="147"/>
                    <a:pt x="204" y="133"/>
                  </a:cubicBezTo>
                  <a:cubicBezTo>
                    <a:pt x="199" y="119"/>
                    <a:pt x="198" y="127"/>
                    <a:pt x="197" y="119"/>
                  </a:cubicBezTo>
                  <a:cubicBezTo>
                    <a:pt x="196" y="112"/>
                    <a:pt x="200" y="107"/>
                    <a:pt x="200" y="103"/>
                  </a:cubicBezTo>
                  <a:close/>
                  <a:moveTo>
                    <a:pt x="246" y="206"/>
                  </a:moveTo>
                  <a:cubicBezTo>
                    <a:pt x="243" y="205"/>
                    <a:pt x="264" y="181"/>
                    <a:pt x="271" y="175"/>
                  </a:cubicBezTo>
                  <a:cubicBezTo>
                    <a:pt x="277" y="170"/>
                    <a:pt x="289" y="166"/>
                    <a:pt x="288" y="173"/>
                  </a:cubicBezTo>
                  <a:cubicBezTo>
                    <a:pt x="287" y="180"/>
                    <a:pt x="291" y="185"/>
                    <a:pt x="286" y="190"/>
                  </a:cubicBezTo>
                  <a:cubicBezTo>
                    <a:pt x="282" y="195"/>
                    <a:pt x="250" y="207"/>
                    <a:pt x="246" y="206"/>
                  </a:cubicBezTo>
                  <a:close/>
                  <a:moveTo>
                    <a:pt x="146" y="109"/>
                  </a:moveTo>
                  <a:cubicBezTo>
                    <a:pt x="146" y="114"/>
                    <a:pt x="141" y="124"/>
                    <a:pt x="134" y="134"/>
                  </a:cubicBezTo>
                  <a:cubicBezTo>
                    <a:pt x="127" y="144"/>
                    <a:pt x="103" y="162"/>
                    <a:pt x="87" y="173"/>
                  </a:cubicBezTo>
                  <a:cubicBezTo>
                    <a:pt x="70" y="183"/>
                    <a:pt x="23" y="206"/>
                    <a:pt x="16" y="212"/>
                  </a:cubicBezTo>
                  <a:cubicBezTo>
                    <a:pt x="10" y="218"/>
                    <a:pt x="0" y="213"/>
                    <a:pt x="7" y="236"/>
                  </a:cubicBezTo>
                  <a:cubicBezTo>
                    <a:pt x="13" y="258"/>
                    <a:pt x="24" y="253"/>
                    <a:pt x="55" y="252"/>
                  </a:cubicBezTo>
                  <a:cubicBezTo>
                    <a:pt x="85" y="250"/>
                    <a:pt x="106" y="237"/>
                    <a:pt x="111" y="239"/>
                  </a:cubicBezTo>
                  <a:cubicBezTo>
                    <a:pt x="116" y="242"/>
                    <a:pt x="119" y="251"/>
                    <a:pt x="119" y="259"/>
                  </a:cubicBezTo>
                  <a:cubicBezTo>
                    <a:pt x="120" y="266"/>
                    <a:pt x="116" y="270"/>
                    <a:pt x="108" y="279"/>
                  </a:cubicBezTo>
                  <a:cubicBezTo>
                    <a:pt x="100" y="288"/>
                    <a:pt x="100" y="303"/>
                    <a:pt x="100" y="311"/>
                  </a:cubicBezTo>
                  <a:cubicBezTo>
                    <a:pt x="101" y="318"/>
                    <a:pt x="104" y="325"/>
                    <a:pt x="110" y="332"/>
                  </a:cubicBezTo>
                  <a:cubicBezTo>
                    <a:pt x="117" y="338"/>
                    <a:pt x="119" y="333"/>
                    <a:pt x="127" y="333"/>
                  </a:cubicBezTo>
                  <a:cubicBezTo>
                    <a:pt x="134" y="332"/>
                    <a:pt x="138" y="323"/>
                    <a:pt x="139" y="316"/>
                  </a:cubicBezTo>
                  <a:cubicBezTo>
                    <a:pt x="140" y="308"/>
                    <a:pt x="148" y="313"/>
                    <a:pt x="155" y="314"/>
                  </a:cubicBezTo>
                  <a:cubicBezTo>
                    <a:pt x="161" y="316"/>
                    <a:pt x="158" y="318"/>
                    <a:pt x="159" y="326"/>
                  </a:cubicBezTo>
                  <a:cubicBezTo>
                    <a:pt x="159" y="334"/>
                    <a:pt x="159" y="336"/>
                    <a:pt x="168" y="339"/>
                  </a:cubicBezTo>
                  <a:cubicBezTo>
                    <a:pt x="177" y="343"/>
                    <a:pt x="178" y="342"/>
                    <a:pt x="189" y="330"/>
                  </a:cubicBezTo>
                  <a:cubicBezTo>
                    <a:pt x="199" y="319"/>
                    <a:pt x="187" y="291"/>
                    <a:pt x="193" y="292"/>
                  </a:cubicBezTo>
                  <a:cubicBezTo>
                    <a:pt x="198" y="293"/>
                    <a:pt x="209" y="289"/>
                    <a:pt x="217" y="281"/>
                  </a:cubicBezTo>
                  <a:cubicBezTo>
                    <a:pt x="225" y="273"/>
                    <a:pt x="232" y="272"/>
                    <a:pt x="243" y="263"/>
                  </a:cubicBezTo>
                  <a:cubicBezTo>
                    <a:pt x="253" y="254"/>
                    <a:pt x="278" y="233"/>
                    <a:pt x="284" y="237"/>
                  </a:cubicBezTo>
                  <a:cubicBezTo>
                    <a:pt x="290" y="240"/>
                    <a:pt x="285" y="282"/>
                    <a:pt x="286" y="321"/>
                  </a:cubicBezTo>
                  <a:cubicBezTo>
                    <a:pt x="288" y="361"/>
                    <a:pt x="286" y="379"/>
                    <a:pt x="287" y="396"/>
                  </a:cubicBezTo>
                  <a:cubicBezTo>
                    <a:pt x="289" y="413"/>
                    <a:pt x="278" y="425"/>
                    <a:pt x="278" y="434"/>
                  </a:cubicBezTo>
                  <a:cubicBezTo>
                    <a:pt x="277" y="443"/>
                    <a:pt x="278" y="454"/>
                    <a:pt x="284" y="461"/>
                  </a:cubicBezTo>
                  <a:cubicBezTo>
                    <a:pt x="291" y="468"/>
                    <a:pt x="296" y="458"/>
                    <a:pt x="305" y="449"/>
                  </a:cubicBezTo>
                  <a:cubicBezTo>
                    <a:pt x="314" y="440"/>
                    <a:pt x="315" y="424"/>
                    <a:pt x="319" y="393"/>
                  </a:cubicBezTo>
                  <a:cubicBezTo>
                    <a:pt x="323" y="362"/>
                    <a:pt x="318" y="269"/>
                    <a:pt x="320" y="252"/>
                  </a:cubicBezTo>
                  <a:cubicBezTo>
                    <a:pt x="321" y="236"/>
                    <a:pt x="323" y="232"/>
                    <a:pt x="327" y="227"/>
                  </a:cubicBezTo>
                  <a:cubicBezTo>
                    <a:pt x="332" y="222"/>
                    <a:pt x="332" y="212"/>
                    <a:pt x="340" y="211"/>
                  </a:cubicBezTo>
                  <a:cubicBezTo>
                    <a:pt x="349" y="210"/>
                    <a:pt x="360" y="212"/>
                    <a:pt x="363" y="202"/>
                  </a:cubicBezTo>
                  <a:cubicBezTo>
                    <a:pt x="366" y="192"/>
                    <a:pt x="364" y="182"/>
                    <a:pt x="358" y="177"/>
                  </a:cubicBezTo>
                  <a:cubicBezTo>
                    <a:pt x="352" y="172"/>
                    <a:pt x="326" y="167"/>
                    <a:pt x="324" y="162"/>
                  </a:cubicBezTo>
                  <a:cubicBezTo>
                    <a:pt x="322" y="158"/>
                    <a:pt x="323" y="119"/>
                    <a:pt x="322" y="108"/>
                  </a:cubicBezTo>
                  <a:cubicBezTo>
                    <a:pt x="322" y="96"/>
                    <a:pt x="324" y="98"/>
                    <a:pt x="330" y="85"/>
                  </a:cubicBezTo>
                  <a:cubicBezTo>
                    <a:pt x="336" y="73"/>
                    <a:pt x="333" y="65"/>
                    <a:pt x="334" y="48"/>
                  </a:cubicBezTo>
                  <a:cubicBezTo>
                    <a:pt x="334" y="32"/>
                    <a:pt x="334" y="33"/>
                    <a:pt x="324" y="23"/>
                  </a:cubicBezTo>
                  <a:cubicBezTo>
                    <a:pt x="315" y="14"/>
                    <a:pt x="306" y="6"/>
                    <a:pt x="292" y="3"/>
                  </a:cubicBezTo>
                  <a:cubicBezTo>
                    <a:pt x="278" y="0"/>
                    <a:pt x="274" y="12"/>
                    <a:pt x="275" y="29"/>
                  </a:cubicBezTo>
                  <a:cubicBezTo>
                    <a:pt x="275" y="47"/>
                    <a:pt x="278" y="37"/>
                    <a:pt x="282" y="43"/>
                  </a:cubicBezTo>
                  <a:cubicBezTo>
                    <a:pt x="286" y="49"/>
                    <a:pt x="285" y="62"/>
                    <a:pt x="286" y="69"/>
                  </a:cubicBezTo>
                  <a:cubicBezTo>
                    <a:pt x="287" y="76"/>
                    <a:pt x="283" y="77"/>
                    <a:pt x="274" y="77"/>
                  </a:cubicBezTo>
                  <a:cubicBezTo>
                    <a:pt x="265" y="78"/>
                    <a:pt x="268" y="69"/>
                    <a:pt x="253" y="65"/>
                  </a:cubicBezTo>
                  <a:cubicBezTo>
                    <a:pt x="238" y="60"/>
                    <a:pt x="225" y="74"/>
                    <a:pt x="218" y="72"/>
                  </a:cubicBezTo>
                  <a:cubicBezTo>
                    <a:pt x="212" y="71"/>
                    <a:pt x="215" y="68"/>
                    <a:pt x="212" y="52"/>
                  </a:cubicBezTo>
                  <a:cubicBezTo>
                    <a:pt x="209" y="36"/>
                    <a:pt x="191" y="26"/>
                    <a:pt x="177" y="26"/>
                  </a:cubicBezTo>
                  <a:cubicBezTo>
                    <a:pt x="164" y="26"/>
                    <a:pt x="135" y="52"/>
                    <a:pt x="115" y="68"/>
                  </a:cubicBezTo>
                  <a:cubicBezTo>
                    <a:pt x="96" y="84"/>
                    <a:pt x="55" y="129"/>
                    <a:pt x="47" y="139"/>
                  </a:cubicBezTo>
                  <a:cubicBezTo>
                    <a:pt x="39" y="149"/>
                    <a:pt x="30" y="156"/>
                    <a:pt x="30" y="163"/>
                  </a:cubicBezTo>
                  <a:cubicBezTo>
                    <a:pt x="30" y="170"/>
                    <a:pt x="28" y="170"/>
                    <a:pt x="39" y="172"/>
                  </a:cubicBezTo>
                  <a:cubicBezTo>
                    <a:pt x="49" y="174"/>
                    <a:pt x="64" y="154"/>
                    <a:pt x="96" y="132"/>
                  </a:cubicBezTo>
                  <a:cubicBezTo>
                    <a:pt x="128" y="110"/>
                    <a:pt x="147" y="103"/>
                    <a:pt x="146" y="10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188" name="îš1ïdè"/>
            <p:cNvSpPr/>
            <p:nvPr/>
          </p:nvSpPr>
          <p:spPr bwMode="auto">
            <a:xfrm>
              <a:off x="5180266" y="4845640"/>
              <a:ext cx="635000" cy="660400"/>
            </a:xfrm>
            <a:custGeom>
              <a:avLst/>
              <a:gdLst>
                <a:gd name="T0" fmla="*/ 5 w 344"/>
                <a:gd name="T1" fmla="*/ 147 h 358"/>
                <a:gd name="T2" fmla="*/ 38 w 344"/>
                <a:gd name="T3" fmla="*/ 142 h 358"/>
                <a:gd name="T4" fmla="*/ 53 w 344"/>
                <a:gd name="T5" fmla="*/ 125 h 358"/>
                <a:gd name="T6" fmla="*/ 43 w 344"/>
                <a:gd name="T7" fmla="*/ 70 h 358"/>
                <a:gd name="T8" fmla="*/ 48 w 344"/>
                <a:gd name="T9" fmla="*/ 43 h 358"/>
                <a:gd name="T10" fmla="*/ 76 w 344"/>
                <a:gd name="T11" fmla="*/ 45 h 358"/>
                <a:gd name="T12" fmla="*/ 122 w 344"/>
                <a:gd name="T13" fmla="*/ 89 h 358"/>
                <a:gd name="T14" fmla="*/ 122 w 344"/>
                <a:gd name="T15" fmla="*/ 185 h 358"/>
                <a:gd name="T16" fmla="*/ 141 w 344"/>
                <a:gd name="T17" fmla="*/ 192 h 358"/>
                <a:gd name="T18" fmla="*/ 231 w 344"/>
                <a:gd name="T19" fmla="*/ 135 h 358"/>
                <a:gd name="T20" fmla="*/ 241 w 344"/>
                <a:gd name="T21" fmla="*/ 87 h 358"/>
                <a:gd name="T22" fmla="*/ 234 w 344"/>
                <a:gd name="T23" fmla="*/ 48 h 358"/>
                <a:gd name="T24" fmla="*/ 263 w 344"/>
                <a:gd name="T25" fmla="*/ 17 h 358"/>
                <a:gd name="T26" fmla="*/ 298 w 344"/>
                <a:gd name="T27" fmla="*/ 76 h 358"/>
                <a:gd name="T28" fmla="*/ 292 w 344"/>
                <a:gd name="T29" fmla="*/ 111 h 358"/>
                <a:gd name="T30" fmla="*/ 317 w 344"/>
                <a:gd name="T31" fmla="*/ 138 h 358"/>
                <a:gd name="T32" fmla="*/ 292 w 344"/>
                <a:gd name="T33" fmla="*/ 181 h 358"/>
                <a:gd name="T34" fmla="*/ 270 w 344"/>
                <a:gd name="T35" fmla="*/ 217 h 358"/>
                <a:gd name="T36" fmla="*/ 276 w 344"/>
                <a:gd name="T37" fmla="*/ 252 h 358"/>
                <a:gd name="T38" fmla="*/ 334 w 344"/>
                <a:gd name="T39" fmla="*/ 270 h 358"/>
                <a:gd name="T40" fmla="*/ 333 w 344"/>
                <a:gd name="T41" fmla="*/ 304 h 358"/>
                <a:gd name="T42" fmla="*/ 226 w 344"/>
                <a:gd name="T43" fmla="*/ 338 h 358"/>
                <a:gd name="T44" fmla="*/ 166 w 344"/>
                <a:gd name="T45" fmla="*/ 352 h 358"/>
                <a:gd name="T46" fmla="*/ 191 w 344"/>
                <a:gd name="T47" fmla="*/ 319 h 358"/>
                <a:gd name="T48" fmla="*/ 228 w 344"/>
                <a:gd name="T49" fmla="*/ 287 h 358"/>
                <a:gd name="T50" fmla="*/ 231 w 344"/>
                <a:gd name="T51" fmla="*/ 223 h 358"/>
                <a:gd name="T52" fmla="*/ 194 w 344"/>
                <a:gd name="T53" fmla="*/ 194 h 358"/>
                <a:gd name="T54" fmla="*/ 152 w 344"/>
                <a:gd name="T55" fmla="*/ 228 h 358"/>
                <a:gd name="T56" fmla="*/ 55 w 344"/>
                <a:gd name="T57" fmla="*/ 337 h 358"/>
                <a:gd name="T58" fmla="*/ 21 w 344"/>
                <a:gd name="T59" fmla="*/ 316 h 358"/>
                <a:gd name="T60" fmla="*/ 30 w 344"/>
                <a:gd name="T61" fmla="*/ 260 h 358"/>
                <a:gd name="T62" fmla="*/ 53 w 344"/>
                <a:gd name="T63" fmla="*/ 228 h 358"/>
                <a:gd name="T64" fmla="*/ 37 w 344"/>
                <a:gd name="T65" fmla="*/ 201 h 358"/>
                <a:gd name="T66" fmla="*/ 1 w 344"/>
                <a:gd name="T67" fmla="*/ 170 h 358"/>
                <a:gd name="T68" fmla="*/ 5 w 344"/>
                <a:gd name="T69" fmla="*/ 147 h 3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344" h="358">
                  <a:moveTo>
                    <a:pt x="5" y="147"/>
                  </a:moveTo>
                  <a:cubicBezTo>
                    <a:pt x="6" y="143"/>
                    <a:pt x="22" y="140"/>
                    <a:pt x="38" y="142"/>
                  </a:cubicBezTo>
                  <a:cubicBezTo>
                    <a:pt x="54" y="144"/>
                    <a:pt x="53" y="137"/>
                    <a:pt x="53" y="125"/>
                  </a:cubicBezTo>
                  <a:cubicBezTo>
                    <a:pt x="53" y="112"/>
                    <a:pt x="60" y="89"/>
                    <a:pt x="43" y="70"/>
                  </a:cubicBezTo>
                  <a:cubicBezTo>
                    <a:pt x="25" y="52"/>
                    <a:pt x="48" y="43"/>
                    <a:pt x="48" y="43"/>
                  </a:cubicBezTo>
                  <a:cubicBezTo>
                    <a:pt x="48" y="43"/>
                    <a:pt x="55" y="32"/>
                    <a:pt x="76" y="45"/>
                  </a:cubicBezTo>
                  <a:cubicBezTo>
                    <a:pt x="97" y="58"/>
                    <a:pt x="115" y="74"/>
                    <a:pt x="122" y="89"/>
                  </a:cubicBezTo>
                  <a:cubicBezTo>
                    <a:pt x="129" y="104"/>
                    <a:pt x="118" y="174"/>
                    <a:pt x="122" y="185"/>
                  </a:cubicBezTo>
                  <a:cubicBezTo>
                    <a:pt x="125" y="195"/>
                    <a:pt x="130" y="200"/>
                    <a:pt x="141" y="192"/>
                  </a:cubicBezTo>
                  <a:cubicBezTo>
                    <a:pt x="153" y="183"/>
                    <a:pt x="214" y="138"/>
                    <a:pt x="231" y="135"/>
                  </a:cubicBezTo>
                  <a:cubicBezTo>
                    <a:pt x="249" y="132"/>
                    <a:pt x="241" y="103"/>
                    <a:pt x="241" y="87"/>
                  </a:cubicBezTo>
                  <a:cubicBezTo>
                    <a:pt x="242" y="70"/>
                    <a:pt x="234" y="59"/>
                    <a:pt x="234" y="48"/>
                  </a:cubicBezTo>
                  <a:cubicBezTo>
                    <a:pt x="234" y="36"/>
                    <a:pt x="247" y="0"/>
                    <a:pt x="263" y="17"/>
                  </a:cubicBezTo>
                  <a:cubicBezTo>
                    <a:pt x="279" y="35"/>
                    <a:pt x="303" y="58"/>
                    <a:pt x="298" y="76"/>
                  </a:cubicBezTo>
                  <a:cubicBezTo>
                    <a:pt x="294" y="95"/>
                    <a:pt x="283" y="92"/>
                    <a:pt x="292" y="111"/>
                  </a:cubicBezTo>
                  <a:cubicBezTo>
                    <a:pt x="301" y="129"/>
                    <a:pt x="320" y="117"/>
                    <a:pt x="317" y="138"/>
                  </a:cubicBezTo>
                  <a:cubicBezTo>
                    <a:pt x="315" y="160"/>
                    <a:pt x="321" y="149"/>
                    <a:pt x="292" y="181"/>
                  </a:cubicBezTo>
                  <a:cubicBezTo>
                    <a:pt x="268" y="209"/>
                    <a:pt x="270" y="208"/>
                    <a:pt x="270" y="217"/>
                  </a:cubicBezTo>
                  <a:cubicBezTo>
                    <a:pt x="270" y="226"/>
                    <a:pt x="266" y="249"/>
                    <a:pt x="276" y="252"/>
                  </a:cubicBezTo>
                  <a:cubicBezTo>
                    <a:pt x="287" y="254"/>
                    <a:pt x="325" y="250"/>
                    <a:pt x="334" y="270"/>
                  </a:cubicBezTo>
                  <a:cubicBezTo>
                    <a:pt x="344" y="290"/>
                    <a:pt x="344" y="295"/>
                    <a:pt x="333" y="304"/>
                  </a:cubicBezTo>
                  <a:cubicBezTo>
                    <a:pt x="321" y="312"/>
                    <a:pt x="288" y="320"/>
                    <a:pt x="226" y="338"/>
                  </a:cubicBezTo>
                  <a:cubicBezTo>
                    <a:pt x="180" y="351"/>
                    <a:pt x="168" y="358"/>
                    <a:pt x="166" y="352"/>
                  </a:cubicBezTo>
                  <a:cubicBezTo>
                    <a:pt x="164" y="346"/>
                    <a:pt x="175" y="331"/>
                    <a:pt x="191" y="319"/>
                  </a:cubicBezTo>
                  <a:cubicBezTo>
                    <a:pt x="207" y="307"/>
                    <a:pt x="224" y="304"/>
                    <a:pt x="228" y="287"/>
                  </a:cubicBezTo>
                  <a:cubicBezTo>
                    <a:pt x="232" y="270"/>
                    <a:pt x="235" y="234"/>
                    <a:pt x="231" y="223"/>
                  </a:cubicBezTo>
                  <a:cubicBezTo>
                    <a:pt x="227" y="212"/>
                    <a:pt x="213" y="188"/>
                    <a:pt x="194" y="194"/>
                  </a:cubicBezTo>
                  <a:cubicBezTo>
                    <a:pt x="176" y="200"/>
                    <a:pt x="166" y="210"/>
                    <a:pt x="152" y="228"/>
                  </a:cubicBezTo>
                  <a:cubicBezTo>
                    <a:pt x="138" y="247"/>
                    <a:pt x="66" y="336"/>
                    <a:pt x="55" y="337"/>
                  </a:cubicBezTo>
                  <a:cubicBezTo>
                    <a:pt x="45" y="338"/>
                    <a:pt x="22" y="340"/>
                    <a:pt x="21" y="316"/>
                  </a:cubicBezTo>
                  <a:cubicBezTo>
                    <a:pt x="20" y="292"/>
                    <a:pt x="16" y="285"/>
                    <a:pt x="30" y="260"/>
                  </a:cubicBezTo>
                  <a:cubicBezTo>
                    <a:pt x="44" y="234"/>
                    <a:pt x="53" y="241"/>
                    <a:pt x="53" y="228"/>
                  </a:cubicBezTo>
                  <a:cubicBezTo>
                    <a:pt x="53" y="216"/>
                    <a:pt x="47" y="207"/>
                    <a:pt x="37" y="201"/>
                  </a:cubicBezTo>
                  <a:cubicBezTo>
                    <a:pt x="27" y="195"/>
                    <a:pt x="2" y="182"/>
                    <a:pt x="1" y="170"/>
                  </a:cubicBezTo>
                  <a:cubicBezTo>
                    <a:pt x="0" y="157"/>
                    <a:pt x="4" y="150"/>
                    <a:pt x="5" y="14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189" name="ï$líḋé"/>
            <p:cNvSpPr/>
            <p:nvPr/>
          </p:nvSpPr>
          <p:spPr bwMode="auto">
            <a:xfrm>
              <a:off x="5596191" y="5675903"/>
              <a:ext cx="25400" cy="3016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190" name="işḷíḓè"/>
            <p:cNvSpPr/>
            <p:nvPr/>
          </p:nvSpPr>
          <p:spPr bwMode="auto">
            <a:xfrm>
              <a:off x="5596191" y="5733053"/>
              <a:ext cx="25400" cy="1492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191" name="ïSḷîḋé"/>
            <p:cNvSpPr/>
            <p:nvPr/>
          </p:nvSpPr>
          <p:spPr bwMode="auto">
            <a:xfrm>
              <a:off x="5645403" y="5733053"/>
              <a:ext cx="136525" cy="149225"/>
            </a:xfrm>
            <a:custGeom>
              <a:avLst/>
              <a:gdLst>
                <a:gd name="T0" fmla="*/ 42 w 74"/>
                <a:gd name="T1" fmla="*/ 50 h 81"/>
                <a:gd name="T2" fmla="*/ 37 w 74"/>
                <a:gd name="T3" fmla="*/ 65 h 81"/>
                <a:gd name="T4" fmla="*/ 32 w 74"/>
                <a:gd name="T5" fmla="*/ 49 h 81"/>
                <a:gd name="T6" fmla="*/ 14 w 74"/>
                <a:gd name="T7" fmla="*/ 0 h 81"/>
                <a:gd name="T8" fmla="*/ 0 w 74"/>
                <a:gd name="T9" fmla="*/ 0 h 81"/>
                <a:gd name="T10" fmla="*/ 31 w 74"/>
                <a:gd name="T11" fmla="*/ 81 h 81"/>
                <a:gd name="T12" fmla="*/ 44 w 74"/>
                <a:gd name="T13" fmla="*/ 81 h 81"/>
                <a:gd name="T14" fmla="*/ 74 w 74"/>
                <a:gd name="T15" fmla="*/ 0 h 81"/>
                <a:gd name="T16" fmla="*/ 60 w 74"/>
                <a:gd name="T17" fmla="*/ 0 h 81"/>
                <a:gd name="T18" fmla="*/ 42 w 74"/>
                <a:gd name="T19" fmla="*/ 50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4" h="81">
                  <a:moveTo>
                    <a:pt x="42" y="50"/>
                  </a:moveTo>
                  <a:cubicBezTo>
                    <a:pt x="40" y="56"/>
                    <a:pt x="38" y="61"/>
                    <a:pt x="37" y="65"/>
                  </a:cubicBezTo>
                  <a:cubicBezTo>
                    <a:pt x="35" y="59"/>
                    <a:pt x="34" y="54"/>
                    <a:pt x="32" y="49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44" y="81"/>
                    <a:pt x="44" y="81"/>
                    <a:pt x="44" y="81"/>
                  </a:cubicBezTo>
                  <a:cubicBezTo>
                    <a:pt x="74" y="0"/>
                    <a:pt x="74" y="0"/>
                    <a:pt x="74" y="0"/>
                  </a:cubicBezTo>
                  <a:cubicBezTo>
                    <a:pt x="60" y="0"/>
                    <a:pt x="60" y="0"/>
                    <a:pt x="60" y="0"/>
                  </a:cubicBezTo>
                  <a:lnTo>
                    <a:pt x="42" y="5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192" name="išḷiḓé"/>
            <p:cNvSpPr/>
            <p:nvPr/>
          </p:nvSpPr>
          <p:spPr bwMode="auto">
            <a:xfrm>
              <a:off x="5796216" y="5729878"/>
              <a:ext cx="138113" cy="157163"/>
            </a:xfrm>
            <a:custGeom>
              <a:avLst/>
              <a:gdLst>
                <a:gd name="T0" fmla="*/ 38 w 75"/>
                <a:gd name="T1" fmla="*/ 0 h 85"/>
                <a:gd name="T2" fmla="*/ 10 w 75"/>
                <a:gd name="T3" fmla="*/ 12 h 85"/>
                <a:gd name="T4" fmla="*/ 0 w 75"/>
                <a:gd name="T5" fmla="*/ 43 h 85"/>
                <a:gd name="T6" fmla="*/ 10 w 75"/>
                <a:gd name="T7" fmla="*/ 74 h 85"/>
                <a:gd name="T8" fmla="*/ 39 w 75"/>
                <a:gd name="T9" fmla="*/ 85 h 85"/>
                <a:gd name="T10" fmla="*/ 62 w 75"/>
                <a:gd name="T11" fmla="*/ 78 h 85"/>
                <a:gd name="T12" fmla="*/ 74 w 75"/>
                <a:gd name="T13" fmla="*/ 59 h 85"/>
                <a:gd name="T14" fmla="*/ 60 w 75"/>
                <a:gd name="T15" fmla="*/ 57 h 85"/>
                <a:gd name="T16" fmla="*/ 52 w 75"/>
                <a:gd name="T17" fmla="*/ 70 h 85"/>
                <a:gd name="T18" fmla="*/ 39 w 75"/>
                <a:gd name="T19" fmla="*/ 74 h 85"/>
                <a:gd name="T20" fmla="*/ 22 w 75"/>
                <a:gd name="T21" fmla="*/ 67 h 85"/>
                <a:gd name="T22" fmla="*/ 14 w 75"/>
                <a:gd name="T23" fmla="*/ 46 h 85"/>
                <a:gd name="T24" fmla="*/ 75 w 75"/>
                <a:gd name="T25" fmla="*/ 46 h 85"/>
                <a:gd name="T26" fmla="*/ 75 w 75"/>
                <a:gd name="T27" fmla="*/ 43 h 85"/>
                <a:gd name="T28" fmla="*/ 64 w 75"/>
                <a:gd name="T29" fmla="*/ 11 h 85"/>
                <a:gd name="T30" fmla="*/ 38 w 75"/>
                <a:gd name="T31" fmla="*/ 0 h 85"/>
                <a:gd name="T32" fmla="*/ 15 w 75"/>
                <a:gd name="T33" fmla="*/ 35 h 85"/>
                <a:gd name="T34" fmla="*/ 22 w 75"/>
                <a:gd name="T35" fmla="*/ 18 h 85"/>
                <a:gd name="T36" fmla="*/ 38 w 75"/>
                <a:gd name="T37" fmla="*/ 12 h 85"/>
                <a:gd name="T38" fmla="*/ 55 w 75"/>
                <a:gd name="T39" fmla="*/ 20 h 85"/>
                <a:gd name="T40" fmla="*/ 60 w 75"/>
                <a:gd name="T41" fmla="*/ 35 h 85"/>
                <a:gd name="T42" fmla="*/ 15 w 75"/>
                <a:gd name="T43" fmla="*/ 35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75" h="85">
                  <a:moveTo>
                    <a:pt x="38" y="0"/>
                  </a:moveTo>
                  <a:cubicBezTo>
                    <a:pt x="27" y="0"/>
                    <a:pt x="17" y="4"/>
                    <a:pt x="10" y="12"/>
                  </a:cubicBezTo>
                  <a:cubicBezTo>
                    <a:pt x="3" y="19"/>
                    <a:pt x="0" y="30"/>
                    <a:pt x="0" y="43"/>
                  </a:cubicBezTo>
                  <a:cubicBezTo>
                    <a:pt x="0" y="57"/>
                    <a:pt x="3" y="67"/>
                    <a:pt x="10" y="74"/>
                  </a:cubicBezTo>
                  <a:cubicBezTo>
                    <a:pt x="17" y="81"/>
                    <a:pt x="27" y="85"/>
                    <a:pt x="39" y="85"/>
                  </a:cubicBezTo>
                  <a:cubicBezTo>
                    <a:pt x="48" y="85"/>
                    <a:pt x="56" y="83"/>
                    <a:pt x="62" y="78"/>
                  </a:cubicBezTo>
                  <a:cubicBezTo>
                    <a:pt x="68" y="74"/>
                    <a:pt x="72" y="67"/>
                    <a:pt x="74" y="59"/>
                  </a:cubicBezTo>
                  <a:cubicBezTo>
                    <a:pt x="60" y="57"/>
                    <a:pt x="60" y="57"/>
                    <a:pt x="60" y="57"/>
                  </a:cubicBezTo>
                  <a:cubicBezTo>
                    <a:pt x="58" y="63"/>
                    <a:pt x="55" y="67"/>
                    <a:pt x="52" y="70"/>
                  </a:cubicBezTo>
                  <a:cubicBezTo>
                    <a:pt x="48" y="73"/>
                    <a:pt x="44" y="74"/>
                    <a:pt x="39" y="74"/>
                  </a:cubicBezTo>
                  <a:cubicBezTo>
                    <a:pt x="32" y="74"/>
                    <a:pt x="26" y="71"/>
                    <a:pt x="22" y="67"/>
                  </a:cubicBezTo>
                  <a:cubicBezTo>
                    <a:pt x="17" y="62"/>
                    <a:pt x="15" y="55"/>
                    <a:pt x="14" y="46"/>
                  </a:cubicBezTo>
                  <a:cubicBezTo>
                    <a:pt x="75" y="46"/>
                    <a:pt x="75" y="46"/>
                    <a:pt x="75" y="46"/>
                  </a:cubicBezTo>
                  <a:cubicBezTo>
                    <a:pt x="75" y="45"/>
                    <a:pt x="75" y="43"/>
                    <a:pt x="75" y="43"/>
                  </a:cubicBezTo>
                  <a:cubicBezTo>
                    <a:pt x="75" y="29"/>
                    <a:pt x="71" y="19"/>
                    <a:pt x="64" y="11"/>
                  </a:cubicBezTo>
                  <a:cubicBezTo>
                    <a:pt x="58" y="4"/>
                    <a:pt x="49" y="0"/>
                    <a:pt x="38" y="0"/>
                  </a:cubicBezTo>
                  <a:close/>
                  <a:moveTo>
                    <a:pt x="15" y="35"/>
                  </a:moveTo>
                  <a:cubicBezTo>
                    <a:pt x="15" y="28"/>
                    <a:pt x="18" y="22"/>
                    <a:pt x="22" y="18"/>
                  </a:cubicBezTo>
                  <a:cubicBezTo>
                    <a:pt x="26" y="14"/>
                    <a:pt x="32" y="12"/>
                    <a:pt x="38" y="12"/>
                  </a:cubicBezTo>
                  <a:cubicBezTo>
                    <a:pt x="45" y="12"/>
                    <a:pt x="51" y="14"/>
                    <a:pt x="55" y="20"/>
                  </a:cubicBezTo>
                  <a:cubicBezTo>
                    <a:pt x="58" y="23"/>
                    <a:pt x="60" y="28"/>
                    <a:pt x="60" y="35"/>
                  </a:cubicBezTo>
                  <a:lnTo>
                    <a:pt x="15" y="3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193" name="iṩľidè"/>
            <p:cNvSpPr/>
            <p:nvPr/>
          </p:nvSpPr>
          <p:spPr bwMode="auto">
            <a:xfrm>
              <a:off x="5964491" y="5729878"/>
              <a:ext cx="82550" cy="152400"/>
            </a:xfrm>
            <a:custGeom>
              <a:avLst/>
              <a:gdLst>
                <a:gd name="T0" fmla="*/ 22 w 45"/>
                <a:gd name="T1" fmla="*/ 3 h 83"/>
                <a:gd name="T2" fmla="*/ 13 w 45"/>
                <a:gd name="T3" fmla="*/ 14 h 83"/>
                <a:gd name="T4" fmla="*/ 13 w 45"/>
                <a:gd name="T5" fmla="*/ 2 h 83"/>
                <a:gd name="T6" fmla="*/ 0 w 45"/>
                <a:gd name="T7" fmla="*/ 2 h 83"/>
                <a:gd name="T8" fmla="*/ 0 w 45"/>
                <a:gd name="T9" fmla="*/ 83 h 83"/>
                <a:gd name="T10" fmla="*/ 14 w 45"/>
                <a:gd name="T11" fmla="*/ 83 h 83"/>
                <a:gd name="T12" fmla="*/ 14 w 45"/>
                <a:gd name="T13" fmla="*/ 41 h 83"/>
                <a:gd name="T14" fmla="*/ 17 w 45"/>
                <a:gd name="T15" fmla="*/ 25 h 83"/>
                <a:gd name="T16" fmla="*/ 22 w 45"/>
                <a:gd name="T17" fmla="*/ 17 h 83"/>
                <a:gd name="T18" fmla="*/ 30 w 45"/>
                <a:gd name="T19" fmla="*/ 14 h 83"/>
                <a:gd name="T20" fmla="*/ 40 w 45"/>
                <a:gd name="T21" fmla="*/ 17 h 83"/>
                <a:gd name="T22" fmla="*/ 45 w 45"/>
                <a:gd name="T23" fmla="*/ 5 h 83"/>
                <a:gd name="T24" fmla="*/ 30 w 45"/>
                <a:gd name="T25" fmla="*/ 0 h 83"/>
                <a:gd name="T26" fmla="*/ 22 w 45"/>
                <a:gd name="T27" fmla="*/ 3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5" h="83">
                  <a:moveTo>
                    <a:pt x="22" y="3"/>
                  </a:moveTo>
                  <a:cubicBezTo>
                    <a:pt x="19" y="5"/>
                    <a:pt x="16" y="9"/>
                    <a:pt x="13" y="14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83"/>
                    <a:pt x="0" y="83"/>
                    <a:pt x="0" y="83"/>
                  </a:cubicBezTo>
                  <a:cubicBezTo>
                    <a:pt x="14" y="83"/>
                    <a:pt x="14" y="83"/>
                    <a:pt x="14" y="83"/>
                  </a:cubicBezTo>
                  <a:cubicBezTo>
                    <a:pt x="14" y="41"/>
                    <a:pt x="14" y="41"/>
                    <a:pt x="14" y="41"/>
                  </a:cubicBezTo>
                  <a:cubicBezTo>
                    <a:pt x="14" y="35"/>
                    <a:pt x="15" y="30"/>
                    <a:pt x="17" y="25"/>
                  </a:cubicBezTo>
                  <a:cubicBezTo>
                    <a:pt x="18" y="21"/>
                    <a:pt x="19" y="19"/>
                    <a:pt x="22" y="17"/>
                  </a:cubicBezTo>
                  <a:cubicBezTo>
                    <a:pt x="24" y="15"/>
                    <a:pt x="27" y="14"/>
                    <a:pt x="30" y="14"/>
                  </a:cubicBezTo>
                  <a:cubicBezTo>
                    <a:pt x="33" y="14"/>
                    <a:pt x="37" y="15"/>
                    <a:pt x="40" y="17"/>
                  </a:cubicBezTo>
                  <a:cubicBezTo>
                    <a:pt x="45" y="5"/>
                    <a:pt x="45" y="5"/>
                    <a:pt x="45" y="5"/>
                  </a:cubicBezTo>
                  <a:cubicBezTo>
                    <a:pt x="40" y="2"/>
                    <a:pt x="35" y="0"/>
                    <a:pt x="30" y="0"/>
                  </a:cubicBezTo>
                  <a:cubicBezTo>
                    <a:pt x="27" y="0"/>
                    <a:pt x="24" y="1"/>
                    <a:pt x="22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194" name="îṡļiḑe"/>
            <p:cNvSpPr/>
            <p:nvPr/>
          </p:nvSpPr>
          <p:spPr bwMode="auto">
            <a:xfrm>
              <a:off x="6050216" y="5729878"/>
              <a:ext cx="125413" cy="157163"/>
            </a:xfrm>
            <a:custGeom>
              <a:avLst/>
              <a:gdLst>
                <a:gd name="T0" fmla="*/ 55 w 68"/>
                <a:gd name="T1" fmla="*/ 40 h 85"/>
                <a:gd name="T2" fmla="*/ 35 w 68"/>
                <a:gd name="T3" fmla="*/ 34 h 85"/>
                <a:gd name="T4" fmla="*/ 23 w 68"/>
                <a:gd name="T5" fmla="*/ 31 h 85"/>
                <a:gd name="T6" fmla="*/ 18 w 68"/>
                <a:gd name="T7" fmla="*/ 27 h 85"/>
                <a:gd name="T8" fmla="*/ 16 w 68"/>
                <a:gd name="T9" fmla="*/ 22 h 85"/>
                <a:gd name="T10" fmla="*/ 20 w 68"/>
                <a:gd name="T11" fmla="*/ 15 h 85"/>
                <a:gd name="T12" fmla="*/ 34 w 68"/>
                <a:gd name="T13" fmla="*/ 12 h 85"/>
                <a:gd name="T14" fmla="*/ 46 w 68"/>
                <a:gd name="T15" fmla="*/ 15 h 85"/>
                <a:gd name="T16" fmla="*/ 51 w 68"/>
                <a:gd name="T17" fmla="*/ 25 h 85"/>
                <a:gd name="T18" fmla="*/ 65 w 68"/>
                <a:gd name="T19" fmla="*/ 23 h 85"/>
                <a:gd name="T20" fmla="*/ 60 w 68"/>
                <a:gd name="T21" fmla="*/ 10 h 85"/>
                <a:gd name="T22" fmla="*/ 49 w 68"/>
                <a:gd name="T23" fmla="*/ 3 h 85"/>
                <a:gd name="T24" fmla="*/ 33 w 68"/>
                <a:gd name="T25" fmla="*/ 0 h 85"/>
                <a:gd name="T26" fmla="*/ 21 w 68"/>
                <a:gd name="T27" fmla="*/ 2 h 85"/>
                <a:gd name="T28" fmla="*/ 12 w 68"/>
                <a:gd name="T29" fmla="*/ 6 h 85"/>
                <a:gd name="T30" fmla="*/ 5 w 68"/>
                <a:gd name="T31" fmla="*/ 14 h 85"/>
                <a:gd name="T32" fmla="*/ 3 w 68"/>
                <a:gd name="T33" fmla="*/ 24 h 85"/>
                <a:gd name="T34" fmla="*/ 6 w 68"/>
                <a:gd name="T35" fmla="*/ 35 h 85"/>
                <a:gd name="T36" fmla="*/ 15 w 68"/>
                <a:gd name="T37" fmla="*/ 42 h 85"/>
                <a:gd name="T38" fmla="*/ 36 w 68"/>
                <a:gd name="T39" fmla="*/ 49 h 85"/>
                <a:gd name="T40" fmla="*/ 50 w 68"/>
                <a:gd name="T41" fmla="*/ 54 h 85"/>
                <a:gd name="T42" fmla="*/ 54 w 68"/>
                <a:gd name="T43" fmla="*/ 61 h 85"/>
                <a:gd name="T44" fmla="*/ 49 w 68"/>
                <a:gd name="T45" fmla="*/ 70 h 85"/>
                <a:gd name="T46" fmla="*/ 35 w 68"/>
                <a:gd name="T47" fmla="*/ 74 h 85"/>
                <a:gd name="T48" fmla="*/ 20 w 68"/>
                <a:gd name="T49" fmla="*/ 69 h 85"/>
                <a:gd name="T50" fmla="*/ 14 w 68"/>
                <a:gd name="T51" fmla="*/ 57 h 85"/>
                <a:gd name="T52" fmla="*/ 0 w 68"/>
                <a:gd name="T53" fmla="*/ 59 h 85"/>
                <a:gd name="T54" fmla="*/ 11 w 68"/>
                <a:gd name="T55" fmla="*/ 79 h 85"/>
                <a:gd name="T56" fmla="*/ 35 w 68"/>
                <a:gd name="T57" fmla="*/ 85 h 85"/>
                <a:gd name="T58" fmla="*/ 52 w 68"/>
                <a:gd name="T59" fmla="*/ 82 h 85"/>
                <a:gd name="T60" fmla="*/ 64 w 68"/>
                <a:gd name="T61" fmla="*/ 72 h 85"/>
                <a:gd name="T62" fmla="*/ 68 w 68"/>
                <a:gd name="T63" fmla="*/ 59 h 85"/>
                <a:gd name="T64" fmla="*/ 65 w 68"/>
                <a:gd name="T65" fmla="*/ 48 h 85"/>
                <a:gd name="T66" fmla="*/ 55 w 68"/>
                <a:gd name="T67" fmla="*/ 40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68" h="85">
                  <a:moveTo>
                    <a:pt x="55" y="40"/>
                  </a:moveTo>
                  <a:cubicBezTo>
                    <a:pt x="52" y="39"/>
                    <a:pt x="45" y="37"/>
                    <a:pt x="35" y="34"/>
                  </a:cubicBezTo>
                  <a:cubicBezTo>
                    <a:pt x="28" y="32"/>
                    <a:pt x="24" y="31"/>
                    <a:pt x="23" y="31"/>
                  </a:cubicBezTo>
                  <a:cubicBezTo>
                    <a:pt x="20" y="30"/>
                    <a:pt x="19" y="28"/>
                    <a:pt x="18" y="27"/>
                  </a:cubicBezTo>
                  <a:cubicBezTo>
                    <a:pt x="16" y="25"/>
                    <a:pt x="16" y="24"/>
                    <a:pt x="16" y="22"/>
                  </a:cubicBezTo>
                  <a:cubicBezTo>
                    <a:pt x="16" y="19"/>
                    <a:pt x="17" y="17"/>
                    <a:pt x="20" y="15"/>
                  </a:cubicBezTo>
                  <a:cubicBezTo>
                    <a:pt x="23" y="13"/>
                    <a:pt x="27" y="12"/>
                    <a:pt x="34" y="12"/>
                  </a:cubicBezTo>
                  <a:cubicBezTo>
                    <a:pt x="39" y="12"/>
                    <a:pt x="43" y="13"/>
                    <a:pt x="46" y="15"/>
                  </a:cubicBezTo>
                  <a:cubicBezTo>
                    <a:pt x="49" y="17"/>
                    <a:pt x="51" y="21"/>
                    <a:pt x="51" y="25"/>
                  </a:cubicBezTo>
                  <a:cubicBezTo>
                    <a:pt x="65" y="23"/>
                    <a:pt x="65" y="23"/>
                    <a:pt x="65" y="23"/>
                  </a:cubicBezTo>
                  <a:cubicBezTo>
                    <a:pt x="64" y="18"/>
                    <a:pt x="62" y="14"/>
                    <a:pt x="60" y="10"/>
                  </a:cubicBezTo>
                  <a:cubicBezTo>
                    <a:pt x="58" y="7"/>
                    <a:pt x="54" y="5"/>
                    <a:pt x="49" y="3"/>
                  </a:cubicBezTo>
                  <a:cubicBezTo>
                    <a:pt x="44" y="1"/>
                    <a:pt x="39" y="0"/>
                    <a:pt x="33" y="0"/>
                  </a:cubicBezTo>
                  <a:cubicBezTo>
                    <a:pt x="28" y="0"/>
                    <a:pt x="24" y="1"/>
                    <a:pt x="21" y="2"/>
                  </a:cubicBezTo>
                  <a:cubicBezTo>
                    <a:pt x="17" y="3"/>
                    <a:pt x="14" y="4"/>
                    <a:pt x="12" y="6"/>
                  </a:cubicBezTo>
                  <a:cubicBezTo>
                    <a:pt x="9" y="8"/>
                    <a:pt x="7" y="10"/>
                    <a:pt x="5" y="14"/>
                  </a:cubicBezTo>
                  <a:cubicBezTo>
                    <a:pt x="3" y="17"/>
                    <a:pt x="3" y="20"/>
                    <a:pt x="3" y="24"/>
                  </a:cubicBezTo>
                  <a:cubicBezTo>
                    <a:pt x="3" y="28"/>
                    <a:pt x="4" y="31"/>
                    <a:pt x="6" y="35"/>
                  </a:cubicBezTo>
                  <a:cubicBezTo>
                    <a:pt x="8" y="38"/>
                    <a:pt x="11" y="40"/>
                    <a:pt x="15" y="42"/>
                  </a:cubicBezTo>
                  <a:cubicBezTo>
                    <a:pt x="18" y="44"/>
                    <a:pt x="25" y="46"/>
                    <a:pt x="36" y="49"/>
                  </a:cubicBezTo>
                  <a:cubicBezTo>
                    <a:pt x="43" y="51"/>
                    <a:pt x="48" y="52"/>
                    <a:pt x="50" y="54"/>
                  </a:cubicBezTo>
                  <a:cubicBezTo>
                    <a:pt x="52" y="55"/>
                    <a:pt x="54" y="58"/>
                    <a:pt x="54" y="61"/>
                  </a:cubicBezTo>
                  <a:cubicBezTo>
                    <a:pt x="54" y="64"/>
                    <a:pt x="52" y="67"/>
                    <a:pt x="49" y="70"/>
                  </a:cubicBezTo>
                  <a:cubicBezTo>
                    <a:pt x="46" y="73"/>
                    <a:pt x="41" y="74"/>
                    <a:pt x="35" y="74"/>
                  </a:cubicBezTo>
                  <a:cubicBezTo>
                    <a:pt x="29" y="74"/>
                    <a:pt x="24" y="72"/>
                    <a:pt x="20" y="69"/>
                  </a:cubicBezTo>
                  <a:cubicBezTo>
                    <a:pt x="17" y="67"/>
                    <a:pt x="15" y="62"/>
                    <a:pt x="14" y="57"/>
                  </a:cubicBezTo>
                  <a:cubicBezTo>
                    <a:pt x="0" y="59"/>
                    <a:pt x="0" y="59"/>
                    <a:pt x="0" y="59"/>
                  </a:cubicBezTo>
                  <a:cubicBezTo>
                    <a:pt x="2" y="68"/>
                    <a:pt x="5" y="74"/>
                    <a:pt x="11" y="79"/>
                  </a:cubicBezTo>
                  <a:cubicBezTo>
                    <a:pt x="16" y="83"/>
                    <a:pt x="24" y="85"/>
                    <a:pt x="35" y="85"/>
                  </a:cubicBezTo>
                  <a:cubicBezTo>
                    <a:pt x="41" y="85"/>
                    <a:pt x="47" y="84"/>
                    <a:pt x="52" y="82"/>
                  </a:cubicBezTo>
                  <a:cubicBezTo>
                    <a:pt x="57" y="80"/>
                    <a:pt x="61" y="76"/>
                    <a:pt x="64" y="72"/>
                  </a:cubicBezTo>
                  <a:cubicBezTo>
                    <a:pt x="66" y="68"/>
                    <a:pt x="68" y="64"/>
                    <a:pt x="68" y="59"/>
                  </a:cubicBezTo>
                  <a:cubicBezTo>
                    <a:pt x="68" y="55"/>
                    <a:pt x="67" y="51"/>
                    <a:pt x="65" y="48"/>
                  </a:cubicBezTo>
                  <a:cubicBezTo>
                    <a:pt x="62" y="45"/>
                    <a:pt x="59" y="42"/>
                    <a:pt x="55" y="4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195" name="ïśļíḓe"/>
            <p:cNvSpPr/>
            <p:nvPr/>
          </p:nvSpPr>
          <p:spPr bwMode="auto">
            <a:xfrm>
              <a:off x="6205791" y="5675903"/>
              <a:ext cx="25400" cy="3016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196" name="îṡľîdè"/>
            <p:cNvSpPr/>
            <p:nvPr/>
          </p:nvSpPr>
          <p:spPr bwMode="auto">
            <a:xfrm>
              <a:off x="6205791" y="5733053"/>
              <a:ext cx="25400" cy="1492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197" name="îś1iḋê"/>
            <p:cNvSpPr/>
            <p:nvPr/>
          </p:nvSpPr>
          <p:spPr bwMode="auto">
            <a:xfrm>
              <a:off x="6255003" y="5680665"/>
              <a:ext cx="74613" cy="203200"/>
            </a:xfrm>
            <a:custGeom>
              <a:avLst/>
              <a:gdLst>
                <a:gd name="T0" fmla="*/ 32 w 40"/>
                <a:gd name="T1" fmla="*/ 98 h 110"/>
                <a:gd name="T2" fmla="*/ 27 w 40"/>
                <a:gd name="T3" fmla="*/ 97 h 110"/>
                <a:gd name="T4" fmla="*/ 25 w 40"/>
                <a:gd name="T5" fmla="*/ 94 h 110"/>
                <a:gd name="T6" fmla="*/ 24 w 40"/>
                <a:gd name="T7" fmla="*/ 86 h 110"/>
                <a:gd name="T8" fmla="*/ 24 w 40"/>
                <a:gd name="T9" fmla="*/ 39 h 110"/>
                <a:gd name="T10" fmla="*/ 38 w 40"/>
                <a:gd name="T11" fmla="*/ 39 h 110"/>
                <a:gd name="T12" fmla="*/ 38 w 40"/>
                <a:gd name="T13" fmla="*/ 28 h 110"/>
                <a:gd name="T14" fmla="*/ 24 w 40"/>
                <a:gd name="T15" fmla="*/ 28 h 110"/>
                <a:gd name="T16" fmla="*/ 24 w 40"/>
                <a:gd name="T17" fmla="*/ 0 h 110"/>
                <a:gd name="T18" fmla="*/ 11 w 40"/>
                <a:gd name="T19" fmla="*/ 8 h 110"/>
                <a:gd name="T20" fmla="*/ 11 w 40"/>
                <a:gd name="T21" fmla="*/ 28 h 110"/>
                <a:gd name="T22" fmla="*/ 0 w 40"/>
                <a:gd name="T23" fmla="*/ 28 h 110"/>
                <a:gd name="T24" fmla="*/ 0 w 40"/>
                <a:gd name="T25" fmla="*/ 39 h 110"/>
                <a:gd name="T26" fmla="*/ 11 w 40"/>
                <a:gd name="T27" fmla="*/ 39 h 110"/>
                <a:gd name="T28" fmla="*/ 11 w 40"/>
                <a:gd name="T29" fmla="*/ 86 h 110"/>
                <a:gd name="T30" fmla="*/ 12 w 40"/>
                <a:gd name="T31" fmla="*/ 102 h 110"/>
                <a:gd name="T32" fmla="*/ 18 w 40"/>
                <a:gd name="T33" fmla="*/ 108 h 110"/>
                <a:gd name="T34" fmla="*/ 30 w 40"/>
                <a:gd name="T35" fmla="*/ 110 h 110"/>
                <a:gd name="T36" fmla="*/ 40 w 40"/>
                <a:gd name="T37" fmla="*/ 109 h 110"/>
                <a:gd name="T38" fmla="*/ 38 w 40"/>
                <a:gd name="T39" fmla="*/ 97 h 110"/>
                <a:gd name="T40" fmla="*/ 32 w 40"/>
                <a:gd name="T41" fmla="*/ 98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0" h="110">
                  <a:moveTo>
                    <a:pt x="32" y="98"/>
                  </a:moveTo>
                  <a:cubicBezTo>
                    <a:pt x="30" y="98"/>
                    <a:pt x="28" y="97"/>
                    <a:pt x="27" y="97"/>
                  </a:cubicBezTo>
                  <a:cubicBezTo>
                    <a:pt x="26" y="96"/>
                    <a:pt x="25" y="95"/>
                    <a:pt x="25" y="94"/>
                  </a:cubicBezTo>
                  <a:cubicBezTo>
                    <a:pt x="24" y="93"/>
                    <a:pt x="24" y="90"/>
                    <a:pt x="24" y="86"/>
                  </a:cubicBezTo>
                  <a:cubicBezTo>
                    <a:pt x="24" y="39"/>
                    <a:pt x="24" y="39"/>
                    <a:pt x="24" y="39"/>
                  </a:cubicBezTo>
                  <a:cubicBezTo>
                    <a:pt x="38" y="39"/>
                    <a:pt x="38" y="39"/>
                    <a:pt x="38" y="39"/>
                  </a:cubicBezTo>
                  <a:cubicBezTo>
                    <a:pt x="38" y="28"/>
                    <a:pt x="38" y="28"/>
                    <a:pt x="38" y="28"/>
                  </a:cubicBezTo>
                  <a:cubicBezTo>
                    <a:pt x="24" y="28"/>
                    <a:pt x="24" y="28"/>
                    <a:pt x="24" y="28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11" y="8"/>
                    <a:pt x="11" y="8"/>
                    <a:pt x="11" y="8"/>
                  </a:cubicBezTo>
                  <a:cubicBezTo>
                    <a:pt x="11" y="28"/>
                    <a:pt x="11" y="28"/>
                    <a:pt x="11" y="28"/>
                  </a:cubicBezTo>
                  <a:cubicBezTo>
                    <a:pt x="0" y="28"/>
                    <a:pt x="0" y="28"/>
                    <a:pt x="0" y="28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11" y="39"/>
                    <a:pt x="11" y="39"/>
                    <a:pt x="11" y="39"/>
                  </a:cubicBezTo>
                  <a:cubicBezTo>
                    <a:pt x="11" y="86"/>
                    <a:pt x="11" y="86"/>
                    <a:pt x="11" y="86"/>
                  </a:cubicBezTo>
                  <a:cubicBezTo>
                    <a:pt x="11" y="94"/>
                    <a:pt x="11" y="99"/>
                    <a:pt x="12" y="102"/>
                  </a:cubicBezTo>
                  <a:cubicBezTo>
                    <a:pt x="13" y="104"/>
                    <a:pt x="15" y="106"/>
                    <a:pt x="18" y="108"/>
                  </a:cubicBezTo>
                  <a:cubicBezTo>
                    <a:pt x="21" y="110"/>
                    <a:pt x="25" y="110"/>
                    <a:pt x="30" y="110"/>
                  </a:cubicBezTo>
                  <a:cubicBezTo>
                    <a:pt x="33" y="110"/>
                    <a:pt x="36" y="110"/>
                    <a:pt x="40" y="109"/>
                  </a:cubicBezTo>
                  <a:cubicBezTo>
                    <a:pt x="38" y="97"/>
                    <a:pt x="38" y="97"/>
                    <a:pt x="38" y="97"/>
                  </a:cubicBezTo>
                  <a:cubicBezTo>
                    <a:pt x="36" y="97"/>
                    <a:pt x="34" y="98"/>
                    <a:pt x="32" y="9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198" name="išľîḋê"/>
            <p:cNvSpPr/>
            <p:nvPr/>
          </p:nvSpPr>
          <p:spPr bwMode="auto">
            <a:xfrm>
              <a:off x="6335966" y="5733053"/>
              <a:ext cx="136525" cy="211138"/>
            </a:xfrm>
            <a:custGeom>
              <a:avLst/>
              <a:gdLst>
                <a:gd name="T0" fmla="*/ 43 w 74"/>
                <a:gd name="T1" fmla="*/ 47 h 114"/>
                <a:gd name="T2" fmla="*/ 37 w 74"/>
                <a:gd name="T3" fmla="*/ 66 h 114"/>
                <a:gd name="T4" fmla="*/ 32 w 74"/>
                <a:gd name="T5" fmla="*/ 47 h 114"/>
                <a:gd name="T6" fmla="*/ 15 w 74"/>
                <a:gd name="T7" fmla="*/ 0 h 114"/>
                <a:gd name="T8" fmla="*/ 0 w 74"/>
                <a:gd name="T9" fmla="*/ 0 h 114"/>
                <a:gd name="T10" fmla="*/ 31 w 74"/>
                <a:gd name="T11" fmla="*/ 81 h 114"/>
                <a:gd name="T12" fmla="*/ 29 w 74"/>
                <a:gd name="T13" fmla="*/ 85 h 114"/>
                <a:gd name="T14" fmla="*/ 25 w 74"/>
                <a:gd name="T15" fmla="*/ 95 h 114"/>
                <a:gd name="T16" fmla="*/ 21 w 74"/>
                <a:gd name="T17" fmla="*/ 99 h 114"/>
                <a:gd name="T18" fmla="*/ 13 w 74"/>
                <a:gd name="T19" fmla="*/ 101 h 114"/>
                <a:gd name="T20" fmla="*/ 5 w 74"/>
                <a:gd name="T21" fmla="*/ 100 h 114"/>
                <a:gd name="T22" fmla="*/ 7 w 74"/>
                <a:gd name="T23" fmla="*/ 113 h 114"/>
                <a:gd name="T24" fmla="*/ 16 w 74"/>
                <a:gd name="T25" fmla="*/ 114 h 114"/>
                <a:gd name="T26" fmla="*/ 27 w 74"/>
                <a:gd name="T27" fmla="*/ 111 h 114"/>
                <a:gd name="T28" fmla="*/ 36 w 74"/>
                <a:gd name="T29" fmla="*/ 101 h 114"/>
                <a:gd name="T30" fmla="*/ 43 w 74"/>
                <a:gd name="T31" fmla="*/ 83 h 114"/>
                <a:gd name="T32" fmla="*/ 74 w 74"/>
                <a:gd name="T33" fmla="*/ 0 h 114"/>
                <a:gd name="T34" fmla="*/ 60 w 74"/>
                <a:gd name="T35" fmla="*/ 0 h 114"/>
                <a:gd name="T36" fmla="*/ 43 w 74"/>
                <a:gd name="T37" fmla="*/ 47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74" h="114">
                  <a:moveTo>
                    <a:pt x="43" y="47"/>
                  </a:moveTo>
                  <a:cubicBezTo>
                    <a:pt x="41" y="53"/>
                    <a:pt x="39" y="60"/>
                    <a:pt x="37" y="66"/>
                  </a:cubicBezTo>
                  <a:cubicBezTo>
                    <a:pt x="36" y="59"/>
                    <a:pt x="34" y="53"/>
                    <a:pt x="32" y="47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0" y="83"/>
                    <a:pt x="30" y="84"/>
                    <a:pt x="29" y="85"/>
                  </a:cubicBezTo>
                  <a:cubicBezTo>
                    <a:pt x="27" y="90"/>
                    <a:pt x="26" y="94"/>
                    <a:pt x="25" y="95"/>
                  </a:cubicBezTo>
                  <a:cubicBezTo>
                    <a:pt x="24" y="97"/>
                    <a:pt x="22" y="98"/>
                    <a:pt x="21" y="99"/>
                  </a:cubicBezTo>
                  <a:cubicBezTo>
                    <a:pt x="19" y="100"/>
                    <a:pt x="16" y="101"/>
                    <a:pt x="13" y="101"/>
                  </a:cubicBezTo>
                  <a:cubicBezTo>
                    <a:pt x="11" y="101"/>
                    <a:pt x="8" y="101"/>
                    <a:pt x="5" y="100"/>
                  </a:cubicBezTo>
                  <a:cubicBezTo>
                    <a:pt x="7" y="113"/>
                    <a:pt x="7" y="113"/>
                    <a:pt x="7" y="113"/>
                  </a:cubicBezTo>
                  <a:cubicBezTo>
                    <a:pt x="10" y="114"/>
                    <a:pt x="13" y="114"/>
                    <a:pt x="16" y="114"/>
                  </a:cubicBezTo>
                  <a:cubicBezTo>
                    <a:pt x="20" y="114"/>
                    <a:pt x="24" y="113"/>
                    <a:pt x="27" y="111"/>
                  </a:cubicBezTo>
                  <a:cubicBezTo>
                    <a:pt x="30" y="109"/>
                    <a:pt x="33" y="106"/>
                    <a:pt x="36" y="101"/>
                  </a:cubicBezTo>
                  <a:cubicBezTo>
                    <a:pt x="37" y="98"/>
                    <a:pt x="40" y="92"/>
                    <a:pt x="43" y="83"/>
                  </a:cubicBezTo>
                  <a:cubicBezTo>
                    <a:pt x="74" y="0"/>
                    <a:pt x="74" y="0"/>
                    <a:pt x="74" y="0"/>
                  </a:cubicBezTo>
                  <a:cubicBezTo>
                    <a:pt x="60" y="0"/>
                    <a:pt x="60" y="0"/>
                    <a:pt x="60" y="0"/>
                  </a:cubicBezTo>
                  <a:lnTo>
                    <a:pt x="43" y="4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199" name="íSḷiḑè"/>
            <p:cNvSpPr/>
            <p:nvPr/>
          </p:nvSpPr>
          <p:spPr bwMode="auto">
            <a:xfrm>
              <a:off x="6564566" y="5729878"/>
              <a:ext cx="142875" cy="157163"/>
            </a:xfrm>
            <a:custGeom>
              <a:avLst/>
              <a:gdLst>
                <a:gd name="T0" fmla="*/ 38 w 77"/>
                <a:gd name="T1" fmla="*/ 0 h 85"/>
                <a:gd name="T2" fmla="*/ 13 w 77"/>
                <a:gd name="T3" fmla="*/ 9 h 85"/>
                <a:gd name="T4" fmla="*/ 0 w 77"/>
                <a:gd name="T5" fmla="*/ 43 h 85"/>
                <a:gd name="T6" fmla="*/ 11 w 77"/>
                <a:gd name="T7" fmla="*/ 74 h 85"/>
                <a:gd name="T8" fmla="*/ 38 w 77"/>
                <a:gd name="T9" fmla="*/ 85 h 85"/>
                <a:gd name="T10" fmla="*/ 58 w 77"/>
                <a:gd name="T11" fmla="*/ 80 h 85"/>
                <a:gd name="T12" fmla="*/ 72 w 77"/>
                <a:gd name="T13" fmla="*/ 66 h 85"/>
                <a:gd name="T14" fmla="*/ 77 w 77"/>
                <a:gd name="T15" fmla="*/ 42 h 85"/>
                <a:gd name="T16" fmla="*/ 66 w 77"/>
                <a:gd name="T17" fmla="*/ 11 h 85"/>
                <a:gd name="T18" fmla="*/ 38 w 77"/>
                <a:gd name="T19" fmla="*/ 0 h 85"/>
                <a:gd name="T20" fmla="*/ 56 w 77"/>
                <a:gd name="T21" fmla="*/ 66 h 85"/>
                <a:gd name="T22" fmla="*/ 38 w 77"/>
                <a:gd name="T23" fmla="*/ 74 h 85"/>
                <a:gd name="T24" fmla="*/ 21 w 77"/>
                <a:gd name="T25" fmla="*/ 66 h 85"/>
                <a:gd name="T26" fmla="*/ 15 w 77"/>
                <a:gd name="T27" fmla="*/ 43 h 85"/>
                <a:gd name="T28" fmla="*/ 21 w 77"/>
                <a:gd name="T29" fmla="*/ 19 h 85"/>
                <a:gd name="T30" fmla="*/ 38 w 77"/>
                <a:gd name="T31" fmla="*/ 12 h 85"/>
                <a:gd name="T32" fmla="*/ 56 w 77"/>
                <a:gd name="T33" fmla="*/ 19 h 85"/>
                <a:gd name="T34" fmla="*/ 62 w 77"/>
                <a:gd name="T35" fmla="*/ 42 h 85"/>
                <a:gd name="T36" fmla="*/ 56 w 77"/>
                <a:gd name="T37" fmla="*/ 66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77" h="85">
                  <a:moveTo>
                    <a:pt x="38" y="0"/>
                  </a:moveTo>
                  <a:cubicBezTo>
                    <a:pt x="28" y="0"/>
                    <a:pt x="20" y="3"/>
                    <a:pt x="13" y="9"/>
                  </a:cubicBezTo>
                  <a:cubicBezTo>
                    <a:pt x="5" y="16"/>
                    <a:pt x="0" y="28"/>
                    <a:pt x="0" y="43"/>
                  </a:cubicBezTo>
                  <a:cubicBezTo>
                    <a:pt x="0" y="56"/>
                    <a:pt x="4" y="67"/>
                    <a:pt x="11" y="74"/>
                  </a:cubicBezTo>
                  <a:cubicBezTo>
                    <a:pt x="18" y="82"/>
                    <a:pt x="27" y="85"/>
                    <a:pt x="38" y="85"/>
                  </a:cubicBezTo>
                  <a:cubicBezTo>
                    <a:pt x="46" y="85"/>
                    <a:pt x="52" y="84"/>
                    <a:pt x="58" y="80"/>
                  </a:cubicBezTo>
                  <a:cubicBezTo>
                    <a:pt x="64" y="77"/>
                    <a:pt x="69" y="72"/>
                    <a:pt x="72" y="66"/>
                  </a:cubicBezTo>
                  <a:cubicBezTo>
                    <a:pt x="75" y="60"/>
                    <a:pt x="77" y="52"/>
                    <a:pt x="77" y="42"/>
                  </a:cubicBezTo>
                  <a:cubicBezTo>
                    <a:pt x="77" y="29"/>
                    <a:pt x="73" y="19"/>
                    <a:pt x="66" y="11"/>
                  </a:cubicBezTo>
                  <a:cubicBezTo>
                    <a:pt x="59" y="4"/>
                    <a:pt x="50" y="0"/>
                    <a:pt x="38" y="0"/>
                  </a:cubicBezTo>
                  <a:close/>
                  <a:moveTo>
                    <a:pt x="56" y="66"/>
                  </a:moveTo>
                  <a:cubicBezTo>
                    <a:pt x="51" y="71"/>
                    <a:pt x="45" y="74"/>
                    <a:pt x="38" y="74"/>
                  </a:cubicBezTo>
                  <a:cubicBezTo>
                    <a:pt x="32" y="74"/>
                    <a:pt x="26" y="71"/>
                    <a:pt x="21" y="66"/>
                  </a:cubicBezTo>
                  <a:cubicBezTo>
                    <a:pt x="17" y="61"/>
                    <a:pt x="15" y="53"/>
                    <a:pt x="15" y="43"/>
                  </a:cubicBezTo>
                  <a:cubicBezTo>
                    <a:pt x="15" y="32"/>
                    <a:pt x="17" y="24"/>
                    <a:pt x="21" y="19"/>
                  </a:cubicBezTo>
                  <a:cubicBezTo>
                    <a:pt x="26" y="14"/>
                    <a:pt x="32" y="12"/>
                    <a:pt x="38" y="12"/>
                  </a:cubicBezTo>
                  <a:cubicBezTo>
                    <a:pt x="45" y="12"/>
                    <a:pt x="51" y="14"/>
                    <a:pt x="56" y="19"/>
                  </a:cubicBezTo>
                  <a:cubicBezTo>
                    <a:pt x="60" y="25"/>
                    <a:pt x="62" y="32"/>
                    <a:pt x="62" y="42"/>
                  </a:cubicBezTo>
                  <a:cubicBezTo>
                    <a:pt x="62" y="53"/>
                    <a:pt x="60" y="61"/>
                    <a:pt x="56" y="6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200" name="ïṣľïḑe"/>
            <p:cNvSpPr/>
            <p:nvPr/>
          </p:nvSpPr>
          <p:spPr bwMode="auto">
            <a:xfrm>
              <a:off x="6720141" y="5672728"/>
              <a:ext cx="85725" cy="209550"/>
            </a:xfrm>
            <a:custGeom>
              <a:avLst/>
              <a:gdLst>
                <a:gd name="T0" fmla="*/ 20 w 47"/>
                <a:gd name="T1" fmla="*/ 4 h 114"/>
                <a:gd name="T2" fmla="*/ 13 w 47"/>
                <a:gd name="T3" fmla="*/ 12 h 114"/>
                <a:gd name="T4" fmla="*/ 12 w 47"/>
                <a:gd name="T5" fmla="*/ 24 h 114"/>
                <a:gd name="T6" fmla="*/ 12 w 47"/>
                <a:gd name="T7" fmla="*/ 33 h 114"/>
                <a:gd name="T8" fmla="*/ 0 w 47"/>
                <a:gd name="T9" fmla="*/ 33 h 114"/>
                <a:gd name="T10" fmla="*/ 0 w 47"/>
                <a:gd name="T11" fmla="*/ 44 h 114"/>
                <a:gd name="T12" fmla="*/ 12 w 47"/>
                <a:gd name="T13" fmla="*/ 44 h 114"/>
                <a:gd name="T14" fmla="*/ 12 w 47"/>
                <a:gd name="T15" fmla="*/ 114 h 114"/>
                <a:gd name="T16" fmla="*/ 26 w 47"/>
                <a:gd name="T17" fmla="*/ 114 h 114"/>
                <a:gd name="T18" fmla="*/ 26 w 47"/>
                <a:gd name="T19" fmla="*/ 44 h 114"/>
                <a:gd name="T20" fmla="*/ 41 w 47"/>
                <a:gd name="T21" fmla="*/ 44 h 114"/>
                <a:gd name="T22" fmla="*/ 41 w 47"/>
                <a:gd name="T23" fmla="*/ 33 h 114"/>
                <a:gd name="T24" fmla="*/ 26 w 47"/>
                <a:gd name="T25" fmla="*/ 33 h 114"/>
                <a:gd name="T26" fmla="*/ 26 w 47"/>
                <a:gd name="T27" fmla="*/ 26 h 114"/>
                <a:gd name="T28" fmla="*/ 28 w 47"/>
                <a:gd name="T29" fmla="*/ 16 h 114"/>
                <a:gd name="T30" fmla="*/ 37 w 47"/>
                <a:gd name="T31" fmla="*/ 13 h 114"/>
                <a:gd name="T32" fmla="*/ 45 w 47"/>
                <a:gd name="T33" fmla="*/ 14 h 114"/>
                <a:gd name="T34" fmla="*/ 47 w 47"/>
                <a:gd name="T35" fmla="*/ 2 h 114"/>
                <a:gd name="T36" fmla="*/ 34 w 47"/>
                <a:gd name="T37" fmla="*/ 0 h 114"/>
                <a:gd name="T38" fmla="*/ 20 w 47"/>
                <a:gd name="T39" fmla="*/ 4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47" h="114">
                  <a:moveTo>
                    <a:pt x="20" y="4"/>
                  </a:moveTo>
                  <a:cubicBezTo>
                    <a:pt x="17" y="6"/>
                    <a:pt x="15" y="9"/>
                    <a:pt x="13" y="12"/>
                  </a:cubicBezTo>
                  <a:cubicBezTo>
                    <a:pt x="12" y="15"/>
                    <a:pt x="12" y="19"/>
                    <a:pt x="12" y="24"/>
                  </a:cubicBezTo>
                  <a:cubicBezTo>
                    <a:pt x="12" y="33"/>
                    <a:pt x="12" y="33"/>
                    <a:pt x="12" y="33"/>
                  </a:cubicBezTo>
                  <a:cubicBezTo>
                    <a:pt x="0" y="33"/>
                    <a:pt x="0" y="33"/>
                    <a:pt x="0" y="33"/>
                  </a:cubicBezTo>
                  <a:cubicBezTo>
                    <a:pt x="0" y="44"/>
                    <a:pt x="0" y="44"/>
                    <a:pt x="0" y="44"/>
                  </a:cubicBezTo>
                  <a:cubicBezTo>
                    <a:pt x="12" y="44"/>
                    <a:pt x="12" y="44"/>
                    <a:pt x="12" y="44"/>
                  </a:cubicBezTo>
                  <a:cubicBezTo>
                    <a:pt x="12" y="114"/>
                    <a:pt x="12" y="114"/>
                    <a:pt x="12" y="114"/>
                  </a:cubicBezTo>
                  <a:cubicBezTo>
                    <a:pt x="26" y="114"/>
                    <a:pt x="26" y="114"/>
                    <a:pt x="26" y="114"/>
                  </a:cubicBezTo>
                  <a:cubicBezTo>
                    <a:pt x="26" y="44"/>
                    <a:pt x="26" y="44"/>
                    <a:pt x="26" y="44"/>
                  </a:cubicBezTo>
                  <a:cubicBezTo>
                    <a:pt x="41" y="44"/>
                    <a:pt x="41" y="44"/>
                    <a:pt x="41" y="44"/>
                  </a:cubicBezTo>
                  <a:cubicBezTo>
                    <a:pt x="41" y="33"/>
                    <a:pt x="41" y="33"/>
                    <a:pt x="41" y="33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26" y="26"/>
                    <a:pt x="26" y="26"/>
                    <a:pt x="26" y="26"/>
                  </a:cubicBezTo>
                  <a:cubicBezTo>
                    <a:pt x="26" y="21"/>
                    <a:pt x="27" y="17"/>
                    <a:pt x="28" y="16"/>
                  </a:cubicBezTo>
                  <a:cubicBezTo>
                    <a:pt x="30" y="14"/>
                    <a:pt x="33" y="13"/>
                    <a:pt x="37" y="13"/>
                  </a:cubicBezTo>
                  <a:cubicBezTo>
                    <a:pt x="40" y="13"/>
                    <a:pt x="42" y="13"/>
                    <a:pt x="45" y="14"/>
                  </a:cubicBezTo>
                  <a:cubicBezTo>
                    <a:pt x="47" y="2"/>
                    <a:pt x="47" y="2"/>
                    <a:pt x="47" y="2"/>
                  </a:cubicBezTo>
                  <a:cubicBezTo>
                    <a:pt x="43" y="1"/>
                    <a:pt x="38" y="0"/>
                    <a:pt x="34" y="0"/>
                  </a:cubicBezTo>
                  <a:cubicBezTo>
                    <a:pt x="28" y="0"/>
                    <a:pt x="24" y="1"/>
                    <a:pt x="20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201" name="ïš1îḍè"/>
            <p:cNvSpPr/>
            <p:nvPr/>
          </p:nvSpPr>
          <p:spPr bwMode="auto">
            <a:xfrm>
              <a:off x="6890003" y="5672728"/>
              <a:ext cx="165100" cy="214313"/>
            </a:xfrm>
            <a:custGeom>
              <a:avLst/>
              <a:gdLst>
                <a:gd name="T0" fmla="*/ 71 w 90"/>
                <a:gd name="T1" fmla="*/ 55 h 116"/>
                <a:gd name="T2" fmla="*/ 46 w 90"/>
                <a:gd name="T3" fmla="*/ 48 h 116"/>
                <a:gd name="T4" fmla="*/ 23 w 90"/>
                <a:gd name="T5" fmla="*/ 40 h 116"/>
                <a:gd name="T6" fmla="*/ 19 w 90"/>
                <a:gd name="T7" fmla="*/ 30 h 116"/>
                <a:gd name="T8" fmla="*/ 25 w 90"/>
                <a:gd name="T9" fmla="*/ 18 h 116"/>
                <a:gd name="T10" fmla="*/ 45 w 90"/>
                <a:gd name="T11" fmla="*/ 13 h 116"/>
                <a:gd name="T12" fmla="*/ 64 w 90"/>
                <a:gd name="T13" fmla="*/ 19 h 116"/>
                <a:gd name="T14" fmla="*/ 72 w 90"/>
                <a:gd name="T15" fmla="*/ 35 h 116"/>
                <a:gd name="T16" fmla="*/ 86 w 90"/>
                <a:gd name="T17" fmla="*/ 34 h 116"/>
                <a:gd name="T18" fmla="*/ 81 w 90"/>
                <a:gd name="T19" fmla="*/ 16 h 116"/>
                <a:gd name="T20" fmla="*/ 66 w 90"/>
                <a:gd name="T21" fmla="*/ 4 h 116"/>
                <a:gd name="T22" fmla="*/ 44 w 90"/>
                <a:gd name="T23" fmla="*/ 0 h 116"/>
                <a:gd name="T24" fmla="*/ 24 w 90"/>
                <a:gd name="T25" fmla="*/ 4 h 116"/>
                <a:gd name="T26" fmla="*/ 10 w 90"/>
                <a:gd name="T27" fmla="*/ 15 h 116"/>
                <a:gd name="T28" fmla="*/ 5 w 90"/>
                <a:gd name="T29" fmla="*/ 31 h 116"/>
                <a:gd name="T30" fmla="*/ 9 w 90"/>
                <a:gd name="T31" fmla="*/ 45 h 116"/>
                <a:gd name="T32" fmla="*/ 21 w 90"/>
                <a:gd name="T33" fmla="*/ 56 h 116"/>
                <a:gd name="T34" fmla="*/ 42 w 90"/>
                <a:gd name="T35" fmla="*/ 63 h 116"/>
                <a:gd name="T36" fmla="*/ 62 w 90"/>
                <a:gd name="T37" fmla="*/ 68 h 116"/>
                <a:gd name="T38" fmla="*/ 72 w 90"/>
                <a:gd name="T39" fmla="*/ 75 h 116"/>
                <a:gd name="T40" fmla="*/ 75 w 90"/>
                <a:gd name="T41" fmla="*/ 84 h 116"/>
                <a:gd name="T42" fmla="*/ 72 w 90"/>
                <a:gd name="T43" fmla="*/ 93 h 116"/>
                <a:gd name="T44" fmla="*/ 63 w 90"/>
                <a:gd name="T45" fmla="*/ 100 h 116"/>
                <a:gd name="T46" fmla="*/ 48 w 90"/>
                <a:gd name="T47" fmla="*/ 103 h 116"/>
                <a:gd name="T48" fmla="*/ 30 w 90"/>
                <a:gd name="T49" fmla="*/ 100 h 116"/>
                <a:gd name="T50" fmla="*/ 19 w 90"/>
                <a:gd name="T51" fmla="*/ 91 h 116"/>
                <a:gd name="T52" fmla="*/ 14 w 90"/>
                <a:gd name="T53" fmla="*/ 77 h 116"/>
                <a:gd name="T54" fmla="*/ 0 w 90"/>
                <a:gd name="T55" fmla="*/ 78 h 116"/>
                <a:gd name="T56" fmla="*/ 7 w 90"/>
                <a:gd name="T57" fmla="*/ 98 h 116"/>
                <a:gd name="T58" fmla="*/ 23 w 90"/>
                <a:gd name="T59" fmla="*/ 112 h 116"/>
                <a:gd name="T60" fmla="*/ 48 w 90"/>
                <a:gd name="T61" fmla="*/ 116 h 116"/>
                <a:gd name="T62" fmla="*/ 70 w 90"/>
                <a:gd name="T63" fmla="*/ 112 h 116"/>
                <a:gd name="T64" fmla="*/ 85 w 90"/>
                <a:gd name="T65" fmla="*/ 100 h 116"/>
                <a:gd name="T66" fmla="*/ 90 w 90"/>
                <a:gd name="T67" fmla="*/ 83 h 116"/>
                <a:gd name="T68" fmla="*/ 85 w 90"/>
                <a:gd name="T69" fmla="*/ 67 h 116"/>
                <a:gd name="T70" fmla="*/ 71 w 90"/>
                <a:gd name="T71" fmla="*/ 55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90" h="116">
                  <a:moveTo>
                    <a:pt x="71" y="55"/>
                  </a:moveTo>
                  <a:cubicBezTo>
                    <a:pt x="66" y="53"/>
                    <a:pt x="58" y="51"/>
                    <a:pt x="46" y="48"/>
                  </a:cubicBezTo>
                  <a:cubicBezTo>
                    <a:pt x="34" y="45"/>
                    <a:pt x="26" y="43"/>
                    <a:pt x="23" y="40"/>
                  </a:cubicBezTo>
                  <a:cubicBezTo>
                    <a:pt x="21" y="38"/>
                    <a:pt x="19" y="34"/>
                    <a:pt x="19" y="30"/>
                  </a:cubicBezTo>
                  <a:cubicBezTo>
                    <a:pt x="19" y="26"/>
                    <a:pt x="21" y="22"/>
                    <a:pt x="25" y="18"/>
                  </a:cubicBezTo>
                  <a:cubicBezTo>
                    <a:pt x="29" y="15"/>
                    <a:pt x="36" y="13"/>
                    <a:pt x="45" y="13"/>
                  </a:cubicBezTo>
                  <a:cubicBezTo>
                    <a:pt x="53" y="13"/>
                    <a:pt x="60" y="15"/>
                    <a:pt x="64" y="19"/>
                  </a:cubicBezTo>
                  <a:cubicBezTo>
                    <a:pt x="69" y="22"/>
                    <a:pt x="71" y="28"/>
                    <a:pt x="72" y="35"/>
                  </a:cubicBezTo>
                  <a:cubicBezTo>
                    <a:pt x="86" y="34"/>
                    <a:pt x="86" y="34"/>
                    <a:pt x="86" y="34"/>
                  </a:cubicBezTo>
                  <a:cubicBezTo>
                    <a:pt x="86" y="27"/>
                    <a:pt x="84" y="21"/>
                    <a:pt x="81" y="16"/>
                  </a:cubicBezTo>
                  <a:cubicBezTo>
                    <a:pt x="77" y="11"/>
                    <a:pt x="73" y="7"/>
                    <a:pt x="66" y="4"/>
                  </a:cubicBezTo>
                  <a:cubicBezTo>
                    <a:pt x="60" y="2"/>
                    <a:pt x="53" y="0"/>
                    <a:pt x="44" y="0"/>
                  </a:cubicBezTo>
                  <a:cubicBezTo>
                    <a:pt x="37" y="0"/>
                    <a:pt x="30" y="1"/>
                    <a:pt x="24" y="4"/>
                  </a:cubicBezTo>
                  <a:cubicBezTo>
                    <a:pt x="17" y="7"/>
                    <a:pt x="13" y="10"/>
                    <a:pt x="10" y="15"/>
                  </a:cubicBezTo>
                  <a:cubicBezTo>
                    <a:pt x="6" y="20"/>
                    <a:pt x="5" y="25"/>
                    <a:pt x="5" y="31"/>
                  </a:cubicBezTo>
                  <a:cubicBezTo>
                    <a:pt x="5" y="36"/>
                    <a:pt x="6" y="41"/>
                    <a:pt x="9" y="45"/>
                  </a:cubicBezTo>
                  <a:cubicBezTo>
                    <a:pt x="11" y="49"/>
                    <a:pt x="15" y="53"/>
                    <a:pt x="21" y="56"/>
                  </a:cubicBezTo>
                  <a:cubicBezTo>
                    <a:pt x="25" y="58"/>
                    <a:pt x="32" y="60"/>
                    <a:pt x="42" y="63"/>
                  </a:cubicBezTo>
                  <a:cubicBezTo>
                    <a:pt x="53" y="65"/>
                    <a:pt x="59" y="67"/>
                    <a:pt x="62" y="68"/>
                  </a:cubicBezTo>
                  <a:cubicBezTo>
                    <a:pt x="67" y="70"/>
                    <a:pt x="70" y="72"/>
                    <a:pt x="72" y="75"/>
                  </a:cubicBezTo>
                  <a:cubicBezTo>
                    <a:pt x="74" y="77"/>
                    <a:pt x="75" y="80"/>
                    <a:pt x="75" y="84"/>
                  </a:cubicBezTo>
                  <a:cubicBezTo>
                    <a:pt x="75" y="87"/>
                    <a:pt x="74" y="91"/>
                    <a:pt x="72" y="93"/>
                  </a:cubicBezTo>
                  <a:cubicBezTo>
                    <a:pt x="70" y="96"/>
                    <a:pt x="67" y="99"/>
                    <a:pt x="63" y="100"/>
                  </a:cubicBezTo>
                  <a:cubicBezTo>
                    <a:pt x="58" y="102"/>
                    <a:pt x="53" y="103"/>
                    <a:pt x="48" y="103"/>
                  </a:cubicBezTo>
                  <a:cubicBezTo>
                    <a:pt x="41" y="103"/>
                    <a:pt x="35" y="102"/>
                    <a:pt x="30" y="100"/>
                  </a:cubicBezTo>
                  <a:cubicBezTo>
                    <a:pt x="25" y="97"/>
                    <a:pt x="22" y="94"/>
                    <a:pt x="19" y="91"/>
                  </a:cubicBezTo>
                  <a:cubicBezTo>
                    <a:pt x="17" y="87"/>
                    <a:pt x="15" y="83"/>
                    <a:pt x="14" y="77"/>
                  </a:cubicBezTo>
                  <a:cubicBezTo>
                    <a:pt x="0" y="78"/>
                    <a:pt x="0" y="78"/>
                    <a:pt x="0" y="78"/>
                  </a:cubicBezTo>
                  <a:cubicBezTo>
                    <a:pt x="1" y="86"/>
                    <a:pt x="3" y="93"/>
                    <a:pt x="7" y="98"/>
                  </a:cubicBezTo>
                  <a:cubicBezTo>
                    <a:pt x="11" y="104"/>
                    <a:pt x="16" y="109"/>
                    <a:pt x="23" y="112"/>
                  </a:cubicBezTo>
                  <a:cubicBezTo>
                    <a:pt x="30" y="115"/>
                    <a:pt x="38" y="116"/>
                    <a:pt x="48" y="116"/>
                  </a:cubicBezTo>
                  <a:cubicBezTo>
                    <a:pt x="56" y="116"/>
                    <a:pt x="64" y="115"/>
                    <a:pt x="70" y="112"/>
                  </a:cubicBezTo>
                  <a:cubicBezTo>
                    <a:pt x="76" y="109"/>
                    <a:pt x="81" y="105"/>
                    <a:pt x="85" y="100"/>
                  </a:cubicBezTo>
                  <a:cubicBezTo>
                    <a:pt x="88" y="94"/>
                    <a:pt x="90" y="89"/>
                    <a:pt x="90" y="83"/>
                  </a:cubicBezTo>
                  <a:cubicBezTo>
                    <a:pt x="90" y="77"/>
                    <a:pt x="88" y="71"/>
                    <a:pt x="85" y="67"/>
                  </a:cubicBezTo>
                  <a:cubicBezTo>
                    <a:pt x="82" y="62"/>
                    <a:pt x="77" y="58"/>
                    <a:pt x="71" y="5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202" name="iṥľïḍê"/>
            <p:cNvSpPr/>
            <p:nvPr/>
          </p:nvSpPr>
          <p:spPr bwMode="auto">
            <a:xfrm>
              <a:off x="7080503" y="5729878"/>
              <a:ext cx="131763" cy="157163"/>
            </a:xfrm>
            <a:custGeom>
              <a:avLst/>
              <a:gdLst>
                <a:gd name="T0" fmla="*/ 50 w 71"/>
                <a:gd name="T1" fmla="*/ 69 h 85"/>
                <a:gd name="T2" fmla="*/ 37 w 71"/>
                <a:gd name="T3" fmla="*/ 74 h 85"/>
                <a:gd name="T4" fmla="*/ 21 w 71"/>
                <a:gd name="T5" fmla="*/ 66 h 85"/>
                <a:gd name="T6" fmla="*/ 14 w 71"/>
                <a:gd name="T7" fmla="*/ 43 h 85"/>
                <a:gd name="T8" fmla="*/ 21 w 71"/>
                <a:gd name="T9" fmla="*/ 19 h 85"/>
                <a:gd name="T10" fmla="*/ 38 w 71"/>
                <a:gd name="T11" fmla="*/ 12 h 85"/>
                <a:gd name="T12" fmla="*/ 49 w 71"/>
                <a:gd name="T13" fmla="*/ 16 h 85"/>
                <a:gd name="T14" fmla="*/ 56 w 71"/>
                <a:gd name="T15" fmla="*/ 28 h 85"/>
                <a:gd name="T16" fmla="*/ 70 w 71"/>
                <a:gd name="T17" fmla="*/ 26 h 85"/>
                <a:gd name="T18" fmla="*/ 59 w 71"/>
                <a:gd name="T19" fmla="*/ 7 h 85"/>
                <a:gd name="T20" fmla="*/ 37 w 71"/>
                <a:gd name="T21" fmla="*/ 0 h 85"/>
                <a:gd name="T22" fmla="*/ 18 w 71"/>
                <a:gd name="T23" fmla="*/ 5 h 85"/>
                <a:gd name="T24" fmla="*/ 4 w 71"/>
                <a:gd name="T25" fmla="*/ 20 h 85"/>
                <a:gd name="T26" fmla="*/ 0 w 71"/>
                <a:gd name="T27" fmla="*/ 43 h 85"/>
                <a:gd name="T28" fmla="*/ 10 w 71"/>
                <a:gd name="T29" fmla="*/ 74 h 85"/>
                <a:gd name="T30" fmla="*/ 37 w 71"/>
                <a:gd name="T31" fmla="*/ 85 h 85"/>
                <a:gd name="T32" fmla="*/ 60 w 71"/>
                <a:gd name="T33" fmla="*/ 77 h 85"/>
                <a:gd name="T34" fmla="*/ 71 w 71"/>
                <a:gd name="T35" fmla="*/ 55 h 85"/>
                <a:gd name="T36" fmla="*/ 57 w 71"/>
                <a:gd name="T37" fmla="*/ 54 h 85"/>
                <a:gd name="T38" fmla="*/ 50 w 71"/>
                <a:gd name="T39" fmla="*/ 69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71" h="85">
                  <a:moveTo>
                    <a:pt x="50" y="69"/>
                  </a:moveTo>
                  <a:cubicBezTo>
                    <a:pt x="47" y="72"/>
                    <a:pt x="42" y="74"/>
                    <a:pt x="37" y="74"/>
                  </a:cubicBezTo>
                  <a:cubicBezTo>
                    <a:pt x="30" y="74"/>
                    <a:pt x="25" y="71"/>
                    <a:pt x="21" y="66"/>
                  </a:cubicBezTo>
                  <a:cubicBezTo>
                    <a:pt x="16" y="61"/>
                    <a:pt x="14" y="54"/>
                    <a:pt x="14" y="43"/>
                  </a:cubicBezTo>
                  <a:cubicBezTo>
                    <a:pt x="14" y="32"/>
                    <a:pt x="16" y="24"/>
                    <a:pt x="21" y="19"/>
                  </a:cubicBezTo>
                  <a:cubicBezTo>
                    <a:pt x="25" y="14"/>
                    <a:pt x="31" y="12"/>
                    <a:pt x="38" y="12"/>
                  </a:cubicBezTo>
                  <a:cubicBezTo>
                    <a:pt x="42" y="12"/>
                    <a:pt x="46" y="13"/>
                    <a:pt x="49" y="16"/>
                  </a:cubicBezTo>
                  <a:cubicBezTo>
                    <a:pt x="53" y="18"/>
                    <a:pt x="55" y="23"/>
                    <a:pt x="56" y="28"/>
                  </a:cubicBezTo>
                  <a:cubicBezTo>
                    <a:pt x="70" y="26"/>
                    <a:pt x="70" y="26"/>
                    <a:pt x="70" y="26"/>
                  </a:cubicBezTo>
                  <a:cubicBezTo>
                    <a:pt x="68" y="18"/>
                    <a:pt x="64" y="11"/>
                    <a:pt x="59" y="7"/>
                  </a:cubicBezTo>
                  <a:cubicBezTo>
                    <a:pt x="53" y="2"/>
                    <a:pt x="46" y="0"/>
                    <a:pt x="37" y="0"/>
                  </a:cubicBezTo>
                  <a:cubicBezTo>
                    <a:pt x="30" y="0"/>
                    <a:pt x="24" y="2"/>
                    <a:pt x="18" y="5"/>
                  </a:cubicBezTo>
                  <a:cubicBezTo>
                    <a:pt x="12" y="8"/>
                    <a:pt x="7" y="13"/>
                    <a:pt x="4" y="20"/>
                  </a:cubicBezTo>
                  <a:cubicBezTo>
                    <a:pt x="2" y="27"/>
                    <a:pt x="0" y="34"/>
                    <a:pt x="0" y="43"/>
                  </a:cubicBezTo>
                  <a:cubicBezTo>
                    <a:pt x="0" y="57"/>
                    <a:pt x="3" y="67"/>
                    <a:pt x="10" y="74"/>
                  </a:cubicBezTo>
                  <a:cubicBezTo>
                    <a:pt x="17" y="82"/>
                    <a:pt x="26" y="85"/>
                    <a:pt x="37" y="85"/>
                  </a:cubicBezTo>
                  <a:cubicBezTo>
                    <a:pt x="46" y="85"/>
                    <a:pt x="53" y="83"/>
                    <a:pt x="60" y="77"/>
                  </a:cubicBezTo>
                  <a:cubicBezTo>
                    <a:pt x="66" y="72"/>
                    <a:pt x="69" y="65"/>
                    <a:pt x="71" y="55"/>
                  </a:cubicBezTo>
                  <a:cubicBezTo>
                    <a:pt x="57" y="54"/>
                    <a:pt x="57" y="54"/>
                    <a:pt x="57" y="54"/>
                  </a:cubicBezTo>
                  <a:cubicBezTo>
                    <a:pt x="56" y="60"/>
                    <a:pt x="54" y="66"/>
                    <a:pt x="50" y="6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203" name="íṥ1ïdê"/>
            <p:cNvSpPr/>
            <p:nvPr/>
          </p:nvSpPr>
          <p:spPr bwMode="auto">
            <a:xfrm>
              <a:off x="7234491" y="5675903"/>
              <a:ext cx="25400" cy="3016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204" name="îṡ1îďé"/>
            <p:cNvSpPr/>
            <p:nvPr/>
          </p:nvSpPr>
          <p:spPr bwMode="auto">
            <a:xfrm>
              <a:off x="7234491" y="5733053"/>
              <a:ext cx="25400" cy="1492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205" name="íṩḷïḑé"/>
            <p:cNvSpPr/>
            <p:nvPr/>
          </p:nvSpPr>
          <p:spPr bwMode="auto">
            <a:xfrm>
              <a:off x="7290053" y="5729878"/>
              <a:ext cx="138113" cy="157163"/>
            </a:xfrm>
            <a:custGeom>
              <a:avLst/>
              <a:gdLst>
                <a:gd name="T0" fmla="*/ 38 w 75"/>
                <a:gd name="T1" fmla="*/ 0 h 85"/>
                <a:gd name="T2" fmla="*/ 10 w 75"/>
                <a:gd name="T3" fmla="*/ 12 h 85"/>
                <a:gd name="T4" fmla="*/ 0 w 75"/>
                <a:gd name="T5" fmla="*/ 43 h 85"/>
                <a:gd name="T6" fmla="*/ 10 w 75"/>
                <a:gd name="T7" fmla="*/ 74 h 85"/>
                <a:gd name="T8" fmla="*/ 39 w 75"/>
                <a:gd name="T9" fmla="*/ 85 h 85"/>
                <a:gd name="T10" fmla="*/ 62 w 75"/>
                <a:gd name="T11" fmla="*/ 78 h 85"/>
                <a:gd name="T12" fmla="*/ 74 w 75"/>
                <a:gd name="T13" fmla="*/ 59 h 85"/>
                <a:gd name="T14" fmla="*/ 60 w 75"/>
                <a:gd name="T15" fmla="*/ 57 h 85"/>
                <a:gd name="T16" fmla="*/ 52 w 75"/>
                <a:gd name="T17" fmla="*/ 70 h 85"/>
                <a:gd name="T18" fmla="*/ 39 w 75"/>
                <a:gd name="T19" fmla="*/ 74 h 85"/>
                <a:gd name="T20" fmla="*/ 22 w 75"/>
                <a:gd name="T21" fmla="*/ 67 h 85"/>
                <a:gd name="T22" fmla="*/ 14 w 75"/>
                <a:gd name="T23" fmla="*/ 46 h 85"/>
                <a:gd name="T24" fmla="*/ 75 w 75"/>
                <a:gd name="T25" fmla="*/ 46 h 85"/>
                <a:gd name="T26" fmla="*/ 75 w 75"/>
                <a:gd name="T27" fmla="*/ 43 h 85"/>
                <a:gd name="T28" fmla="*/ 65 w 75"/>
                <a:gd name="T29" fmla="*/ 11 h 85"/>
                <a:gd name="T30" fmla="*/ 38 w 75"/>
                <a:gd name="T31" fmla="*/ 0 h 85"/>
                <a:gd name="T32" fmla="*/ 15 w 75"/>
                <a:gd name="T33" fmla="*/ 35 h 85"/>
                <a:gd name="T34" fmla="*/ 22 w 75"/>
                <a:gd name="T35" fmla="*/ 18 h 85"/>
                <a:gd name="T36" fmla="*/ 38 w 75"/>
                <a:gd name="T37" fmla="*/ 12 h 85"/>
                <a:gd name="T38" fmla="*/ 55 w 75"/>
                <a:gd name="T39" fmla="*/ 20 h 85"/>
                <a:gd name="T40" fmla="*/ 60 w 75"/>
                <a:gd name="T41" fmla="*/ 35 h 85"/>
                <a:gd name="T42" fmla="*/ 15 w 75"/>
                <a:gd name="T43" fmla="*/ 35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75" h="85">
                  <a:moveTo>
                    <a:pt x="38" y="0"/>
                  </a:moveTo>
                  <a:cubicBezTo>
                    <a:pt x="27" y="0"/>
                    <a:pt x="18" y="4"/>
                    <a:pt x="10" y="12"/>
                  </a:cubicBezTo>
                  <a:cubicBezTo>
                    <a:pt x="3" y="19"/>
                    <a:pt x="0" y="30"/>
                    <a:pt x="0" y="43"/>
                  </a:cubicBezTo>
                  <a:cubicBezTo>
                    <a:pt x="0" y="57"/>
                    <a:pt x="3" y="67"/>
                    <a:pt x="10" y="74"/>
                  </a:cubicBezTo>
                  <a:cubicBezTo>
                    <a:pt x="17" y="81"/>
                    <a:pt x="27" y="85"/>
                    <a:pt x="39" y="85"/>
                  </a:cubicBezTo>
                  <a:cubicBezTo>
                    <a:pt x="48" y="85"/>
                    <a:pt x="56" y="83"/>
                    <a:pt x="62" y="78"/>
                  </a:cubicBezTo>
                  <a:cubicBezTo>
                    <a:pt x="68" y="74"/>
                    <a:pt x="72" y="67"/>
                    <a:pt x="74" y="59"/>
                  </a:cubicBezTo>
                  <a:cubicBezTo>
                    <a:pt x="60" y="57"/>
                    <a:pt x="60" y="57"/>
                    <a:pt x="60" y="57"/>
                  </a:cubicBezTo>
                  <a:cubicBezTo>
                    <a:pt x="58" y="63"/>
                    <a:pt x="55" y="67"/>
                    <a:pt x="52" y="70"/>
                  </a:cubicBezTo>
                  <a:cubicBezTo>
                    <a:pt x="48" y="73"/>
                    <a:pt x="44" y="74"/>
                    <a:pt x="39" y="74"/>
                  </a:cubicBezTo>
                  <a:cubicBezTo>
                    <a:pt x="32" y="74"/>
                    <a:pt x="26" y="71"/>
                    <a:pt x="22" y="67"/>
                  </a:cubicBezTo>
                  <a:cubicBezTo>
                    <a:pt x="17" y="62"/>
                    <a:pt x="15" y="55"/>
                    <a:pt x="14" y="46"/>
                  </a:cubicBezTo>
                  <a:cubicBezTo>
                    <a:pt x="75" y="46"/>
                    <a:pt x="75" y="46"/>
                    <a:pt x="75" y="46"/>
                  </a:cubicBezTo>
                  <a:cubicBezTo>
                    <a:pt x="75" y="45"/>
                    <a:pt x="75" y="43"/>
                    <a:pt x="75" y="43"/>
                  </a:cubicBezTo>
                  <a:cubicBezTo>
                    <a:pt x="75" y="29"/>
                    <a:pt x="71" y="19"/>
                    <a:pt x="65" y="11"/>
                  </a:cubicBezTo>
                  <a:cubicBezTo>
                    <a:pt x="58" y="4"/>
                    <a:pt x="49" y="0"/>
                    <a:pt x="38" y="0"/>
                  </a:cubicBezTo>
                  <a:close/>
                  <a:moveTo>
                    <a:pt x="15" y="35"/>
                  </a:moveTo>
                  <a:cubicBezTo>
                    <a:pt x="15" y="28"/>
                    <a:pt x="18" y="22"/>
                    <a:pt x="22" y="18"/>
                  </a:cubicBezTo>
                  <a:cubicBezTo>
                    <a:pt x="26" y="14"/>
                    <a:pt x="32" y="12"/>
                    <a:pt x="38" y="12"/>
                  </a:cubicBezTo>
                  <a:cubicBezTo>
                    <a:pt x="45" y="12"/>
                    <a:pt x="51" y="14"/>
                    <a:pt x="55" y="20"/>
                  </a:cubicBezTo>
                  <a:cubicBezTo>
                    <a:pt x="58" y="23"/>
                    <a:pt x="60" y="28"/>
                    <a:pt x="60" y="35"/>
                  </a:cubicBezTo>
                  <a:lnTo>
                    <a:pt x="15" y="3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206" name="ïşḷiḋè"/>
            <p:cNvSpPr/>
            <p:nvPr/>
          </p:nvSpPr>
          <p:spPr bwMode="auto">
            <a:xfrm>
              <a:off x="7458328" y="5729878"/>
              <a:ext cx="122238" cy="152400"/>
            </a:xfrm>
            <a:custGeom>
              <a:avLst/>
              <a:gdLst>
                <a:gd name="T0" fmla="*/ 61 w 66"/>
                <a:gd name="T1" fmla="*/ 10 h 83"/>
                <a:gd name="T2" fmla="*/ 51 w 66"/>
                <a:gd name="T3" fmla="*/ 3 h 83"/>
                <a:gd name="T4" fmla="*/ 38 w 66"/>
                <a:gd name="T5" fmla="*/ 0 h 83"/>
                <a:gd name="T6" fmla="*/ 12 w 66"/>
                <a:gd name="T7" fmla="*/ 14 h 83"/>
                <a:gd name="T8" fmla="*/ 12 w 66"/>
                <a:gd name="T9" fmla="*/ 2 h 83"/>
                <a:gd name="T10" fmla="*/ 0 w 66"/>
                <a:gd name="T11" fmla="*/ 2 h 83"/>
                <a:gd name="T12" fmla="*/ 0 w 66"/>
                <a:gd name="T13" fmla="*/ 83 h 83"/>
                <a:gd name="T14" fmla="*/ 13 w 66"/>
                <a:gd name="T15" fmla="*/ 83 h 83"/>
                <a:gd name="T16" fmla="*/ 13 w 66"/>
                <a:gd name="T17" fmla="*/ 39 h 83"/>
                <a:gd name="T18" fmla="*/ 20 w 66"/>
                <a:gd name="T19" fmla="*/ 18 h 83"/>
                <a:gd name="T20" fmla="*/ 35 w 66"/>
                <a:gd name="T21" fmla="*/ 12 h 83"/>
                <a:gd name="T22" fmla="*/ 45 w 66"/>
                <a:gd name="T23" fmla="*/ 15 h 83"/>
                <a:gd name="T24" fmla="*/ 50 w 66"/>
                <a:gd name="T25" fmla="*/ 21 h 83"/>
                <a:gd name="T26" fmla="*/ 52 w 66"/>
                <a:gd name="T27" fmla="*/ 34 h 83"/>
                <a:gd name="T28" fmla="*/ 52 w 66"/>
                <a:gd name="T29" fmla="*/ 83 h 83"/>
                <a:gd name="T30" fmla="*/ 66 w 66"/>
                <a:gd name="T31" fmla="*/ 83 h 83"/>
                <a:gd name="T32" fmla="*/ 66 w 66"/>
                <a:gd name="T33" fmla="*/ 33 h 83"/>
                <a:gd name="T34" fmla="*/ 65 w 66"/>
                <a:gd name="T35" fmla="*/ 20 h 83"/>
                <a:gd name="T36" fmla="*/ 61 w 66"/>
                <a:gd name="T37" fmla="*/ 10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6" h="83">
                  <a:moveTo>
                    <a:pt x="61" y="10"/>
                  </a:moveTo>
                  <a:cubicBezTo>
                    <a:pt x="59" y="7"/>
                    <a:pt x="56" y="5"/>
                    <a:pt x="51" y="3"/>
                  </a:cubicBezTo>
                  <a:cubicBezTo>
                    <a:pt x="47" y="1"/>
                    <a:pt x="43" y="0"/>
                    <a:pt x="38" y="0"/>
                  </a:cubicBezTo>
                  <a:cubicBezTo>
                    <a:pt x="27" y="0"/>
                    <a:pt x="18" y="5"/>
                    <a:pt x="12" y="14"/>
                  </a:cubicBezTo>
                  <a:cubicBezTo>
                    <a:pt x="12" y="2"/>
                    <a:pt x="12" y="2"/>
                    <a:pt x="12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83"/>
                    <a:pt x="0" y="83"/>
                    <a:pt x="0" y="83"/>
                  </a:cubicBezTo>
                  <a:cubicBezTo>
                    <a:pt x="13" y="83"/>
                    <a:pt x="13" y="83"/>
                    <a:pt x="13" y="83"/>
                  </a:cubicBezTo>
                  <a:cubicBezTo>
                    <a:pt x="13" y="39"/>
                    <a:pt x="13" y="39"/>
                    <a:pt x="13" y="39"/>
                  </a:cubicBezTo>
                  <a:cubicBezTo>
                    <a:pt x="13" y="29"/>
                    <a:pt x="16" y="21"/>
                    <a:pt x="20" y="18"/>
                  </a:cubicBezTo>
                  <a:cubicBezTo>
                    <a:pt x="24" y="14"/>
                    <a:pt x="29" y="12"/>
                    <a:pt x="35" y="12"/>
                  </a:cubicBezTo>
                  <a:cubicBezTo>
                    <a:pt x="39" y="12"/>
                    <a:pt x="42" y="13"/>
                    <a:pt x="45" y="15"/>
                  </a:cubicBezTo>
                  <a:cubicBezTo>
                    <a:pt x="47" y="16"/>
                    <a:pt x="49" y="19"/>
                    <a:pt x="50" y="21"/>
                  </a:cubicBezTo>
                  <a:cubicBezTo>
                    <a:pt x="51" y="24"/>
                    <a:pt x="52" y="28"/>
                    <a:pt x="52" y="34"/>
                  </a:cubicBezTo>
                  <a:cubicBezTo>
                    <a:pt x="52" y="83"/>
                    <a:pt x="52" y="83"/>
                    <a:pt x="52" y="83"/>
                  </a:cubicBezTo>
                  <a:cubicBezTo>
                    <a:pt x="66" y="83"/>
                    <a:pt x="66" y="83"/>
                    <a:pt x="66" y="83"/>
                  </a:cubicBezTo>
                  <a:cubicBezTo>
                    <a:pt x="66" y="33"/>
                    <a:pt x="66" y="33"/>
                    <a:pt x="66" y="33"/>
                  </a:cubicBezTo>
                  <a:cubicBezTo>
                    <a:pt x="66" y="27"/>
                    <a:pt x="65" y="23"/>
                    <a:pt x="65" y="20"/>
                  </a:cubicBezTo>
                  <a:cubicBezTo>
                    <a:pt x="64" y="16"/>
                    <a:pt x="63" y="13"/>
                    <a:pt x="61" y="1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207" name="îṩľiḍé"/>
            <p:cNvSpPr/>
            <p:nvPr/>
          </p:nvSpPr>
          <p:spPr bwMode="auto">
            <a:xfrm>
              <a:off x="7612316" y="5729878"/>
              <a:ext cx="128588" cy="157163"/>
            </a:xfrm>
            <a:custGeom>
              <a:avLst/>
              <a:gdLst>
                <a:gd name="T0" fmla="*/ 50 w 70"/>
                <a:gd name="T1" fmla="*/ 69 h 85"/>
                <a:gd name="T2" fmla="*/ 36 w 70"/>
                <a:gd name="T3" fmla="*/ 74 h 85"/>
                <a:gd name="T4" fmla="*/ 20 w 70"/>
                <a:gd name="T5" fmla="*/ 66 h 85"/>
                <a:gd name="T6" fmla="*/ 14 w 70"/>
                <a:gd name="T7" fmla="*/ 43 h 85"/>
                <a:gd name="T8" fmla="*/ 20 w 70"/>
                <a:gd name="T9" fmla="*/ 19 h 85"/>
                <a:gd name="T10" fmla="*/ 37 w 70"/>
                <a:gd name="T11" fmla="*/ 12 h 85"/>
                <a:gd name="T12" fmla="*/ 49 w 70"/>
                <a:gd name="T13" fmla="*/ 16 h 85"/>
                <a:gd name="T14" fmla="*/ 56 w 70"/>
                <a:gd name="T15" fmla="*/ 28 h 85"/>
                <a:gd name="T16" fmla="*/ 69 w 70"/>
                <a:gd name="T17" fmla="*/ 26 h 85"/>
                <a:gd name="T18" fmla="*/ 58 w 70"/>
                <a:gd name="T19" fmla="*/ 7 h 85"/>
                <a:gd name="T20" fmla="*/ 37 w 70"/>
                <a:gd name="T21" fmla="*/ 0 h 85"/>
                <a:gd name="T22" fmla="*/ 17 w 70"/>
                <a:gd name="T23" fmla="*/ 5 h 85"/>
                <a:gd name="T24" fmla="*/ 4 w 70"/>
                <a:gd name="T25" fmla="*/ 20 h 85"/>
                <a:gd name="T26" fmla="*/ 0 w 70"/>
                <a:gd name="T27" fmla="*/ 43 h 85"/>
                <a:gd name="T28" fmla="*/ 10 w 70"/>
                <a:gd name="T29" fmla="*/ 74 h 85"/>
                <a:gd name="T30" fmla="*/ 37 w 70"/>
                <a:gd name="T31" fmla="*/ 85 h 85"/>
                <a:gd name="T32" fmla="*/ 59 w 70"/>
                <a:gd name="T33" fmla="*/ 77 h 85"/>
                <a:gd name="T34" fmla="*/ 70 w 70"/>
                <a:gd name="T35" fmla="*/ 55 h 85"/>
                <a:gd name="T36" fmla="*/ 57 w 70"/>
                <a:gd name="T37" fmla="*/ 54 h 85"/>
                <a:gd name="T38" fmla="*/ 50 w 70"/>
                <a:gd name="T39" fmla="*/ 69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70" h="85">
                  <a:moveTo>
                    <a:pt x="50" y="69"/>
                  </a:moveTo>
                  <a:cubicBezTo>
                    <a:pt x="46" y="72"/>
                    <a:pt x="42" y="74"/>
                    <a:pt x="36" y="74"/>
                  </a:cubicBezTo>
                  <a:cubicBezTo>
                    <a:pt x="30" y="74"/>
                    <a:pt x="24" y="71"/>
                    <a:pt x="20" y="66"/>
                  </a:cubicBezTo>
                  <a:cubicBezTo>
                    <a:pt x="16" y="61"/>
                    <a:pt x="14" y="54"/>
                    <a:pt x="14" y="43"/>
                  </a:cubicBezTo>
                  <a:cubicBezTo>
                    <a:pt x="14" y="32"/>
                    <a:pt x="16" y="24"/>
                    <a:pt x="20" y="19"/>
                  </a:cubicBezTo>
                  <a:cubicBezTo>
                    <a:pt x="25" y="14"/>
                    <a:pt x="30" y="12"/>
                    <a:pt x="37" y="12"/>
                  </a:cubicBezTo>
                  <a:cubicBezTo>
                    <a:pt x="42" y="12"/>
                    <a:pt x="46" y="13"/>
                    <a:pt x="49" y="16"/>
                  </a:cubicBezTo>
                  <a:cubicBezTo>
                    <a:pt x="52" y="18"/>
                    <a:pt x="54" y="23"/>
                    <a:pt x="56" y="28"/>
                  </a:cubicBezTo>
                  <a:cubicBezTo>
                    <a:pt x="69" y="26"/>
                    <a:pt x="69" y="26"/>
                    <a:pt x="69" y="26"/>
                  </a:cubicBezTo>
                  <a:cubicBezTo>
                    <a:pt x="68" y="18"/>
                    <a:pt x="64" y="11"/>
                    <a:pt x="58" y="7"/>
                  </a:cubicBezTo>
                  <a:cubicBezTo>
                    <a:pt x="53" y="2"/>
                    <a:pt x="46" y="0"/>
                    <a:pt x="37" y="0"/>
                  </a:cubicBezTo>
                  <a:cubicBezTo>
                    <a:pt x="30" y="0"/>
                    <a:pt x="23" y="2"/>
                    <a:pt x="17" y="5"/>
                  </a:cubicBezTo>
                  <a:cubicBezTo>
                    <a:pt x="11" y="8"/>
                    <a:pt x="7" y="13"/>
                    <a:pt x="4" y="20"/>
                  </a:cubicBezTo>
                  <a:cubicBezTo>
                    <a:pt x="1" y="27"/>
                    <a:pt x="0" y="34"/>
                    <a:pt x="0" y="43"/>
                  </a:cubicBezTo>
                  <a:cubicBezTo>
                    <a:pt x="0" y="57"/>
                    <a:pt x="3" y="67"/>
                    <a:pt x="10" y="74"/>
                  </a:cubicBezTo>
                  <a:cubicBezTo>
                    <a:pt x="17" y="82"/>
                    <a:pt x="26" y="85"/>
                    <a:pt x="37" y="85"/>
                  </a:cubicBezTo>
                  <a:cubicBezTo>
                    <a:pt x="45" y="85"/>
                    <a:pt x="53" y="83"/>
                    <a:pt x="59" y="77"/>
                  </a:cubicBezTo>
                  <a:cubicBezTo>
                    <a:pt x="65" y="72"/>
                    <a:pt x="69" y="65"/>
                    <a:pt x="70" y="55"/>
                  </a:cubicBezTo>
                  <a:cubicBezTo>
                    <a:pt x="57" y="54"/>
                    <a:pt x="57" y="54"/>
                    <a:pt x="57" y="54"/>
                  </a:cubicBezTo>
                  <a:cubicBezTo>
                    <a:pt x="56" y="60"/>
                    <a:pt x="54" y="66"/>
                    <a:pt x="50" y="6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208" name="íṡḷïďe"/>
            <p:cNvSpPr/>
            <p:nvPr/>
          </p:nvSpPr>
          <p:spPr bwMode="auto">
            <a:xfrm>
              <a:off x="7755191" y="5729878"/>
              <a:ext cx="138113" cy="157163"/>
            </a:xfrm>
            <a:custGeom>
              <a:avLst/>
              <a:gdLst>
                <a:gd name="T0" fmla="*/ 38 w 75"/>
                <a:gd name="T1" fmla="*/ 0 h 85"/>
                <a:gd name="T2" fmla="*/ 10 w 75"/>
                <a:gd name="T3" fmla="*/ 12 h 85"/>
                <a:gd name="T4" fmla="*/ 0 w 75"/>
                <a:gd name="T5" fmla="*/ 43 h 85"/>
                <a:gd name="T6" fmla="*/ 10 w 75"/>
                <a:gd name="T7" fmla="*/ 74 h 85"/>
                <a:gd name="T8" fmla="*/ 38 w 75"/>
                <a:gd name="T9" fmla="*/ 85 h 85"/>
                <a:gd name="T10" fmla="*/ 62 w 75"/>
                <a:gd name="T11" fmla="*/ 78 h 85"/>
                <a:gd name="T12" fmla="*/ 74 w 75"/>
                <a:gd name="T13" fmla="*/ 59 h 85"/>
                <a:gd name="T14" fmla="*/ 60 w 75"/>
                <a:gd name="T15" fmla="*/ 57 h 85"/>
                <a:gd name="T16" fmla="*/ 51 w 75"/>
                <a:gd name="T17" fmla="*/ 70 h 85"/>
                <a:gd name="T18" fmla="*/ 38 w 75"/>
                <a:gd name="T19" fmla="*/ 74 h 85"/>
                <a:gd name="T20" fmla="*/ 21 w 75"/>
                <a:gd name="T21" fmla="*/ 67 h 85"/>
                <a:gd name="T22" fmla="*/ 14 w 75"/>
                <a:gd name="T23" fmla="*/ 46 h 85"/>
                <a:gd name="T24" fmla="*/ 75 w 75"/>
                <a:gd name="T25" fmla="*/ 46 h 85"/>
                <a:gd name="T26" fmla="*/ 75 w 75"/>
                <a:gd name="T27" fmla="*/ 43 h 85"/>
                <a:gd name="T28" fmla="*/ 64 w 75"/>
                <a:gd name="T29" fmla="*/ 11 h 85"/>
                <a:gd name="T30" fmla="*/ 38 w 75"/>
                <a:gd name="T31" fmla="*/ 0 h 85"/>
                <a:gd name="T32" fmla="*/ 15 w 75"/>
                <a:gd name="T33" fmla="*/ 35 h 85"/>
                <a:gd name="T34" fmla="*/ 22 w 75"/>
                <a:gd name="T35" fmla="*/ 18 h 85"/>
                <a:gd name="T36" fmla="*/ 38 w 75"/>
                <a:gd name="T37" fmla="*/ 12 h 85"/>
                <a:gd name="T38" fmla="*/ 55 w 75"/>
                <a:gd name="T39" fmla="*/ 20 h 85"/>
                <a:gd name="T40" fmla="*/ 60 w 75"/>
                <a:gd name="T41" fmla="*/ 35 h 85"/>
                <a:gd name="T42" fmla="*/ 15 w 75"/>
                <a:gd name="T43" fmla="*/ 35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75" h="85">
                  <a:moveTo>
                    <a:pt x="38" y="0"/>
                  </a:moveTo>
                  <a:cubicBezTo>
                    <a:pt x="26" y="0"/>
                    <a:pt x="17" y="4"/>
                    <a:pt x="10" y="12"/>
                  </a:cubicBezTo>
                  <a:cubicBezTo>
                    <a:pt x="3" y="19"/>
                    <a:pt x="0" y="30"/>
                    <a:pt x="0" y="43"/>
                  </a:cubicBezTo>
                  <a:cubicBezTo>
                    <a:pt x="0" y="57"/>
                    <a:pt x="3" y="67"/>
                    <a:pt x="10" y="74"/>
                  </a:cubicBezTo>
                  <a:cubicBezTo>
                    <a:pt x="17" y="81"/>
                    <a:pt x="26" y="85"/>
                    <a:pt x="38" y="85"/>
                  </a:cubicBezTo>
                  <a:cubicBezTo>
                    <a:pt x="48" y="85"/>
                    <a:pt x="56" y="83"/>
                    <a:pt x="62" y="78"/>
                  </a:cubicBezTo>
                  <a:cubicBezTo>
                    <a:pt x="68" y="74"/>
                    <a:pt x="72" y="67"/>
                    <a:pt x="74" y="59"/>
                  </a:cubicBezTo>
                  <a:cubicBezTo>
                    <a:pt x="60" y="57"/>
                    <a:pt x="60" y="57"/>
                    <a:pt x="60" y="57"/>
                  </a:cubicBezTo>
                  <a:cubicBezTo>
                    <a:pt x="58" y="63"/>
                    <a:pt x="55" y="67"/>
                    <a:pt x="51" y="70"/>
                  </a:cubicBezTo>
                  <a:cubicBezTo>
                    <a:pt x="48" y="73"/>
                    <a:pt x="43" y="74"/>
                    <a:pt x="38" y="74"/>
                  </a:cubicBezTo>
                  <a:cubicBezTo>
                    <a:pt x="32" y="74"/>
                    <a:pt x="26" y="71"/>
                    <a:pt x="21" y="67"/>
                  </a:cubicBezTo>
                  <a:cubicBezTo>
                    <a:pt x="17" y="62"/>
                    <a:pt x="14" y="55"/>
                    <a:pt x="14" y="46"/>
                  </a:cubicBezTo>
                  <a:cubicBezTo>
                    <a:pt x="75" y="46"/>
                    <a:pt x="75" y="46"/>
                    <a:pt x="75" y="46"/>
                  </a:cubicBezTo>
                  <a:cubicBezTo>
                    <a:pt x="75" y="45"/>
                    <a:pt x="75" y="43"/>
                    <a:pt x="75" y="43"/>
                  </a:cubicBezTo>
                  <a:cubicBezTo>
                    <a:pt x="75" y="29"/>
                    <a:pt x="71" y="19"/>
                    <a:pt x="64" y="11"/>
                  </a:cubicBezTo>
                  <a:cubicBezTo>
                    <a:pt x="57" y="4"/>
                    <a:pt x="48" y="0"/>
                    <a:pt x="38" y="0"/>
                  </a:cubicBezTo>
                  <a:close/>
                  <a:moveTo>
                    <a:pt x="15" y="35"/>
                  </a:moveTo>
                  <a:cubicBezTo>
                    <a:pt x="15" y="28"/>
                    <a:pt x="17" y="22"/>
                    <a:pt x="22" y="18"/>
                  </a:cubicBezTo>
                  <a:cubicBezTo>
                    <a:pt x="26" y="14"/>
                    <a:pt x="31" y="12"/>
                    <a:pt x="38" y="12"/>
                  </a:cubicBezTo>
                  <a:cubicBezTo>
                    <a:pt x="45" y="12"/>
                    <a:pt x="50" y="14"/>
                    <a:pt x="55" y="20"/>
                  </a:cubicBezTo>
                  <a:cubicBezTo>
                    <a:pt x="58" y="23"/>
                    <a:pt x="59" y="28"/>
                    <a:pt x="60" y="35"/>
                  </a:cubicBezTo>
                  <a:lnTo>
                    <a:pt x="15" y="3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209" name="í$ľîde"/>
            <p:cNvSpPr/>
            <p:nvPr/>
          </p:nvSpPr>
          <p:spPr bwMode="auto">
            <a:xfrm>
              <a:off x="7994903" y="5729878"/>
              <a:ext cx="138113" cy="157163"/>
            </a:xfrm>
            <a:custGeom>
              <a:avLst/>
              <a:gdLst>
                <a:gd name="T0" fmla="*/ 71 w 75"/>
                <a:gd name="T1" fmla="*/ 49 h 85"/>
                <a:gd name="T2" fmla="*/ 71 w 75"/>
                <a:gd name="T3" fmla="*/ 31 h 85"/>
                <a:gd name="T4" fmla="*/ 70 w 75"/>
                <a:gd name="T5" fmla="*/ 18 h 85"/>
                <a:gd name="T6" fmla="*/ 66 w 75"/>
                <a:gd name="T7" fmla="*/ 9 h 85"/>
                <a:gd name="T8" fmla="*/ 56 w 75"/>
                <a:gd name="T9" fmla="*/ 3 h 85"/>
                <a:gd name="T10" fmla="*/ 39 w 75"/>
                <a:gd name="T11" fmla="*/ 0 h 85"/>
                <a:gd name="T12" fmla="*/ 21 w 75"/>
                <a:gd name="T13" fmla="*/ 3 h 85"/>
                <a:gd name="T14" fmla="*/ 9 w 75"/>
                <a:gd name="T15" fmla="*/ 11 h 85"/>
                <a:gd name="T16" fmla="*/ 3 w 75"/>
                <a:gd name="T17" fmla="*/ 25 h 85"/>
                <a:gd name="T18" fmla="*/ 16 w 75"/>
                <a:gd name="T19" fmla="*/ 27 h 85"/>
                <a:gd name="T20" fmla="*/ 23 w 75"/>
                <a:gd name="T21" fmla="*/ 15 h 85"/>
                <a:gd name="T22" fmla="*/ 37 w 75"/>
                <a:gd name="T23" fmla="*/ 12 h 85"/>
                <a:gd name="T24" fmla="*/ 53 w 75"/>
                <a:gd name="T25" fmla="*/ 16 h 85"/>
                <a:gd name="T26" fmla="*/ 57 w 75"/>
                <a:gd name="T27" fmla="*/ 28 h 85"/>
                <a:gd name="T28" fmla="*/ 57 w 75"/>
                <a:gd name="T29" fmla="*/ 32 h 85"/>
                <a:gd name="T30" fmla="*/ 32 w 75"/>
                <a:gd name="T31" fmla="*/ 36 h 85"/>
                <a:gd name="T32" fmla="*/ 20 w 75"/>
                <a:gd name="T33" fmla="*/ 39 h 85"/>
                <a:gd name="T34" fmla="*/ 10 w 75"/>
                <a:gd name="T35" fmla="*/ 43 h 85"/>
                <a:gd name="T36" fmla="*/ 3 w 75"/>
                <a:gd name="T37" fmla="*/ 51 h 85"/>
                <a:gd name="T38" fmla="*/ 0 w 75"/>
                <a:gd name="T39" fmla="*/ 62 h 85"/>
                <a:gd name="T40" fmla="*/ 7 w 75"/>
                <a:gd name="T41" fmla="*/ 79 h 85"/>
                <a:gd name="T42" fmla="*/ 28 w 75"/>
                <a:gd name="T43" fmla="*/ 85 h 85"/>
                <a:gd name="T44" fmla="*/ 43 w 75"/>
                <a:gd name="T45" fmla="*/ 82 h 85"/>
                <a:gd name="T46" fmla="*/ 58 w 75"/>
                <a:gd name="T47" fmla="*/ 73 h 85"/>
                <a:gd name="T48" fmla="*/ 61 w 75"/>
                <a:gd name="T49" fmla="*/ 83 h 85"/>
                <a:gd name="T50" fmla="*/ 75 w 75"/>
                <a:gd name="T51" fmla="*/ 83 h 85"/>
                <a:gd name="T52" fmla="*/ 72 w 75"/>
                <a:gd name="T53" fmla="*/ 74 h 85"/>
                <a:gd name="T54" fmla="*/ 71 w 75"/>
                <a:gd name="T55" fmla="*/ 49 h 85"/>
                <a:gd name="T56" fmla="*/ 57 w 75"/>
                <a:gd name="T57" fmla="*/ 48 h 85"/>
                <a:gd name="T58" fmla="*/ 55 w 75"/>
                <a:gd name="T59" fmla="*/ 61 h 85"/>
                <a:gd name="T60" fmla="*/ 46 w 75"/>
                <a:gd name="T61" fmla="*/ 71 h 85"/>
                <a:gd name="T62" fmla="*/ 31 w 75"/>
                <a:gd name="T63" fmla="*/ 74 h 85"/>
                <a:gd name="T64" fmla="*/ 19 w 75"/>
                <a:gd name="T65" fmla="*/ 71 h 85"/>
                <a:gd name="T66" fmla="*/ 15 w 75"/>
                <a:gd name="T67" fmla="*/ 62 h 85"/>
                <a:gd name="T68" fmla="*/ 17 w 75"/>
                <a:gd name="T69" fmla="*/ 55 h 85"/>
                <a:gd name="T70" fmla="*/ 22 w 75"/>
                <a:gd name="T71" fmla="*/ 50 h 85"/>
                <a:gd name="T72" fmla="*/ 34 w 75"/>
                <a:gd name="T73" fmla="*/ 48 h 85"/>
                <a:gd name="T74" fmla="*/ 57 w 75"/>
                <a:gd name="T75" fmla="*/ 43 h 85"/>
                <a:gd name="T76" fmla="*/ 57 w 75"/>
                <a:gd name="T77" fmla="*/ 48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75" h="85">
                  <a:moveTo>
                    <a:pt x="71" y="49"/>
                  </a:moveTo>
                  <a:cubicBezTo>
                    <a:pt x="71" y="31"/>
                    <a:pt x="71" y="31"/>
                    <a:pt x="71" y="31"/>
                  </a:cubicBezTo>
                  <a:cubicBezTo>
                    <a:pt x="71" y="25"/>
                    <a:pt x="71" y="21"/>
                    <a:pt x="70" y="18"/>
                  </a:cubicBezTo>
                  <a:cubicBezTo>
                    <a:pt x="69" y="14"/>
                    <a:pt x="68" y="11"/>
                    <a:pt x="66" y="9"/>
                  </a:cubicBezTo>
                  <a:cubicBezTo>
                    <a:pt x="64" y="6"/>
                    <a:pt x="61" y="4"/>
                    <a:pt x="56" y="3"/>
                  </a:cubicBezTo>
                  <a:cubicBezTo>
                    <a:pt x="52" y="1"/>
                    <a:pt x="46" y="0"/>
                    <a:pt x="39" y="0"/>
                  </a:cubicBezTo>
                  <a:cubicBezTo>
                    <a:pt x="32" y="0"/>
                    <a:pt x="26" y="1"/>
                    <a:pt x="21" y="3"/>
                  </a:cubicBezTo>
                  <a:cubicBezTo>
                    <a:pt x="16" y="5"/>
                    <a:pt x="12" y="8"/>
                    <a:pt x="9" y="11"/>
                  </a:cubicBezTo>
                  <a:cubicBezTo>
                    <a:pt x="6" y="15"/>
                    <a:pt x="4" y="19"/>
                    <a:pt x="3" y="25"/>
                  </a:cubicBezTo>
                  <a:cubicBezTo>
                    <a:pt x="16" y="27"/>
                    <a:pt x="16" y="27"/>
                    <a:pt x="16" y="27"/>
                  </a:cubicBezTo>
                  <a:cubicBezTo>
                    <a:pt x="18" y="21"/>
                    <a:pt x="20" y="17"/>
                    <a:pt x="23" y="15"/>
                  </a:cubicBezTo>
                  <a:cubicBezTo>
                    <a:pt x="26" y="13"/>
                    <a:pt x="31" y="12"/>
                    <a:pt x="37" y="12"/>
                  </a:cubicBezTo>
                  <a:cubicBezTo>
                    <a:pt x="44" y="12"/>
                    <a:pt x="50" y="13"/>
                    <a:pt x="53" y="16"/>
                  </a:cubicBezTo>
                  <a:cubicBezTo>
                    <a:pt x="56" y="19"/>
                    <a:pt x="57" y="23"/>
                    <a:pt x="57" y="28"/>
                  </a:cubicBezTo>
                  <a:cubicBezTo>
                    <a:pt x="57" y="29"/>
                    <a:pt x="57" y="30"/>
                    <a:pt x="57" y="32"/>
                  </a:cubicBezTo>
                  <a:cubicBezTo>
                    <a:pt x="52" y="34"/>
                    <a:pt x="43" y="35"/>
                    <a:pt x="32" y="36"/>
                  </a:cubicBezTo>
                  <a:cubicBezTo>
                    <a:pt x="27" y="37"/>
                    <a:pt x="23" y="38"/>
                    <a:pt x="20" y="39"/>
                  </a:cubicBezTo>
                  <a:cubicBezTo>
                    <a:pt x="16" y="40"/>
                    <a:pt x="13" y="41"/>
                    <a:pt x="10" y="43"/>
                  </a:cubicBezTo>
                  <a:cubicBezTo>
                    <a:pt x="7" y="45"/>
                    <a:pt x="5" y="48"/>
                    <a:pt x="3" y="51"/>
                  </a:cubicBezTo>
                  <a:cubicBezTo>
                    <a:pt x="1" y="54"/>
                    <a:pt x="0" y="58"/>
                    <a:pt x="0" y="62"/>
                  </a:cubicBezTo>
                  <a:cubicBezTo>
                    <a:pt x="0" y="69"/>
                    <a:pt x="3" y="74"/>
                    <a:pt x="7" y="79"/>
                  </a:cubicBezTo>
                  <a:cubicBezTo>
                    <a:pt x="12" y="83"/>
                    <a:pt x="19" y="85"/>
                    <a:pt x="28" y="85"/>
                  </a:cubicBezTo>
                  <a:cubicBezTo>
                    <a:pt x="33" y="85"/>
                    <a:pt x="39" y="84"/>
                    <a:pt x="43" y="82"/>
                  </a:cubicBezTo>
                  <a:cubicBezTo>
                    <a:pt x="48" y="81"/>
                    <a:pt x="53" y="78"/>
                    <a:pt x="58" y="73"/>
                  </a:cubicBezTo>
                  <a:cubicBezTo>
                    <a:pt x="58" y="77"/>
                    <a:pt x="59" y="80"/>
                    <a:pt x="61" y="83"/>
                  </a:cubicBezTo>
                  <a:cubicBezTo>
                    <a:pt x="75" y="83"/>
                    <a:pt x="75" y="83"/>
                    <a:pt x="75" y="83"/>
                  </a:cubicBezTo>
                  <a:cubicBezTo>
                    <a:pt x="73" y="80"/>
                    <a:pt x="72" y="77"/>
                    <a:pt x="72" y="74"/>
                  </a:cubicBezTo>
                  <a:cubicBezTo>
                    <a:pt x="71" y="70"/>
                    <a:pt x="71" y="62"/>
                    <a:pt x="71" y="49"/>
                  </a:cubicBezTo>
                  <a:close/>
                  <a:moveTo>
                    <a:pt x="57" y="48"/>
                  </a:moveTo>
                  <a:cubicBezTo>
                    <a:pt x="57" y="54"/>
                    <a:pt x="56" y="58"/>
                    <a:pt x="55" y="61"/>
                  </a:cubicBezTo>
                  <a:cubicBezTo>
                    <a:pt x="53" y="65"/>
                    <a:pt x="50" y="69"/>
                    <a:pt x="46" y="71"/>
                  </a:cubicBezTo>
                  <a:cubicBezTo>
                    <a:pt x="41" y="73"/>
                    <a:pt x="37" y="74"/>
                    <a:pt x="31" y="74"/>
                  </a:cubicBezTo>
                  <a:cubicBezTo>
                    <a:pt x="26" y="74"/>
                    <a:pt x="22" y="73"/>
                    <a:pt x="19" y="71"/>
                  </a:cubicBezTo>
                  <a:cubicBezTo>
                    <a:pt x="16" y="68"/>
                    <a:pt x="15" y="65"/>
                    <a:pt x="15" y="62"/>
                  </a:cubicBezTo>
                  <a:cubicBezTo>
                    <a:pt x="15" y="59"/>
                    <a:pt x="16" y="57"/>
                    <a:pt x="17" y="55"/>
                  </a:cubicBezTo>
                  <a:cubicBezTo>
                    <a:pt x="18" y="53"/>
                    <a:pt x="20" y="52"/>
                    <a:pt x="22" y="50"/>
                  </a:cubicBezTo>
                  <a:cubicBezTo>
                    <a:pt x="25" y="49"/>
                    <a:pt x="29" y="49"/>
                    <a:pt x="34" y="48"/>
                  </a:cubicBezTo>
                  <a:cubicBezTo>
                    <a:pt x="44" y="46"/>
                    <a:pt x="52" y="45"/>
                    <a:pt x="57" y="43"/>
                  </a:cubicBezTo>
                  <a:lnTo>
                    <a:pt x="57" y="4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210" name="ï$ḻíḋê"/>
            <p:cNvSpPr/>
            <p:nvPr/>
          </p:nvSpPr>
          <p:spPr bwMode="auto">
            <a:xfrm>
              <a:off x="8164766" y="5729878"/>
              <a:ext cx="122238" cy="152400"/>
            </a:xfrm>
            <a:custGeom>
              <a:avLst/>
              <a:gdLst>
                <a:gd name="T0" fmla="*/ 61 w 66"/>
                <a:gd name="T1" fmla="*/ 10 h 83"/>
                <a:gd name="T2" fmla="*/ 52 w 66"/>
                <a:gd name="T3" fmla="*/ 3 h 83"/>
                <a:gd name="T4" fmla="*/ 38 w 66"/>
                <a:gd name="T5" fmla="*/ 0 h 83"/>
                <a:gd name="T6" fmla="*/ 13 w 66"/>
                <a:gd name="T7" fmla="*/ 14 h 83"/>
                <a:gd name="T8" fmla="*/ 13 w 66"/>
                <a:gd name="T9" fmla="*/ 2 h 83"/>
                <a:gd name="T10" fmla="*/ 0 w 66"/>
                <a:gd name="T11" fmla="*/ 2 h 83"/>
                <a:gd name="T12" fmla="*/ 0 w 66"/>
                <a:gd name="T13" fmla="*/ 83 h 83"/>
                <a:gd name="T14" fmla="*/ 14 w 66"/>
                <a:gd name="T15" fmla="*/ 83 h 83"/>
                <a:gd name="T16" fmla="*/ 14 w 66"/>
                <a:gd name="T17" fmla="*/ 39 h 83"/>
                <a:gd name="T18" fmla="*/ 20 w 66"/>
                <a:gd name="T19" fmla="*/ 18 h 83"/>
                <a:gd name="T20" fmla="*/ 36 w 66"/>
                <a:gd name="T21" fmla="*/ 12 h 83"/>
                <a:gd name="T22" fmla="*/ 45 w 66"/>
                <a:gd name="T23" fmla="*/ 15 h 83"/>
                <a:gd name="T24" fmla="*/ 51 w 66"/>
                <a:gd name="T25" fmla="*/ 21 h 83"/>
                <a:gd name="T26" fmla="*/ 52 w 66"/>
                <a:gd name="T27" fmla="*/ 34 h 83"/>
                <a:gd name="T28" fmla="*/ 52 w 66"/>
                <a:gd name="T29" fmla="*/ 83 h 83"/>
                <a:gd name="T30" fmla="*/ 66 w 66"/>
                <a:gd name="T31" fmla="*/ 83 h 83"/>
                <a:gd name="T32" fmla="*/ 66 w 66"/>
                <a:gd name="T33" fmla="*/ 33 h 83"/>
                <a:gd name="T34" fmla="*/ 65 w 66"/>
                <a:gd name="T35" fmla="*/ 20 h 83"/>
                <a:gd name="T36" fmla="*/ 61 w 66"/>
                <a:gd name="T37" fmla="*/ 10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6" h="83">
                  <a:moveTo>
                    <a:pt x="61" y="10"/>
                  </a:moveTo>
                  <a:cubicBezTo>
                    <a:pt x="59" y="7"/>
                    <a:pt x="56" y="5"/>
                    <a:pt x="52" y="3"/>
                  </a:cubicBezTo>
                  <a:cubicBezTo>
                    <a:pt x="48" y="1"/>
                    <a:pt x="43" y="0"/>
                    <a:pt x="38" y="0"/>
                  </a:cubicBezTo>
                  <a:cubicBezTo>
                    <a:pt x="27" y="0"/>
                    <a:pt x="19" y="5"/>
                    <a:pt x="13" y="14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83"/>
                    <a:pt x="0" y="83"/>
                    <a:pt x="0" y="83"/>
                  </a:cubicBezTo>
                  <a:cubicBezTo>
                    <a:pt x="14" y="83"/>
                    <a:pt x="14" y="83"/>
                    <a:pt x="14" y="83"/>
                  </a:cubicBezTo>
                  <a:cubicBezTo>
                    <a:pt x="14" y="39"/>
                    <a:pt x="14" y="39"/>
                    <a:pt x="14" y="39"/>
                  </a:cubicBezTo>
                  <a:cubicBezTo>
                    <a:pt x="14" y="29"/>
                    <a:pt x="16" y="21"/>
                    <a:pt x="20" y="18"/>
                  </a:cubicBezTo>
                  <a:cubicBezTo>
                    <a:pt x="25" y="14"/>
                    <a:pt x="30" y="12"/>
                    <a:pt x="36" y="12"/>
                  </a:cubicBezTo>
                  <a:cubicBezTo>
                    <a:pt x="39" y="12"/>
                    <a:pt x="42" y="13"/>
                    <a:pt x="45" y="15"/>
                  </a:cubicBezTo>
                  <a:cubicBezTo>
                    <a:pt x="48" y="16"/>
                    <a:pt x="50" y="19"/>
                    <a:pt x="51" y="21"/>
                  </a:cubicBezTo>
                  <a:cubicBezTo>
                    <a:pt x="52" y="24"/>
                    <a:pt x="52" y="28"/>
                    <a:pt x="52" y="34"/>
                  </a:cubicBezTo>
                  <a:cubicBezTo>
                    <a:pt x="52" y="83"/>
                    <a:pt x="52" y="83"/>
                    <a:pt x="52" y="83"/>
                  </a:cubicBezTo>
                  <a:cubicBezTo>
                    <a:pt x="66" y="83"/>
                    <a:pt x="66" y="83"/>
                    <a:pt x="66" y="83"/>
                  </a:cubicBezTo>
                  <a:cubicBezTo>
                    <a:pt x="66" y="33"/>
                    <a:pt x="66" y="33"/>
                    <a:pt x="66" y="33"/>
                  </a:cubicBezTo>
                  <a:cubicBezTo>
                    <a:pt x="66" y="27"/>
                    <a:pt x="66" y="23"/>
                    <a:pt x="65" y="20"/>
                  </a:cubicBezTo>
                  <a:cubicBezTo>
                    <a:pt x="65" y="16"/>
                    <a:pt x="63" y="13"/>
                    <a:pt x="61" y="1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211" name="îśḻïďè"/>
            <p:cNvSpPr/>
            <p:nvPr/>
          </p:nvSpPr>
          <p:spPr bwMode="auto">
            <a:xfrm>
              <a:off x="8315578" y="5675903"/>
              <a:ext cx="131763" cy="211138"/>
            </a:xfrm>
            <a:custGeom>
              <a:avLst/>
              <a:gdLst>
                <a:gd name="T0" fmla="*/ 57 w 71"/>
                <a:gd name="T1" fmla="*/ 40 h 114"/>
                <a:gd name="T2" fmla="*/ 48 w 71"/>
                <a:gd name="T3" fmla="*/ 32 h 114"/>
                <a:gd name="T4" fmla="*/ 35 w 71"/>
                <a:gd name="T5" fmla="*/ 29 h 114"/>
                <a:gd name="T6" fmla="*/ 17 w 71"/>
                <a:gd name="T7" fmla="*/ 35 h 114"/>
                <a:gd name="T8" fmla="*/ 4 w 71"/>
                <a:gd name="T9" fmla="*/ 50 h 114"/>
                <a:gd name="T10" fmla="*/ 0 w 71"/>
                <a:gd name="T11" fmla="*/ 72 h 114"/>
                <a:gd name="T12" fmla="*/ 5 w 71"/>
                <a:gd name="T13" fmla="*/ 94 h 114"/>
                <a:gd name="T14" fmla="*/ 17 w 71"/>
                <a:gd name="T15" fmla="*/ 109 h 114"/>
                <a:gd name="T16" fmla="*/ 35 w 71"/>
                <a:gd name="T17" fmla="*/ 114 h 114"/>
                <a:gd name="T18" fmla="*/ 58 w 71"/>
                <a:gd name="T19" fmla="*/ 102 h 114"/>
                <a:gd name="T20" fmla="*/ 58 w 71"/>
                <a:gd name="T21" fmla="*/ 112 h 114"/>
                <a:gd name="T22" fmla="*/ 71 w 71"/>
                <a:gd name="T23" fmla="*/ 112 h 114"/>
                <a:gd name="T24" fmla="*/ 71 w 71"/>
                <a:gd name="T25" fmla="*/ 0 h 114"/>
                <a:gd name="T26" fmla="*/ 57 w 71"/>
                <a:gd name="T27" fmla="*/ 0 h 114"/>
                <a:gd name="T28" fmla="*/ 57 w 71"/>
                <a:gd name="T29" fmla="*/ 40 h 114"/>
                <a:gd name="T30" fmla="*/ 52 w 71"/>
                <a:gd name="T31" fmla="*/ 95 h 114"/>
                <a:gd name="T32" fmla="*/ 37 w 71"/>
                <a:gd name="T33" fmla="*/ 103 h 114"/>
                <a:gd name="T34" fmla="*/ 21 w 71"/>
                <a:gd name="T35" fmla="*/ 95 h 114"/>
                <a:gd name="T36" fmla="*/ 15 w 71"/>
                <a:gd name="T37" fmla="*/ 72 h 114"/>
                <a:gd name="T38" fmla="*/ 21 w 71"/>
                <a:gd name="T39" fmla="*/ 48 h 114"/>
                <a:gd name="T40" fmla="*/ 36 w 71"/>
                <a:gd name="T41" fmla="*/ 41 h 114"/>
                <a:gd name="T42" fmla="*/ 52 w 71"/>
                <a:gd name="T43" fmla="*/ 48 h 114"/>
                <a:gd name="T44" fmla="*/ 58 w 71"/>
                <a:gd name="T45" fmla="*/ 73 h 114"/>
                <a:gd name="T46" fmla="*/ 52 w 71"/>
                <a:gd name="T47" fmla="*/ 95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71" h="114">
                  <a:moveTo>
                    <a:pt x="57" y="40"/>
                  </a:moveTo>
                  <a:cubicBezTo>
                    <a:pt x="55" y="37"/>
                    <a:pt x="52" y="34"/>
                    <a:pt x="48" y="32"/>
                  </a:cubicBezTo>
                  <a:cubicBezTo>
                    <a:pt x="44" y="30"/>
                    <a:pt x="40" y="29"/>
                    <a:pt x="35" y="29"/>
                  </a:cubicBezTo>
                  <a:cubicBezTo>
                    <a:pt x="28" y="29"/>
                    <a:pt x="22" y="31"/>
                    <a:pt x="17" y="35"/>
                  </a:cubicBezTo>
                  <a:cubicBezTo>
                    <a:pt x="11" y="38"/>
                    <a:pt x="7" y="43"/>
                    <a:pt x="4" y="50"/>
                  </a:cubicBezTo>
                  <a:cubicBezTo>
                    <a:pt x="2" y="56"/>
                    <a:pt x="0" y="64"/>
                    <a:pt x="0" y="72"/>
                  </a:cubicBezTo>
                  <a:cubicBezTo>
                    <a:pt x="0" y="80"/>
                    <a:pt x="2" y="87"/>
                    <a:pt x="5" y="94"/>
                  </a:cubicBezTo>
                  <a:cubicBezTo>
                    <a:pt x="8" y="100"/>
                    <a:pt x="12" y="105"/>
                    <a:pt x="17" y="109"/>
                  </a:cubicBezTo>
                  <a:cubicBezTo>
                    <a:pt x="23" y="112"/>
                    <a:pt x="29" y="114"/>
                    <a:pt x="35" y="114"/>
                  </a:cubicBezTo>
                  <a:cubicBezTo>
                    <a:pt x="45" y="114"/>
                    <a:pt x="53" y="110"/>
                    <a:pt x="58" y="102"/>
                  </a:cubicBezTo>
                  <a:cubicBezTo>
                    <a:pt x="58" y="112"/>
                    <a:pt x="58" y="112"/>
                    <a:pt x="58" y="112"/>
                  </a:cubicBezTo>
                  <a:cubicBezTo>
                    <a:pt x="71" y="112"/>
                    <a:pt x="71" y="112"/>
                    <a:pt x="71" y="112"/>
                  </a:cubicBezTo>
                  <a:cubicBezTo>
                    <a:pt x="71" y="0"/>
                    <a:pt x="71" y="0"/>
                    <a:pt x="71" y="0"/>
                  </a:cubicBezTo>
                  <a:cubicBezTo>
                    <a:pt x="57" y="0"/>
                    <a:pt x="57" y="0"/>
                    <a:pt x="57" y="0"/>
                  </a:cubicBezTo>
                  <a:lnTo>
                    <a:pt x="57" y="40"/>
                  </a:lnTo>
                  <a:close/>
                  <a:moveTo>
                    <a:pt x="52" y="95"/>
                  </a:moveTo>
                  <a:cubicBezTo>
                    <a:pt x="48" y="100"/>
                    <a:pt x="43" y="103"/>
                    <a:pt x="37" y="103"/>
                  </a:cubicBezTo>
                  <a:cubicBezTo>
                    <a:pt x="31" y="103"/>
                    <a:pt x="25" y="100"/>
                    <a:pt x="21" y="95"/>
                  </a:cubicBezTo>
                  <a:cubicBezTo>
                    <a:pt x="17" y="90"/>
                    <a:pt x="15" y="82"/>
                    <a:pt x="15" y="72"/>
                  </a:cubicBezTo>
                  <a:cubicBezTo>
                    <a:pt x="15" y="61"/>
                    <a:pt x="17" y="53"/>
                    <a:pt x="21" y="48"/>
                  </a:cubicBezTo>
                  <a:cubicBezTo>
                    <a:pt x="25" y="43"/>
                    <a:pt x="30" y="41"/>
                    <a:pt x="36" y="41"/>
                  </a:cubicBezTo>
                  <a:cubicBezTo>
                    <a:pt x="42" y="41"/>
                    <a:pt x="48" y="43"/>
                    <a:pt x="52" y="48"/>
                  </a:cubicBezTo>
                  <a:cubicBezTo>
                    <a:pt x="56" y="54"/>
                    <a:pt x="58" y="62"/>
                    <a:pt x="58" y="73"/>
                  </a:cubicBezTo>
                  <a:cubicBezTo>
                    <a:pt x="58" y="83"/>
                    <a:pt x="56" y="91"/>
                    <a:pt x="52" y="9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212" name="iṡľîdé"/>
            <p:cNvSpPr/>
            <p:nvPr/>
          </p:nvSpPr>
          <p:spPr bwMode="auto">
            <a:xfrm>
              <a:off x="8550528" y="5675903"/>
              <a:ext cx="163513" cy="206375"/>
            </a:xfrm>
            <a:custGeom>
              <a:avLst/>
              <a:gdLst>
                <a:gd name="T0" fmla="*/ 103 w 103"/>
                <a:gd name="T1" fmla="*/ 0 h 130"/>
                <a:gd name="T2" fmla="*/ 0 w 103"/>
                <a:gd name="T3" fmla="*/ 0 h 130"/>
                <a:gd name="T4" fmla="*/ 0 w 103"/>
                <a:gd name="T5" fmla="*/ 15 h 130"/>
                <a:gd name="T6" fmla="*/ 43 w 103"/>
                <a:gd name="T7" fmla="*/ 15 h 130"/>
                <a:gd name="T8" fmla="*/ 43 w 103"/>
                <a:gd name="T9" fmla="*/ 130 h 130"/>
                <a:gd name="T10" fmla="*/ 59 w 103"/>
                <a:gd name="T11" fmla="*/ 130 h 130"/>
                <a:gd name="T12" fmla="*/ 59 w 103"/>
                <a:gd name="T13" fmla="*/ 15 h 130"/>
                <a:gd name="T14" fmla="*/ 103 w 103"/>
                <a:gd name="T15" fmla="*/ 15 h 130"/>
                <a:gd name="T16" fmla="*/ 103 w 103"/>
                <a:gd name="T17" fmla="*/ 0 h 1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3" h="130">
                  <a:moveTo>
                    <a:pt x="103" y="0"/>
                  </a:moveTo>
                  <a:lnTo>
                    <a:pt x="0" y="0"/>
                  </a:lnTo>
                  <a:lnTo>
                    <a:pt x="0" y="15"/>
                  </a:lnTo>
                  <a:lnTo>
                    <a:pt x="43" y="15"/>
                  </a:lnTo>
                  <a:lnTo>
                    <a:pt x="43" y="130"/>
                  </a:lnTo>
                  <a:lnTo>
                    <a:pt x="59" y="130"/>
                  </a:lnTo>
                  <a:lnTo>
                    <a:pt x="59" y="15"/>
                  </a:lnTo>
                  <a:lnTo>
                    <a:pt x="103" y="15"/>
                  </a:lnTo>
                  <a:lnTo>
                    <a:pt x="103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213" name="íṥḻíḋé"/>
            <p:cNvSpPr/>
            <p:nvPr/>
          </p:nvSpPr>
          <p:spPr bwMode="auto">
            <a:xfrm>
              <a:off x="8698166" y="5729878"/>
              <a:ext cx="138113" cy="157163"/>
            </a:xfrm>
            <a:custGeom>
              <a:avLst/>
              <a:gdLst>
                <a:gd name="T0" fmla="*/ 38 w 75"/>
                <a:gd name="T1" fmla="*/ 0 h 85"/>
                <a:gd name="T2" fmla="*/ 11 w 75"/>
                <a:gd name="T3" fmla="*/ 12 h 85"/>
                <a:gd name="T4" fmla="*/ 0 w 75"/>
                <a:gd name="T5" fmla="*/ 43 h 85"/>
                <a:gd name="T6" fmla="*/ 10 w 75"/>
                <a:gd name="T7" fmla="*/ 74 h 85"/>
                <a:gd name="T8" fmla="*/ 39 w 75"/>
                <a:gd name="T9" fmla="*/ 85 h 85"/>
                <a:gd name="T10" fmla="*/ 62 w 75"/>
                <a:gd name="T11" fmla="*/ 78 h 85"/>
                <a:gd name="T12" fmla="*/ 74 w 75"/>
                <a:gd name="T13" fmla="*/ 59 h 85"/>
                <a:gd name="T14" fmla="*/ 60 w 75"/>
                <a:gd name="T15" fmla="*/ 57 h 85"/>
                <a:gd name="T16" fmla="*/ 52 w 75"/>
                <a:gd name="T17" fmla="*/ 70 h 85"/>
                <a:gd name="T18" fmla="*/ 39 w 75"/>
                <a:gd name="T19" fmla="*/ 74 h 85"/>
                <a:gd name="T20" fmla="*/ 22 w 75"/>
                <a:gd name="T21" fmla="*/ 67 h 85"/>
                <a:gd name="T22" fmla="*/ 14 w 75"/>
                <a:gd name="T23" fmla="*/ 46 h 85"/>
                <a:gd name="T24" fmla="*/ 75 w 75"/>
                <a:gd name="T25" fmla="*/ 46 h 85"/>
                <a:gd name="T26" fmla="*/ 75 w 75"/>
                <a:gd name="T27" fmla="*/ 43 h 85"/>
                <a:gd name="T28" fmla="*/ 65 w 75"/>
                <a:gd name="T29" fmla="*/ 11 h 85"/>
                <a:gd name="T30" fmla="*/ 38 w 75"/>
                <a:gd name="T31" fmla="*/ 0 h 85"/>
                <a:gd name="T32" fmla="*/ 15 w 75"/>
                <a:gd name="T33" fmla="*/ 35 h 85"/>
                <a:gd name="T34" fmla="*/ 22 w 75"/>
                <a:gd name="T35" fmla="*/ 18 h 85"/>
                <a:gd name="T36" fmla="*/ 38 w 75"/>
                <a:gd name="T37" fmla="*/ 12 h 85"/>
                <a:gd name="T38" fmla="*/ 55 w 75"/>
                <a:gd name="T39" fmla="*/ 20 h 85"/>
                <a:gd name="T40" fmla="*/ 60 w 75"/>
                <a:gd name="T41" fmla="*/ 35 h 85"/>
                <a:gd name="T42" fmla="*/ 15 w 75"/>
                <a:gd name="T43" fmla="*/ 35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75" h="85">
                  <a:moveTo>
                    <a:pt x="38" y="0"/>
                  </a:moveTo>
                  <a:cubicBezTo>
                    <a:pt x="27" y="0"/>
                    <a:pt x="18" y="4"/>
                    <a:pt x="11" y="12"/>
                  </a:cubicBezTo>
                  <a:cubicBezTo>
                    <a:pt x="4" y="19"/>
                    <a:pt x="0" y="30"/>
                    <a:pt x="0" y="43"/>
                  </a:cubicBezTo>
                  <a:cubicBezTo>
                    <a:pt x="0" y="57"/>
                    <a:pt x="3" y="67"/>
                    <a:pt x="10" y="74"/>
                  </a:cubicBezTo>
                  <a:cubicBezTo>
                    <a:pt x="17" y="81"/>
                    <a:pt x="27" y="85"/>
                    <a:pt x="39" y="85"/>
                  </a:cubicBezTo>
                  <a:cubicBezTo>
                    <a:pt x="48" y="85"/>
                    <a:pt x="56" y="83"/>
                    <a:pt x="62" y="78"/>
                  </a:cubicBezTo>
                  <a:cubicBezTo>
                    <a:pt x="68" y="74"/>
                    <a:pt x="72" y="67"/>
                    <a:pt x="74" y="59"/>
                  </a:cubicBezTo>
                  <a:cubicBezTo>
                    <a:pt x="60" y="57"/>
                    <a:pt x="60" y="57"/>
                    <a:pt x="60" y="57"/>
                  </a:cubicBezTo>
                  <a:cubicBezTo>
                    <a:pt x="58" y="63"/>
                    <a:pt x="55" y="67"/>
                    <a:pt x="52" y="70"/>
                  </a:cubicBezTo>
                  <a:cubicBezTo>
                    <a:pt x="48" y="73"/>
                    <a:pt x="44" y="74"/>
                    <a:pt x="39" y="74"/>
                  </a:cubicBezTo>
                  <a:cubicBezTo>
                    <a:pt x="32" y="74"/>
                    <a:pt x="26" y="71"/>
                    <a:pt x="22" y="67"/>
                  </a:cubicBezTo>
                  <a:cubicBezTo>
                    <a:pt x="17" y="62"/>
                    <a:pt x="15" y="55"/>
                    <a:pt x="14" y="46"/>
                  </a:cubicBezTo>
                  <a:cubicBezTo>
                    <a:pt x="75" y="46"/>
                    <a:pt x="75" y="46"/>
                    <a:pt x="75" y="46"/>
                  </a:cubicBezTo>
                  <a:cubicBezTo>
                    <a:pt x="75" y="45"/>
                    <a:pt x="75" y="43"/>
                    <a:pt x="75" y="43"/>
                  </a:cubicBezTo>
                  <a:cubicBezTo>
                    <a:pt x="75" y="29"/>
                    <a:pt x="72" y="19"/>
                    <a:pt x="65" y="11"/>
                  </a:cubicBezTo>
                  <a:cubicBezTo>
                    <a:pt x="58" y="4"/>
                    <a:pt x="49" y="0"/>
                    <a:pt x="38" y="0"/>
                  </a:cubicBezTo>
                  <a:close/>
                  <a:moveTo>
                    <a:pt x="15" y="35"/>
                  </a:moveTo>
                  <a:cubicBezTo>
                    <a:pt x="15" y="28"/>
                    <a:pt x="18" y="22"/>
                    <a:pt x="22" y="18"/>
                  </a:cubicBezTo>
                  <a:cubicBezTo>
                    <a:pt x="26" y="14"/>
                    <a:pt x="32" y="12"/>
                    <a:pt x="38" y="12"/>
                  </a:cubicBezTo>
                  <a:cubicBezTo>
                    <a:pt x="45" y="12"/>
                    <a:pt x="51" y="14"/>
                    <a:pt x="55" y="20"/>
                  </a:cubicBezTo>
                  <a:cubicBezTo>
                    <a:pt x="58" y="23"/>
                    <a:pt x="60" y="28"/>
                    <a:pt x="60" y="35"/>
                  </a:cubicBezTo>
                  <a:lnTo>
                    <a:pt x="15" y="3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214" name="ïṡļïḍè"/>
            <p:cNvSpPr/>
            <p:nvPr/>
          </p:nvSpPr>
          <p:spPr bwMode="auto">
            <a:xfrm>
              <a:off x="8860091" y="5729878"/>
              <a:ext cx="128588" cy="157163"/>
            </a:xfrm>
            <a:custGeom>
              <a:avLst/>
              <a:gdLst>
                <a:gd name="T0" fmla="*/ 50 w 70"/>
                <a:gd name="T1" fmla="*/ 69 h 85"/>
                <a:gd name="T2" fmla="*/ 36 w 70"/>
                <a:gd name="T3" fmla="*/ 74 h 85"/>
                <a:gd name="T4" fmla="*/ 20 w 70"/>
                <a:gd name="T5" fmla="*/ 66 h 85"/>
                <a:gd name="T6" fmla="*/ 14 w 70"/>
                <a:gd name="T7" fmla="*/ 43 h 85"/>
                <a:gd name="T8" fmla="*/ 20 w 70"/>
                <a:gd name="T9" fmla="*/ 19 h 85"/>
                <a:gd name="T10" fmla="*/ 37 w 70"/>
                <a:gd name="T11" fmla="*/ 12 h 85"/>
                <a:gd name="T12" fmla="*/ 49 w 70"/>
                <a:gd name="T13" fmla="*/ 16 h 85"/>
                <a:gd name="T14" fmla="*/ 56 w 70"/>
                <a:gd name="T15" fmla="*/ 28 h 85"/>
                <a:gd name="T16" fmla="*/ 69 w 70"/>
                <a:gd name="T17" fmla="*/ 26 h 85"/>
                <a:gd name="T18" fmla="*/ 58 w 70"/>
                <a:gd name="T19" fmla="*/ 7 h 85"/>
                <a:gd name="T20" fmla="*/ 37 w 70"/>
                <a:gd name="T21" fmla="*/ 0 h 85"/>
                <a:gd name="T22" fmla="*/ 17 w 70"/>
                <a:gd name="T23" fmla="*/ 5 h 85"/>
                <a:gd name="T24" fmla="*/ 4 w 70"/>
                <a:gd name="T25" fmla="*/ 20 h 85"/>
                <a:gd name="T26" fmla="*/ 0 w 70"/>
                <a:gd name="T27" fmla="*/ 43 h 85"/>
                <a:gd name="T28" fmla="*/ 10 w 70"/>
                <a:gd name="T29" fmla="*/ 74 h 85"/>
                <a:gd name="T30" fmla="*/ 37 w 70"/>
                <a:gd name="T31" fmla="*/ 85 h 85"/>
                <a:gd name="T32" fmla="*/ 59 w 70"/>
                <a:gd name="T33" fmla="*/ 77 h 85"/>
                <a:gd name="T34" fmla="*/ 70 w 70"/>
                <a:gd name="T35" fmla="*/ 55 h 85"/>
                <a:gd name="T36" fmla="*/ 57 w 70"/>
                <a:gd name="T37" fmla="*/ 54 h 85"/>
                <a:gd name="T38" fmla="*/ 50 w 70"/>
                <a:gd name="T39" fmla="*/ 69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70" h="85">
                  <a:moveTo>
                    <a:pt x="50" y="69"/>
                  </a:moveTo>
                  <a:cubicBezTo>
                    <a:pt x="46" y="72"/>
                    <a:pt x="42" y="74"/>
                    <a:pt x="36" y="74"/>
                  </a:cubicBezTo>
                  <a:cubicBezTo>
                    <a:pt x="30" y="74"/>
                    <a:pt x="24" y="71"/>
                    <a:pt x="20" y="66"/>
                  </a:cubicBezTo>
                  <a:cubicBezTo>
                    <a:pt x="16" y="61"/>
                    <a:pt x="14" y="54"/>
                    <a:pt x="14" y="43"/>
                  </a:cubicBezTo>
                  <a:cubicBezTo>
                    <a:pt x="14" y="32"/>
                    <a:pt x="16" y="24"/>
                    <a:pt x="20" y="19"/>
                  </a:cubicBezTo>
                  <a:cubicBezTo>
                    <a:pt x="25" y="14"/>
                    <a:pt x="30" y="12"/>
                    <a:pt x="37" y="12"/>
                  </a:cubicBezTo>
                  <a:cubicBezTo>
                    <a:pt x="42" y="12"/>
                    <a:pt x="46" y="13"/>
                    <a:pt x="49" y="16"/>
                  </a:cubicBezTo>
                  <a:cubicBezTo>
                    <a:pt x="52" y="18"/>
                    <a:pt x="54" y="23"/>
                    <a:pt x="56" y="28"/>
                  </a:cubicBezTo>
                  <a:cubicBezTo>
                    <a:pt x="69" y="26"/>
                    <a:pt x="69" y="26"/>
                    <a:pt x="69" y="26"/>
                  </a:cubicBezTo>
                  <a:cubicBezTo>
                    <a:pt x="67" y="18"/>
                    <a:pt x="64" y="11"/>
                    <a:pt x="58" y="7"/>
                  </a:cubicBezTo>
                  <a:cubicBezTo>
                    <a:pt x="53" y="2"/>
                    <a:pt x="45" y="0"/>
                    <a:pt x="37" y="0"/>
                  </a:cubicBezTo>
                  <a:cubicBezTo>
                    <a:pt x="30" y="0"/>
                    <a:pt x="23" y="2"/>
                    <a:pt x="17" y="5"/>
                  </a:cubicBezTo>
                  <a:cubicBezTo>
                    <a:pt x="11" y="8"/>
                    <a:pt x="7" y="13"/>
                    <a:pt x="4" y="20"/>
                  </a:cubicBezTo>
                  <a:cubicBezTo>
                    <a:pt x="1" y="27"/>
                    <a:pt x="0" y="34"/>
                    <a:pt x="0" y="43"/>
                  </a:cubicBezTo>
                  <a:cubicBezTo>
                    <a:pt x="0" y="57"/>
                    <a:pt x="3" y="67"/>
                    <a:pt x="10" y="74"/>
                  </a:cubicBezTo>
                  <a:cubicBezTo>
                    <a:pt x="16" y="82"/>
                    <a:pt x="25" y="85"/>
                    <a:pt x="37" y="85"/>
                  </a:cubicBezTo>
                  <a:cubicBezTo>
                    <a:pt x="45" y="85"/>
                    <a:pt x="53" y="83"/>
                    <a:pt x="59" y="77"/>
                  </a:cubicBezTo>
                  <a:cubicBezTo>
                    <a:pt x="65" y="72"/>
                    <a:pt x="69" y="65"/>
                    <a:pt x="70" y="55"/>
                  </a:cubicBezTo>
                  <a:cubicBezTo>
                    <a:pt x="57" y="54"/>
                    <a:pt x="57" y="54"/>
                    <a:pt x="57" y="54"/>
                  </a:cubicBezTo>
                  <a:cubicBezTo>
                    <a:pt x="56" y="60"/>
                    <a:pt x="54" y="66"/>
                    <a:pt x="50" y="6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215" name="iṩḷídê"/>
            <p:cNvSpPr/>
            <p:nvPr/>
          </p:nvSpPr>
          <p:spPr bwMode="auto">
            <a:xfrm>
              <a:off x="9010903" y="5675903"/>
              <a:ext cx="122238" cy="206375"/>
            </a:xfrm>
            <a:custGeom>
              <a:avLst/>
              <a:gdLst>
                <a:gd name="T0" fmla="*/ 54 w 66"/>
                <a:gd name="T1" fmla="*/ 33 h 112"/>
                <a:gd name="T2" fmla="*/ 38 w 66"/>
                <a:gd name="T3" fmla="*/ 29 h 112"/>
                <a:gd name="T4" fmla="*/ 14 w 66"/>
                <a:gd name="T5" fmla="*/ 40 h 112"/>
                <a:gd name="T6" fmla="*/ 14 w 66"/>
                <a:gd name="T7" fmla="*/ 0 h 112"/>
                <a:gd name="T8" fmla="*/ 0 w 66"/>
                <a:gd name="T9" fmla="*/ 0 h 112"/>
                <a:gd name="T10" fmla="*/ 0 w 66"/>
                <a:gd name="T11" fmla="*/ 112 h 112"/>
                <a:gd name="T12" fmla="*/ 14 w 66"/>
                <a:gd name="T13" fmla="*/ 112 h 112"/>
                <a:gd name="T14" fmla="*/ 14 w 66"/>
                <a:gd name="T15" fmla="*/ 68 h 112"/>
                <a:gd name="T16" fmla="*/ 16 w 66"/>
                <a:gd name="T17" fmla="*/ 53 h 112"/>
                <a:gd name="T18" fmla="*/ 24 w 66"/>
                <a:gd name="T19" fmla="*/ 44 h 112"/>
                <a:gd name="T20" fmla="*/ 35 w 66"/>
                <a:gd name="T21" fmla="*/ 41 h 112"/>
                <a:gd name="T22" fmla="*/ 48 w 66"/>
                <a:gd name="T23" fmla="*/ 46 h 112"/>
                <a:gd name="T24" fmla="*/ 53 w 66"/>
                <a:gd name="T25" fmla="*/ 61 h 112"/>
                <a:gd name="T26" fmla="*/ 53 w 66"/>
                <a:gd name="T27" fmla="*/ 112 h 112"/>
                <a:gd name="T28" fmla="*/ 66 w 66"/>
                <a:gd name="T29" fmla="*/ 112 h 112"/>
                <a:gd name="T30" fmla="*/ 66 w 66"/>
                <a:gd name="T31" fmla="*/ 61 h 112"/>
                <a:gd name="T32" fmla="*/ 63 w 66"/>
                <a:gd name="T33" fmla="*/ 43 h 112"/>
                <a:gd name="T34" fmla="*/ 54 w 66"/>
                <a:gd name="T35" fmla="*/ 33 h 1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66" h="112">
                  <a:moveTo>
                    <a:pt x="54" y="33"/>
                  </a:moveTo>
                  <a:cubicBezTo>
                    <a:pt x="50" y="30"/>
                    <a:pt x="44" y="29"/>
                    <a:pt x="38" y="29"/>
                  </a:cubicBezTo>
                  <a:cubicBezTo>
                    <a:pt x="28" y="29"/>
                    <a:pt x="20" y="33"/>
                    <a:pt x="14" y="40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12"/>
                    <a:pt x="0" y="112"/>
                    <a:pt x="0" y="112"/>
                  </a:cubicBezTo>
                  <a:cubicBezTo>
                    <a:pt x="14" y="112"/>
                    <a:pt x="14" y="112"/>
                    <a:pt x="14" y="112"/>
                  </a:cubicBezTo>
                  <a:cubicBezTo>
                    <a:pt x="14" y="68"/>
                    <a:pt x="14" y="68"/>
                    <a:pt x="14" y="68"/>
                  </a:cubicBezTo>
                  <a:cubicBezTo>
                    <a:pt x="14" y="61"/>
                    <a:pt x="15" y="56"/>
                    <a:pt x="16" y="53"/>
                  </a:cubicBezTo>
                  <a:cubicBezTo>
                    <a:pt x="18" y="49"/>
                    <a:pt x="20" y="46"/>
                    <a:pt x="24" y="44"/>
                  </a:cubicBezTo>
                  <a:cubicBezTo>
                    <a:pt x="28" y="42"/>
                    <a:pt x="31" y="41"/>
                    <a:pt x="35" y="41"/>
                  </a:cubicBezTo>
                  <a:cubicBezTo>
                    <a:pt x="41" y="41"/>
                    <a:pt x="45" y="43"/>
                    <a:pt x="48" y="46"/>
                  </a:cubicBezTo>
                  <a:cubicBezTo>
                    <a:pt x="51" y="49"/>
                    <a:pt x="53" y="54"/>
                    <a:pt x="53" y="61"/>
                  </a:cubicBezTo>
                  <a:cubicBezTo>
                    <a:pt x="53" y="112"/>
                    <a:pt x="53" y="112"/>
                    <a:pt x="53" y="112"/>
                  </a:cubicBezTo>
                  <a:cubicBezTo>
                    <a:pt x="66" y="112"/>
                    <a:pt x="66" y="112"/>
                    <a:pt x="66" y="112"/>
                  </a:cubicBezTo>
                  <a:cubicBezTo>
                    <a:pt x="66" y="61"/>
                    <a:pt x="66" y="61"/>
                    <a:pt x="66" y="61"/>
                  </a:cubicBezTo>
                  <a:cubicBezTo>
                    <a:pt x="66" y="53"/>
                    <a:pt x="65" y="47"/>
                    <a:pt x="63" y="43"/>
                  </a:cubicBezTo>
                  <a:cubicBezTo>
                    <a:pt x="62" y="38"/>
                    <a:pt x="58" y="35"/>
                    <a:pt x="54" y="3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216" name="íslîḍe"/>
            <p:cNvSpPr/>
            <p:nvPr/>
          </p:nvSpPr>
          <p:spPr bwMode="auto">
            <a:xfrm>
              <a:off x="9171241" y="5729878"/>
              <a:ext cx="122238" cy="152400"/>
            </a:xfrm>
            <a:custGeom>
              <a:avLst/>
              <a:gdLst>
                <a:gd name="T0" fmla="*/ 61 w 66"/>
                <a:gd name="T1" fmla="*/ 10 h 83"/>
                <a:gd name="T2" fmla="*/ 52 w 66"/>
                <a:gd name="T3" fmla="*/ 3 h 83"/>
                <a:gd name="T4" fmla="*/ 39 w 66"/>
                <a:gd name="T5" fmla="*/ 0 h 83"/>
                <a:gd name="T6" fmla="*/ 13 w 66"/>
                <a:gd name="T7" fmla="*/ 14 h 83"/>
                <a:gd name="T8" fmla="*/ 13 w 66"/>
                <a:gd name="T9" fmla="*/ 2 h 83"/>
                <a:gd name="T10" fmla="*/ 0 w 66"/>
                <a:gd name="T11" fmla="*/ 2 h 83"/>
                <a:gd name="T12" fmla="*/ 0 w 66"/>
                <a:gd name="T13" fmla="*/ 83 h 83"/>
                <a:gd name="T14" fmla="*/ 14 w 66"/>
                <a:gd name="T15" fmla="*/ 83 h 83"/>
                <a:gd name="T16" fmla="*/ 14 w 66"/>
                <a:gd name="T17" fmla="*/ 39 h 83"/>
                <a:gd name="T18" fmla="*/ 20 w 66"/>
                <a:gd name="T19" fmla="*/ 18 h 83"/>
                <a:gd name="T20" fmla="*/ 36 w 66"/>
                <a:gd name="T21" fmla="*/ 12 h 83"/>
                <a:gd name="T22" fmla="*/ 45 w 66"/>
                <a:gd name="T23" fmla="*/ 15 h 83"/>
                <a:gd name="T24" fmla="*/ 51 w 66"/>
                <a:gd name="T25" fmla="*/ 21 h 83"/>
                <a:gd name="T26" fmla="*/ 53 w 66"/>
                <a:gd name="T27" fmla="*/ 34 h 83"/>
                <a:gd name="T28" fmla="*/ 53 w 66"/>
                <a:gd name="T29" fmla="*/ 83 h 83"/>
                <a:gd name="T30" fmla="*/ 66 w 66"/>
                <a:gd name="T31" fmla="*/ 83 h 83"/>
                <a:gd name="T32" fmla="*/ 66 w 66"/>
                <a:gd name="T33" fmla="*/ 33 h 83"/>
                <a:gd name="T34" fmla="*/ 66 w 66"/>
                <a:gd name="T35" fmla="*/ 20 h 83"/>
                <a:gd name="T36" fmla="*/ 61 w 66"/>
                <a:gd name="T37" fmla="*/ 10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6" h="83">
                  <a:moveTo>
                    <a:pt x="61" y="10"/>
                  </a:moveTo>
                  <a:cubicBezTo>
                    <a:pt x="59" y="7"/>
                    <a:pt x="56" y="5"/>
                    <a:pt x="52" y="3"/>
                  </a:cubicBezTo>
                  <a:cubicBezTo>
                    <a:pt x="48" y="1"/>
                    <a:pt x="43" y="0"/>
                    <a:pt x="39" y="0"/>
                  </a:cubicBezTo>
                  <a:cubicBezTo>
                    <a:pt x="27" y="0"/>
                    <a:pt x="19" y="5"/>
                    <a:pt x="13" y="14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83"/>
                    <a:pt x="0" y="83"/>
                    <a:pt x="0" y="83"/>
                  </a:cubicBezTo>
                  <a:cubicBezTo>
                    <a:pt x="14" y="83"/>
                    <a:pt x="14" y="83"/>
                    <a:pt x="14" y="83"/>
                  </a:cubicBezTo>
                  <a:cubicBezTo>
                    <a:pt x="14" y="39"/>
                    <a:pt x="14" y="39"/>
                    <a:pt x="14" y="39"/>
                  </a:cubicBezTo>
                  <a:cubicBezTo>
                    <a:pt x="14" y="29"/>
                    <a:pt x="16" y="21"/>
                    <a:pt x="20" y="18"/>
                  </a:cubicBezTo>
                  <a:cubicBezTo>
                    <a:pt x="25" y="14"/>
                    <a:pt x="30" y="12"/>
                    <a:pt x="36" y="12"/>
                  </a:cubicBezTo>
                  <a:cubicBezTo>
                    <a:pt x="39" y="12"/>
                    <a:pt x="43" y="13"/>
                    <a:pt x="45" y="15"/>
                  </a:cubicBezTo>
                  <a:cubicBezTo>
                    <a:pt x="48" y="16"/>
                    <a:pt x="50" y="19"/>
                    <a:pt x="51" y="21"/>
                  </a:cubicBezTo>
                  <a:cubicBezTo>
                    <a:pt x="52" y="24"/>
                    <a:pt x="53" y="28"/>
                    <a:pt x="53" y="34"/>
                  </a:cubicBezTo>
                  <a:cubicBezTo>
                    <a:pt x="53" y="83"/>
                    <a:pt x="53" y="83"/>
                    <a:pt x="53" y="83"/>
                  </a:cubicBezTo>
                  <a:cubicBezTo>
                    <a:pt x="66" y="83"/>
                    <a:pt x="66" y="83"/>
                    <a:pt x="66" y="83"/>
                  </a:cubicBezTo>
                  <a:cubicBezTo>
                    <a:pt x="66" y="33"/>
                    <a:pt x="66" y="33"/>
                    <a:pt x="66" y="33"/>
                  </a:cubicBezTo>
                  <a:cubicBezTo>
                    <a:pt x="66" y="27"/>
                    <a:pt x="66" y="23"/>
                    <a:pt x="66" y="20"/>
                  </a:cubicBezTo>
                  <a:cubicBezTo>
                    <a:pt x="65" y="16"/>
                    <a:pt x="63" y="13"/>
                    <a:pt x="61" y="1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217" name="ïṣľíḓè"/>
            <p:cNvSpPr/>
            <p:nvPr/>
          </p:nvSpPr>
          <p:spPr bwMode="auto">
            <a:xfrm>
              <a:off x="9322053" y="5729878"/>
              <a:ext cx="142875" cy="157163"/>
            </a:xfrm>
            <a:custGeom>
              <a:avLst/>
              <a:gdLst>
                <a:gd name="T0" fmla="*/ 38 w 77"/>
                <a:gd name="T1" fmla="*/ 0 h 85"/>
                <a:gd name="T2" fmla="*/ 13 w 77"/>
                <a:gd name="T3" fmla="*/ 9 h 85"/>
                <a:gd name="T4" fmla="*/ 0 w 77"/>
                <a:gd name="T5" fmla="*/ 43 h 85"/>
                <a:gd name="T6" fmla="*/ 11 w 77"/>
                <a:gd name="T7" fmla="*/ 74 h 85"/>
                <a:gd name="T8" fmla="*/ 38 w 77"/>
                <a:gd name="T9" fmla="*/ 85 h 85"/>
                <a:gd name="T10" fmla="*/ 58 w 77"/>
                <a:gd name="T11" fmla="*/ 80 h 85"/>
                <a:gd name="T12" fmla="*/ 72 w 77"/>
                <a:gd name="T13" fmla="*/ 66 h 85"/>
                <a:gd name="T14" fmla="*/ 77 w 77"/>
                <a:gd name="T15" fmla="*/ 42 h 85"/>
                <a:gd name="T16" fmla="*/ 66 w 77"/>
                <a:gd name="T17" fmla="*/ 11 h 85"/>
                <a:gd name="T18" fmla="*/ 38 w 77"/>
                <a:gd name="T19" fmla="*/ 0 h 85"/>
                <a:gd name="T20" fmla="*/ 56 w 77"/>
                <a:gd name="T21" fmla="*/ 66 h 85"/>
                <a:gd name="T22" fmla="*/ 38 w 77"/>
                <a:gd name="T23" fmla="*/ 74 h 85"/>
                <a:gd name="T24" fmla="*/ 21 w 77"/>
                <a:gd name="T25" fmla="*/ 66 h 85"/>
                <a:gd name="T26" fmla="*/ 15 w 77"/>
                <a:gd name="T27" fmla="*/ 43 h 85"/>
                <a:gd name="T28" fmla="*/ 21 w 77"/>
                <a:gd name="T29" fmla="*/ 19 h 85"/>
                <a:gd name="T30" fmla="*/ 38 w 77"/>
                <a:gd name="T31" fmla="*/ 12 h 85"/>
                <a:gd name="T32" fmla="*/ 56 w 77"/>
                <a:gd name="T33" fmla="*/ 19 h 85"/>
                <a:gd name="T34" fmla="*/ 62 w 77"/>
                <a:gd name="T35" fmla="*/ 42 h 85"/>
                <a:gd name="T36" fmla="*/ 56 w 77"/>
                <a:gd name="T37" fmla="*/ 66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77" h="85">
                  <a:moveTo>
                    <a:pt x="38" y="0"/>
                  </a:moveTo>
                  <a:cubicBezTo>
                    <a:pt x="28" y="0"/>
                    <a:pt x="20" y="3"/>
                    <a:pt x="13" y="9"/>
                  </a:cubicBezTo>
                  <a:cubicBezTo>
                    <a:pt x="5" y="16"/>
                    <a:pt x="0" y="28"/>
                    <a:pt x="0" y="43"/>
                  </a:cubicBezTo>
                  <a:cubicBezTo>
                    <a:pt x="0" y="56"/>
                    <a:pt x="4" y="67"/>
                    <a:pt x="11" y="74"/>
                  </a:cubicBezTo>
                  <a:cubicBezTo>
                    <a:pt x="18" y="82"/>
                    <a:pt x="27" y="85"/>
                    <a:pt x="38" y="85"/>
                  </a:cubicBezTo>
                  <a:cubicBezTo>
                    <a:pt x="46" y="85"/>
                    <a:pt x="52" y="84"/>
                    <a:pt x="58" y="80"/>
                  </a:cubicBezTo>
                  <a:cubicBezTo>
                    <a:pt x="64" y="77"/>
                    <a:pt x="69" y="72"/>
                    <a:pt x="72" y="66"/>
                  </a:cubicBezTo>
                  <a:cubicBezTo>
                    <a:pt x="75" y="60"/>
                    <a:pt x="77" y="52"/>
                    <a:pt x="77" y="42"/>
                  </a:cubicBezTo>
                  <a:cubicBezTo>
                    <a:pt x="77" y="29"/>
                    <a:pt x="73" y="19"/>
                    <a:pt x="66" y="11"/>
                  </a:cubicBezTo>
                  <a:cubicBezTo>
                    <a:pt x="59" y="4"/>
                    <a:pt x="50" y="0"/>
                    <a:pt x="38" y="0"/>
                  </a:cubicBezTo>
                  <a:close/>
                  <a:moveTo>
                    <a:pt x="56" y="66"/>
                  </a:moveTo>
                  <a:cubicBezTo>
                    <a:pt x="51" y="71"/>
                    <a:pt x="45" y="74"/>
                    <a:pt x="38" y="74"/>
                  </a:cubicBezTo>
                  <a:cubicBezTo>
                    <a:pt x="32" y="74"/>
                    <a:pt x="26" y="71"/>
                    <a:pt x="21" y="66"/>
                  </a:cubicBezTo>
                  <a:cubicBezTo>
                    <a:pt x="17" y="61"/>
                    <a:pt x="15" y="53"/>
                    <a:pt x="15" y="43"/>
                  </a:cubicBezTo>
                  <a:cubicBezTo>
                    <a:pt x="15" y="32"/>
                    <a:pt x="17" y="24"/>
                    <a:pt x="21" y="19"/>
                  </a:cubicBezTo>
                  <a:cubicBezTo>
                    <a:pt x="26" y="14"/>
                    <a:pt x="32" y="12"/>
                    <a:pt x="38" y="12"/>
                  </a:cubicBezTo>
                  <a:cubicBezTo>
                    <a:pt x="45" y="12"/>
                    <a:pt x="51" y="14"/>
                    <a:pt x="56" y="19"/>
                  </a:cubicBezTo>
                  <a:cubicBezTo>
                    <a:pt x="60" y="25"/>
                    <a:pt x="62" y="32"/>
                    <a:pt x="62" y="42"/>
                  </a:cubicBezTo>
                  <a:cubicBezTo>
                    <a:pt x="62" y="53"/>
                    <a:pt x="60" y="61"/>
                    <a:pt x="56" y="6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218" name="îš1ïḋé"/>
            <p:cNvSpPr/>
            <p:nvPr/>
          </p:nvSpPr>
          <p:spPr bwMode="auto">
            <a:xfrm>
              <a:off x="9491916" y="5675903"/>
              <a:ext cx="25400" cy="2063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219" name="íŝḻíḍê"/>
            <p:cNvSpPr/>
            <p:nvPr/>
          </p:nvSpPr>
          <p:spPr bwMode="auto">
            <a:xfrm>
              <a:off x="9547478" y="5729878"/>
              <a:ext cx="141288" cy="157163"/>
            </a:xfrm>
            <a:custGeom>
              <a:avLst/>
              <a:gdLst>
                <a:gd name="T0" fmla="*/ 38 w 77"/>
                <a:gd name="T1" fmla="*/ 0 h 85"/>
                <a:gd name="T2" fmla="*/ 13 w 77"/>
                <a:gd name="T3" fmla="*/ 9 h 85"/>
                <a:gd name="T4" fmla="*/ 0 w 77"/>
                <a:gd name="T5" fmla="*/ 43 h 85"/>
                <a:gd name="T6" fmla="*/ 11 w 77"/>
                <a:gd name="T7" fmla="*/ 74 h 85"/>
                <a:gd name="T8" fmla="*/ 38 w 77"/>
                <a:gd name="T9" fmla="*/ 85 h 85"/>
                <a:gd name="T10" fmla="*/ 58 w 77"/>
                <a:gd name="T11" fmla="*/ 80 h 85"/>
                <a:gd name="T12" fmla="*/ 72 w 77"/>
                <a:gd name="T13" fmla="*/ 66 h 85"/>
                <a:gd name="T14" fmla="*/ 77 w 77"/>
                <a:gd name="T15" fmla="*/ 42 h 85"/>
                <a:gd name="T16" fmla="*/ 66 w 77"/>
                <a:gd name="T17" fmla="*/ 11 h 85"/>
                <a:gd name="T18" fmla="*/ 38 w 77"/>
                <a:gd name="T19" fmla="*/ 0 h 85"/>
                <a:gd name="T20" fmla="*/ 56 w 77"/>
                <a:gd name="T21" fmla="*/ 66 h 85"/>
                <a:gd name="T22" fmla="*/ 38 w 77"/>
                <a:gd name="T23" fmla="*/ 74 h 85"/>
                <a:gd name="T24" fmla="*/ 21 w 77"/>
                <a:gd name="T25" fmla="*/ 66 h 85"/>
                <a:gd name="T26" fmla="*/ 15 w 77"/>
                <a:gd name="T27" fmla="*/ 43 h 85"/>
                <a:gd name="T28" fmla="*/ 21 w 77"/>
                <a:gd name="T29" fmla="*/ 19 h 85"/>
                <a:gd name="T30" fmla="*/ 38 w 77"/>
                <a:gd name="T31" fmla="*/ 12 h 85"/>
                <a:gd name="T32" fmla="*/ 56 w 77"/>
                <a:gd name="T33" fmla="*/ 19 h 85"/>
                <a:gd name="T34" fmla="*/ 62 w 77"/>
                <a:gd name="T35" fmla="*/ 42 h 85"/>
                <a:gd name="T36" fmla="*/ 56 w 77"/>
                <a:gd name="T37" fmla="*/ 66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77" h="85">
                  <a:moveTo>
                    <a:pt x="38" y="0"/>
                  </a:moveTo>
                  <a:cubicBezTo>
                    <a:pt x="28" y="0"/>
                    <a:pt x="20" y="3"/>
                    <a:pt x="13" y="9"/>
                  </a:cubicBezTo>
                  <a:cubicBezTo>
                    <a:pt x="5" y="16"/>
                    <a:pt x="0" y="28"/>
                    <a:pt x="0" y="43"/>
                  </a:cubicBezTo>
                  <a:cubicBezTo>
                    <a:pt x="0" y="56"/>
                    <a:pt x="4" y="67"/>
                    <a:pt x="11" y="74"/>
                  </a:cubicBezTo>
                  <a:cubicBezTo>
                    <a:pt x="18" y="82"/>
                    <a:pt x="27" y="85"/>
                    <a:pt x="38" y="85"/>
                  </a:cubicBezTo>
                  <a:cubicBezTo>
                    <a:pt x="46" y="85"/>
                    <a:pt x="52" y="84"/>
                    <a:pt x="58" y="80"/>
                  </a:cubicBezTo>
                  <a:cubicBezTo>
                    <a:pt x="64" y="77"/>
                    <a:pt x="69" y="72"/>
                    <a:pt x="72" y="66"/>
                  </a:cubicBezTo>
                  <a:cubicBezTo>
                    <a:pt x="75" y="60"/>
                    <a:pt x="77" y="52"/>
                    <a:pt x="77" y="42"/>
                  </a:cubicBezTo>
                  <a:cubicBezTo>
                    <a:pt x="77" y="29"/>
                    <a:pt x="73" y="19"/>
                    <a:pt x="66" y="11"/>
                  </a:cubicBezTo>
                  <a:cubicBezTo>
                    <a:pt x="59" y="4"/>
                    <a:pt x="50" y="0"/>
                    <a:pt x="38" y="0"/>
                  </a:cubicBezTo>
                  <a:close/>
                  <a:moveTo>
                    <a:pt x="56" y="66"/>
                  </a:moveTo>
                  <a:cubicBezTo>
                    <a:pt x="51" y="71"/>
                    <a:pt x="45" y="74"/>
                    <a:pt x="38" y="74"/>
                  </a:cubicBezTo>
                  <a:cubicBezTo>
                    <a:pt x="32" y="74"/>
                    <a:pt x="26" y="71"/>
                    <a:pt x="21" y="66"/>
                  </a:cubicBezTo>
                  <a:cubicBezTo>
                    <a:pt x="17" y="61"/>
                    <a:pt x="15" y="53"/>
                    <a:pt x="15" y="43"/>
                  </a:cubicBezTo>
                  <a:cubicBezTo>
                    <a:pt x="15" y="32"/>
                    <a:pt x="17" y="24"/>
                    <a:pt x="21" y="19"/>
                  </a:cubicBezTo>
                  <a:cubicBezTo>
                    <a:pt x="26" y="14"/>
                    <a:pt x="32" y="12"/>
                    <a:pt x="38" y="12"/>
                  </a:cubicBezTo>
                  <a:cubicBezTo>
                    <a:pt x="45" y="12"/>
                    <a:pt x="51" y="14"/>
                    <a:pt x="56" y="19"/>
                  </a:cubicBezTo>
                  <a:cubicBezTo>
                    <a:pt x="60" y="25"/>
                    <a:pt x="62" y="32"/>
                    <a:pt x="62" y="42"/>
                  </a:cubicBezTo>
                  <a:cubicBezTo>
                    <a:pt x="62" y="53"/>
                    <a:pt x="60" y="61"/>
                    <a:pt x="56" y="6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220" name="íṧḷíḓé"/>
            <p:cNvSpPr/>
            <p:nvPr/>
          </p:nvSpPr>
          <p:spPr bwMode="auto">
            <a:xfrm>
              <a:off x="9707816" y="5729878"/>
              <a:ext cx="131763" cy="214313"/>
            </a:xfrm>
            <a:custGeom>
              <a:avLst/>
              <a:gdLst>
                <a:gd name="T0" fmla="*/ 59 w 72"/>
                <a:gd name="T1" fmla="*/ 12 h 116"/>
                <a:gd name="T2" fmla="*/ 36 w 72"/>
                <a:gd name="T3" fmla="*/ 0 h 116"/>
                <a:gd name="T4" fmla="*/ 17 w 72"/>
                <a:gd name="T5" fmla="*/ 6 h 116"/>
                <a:gd name="T6" fmla="*/ 5 w 72"/>
                <a:gd name="T7" fmla="*/ 21 h 116"/>
                <a:gd name="T8" fmla="*/ 0 w 72"/>
                <a:gd name="T9" fmla="*/ 42 h 116"/>
                <a:gd name="T10" fmla="*/ 10 w 72"/>
                <a:gd name="T11" fmla="*/ 71 h 116"/>
                <a:gd name="T12" fmla="*/ 36 w 72"/>
                <a:gd name="T13" fmla="*/ 83 h 116"/>
                <a:gd name="T14" fmla="*/ 58 w 72"/>
                <a:gd name="T15" fmla="*/ 73 h 116"/>
                <a:gd name="T16" fmla="*/ 57 w 72"/>
                <a:gd name="T17" fmla="*/ 90 h 116"/>
                <a:gd name="T18" fmla="*/ 50 w 72"/>
                <a:gd name="T19" fmla="*/ 101 h 116"/>
                <a:gd name="T20" fmla="*/ 35 w 72"/>
                <a:gd name="T21" fmla="*/ 105 h 116"/>
                <a:gd name="T22" fmla="*/ 21 w 72"/>
                <a:gd name="T23" fmla="*/ 101 h 116"/>
                <a:gd name="T24" fmla="*/ 17 w 72"/>
                <a:gd name="T25" fmla="*/ 92 h 116"/>
                <a:gd name="T26" fmla="*/ 3 w 72"/>
                <a:gd name="T27" fmla="*/ 90 h 116"/>
                <a:gd name="T28" fmla="*/ 12 w 72"/>
                <a:gd name="T29" fmla="*/ 110 h 116"/>
                <a:gd name="T30" fmla="*/ 35 w 72"/>
                <a:gd name="T31" fmla="*/ 116 h 116"/>
                <a:gd name="T32" fmla="*/ 56 w 72"/>
                <a:gd name="T33" fmla="*/ 112 h 116"/>
                <a:gd name="T34" fmla="*/ 68 w 72"/>
                <a:gd name="T35" fmla="*/ 99 h 116"/>
                <a:gd name="T36" fmla="*/ 72 w 72"/>
                <a:gd name="T37" fmla="*/ 72 h 116"/>
                <a:gd name="T38" fmla="*/ 72 w 72"/>
                <a:gd name="T39" fmla="*/ 2 h 116"/>
                <a:gd name="T40" fmla="*/ 59 w 72"/>
                <a:gd name="T41" fmla="*/ 2 h 116"/>
                <a:gd name="T42" fmla="*/ 59 w 72"/>
                <a:gd name="T43" fmla="*/ 12 h 116"/>
                <a:gd name="T44" fmla="*/ 53 w 72"/>
                <a:gd name="T45" fmla="*/ 65 h 116"/>
                <a:gd name="T46" fmla="*/ 37 w 72"/>
                <a:gd name="T47" fmla="*/ 72 h 116"/>
                <a:gd name="T48" fmla="*/ 21 w 72"/>
                <a:gd name="T49" fmla="*/ 65 h 116"/>
                <a:gd name="T50" fmla="*/ 15 w 72"/>
                <a:gd name="T51" fmla="*/ 41 h 116"/>
                <a:gd name="T52" fmla="*/ 21 w 72"/>
                <a:gd name="T53" fmla="*/ 19 h 116"/>
                <a:gd name="T54" fmla="*/ 37 w 72"/>
                <a:gd name="T55" fmla="*/ 12 h 116"/>
                <a:gd name="T56" fmla="*/ 53 w 72"/>
                <a:gd name="T57" fmla="*/ 19 h 116"/>
                <a:gd name="T58" fmla="*/ 59 w 72"/>
                <a:gd name="T59" fmla="*/ 42 h 116"/>
                <a:gd name="T60" fmla="*/ 53 w 72"/>
                <a:gd name="T61" fmla="*/ 65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72" h="116">
                  <a:moveTo>
                    <a:pt x="59" y="12"/>
                  </a:moveTo>
                  <a:cubicBezTo>
                    <a:pt x="53" y="4"/>
                    <a:pt x="45" y="0"/>
                    <a:pt x="36" y="0"/>
                  </a:cubicBezTo>
                  <a:cubicBezTo>
                    <a:pt x="28" y="0"/>
                    <a:pt x="22" y="2"/>
                    <a:pt x="17" y="6"/>
                  </a:cubicBezTo>
                  <a:cubicBezTo>
                    <a:pt x="11" y="9"/>
                    <a:pt x="7" y="14"/>
                    <a:pt x="5" y="21"/>
                  </a:cubicBezTo>
                  <a:cubicBezTo>
                    <a:pt x="2" y="27"/>
                    <a:pt x="0" y="34"/>
                    <a:pt x="0" y="42"/>
                  </a:cubicBezTo>
                  <a:cubicBezTo>
                    <a:pt x="0" y="53"/>
                    <a:pt x="3" y="63"/>
                    <a:pt x="10" y="71"/>
                  </a:cubicBezTo>
                  <a:cubicBezTo>
                    <a:pt x="16" y="79"/>
                    <a:pt x="24" y="83"/>
                    <a:pt x="36" y="83"/>
                  </a:cubicBezTo>
                  <a:cubicBezTo>
                    <a:pt x="45" y="83"/>
                    <a:pt x="52" y="80"/>
                    <a:pt x="58" y="73"/>
                  </a:cubicBezTo>
                  <a:cubicBezTo>
                    <a:pt x="58" y="82"/>
                    <a:pt x="58" y="88"/>
                    <a:pt x="57" y="90"/>
                  </a:cubicBezTo>
                  <a:cubicBezTo>
                    <a:pt x="56" y="95"/>
                    <a:pt x="53" y="99"/>
                    <a:pt x="50" y="101"/>
                  </a:cubicBezTo>
                  <a:cubicBezTo>
                    <a:pt x="47" y="104"/>
                    <a:pt x="42" y="105"/>
                    <a:pt x="35" y="105"/>
                  </a:cubicBezTo>
                  <a:cubicBezTo>
                    <a:pt x="29" y="105"/>
                    <a:pt x="25" y="104"/>
                    <a:pt x="21" y="101"/>
                  </a:cubicBezTo>
                  <a:cubicBezTo>
                    <a:pt x="19" y="99"/>
                    <a:pt x="17" y="96"/>
                    <a:pt x="17" y="92"/>
                  </a:cubicBezTo>
                  <a:cubicBezTo>
                    <a:pt x="3" y="90"/>
                    <a:pt x="3" y="90"/>
                    <a:pt x="3" y="90"/>
                  </a:cubicBezTo>
                  <a:cubicBezTo>
                    <a:pt x="3" y="99"/>
                    <a:pt x="6" y="105"/>
                    <a:pt x="12" y="110"/>
                  </a:cubicBezTo>
                  <a:cubicBezTo>
                    <a:pt x="18" y="114"/>
                    <a:pt x="26" y="116"/>
                    <a:pt x="35" y="116"/>
                  </a:cubicBezTo>
                  <a:cubicBezTo>
                    <a:pt x="43" y="116"/>
                    <a:pt x="50" y="115"/>
                    <a:pt x="56" y="112"/>
                  </a:cubicBezTo>
                  <a:cubicBezTo>
                    <a:pt x="62" y="109"/>
                    <a:pt x="66" y="104"/>
                    <a:pt x="68" y="99"/>
                  </a:cubicBezTo>
                  <a:cubicBezTo>
                    <a:pt x="71" y="94"/>
                    <a:pt x="72" y="85"/>
                    <a:pt x="72" y="72"/>
                  </a:cubicBezTo>
                  <a:cubicBezTo>
                    <a:pt x="72" y="2"/>
                    <a:pt x="72" y="2"/>
                    <a:pt x="72" y="2"/>
                  </a:cubicBezTo>
                  <a:cubicBezTo>
                    <a:pt x="59" y="2"/>
                    <a:pt x="59" y="2"/>
                    <a:pt x="59" y="2"/>
                  </a:cubicBezTo>
                  <a:lnTo>
                    <a:pt x="59" y="12"/>
                  </a:lnTo>
                  <a:close/>
                  <a:moveTo>
                    <a:pt x="53" y="65"/>
                  </a:moveTo>
                  <a:cubicBezTo>
                    <a:pt x="48" y="69"/>
                    <a:pt x="43" y="72"/>
                    <a:pt x="37" y="72"/>
                  </a:cubicBezTo>
                  <a:cubicBezTo>
                    <a:pt x="30" y="72"/>
                    <a:pt x="25" y="69"/>
                    <a:pt x="21" y="65"/>
                  </a:cubicBezTo>
                  <a:cubicBezTo>
                    <a:pt x="17" y="60"/>
                    <a:pt x="15" y="52"/>
                    <a:pt x="15" y="41"/>
                  </a:cubicBezTo>
                  <a:cubicBezTo>
                    <a:pt x="15" y="31"/>
                    <a:pt x="17" y="24"/>
                    <a:pt x="21" y="19"/>
                  </a:cubicBezTo>
                  <a:cubicBezTo>
                    <a:pt x="25" y="14"/>
                    <a:pt x="30" y="12"/>
                    <a:pt x="37" y="12"/>
                  </a:cubicBezTo>
                  <a:cubicBezTo>
                    <a:pt x="43" y="12"/>
                    <a:pt x="48" y="14"/>
                    <a:pt x="53" y="19"/>
                  </a:cubicBezTo>
                  <a:cubicBezTo>
                    <a:pt x="57" y="24"/>
                    <a:pt x="59" y="32"/>
                    <a:pt x="59" y="42"/>
                  </a:cubicBezTo>
                  <a:cubicBezTo>
                    <a:pt x="59" y="52"/>
                    <a:pt x="57" y="60"/>
                    <a:pt x="53" y="6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221" name="îŝlíde"/>
            <p:cNvSpPr/>
            <p:nvPr/>
          </p:nvSpPr>
          <p:spPr bwMode="auto">
            <a:xfrm>
              <a:off x="9864978" y="5733053"/>
              <a:ext cx="138113" cy="211138"/>
            </a:xfrm>
            <a:custGeom>
              <a:avLst/>
              <a:gdLst>
                <a:gd name="T0" fmla="*/ 43 w 75"/>
                <a:gd name="T1" fmla="*/ 47 h 114"/>
                <a:gd name="T2" fmla="*/ 38 w 75"/>
                <a:gd name="T3" fmla="*/ 66 h 114"/>
                <a:gd name="T4" fmla="*/ 32 w 75"/>
                <a:gd name="T5" fmla="*/ 47 h 114"/>
                <a:gd name="T6" fmla="*/ 15 w 75"/>
                <a:gd name="T7" fmla="*/ 0 h 114"/>
                <a:gd name="T8" fmla="*/ 0 w 75"/>
                <a:gd name="T9" fmla="*/ 0 h 114"/>
                <a:gd name="T10" fmla="*/ 31 w 75"/>
                <a:gd name="T11" fmla="*/ 81 h 114"/>
                <a:gd name="T12" fmla="*/ 30 w 75"/>
                <a:gd name="T13" fmla="*/ 85 h 114"/>
                <a:gd name="T14" fmla="*/ 25 w 75"/>
                <a:gd name="T15" fmla="*/ 95 h 114"/>
                <a:gd name="T16" fmla="*/ 21 w 75"/>
                <a:gd name="T17" fmla="*/ 99 h 114"/>
                <a:gd name="T18" fmla="*/ 14 w 75"/>
                <a:gd name="T19" fmla="*/ 101 h 114"/>
                <a:gd name="T20" fmla="*/ 6 w 75"/>
                <a:gd name="T21" fmla="*/ 100 h 114"/>
                <a:gd name="T22" fmla="*/ 7 w 75"/>
                <a:gd name="T23" fmla="*/ 113 h 114"/>
                <a:gd name="T24" fmla="*/ 16 w 75"/>
                <a:gd name="T25" fmla="*/ 114 h 114"/>
                <a:gd name="T26" fmla="*/ 27 w 75"/>
                <a:gd name="T27" fmla="*/ 111 h 114"/>
                <a:gd name="T28" fmla="*/ 36 w 75"/>
                <a:gd name="T29" fmla="*/ 101 h 114"/>
                <a:gd name="T30" fmla="*/ 44 w 75"/>
                <a:gd name="T31" fmla="*/ 83 h 114"/>
                <a:gd name="T32" fmla="*/ 75 w 75"/>
                <a:gd name="T33" fmla="*/ 0 h 114"/>
                <a:gd name="T34" fmla="*/ 61 w 75"/>
                <a:gd name="T35" fmla="*/ 0 h 114"/>
                <a:gd name="T36" fmla="*/ 43 w 75"/>
                <a:gd name="T37" fmla="*/ 47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75" h="114">
                  <a:moveTo>
                    <a:pt x="43" y="47"/>
                  </a:moveTo>
                  <a:cubicBezTo>
                    <a:pt x="41" y="53"/>
                    <a:pt x="39" y="60"/>
                    <a:pt x="38" y="66"/>
                  </a:cubicBezTo>
                  <a:cubicBezTo>
                    <a:pt x="36" y="59"/>
                    <a:pt x="34" y="53"/>
                    <a:pt x="32" y="47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0" y="83"/>
                    <a:pt x="30" y="84"/>
                    <a:pt x="30" y="85"/>
                  </a:cubicBezTo>
                  <a:cubicBezTo>
                    <a:pt x="28" y="90"/>
                    <a:pt x="26" y="94"/>
                    <a:pt x="25" y="95"/>
                  </a:cubicBezTo>
                  <a:cubicBezTo>
                    <a:pt x="24" y="97"/>
                    <a:pt x="23" y="98"/>
                    <a:pt x="21" y="99"/>
                  </a:cubicBezTo>
                  <a:cubicBezTo>
                    <a:pt x="19" y="100"/>
                    <a:pt x="17" y="101"/>
                    <a:pt x="14" y="101"/>
                  </a:cubicBezTo>
                  <a:cubicBezTo>
                    <a:pt x="11" y="101"/>
                    <a:pt x="9" y="101"/>
                    <a:pt x="6" y="100"/>
                  </a:cubicBezTo>
                  <a:cubicBezTo>
                    <a:pt x="7" y="113"/>
                    <a:pt x="7" y="113"/>
                    <a:pt x="7" y="113"/>
                  </a:cubicBezTo>
                  <a:cubicBezTo>
                    <a:pt x="11" y="114"/>
                    <a:pt x="13" y="114"/>
                    <a:pt x="16" y="114"/>
                  </a:cubicBezTo>
                  <a:cubicBezTo>
                    <a:pt x="21" y="114"/>
                    <a:pt x="24" y="113"/>
                    <a:pt x="27" y="111"/>
                  </a:cubicBezTo>
                  <a:cubicBezTo>
                    <a:pt x="31" y="109"/>
                    <a:pt x="33" y="106"/>
                    <a:pt x="36" y="101"/>
                  </a:cubicBezTo>
                  <a:cubicBezTo>
                    <a:pt x="38" y="98"/>
                    <a:pt x="40" y="92"/>
                    <a:pt x="44" y="83"/>
                  </a:cubicBezTo>
                  <a:cubicBezTo>
                    <a:pt x="75" y="0"/>
                    <a:pt x="75" y="0"/>
                    <a:pt x="75" y="0"/>
                  </a:cubicBezTo>
                  <a:cubicBezTo>
                    <a:pt x="61" y="0"/>
                    <a:pt x="61" y="0"/>
                    <a:pt x="61" y="0"/>
                  </a:cubicBezTo>
                  <a:lnTo>
                    <a:pt x="43" y="4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222" name="íṧ1ïḍé"/>
            <p:cNvSpPr/>
            <p:nvPr/>
          </p:nvSpPr>
          <p:spPr bwMode="auto">
            <a:xfrm>
              <a:off x="10106278" y="5675903"/>
              <a:ext cx="155575" cy="206375"/>
            </a:xfrm>
            <a:custGeom>
              <a:avLst/>
              <a:gdLst>
                <a:gd name="T0" fmla="*/ 64 w 85"/>
                <a:gd name="T1" fmla="*/ 53 h 112"/>
                <a:gd name="T2" fmla="*/ 75 w 85"/>
                <a:gd name="T3" fmla="*/ 42 h 112"/>
                <a:gd name="T4" fmla="*/ 79 w 85"/>
                <a:gd name="T5" fmla="*/ 29 h 112"/>
                <a:gd name="T6" fmla="*/ 75 w 85"/>
                <a:gd name="T7" fmla="*/ 14 h 112"/>
                <a:gd name="T8" fmla="*/ 63 w 85"/>
                <a:gd name="T9" fmla="*/ 4 h 112"/>
                <a:gd name="T10" fmla="*/ 42 w 85"/>
                <a:gd name="T11" fmla="*/ 0 h 112"/>
                <a:gd name="T12" fmla="*/ 0 w 85"/>
                <a:gd name="T13" fmla="*/ 0 h 112"/>
                <a:gd name="T14" fmla="*/ 0 w 85"/>
                <a:gd name="T15" fmla="*/ 112 h 112"/>
                <a:gd name="T16" fmla="*/ 43 w 85"/>
                <a:gd name="T17" fmla="*/ 112 h 112"/>
                <a:gd name="T18" fmla="*/ 61 w 85"/>
                <a:gd name="T19" fmla="*/ 110 h 112"/>
                <a:gd name="T20" fmla="*/ 73 w 85"/>
                <a:gd name="T21" fmla="*/ 105 h 112"/>
                <a:gd name="T22" fmla="*/ 81 w 85"/>
                <a:gd name="T23" fmla="*/ 94 h 112"/>
                <a:gd name="T24" fmla="*/ 85 w 85"/>
                <a:gd name="T25" fmla="*/ 80 h 112"/>
                <a:gd name="T26" fmla="*/ 79 w 85"/>
                <a:gd name="T27" fmla="*/ 63 h 112"/>
                <a:gd name="T28" fmla="*/ 64 w 85"/>
                <a:gd name="T29" fmla="*/ 53 h 112"/>
                <a:gd name="T30" fmla="*/ 15 w 85"/>
                <a:gd name="T31" fmla="*/ 13 h 112"/>
                <a:gd name="T32" fmla="*/ 37 w 85"/>
                <a:gd name="T33" fmla="*/ 13 h 112"/>
                <a:gd name="T34" fmla="*/ 54 w 85"/>
                <a:gd name="T35" fmla="*/ 15 h 112"/>
                <a:gd name="T36" fmla="*/ 62 w 85"/>
                <a:gd name="T37" fmla="*/ 21 h 112"/>
                <a:gd name="T38" fmla="*/ 65 w 85"/>
                <a:gd name="T39" fmla="*/ 31 h 112"/>
                <a:gd name="T40" fmla="*/ 62 w 85"/>
                <a:gd name="T41" fmla="*/ 40 h 112"/>
                <a:gd name="T42" fmla="*/ 53 w 85"/>
                <a:gd name="T43" fmla="*/ 46 h 112"/>
                <a:gd name="T44" fmla="*/ 39 w 85"/>
                <a:gd name="T45" fmla="*/ 47 h 112"/>
                <a:gd name="T46" fmla="*/ 15 w 85"/>
                <a:gd name="T47" fmla="*/ 47 h 112"/>
                <a:gd name="T48" fmla="*/ 15 w 85"/>
                <a:gd name="T49" fmla="*/ 13 h 112"/>
                <a:gd name="T50" fmla="*/ 67 w 85"/>
                <a:gd name="T51" fmla="*/ 89 h 112"/>
                <a:gd name="T52" fmla="*/ 61 w 85"/>
                <a:gd name="T53" fmla="*/ 95 h 112"/>
                <a:gd name="T54" fmla="*/ 53 w 85"/>
                <a:gd name="T55" fmla="*/ 99 h 112"/>
                <a:gd name="T56" fmla="*/ 43 w 85"/>
                <a:gd name="T57" fmla="*/ 99 h 112"/>
                <a:gd name="T58" fmla="*/ 15 w 85"/>
                <a:gd name="T59" fmla="*/ 99 h 112"/>
                <a:gd name="T60" fmla="*/ 15 w 85"/>
                <a:gd name="T61" fmla="*/ 61 h 112"/>
                <a:gd name="T62" fmla="*/ 41 w 85"/>
                <a:gd name="T63" fmla="*/ 61 h 112"/>
                <a:gd name="T64" fmla="*/ 57 w 85"/>
                <a:gd name="T65" fmla="*/ 62 h 112"/>
                <a:gd name="T66" fmla="*/ 66 w 85"/>
                <a:gd name="T67" fmla="*/ 69 h 112"/>
                <a:gd name="T68" fmla="*/ 69 w 85"/>
                <a:gd name="T69" fmla="*/ 80 h 112"/>
                <a:gd name="T70" fmla="*/ 67 w 85"/>
                <a:gd name="T71" fmla="*/ 89 h 1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85" h="112">
                  <a:moveTo>
                    <a:pt x="64" y="53"/>
                  </a:moveTo>
                  <a:cubicBezTo>
                    <a:pt x="69" y="50"/>
                    <a:pt x="73" y="47"/>
                    <a:pt x="75" y="42"/>
                  </a:cubicBezTo>
                  <a:cubicBezTo>
                    <a:pt x="78" y="38"/>
                    <a:pt x="79" y="34"/>
                    <a:pt x="79" y="29"/>
                  </a:cubicBezTo>
                  <a:cubicBezTo>
                    <a:pt x="79" y="24"/>
                    <a:pt x="78" y="19"/>
                    <a:pt x="75" y="14"/>
                  </a:cubicBezTo>
                  <a:cubicBezTo>
                    <a:pt x="72" y="9"/>
                    <a:pt x="68" y="6"/>
                    <a:pt x="63" y="4"/>
                  </a:cubicBezTo>
                  <a:cubicBezTo>
                    <a:pt x="57" y="1"/>
                    <a:pt x="51" y="0"/>
                    <a:pt x="42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12"/>
                    <a:pt x="0" y="112"/>
                    <a:pt x="0" y="112"/>
                  </a:cubicBezTo>
                  <a:cubicBezTo>
                    <a:pt x="43" y="112"/>
                    <a:pt x="43" y="112"/>
                    <a:pt x="43" y="112"/>
                  </a:cubicBezTo>
                  <a:cubicBezTo>
                    <a:pt x="50" y="112"/>
                    <a:pt x="56" y="112"/>
                    <a:pt x="61" y="110"/>
                  </a:cubicBezTo>
                  <a:cubicBezTo>
                    <a:pt x="66" y="109"/>
                    <a:pt x="70" y="107"/>
                    <a:pt x="73" y="105"/>
                  </a:cubicBezTo>
                  <a:cubicBezTo>
                    <a:pt x="76" y="102"/>
                    <a:pt x="79" y="99"/>
                    <a:pt x="81" y="94"/>
                  </a:cubicBezTo>
                  <a:cubicBezTo>
                    <a:pt x="84" y="90"/>
                    <a:pt x="85" y="85"/>
                    <a:pt x="85" y="80"/>
                  </a:cubicBezTo>
                  <a:cubicBezTo>
                    <a:pt x="85" y="73"/>
                    <a:pt x="83" y="68"/>
                    <a:pt x="79" y="63"/>
                  </a:cubicBezTo>
                  <a:cubicBezTo>
                    <a:pt x="76" y="58"/>
                    <a:pt x="70" y="55"/>
                    <a:pt x="64" y="53"/>
                  </a:cubicBezTo>
                  <a:close/>
                  <a:moveTo>
                    <a:pt x="15" y="13"/>
                  </a:moveTo>
                  <a:cubicBezTo>
                    <a:pt x="37" y="13"/>
                    <a:pt x="37" y="13"/>
                    <a:pt x="37" y="13"/>
                  </a:cubicBezTo>
                  <a:cubicBezTo>
                    <a:pt x="45" y="13"/>
                    <a:pt x="51" y="14"/>
                    <a:pt x="54" y="15"/>
                  </a:cubicBezTo>
                  <a:cubicBezTo>
                    <a:pt x="58" y="16"/>
                    <a:pt x="60" y="18"/>
                    <a:pt x="62" y="21"/>
                  </a:cubicBezTo>
                  <a:cubicBezTo>
                    <a:pt x="64" y="24"/>
                    <a:pt x="65" y="27"/>
                    <a:pt x="65" y="31"/>
                  </a:cubicBezTo>
                  <a:cubicBezTo>
                    <a:pt x="65" y="35"/>
                    <a:pt x="64" y="38"/>
                    <a:pt x="62" y="40"/>
                  </a:cubicBezTo>
                  <a:cubicBezTo>
                    <a:pt x="60" y="43"/>
                    <a:pt x="57" y="45"/>
                    <a:pt x="53" y="46"/>
                  </a:cubicBezTo>
                  <a:cubicBezTo>
                    <a:pt x="50" y="47"/>
                    <a:pt x="46" y="47"/>
                    <a:pt x="39" y="47"/>
                  </a:cubicBezTo>
                  <a:cubicBezTo>
                    <a:pt x="15" y="47"/>
                    <a:pt x="15" y="47"/>
                    <a:pt x="15" y="47"/>
                  </a:cubicBezTo>
                  <a:lnTo>
                    <a:pt x="15" y="13"/>
                  </a:lnTo>
                  <a:close/>
                  <a:moveTo>
                    <a:pt x="67" y="89"/>
                  </a:moveTo>
                  <a:cubicBezTo>
                    <a:pt x="66" y="92"/>
                    <a:pt x="64" y="94"/>
                    <a:pt x="61" y="95"/>
                  </a:cubicBezTo>
                  <a:cubicBezTo>
                    <a:pt x="59" y="97"/>
                    <a:pt x="56" y="98"/>
                    <a:pt x="53" y="99"/>
                  </a:cubicBezTo>
                  <a:cubicBezTo>
                    <a:pt x="51" y="99"/>
                    <a:pt x="48" y="99"/>
                    <a:pt x="43" y="99"/>
                  </a:cubicBezTo>
                  <a:cubicBezTo>
                    <a:pt x="15" y="99"/>
                    <a:pt x="15" y="99"/>
                    <a:pt x="15" y="99"/>
                  </a:cubicBezTo>
                  <a:cubicBezTo>
                    <a:pt x="15" y="61"/>
                    <a:pt x="15" y="61"/>
                    <a:pt x="15" y="61"/>
                  </a:cubicBezTo>
                  <a:cubicBezTo>
                    <a:pt x="41" y="61"/>
                    <a:pt x="41" y="61"/>
                    <a:pt x="41" y="61"/>
                  </a:cubicBezTo>
                  <a:cubicBezTo>
                    <a:pt x="48" y="61"/>
                    <a:pt x="53" y="61"/>
                    <a:pt x="57" y="62"/>
                  </a:cubicBezTo>
                  <a:cubicBezTo>
                    <a:pt x="61" y="64"/>
                    <a:pt x="64" y="66"/>
                    <a:pt x="66" y="69"/>
                  </a:cubicBezTo>
                  <a:cubicBezTo>
                    <a:pt x="68" y="72"/>
                    <a:pt x="69" y="76"/>
                    <a:pt x="69" y="80"/>
                  </a:cubicBezTo>
                  <a:cubicBezTo>
                    <a:pt x="69" y="83"/>
                    <a:pt x="69" y="87"/>
                    <a:pt x="67" y="8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223" name="iŝļidé"/>
            <p:cNvSpPr/>
            <p:nvPr/>
          </p:nvSpPr>
          <p:spPr bwMode="auto">
            <a:xfrm>
              <a:off x="10288841" y="5729878"/>
              <a:ext cx="138113" cy="157163"/>
            </a:xfrm>
            <a:custGeom>
              <a:avLst/>
              <a:gdLst>
                <a:gd name="T0" fmla="*/ 38 w 75"/>
                <a:gd name="T1" fmla="*/ 0 h 85"/>
                <a:gd name="T2" fmla="*/ 10 w 75"/>
                <a:gd name="T3" fmla="*/ 12 h 85"/>
                <a:gd name="T4" fmla="*/ 0 w 75"/>
                <a:gd name="T5" fmla="*/ 43 h 85"/>
                <a:gd name="T6" fmla="*/ 10 w 75"/>
                <a:gd name="T7" fmla="*/ 74 h 85"/>
                <a:gd name="T8" fmla="*/ 38 w 75"/>
                <a:gd name="T9" fmla="*/ 85 h 85"/>
                <a:gd name="T10" fmla="*/ 62 w 75"/>
                <a:gd name="T11" fmla="*/ 78 h 85"/>
                <a:gd name="T12" fmla="*/ 74 w 75"/>
                <a:gd name="T13" fmla="*/ 59 h 85"/>
                <a:gd name="T14" fmla="*/ 60 w 75"/>
                <a:gd name="T15" fmla="*/ 57 h 85"/>
                <a:gd name="T16" fmla="*/ 51 w 75"/>
                <a:gd name="T17" fmla="*/ 70 h 85"/>
                <a:gd name="T18" fmla="*/ 39 w 75"/>
                <a:gd name="T19" fmla="*/ 74 h 85"/>
                <a:gd name="T20" fmla="*/ 22 w 75"/>
                <a:gd name="T21" fmla="*/ 67 h 85"/>
                <a:gd name="T22" fmla="*/ 14 w 75"/>
                <a:gd name="T23" fmla="*/ 46 h 85"/>
                <a:gd name="T24" fmla="*/ 75 w 75"/>
                <a:gd name="T25" fmla="*/ 46 h 85"/>
                <a:gd name="T26" fmla="*/ 75 w 75"/>
                <a:gd name="T27" fmla="*/ 43 h 85"/>
                <a:gd name="T28" fmla="*/ 64 w 75"/>
                <a:gd name="T29" fmla="*/ 11 h 85"/>
                <a:gd name="T30" fmla="*/ 38 w 75"/>
                <a:gd name="T31" fmla="*/ 0 h 85"/>
                <a:gd name="T32" fmla="*/ 15 w 75"/>
                <a:gd name="T33" fmla="*/ 35 h 85"/>
                <a:gd name="T34" fmla="*/ 22 w 75"/>
                <a:gd name="T35" fmla="*/ 18 h 85"/>
                <a:gd name="T36" fmla="*/ 38 w 75"/>
                <a:gd name="T37" fmla="*/ 12 h 85"/>
                <a:gd name="T38" fmla="*/ 55 w 75"/>
                <a:gd name="T39" fmla="*/ 20 h 85"/>
                <a:gd name="T40" fmla="*/ 60 w 75"/>
                <a:gd name="T41" fmla="*/ 35 h 85"/>
                <a:gd name="T42" fmla="*/ 15 w 75"/>
                <a:gd name="T43" fmla="*/ 35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75" h="85">
                  <a:moveTo>
                    <a:pt x="38" y="0"/>
                  </a:moveTo>
                  <a:cubicBezTo>
                    <a:pt x="26" y="0"/>
                    <a:pt x="17" y="4"/>
                    <a:pt x="10" y="12"/>
                  </a:cubicBezTo>
                  <a:cubicBezTo>
                    <a:pt x="3" y="19"/>
                    <a:pt x="0" y="30"/>
                    <a:pt x="0" y="43"/>
                  </a:cubicBezTo>
                  <a:cubicBezTo>
                    <a:pt x="0" y="57"/>
                    <a:pt x="3" y="67"/>
                    <a:pt x="10" y="74"/>
                  </a:cubicBezTo>
                  <a:cubicBezTo>
                    <a:pt x="17" y="81"/>
                    <a:pt x="27" y="85"/>
                    <a:pt x="38" y="85"/>
                  </a:cubicBezTo>
                  <a:cubicBezTo>
                    <a:pt x="48" y="85"/>
                    <a:pt x="56" y="83"/>
                    <a:pt x="62" y="78"/>
                  </a:cubicBezTo>
                  <a:cubicBezTo>
                    <a:pt x="68" y="74"/>
                    <a:pt x="72" y="67"/>
                    <a:pt x="74" y="59"/>
                  </a:cubicBezTo>
                  <a:cubicBezTo>
                    <a:pt x="60" y="57"/>
                    <a:pt x="60" y="57"/>
                    <a:pt x="60" y="57"/>
                  </a:cubicBezTo>
                  <a:cubicBezTo>
                    <a:pt x="58" y="63"/>
                    <a:pt x="55" y="67"/>
                    <a:pt x="51" y="70"/>
                  </a:cubicBezTo>
                  <a:cubicBezTo>
                    <a:pt x="48" y="73"/>
                    <a:pt x="44" y="74"/>
                    <a:pt x="39" y="74"/>
                  </a:cubicBezTo>
                  <a:cubicBezTo>
                    <a:pt x="32" y="74"/>
                    <a:pt x="26" y="71"/>
                    <a:pt x="22" y="67"/>
                  </a:cubicBezTo>
                  <a:cubicBezTo>
                    <a:pt x="17" y="62"/>
                    <a:pt x="14" y="55"/>
                    <a:pt x="14" y="46"/>
                  </a:cubicBezTo>
                  <a:cubicBezTo>
                    <a:pt x="75" y="46"/>
                    <a:pt x="75" y="46"/>
                    <a:pt x="75" y="46"/>
                  </a:cubicBezTo>
                  <a:cubicBezTo>
                    <a:pt x="75" y="45"/>
                    <a:pt x="75" y="43"/>
                    <a:pt x="75" y="43"/>
                  </a:cubicBezTo>
                  <a:cubicBezTo>
                    <a:pt x="75" y="29"/>
                    <a:pt x="71" y="19"/>
                    <a:pt x="64" y="11"/>
                  </a:cubicBezTo>
                  <a:cubicBezTo>
                    <a:pt x="57" y="4"/>
                    <a:pt x="49" y="0"/>
                    <a:pt x="38" y="0"/>
                  </a:cubicBezTo>
                  <a:close/>
                  <a:moveTo>
                    <a:pt x="15" y="35"/>
                  </a:moveTo>
                  <a:cubicBezTo>
                    <a:pt x="15" y="28"/>
                    <a:pt x="18" y="22"/>
                    <a:pt x="22" y="18"/>
                  </a:cubicBezTo>
                  <a:cubicBezTo>
                    <a:pt x="26" y="14"/>
                    <a:pt x="32" y="12"/>
                    <a:pt x="38" y="12"/>
                  </a:cubicBezTo>
                  <a:cubicBezTo>
                    <a:pt x="45" y="12"/>
                    <a:pt x="51" y="14"/>
                    <a:pt x="55" y="20"/>
                  </a:cubicBezTo>
                  <a:cubicBezTo>
                    <a:pt x="58" y="23"/>
                    <a:pt x="60" y="28"/>
                    <a:pt x="60" y="35"/>
                  </a:cubicBezTo>
                  <a:lnTo>
                    <a:pt x="15" y="3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224" name="í$lidè"/>
            <p:cNvSpPr/>
            <p:nvPr/>
          </p:nvSpPr>
          <p:spPr bwMode="auto">
            <a:xfrm>
              <a:off x="10457116" y="5675903"/>
              <a:ext cx="25400" cy="3016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225" name="iSļiḋé"/>
            <p:cNvSpPr/>
            <p:nvPr/>
          </p:nvSpPr>
          <p:spPr bwMode="auto">
            <a:xfrm>
              <a:off x="10457116" y="5733053"/>
              <a:ext cx="25400" cy="1492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226" name="íṩḷïḑe"/>
            <p:cNvSpPr/>
            <p:nvPr/>
          </p:nvSpPr>
          <p:spPr bwMode="auto">
            <a:xfrm>
              <a:off x="10520616" y="5675903"/>
              <a:ext cx="25400" cy="3016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227" name="i$ḷïḍè"/>
            <p:cNvSpPr/>
            <p:nvPr/>
          </p:nvSpPr>
          <p:spPr bwMode="auto">
            <a:xfrm>
              <a:off x="10488866" y="5733053"/>
              <a:ext cx="57150" cy="211138"/>
            </a:xfrm>
            <a:custGeom>
              <a:avLst/>
              <a:gdLst>
                <a:gd name="T0" fmla="*/ 17 w 31"/>
                <a:gd name="T1" fmla="*/ 85 h 114"/>
                <a:gd name="T2" fmla="*/ 15 w 31"/>
                <a:gd name="T3" fmla="*/ 99 h 114"/>
                <a:gd name="T4" fmla="*/ 9 w 31"/>
                <a:gd name="T5" fmla="*/ 102 h 114"/>
                <a:gd name="T6" fmla="*/ 2 w 31"/>
                <a:gd name="T7" fmla="*/ 101 h 114"/>
                <a:gd name="T8" fmla="*/ 0 w 31"/>
                <a:gd name="T9" fmla="*/ 113 h 114"/>
                <a:gd name="T10" fmla="*/ 11 w 31"/>
                <a:gd name="T11" fmla="*/ 114 h 114"/>
                <a:gd name="T12" fmla="*/ 27 w 31"/>
                <a:gd name="T13" fmla="*/ 107 h 114"/>
                <a:gd name="T14" fmla="*/ 31 w 31"/>
                <a:gd name="T15" fmla="*/ 86 h 114"/>
                <a:gd name="T16" fmla="*/ 31 w 31"/>
                <a:gd name="T17" fmla="*/ 0 h 114"/>
                <a:gd name="T18" fmla="*/ 17 w 31"/>
                <a:gd name="T19" fmla="*/ 0 h 114"/>
                <a:gd name="T20" fmla="*/ 17 w 31"/>
                <a:gd name="T21" fmla="*/ 85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1" h="114">
                  <a:moveTo>
                    <a:pt x="17" y="85"/>
                  </a:moveTo>
                  <a:cubicBezTo>
                    <a:pt x="17" y="93"/>
                    <a:pt x="17" y="98"/>
                    <a:pt x="15" y="99"/>
                  </a:cubicBezTo>
                  <a:cubicBezTo>
                    <a:pt x="14" y="101"/>
                    <a:pt x="12" y="102"/>
                    <a:pt x="9" y="102"/>
                  </a:cubicBezTo>
                  <a:cubicBezTo>
                    <a:pt x="7" y="102"/>
                    <a:pt x="5" y="102"/>
                    <a:pt x="2" y="101"/>
                  </a:cubicBezTo>
                  <a:cubicBezTo>
                    <a:pt x="0" y="113"/>
                    <a:pt x="0" y="113"/>
                    <a:pt x="0" y="113"/>
                  </a:cubicBezTo>
                  <a:cubicBezTo>
                    <a:pt x="3" y="114"/>
                    <a:pt x="7" y="114"/>
                    <a:pt x="11" y="114"/>
                  </a:cubicBezTo>
                  <a:cubicBezTo>
                    <a:pt x="18" y="114"/>
                    <a:pt x="24" y="112"/>
                    <a:pt x="27" y="107"/>
                  </a:cubicBezTo>
                  <a:cubicBezTo>
                    <a:pt x="30" y="103"/>
                    <a:pt x="31" y="96"/>
                    <a:pt x="31" y="86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17" y="0"/>
                    <a:pt x="17" y="0"/>
                    <a:pt x="17" y="0"/>
                  </a:cubicBezTo>
                  <a:lnTo>
                    <a:pt x="17" y="8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228" name="íṩliḋé"/>
            <p:cNvSpPr/>
            <p:nvPr/>
          </p:nvSpPr>
          <p:spPr bwMode="auto">
            <a:xfrm>
              <a:off x="10585703" y="5675903"/>
              <a:ext cx="25400" cy="3016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229" name="ísḷiďé"/>
            <p:cNvSpPr/>
            <p:nvPr/>
          </p:nvSpPr>
          <p:spPr bwMode="auto">
            <a:xfrm>
              <a:off x="10585703" y="5733053"/>
              <a:ext cx="25400" cy="1492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230" name="íṩļïḍe"/>
            <p:cNvSpPr/>
            <p:nvPr/>
          </p:nvSpPr>
          <p:spPr bwMode="auto">
            <a:xfrm>
              <a:off x="10649203" y="5729878"/>
              <a:ext cx="122238" cy="152400"/>
            </a:xfrm>
            <a:custGeom>
              <a:avLst/>
              <a:gdLst>
                <a:gd name="T0" fmla="*/ 65 w 66"/>
                <a:gd name="T1" fmla="*/ 20 h 83"/>
                <a:gd name="T2" fmla="*/ 61 w 66"/>
                <a:gd name="T3" fmla="*/ 10 h 83"/>
                <a:gd name="T4" fmla="*/ 52 w 66"/>
                <a:gd name="T5" fmla="*/ 3 h 83"/>
                <a:gd name="T6" fmla="*/ 38 w 66"/>
                <a:gd name="T7" fmla="*/ 0 h 83"/>
                <a:gd name="T8" fmla="*/ 12 w 66"/>
                <a:gd name="T9" fmla="*/ 14 h 83"/>
                <a:gd name="T10" fmla="*/ 12 w 66"/>
                <a:gd name="T11" fmla="*/ 2 h 83"/>
                <a:gd name="T12" fmla="*/ 0 w 66"/>
                <a:gd name="T13" fmla="*/ 2 h 83"/>
                <a:gd name="T14" fmla="*/ 0 w 66"/>
                <a:gd name="T15" fmla="*/ 83 h 83"/>
                <a:gd name="T16" fmla="*/ 14 w 66"/>
                <a:gd name="T17" fmla="*/ 83 h 83"/>
                <a:gd name="T18" fmla="*/ 14 w 66"/>
                <a:gd name="T19" fmla="*/ 39 h 83"/>
                <a:gd name="T20" fmla="*/ 20 w 66"/>
                <a:gd name="T21" fmla="*/ 18 h 83"/>
                <a:gd name="T22" fmla="*/ 35 w 66"/>
                <a:gd name="T23" fmla="*/ 12 h 83"/>
                <a:gd name="T24" fmla="*/ 45 w 66"/>
                <a:gd name="T25" fmla="*/ 15 h 83"/>
                <a:gd name="T26" fmla="*/ 51 w 66"/>
                <a:gd name="T27" fmla="*/ 21 h 83"/>
                <a:gd name="T28" fmla="*/ 52 w 66"/>
                <a:gd name="T29" fmla="*/ 34 h 83"/>
                <a:gd name="T30" fmla="*/ 52 w 66"/>
                <a:gd name="T31" fmla="*/ 83 h 83"/>
                <a:gd name="T32" fmla="*/ 66 w 66"/>
                <a:gd name="T33" fmla="*/ 83 h 83"/>
                <a:gd name="T34" fmla="*/ 66 w 66"/>
                <a:gd name="T35" fmla="*/ 33 h 83"/>
                <a:gd name="T36" fmla="*/ 65 w 66"/>
                <a:gd name="T37" fmla="*/ 20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6" h="83">
                  <a:moveTo>
                    <a:pt x="65" y="20"/>
                  </a:moveTo>
                  <a:cubicBezTo>
                    <a:pt x="64" y="16"/>
                    <a:pt x="63" y="13"/>
                    <a:pt x="61" y="10"/>
                  </a:cubicBezTo>
                  <a:cubicBezTo>
                    <a:pt x="59" y="7"/>
                    <a:pt x="56" y="5"/>
                    <a:pt x="52" y="3"/>
                  </a:cubicBezTo>
                  <a:cubicBezTo>
                    <a:pt x="48" y="1"/>
                    <a:pt x="43" y="0"/>
                    <a:pt x="38" y="0"/>
                  </a:cubicBezTo>
                  <a:cubicBezTo>
                    <a:pt x="27" y="0"/>
                    <a:pt x="18" y="5"/>
                    <a:pt x="12" y="14"/>
                  </a:cubicBezTo>
                  <a:cubicBezTo>
                    <a:pt x="12" y="2"/>
                    <a:pt x="12" y="2"/>
                    <a:pt x="12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83"/>
                    <a:pt x="0" y="83"/>
                    <a:pt x="0" y="83"/>
                  </a:cubicBezTo>
                  <a:cubicBezTo>
                    <a:pt x="14" y="83"/>
                    <a:pt x="14" y="83"/>
                    <a:pt x="14" y="83"/>
                  </a:cubicBezTo>
                  <a:cubicBezTo>
                    <a:pt x="14" y="39"/>
                    <a:pt x="14" y="39"/>
                    <a:pt x="14" y="39"/>
                  </a:cubicBezTo>
                  <a:cubicBezTo>
                    <a:pt x="14" y="29"/>
                    <a:pt x="16" y="21"/>
                    <a:pt x="20" y="18"/>
                  </a:cubicBezTo>
                  <a:cubicBezTo>
                    <a:pt x="24" y="14"/>
                    <a:pt x="29" y="12"/>
                    <a:pt x="35" y="12"/>
                  </a:cubicBezTo>
                  <a:cubicBezTo>
                    <a:pt x="39" y="12"/>
                    <a:pt x="42" y="13"/>
                    <a:pt x="45" y="15"/>
                  </a:cubicBezTo>
                  <a:cubicBezTo>
                    <a:pt x="48" y="16"/>
                    <a:pt x="50" y="19"/>
                    <a:pt x="51" y="21"/>
                  </a:cubicBezTo>
                  <a:cubicBezTo>
                    <a:pt x="52" y="24"/>
                    <a:pt x="52" y="28"/>
                    <a:pt x="52" y="34"/>
                  </a:cubicBezTo>
                  <a:cubicBezTo>
                    <a:pt x="52" y="83"/>
                    <a:pt x="52" y="83"/>
                    <a:pt x="52" y="83"/>
                  </a:cubicBezTo>
                  <a:cubicBezTo>
                    <a:pt x="66" y="83"/>
                    <a:pt x="66" y="83"/>
                    <a:pt x="66" y="83"/>
                  </a:cubicBezTo>
                  <a:cubicBezTo>
                    <a:pt x="66" y="33"/>
                    <a:pt x="66" y="33"/>
                    <a:pt x="66" y="33"/>
                  </a:cubicBezTo>
                  <a:cubicBezTo>
                    <a:pt x="66" y="27"/>
                    <a:pt x="66" y="23"/>
                    <a:pt x="65" y="2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231" name="í$ľíḍê"/>
            <p:cNvSpPr/>
            <p:nvPr/>
          </p:nvSpPr>
          <p:spPr bwMode="auto">
            <a:xfrm>
              <a:off x="10800016" y="5729878"/>
              <a:ext cx="133350" cy="214313"/>
            </a:xfrm>
            <a:custGeom>
              <a:avLst/>
              <a:gdLst>
                <a:gd name="T0" fmla="*/ 59 w 72"/>
                <a:gd name="T1" fmla="*/ 2 h 116"/>
                <a:gd name="T2" fmla="*/ 59 w 72"/>
                <a:gd name="T3" fmla="*/ 12 h 116"/>
                <a:gd name="T4" fmla="*/ 35 w 72"/>
                <a:gd name="T5" fmla="*/ 0 h 116"/>
                <a:gd name="T6" fmla="*/ 16 w 72"/>
                <a:gd name="T7" fmla="*/ 6 h 116"/>
                <a:gd name="T8" fmla="*/ 4 w 72"/>
                <a:gd name="T9" fmla="*/ 21 h 116"/>
                <a:gd name="T10" fmla="*/ 0 w 72"/>
                <a:gd name="T11" fmla="*/ 42 h 116"/>
                <a:gd name="T12" fmla="*/ 9 w 72"/>
                <a:gd name="T13" fmla="*/ 71 h 116"/>
                <a:gd name="T14" fmla="*/ 35 w 72"/>
                <a:gd name="T15" fmla="*/ 83 h 116"/>
                <a:gd name="T16" fmla="*/ 58 w 72"/>
                <a:gd name="T17" fmla="*/ 73 h 116"/>
                <a:gd name="T18" fmla="*/ 57 w 72"/>
                <a:gd name="T19" fmla="*/ 90 h 116"/>
                <a:gd name="T20" fmla="*/ 49 w 72"/>
                <a:gd name="T21" fmla="*/ 101 h 116"/>
                <a:gd name="T22" fmla="*/ 35 w 72"/>
                <a:gd name="T23" fmla="*/ 105 h 116"/>
                <a:gd name="T24" fmla="*/ 21 w 72"/>
                <a:gd name="T25" fmla="*/ 101 h 116"/>
                <a:gd name="T26" fmla="*/ 16 w 72"/>
                <a:gd name="T27" fmla="*/ 92 h 116"/>
                <a:gd name="T28" fmla="*/ 3 w 72"/>
                <a:gd name="T29" fmla="*/ 90 h 116"/>
                <a:gd name="T30" fmla="*/ 11 w 72"/>
                <a:gd name="T31" fmla="*/ 110 h 116"/>
                <a:gd name="T32" fmla="*/ 35 w 72"/>
                <a:gd name="T33" fmla="*/ 116 h 116"/>
                <a:gd name="T34" fmla="*/ 55 w 72"/>
                <a:gd name="T35" fmla="*/ 112 h 116"/>
                <a:gd name="T36" fmla="*/ 68 w 72"/>
                <a:gd name="T37" fmla="*/ 99 h 116"/>
                <a:gd name="T38" fmla="*/ 72 w 72"/>
                <a:gd name="T39" fmla="*/ 72 h 116"/>
                <a:gd name="T40" fmla="*/ 72 w 72"/>
                <a:gd name="T41" fmla="*/ 2 h 116"/>
                <a:gd name="T42" fmla="*/ 59 w 72"/>
                <a:gd name="T43" fmla="*/ 2 h 116"/>
                <a:gd name="T44" fmla="*/ 52 w 72"/>
                <a:gd name="T45" fmla="*/ 65 h 116"/>
                <a:gd name="T46" fmla="*/ 36 w 72"/>
                <a:gd name="T47" fmla="*/ 72 h 116"/>
                <a:gd name="T48" fmla="*/ 20 w 72"/>
                <a:gd name="T49" fmla="*/ 65 h 116"/>
                <a:gd name="T50" fmla="*/ 14 w 72"/>
                <a:gd name="T51" fmla="*/ 41 h 116"/>
                <a:gd name="T52" fmla="*/ 20 w 72"/>
                <a:gd name="T53" fmla="*/ 19 h 116"/>
                <a:gd name="T54" fmla="*/ 36 w 72"/>
                <a:gd name="T55" fmla="*/ 12 h 116"/>
                <a:gd name="T56" fmla="*/ 52 w 72"/>
                <a:gd name="T57" fmla="*/ 19 h 116"/>
                <a:gd name="T58" fmla="*/ 59 w 72"/>
                <a:gd name="T59" fmla="*/ 42 h 116"/>
                <a:gd name="T60" fmla="*/ 52 w 72"/>
                <a:gd name="T61" fmla="*/ 65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72" h="116">
                  <a:moveTo>
                    <a:pt x="59" y="2"/>
                  </a:moveTo>
                  <a:cubicBezTo>
                    <a:pt x="59" y="12"/>
                    <a:pt x="59" y="12"/>
                    <a:pt x="59" y="12"/>
                  </a:cubicBezTo>
                  <a:cubicBezTo>
                    <a:pt x="53" y="4"/>
                    <a:pt x="45" y="0"/>
                    <a:pt x="35" y="0"/>
                  </a:cubicBezTo>
                  <a:cubicBezTo>
                    <a:pt x="28" y="0"/>
                    <a:pt x="22" y="2"/>
                    <a:pt x="16" y="6"/>
                  </a:cubicBezTo>
                  <a:cubicBezTo>
                    <a:pt x="11" y="9"/>
                    <a:pt x="7" y="14"/>
                    <a:pt x="4" y="21"/>
                  </a:cubicBezTo>
                  <a:cubicBezTo>
                    <a:pt x="1" y="27"/>
                    <a:pt x="0" y="34"/>
                    <a:pt x="0" y="42"/>
                  </a:cubicBezTo>
                  <a:cubicBezTo>
                    <a:pt x="0" y="53"/>
                    <a:pt x="3" y="63"/>
                    <a:pt x="9" y="71"/>
                  </a:cubicBezTo>
                  <a:cubicBezTo>
                    <a:pt x="15" y="79"/>
                    <a:pt x="24" y="83"/>
                    <a:pt x="35" y="83"/>
                  </a:cubicBezTo>
                  <a:cubicBezTo>
                    <a:pt x="44" y="83"/>
                    <a:pt x="51" y="80"/>
                    <a:pt x="58" y="73"/>
                  </a:cubicBezTo>
                  <a:cubicBezTo>
                    <a:pt x="58" y="82"/>
                    <a:pt x="57" y="88"/>
                    <a:pt x="57" y="90"/>
                  </a:cubicBezTo>
                  <a:cubicBezTo>
                    <a:pt x="55" y="95"/>
                    <a:pt x="53" y="99"/>
                    <a:pt x="49" y="101"/>
                  </a:cubicBezTo>
                  <a:cubicBezTo>
                    <a:pt x="46" y="104"/>
                    <a:pt x="41" y="105"/>
                    <a:pt x="35" y="105"/>
                  </a:cubicBezTo>
                  <a:cubicBezTo>
                    <a:pt x="29" y="105"/>
                    <a:pt x="24" y="104"/>
                    <a:pt x="21" y="101"/>
                  </a:cubicBezTo>
                  <a:cubicBezTo>
                    <a:pt x="18" y="99"/>
                    <a:pt x="17" y="96"/>
                    <a:pt x="16" y="92"/>
                  </a:cubicBezTo>
                  <a:cubicBezTo>
                    <a:pt x="3" y="90"/>
                    <a:pt x="3" y="90"/>
                    <a:pt x="3" y="90"/>
                  </a:cubicBezTo>
                  <a:cubicBezTo>
                    <a:pt x="2" y="99"/>
                    <a:pt x="5" y="105"/>
                    <a:pt x="11" y="110"/>
                  </a:cubicBezTo>
                  <a:cubicBezTo>
                    <a:pt x="17" y="114"/>
                    <a:pt x="25" y="116"/>
                    <a:pt x="35" y="116"/>
                  </a:cubicBezTo>
                  <a:cubicBezTo>
                    <a:pt x="43" y="116"/>
                    <a:pt x="50" y="115"/>
                    <a:pt x="55" y="112"/>
                  </a:cubicBezTo>
                  <a:cubicBezTo>
                    <a:pt x="61" y="109"/>
                    <a:pt x="65" y="104"/>
                    <a:pt x="68" y="99"/>
                  </a:cubicBezTo>
                  <a:cubicBezTo>
                    <a:pt x="70" y="94"/>
                    <a:pt x="72" y="85"/>
                    <a:pt x="72" y="72"/>
                  </a:cubicBezTo>
                  <a:cubicBezTo>
                    <a:pt x="72" y="2"/>
                    <a:pt x="72" y="2"/>
                    <a:pt x="72" y="2"/>
                  </a:cubicBezTo>
                  <a:lnTo>
                    <a:pt x="59" y="2"/>
                  </a:lnTo>
                  <a:close/>
                  <a:moveTo>
                    <a:pt x="52" y="65"/>
                  </a:moveTo>
                  <a:cubicBezTo>
                    <a:pt x="48" y="69"/>
                    <a:pt x="43" y="72"/>
                    <a:pt x="36" y="72"/>
                  </a:cubicBezTo>
                  <a:cubicBezTo>
                    <a:pt x="30" y="72"/>
                    <a:pt x="25" y="69"/>
                    <a:pt x="20" y="65"/>
                  </a:cubicBezTo>
                  <a:cubicBezTo>
                    <a:pt x="16" y="60"/>
                    <a:pt x="14" y="52"/>
                    <a:pt x="14" y="41"/>
                  </a:cubicBezTo>
                  <a:cubicBezTo>
                    <a:pt x="14" y="31"/>
                    <a:pt x="16" y="24"/>
                    <a:pt x="20" y="19"/>
                  </a:cubicBezTo>
                  <a:cubicBezTo>
                    <a:pt x="25" y="14"/>
                    <a:pt x="30" y="12"/>
                    <a:pt x="36" y="12"/>
                  </a:cubicBezTo>
                  <a:cubicBezTo>
                    <a:pt x="42" y="12"/>
                    <a:pt x="48" y="14"/>
                    <a:pt x="52" y="19"/>
                  </a:cubicBezTo>
                  <a:cubicBezTo>
                    <a:pt x="56" y="24"/>
                    <a:pt x="59" y="32"/>
                    <a:pt x="59" y="42"/>
                  </a:cubicBezTo>
                  <a:cubicBezTo>
                    <a:pt x="59" y="52"/>
                    <a:pt x="57" y="60"/>
                    <a:pt x="52" y="6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232" name="î$1ïḍè"/>
            <p:cNvSpPr/>
            <p:nvPr/>
          </p:nvSpPr>
          <p:spPr bwMode="auto">
            <a:xfrm>
              <a:off x="5231066" y="5675903"/>
              <a:ext cx="161925" cy="211138"/>
            </a:xfrm>
            <a:custGeom>
              <a:avLst/>
              <a:gdLst>
                <a:gd name="T0" fmla="*/ 73 w 88"/>
                <a:gd name="T1" fmla="*/ 65 h 114"/>
                <a:gd name="T2" fmla="*/ 66 w 88"/>
                <a:gd name="T3" fmla="*/ 93 h 114"/>
                <a:gd name="T4" fmla="*/ 43 w 88"/>
                <a:gd name="T5" fmla="*/ 101 h 114"/>
                <a:gd name="T6" fmla="*/ 27 w 88"/>
                <a:gd name="T7" fmla="*/ 97 h 114"/>
                <a:gd name="T8" fmla="*/ 17 w 88"/>
                <a:gd name="T9" fmla="*/ 86 h 114"/>
                <a:gd name="T10" fmla="*/ 15 w 88"/>
                <a:gd name="T11" fmla="*/ 65 h 114"/>
                <a:gd name="T12" fmla="*/ 15 w 88"/>
                <a:gd name="T13" fmla="*/ 0 h 114"/>
                <a:gd name="T14" fmla="*/ 0 w 88"/>
                <a:gd name="T15" fmla="*/ 0 h 114"/>
                <a:gd name="T16" fmla="*/ 0 w 88"/>
                <a:gd name="T17" fmla="*/ 65 h 114"/>
                <a:gd name="T18" fmla="*/ 4 w 88"/>
                <a:gd name="T19" fmla="*/ 93 h 114"/>
                <a:gd name="T20" fmla="*/ 18 w 88"/>
                <a:gd name="T21" fmla="*/ 109 h 114"/>
                <a:gd name="T22" fmla="*/ 44 w 88"/>
                <a:gd name="T23" fmla="*/ 114 h 114"/>
                <a:gd name="T24" fmla="*/ 70 w 88"/>
                <a:gd name="T25" fmla="*/ 108 h 114"/>
                <a:gd name="T26" fmla="*/ 84 w 88"/>
                <a:gd name="T27" fmla="*/ 92 h 114"/>
                <a:gd name="T28" fmla="*/ 88 w 88"/>
                <a:gd name="T29" fmla="*/ 65 h 114"/>
                <a:gd name="T30" fmla="*/ 88 w 88"/>
                <a:gd name="T31" fmla="*/ 0 h 114"/>
                <a:gd name="T32" fmla="*/ 73 w 88"/>
                <a:gd name="T33" fmla="*/ 0 h 114"/>
                <a:gd name="T34" fmla="*/ 73 w 88"/>
                <a:gd name="T35" fmla="*/ 65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88" h="114">
                  <a:moveTo>
                    <a:pt x="73" y="65"/>
                  </a:moveTo>
                  <a:cubicBezTo>
                    <a:pt x="73" y="79"/>
                    <a:pt x="71" y="88"/>
                    <a:pt x="66" y="93"/>
                  </a:cubicBezTo>
                  <a:cubicBezTo>
                    <a:pt x="62" y="98"/>
                    <a:pt x="54" y="101"/>
                    <a:pt x="43" y="101"/>
                  </a:cubicBezTo>
                  <a:cubicBezTo>
                    <a:pt x="37" y="101"/>
                    <a:pt x="31" y="100"/>
                    <a:pt x="27" y="97"/>
                  </a:cubicBezTo>
                  <a:cubicBezTo>
                    <a:pt x="22" y="95"/>
                    <a:pt x="19" y="91"/>
                    <a:pt x="17" y="86"/>
                  </a:cubicBezTo>
                  <a:cubicBezTo>
                    <a:pt x="16" y="82"/>
                    <a:pt x="15" y="75"/>
                    <a:pt x="15" y="65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65"/>
                    <a:pt x="0" y="65"/>
                    <a:pt x="0" y="65"/>
                  </a:cubicBezTo>
                  <a:cubicBezTo>
                    <a:pt x="0" y="77"/>
                    <a:pt x="1" y="86"/>
                    <a:pt x="4" y="93"/>
                  </a:cubicBezTo>
                  <a:cubicBezTo>
                    <a:pt x="7" y="100"/>
                    <a:pt x="12" y="105"/>
                    <a:pt x="18" y="109"/>
                  </a:cubicBezTo>
                  <a:cubicBezTo>
                    <a:pt x="25" y="112"/>
                    <a:pt x="34" y="114"/>
                    <a:pt x="44" y="114"/>
                  </a:cubicBezTo>
                  <a:cubicBezTo>
                    <a:pt x="55" y="114"/>
                    <a:pt x="64" y="112"/>
                    <a:pt x="70" y="108"/>
                  </a:cubicBezTo>
                  <a:cubicBezTo>
                    <a:pt x="77" y="104"/>
                    <a:pt x="82" y="98"/>
                    <a:pt x="84" y="92"/>
                  </a:cubicBezTo>
                  <a:cubicBezTo>
                    <a:pt x="87" y="85"/>
                    <a:pt x="88" y="76"/>
                    <a:pt x="88" y="65"/>
                  </a:cubicBezTo>
                  <a:cubicBezTo>
                    <a:pt x="88" y="0"/>
                    <a:pt x="88" y="0"/>
                    <a:pt x="88" y="0"/>
                  </a:cubicBezTo>
                  <a:cubicBezTo>
                    <a:pt x="73" y="0"/>
                    <a:pt x="73" y="0"/>
                    <a:pt x="73" y="0"/>
                  </a:cubicBezTo>
                  <a:lnTo>
                    <a:pt x="73" y="6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233" name="ïṡļîḑê"/>
            <p:cNvSpPr/>
            <p:nvPr/>
          </p:nvSpPr>
          <p:spPr bwMode="auto">
            <a:xfrm>
              <a:off x="5435853" y="5729878"/>
              <a:ext cx="120650" cy="152400"/>
            </a:xfrm>
            <a:custGeom>
              <a:avLst/>
              <a:gdLst>
                <a:gd name="T0" fmla="*/ 61 w 66"/>
                <a:gd name="T1" fmla="*/ 10 h 83"/>
                <a:gd name="T2" fmla="*/ 52 w 66"/>
                <a:gd name="T3" fmla="*/ 3 h 83"/>
                <a:gd name="T4" fmla="*/ 38 w 66"/>
                <a:gd name="T5" fmla="*/ 0 h 83"/>
                <a:gd name="T6" fmla="*/ 12 w 66"/>
                <a:gd name="T7" fmla="*/ 14 h 83"/>
                <a:gd name="T8" fmla="*/ 12 w 66"/>
                <a:gd name="T9" fmla="*/ 2 h 83"/>
                <a:gd name="T10" fmla="*/ 0 w 66"/>
                <a:gd name="T11" fmla="*/ 2 h 83"/>
                <a:gd name="T12" fmla="*/ 0 w 66"/>
                <a:gd name="T13" fmla="*/ 83 h 83"/>
                <a:gd name="T14" fmla="*/ 14 w 66"/>
                <a:gd name="T15" fmla="*/ 83 h 83"/>
                <a:gd name="T16" fmla="*/ 14 w 66"/>
                <a:gd name="T17" fmla="*/ 39 h 83"/>
                <a:gd name="T18" fmla="*/ 20 w 66"/>
                <a:gd name="T19" fmla="*/ 18 h 83"/>
                <a:gd name="T20" fmla="*/ 35 w 66"/>
                <a:gd name="T21" fmla="*/ 12 h 83"/>
                <a:gd name="T22" fmla="*/ 45 w 66"/>
                <a:gd name="T23" fmla="*/ 15 h 83"/>
                <a:gd name="T24" fmla="*/ 51 w 66"/>
                <a:gd name="T25" fmla="*/ 21 h 83"/>
                <a:gd name="T26" fmla="*/ 52 w 66"/>
                <a:gd name="T27" fmla="*/ 34 h 83"/>
                <a:gd name="T28" fmla="*/ 52 w 66"/>
                <a:gd name="T29" fmla="*/ 83 h 83"/>
                <a:gd name="T30" fmla="*/ 66 w 66"/>
                <a:gd name="T31" fmla="*/ 83 h 83"/>
                <a:gd name="T32" fmla="*/ 66 w 66"/>
                <a:gd name="T33" fmla="*/ 33 h 83"/>
                <a:gd name="T34" fmla="*/ 65 w 66"/>
                <a:gd name="T35" fmla="*/ 20 h 83"/>
                <a:gd name="T36" fmla="*/ 61 w 66"/>
                <a:gd name="T37" fmla="*/ 10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6" h="83">
                  <a:moveTo>
                    <a:pt x="61" y="10"/>
                  </a:moveTo>
                  <a:cubicBezTo>
                    <a:pt x="59" y="7"/>
                    <a:pt x="56" y="5"/>
                    <a:pt x="52" y="3"/>
                  </a:cubicBezTo>
                  <a:cubicBezTo>
                    <a:pt x="48" y="1"/>
                    <a:pt x="43" y="0"/>
                    <a:pt x="38" y="0"/>
                  </a:cubicBezTo>
                  <a:cubicBezTo>
                    <a:pt x="27" y="0"/>
                    <a:pt x="18" y="5"/>
                    <a:pt x="12" y="14"/>
                  </a:cubicBezTo>
                  <a:cubicBezTo>
                    <a:pt x="12" y="2"/>
                    <a:pt x="12" y="2"/>
                    <a:pt x="12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83"/>
                    <a:pt x="0" y="83"/>
                    <a:pt x="0" y="83"/>
                  </a:cubicBezTo>
                  <a:cubicBezTo>
                    <a:pt x="14" y="83"/>
                    <a:pt x="14" y="83"/>
                    <a:pt x="14" y="83"/>
                  </a:cubicBezTo>
                  <a:cubicBezTo>
                    <a:pt x="14" y="39"/>
                    <a:pt x="14" y="39"/>
                    <a:pt x="14" y="39"/>
                  </a:cubicBezTo>
                  <a:cubicBezTo>
                    <a:pt x="14" y="29"/>
                    <a:pt x="16" y="21"/>
                    <a:pt x="20" y="18"/>
                  </a:cubicBezTo>
                  <a:cubicBezTo>
                    <a:pt x="25" y="14"/>
                    <a:pt x="30" y="12"/>
                    <a:pt x="35" y="12"/>
                  </a:cubicBezTo>
                  <a:cubicBezTo>
                    <a:pt x="39" y="12"/>
                    <a:pt x="42" y="13"/>
                    <a:pt x="45" y="15"/>
                  </a:cubicBezTo>
                  <a:cubicBezTo>
                    <a:pt x="48" y="16"/>
                    <a:pt x="50" y="19"/>
                    <a:pt x="51" y="21"/>
                  </a:cubicBezTo>
                  <a:cubicBezTo>
                    <a:pt x="52" y="24"/>
                    <a:pt x="52" y="28"/>
                    <a:pt x="52" y="34"/>
                  </a:cubicBezTo>
                  <a:cubicBezTo>
                    <a:pt x="52" y="83"/>
                    <a:pt x="52" y="83"/>
                    <a:pt x="52" y="83"/>
                  </a:cubicBezTo>
                  <a:cubicBezTo>
                    <a:pt x="66" y="83"/>
                    <a:pt x="66" y="83"/>
                    <a:pt x="66" y="83"/>
                  </a:cubicBezTo>
                  <a:cubicBezTo>
                    <a:pt x="66" y="33"/>
                    <a:pt x="66" y="33"/>
                    <a:pt x="66" y="33"/>
                  </a:cubicBezTo>
                  <a:cubicBezTo>
                    <a:pt x="66" y="27"/>
                    <a:pt x="66" y="23"/>
                    <a:pt x="65" y="20"/>
                  </a:cubicBezTo>
                  <a:cubicBezTo>
                    <a:pt x="65" y="16"/>
                    <a:pt x="63" y="13"/>
                    <a:pt x="61" y="1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 sz="1350"/>
            </a:p>
          </p:txBody>
        </p:sp>
      </p:grpSp>
      <p:sp>
        <p:nvSpPr>
          <p:cNvPr id="118" name="文本框 117"/>
          <p:cNvSpPr txBox="1"/>
          <p:nvPr userDrawn="1"/>
        </p:nvSpPr>
        <p:spPr>
          <a:xfrm>
            <a:off x="4107180" y="6441440"/>
            <a:ext cx="929640" cy="2527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zh-CN" altLang="en-US" sz="1050" spc="300" dirty="0">
                <a:gradFill>
                  <a:gsLst>
                    <a:gs pos="0">
                      <a:srgbClr val="A22B17">
                        <a:lumMod val="90000"/>
                        <a:lumOff val="10000"/>
                      </a:srgbClr>
                    </a:gs>
                    <a:gs pos="100000">
                      <a:srgbClr val="A22B17">
                        <a:alpha val="92000"/>
                        <a:lumMod val="75000"/>
                        <a:lumOff val="25000"/>
                      </a:srgbClr>
                    </a:gs>
                  </a:gsLst>
                  <a:lin ang="0" scaled="1"/>
                </a:gradFill>
                <a:latin typeface="优设标题黑" panose="00000500000000000000" pitchFamily="2" charset="-122"/>
                <a:ea typeface="优设标题黑" panose="00000500000000000000" pitchFamily="2" charset="-122"/>
              </a:rPr>
              <a:t>求实鼎新</a:t>
            </a:r>
            <a:endParaRPr lang="zh-CN" altLang="en-US" sz="1050" spc="300" dirty="0">
              <a:gradFill>
                <a:gsLst>
                  <a:gs pos="0">
                    <a:srgbClr val="A22B17">
                      <a:lumMod val="90000"/>
                      <a:lumOff val="10000"/>
                    </a:srgbClr>
                  </a:gs>
                  <a:gs pos="100000">
                    <a:srgbClr val="A22B17">
                      <a:alpha val="92000"/>
                      <a:lumMod val="75000"/>
                      <a:lumOff val="25000"/>
                    </a:srgbClr>
                  </a:gs>
                </a:gsLst>
                <a:lin ang="0" scaled="1"/>
              </a:gradFill>
              <a:latin typeface="优设标题黑" panose="00000500000000000000" pitchFamily="2" charset="-122"/>
              <a:ea typeface="优设标题黑" panose="00000500000000000000" pitchFamily="2" charset="-122"/>
            </a:endParaRPr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A-图片 14"/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0" y="1526"/>
            <a:ext cx="9144000" cy="3425951"/>
          </a:xfrm>
          <a:custGeom>
            <a:avLst/>
            <a:gdLst>
              <a:gd name="connsiteX0" fmla="*/ 0 w 12192000"/>
              <a:gd name="connsiteY0" fmla="*/ 0 h 3429001"/>
              <a:gd name="connsiteX1" fmla="*/ 12192000 w 12192000"/>
              <a:gd name="connsiteY1" fmla="*/ 0 h 3429001"/>
              <a:gd name="connsiteX2" fmla="*/ 12192000 w 12192000"/>
              <a:gd name="connsiteY2" fmla="*/ 2925589 h 3429001"/>
              <a:gd name="connsiteX3" fmla="*/ 12119571 w 12192000"/>
              <a:gd name="connsiteY3" fmla="*/ 2939984 h 3429001"/>
              <a:gd name="connsiteX4" fmla="*/ 6096001 w 12192000"/>
              <a:gd name="connsiteY4" fmla="*/ 3429001 h 3429001"/>
              <a:gd name="connsiteX5" fmla="*/ 72430 w 12192000"/>
              <a:gd name="connsiteY5" fmla="*/ 2939984 h 3429001"/>
              <a:gd name="connsiteX6" fmla="*/ 0 w 12192000"/>
              <a:gd name="connsiteY6" fmla="*/ 2925589 h 3429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3429001">
                <a:moveTo>
                  <a:pt x="0" y="0"/>
                </a:moveTo>
                <a:lnTo>
                  <a:pt x="12192000" y="0"/>
                </a:lnTo>
                <a:lnTo>
                  <a:pt x="12192000" y="2925589"/>
                </a:lnTo>
                <a:lnTo>
                  <a:pt x="12119571" y="2939984"/>
                </a:lnTo>
                <a:cubicBezTo>
                  <a:pt x="10400109" y="3248724"/>
                  <a:pt x="8327268" y="3429001"/>
                  <a:pt x="6096001" y="3429001"/>
                </a:cubicBezTo>
                <a:cubicBezTo>
                  <a:pt x="3864735" y="3429001"/>
                  <a:pt x="1791894" y="3248724"/>
                  <a:pt x="72430" y="2939984"/>
                </a:cubicBezTo>
                <a:lnTo>
                  <a:pt x="0" y="2925589"/>
                </a:lnTo>
                <a:close/>
              </a:path>
            </a:pathLst>
          </a:custGeom>
        </p:spPr>
      </p:pic>
      <p:sp>
        <p:nvSpPr>
          <p:cNvPr id="5" name="PA-椭圆 7"/>
          <p:cNvSpPr/>
          <p:nvPr userDrawn="1">
            <p:custDataLst>
              <p:tags r:id="rId4"/>
            </p:custDataLst>
          </p:nvPr>
        </p:nvSpPr>
        <p:spPr>
          <a:xfrm>
            <a:off x="-3508130" y="-2297723"/>
            <a:ext cx="16160261" cy="5726723"/>
          </a:xfrm>
          <a:prstGeom prst="ellipse">
            <a:avLst/>
          </a:prstGeom>
          <a:gradFill flip="none" rotWithShape="1">
            <a:gsLst>
              <a:gs pos="0">
                <a:srgbClr val="A22B17">
                  <a:lumMod val="94000"/>
                  <a:lumOff val="6000"/>
                </a:srgbClr>
              </a:gs>
              <a:gs pos="100000">
                <a:srgbClr val="A22B17">
                  <a:alpha val="72000"/>
                  <a:lumMod val="85000"/>
                  <a:lumOff val="15000"/>
                </a:srgb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zh-CN" altLang="en-US" sz="1350" dirty="0"/>
          </a:p>
        </p:txBody>
      </p:sp>
      <p:grpSp>
        <p:nvGrpSpPr>
          <p:cNvPr id="119" name="组合 118"/>
          <p:cNvGrpSpPr/>
          <p:nvPr userDrawn="1"/>
        </p:nvGrpSpPr>
        <p:grpSpPr>
          <a:xfrm>
            <a:off x="4331279" y="636936"/>
            <a:ext cx="481443" cy="642498"/>
            <a:chOff x="5775038" y="636936"/>
            <a:chExt cx="641924" cy="642498"/>
          </a:xfrm>
        </p:grpSpPr>
        <p:grpSp>
          <p:nvGrpSpPr>
            <p:cNvPr id="120" name="组合 119"/>
            <p:cNvGrpSpPr/>
            <p:nvPr/>
          </p:nvGrpSpPr>
          <p:grpSpPr>
            <a:xfrm>
              <a:off x="5775038" y="636936"/>
              <a:ext cx="641924" cy="642498"/>
              <a:chOff x="1560409" y="2069897"/>
              <a:chExt cx="1776413" cy="1778000"/>
            </a:xfrm>
          </p:grpSpPr>
          <p:sp>
            <p:nvSpPr>
              <p:cNvPr id="179" name="îS1îḋé"/>
              <p:cNvSpPr/>
              <p:nvPr/>
            </p:nvSpPr>
            <p:spPr bwMode="auto">
              <a:xfrm>
                <a:off x="1560409" y="2069897"/>
                <a:ext cx="1776413" cy="1778000"/>
              </a:xfrm>
              <a:prstGeom prst="ellipse">
                <a:avLst/>
              </a:prstGeom>
              <a:noFill/>
              <a:ln w="15875" cap="flat">
                <a:solidFill>
                  <a:srgbClr val="F2C68E"/>
                </a:solidFill>
                <a:prstDash val="solid"/>
                <a:miter lim="800000"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180" name="îṣḷïďé"/>
              <p:cNvSpPr/>
              <p:nvPr/>
            </p:nvSpPr>
            <p:spPr bwMode="auto">
              <a:xfrm>
                <a:off x="1779484" y="2288972"/>
                <a:ext cx="1336675" cy="1338263"/>
              </a:xfrm>
              <a:prstGeom prst="ellipse">
                <a:avLst/>
              </a:prstGeom>
              <a:noFill/>
              <a:ln w="9525" cap="flat">
                <a:solidFill>
                  <a:srgbClr val="F2C68E"/>
                </a:solidFill>
                <a:prstDash val="solid"/>
                <a:miter lim="800000"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</p:grpSp>
        <p:grpSp>
          <p:nvGrpSpPr>
            <p:cNvPr id="121" name="组合 120"/>
            <p:cNvGrpSpPr/>
            <p:nvPr/>
          </p:nvGrpSpPr>
          <p:grpSpPr>
            <a:xfrm>
              <a:off x="5804581" y="657875"/>
              <a:ext cx="582837" cy="600621"/>
              <a:chOff x="1641372" y="4491628"/>
              <a:chExt cx="1612900" cy="1662113"/>
            </a:xfrm>
            <a:solidFill>
              <a:srgbClr val="F2C68E"/>
            </a:solidFill>
          </p:grpSpPr>
          <p:sp>
            <p:nvSpPr>
              <p:cNvPr id="122" name="ïś1íďê"/>
              <p:cNvSpPr/>
              <p:nvPr/>
            </p:nvSpPr>
            <p:spPr bwMode="auto">
              <a:xfrm>
                <a:off x="2889147" y="4701178"/>
                <a:ext cx="153988" cy="138113"/>
              </a:xfrm>
              <a:custGeom>
                <a:avLst/>
                <a:gdLst>
                  <a:gd name="T0" fmla="*/ 62 w 83"/>
                  <a:gd name="T1" fmla="*/ 8 h 75"/>
                  <a:gd name="T2" fmla="*/ 53 w 83"/>
                  <a:gd name="T3" fmla="*/ 10 h 75"/>
                  <a:gd name="T4" fmla="*/ 57 w 83"/>
                  <a:gd name="T5" fmla="*/ 0 h 75"/>
                  <a:gd name="T6" fmla="*/ 44 w 83"/>
                  <a:gd name="T7" fmla="*/ 21 h 75"/>
                  <a:gd name="T8" fmla="*/ 58 w 83"/>
                  <a:gd name="T9" fmla="*/ 11 h 75"/>
                  <a:gd name="T10" fmla="*/ 54 w 83"/>
                  <a:gd name="T11" fmla="*/ 18 h 75"/>
                  <a:gd name="T12" fmla="*/ 28 w 83"/>
                  <a:gd name="T13" fmla="*/ 18 h 75"/>
                  <a:gd name="T14" fmla="*/ 19 w 83"/>
                  <a:gd name="T15" fmla="*/ 17 h 75"/>
                  <a:gd name="T16" fmla="*/ 25 w 83"/>
                  <a:gd name="T17" fmla="*/ 12 h 75"/>
                  <a:gd name="T18" fmla="*/ 1 w 83"/>
                  <a:gd name="T19" fmla="*/ 30 h 75"/>
                  <a:gd name="T20" fmla="*/ 13 w 83"/>
                  <a:gd name="T21" fmla="*/ 24 h 75"/>
                  <a:gd name="T22" fmla="*/ 36 w 83"/>
                  <a:gd name="T23" fmla="*/ 28 h 75"/>
                  <a:gd name="T24" fmla="*/ 22 w 83"/>
                  <a:gd name="T25" fmla="*/ 35 h 75"/>
                  <a:gd name="T26" fmla="*/ 45 w 83"/>
                  <a:gd name="T27" fmla="*/ 41 h 75"/>
                  <a:gd name="T28" fmla="*/ 42 w 83"/>
                  <a:gd name="T29" fmla="*/ 41 h 75"/>
                  <a:gd name="T30" fmla="*/ 35 w 83"/>
                  <a:gd name="T31" fmla="*/ 40 h 75"/>
                  <a:gd name="T32" fmla="*/ 37 w 83"/>
                  <a:gd name="T33" fmla="*/ 45 h 75"/>
                  <a:gd name="T34" fmla="*/ 12 w 83"/>
                  <a:gd name="T35" fmla="*/ 34 h 75"/>
                  <a:gd name="T36" fmla="*/ 9 w 83"/>
                  <a:gd name="T37" fmla="*/ 35 h 75"/>
                  <a:gd name="T38" fmla="*/ 20 w 83"/>
                  <a:gd name="T39" fmla="*/ 64 h 75"/>
                  <a:gd name="T40" fmla="*/ 0 w 83"/>
                  <a:gd name="T41" fmla="*/ 57 h 75"/>
                  <a:gd name="T42" fmla="*/ 35 w 83"/>
                  <a:gd name="T43" fmla="*/ 58 h 75"/>
                  <a:gd name="T44" fmla="*/ 46 w 83"/>
                  <a:gd name="T45" fmla="*/ 57 h 75"/>
                  <a:gd name="T46" fmla="*/ 42 w 83"/>
                  <a:gd name="T47" fmla="*/ 48 h 75"/>
                  <a:gd name="T48" fmla="*/ 62 w 83"/>
                  <a:gd name="T49" fmla="*/ 57 h 75"/>
                  <a:gd name="T50" fmla="*/ 61 w 83"/>
                  <a:gd name="T51" fmla="*/ 35 h 75"/>
                  <a:gd name="T52" fmla="*/ 62 w 83"/>
                  <a:gd name="T53" fmla="*/ 34 h 75"/>
                  <a:gd name="T54" fmla="*/ 66 w 83"/>
                  <a:gd name="T55" fmla="*/ 16 h 75"/>
                  <a:gd name="T56" fmla="*/ 63 w 83"/>
                  <a:gd name="T57" fmla="*/ 44 h 75"/>
                  <a:gd name="T58" fmla="*/ 54 w 83"/>
                  <a:gd name="T59" fmla="*/ 32 h 75"/>
                  <a:gd name="T60" fmla="*/ 60 w 83"/>
                  <a:gd name="T61" fmla="*/ 27 h 75"/>
                  <a:gd name="T62" fmla="*/ 67 w 83"/>
                  <a:gd name="T63" fmla="*/ 18 h 75"/>
                  <a:gd name="T64" fmla="*/ 77 w 83"/>
                  <a:gd name="T65" fmla="*/ 23 h 75"/>
                  <a:gd name="T66" fmla="*/ 60 w 83"/>
                  <a:gd name="T67" fmla="*/ 27 h 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83" h="75">
                    <a:moveTo>
                      <a:pt x="66" y="16"/>
                    </a:moveTo>
                    <a:cubicBezTo>
                      <a:pt x="65" y="13"/>
                      <a:pt x="63" y="11"/>
                      <a:pt x="62" y="8"/>
                    </a:cubicBezTo>
                    <a:cubicBezTo>
                      <a:pt x="59" y="9"/>
                      <a:pt x="57" y="9"/>
                      <a:pt x="54" y="10"/>
                    </a:cubicBezTo>
                    <a:cubicBezTo>
                      <a:pt x="54" y="10"/>
                      <a:pt x="53" y="10"/>
                      <a:pt x="53" y="10"/>
                    </a:cubicBezTo>
                    <a:cubicBezTo>
                      <a:pt x="54" y="7"/>
                      <a:pt x="57" y="6"/>
                      <a:pt x="59" y="3"/>
                    </a:cubicBezTo>
                    <a:cubicBezTo>
                      <a:pt x="58" y="2"/>
                      <a:pt x="58" y="1"/>
                      <a:pt x="57" y="0"/>
                    </a:cubicBezTo>
                    <a:cubicBezTo>
                      <a:pt x="48" y="1"/>
                      <a:pt x="37" y="9"/>
                      <a:pt x="42" y="19"/>
                    </a:cubicBezTo>
                    <a:cubicBezTo>
                      <a:pt x="42" y="19"/>
                      <a:pt x="43" y="20"/>
                      <a:pt x="44" y="21"/>
                    </a:cubicBezTo>
                    <a:cubicBezTo>
                      <a:pt x="47" y="19"/>
                      <a:pt x="48" y="15"/>
                      <a:pt x="51" y="14"/>
                    </a:cubicBezTo>
                    <a:cubicBezTo>
                      <a:pt x="53" y="13"/>
                      <a:pt x="55" y="13"/>
                      <a:pt x="58" y="11"/>
                    </a:cubicBezTo>
                    <a:cubicBezTo>
                      <a:pt x="58" y="11"/>
                      <a:pt x="59" y="11"/>
                      <a:pt x="59" y="11"/>
                    </a:cubicBezTo>
                    <a:cubicBezTo>
                      <a:pt x="57" y="14"/>
                      <a:pt x="56" y="16"/>
                      <a:pt x="54" y="18"/>
                    </a:cubicBezTo>
                    <a:cubicBezTo>
                      <a:pt x="54" y="21"/>
                      <a:pt x="55" y="24"/>
                      <a:pt x="54" y="27"/>
                    </a:cubicBezTo>
                    <a:cubicBezTo>
                      <a:pt x="54" y="27"/>
                      <a:pt x="30" y="18"/>
                      <a:pt x="28" y="18"/>
                    </a:cubicBezTo>
                    <a:cubicBezTo>
                      <a:pt x="25" y="17"/>
                      <a:pt x="22" y="17"/>
                      <a:pt x="20" y="17"/>
                    </a:cubicBezTo>
                    <a:cubicBezTo>
                      <a:pt x="19" y="17"/>
                      <a:pt x="19" y="17"/>
                      <a:pt x="19" y="17"/>
                    </a:cubicBezTo>
                    <a:cubicBezTo>
                      <a:pt x="22" y="15"/>
                      <a:pt x="23" y="15"/>
                      <a:pt x="25" y="13"/>
                    </a:cubicBezTo>
                    <a:cubicBezTo>
                      <a:pt x="25" y="12"/>
                      <a:pt x="25" y="12"/>
                      <a:pt x="25" y="12"/>
                    </a:cubicBezTo>
                    <a:cubicBezTo>
                      <a:pt x="18" y="12"/>
                      <a:pt x="11" y="16"/>
                      <a:pt x="4" y="18"/>
                    </a:cubicBezTo>
                    <a:cubicBezTo>
                      <a:pt x="0" y="22"/>
                      <a:pt x="0" y="25"/>
                      <a:pt x="1" y="30"/>
                    </a:cubicBezTo>
                    <a:cubicBezTo>
                      <a:pt x="3" y="31"/>
                      <a:pt x="3" y="31"/>
                      <a:pt x="3" y="31"/>
                    </a:cubicBezTo>
                    <a:cubicBezTo>
                      <a:pt x="6" y="29"/>
                      <a:pt x="9" y="26"/>
                      <a:pt x="13" y="24"/>
                    </a:cubicBezTo>
                    <a:cubicBezTo>
                      <a:pt x="19" y="20"/>
                      <a:pt x="30" y="22"/>
                      <a:pt x="37" y="27"/>
                    </a:cubicBezTo>
                    <a:cubicBezTo>
                      <a:pt x="37" y="28"/>
                      <a:pt x="36" y="28"/>
                      <a:pt x="36" y="28"/>
                    </a:cubicBezTo>
                    <a:cubicBezTo>
                      <a:pt x="31" y="29"/>
                      <a:pt x="28" y="28"/>
                      <a:pt x="22" y="32"/>
                    </a:cubicBezTo>
                    <a:cubicBezTo>
                      <a:pt x="22" y="33"/>
                      <a:pt x="22" y="34"/>
                      <a:pt x="22" y="35"/>
                    </a:cubicBezTo>
                    <a:cubicBezTo>
                      <a:pt x="22" y="37"/>
                      <a:pt x="22" y="37"/>
                      <a:pt x="24" y="39"/>
                    </a:cubicBezTo>
                    <a:cubicBezTo>
                      <a:pt x="31" y="37"/>
                      <a:pt x="37" y="36"/>
                      <a:pt x="45" y="41"/>
                    </a:cubicBezTo>
                    <a:cubicBezTo>
                      <a:pt x="44" y="41"/>
                      <a:pt x="44" y="41"/>
                      <a:pt x="44" y="41"/>
                    </a:cubicBezTo>
                    <a:cubicBezTo>
                      <a:pt x="43" y="41"/>
                      <a:pt x="42" y="41"/>
                      <a:pt x="42" y="41"/>
                    </a:cubicBezTo>
                    <a:cubicBezTo>
                      <a:pt x="41" y="40"/>
                      <a:pt x="40" y="39"/>
                      <a:pt x="39" y="39"/>
                    </a:cubicBezTo>
                    <a:cubicBezTo>
                      <a:pt x="37" y="41"/>
                      <a:pt x="37" y="41"/>
                      <a:pt x="35" y="40"/>
                    </a:cubicBezTo>
                    <a:cubicBezTo>
                      <a:pt x="35" y="40"/>
                      <a:pt x="34" y="41"/>
                      <a:pt x="34" y="41"/>
                    </a:cubicBezTo>
                    <a:cubicBezTo>
                      <a:pt x="35" y="43"/>
                      <a:pt x="35" y="43"/>
                      <a:pt x="37" y="45"/>
                    </a:cubicBezTo>
                    <a:cubicBezTo>
                      <a:pt x="36" y="46"/>
                      <a:pt x="36" y="47"/>
                      <a:pt x="35" y="48"/>
                    </a:cubicBezTo>
                    <a:cubicBezTo>
                      <a:pt x="27" y="44"/>
                      <a:pt x="20" y="40"/>
                      <a:pt x="12" y="34"/>
                    </a:cubicBezTo>
                    <a:cubicBezTo>
                      <a:pt x="11" y="34"/>
                      <a:pt x="11" y="34"/>
                      <a:pt x="10" y="34"/>
                    </a:cubicBezTo>
                    <a:cubicBezTo>
                      <a:pt x="9" y="34"/>
                      <a:pt x="9" y="35"/>
                      <a:pt x="9" y="35"/>
                    </a:cubicBezTo>
                    <a:cubicBezTo>
                      <a:pt x="11" y="55"/>
                      <a:pt x="20" y="44"/>
                      <a:pt x="31" y="54"/>
                    </a:cubicBezTo>
                    <a:cubicBezTo>
                      <a:pt x="27" y="58"/>
                      <a:pt x="23" y="61"/>
                      <a:pt x="20" y="64"/>
                    </a:cubicBezTo>
                    <a:cubicBezTo>
                      <a:pt x="15" y="63"/>
                      <a:pt x="6" y="55"/>
                      <a:pt x="1" y="56"/>
                    </a:cubicBezTo>
                    <a:cubicBezTo>
                      <a:pt x="1" y="56"/>
                      <a:pt x="1" y="56"/>
                      <a:pt x="0" y="57"/>
                    </a:cubicBezTo>
                    <a:cubicBezTo>
                      <a:pt x="2" y="62"/>
                      <a:pt x="7" y="67"/>
                      <a:pt x="9" y="72"/>
                    </a:cubicBezTo>
                    <a:cubicBezTo>
                      <a:pt x="17" y="75"/>
                      <a:pt x="26" y="66"/>
                      <a:pt x="35" y="58"/>
                    </a:cubicBezTo>
                    <a:cubicBezTo>
                      <a:pt x="37" y="60"/>
                      <a:pt x="39" y="63"/>
                      <a:pt x="42" y="65"/>
                    </a:cubicBezTo>
                    <a:cubicBezTo>
                      <a:pt x="46" y="63"/>
                      <a:pt x="46" y="60"/>
                      <a:pt x="46" y="57"/>
                    </a:cubicBezTo>
                    <a:cubicBezTo>
                      <a:pt x="45" y="54"/>
                      <a:pt x="43" y="53"/>
                      <a:pt x="40" y="50"/>
                    </a:cubicBezTo>
                    <a:cubicBezTo>
                      <a:pt x="41" y="49"/>
                      <a:pt x="42" y="48"/>
                      <a:pt x="42" y="48"/>
                    </a:cubicBezTo>
                    <a:cubicBezTo>
                      <a:pt x="46" y="48"/>
                      <a:pt x="49" y="48"/>
                      <a:pt x="53" y="46"/>
                    </a:cubicBezTo>
                    <a:cubicBezTo>
                      <a:pt x="56" y="49"/>
                      <a:pt x="59" y="53"/>
                      <a:pt x="62" y="57"/>
                    </a:cubicBezTo>
                    <a:cubicBezTo>
                      <a:pt x="65" y="56"/>
                      <a:pt x="68" y="55"/>
                      <a:pt x="70" y="52"/>
                    </a:cubicBezTo>
                    <a:cubicBezTo>
                      <a:pt x="72" y="47"/>
                      <a:pt x="66" y="40"/>
                      <a:pt x="61" y="35"/>
                    </a:cubicBezTo>
                    <a:cubicBezTo>
                      <a:pt x="61" y="35"/>
                      <a:pt x="61" y="35"/>
                      <a:pt x="61" y="35"/>
                    </a:cubicBezTo>
                    <a:cubicBezTo>
                      <a:pt x="62" y="34"/>
                      <a:pt x="62" y="34"/>
                      <a:pt x="62" y="34"/>
                    </a:cubicBezTo>
                    <a:cubicBezTo>
                      <a:pt x="69" y="34"/>
                      <a:pt x="72" y="37"/>
                      <a:pt x="79" y="32"/>
                    </a:cubicBezTo>
                    <a:cubicBezTo>
                      <a:pt x="83" y="17"/>
                      <a:pt x="74" y="21"/>
                      <a:pt x="66" y="16"/>
                    </a:cubicBezTo>
                    <a:close/>
                    <a:moveTo>
                      <a:pt x="63" y="44"/>
                    </a:moveTo>
                    <a:cubicBezTo>
                      <a:pt x="63" y="44"/>
                      <a:pt x="63" y="44"/>
                      <a:pt x="63" y="44"/>
                    </a:cubicBezTo>
                    <a:cubicBezTo>
                      <a:pt x="55" y="42"/>
                      <a:pt x="46" y="34"/>
                      <a:pt x="38" y="32"/>
                    </a:cubicBezTo>
                    <a:cubicBezTo>
                      <a:pt x="43" y="28"/>
                      <a:pt x="48" y="31"/>
                      <a:pt x="54" y="32"/>
                    </a:cubicBezTo>
                    <a:cubicBezTo>
                      <a:pt x="57" y="36"/>
                      <a:pt x="60" y="40"/>
                      <a:pt x="63" y="44"/>
                    </a:cubicBezTo>
                    <a:close/>
                    <a:moveTo>
                      <a:pt x="60" y="27"/>
                    </a:moveTo>
                    <a:cubicBezTo>
                      <a:pt x="60" y="27"/>
                      <a:pt x="60" y="26"/>
                      <a:pt x="59" y="26"/>
                    </a:cubicBezTo>
                    <a:cubicBezTo>
                      <a:pt x="61" y="23"/>
                      <a:pt x="63" y="20"/>
                      <a:pt x="67" y="18"/>
                    </a:cubicBezTo>
                    <a:cubicBezTo>
                      <a:pt x="69" y="19"/>
                      <a:pt x="71" y="19"/>
                      <a:pt x="74" y="20"/>
                    </a:cubicBezTo>
                    <a:cubicBezTo>
                      <a:pt x="75" y="21"/>
                      <a:pt x="76" y="22"/>
                      <a:pt x="77" y="23"/>
                    </a:cubicBezTo>
                    <a:cubicBezTo>
                      <a:pt x="77" y="24"/>
                      <a:pt x="77" y="24"/>
                      <a:pt x="77" y="25"/>
                    </a:cubicBezTo>
                    <a:cubicBezTo>
                      <a:pt x="72" y="29"/>
                      <a:pt x="66" y="27"/>
                      <a:pt x="60" y="2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123" name="ïṩḻîḓé"/>
              <p:cNvSpPr/>
              <p:nvPr/>
            </p:nvSpPr>
            <p:spPr bwMode="auto">
              <a:xfrm>
                <a:off x="2728809" y="4582115"/>
                <a:ext cx="101600" cy="147638"/>
              </a:xfrm>
              <a:custGeom>
                <a:avLst/>
                <a:gdLst>
                  <a:gd name="T0" fmla="*/ 47 w 55"/>
                  <a:gd name="T1" fmla="*/ 0 h 80"/>
                  <a:gd name="T2" fmla="*/ 49 w 55"/>
                  <a:gd name="T3" fmla="*/ 20 h 80"/>
                  <a:gd name="T4" fmla="*/ 51 w 55"/>
                  <a:gd name="T5" fmla="*/ 34 h 80"/>
                  <a:gd name="T6" fmla="*/ 28 w 55"/>
                  <a:gd name="T7" fmla="*/ 38 h 80"/>
                  <a:gd name="T8" fmla="*/ 41 w 55"/>
                  <a:gd name="T9" fmla="*/ 68 h 80"/>
                  <a:gd name="T10" fmla="*/ 25 w 55"/>
                  <a:gd name="T11" fmla="*/ 74 h 80"/>
                  <a:gd name="T12" fmla="*/ 26 w 55"/>
                  <a:gd name="T13" fmla="*/ 39 h 80"/>
                  <a:gd name="T14" fmla="*/ 23 w 55"/>
                  <a:gd name="T15" fmla="*/ 40 h 80"/>
                  <a:gd name="T16" fmla="*/ 7 w 55"/>
                  <a:gd name="T17" fmla="*/ 54 h 80"/>
                  <a:gd name="T18" fmla="*/ 0 w 55"/>
                  <a:gd name="T19" fmla="*/ 43 h 80"/>
                  <a:gd name="T20" fmla="*/ 14 w 55"/>
                  <a:gd name="T21" fmla="*/ 28 h 80"/>
                  <a:gd name="T22" fmla="*/ 6 w 55"/>
                  <a:gd name="T23" fmla="*/ 15 h 80"/>
                  <a:gd name="T24" fmla="*/ 7 w 55"/>
                  <a:gd name="T25" fmla="*/ 15 h 80"/>
                  <a:gd name="T26" fmla="*/ 26 w 55"/>
                  <a:gd name="T27" fmla="*/ 18 h 80"/>
                  <a:gd name="T28" fmla="*/ 47 w 55"/>
                  <a:gd name="T29" fmla="*/ 0 h 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55" h="80">
                    <a:moveTo>
                      <a:pt x="47" y="0"/>
                    </a:moveTo>
                    <a:cubicBezTo>
                      <a:pt x="55" y="7"/>
                      <a:pt x="49" y="11"/>
                      <a:pt x="49" y="20"/>
                    </a:cubicBezTo>
                    <a:cubicBezTo>
                      <a:pt x="49" y="25"/>
                      <a:pt x="55" y="25"/>
                      <a:pt x="51" y="34"/>
                    </a:cubicBezTo>
                    <a:cubicBezTo>
                      <a:pt x="44" y="37"/>
                      <a:pt x="34" y="32"/>
                      <a:pt x="28" y="38"/>
                    </a:cubicBezTo>
                    <a:cubicBezTo>
                      <a:pt x="38" y="44"/>
                      <a:pt x="45" y="59"/>
                      <a:pt x="41" y="68"/>
                    </a:cubicBezTo>
                    <a:cubicBezTo>
                      <a:pt x="39" y="74"/>
                      <a:pt x="28" y="80"/>
                      <a:pt x="25" y="74"/>
                    </a:cubicBezTo>
                    <a:cubicBezTo>
                      <a:pt x="19" y="62"/>
                      <a:pt x="39" y="55"/>
                      <a:pt x="26" y="39"/>
                    </a:cubicBezTo>
                    <a:cubicBezTo>
                      <a:pt x="25" y="39"/>
                      <a:pt x="25" y="39"/>
                      <a:pt x="23" y="40"/>
                    </a:cubicBezTo>
                    <a:cubicBezTo>
                      <a:pt x="17" y="44"/>
                      <a:pt x="14" y="52"/>
                      <a:pt x="7" y="54"/>
                    </a:cubicBezTo>
                    <a:cubicBezTo>
                      <a:pt x="2" y="51"/>
                      <a:pt x="2" y="48"/>
                      <a:pt x="0" y="43"/>
                    </a:cubicBezTo>
                    <a:cubicBezTo>
                      <a:pt x="3" y="39"/>
                      <a:pt x="14" y="30"/>
                      <a:pt x="14" y="28"/>
                    </a:cubicBezTo>
                    <a:cubicBezTo>
                      <a:pt x="14" y="25"/>
                      <a:pt x="7" y="19"/>
                      <a:pt x="6" y="15"/>
                    </a:cubicBezTo>
                    <a:cubicBezTo>
                      <a:pt x="6" y="15"/>
                      <a:pt x="7" y="15"/>
                      <a:pt x="7" y="15"/>
                    </a:cubicBezTo>
                    <a:cubicBezTo>
                      <a:pt x="13" y="15"/>
                      <a:pt x="20" y="18"/>
                      <a:pt x="26" y="18"/>
                    </a:cubicBezTo>
                    <a:cubicBezTo>
                      <a:pt x="34" y="17"/>
                      <a:pt x="41" y="5"/>
                      <a:pt x="47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124" name="išḷïḓe"/>
              <p:cNvSpPr/>
              <p:nvPr/>
            </p:nvSpPr>
            <p:spPr bwMode="auto">
              <a:xfrm>
                <a:off x="2490684" y="4510678"/>
                <a:ext cx="144463" cy="160338"/>
              </a:xfrm>
              <a:custGeom>
                <a:avLst/>
                <a:gdLst>
                  <a:gd name="T0" fmla="*/ 55 w 78"/>
                  <a:gd name="T1" fmla="*/ 64 h 87"/>
                  <a:gd name="T2" fmla="*/ 62 w 78"/>
                  <a:gd name="T3" fmla="*/ 50 h 87"/>
                  <a:gd name="T4" fmla="*/ 54 w 78"/>
                  <a:gd name="T5" fmla="*/ 43 h 87"/>
                  <a:gd name="T6" fmla="*/ 69 w 78"/>
                  <a:gd name="T7" fmla="*/ 29 h 87"/>
                  <a:gd name="T8" fmla="*/ 67 w 78"/>
                  <a:gd name="T9" fmla="*/ 21 h 87"/>
                  <a:gd name="T10" fmla="*/ 70 w 78"/>
                  <a:gd name="T11" fmla="*/ 11 h 87"/>
                  <a:gd name="T12" fmla="*/ 69 w 78"/>
                  <a:gd name="T13" fmla="*/ 3 h 87"/>
                  <a:gd name="T14" fmla="*/ 64 w 78"/>
                  <a:gd name="T15" fmla="*/ 0 h 87"/>
                  <a:gd name="T16" fmla="*/ 63 w 78"/>
                  <a:gd name="T17" fmla="*/ 0 h 87"/>
                  <a:gd name="T18" fmla="*/ 63 w 78"/>
                  <a:gd name="T19" fmla="*/ 12 h 87"/>
                  <a:gd name="T20" fmla="*/ 42 w 78"/>
                  <a:gd name="T21" fmla="*/ 25 h 87"/>
                  <a:gd name="T22" fmla="*/ 42 w 78"/>
                  <a:gd name="T23" fmla="*/ 33 h 87"/>
                  <a:gd name="T24" fmla="*/ 33 w 78"/>
                  <a:gd name="T25" fmla="*/ 36 h 87"/>
                  <a:gd name="T26" fmla="*/ 39 w 78"/>
                  <a:gd name="T27" fmla="*/ 33 h 87"/>
                  <a:gd name="T28" fmla="*/ 39 w 78"/>
                  <a:gd name="T29" fmla="*/ 23 h 87"/>
                  <a:gd name="T30" fmla="*/ 36 w 78"/>
                  <a:gd name="T31" fmla="*/ 0 h 87"/>
                  <a:gd name="T32" fmla="*/ 36 w 78"/>
                  <a:gd name="T33" fmla="*/ 0 h 87"/>
                  <a:gd name="T34" fmla="*/ 36 w 78"/>
                  <a:gd name="T35" fmla="*/ 8 h 87"/>
                  <a:gd name="T36" fmla="*/ 30 w 78"/>
                  <a:gd name="T37" fmla="*/ 24 h 87"/>
                  <a:gd name="T38" fmla="*/ 1 w 78"/>
                  <a:gd name="T39" fmla="*/ 29 h 87"/>
                  <a:gd name="T40" fmla="*/ 0 w 78"/>
                  <a:gd name="T41" fmla="*/ 31 h 87"/>
                  <a:gd name="T42" fmla="*/ 18 w 78"/>
                  <a:gd name="T43" fmla="*/ 39 h 87"/>
                  <a:gd name="T44" fmla="*/ 25 w 78"/>
                  <a:gd name="T45" fmla="*/ 36 h 87"/>
                  <a:gd name="T46" fmla="*/ 25 w 78"/>
                  <a:gd name="T47" fmla="*/ 36 h 87"/>
                  <a:gd name="T48" fmla="*/ 3 w 78"/>
                  <a:gd name="T49" fmla="*/ 62 h 87"/>
                  <a:gd name="T50" fmla="*/ 5 w 78"/>
                  <a:gd name="T51" fmla="*/ 67 h 87"/>
                  <a:gd name="T52" fmla="*/ 12 w 78"/>
                  <a:gd name="T53" fmla="*/ 66 h 87"/>
                  <a:gd name="T54" fmla="*/ 22 w 78"/>
                  <a:gd name="T55" fmla="*/ 74 h 87"/>
                  <a:gd name="T56" fmla="*/ 25 w 78"/>
                  <a:gd name="T57" fmla="*/ 61 h 87"/>
                  <a:gd name="T58" fmla="*/ 30 w 78"/>
                  <a:gd name="T59" fmla="*/ 49 h 87"/>
                  <a:gd name="T60" fmla="*/ 48 w 78"/>
                  <a:gd name="T61" fmla="*/ 63 h 87"/>
                  <a:gd name="T62" fmla="*/ 24 w 78"/>
                  <a:gd name="T63" fmla="*/ 71 h 87"/>
                  <a:gd name="T64" fmla="*/ 48 w 78"/>
                  <a:gd name="T65" fmla="*/ 71 h 87"/>
                  <a:gd name="T66" fmla="*/ 51 w 78"/>
                  <a:gd name="T67" fmla="*/ 69 h 87"/>
                  <a:gd name="T68" fmla="*/ 77 w 78"/>
                  <a:gd name="T69" fmla="*/ 87 h 87"/>
                  <a:gd name="T70" fmla="*/ 78 w 78"/>
                  <a:gd name="T71" fmla="*/ 86 h 87"/>
                  <a:gd name="T72" fmla="*/ 55 w 78"/>
                  <a:gd name="T73" fmla="*/ 64 h 87"/>
                  <a:gd name="T74" fmla="*/ 15 w 78"/>
                  <a:gd name="T75" fmla="*/ 64 h 87"/>
                  <a:gd name="T76" fmla="*/ 15 w 78"/>
                  <a:gd name="T77" fmla="*/ 65 h 87"/>
                  <a:gd name="T78" fmla="*/ 11 w 78"/>
                  <a:gd name="T79" fmla="*/ 63 h 87"/>
                  <a:gd name="T80" fmla="*/ 12 w 78"/>
                  <a:gd name="T81" fmla="*/ 60 h 87"/>
                  <a:gd name="T82" fmla="*/ 15 w 78"/>
                  <a:gd name="T83" fmla="*/ 57 h 87"/>
                  <a:gd name="T84" fmla="*/ 17 w 78"/>
                  <a:gd name="T85" fmla="*/ 58 h 87"/>
                  <a:gd name="T86" fmla="*/ 15 w 78"/>
                  <a:gd name="T87" fmla="*/ 64 h 87"/>
                  <a:gd name="T88" fmla="*/ 32 w 78"/>
                  <a:gd name="T89" fmla="*/ 46 h 87"/>
                  <a:gd name="T90" fmla="*/ 44 w 78"/>
                  <a:gd name="T91" fmla="*/ 34 h 87"/>
                  <a:gd name="T92" fmla="*/ 52 w 78"/>
                  <a:gd name="T93" fmla="*/ 35 h 87"/>
                  <a:gd name="T94" fmla="*/ 46 w 78"/>
                  <a:gd name="T95" fmla="*/ 50 h 87"/>
                  <a:gd name="T96" fmla="*/ 48 w 78"/>
                  <a:gd name="T97" fmla="*/ 52 h 87"/>
                  <a:gd name="T98" fmla="*/ 56 w 78"/>
                  <a:gd name="T99" fmla="*/ 50 h 87"/>
                  <a:gd name="T100" fmla="*/ 52 w 78"/>
                  <a:gd name="T101" fmla="*/ 61 h 87"/>
                  <a:gd name="T102" fmla="*/ 32 w 78"/>
                  <a:gd name="T103" fmla="*/ 46 h 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78" h="87">
                    <a:moveTo>
                      <a:pt x="55" y="64"/>
                    </a:moveTo>
                    <a:cubicBezTo>
                      <a:pt x="58" y="60"/>
                      <a:pt x="60" y="55"/>
                      <a:pt x="62" y="50"/>
                    </a:cubicBezTo>
                    <a:cubicBezTo>
                      <a:pt x="61" y="47"/>
                      <a:pt x="58" y="44"/>
                      <a:pt x="54" y="43"/>
                    </a:cubicBezTo>
                    <a:cubicBezTo>
                      <a:pt x="57" y="36"/>
                      <a:pt x="64" y="33"/>
                      <a:pt x="69" y="29"/>
                    </a:cubicBezTo>
                    <a:cubicBezTo>
                      <a:pt x="69" y="25"/>
                      <a:pt x="67" y="24"/>
                      <a:pt x="67" y="21"/>
                    </a:cubicBezTo>
                    <a:cubicBezTo>
                      <a:pt x="68" y="18"/>
                      <a:pt x="69" y="15"/>
                      <a:pt x="70" y="11"/>
                    </a:cubicBezTo>
                    <a:cubicBezTo>
                      <a:pt x="70" y="9"/>
                      <a:pt x="69" y="6"/>
                      <a:pt x="69" y="3"/>
                    </a:cubicBezTo>
                    <a:cubicBezTo>
                      <a:pt x="68" y="2"/>
                      <a:pt x="67" y="1"/>
                      <a:pt x="64" y="0"/>
                    </a:cubicBezTo>
                    <a:cubicBezTo>
                      <a:pt x="64" y="0"/>
                      <a:pt x="63" y="0"/>
                      <a:pt x="63" y="0"/>
                    </a:cubicBezTo>
                    <a:cubicBezTo>
                      <a:pt x="61" y="5"/>
                      <a:pt x="63" y="8"/>
                      <a:pt x="63" y="12"/>
                    </a:cubicBezTo>
                    <a:cubicBezTo>
                      <a:pt x="63" y="24"/>
                      <a:pt x="52" y="26"/>
                      <a:pt x="42" y="25"/>
                    </a:cubicBezTo>
                    <a:cubicBezTo>
                      <a:pt x="41" y="28"/>
                      <a:pt x="41" y="31"/>
                      <a:pt x="42" y="33"/>
                    </a:cubicBezTo>
                    <a:cubicBezTo>
                      <a:pt x="39" y="34"/>
                      <a:pt x="36" y="35"/>
                      <a:pt x="33" y="36"/>
                    </a:cubicBezTo>
                    <a:cubicBezTo>
                      <a:pt x="34" y="32"/>
                      <a:pt x="36" y="32"/>
                      <a:pt x="39" y="33"/>
                    </a:cubicBezTo>
                    <a:cubicBezTo>
                      <a:pt x="41" y="29"/>
                      <a:pt x="38" y="27"/>
                      <a:pt x="39" y="23"/>
                    </a:cubicBezTo>
                    <a:cubicBezTo>
                      <a:pt x="39" y="14"/>
                      <a:pt x="53" y="6"/>
                      <a:pt x="36" y="0"/>
                    </a:cubicBezTo>
                    <a:cubicBezTo>
                      <a:pt x="36" y="0"/>
                      <a:pt x="36" y="0"/>
                      <a:pt x="36" y="0"/>
                    </a:cubicBezTo>
                    <a:cubicBezTo>
                      <a:pt x="35" y="3"/>
                      <a:pt x="36" y="5"/>
                      <a:pt x="36" y="8"/>
                    </a:cubicBezTo>
                    <a:cubicBezTo>
                      <a:pt x="34" y="14"/>
                      <a:pt x="32" y="19"/>
                      <a:pt x="30" y="24"/>
                    </a:cubicBezTo>
                    <a:cubicBezTo>
                      <a:pt x="22" y="26"/>
                      <a:pt x="9" y="26"/>
                      <a:pt x="1" y="29"/>
                    </a:cubicBezTo>
                    <a:cubicBezTo>
                      <a:pt x="1" y="30"/>
                      <a:pt x="1" y="30"/>
                      <a:pt x="0" y="31"/>
                    </a:cubicBezTo>
                    <a:cubicBezTo>
                      <a:pt x="1" y="35"/>
                      <a:pt x="12" y="39"/>
                      <a:pt x="18" y="39"/>
                    </a:cubicBezTo>
                    <a:cubicBezTo>
                      <a:pt x="20" y="38"/>
                      <a:pt x="22" y="37"/>
                      <a:pt x="25" y="36"/>
                    </a:cubicBezTo>
                    <a:cubicBezTo>
                      <a:pt x="25" y="36"/>
                      <a:pt x="25" y="36"/>
                      <a:pt x="25" y="36"/>
                    </a:cubicBezTo>
                    <a:cubicBezTo>
                      <a:pt x="21" y="52"/>
                      <a:pt x="9" y="50"/>
                      <a:pt x="3" y="62"/>
                    </a:cubicBezTo>
                    <a:cubicBezTo>
                      <a:pt x="4" y="63"/>
                      <a:pt x="4" y="65"/>
                      <a:pt x="5" y="67"/>
                    </a:cubicBezTo>
                    <a:cubicBezTo>
                      <a:pt x="7" y="67"/>
                      <a:pt x="10" y="67"/>
                      <a:pt x="12" y="66"/>
                    </a:cubicBezTo>
                    <a:cubicBezTo>
                      <a:pt x="17" y="68"/>
                      <a:pt x="17" y="72"/>
                      <a:pt x="22" y="74"/>
                    </a:cubicBezTo>
                    <a:cubicBezTo>
                      <a:pt x="25" y="71"/>
                      <a:pt x="24" y="66"/>
                      <a:pt x="25" y="61"/>
                    </a:cubicBezTo>
                    <a:cubicBezTo>
                      <a:pt x="25" y="56"/>
                      <a:pt x="28" y="52"/>
                      <a:pt x="30" y="49"/>
                    </a:cubicBezTo>
                    <a:cubicBezTo>
                      <a:pt x="40" y="53"/>
                      <a:pt x="42" y="58"/>
                      <a:pt x="48" y="63"/>
                    </a:cubicBezTo>
                    <a:cubicBezTo>
                      <a:pt x="44" y="74"/>
                      <a:pt x="29" y="63"/>
                      <a:pt x="24" y="71"/>
                    </a:cubicBezTo>
                    <a:cubicBezTo>
                      <a:pt x="39" y="78"/>
                      <a:pt x="36" y="74"/>
                      <a:pt x="48" y="71"/>
                    </a:cubicBezTo>
                    <a:cubicBezTo>
                      <a:pt x="49" y="70"/>
                      <a:pt x="50" y="70"/>
                      <a:pt x="51" y="69"/>
                    </a:cubicBezTo>
                    <a:cubicBezTo>
                      <a:pt x="58" y="79"/>
                      <a:pt x="58" y="87"/>
                      <a:pt x="77" y="87"/>
                    </a:cubicBezTo>
                    <a:cubicBezTo>
                      <a:pt x="77" y="87"/>
                      <a:pt x="78" y="86"/>
                      <a:pt x="78" y="86"/>
                    </a:cubicBezTo>
                    <a:cubicBezTo>
                      <a:pt x="74" y="76"/>
                      <a:pt x="60" y="73"/>
                      <a:pt x="55" y="64"/>
                    </a:cubicBezTo>
                    <a:close/>
                    <a:moveTo>
                      <a:pt x="15" y="64"/>
                    </a:moveTo>
                    <a:cubicBezTo>
                      <a:pt x="15" y="65"/>
                      <a:pt x="15" y="65"/>
                      <a:pt x="15" y="65"/>
                    </a:cubicBezTo>
                    <a:cubicBezTo>
                      <a:pt x="14" y="64"/>
                      <a:pt x="13" y="64"/>
                      <a:pt x="11" y="63"/>
                    </a:cubicBezTo>
                    <a:cubicBezTo>
                      <a:pt x="11" y="62"/>
                      <a:pt x="12" y="61"/>
                      <a:pt x="12" y="60"/>
                    </a:cubicBezTo>
                    <a:cubicBezTo>
                      <a:pt x="13" y="59"/>
                      <a:pt x="14" y="58"/>
                      <a:pt x="15" y="57"/>
                    </a:cubicBezTo>
                    <a:cubicBezTo>
                      <a:pt x="16" y="57"/>
                      <a:pt x="16" y="58"/>
                      <a:pt x="17" y="58"/>
                    </a:cubicBezTo>
                    <a:cubicBezTo>
                      <a:pt x="16" y="60"/>
                      <a:pt x="16" y="62"/>
                      <a:pt x="15" y="64"/>
                    </a:cubicBezTo>
                    <a:close/>
                    <a:moveTo>
                      <a:pt x="32" y="46"/>
                    </a:moveTo>
                    <a:cubicBezTo>
                      <a:pt x="35" y="43"/>
                      <a:pt x="44" y="37"/>
                      <a:pt x="44" y="34"/>
                    </a:cubicBezTo>
                    <a:cubicBezTo>
                      <a:pt x="47" y="34"/>
                      <a:pt x="49" y="35"/>
                      <a:pt x="52" y="35"/>
                    </a:cubicBezTo>
                    <a:cubicBezTo>
                      <a:pt x="50" y="40"/>
                      <a:pt x="45" y="44"/>
                      <a:pt x="46" y="50"/>
                    </a:cubicBezTo>
                    <a:cubicBezTo>
                      <a:pt x="46" y="51"/>
                      <a:pt x="47" y="51"/>
                      <a:pt x="48" y="52"/>
                    </a:cubicBezTo>
                    <a:cubicBezTo>
                      <a:pt x="50" y="51"/>
                      <a:pt x="53" y="49"/>
                      <a:pt x="56" y="50"/>
                    </a:cubicBezTo>
                    <a:cubicBezTo>
                      <a:pt x="55" y="54"/>
                      <a:pt x="53" y="57"/>
                      <a:pt x="52" y="61"/>
                    </a:cubicBezTo>
                    <a:cubicBezTo>
                      <a:pt x="45" y="56"/>
                      <a:pt x="44" y="49"/>
                      <a:pt x="32" y="4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125" name="ï$ľíḍe"/>
              <p:cNvSpPr/>
              <p:nvPr/>
            </p:nvSpPr>
            <p:spPr bwMode="auto">
              <a:xfrm>
                <a:off x="2255734" y="4491628"/>
                <a:ext cx="136525" cy="174625"/>
              </a:xfrm>
              <a:custGeom>
                <a:avLst/>
                <a:gdLst>
                  <a:gd name="T0" fmla="*/ 74 w 74"/>
                  <a:gd name="T1" fmla="*/ 41 h 94"/>
                  <a:gd name="T2" fmla="*/ 64 w 74"/>
                  <a:gd name="T3" fmla="*/ 35 h 94"/>
                  <a:gd name="T4" fmla="*/ 51 w 74"/>
                  <a:gd name="T5" fmla="*/ 5 h 94"/>
                  <a:gd name="T6" fmla="*/ 58 w 74"/>
                  <a:gd name="T7" fmla="*/ 39 h 94"/>
                  <a:gd name="T8" fmla="*/ 47 w 74"/>
                  <a:gd name="T9" fmla="*/ 47 h 94"/>
                  <a:gd name="T10" fmla="*/ 55 w 74"/>
                  <a:gd name="T11" fmla="*/ 34 h 94"/>
                  <a:gd name="T12" fmla="*/ 47 w 74"/>
                  <a:gd name="T13" fmla="*/ 29 h 94"/>
                  <a:gd name="T14" fmla="*/ 54 w 74"/>
                  <a:gd name="T15" fmla="*/ 22 h 94"/>
                  <a:gd name="T16" fmla="*/ 54 w 74"/>
                  <a:gd name="T17" fmla="*/ 20 h 94"/>
                  <a:gd name="T18" fmla="*/ 54 w 74"/>
                  <a:gd name="T19" fmla="*/ 19 h 94"/>
                  <a:gd name="T20" fmla="*/ 41 w 74"/>
                  <a:gd name="T21" fmla="*/ 19 h 94"/>
                  <a:gd name="T22" fmla="*/ 44 w 74"/>
                  <a:gd name="T23" fmla="*/ 22 h 94"/>
                  <a:gd name="T24" fmla="*/ 44 w 74"/>
                  <a:gd name="T25" fmla="*/ 32 h 94"/>
                  <a:gd name="T26" fmla="*/ 48 w 74"/>
                  <a:gd name="T27" fmla="*/ 37 h 94"/>
                  <a:gd name="T28" fmla="*/ 40 w 74"/>
                  <a:gd name="T29" fmla="*/ 58 h 94"/>
                  <a:gd name="T30" fmla="*/ 44 w 74"/>
                  <a:gd name="T31" fmla="*/ 61 h 94"/>
                  <a:gd name="T32" fmla="*/ 59 w 74"/>
                  <a:gd name="T33" fmla="*/ 46 h 94"/>
                  <a:gd name="T34" fmla="*/ 59 w 74"/>
                  <a:gd name="T35" fmla="*/ 46 h 94"/>
                  <a:gd name="T36" fmla="*/ 66 w 74"/>
                  <a:gd name="T37" fmla="*/ 93 h 94"/>
                  <a:gd name="T38" fmla="*/ 68 w 74"/>
                  <a:gd name="T39" fmla="*/ 93 h 94"/>
                  <a:gd name="T40" fmla="*/ 65 w 74"/>
                  <a:gd name="T41" fmla="*/ 42 h 94"/>
                  <a:gd name="T42" fmla="*/ 73 w 74"/>
                  <a:gd name="T43" fmla="*/ 41 h 94"/>
                  <a:gd name="T44" fmla="*/ 74 w 74"/>
                  <a:gd name="T45" fmla="*/ 41 h 94"/>
                  <a:gd name="T46" fmla="*/ 43 w 74"/>
                  <a:gd name="T47" fmla="*/ 42 h 94"/>
                  <a:gd name="T48" fmla="*/ 35 w 74"/>
                  <a:gd name="T49" fmla="*/ 48 h 94"/>
                  <a:gd name="T50" fmla="*/ 39 w 74"/>
                  <a:gd name="T51" fmla="*/ 38 h 94"/>
                  <a:gd name="T52" fmla="*/ 37 w 74"/>
                  <a:gd name="T53" fmla="*/ 29 h 94"/>
                  <a:gd name="T54" fmla="*/ 40 w 74"/>
                  <a:gd name="T55" fmla="*/ 27 h 94"/>
                  <a:gd name="T56" fmla="*/ 34 w 74"/>
                  <a:gd name="T57" fmla="*/ 16 h 94"/>
                  <a:gd name="T58" fmla="*/ 32 w 74"/>
                  <a:gd name="T59" fmla="*/ 15 h 94"/>
                  <a:gd name="T60" fmla="*/ 4 w 74"/>
                  <a:gd name="T61" fmla="*/ 46 h 94"/>
                  <a:gd name="T62" fmla="*/ 30 w 74"/>
                  <a:gd name="T63" fmla="*/ 29 h 94"/>
                  <a:gd name="T64" fmla="*/ 8 w 74"/>
                  <a:gd name="T65" fmla="*/ 52 h 94"/>
                  <a:gd name="T66" fmla="*/ 0 w 74"/>
                  <a:gd name="T67" fmla="*/ 56 h 94"/>
                  <a:gd name="T68" fmla="*/ 3 w 74"/>
                  <a:gd name="T69" fmla="*/ 61 h 94"/>
                  <a:gd name="T70" fmla="*/ 23 w 74"/>
                  <a:gd name="T71" fmla="*/ 54 h 94"/>
                  <a:gd name="T72" fmla="*/ 25 w 74"/>
                  <a:gd name="T73" fmla="*/ 53 h 94"/>
                  <a:gd name="T74" fmla="*/ 25 w 74"/>
                  <a:gd name="T75" fmla="*/ 53 h 94"/>
                  <a:gd name="T76" fmla="*/ 20 w 74"/>
                  <a:gd name="T77" fmla="*/ 72 h 94"/>
                  <a:gd name="T78" fmla="*/ 25 w 74"/>
                  <a:gd name="T79" fmla="*/ 76 h 94"/>
                  <a:gd name="T80" fmla="*/ 26 w 74"/>
                  <a:gd name="T81" fmla="*/ 76 h 94"/>
                  <a:gd name="T82" fmla="*/ 30 w 74"/>
                  <a:gd name="T83" fmla="*/ 67 h 94"/>
                  <a:gd name="T84" fmla="*/ 31 w 74"/>
                  <a:gd name="T85" fmla="*/ 66 h 94"/>
                  <a:gd name="T86" fmla="*/ 32 w 74"/>
                  <a:gd name="T87" fmla="*/ 75 h 94"/>
                  <a:gd name="T88" fmla="*/ 35 w 74"/>
                  <a:gd name="T89" fmla="*/ 76 h 94"/>
                  <a:gd name="T90" fmla="*/ 38 w 74"/>
                  <a:gd name="T91" fmla="*/ 76 h 94"/>
                  <a:gd name="T92" fmla="*/ 35 w 74"/>
                  <a:gd name="T93" fmla="*/ 61 h 94"/>
                  <a:gd name="T94" fmla="*/ 43 w 74"/>
                  <a:gd name="T95" fmla="*/ 42 h 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74" h="94">
                    <a:moveTo>
                      <a:pt x="74" y="41"/>
                    </a:moveTo>
                    <a:cubicBezTo>
                      <a:pt x="73" y="36"/>
                      <a:pt x="70" y="34"/>
                      <a:pt x="64" y="35"/>
                    </a:cubicBezTo>
                    <a:cubicBezTo>
                      <a:pt x="63" y="24"/>
                      <a:pt x="67" y="0"/>
                      <a:pt x="51" y="5"/>
                    </a:cubicBezTo>
                    <a:cubicBezTo>
                      <a:pt x="50" y="9"/>
                      <a:pt x="61" y="31"/>
                      <a:pt x="58" y="39"/>
                    </a:cubicBezTo>
                    <a:cubicBezTo>
                      <a:pt x="58" y="39"/>
                      <a:pt x="47" y="47"/>
                      <a:pt x="47" y="47"/>
                    </a:cubicBezTo>
                    <a:cubicBezTo>
                      <a:pt x="48" y="41"/>
                      <a:pt x="53" y="39"/>
                      <a:pt x="55" y="34"/>
                    </a:cubicBezTo>
                    <a:cubicBezTo>
                      <a:pt x="56" y="30"/>
                      <a:pt x="49" y="31"/>
                      <a:pt x="47" y="29"/>
                    </a:cubicBezTo>
                    <a:cubicBezTo>
                      <a:pt x="48" y="26"/>
                      <a:pt x="51" y="23"/>
                      <a:pt x="54" y="22"/>
                    </a:cubicBezTo>
                    <a:cubicBezTo>
                      <a:pt x="54" y="21"/>
                      <a:pt x="54" y="21"/>
                      <a:pt x="54" y="20"/>
                    </a:cubicBezTo>
                    <a:cubicBezTo>
                      <a:pt x="54" y="20"/>
                      <a:pt x="54" y="19"/>
                      <a:pt x="54" y="19"/>
                    </a:cubicBezTo>
                    <a:cubicBezTo>
                      <a:pt x="50" y="17"/>
                      <a:pt x="45" y="17"/>
                      <a:pt x="41" y="19"/>
                    </a:cubicBezTo>
                    <a:cubicBezTo>
                      <a:pt x="41" y="22"/>
                      <a:pt x="42" y="22"/>
                      <a:pt x="44" y="22"/>
                    </a:cubicBezTo>
                    <a:cubicBezTo>
                      <a:pt x="44" y="26"/>
                      <a:pt x="44" y="29"/>
                      <a:pt x="44" y="32"/>
                    </a:cubicBezTo>
                    <a:cubicBezTo>
                      <a:pt x="45" y="34"/>
                      <a:pt x="47" y="35"/>
                      <a:pt x="48" y="37"/>
                    </a:cubicBezTo>
                    <a:cubicBezTo>
                      <a:pt x="46" y="41"/>
                      <a:pt x="35" y="51"/>
                      <a:pt x="40" y="58"/>
                    </a:cubicBezTo>
                    <a:cubicBezTo>
                      <a:pt x="41" y="60"/>
                      <a:pt x="42" y="60"/>
                      <a:pt x="44" y="61"/>
                    </a:cubicBezTo>
                    <a:cubicBezTo>
                      <a:pt x="49" y="55"/>
                      <a:pt x="51" y="50"/>
                      <a:pt x="59" y="46"/>
                    </a:cubicBezTo>
                    <a:cubicBezTo>
                      <a:pt x="59" y="46"/>
                      <a:pt x="59" y="46"/>
                      <a:pt x="59" y="46"/>
                    </a:cubicBezTo>
                    <a:cubicBezTo>
                      <a:pt x="61" y="60"/>
                      <a:pt x="59" y="83"/>
                      <a:pt x="66" y="93"/>
                    </a:cubicBezTo>
                    <a:cubicBezTo>
                      <a:pt x="67" y="94"/>
                      <a:pt x="67" y="93"/>
                      <a:pt x="68" y="93"/>
                    </a:cubicBezTo>
                    <a:cubicBezTo>
                      <a:pt x="68" y="78"/>
                      <a:pt x="67" y="60"/>
                      <a:pt x="65" y="42"/>
                    </a:cubicBezTo>
                    <a:cubicBezTo>
                      <a:pt x="68" y="42"/>
                      <a:pt x="72" y="42"/>
                      <a:pt x="73" y="41"/>
                    </a:cubicBezTo>
                    <a:cubicBezTo>
                      <a:pt x="74" y="41"/>
                      <a:pt x="74" y="41"/>
                      <a:pt x="74" y="41"/>
                    </a:cubicBezTo>
                    <a:close/>
                    <a:moveTo>
                      <a:pt x="43" y="42"/>
                    </a:moveTo>
                    <a:cubicBezTo>
                      <a:pt x="39" y="44"/>
                      <a:pt x="38" y="46"/>
                      <a:pt x="35" y="48"/>
                    </a:cubicBezTo>
                    <a:cubicBezTo>
                      <a:pt x="35" y="42"/>
                      <a:pt x="39" y="42"/>
                      <a:pt x="39" y="38"/>
                    </a:cubicBezTo>
                    <a:cubicBezTo>
                      <a:pt x="40" y="35"/>
                      <a:pt x="37" y="33"/>
                      <a:pt x="37" y="29"/>
                    </a:cubicBezTo>
                    <a:cubicBezTo>
                      <a:pt x="38" y="28"/>
                      <a:pt x="39" y="28"/>
                      <a:pt x="40" y="27"/>
                    </a:cubicBezTo>
                    <a:cubicBezTo>
                      <a:pt x="41" y="24"/>
                      <a:pt x="36" y="16"/>
                      <a:pt x="34" y="16"/>
                    </a:cubicBezTo>
                    <a:cubicBezTo>
                      <a:pt x="33" y="16"/>
                      <a:pt x="32" y="15"/>
                      <a:pt x="32" y="15"/>
                    </a:cubicBezTo>
                    <a:cubicBezTo>
                      <a:pt x="22" y="28"/>
                      <a:pt x="10" y="30"/>
                      <a:pt x="4" y="46"/>
                    </a:cubicBezTo>
                    <a:cubicBezTo>
                      <a:pt x="13" y="41"/>
                      <a:pt x="17" y="31"/>
                      <a:pt x="30" y="29"/>
                    </a:cubicBezTo>
                    <a:cubicBezTo>
                      <a:pt x="29" y="39"/>
                      <a:pt x="16" y="48"/>
                      <a:pt x="8" y="52"/>
                    </a:cubicBezTo>
                    <a:cubicBezTo>
                      <a:pt x="4" y="54"/>
                      <a:pt x="2" y="52"/>
                      <a:pt x="0" y="56"/>
                    </a:cubicBezTo>
                    <a:cubicBezTo>
                      <a:pt x="0" y="59"/>
                      <a:pt x="1" y="60"/>
                      <a:pt x="3" y="61"/>
                    </a:cubicBezTo>
                    <a:cubicBezTo>
                      <a:pt x="10" y="63"/>
                      <a:pt x="22" y="58"/>
                      <a:pt x="23" y="54"/>
                    </a:cubicBezTo>
                    <a:cubicBezTo>
                      <a:pt x="24" y="54"/>
                      <a:pt x="24" y="53"/>
                      <a:pt x="25" y="53"/>
                    </a:cubicBezTo>
                    <a:cubicBezTo>
                      <a:pt x="25" y="53"/>
                      <a:pt x="25" y="53"/>
                      <a:pt x="25" y="53"/>
                    </a:cubicBezTo>
                    <a:cubicBezTo>
                      <a:pt x="23" y="59"/>
                      <a:pt x="22" y="66"/>
                      <a:pt x="20" y="72"/>
                    </a:cubicBezTo>
                    <a:cubicBezTo>
                      <a:pt x="21" y="74"/>
                      <a:pt x="23" y="75"/>
                      <a:pt x="25" y="76"/>
                    </a:cubicBezTo>
                    <a:cubicBezTo>
                      <a:pt x="25" y="76"/>
                      <a:pt x="26" y="76"/>
                      <a:pt x="26" y="76"/>
                    </a:cubicBezTo>
                    <a:cubicBezTo>
                      <a:pt x="28" y="73"/>
                      <a:pt x="29" y="70"/>
                      <a:pt x="30" y="67"/>
                    </a:cubicBezTo>
                    <a:cubicBezTo>
                      <a:pt x="31" y="67"/>
                      <a:pt x="31" y="67"/>
                      <a:pt x="31" y="66"/>
                    </a:cubicBezTo>
                    <a:cubicBezTo>
                      <a:pt x="32" y="69"/>
                      <a:pt x="32" y="72"/>
                      <a:pt x="32" y="75"/>
                    </a:cubicBezTo>
                    <a:cubicBezTo>
                      <a:pt x="33" y="75"/>
                      <a:pt x="34" y="76"/>
                      <a:pt x="35" y="76"/>
                    </a:cubicBezTo>
                    <a:cubicBezTo>
                      <a:pt x="36" y="76"/>
                      <a:pt x="37" y="76"/>
                      <a:pt x="38" y="76"/>
                    </a:cubicBezTo>
                    <a:cubicBezTo>
                      <a:pt x="37" y="71"/>
                      <a:pt x="36" y="66"/>
                      <a:pt x="35" y="61"/>
                    </a:cubicBezTo>
                    <a:cubicBezTo>
                      <a:pt x="38" y="54"/>
                      <a:pt x="40" y="48"/>
                      <a:pt x="43" y="4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126" name="î$ḻîḑe"/>
              <p:cNvSpPr/>
              <p:nvPr/>
            </p:nvSpPr>
            <p:spPr bwMode="auto">
              <a:xfrm>
                <a:off x="2055709" y="4566240"/>
                <a:ext cx="136525" cy="150813"/>
              </a:xfrm>
              <a:custGeom>
                <a:avLst/>
                <a:gdLst>
                  <a:gd name="T0" fmla="*/ 55 w 74"/>
                  <a:gd name="T1" fmla="*/ 53 h 82"/>
                  <a:gd name="T2" fmla="*/ 54 w 74"/>
                  <a:gd name="T3" fmla="*/ 51 h 82"/>
                  <a:gd name="T4" fmla="*/ 57 w 74"/>
                  <a:gd name="T5" fmla="*/ 49 h 82"/>
                  <a:gd name="T6" fmla="*/ 56 w 74"/>
                  <a:gd name="T7" fmla="*/ 45 h 82"/>
                  <a:gd name="T8" fmla="*/ 52 w 74"/>
                  <a:gd name="T9" fmla="*/ 45 h 82"/>
                  <a:gd name="T10" fmla="*/ 51 w 74"/>
                  <a:gd name="T11" fmla="*/ 44 h 82"/>
                  <a:gd name="T12" fmla="*/ 60 w 74"/>
                  <a:gd name="T13" fmla="*/ 32 h 82"/>
                  <a:gd name="T14" fmla="*/ 60 w 74"/>
                  <a:gd name="T15" fmla="*/ 30 h 82"/>
                  <a:gd name="T16" fmla="*/ 34 w 74"/>
                  <a:gd name="T17" fmla="*/ 38 h 82"/>
                  <a:gd name="T18" fmla="*/ 33 w 74"/>
                  <a:gd name="T19" fmla="*/ 38 h 82"/>
                  <a:gd name="T20" fmla="*/ 60 w 74"/>
                  <a:gd name="T21" fmla="*/ 16 h 82"/>
                  <a:gd name="T22" fmla="*/ 61 w 74"/>
                  <a:gd name="T23" fmla="*/ 10 h 82"/>
                  <a:gd name="T24" fmla="*/ 42 w 74"/>
                  <a:gd name="T25" fmla="*/ 11 h 82"/>
                  <a:gd name="T26" fmla="*/ 27 w 74"/>
                  <a:gd name="T27" fmla="*/ 0 h 82"/>
                  <a:gd name="T28" fmla="*/ 24 w 74"/>
                  <a:gd name="T29" fmla="*/ 0 h 82"/>
                  <a:gd name="T30" fmla="*/ 29 w 74"/>
                  <a:gd name="T31" fmla="*/ 21 h 82"/>
                  <a:gd name="T32" fmla="*/ 11 w 74"/>
                  <a:gd name="T33" fmla="*/ 39 h 82"/>
                  <a:gd name="T34" fmla="*/ 1 w 74"/>
                  <a:gd name="T35" fmla="*/ 44 h 82"/>
                  <a:gd name="T36" fmla="*/ 0 w 74"/>
                  <a:gd name="T37" fmla="*/ 47 h 82"/>
                  <a:gd name="T38" fmla="*/ 35 w 74"/>
                  <a:gd name="T39" fmla="*/ 26 h 82"/>
                  <a:gd name="T40" fmla="*/ 35 w 74"/>
                  <a:gd name="T41" fmla="*/ 26 h 82"/>
                  <a:gd name="T42" fmla="*/ 30 w 74"/>
                  <a:gd name="T43" fmla="*/ 48 h 82"/>
                  <a:gd name="T44" fmla="*/ 40 w 74"/>
                  <a:gd name="T45" fmla="*/ 57 h 82"/>
                  <a:gd name="T46" fmla="*/ 35 w 74"/>
                  <a:gd name="T47" fmla="*/ 78 h 82"/>
                  <a:gd name="T48" fmla="*/ 45 w 74"/>
                  <a:gd name="T49" fmla="*/ 82 h 82"/>
                  <a:gd name="T50" fmla="*/ 47 w 74"/>
                  <a:gd name="T51" fmla="*/ 80 h 82"/>
                  <a:gd name="T52" fmla="*/ 46 w 74"/>
                  <a:gd name="T53" fmla="*/ 67 h 82"/>
                  <a:gd name="T54" fmla="*/ 47 w 74"/>
                  <a:gd name="T55" fmla="*/ 66 h 82"/>
                  <a:gd name="T56" fmla="*/ 50 w 74"/>
                  <a:gd name="T57" fmla="*/ 73 h 82"/>
                  <a:gd name="T58" fmla="*/ 58 w 74"/>
                  <a:gd name="T59" fmla="*/ 79 h 82"/>
                  <a:gd name="T60" fmla="*/ 59 w 74"/>
                  <a:gd name="T61" fmla="*/ 79 h 82"/>
                  <a:gd name="T62" fmla="*/ 53 w 74"/>
                  <a:gd name="T63" fmla="*/ 57 h 82"/>
                  <a:gd name="T64" fmla="*/ 56 w 74"/>
                  <a:gd name="T65" fmla="*/ 55 h 82"/>
                  <a:gd name="T66" fmla="*/ 56 w 74"/>
                  <a:gd name="T67" fmla="*/ 55 h 82"/>
                  <a:gd name="T68" fmla="*/ 69 w 74"/>
                  <a:gd name="T69" fmla="*/ 69 h 82"/>
                  <a:gd name="T70" fmla="*/ 74 w 74"/>
                  <a:gd name="T71" fmla="*/ 64 h 82"/>
                  <a:gd name="T72" fmla="*/ 55 w 74"/>
                  <a:gd name="T73" fmla="*/ 53 h 82"/>
                  <a:gd name="T74" fmla="*/ 40 w 74"/>
                  <a:gd name="T75" fmla="*/ 46 h 82"/>
                  <a:gd name="T76" fmla="*/ 39 w 74"/>
                  <a:gd name="T77" fmla="*/ 46 h 82"/>
                  <a:gd name="T78" fmla="*/ 38 w 74"/>
                  <a:gd name="T79" fmla="*/ 46 h 82"/>
                  <a:gd name="T80" fmla="*/ 37 w 74"/>
                  <a:gd name="T81" fmla="*/ 44 h 82"/>
                  <a:gd name="T82" fmla="*/ 44 w 74"/>
                  <a:gd name="T83" fmla="*/ 36 h 82"/>
                  <a:gd name="T84" fmla="*/ 46 w 74"/>
                  <a:gd name="T85" fmla="*/ 35 h 82"/>
                  <a:gd name="T86" fmla="*/ 46 w 74"/>
                  <a:gd name="T87" fmla="*/ 35 h 82"/>
                  <a:gd name="T88" fmla="*/ 40 w 74"/>
                  <a:gd name="T89" fmla="*/ 46 h 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74" h="82">
                    <a:moveTo>
                      <a:pt x="55" y="53"/>
                    </a:moveTo>
                    <a:cubicBezTo>
                      <a:pt x="55" y="53"/>
                      <a:pt x="54" y="52"/>
                      <a:pt x="54" y="51"/>
                    </a:cubicBezTo>
                    <a:cubicBezTo>
                      <a:pt x="55" y="51"/>
                      <a:pt x="56" y="50"/>
                      <a:pt x="57" y="49"/>
                    </a:cubicBezTo>
                    <a:cubicBezTo>
                      <a:pt x="57" y="48"/>
                      <a:pt x="56" y="47"/>
                      <a:pt x="56" y="45"/>
                    </a:cubicBezTo>
                    <a:cubicBezTo>
                      <a:pt x="54" y="45"/>
                      <a:pt x="53" y="45"/>
                      <a:pt x="52" y="45"/>
                    </a:cubicBezTo>
                    <a:cubicBezTo>
                      <a:pt x="51" y="45"/>
                      <a:pt x="51" y="44"/>
                      <a:pt x="51" y="44"/>
                    </a:cubicBezTo>
                    <a:cubicBezTo>
                      <a:pt x="53" y="40"/>
                      <a:pt x="59" y="36"/>
                      <a:pt x="60" y="32"/>
                    </a:cubicBezTo>
                    <a:cubicBezTo>
                      <a:pt x="60" y="31"/>
                      <a:pt x="60" y="31"/>
                      <a:pt x="60" y="30"/>
                    </a:cubicBezTo>
                    <a:cubicBezTo>
                      <a:pt x="50" y="21"/>
                      <a:pt x="41" y="31"/>
                      <a:pt x="34" y="38"/>
                    </a:cubicBezTo>
                    <a:cubicBezTo>
                      <a:pt x="33" y="38"/>
                      <a:pt x="33" y="38"/>
                      <a:pt x="33" y="38"/>
                    </a:cubicBezTo>
                    <a:cubicBezTo>
                      <a:pt x="34" y="30"/>
                      <a:pt x="48" y="16"/>
                      <a:pt x="60" y="16"/>
                    </a:cubicBezTo>
                    <a:cubicBezTo>
                      <a:pt x="61" y="14"/>
                      <a:pt x="61" y="12"/>
                      <a:pt x="61" y="10"/>
                    </a:cubicBezTo>
                    <a:cubicBezTo>
                      <a:pt x="50" y="3"/>
                      <a:pt x="52" y="11"/>
                      <a:pt x="42" y="11"/>
                    </a:cubicBezTo>
                    <a:cubicBezTo>
                      <a:pt x="38" y="10"/>
                      <a:pt x="32" y="1"/>
                      <a:pt x="27" y="0"/>
                    </a:cubicBezTo>
                    <a:cubicBezTo>
                      <a:pt x="26" y="0"/>
                      <a:pt x="25" y="0"/>
                      <a:pt x="24" y="0"/>
                    </a:cubicBezTo>
                    <a:cubicBezTo>
                      <a:pt x="21" y="5"/>
                      <a:pt x="30" y="14"/>
                      <a:pt x="29" y="21"/>
                    </a:cubicBezTo>
                    <a:cubicBezTo>
                      <a:pt x="19" y="27"/>
                      <a:pt x="17" y="33"/>
                      <a:pt x="11" y="39"/>
                    </a:cubicBezTo>
                    <a:cubicBezTo>
                      <a:pt x="8" y="42"/>
                      <a:pt x="4" y="42"/>
                      <a:pt x="1" y="44"/>
                    </a:cubicBezTo>
                    <a:cubicBezTo>
                      <a:pt x="1" y="45"/>
                      <a:pt x="0" y="46"/>
                      <a:pt x="0" y="47"/>
                    </a:cubicBezTo>
                    <a:cubicBezTo>
                      <a:pt x="11" y="69"/>
                      <a:pt x="23" y="30"/>
                      <a:pt x="35" y="26"/>
                    </a:cubicBezTo>
                    <a:cubicBezTo>
                      <a:pt x="35" y="26"/>
                      <a:pt x="35" y="26"/>
                      <a:pt x="35" y="26"/>
                    </a:cubicBezTo>
                    <a:cubicBezTo>
                      <a:pt x="33" y="33"/>
                      <a:pt x="28" y="39"/>
                      <a:pt x="30" y="48"/>
                    </a:cubicBezTo>
                    <a:cubicBezTo>
                      <a:pt x="30" y="51"/>
                      <a:pt x="37" y="56"/>
                      <a:pt x="40" y="57"/>
                    </a:cubicBezTo>
                    <a:cubicBezTo>
                      <a:pt x="37" y="64"/>
                      <a:pt x="32" y="69"/>
                      <a:pt x="35" y="78"/>
                    </a:cubicBezTo>
                    <a:cubicBezTo>
                      <a:pt x="39" y="79"/>
                      <a:pt x="42" y="80"/>
                      <a:pt x="45" y="82"/>
                    </a:cubicBezTo>
                    <a:cubicBezTo>
                      <a:pt x="46" y="81"/>
                      <a:pt x="46" y="81"/>
                      <a:pt x="47" y="80"/>
                    </a:cubicBezTo>
                    <a:cubicBezTo>
                      <a:pt x="49" y="77"/>
                      <a:pt x="45" y="70"/>
                      <a:pt x="46" y="67"/>
                    </a:cubicBezTo>
                    <a:cubicBezTo>
                      <a:pt x="46" y="66"/>
                      <a:pt x="46" y="66"/>
                      <a:pt x="47" y="66"/>
                    </a:cubicBezTo>
                    <a:cubicBezTo>
                      <a:pt x="48" y="67"/>
                      <a:pt x="49" y="71"/>
                      <a:pt x="50" y="73"/>
                    </a:cubicBezTo>
                    <a:cubicBezTo>
                      <a:pt x="52" y="76"/>
                      <a:pt x="55" y="77"/>
                      <a:pt x="58" y="79"/>
                    </a:cubicBezTo>
                    <a:cubicBezTo>
                      <a:pt x="58" y="79"/>
                      <a:pt x="58" y="79"/>
                      <a:pt x="59" y="79"/>
                    </a:cubicBezTo>
                    <a:cubicBezTo>
                      <a:pt x="60" y="72"/>
                      <a:pt x="53" y="64"/>
                      <a:pt x="53" y="57"/>
                    </a:cubicBezTo>
                    <a:cubicBezTo>
                      <a:pt x="54" y="56"/>
                      <a:pt x="55" y="56"/>
                      <a:pt x="56" y="55"/>
                    </a:cubicBezTo>
                    <a:cubicBezTo>
                      <a:pt x="56" y="55"/>
                      <a:pt x="56" y="55"/>
                      <a:pt x="56" y="55"/>
                    </a:cubicBezTo>
                    <a:cubicBezTo>
                      <a:pt x="63" y="60"/>
                      <a:pt x="59" y="67"/>
                      <a:pt x="69" y="69"/>
                    </a:cubicBezTo>
                    <a:cubicBezTo>
                      <a:pt x="71" y="67"/>
                      <a:pt x="72" y="66"/>
                      <a:pt x="74" y="64"/>
                    </a:cubicBezTo>
                    <a:cubicBezTo>
                      <a:pt x="71" y="56"/>
                      <a:pt x="63" y="51"/>
                      <a:pt x="55" y="53"/>
                    </a:cubicBezTo>
                    <a:close/>
                    <a:moveTo>
                      <a:pt x="40" y="46"/>
                    </a:moveTo>
                    <a:cubicBezTo>
                      <a:pt x="40" y="46"/>
                      <a:pt x="39" y="46"/>
                      <a:pt x="39" y="46"/>
                    </a:cubicBezTo>
                    <a:cubicBezTo>
                      <a:pt x="38" y="46"/>
                      <a:pt x="38" y="46"/>
                      <a:pt x="38" y="46"/>
                    </a:cubicBezTo>
                    <a:cubicBezTo>
                      <a:pt x="38" y="45"/>
                      <a:pt x="37" y="45"/>
                      <a:pt x="37" y="44"/>
                    </a:cubicBezTo>
                    <a:cubicBezTo>
                      <a:pt x="39" y="41"/>
                      <a:pt x="42" y="39"/>
                      <a:pt x="44" y="36"/>
                    </a:cubicBezTo>
                    <a:cubicBezTo>
                      <a:pt x="45" y="36"/>
                      <a:pt x="45" y="35"/>
                      <a:pt x="46" y="35"/>
                    </a:cubicBezTo>
                    <a:cubicBezTo>
                      <a:pt x="46" y="35"/>
                      <a:pt x="46" y="35"/>
                      <a:pt x="46" y="35"/>
                    </a:cubicBezTo>
                    <a:cubicBezTo>
                      <a:pt x="44" y="39"/>
                      <a:pt x="42" y="42"/>
                      <a:pt x="40" y="4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127" name="ïşḻíḍe"/>
              <p:cNvSpPr/>
              <p:nvPr/>
            </p:nvSpPr>
            <p:spPr bwMode="auto">
              <a:xfrm>
                <a:off x="1882672" y="4669428"/>
                <a:ext cx="160338" cy="169863"/>
              </a:xfrm>
              <a:custGeom>
                <a:avLst/>
                <a:gdLst>
                  <a:gd name="T0" fmla="*/ 29 w 87"/>
                  <a:gd name="T1" fmla="*/ 8 h 92"/>
                  <a:gd name="T2" fmla="*/ 52 w 87"/>
                  <a:gd name="T3" fmla="*/ 17 h 92"/>
                  <a:gd name="T4" fmla="*/ 61 w 87"/>
                  <a:gd name="T5" fmla="*/ 16 h 92"/>
                  <a:gd name="T6" fmla="*/ 62 w 87"/>
                  <a:gd name="T7" fmla="*/ 17 h 92"/>
                  <a:gd name="T8" fmla="*/ 69 w 87"/>
                  <a:gd name="T9" fmla="*/ 42 h 92"/>
                  <a:gd name="T10" fmla="*/ 86 w 87"/>
                  <a:gd name="T11" fmla="*/ 35 h 92"/>
                  <a:gd name="T12" fmla="*/ 87 w 87"/>
                  <a:gd name="T13" fmla="*/ 39 h 92"/>
                  <a:gd name="T14" fmla="*/ 76 w 87"/>
                  <a:gd name="T15" fmla="*/ 55 h 92"/>
                  <a:gd name="T16" fmla="*/ 67 w 87"/>
                  <a:gd name="T17" fmla="*/ 76 h 92"/>
                  <a:gd name="T18" fmla="*/ 65 w 87"/>
                  <a:gd name="T19" fmla="*/ 74 h 92"/>
                  <a:gd name="T20" fmla="*/ 69 w 87"/>
                  <a:gd name="T21" fmla="*/ 53 h 92"/>
                  <a:gd name="T22" fmla="*/ 55 w 87"/>
                  <a:gd name="T23" fmla="*/ 40 h 92"/>
                  <a:gd name="T24" fmla="*/ 45 w 87"/>
                  <a:gd name="T25" fmla="*/ 44 h 92"/>
                  <a:gd name="T26" fmla="*/ 46 w 87"/>
                  <a:gd name="T27" fmla="*/ 89 h 92"/>
                  <a:gd name="T28" fmla="*/ 38 w 87"/>
                  <a:gd name="T29" fmla="*/ 92 h 92"/>
                  <a:gd name="T30" fmla="*/ 27 w 87"/>
                  <a:gd name="T31" fmla="*/ 68 h 92"/>
                  <a:gd name="T32" fmla="*/ 14 w 87"/>
                  <a:gd name="T33" fmla="*/ 70 h 92"/>
                  <a:gd name="T34" fmla="*/ 12 w 87"/>
                  <a:gd name="T35" fmla="*/ 65 h 92"/>
                  <a:gd name="T36" fmla="*/ 18 w 87"/>
                  <a:gd name="T37" fmla="*/ 58 h 92"/>
                  <a:gd name="T38" fmla="*/ 0 w 87"/>
                  <a:gd name="T39" fmla="*/ 42 h 92"/>
                  <a:gd name="T40" fmla="*/ 0 w 87"/>
                  <a:gd name="T41" fmla="*/ 42 h 92"/>
                  <a:gd name="T42" fmla="*/ 21 w 87"/>
                  <a:gd name="T43" fmla="*/ 39 h 92"/>
                  <a:gd name="T44" fmla="*/ 27 w 87"/>
                  <a:gd name="T45" fmla="*/ 48 h 92"/>
                  <a:gd name="T46" fmla="*/ 34 w 87"/>
                  <a:gd name="T47" fmla="*/ 52 h 92"/>
                  <a:gd name="T48" fmla="*/ 36 w 87"/>
                  <a:gd name="T49" fmla="*/ 62 h 92"/>
                  <a:gd name="T50" fmla="*/ 39 w 87"/>
                  <a:gd name="T51" fmla="*/ 44 h 92"/>
                  <a:gd name="T52" fmla="*/ 46 w 87"/>
                  <a:gd name="T53" fmla="*/ 28 h 92"/>
                  <a:gd name="T54" fmla="*/ 29 w 87"/>
                  <a:gd name="T55" fmla="*/ 8 h 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87" h="92">
                    <a:moveTo>
                      <a:pt x="29" y="8"/>
                    </a:moveTo>
                    <a:cubicBezTo>
                      <a:pt x="42" y="0"/>
                      <a:pt x="43" y="12"/>
                      <a:pt x="52" y="17"/>
                    </a:cubicBezTo>
                    <a:cubicBezTo>
                      <a:pt x="55" y="15"/>
                      <a:pt x="58" y="15"/>
                      <a:pt x="61" y="16"/>
                    </a:cubicBezTo>
                    <a:cubicBezTo>
                      <a:pt x="61" y="16"/>
                      <a:pt x="62" y="17"/>
                      <a:pt x="62" y="17"/>
                    </a:cubicBezTo>
                    <a:cubicBezTo>
                      <a:pt x="62" y="26"/>
                      <a:pt x="58" y="33"/>
                      <a:pt x="69" y="42"/>
                    </a:cubicBezTo>
                    <a:cubicBezTo>
                      <a:pt x="75" y="35"/>
                      <a:pt x="80" y="33"/>
                      <a:pt x="86" y="35"/>
                    </a:cubicBezTo>
                    <a:cubicBezTo>
                      <a:pt x="87" y="36"/>
                      <a:pt x="87" y="38"/>
                      <a:pt x="87" y="39"/>
                    </a:cubicBezTo>
                    <a:cubicBezTo>
                      <a:pt x="83" y="45"/>
                      <a:pt x="80" y="50"/>
                      <a:pt x="76" y="55"/>
                    </a:cubicBezTo>
                    <a:cubicBezTo>
                      <a:pt x="71" y="62"/>
                      <a:pt x="71" y="70"/>
                      <a:pt x="67" y="76"/>
                    </a:cubicBezTo>
                    <a:cubicBezTo>
                      <a:pt x="66" y="75"/>
                      <a:pt x="66" y="75"/>
                      <a:pt x="65" y="74"/>
                    </a:cubicBezTo>
                    <a:cubicBezTo>
                      <a:pt x="63" y="66"/>
                      <a:pt x="67" y="60"/>
                      <a:pt x="69" y="53"/>
                    </a:cubicBezTo>
                    <a:cubicBezTo>
                      <a:pt x="64" y="51"/>
                      <a:pt x="60" y="46"/>
                      <a:pt x="55" y="40"/>
                    </a:cubicBezTo>
                    <a:cubicBezTo>
                      <a:pt x="52" y="42"/>
                      <a:pt x="49" y="41"/>
                      <a:pt x="45" y="44"/>
                    </a:cubicBezTo>
                    <a:cubicBezTo>
                      <a:pt x="40" y="59"/>
                      <a:pt x="48" y="75"/>
                      <a:pt x="46" y="89"/>
                    </a:cubicBezTo>
                    <a:cubicBezTo>
                      <a:pt x="43" y="92"/>
                      <a:pt x="41" y="91"/>
                      <a:pt x="38" y="92"/>
                    </a:cubicBezTo>
                    <a:cubicBezTo>
                      <a:pt x="31" y="83"/>
                      <a:pt x="33" y="76"/>
                      <a:pt x="27" y="68"/>
                    </a:cubicBezTo>
                    <a:cubicBezTo>
                      <a:pt x="23" y="71"/>
                      <a:pt x="18" y="71"/>
                      <a:pt x="14" y="70"/>
                    </a:cubicBezTo>
                    <a:cubicBezTo>
                      <a:pt x="12" y="68"/>
                      <a:pt x="12" y="67"/>
                      <a:pt x="12" y="65"/>
                    </a:cubicBezTo>
                    <a:cubicBezTo>
                      <a:pt x="14" y="63"/>
                      <a:pt x="16" y="60"/>
                      <a:pt x="18" y="58"/>
                    </a:cubicBezTo>
                    <a:cubicBezTo>
                      <a:pt x="13" y="49"/>
                      <a:pt x="3" y="48"/>
                      <a:pt x="0" y="42"/>
                    </a:cubicBezTo>
                    <a:cubicBezTo>
                      <a:pt x="0" y="42"/>
                      <a:pt x="0" y="42"/>
                      <a:pt x="0" y="42"/>
                    </a:cubicBezTo>
                    <a:cubicBezTo>
                      <a:pt x="6" y="39"/>
                      <a:pt x="15" y="35"/>
                      <a:pt x="21" y="39"/>
                    </a:cubicBezTo>
                    <a:cubicBezTo>
                      <a:pt x="23" y="42"/>
                      <a:pt x="25" y="45"/>
                      <a:pt x="27" y="48"/>
                    </a:cubicBezTo>
                    <a:cubicBezTo>
                      <a:pt x="29" y="50"/>
                      <a:pt x="31" y="51"/>
                      <a:pt x="34" y="52"/>
                    </a:cubicBezTo>
                    <a:cubicBezTo>
                      <a:pt x="34" y="55"/>
                      <a:pt x="35" y="58"/>
                      <a:pt x="36" y="62"/>
                    </a:cubicBezTo>
                    <a:cubicBezTo>
                      <a:pt x="39" y="56"/>
                      <a:pt x="38" y="50"/>
                      <a:pt x="39" y="44"/>
                    </a:cubicBezTo>
                    <a:cubicBezTo>
                      <a:pt x="42" y="39"/>
                      <a:pt x="44" y="34"/>
                      <a:pt x="46" y="28"/>
                    </a:cubicBezTo>
                    <a:cubicBezTo>
                      <a:pt x="42" y="22"/>
                      <a:pt x="31" y="15"/>
                      <a:pt x="29" y="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128" name="íṩľíḑè"/>
              <p:cNvSpPr/>
              <p:nvPr/>
            </p:nvSpPr>
            <p:spPr bwMode="auto">
              <a:xfrm>
                <a:off x="2243034" y="6066428"/>
                <a:ext cx="22225" cy="25400"/>
              </a:xfrm>
              <a:custGeom>
                <a:avLst/>
                <a:gdLst>
                  <a:gd name="T0" fmla="*/ 0 w 14"/>
                  <a:gd name="T1" fmla="*/ 12 h 16"/>
                  <a:gd name="T2" fmla="*/ 2 w 14"/>
                  <a:gd name="T3" fmla="*/ 0 h 16"/>
                  <a:gd name="T4" fmla="*/ 14 w 14"/>
                  <a:gd name="T5" fmla="*/ 4 h 16"/>
                  <a:gd name="T6" fmla="*/ 11 w 14"/>
                  <a:gd name="T7" fmla="*/ 16 h 16"/>
                  <a:gd name="T8" fmla="*/ 0 w 14"/>
                  <a:gd name="T9" fmla="*/ 12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4" h="16">
                    <a:moveTo>
                      <a:pt x="0" y="12"/>
                    </a:moveTo>
                    <a:lnTo>
                      <a:pt x="2" y="0"/>
                    </a:lnTo>
                    <a:lnTo>
                      <a:pt x="14" y="4"/>
                    </a:lnTo>
                    <a:lnTo>
                      <a:pt x="11" y="16"/>
                    </a:lnTo>
                    <a:lnTo>
                      <a:pt x="0" y="1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129" name="îṣḷïḓê"/>
              <p:cNvSpPr/>
              <p:nvPr/>
            </p:nvSpPr>
            <p:spPr bwMode="auto">
              <a:xfrm>
                <a:off x="2292247" y="6042615"/>
                <a:ext cx="49213" cy="100013"/>
              </a:xfrm>
              <a:custGeom>
                <a:avLst/>
                <a:gdLst>
                  <a:gd name="T0" fmla="*/ 17 w 27"/>
                  <a:gd name="T1" fmla="*/ 54 h 54"/>
                  <a:gd name="T2" fmla="*/ 7 w 27"/>
                  <a:gd name="T3" fmla="*/ 52 h 54"/>
                  <a:gd name="T4" fmla="*/ 14 w 27"/>
                  <a:gd name="T5" fmla="*/ 15 h 54"/>
                  <a:gd name="T6" fmla="*/ 0 w 27"/>
                  <a:gd name="T7" fmla="*/ 20 h 54"/>
                  <a:gd name="T8" fmla="*/ 1 w 27"/>
                  <a:gd name="T9" fmla="*/ 11 h 54"/>
                  <a:gd name="T10" fmla="*/ 11 w 27"/>
                  <a:gd name="T11" fmla="*/ 7 h 54"/>
                  <a:gd name="T12" fmla="*/ 18 w 27"/>
                  <a:gd name="T13" fmla="*/ 0 h 54"/>
                  <a:gd name="T14" fmla="*/ 27 w 27"/>
                  <a:gd name="T15" fmla="*/ 2 h 54"/>
                  <a:gd name="T16" fmla="*/ 17 w 27"/>
                  <a:gd name="T17" fmla="*/ 54 h 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7" h="54">
                    <a:moveTo>
                      <a:pt x="17" y="54"/>
                    </a:moveTo>
                    <a:cubicBezTo>
                      <a:pt x="7" y="52"/>
                      <a:pt x="7" y="52"/>
                      <a:pt x="7" y="52"/>
                    </a:cubicBezTo>
                    <a:cubicBezTo>
                      <a:pt x="14" y="15"/>
                      <a:pt x="14" y="15"/>
                      <a:pt x="14" y="15"/>
                    </a:cubicBezTo>
                    <a:cubicBezTo>
                      <a:pt x="10" y="17"/>
                      <a:pt x="5" y="19"/>
                      <a:pt x="0" y="20"/>
                    </a:cubicBezTo>
                    <a:cubicBezTo>
                      <a:pt x="1" y="11"/>
                      <a:pt x="1" y="11"/>
                      <a:pt x="1" y="11"/>
                    </a:cubicBezTo>
                    <a:cubicBezTo>
                      <a:pt x="4" y="10"/>
                      <a:pt x="7" y="9"/>
                      <a:pt x="11" y="7"/>
                    </a:cubicBezTo>
                    <a:cubicBezTo>
                      <a:pt x="14" y="6"/>
                      <a:pt x="17" y="3"/>
                      <a:pt x="18" y="0"/>
                    </a:cubicBezTo>
                    <a:cubicBezTo>
                      <a:pt x="27" y="2"/>
                      <a:pt x="27" y="2"/>
                      <a:pt x="27" y="2"/>
                    </a:cubicBezTo>
                    <a:lnTo>
                      <a:pt x="17" y="5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130" name="i$ḻîḓé"/>
              <p:cNvSpPr/>
              <p:nvPr/>
            </p:nvSpPr>
            <p:spPr bwMode="auto">
              <a:xfrm>
                <a:off x="2363684" y="6052140"/>
                <a:ext cx="66675" cy="100013"/>
              </a:xfrm>
              <a:custGeom>
                <a:avLst/>
                <a:gdLst>
                  <a:gd name="T0" fmla="*/ 0 w 36"/>
                  <a:gd name="T1" fmla="*/ 40 h 54"/>
                  <a:gd name="T2" fmla="*/ 10 w 36"/>
                  <a:gd name="T3" fmla="*/ 39 h 54"/>
                  <a:gd name="T4" fmla="*/ 11 w 36"/>
                  <a:gd name="T5" fmla="*/ 44 h 54"/>
                  <a:gd name="T6" fmla="*/ 15 w 36"/>
                  <a:gd name="T7" fmla="*/ 46 h 54"/>
                  <a:gd name="T8" fmla="*/ 21 w 36"/>
                  <a:gd name="T9" fmla="*/ 43 h 54"/>
                  <a:gd name="T10" fmla="*/ 24 w 36"/>
                  <a:gd name="T11" fmla="*/ 31 h 54"/>
                  <a:gd name="T12" fmla="*/ 15 w 36"/>
                  <a:gd name="T13" fmla="*/ 35 h 54"/>
                  <a:gd name="T14" fmla="*/ 4 w 36"/>
                  <a:gd name="T15" fmla="*/ 30 h 54"/>
                  <a:gd name="T16" fmla="*/ 0 w 36"/>
                  <a:gd name="T17" fmla="*/ 17 h 54"/>
                  <a:gd name="T18" fmla="*/ 6 w 36"/>
                  <a:gd name="T19" fmla="*/ 4 h 54"/>
                  <a:gd name="T20" fmla="*/ 19 w 36"/>
                  <a:gd name="T21" fmla="*/ 0 h 54"/>
                  <a:gd name="T22" fmla="*/ 31 w 36"/>
                  <a:gd name="T23" fmla="*/ 7 h 54"/>
                  <a:gd name="T24" fmla="*/ 35 w 36"/>
                  <a:gd name="T25" fmla="*/ 28 h 54"/>
                  <a:gd name="T26" fmla="*/ 28 w 36"/>
                  <a:gd name="T27" fmla="*/ 49 h 54"/>
                  <a:gd name="T28" fmla="*/ 14 w 36"/>
                  <a:gd name="T29" fmla="*/ 54 h 54"/>
                  <a:gd name="T30" fmla="*/ 4 w 36"/>
                  <a:gd name="T31" fmla="*/ 50 h 54"/>
                  <a:gd name="T32" fmla="*/ 0 w 36"/>
                  <a:gd name="T33" fmla="*/ 40 h 54"/>
                  <a:gd name="T34" fmla="*/ 24 w 36"/>
                  <a:gd name="T35" fmla="*/ 19 h 54"/>
                  <a:gd name="T36" fmla="*/ 23 w 36"/>
                  <a:gd name="T37" fmla="*/ 11 h 54"/>
                  <a:gd name="T38" fmla="*/ 18 w 36"/>
                  <a:gd name="T39" fmla="*/ 8 h 54"/>
                  <a:gd name="T40" fmla="*/ 13 w 36"/>
                  <a:gd name="T41" fmla="*/ 10 h 54"/>
                  <a:gd name="T42" fmla="*/ 10 w 36"/>
                  <a:gd name="T43" fmla="*/ 17 h 54"/>
                  <a:gd name="T44" fmla="*/ 12 w 36"/>
                  <a:gd name="T45" fmla="*/ 25 h 54"/>
                  <a:gd name="T46" fmla="*/ 17 w 36"/>
                  <a:gd name="T47" fmla="*/ 28 h 54"/>
                  <a:gd name="T48" fmla="*/ 22 w 36"/>
                  <a:gd name="T49" fmla="*/ 26 h 54"/>
                  <a:gd name="T50" fmla="*/ 24 w 36"/>
                  <a:gd name="T51" fmla="*/ 19 h 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6" h="54">
                    <a:moveTo>
                      <a:pt x="0" y="40"/>
                    </a:moveTo>
                    <a:cubicBezTo>
                      <a:pt x="10" y="39"/>
                      <a:pt x="10" y="39"/>
                      <a:pt x="10" y="39"/>
                    </a:cubicBezTo>
                    <a:cubicBezTo>
                      <a:pt x="10" y="41"/>
                      <a:pt x="10" y="43"/>
                      <a:pt x="11" y="44"/>
                    </a:cubicBezTo>
                    <a:cubicBezTo>
                      <a:pt x="12" y="45"/>
                      <a:pt x="14" y="46"/>
                      <a:pt x="15" y="46"/>
                    </a:cubicBezTo>
                    <a:cubicBezTo>
                      <a:pt x="17" y="46"/>
                      <a:pt x="19" y="45"/>
                      <a:pt x="21" y="43"/>
                    </a:cubicBezTo>
                    <a:cubicBezTo>
                      <a:pt x="22" y="41"/>
                      <a:pt x="24" y="37"/>
                      <a:pt x="24" y="31"/>
                    </a:cubicBezTo>
                    <a:cubicBezTo>
                      <a:pt x="22" y="34"/>
                      <a:pt x="18" y="35"/>
                      <a:pt x="15" y="35"/>
                    </a:cubicBezTo>
                    <a:cubicBezTo>
                      <a:pt x="10" y="35"/>
                      <a:pt x="7" y="33"/>
                      <a:pt x="4" y="30"/>
                    </a:cubicBezTo>
                    <a:cubicBezTo>
                      <a:pt x="1" y="26"/>
                      <a:pt x="0" y="22"/>
                      <a:pt x="0" y="17"/>
                    </a:cubicBezTo>
                    <a:cubicBezTo>
                      <a:pt x="1" y="11"/>
                      <a:pt x="3" y="7"/>
                      <a:pt x="6" y="4"/>
                    </a:cubicBezTo>
                    <a:cubicBezTo>
                      <a:pt x="10" y="1"/>
                      <a:pt x="14" y="0"/>
                      <a:pt x="19" y="0"/>
                    </a:cubicBezTo>
                    <a:cubicBezTo>
                      <a:pt x="24" y="0"/>
                      <a:pt x="28" y="3"/>
                      <a:pt x="31" y="7"/>
                    </a:cubicBezTo>
                    <a:cubicBezTo>
                      <a:pt x="35" y="12"/>
                      <a:pt x="36" y="19"/>
                      <a:pt x="35" y="28"/>
                    </a:cubicBezTo>
                    <a:cubicBezTo>
                      <a:pt x="34" y="38"/>
                      <a:pt x="32" y="44"/>
                      <a:pt x="28" y="49"/>
                    </a:cubicBezTo>
                    <a:cubicBezTo>
                      <a:pt x="24" y="53"/>
                      <a:pt x="20" y="54"/>
                      <a:pt x="14" y="54"/>
                    </a:cubicBezTo>
                    <a:cubicBezTo>
                      <a:pt x="10" y="54"/>
                      <a:pt x="7" y="52"/>
                      <a:pt x="4" y="50"/>
                    </a:cubicBezTo>
                    <a:cubicBezTo>
                      <a:pt x="2" y="48"/>
                      <a:pt x="0" y="44"/>
                      <a:pt x="0" y="40"/>
                    </a:cubicBezTo>
                    <a:close/>
                    <a:moveTo>
                      <a:pt x="24" y="19"/>
                    </a:moveTo>
                    <a:cubicBezTo>
                      <a:pt x="25" y="16"/>
                      <a:pt x="24" y="13"/>
                      <a:pt x="23" y="11"/>
                    </a:cubicBezTo>
                    <a:cubicBezTo>
                      <a:pt x="21" y="10"/>
                      <a:pt x="20" y="9"/>
                      <a:pt x="18" y="8"/>
                    </a:cubicBezTo>
                    <a:cubicBezTo>
                      <a:pt x="16" y="8"/>
                      <a:pt x="14" y="9"/>
                      <a:pt x="13" y="10"/>
                    </a:cubicBezTo>
                    <a:cubicBezTo>
                      <a:pt x="11" y="12"/>
                      <a:pt x="11" y="14"/>
                      <a:pt x="10" y="17"/>
                    </a:cubicBezTo>
                    <a:cubicBezTo>
                      <a:pt x="10" y="21"/>
                      <a:pt x="11" y="23"/>
                      <a:pt x="12" y="25"/>
                    </a:cubicBezTo>
                    <a:cubicBezTo>
                      <a:pt x="13" y="27"/>
                      <a:pt x="15" y="28"/>
                      <a:pt x="17" y="28"/>
                    </a:cubicBezTo>
                    <a:cubicBezTo>
                      <a:pt x="19" y="28"/>
                      <a:pt x="20" y="27"/>
                      <a:pt x="22" y="26"/>
                    </a:cubicBezTo>
                    <a:cubicBezTo>
                      <a:pt x="23" y="24"/>
                      <a:pt x="24" y="22"/>
                      <a:pt x="24" y="1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131" name="îṧľîḋé"/>
              <p:cNvSpPr/>
              <p:nvPr/>
            </p:nvSpPr>
            <p:spPr bwMode="auto">
              <a:xfrm>
                <a:off x="2446234" y="6053728"/>
                <a:ext cx="66675" cy="100013"/>
              </a:xfrm>
              <a:custGeom>
                <a:avLst/>
                <a:gdLst>
                  <a:gd name="T0" fmla="*/ 0 w 36"/>
                  <a:gd name="T1" fmla="*/ 40 h 54"/>
                  <a:gd name="T2" fmla="*/ 10 w 36"/>
                  <a:gd name="T3" fmla="*/ 39 h 54"/>
                  <a:gd name="T4" fmla="*/ 13 w 36"/>
                  <a:gd name="T5" fmla="*/ 44 h 54"/>
                  <a:gd name="T6" fmla="*/ 18 w 36"/>
                  <a:gd name="T7" fmla="*/ 46 h 54"/>
                  <a:gd name="T8" fmla="*/ 23 w 36"/>
                  <a:gd name="T9" fmla="*/ 43 h 54"/>
                  <a:gd name="T10" fmla="*/ 25 w 36"/>
                  <a:gd name="T11" fmla="*/ 35 h 54"/>
                  <a:gd name="T12" fmla="*/ 23 w 36"/>
                  <a:gd name="T13" fmla="*/ 28 h 54"/>
                  <a:gd name="T14" fmla="*/ 17 w 36"/>
                  <a:gd name="T15" fmla="*/ 26 h 54"/>
                  <a:gd name="T16" fmla="*/ 9 w 36"/>
                  <a:gd name="T17" fmla="*/ 30 h 54"/>
                  <a:gd name="T18" fmla="*/ 1 w 36"/>
                  <a:gd name="T19" fmla="*/ 29 h 54"/>
                  <a:gd name="T20" fmla="*/ 5 w 36"/>
                  <a:gd name="T21" fmla="*/ 1 h 54"/>
                  <a:gd name="T22" fmla="*/ 32 w 36"/>
                  <a:gd name="T23" fmla="*/ 0 h 54"/>
                  <a:gd name="T24" fmla="*/ 32 w 36"/>
                  <a:gd name="T25" fmla="*/ 10 h 54"/>
                  <a:gd name="T26" fmla="*/ 13 w 36"/>
                  <a:gd name="T27" fmla="*/ 10 h 54"/>
                  <a:gd name="T28" fmla="*/ 12 w 36"/>
                  <a:gd name="T29" fmla="*/ 19 h 54"/>
                  <a:gd name="T30" fmla="*/ 19 w 36"/>
                  <a:gd name="T31" fmla="*/ 17 h 54"/>
                  <a:gd name="T32" fmla="*/ 30 w 36"/>
                  <a:gd name="T33" fmla="*/ 22 h 54"/>
                  <a:gd name="T34" fmla="*/ 36 w 36"/>
                  <a:gd name="T35" fmla="*/ 34 h 54"/>
                  <a:gd name="T36" fmla="*/ 32 w 36"/>
                  <a:gd name="T37" fmla="*/ 46 h 54"/>
                  <a:gd name="T38" fmla="*/ 18 w 36"/>
                  <a:gd name="T39" fmla="*/ 54 h 54"/>
                  <a:gd name="T40" fmla="*/ 6 w 36"/>
                  <a:gd name="T41" fmla="*/ 50 h 54"/>
                  <a:gd name="T42" fmla="*/ 0 w 36"/>
                  <a:gd name="T43" fmla="*/ 40 h 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36" h="54">
                    <a:moveTo>
                      <a:pt x="0" y="40"/>
                    </a:moveTo>
                    <a:cubicBezTo>
                      <a:pt x="10" y="39"/>
                      <a:pt x="10" y="39"/>
                      <a:pt x="10" y="39"/>
                    </a:cubicBezTo>
                    <a:cubicBezTo>
                      <a:pt x="11" y="41"/>
                      <a:pt x="11" y="43"/>
                      <a:pt x="13" y="44"/>
                    </a:cubicBezTo>
                    <a:cubicBezTo>
                      <a:pt x="14" y="45"/>
                      <a:pt x="16" y="46"/>
                      <a:pt x="18" y="46"/>
                    </a:cubicBezTo>
                    <a:cubicBezTo>
                      <a:pt x="20" y="46"/>
                      <a:pt x="22" y="45"/>
                      <a:pt x="23" y="43"/>
                    </a:cubicBezTo>
                    <a:cubicBezTo>
                      <a:pt x="25" y="41"/>
                      <a:pt x="25" y="38"/>
                      <a:pt x="25" y="35"/>
                    </a:cubicBezTo>
                    <a:cubicBezTo>
                      <a:pt x="25" y="32"/>
                      <a:pt x="24" y="29"/>
                      <a:pt x="23" y="28"/>
                    </a:cubicBezTo>
                    <a:cubicBezTo>
                      <a:pt x="21" y="26"/>
                      <a:pt x="19" y="25"/>
                      <a:pt x="17" y="26"/>
                    </a:cubicBezTo>
                    <a:cubicBezTo>
                      <a:pt x="14" y="26"/>
                      <a:pt x="11" y="27"/>
                      <a:pt x="9" y="30"/>
                    </a:cubicBezTo>
                    <a:cubicBezTo>
                      <a:pt x="1" y="29"/>
                      <a:pt x="1" y="29"/>
                      <a:pt x="1" y="29"/>
                    </a:cubicBezTo>
                    <a:cubicBezTo>
                      <a:pt x="5" y="1"/>
                      <a:pt x="5" y="1"/>
                      <a:pt x="5" y="1"/>
                    </a:cubicBezTo>
                    <a:cubicBezTo>
                      <a:pt x="32" y="0"/>
                      <a:pt x="32" y="0"/>
                      <a:pt x="32" y="0"/>
                    </a:cubicBezTo>
                    <a:cubicBezTo>
                      <a:pt x="32" y="10"/>
                      <a:pt x="32" y="10"/>
                      <a:pt x="32" y="10"/>
                    </a:cubicBezTo>
                    <a:cubicBezTo>
                      <a:pt x="13" y="10"/>
                      <a:pt x="13" y="10"/>
                      <a:pt x="13" y="10"/>
                    </a:cubicBezTo>
                    <a:cubicBezTo>
                      <a:pt x="12" y="19"/>
                      <a:pt x="12" y="19"/>
                      <a:pt x="12" y="19"/>
                    </a:cubicBezTo>
                    <a:cubicBezTo>
                      <a:pt x="14" y="18"/>
                      <a:pt x="16" y="17"/>
                      <a:pt x="19" y="17"/>
                    </a:cubicBezTo>
                    <a:cubicBezTo>
                      <a:pt x="23" y="17"/>
                      <a:pt x="27" y="19"/>
                      <a:pt x="30" y="22"/>
                    </a:cubicBezTo>
                    <a:cubicBezTo>
                      <a:pt x="34" y="25"/>
                      <a:pt x="35" y="29"/>
                      <a:pt x="36" y="34"/>
                    </a:cubicBezTo>
                    <a:cubicBezTo>
                      <a:pt x="36" y="39"/>
                      <a:pt x="35" y="43"/>
                      <a:pt x="32" y="46"/>
                    </a:cubicBezTo>
                    <a:cubicBezTo>
                      <a:pt x="29" y="51"/>
                      <a:pt x="24" y="54"/>
                      <a:pt x="18" y="54"/>
                    </a:cubicBezTo>
                    <a:cubicBezTo>
                      <a:pt x="13" y="54"/>
                      <a:pt x="9" y="53"/>
                      <a:pt x="6" y="50"/>
                    </a:cubicBezTo>
                    <a:cubicBezTo>
                      <a:pt x="3" y="48"/>
                      <a:pt x="1" y="44"/>
                      <a:pt x="0" y="4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132" name="i$ḻïḑê"/>
              <p:cNvSpPr/>
              <p:nvPr/>
            </p:nvSpPr>
            <p:spPr bwMode="auto">
              <a:xfrm>
                <a:off x="2522434" y="6045790"/>
                <a:ext cx="74613" cy="103188"/>
              </a:xfrm>
              <a:custGeom>
                <a:avLst/>
                <a:gdLst>
                  <a:gd name="T0" fmla="*/ 39 w 40"/>
                  <a:gd name="T1" fmla="*/ 42 h 56"/>
                  <a:gd name="T2" fmla="*/ 40 w 40"/>
                  <a:gd name="T3" fmla="*/ 51 h 56"/>
                  <a:gd name="T4" fmla="*/ 5 w 40"/>
                  <a:gd name="T5" fmla="*/ 56 h 56"/>
                  <a:gd name="T6" fmla="*/ 7 w 40"/>
                  <a:gd name="T7" fmla="*/ 46 h 56"/>
                  <a:gd name="T8" fmla="*/ 16 w 40"/>
                  <a:gd name="T9" fmla="*/ 32 h 56"/>
                  <a:gd name="T10" fmla="*/ 23 w 40"/>
                  <a:gd name="T11" fmla="*/ 22 h 56"/>
                  <a:gd name="T12" fmla="*/ 24 w 40"/>
                  <a:gd name="T13" fmla="*/ 15 h 56"/>
                  <a:gd name="T14" fmla="*/ 22 w 40"/>
                  <a:gd name="T15" fmla="*/ 10 h 56"/>
                  <a:gd name="T16" fmla="*/ 17 w 40"/>
                  <a:gd name="T17" fmla="*/ 9 h 56"/>
                  <a:gd name="T18" fmla="*/ 12 w 40"/>
                  <a:gd name="T19" fmla="*/ 12 h 56"/>
                  <a:gd name="T20" fmla="*/ 11 w 40"/>
                  <a:gd name="T21" fmla="*/ 19 h 56"/>
                  <a:gd name="T22" fmla="*/ 1 w 40"/>
                  <a:gd name="T23" fmla="*/ 19 h 56"/>
                  <a:gd name="T24" fmla="*/ 4 w 40"/>
                  <a:gd name="T25" fmla="*/ 6 h 56"/>
                  <a:gd name="T26" fmla="*/ 16 w 40"/>
                  <a:gd name="T27" fmla="*/ 1 h 56"/>
                  <a:gd name="T28" fmla="*/ 28 w 40"/>
                  <a:gd name="T29" fmla="*/ 3 h 56"/>
                  <a:gd name="T30" fmla="*/ 34 w 40"/>
                  <a:gd name="T31" fmla="*/ 13 h 56"/>
                  <a:gd name="T32" fmla="*/ 34 w 40"/>
                  <a:gd name="T33" fmla="*/ 20 h 56"/>
                  <a:gd name="T34" fmla="*/ 31 w 40"/>
                  <a:gd name="T35" fmla="*/ 27 h 56"/>
                  <a:gd name="T36" fmla="*/ 26 w 40"/>
                  <a:gd name="T37" fmla="*/ 35 h 56"/>
                  <a:gd name="T38" fmla="*/ 20 w 40"/>
                  <a:gd name="T39" fmla="*/ 42 h 56"/>
                  <a:gd name="T40" fmla="*/ 19 w 40"/>
                  <a:gd name="T41" fmla="*/ 45 h 56"/>
                  <a:gd name="T42" fmla="*/ 39 w 40"/>
                  <a:gd name="T43" fmla="*/ 42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40" h="56">
                    <a:moveTo>
                      <a:pt x="39" y="42"/>
                    </a:moveTo>
                    <a:cubicBezTo>
                      <a:pt x="40" y="51"/>
                      <a:pt x="40" y="51"/>
                      <a:pt x="40" y="51"/>
                    </a:cubicBezTo>
                    <a:cubicBezTo>
                      <a:pt x="5" y="56"/>
                      <a:pt x="5" y="56"/>
                      <a:pt x="5" y="56"/>
                    </a:cubicBezTo>
                    <a:cubicBezTo>
                      <a:pt x="5" y="53"/>
                      <a:pt x="5" y="49"/>
                      <a:pt x="7" y="46"/>
                    </a:cubicBezTo>
                    <a:cubicBezTo>
                      <a:pt x="8" y="42"/>
                      <a:pt x="11" y="38"/>
                      <a:pt x="16" y="32"/>
                    </a:cubicBezTo>
                    <a:cubicBezTo>
                      <a:pt x="20" y="27"/>
                      <a:pt x="22" y="23"/>
                      <a:pt x="23" y="22"/>
                    </a:cubicBezTo>
                    <a:cubicBezTo>
                      <a:pt x="24" y="19"/>
                      <a:pt x="25" y="17"/>
                      <a:pt x="24" y="15"/>
                    </a:cubicBezTo>
                    <a:cubicBezTo>
                      <a:pt x="24" y="13"/>
                      <a:pt x="23" y="11"/>
                      <a:pt x="22" y="10"/>
                    </a:cubicBezTo>
                    <a:cubicBezTo>
                      <a:pt x="21" y="9"/>
                      <a:pt x="19" y="9"/>
                      <a:pt x="17" y="9"/>
                    </a:cubicBezTo>
                    <a:cubicBezTo>
                      <a:pt x="15" y="10"/>
                      <a:pt x="13" y="11"/>
                      <a:pt x="12" y="12"/>
                    </a:cubicBezTo>
                    <a:cubicBezTo>
                      <a:pt x="11" y="13"/>
                      <a:pt x="10" y="16"/>
                      <a:pt x="11" y="19"/>
                    </a:cubicBezTo>
                    <a:cubicBezTo>
                      <a:pt x="1" y="19"/>
                      <a:pt x="1" y="19"/>
                      <a:pt x="1" y="19"/>
                    </a:cubicBezTo>
                    <a:cubicBezTo>
                      <a:pt x="0" y="13"/>
                      <a:pt x="2" y="9"/>
                      <a:pt x="4" y="6"/>
                    </a:cubicBezTo>
                    <a:cubicBezTo>
                      <a:pt x="7" y="3"/>
                      <a:pt x="11" y="2"/>
                      <a:pt x="16" y="1"/>
                    </a:cubicBezTo>
                    <a:cubicBezTo>
                      <a:pt x="21" y="0"/>
                      <a:pt x="25" y="1"/>
                      <a:pt x="28" y="3"/>
                    </a:cubicBezTo>
                    <a:cubicBezTo>
                      <a:pt x="32" y="6"/>
                      <a:pt x="34" y="9"/>
                      <a:pt x="34" y="13"/>
                    </a:cubicBezTo>
                    <a:cubicBezTo>
                      <a:pt x="35" y="15"/>
                      <a:pt x="35" y="18"/>
                      <a:pt x="34" y="20"/>
                    </a:cubicBezTo>
                    <a:cubicBezTo>
                      <a:pt x="34" y="22"/>
                      <a:pt x="33" y="25"/>
                      <a:pt x="31" y="27"/>
                    </a:cubicBezTo>
                    <a:cubicBezTo>
                      <a:pt x="30" y="29"/>
                      <a:pt x="28" y="32"/>
                      <a:pt x="26" y="35"/>
                    </a:cubicBezTo>
                    <a:cubicBezTo>
                      <a:pt x="23" y="38"/>
                      <a:pt x="21" y="41"/>
                      <a:pt x="20" y="42"/>
                    </a:cubicBezTo>
                    <a:cubicBezTo>
                      <a:pt x="20" y="43"/>
                      <a:pt x="19" y="44"/>
                      <a:pt x="19" y="45"/>
                    </a:cubicBezTo>
                    <a:lnTo>
                      <a:pt x="39" y="4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133" name="íṧlíḍe"/>
              <p:cNvSpPr/>
              <p:nvPr/>
            </p:nvSpPr>
            <p:spPr bwMode="auto">
              <a:xfrm>
                <a:off x="2611334" y="6072778"/>
                <a:ext cx="22225" cy="23813"/>
              </a:xfrm>
              <a:custGeom>
                <a:avLst/>
                <a:gdLst>
                  <a:gd name="T0" fmla="*/ 3 w 14"/>
                  <a:gd name="T1" fmla="*/ 15 h 15"/>
                  <a:gd name="T2" fmla="*/ 0 w 14"/>
                  <a:gd name="T3" fmla="*/ 3 h 15"/>
                  <a:gd name="T4" fmla="*/ 11 w 14"/>
                  <a:gd name="T5" fmla="*/ 0 h 15"/>
                  <a:gd name="T6" fmla="*/ 14 w 14"/>
                  <a:gd name="T7" fmla="*/ 12 h 15"/>
                  <a:gd name="T8" fmla="*/ 3 w 14"/>
                  <a:gd name="T9" fmla="*/ 15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4" h="15">
                    <a:moveTo>
                      <a:pt x="3" y="15"/>
                    </a:moveTo>
                    <a:lnTo>
                      <a:pt x="0" y="3"/>
                    </a:lnTo>
                    <a:lnTo>
                      <a:pt x="11" y="0"/>
                    </a:lnTo>
                    <a:lnTo>
                      <a:pt x="14" y="12"/>
                    </a:lnTo>
                    <a:lnTo>
                      <a:pt x="3" y="1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134" name="îŝľîḓê"/>
              <p:cNvSpPr/>
              <p:nvPr/>
            </p:nvSpPr>
            <p:spPr bwMode="auto">
              <a:xfrm>
                <a:off x="2108097" y="5261565"/>
                <a:ext cx="141288" cy="257175"/>
              </a:xfrm>
              <a:custGeom>
                <a:avLst/>
                <a:gdLst>
                  <a:gd name="T0" fmla="*/ 12 w 77"/>
                  <a:gd name="T1" fmla="*/ 25 h 139"/>
                  <a:gd name="T2" fmla="*/ 9 w 77"/>
                  <a:gd name="T3" fmla="*/ 21 h 139"/>
                  <a:gd name="T4" fmla="*/ 12 w 77"/>
                  <a:gd name="T5" fmla="*/ 17 h 139"/>
                  <a:gd name="T6" fmla="*/ 39 w 77"/>
                  <a:gd name="T7" fmla="*/ 21 h 139"/>
                  <a:gd name="T8" fmla="*/ 46 w 77"/>
                  <a:gd name="T9" fmla="*/ 36 h 139"/>
                  <a:gd name="T10" fmla="*/ 46 w 77"/>
                  <a:gd name="T11" fmla="*/ 39 h 139"/>
                  <a:gd name="T12" fmla="*/ 61 w 77"/>
                  <a:gd name="T13" fmla="*/ 33 h 139"/>
                  <a:gd name="T14" fmla="*/ 57 w 77"/>
                  <a:gd name="T15" fmla="*/ 16 h 139"/>
                  <a:gd name="T16" fmla="*/ 35 w 77"/>
                  <a:gd name="T17" fmla="*/ 9 h 139"/>
                  <a:gd name="T18" fmla="*/ 27 w 77"/>
                  <a:gd name="T19" fmla="*/ 3 h 139"/>
                  <a:gd name="T20" fmla="*/ 32 w 77"/>
                  <a:gd name="T21" fmla="*/ 0 h 139"/>
                  <a:gd name="T22" fmla="*/ 61 w 77"/>
                  <a:gd name="T23" fmla="*/ 9 h 139"/>
                  <a:gd name="T24" fmla="*/ 72 w 77"/>
                  <a:gd name="T25" fmla="*/ 30 h 139"/>
                  <a:gd name="T26" fmla="*/ 48 w 77"/>
                  <a:gd name="T27" fmla="*/ 45 h 139"/>
                  <a:gd name="T28" fmla="*/ 45 w 77"/>
                  <a:gd name="T29" fmla="*/ 46 h 139"/>
                  <a:gd name="T30" fmla="*/ 45 w 77"/>
                  <a:gd name="T31" fmla="*/ 54 h 139"/>
                  <a:gd name="T32" fmla="*/ 59 w 77"/>
                  <a:gd name="T33" fmla="*/ 61 h 139"/>
                  <a:gd name="T34" fmla="*/ 77 w 77"/>
                  <a:gd name="T35" fmla="*/ 80 h 139"/>
                  <a:gd name="T36" fmla="*/ 75 w 77"/>
                  <a:gd name="T37" fmla="*/ 84 h 139"/>
                  <a:gd name="T38" fmla="*/ 71 w 77"/>
                  <a:gd name="T39" fmla="*/ 83 h 139"/>
                  <a:gd name="T40" fmla="*/ 59 w 77"/>
                  <a:gd name="T41" fmla="*/ 70 h 139"/>
                  <a:gd name="T42" fmla="*/ 45 w 77"/>
                  <a:gd name="T43" fmla="*/ 63 h 139"/>
                  <a:gd name="T44" fmla="*/ 45 w 77"/>
                  <a:gd name="T45" fmla="*/ 77 h 139"/>
                  <a:gd name="T46" fmla="*/ 53 w 77"/>
                  <a:gd name="T47" fmla="*/ 83 h 139"/>
                  <a:gd name="T48" fmla="*/ 66 w 77"/>
                  <a:gd name="T49" fmla="*/ 102 h 139"/>
                  <a:gd name="T50" fmla="*/ 72 w 77"/>
                  <a:gd name="T51" fmla="*/ 121 h 139"/>
                  <a:gd name="T52" fmla="*/ 70 w 77"/>
                  <a:gd name="T53" fmla="*/ 124 h 139"/>
                  <a:gd name="T54" fmla="*/ 67 w 77"/>
                  <a:gd name="T55" fmla="*/ 122 h 139"/>
                  <a:gd name="T56" fmla="*/ 64 w 77"/>
                  <a:gd name="T57" fmla="*/ 115 h 139"/>
                  <a:gd name="T58" fmla="*/ 55 w 77"/>
                  <a:gd name="T59" fmla="*/ 97 h 139"/>
                  <a:gd name="T60" fmla="*/ 45 w 77"/>
                  <a:gd name="T61" fmla="*/ 87 h 139"/>
                  <a:gd name="T62" fmla="*/ 45 w 77"/>
                  <a:gd name="T63" fmla="*/ 102 h 139"/>
                  <a:gd name="T64" fmla="*/ 44 w 77"/>
                  <a:gd name="T65" fmla="*/ 136 h 139"/>
                  <a:gd name="T66" fmla="*/ 41 w 77"/>
                  <a:gd name="T67" fmla="*/ 139 h 139"/>
                  <a:gd name="T68" fmla="*/ 38 w 77"/>
                  <a:gd name="T69" fmla="*/ 137 h 139"/>
                  <a:gd name="T70" fmla="*/ 37 w 77"/>
                  <a:gd name="T71" fmla="*/ 103 h 139"/>
                  <a:gd name="T72" fmla="*/ 37 w 77"/>
                  <a:gd name="T73" fmla="*/ 86 h 139"/>
                  <a:gd name="T74" fmla="*/ 28 w 77"/>
                  <a:gd name="T75" fmla="*/ 92 h 139"/>
                  <a:gd name="T76" fmla="*/ 19 w 77"/>
                  <a:gd name="T77" fmla="*/ 109 h 139"/>
                  <a:gd name="T78" fmla="*/ 12 w 77"/>
                  <a:gd name="T79" fmla="*/ 121 h 139"/>
                  <a:gd name="T80" fmla="*/ 8 w 77"/>
                  <a:gd name="T81" fmla="*/ 122 h 139"/>
                  <a:gd name="T82" fmla="*/ 7 w 77"/>
                  <a:gd name="T83" fmla="*/ 120 h 139"/>
                  <a:gd name="T84" fmla="*/ 8 w 77"/>
                  <a:gd name="T85" fmla="*/ 117 h 139"/>
                  <a:gd name="T86" fmla="*/ 11 w 77"/>
                  <a:gd name="T87" fmla="*/ 106 h 139"/>
                  <a:gd name="T88" fmla="*/ 22 w 77"/>
                  <a:gd name="T89" fmla="*/ 86 h 139"/>
                  <a:gd name="T90" fmla="*/ 37 w 77"/>
                  <a:gd name="T91" fmla="*/ 76 h 139"/>
                  <a:gd name="T92" fmla="*/ 37 w 77"/>
                  <a:gd name="T93" fmla="*/ 68 h 139"/>
                  <a:gd name="T94" fmla="*/ 37 w 77"/>
                  <a:gd name="T95" fmla="*/ 63 h 139"/>
                  <a:gd name="T96" fmla="*/ 24 w 77"/>
                  <a:gd name="T97" fmla="*/ 69 h 139"/>
                  <a:gd name="T98" fmla="*/ 16 w 77"/>
                  <a:gd name="T99" fmla="*/ 77 h 139"/>
                  <a:gd name="T100" fmla="*/ 9 w 77"/>
                  <a:gd name="T101" fmla="*/ 85 h 139"/>
                  <a:gd name="T102" fmla="*/ 6 w 77"/>
                  <a:gd name="T103" fmla="*/ 86 h 139"/>
                  <a:gd name="T104" fmla="*/ 5 w 77"/>
                  <a:gd name="T105" fmla="*/ 82 h 139"/>
                  <a:gd name="T106" fmla="*/ 22 w 77"/>
                  <a:gd name="T107" fmla="*/ 60 h 139"/>
                  <a:gd name="T108" fmla="*/ 37 w 77"/>
                  <a:gd name="T109" fmla="*/ 54 h 139"/>
                  <a:gd name="T110" fmla="*/ 37 w 77"/>
                  <a:gd name="T111" fmla="*/ 47 h 139"/>
                  <a:gd name="T112" fmla="*/ 3 w 77"/>
                  <a:gd name="T113" fmla="*/ 45 h 139"/>
                  <a:gd name="T114" fmla="*/ 0 w 77"/>
                  <a:gd name="T115" fmla="*/ 40 h 139"/>
                  <a:gd name="T116" fmla="*/ 5 w 77"/>
                  <a:gd name="T117" fmla="*/ 38 h 139"/>
                  <a:gd name="T118" fmla="*/ 37 w 77"/>
                  <a:gd name="T119" fmla="*/ 39 h 139"/>
                  <a:gd name="T120" fmla="*/ 37 w 77"/>
                  <a:gd name="T121" fmla="*/ 39 h 139"/>
                  <a:gd name="T122" fmla="*/ 33 w 77"/>
                  <a:gd name="T123" fmla="*/ 28 h 139"/>
                  <a:gd name="T124" fmla="*/ 12 w 77"/>
                  <a:gd name="T125" fmla="*/ 25 h 1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77" h="139">
                    <a:moveTo>
                      <a:pt x="12" y="25"/>
                    </a:moveTo>
                    <a:cubicBezTo>
                      <a:pt x="10" y="25"/>
                      <a:pt x="9" y="24"/>
                      <a:pt x="9" y="21"/>
                    </a:cubicBezTo>
                    <a:cubicBezTo>
                      <a:pt x="9" y="18"/>
                      <a:pt x="10" y="17"/>
                      <a:pt x="12" y="17"/>
                    </a:cubicBezTo>
                    <a:cubicBezTo>
                      <a:pt x="24" y="17"/>
                      <a:pt x="33" y="18"/>
                      <a:pt x="39" y="21"/>
                    </a:cubicBezTo>
                    <a:cubicBezTo>
                      <a:pt x="45" y="24"/>
                      <a:pt x="47" y="28"/>
                      <a:pt x="46" y="36"/>
                    </a:cubicBezTo>
                    <a:cubicBezTo>
                      <a:pt x="46" y="37"/>
                      <a:pt x="46" y="38"/>
                      <a:pt x="46" y="39"/>
                    </a:cubicBezTo>
                    <a:cubicBezTo>
                      <a:pt x="53" y="38"/>
                      <a:pt x="58" y="35"/>
                      <a:pt x="61" y="33"/>
                    </a:cubicBezTo>
                    <a:cubicBezTo>
                      <a:pt x="65" y="27"/>
                      <a:pt x="64" y="22"/>
                      <a:pt x="57" y="16"/>
                    </a:cubicBezTo>
                    <a:cubicBezTo>
                      <a:pt x="52" y="12"/>
                      <a:pt x="44" y="9"/>
                      <a:pt x="35" y="9"/>
                    </a:cubicBezTo>
                    <a:cubicBezTo>
                      <a:pt x="30" y="8"/>
                      <a:pt x="28" y="6"/>
                      <a:pt x="27" y="3"/>
                    </a:cubicBezTo>
                    <a:cubicBezTo>
                      <a:pt x="27" y="1"/>
                      <a:pt x="29" y="0"/>
                      <a:pt x="32" y="0"/>
                    </a:cubicBezTo>
                    <a:cubicBezTo>
                      <a:pt x="44" y="0"/>
                      <a:pt x="53" y="3"/>
                      <a:pt x="61" y="9"/>
                    </a:cubicBezTo>
                    <a:cubicBezTo>
                      <a:pt x="69" y="16"/>
                      <a:pt x="73" y="23"/>
                      <a:pt x="72" y="30"/>
                    </a:cubicBezTo>
                    <a:cubicBezTo>
                      <a:pt x="68" y="37"/>
                      <a:pt x="60" y="43"/>
                      <a:pt x="48" y="45"/>
                    </a:cubicBezTo>
                    <a:cubicBezTo>
                      <a:pt x="47" y="46"/>
                      <a:pt x="46" y="46"/>
                      <a:pt x="45" y="46"/>
                    </a:cubicBezTo>
                    <a:cubicBezTo>
                      <a:pt x="45" y="48"/>
                      <a:pt x="45" y="51"/>
                      <a:pt x="45" y="54"/>
                    </a:cubicBezTo>
                    <a:cubicBezTo>
                      <a:pt x="49" y="54"/>
                      <a:pt x="54" y="57"/>
                      <a:pt x="59" y="61"/>
                    </a:cubicBezTo>
                    <a:cubicBezTo>
                      <a:pt x="66" y="66"/>
                      <a:pt x="72" y="72"/>
                      <a:pt x="77" y="80"/>
                    </a:cubicBezTo>
                    <a:cubicBezTo>
                      <a:pt x="77" y="82"/>
                      <a:pt x="77" y="83"/>
                      <a:pt x="75" y="84"/>
                    </a:cubicBezTo>
                    <a:cubicBezTo>
                      <a:pt x="74" y="85"/>
                      <a:pt x="72" y="85"/>
                      <a:pt x="71" y="83"/>
                    </a:cubicBezTo>
                    <a:cubicBezTo>
                      <a:pt x="69" y="80"/>
                      <a:pt x="65" y="76"/>
                      <a:pt x="59" y="70"/>
                    </a:cubicBezTo>
                    <a:cubicBezTo>
                      <a:pt x="54" y="66"/>
                      <a:pt x="49" y="64"/>
                      <a:pt x="45" y="63"/>
                    </a:cubicBezTo>
                    <a:cubicBezTo>
                      <a:pt x="45" y="77"/>
                      <a:pt x="45" y="77"/>
                      <a:pt x="45" y="77"/>
                    </a:cubicBezTo>
                    <a:cubicBezTo>
                      <a:pt x="48" y="78"/>
                      <a:pt x="51" y="80"/>
                      <a:pt x="53" y="83"/>
                    </a:cubicBezTo>
                    <a:cubicBezTo>
                      <a:pt x="59" y="88"/>
                      <a:pt x="63" y="94"/>
                      <a:pt x="66" y="102"/>
                    </a:cubicBezTo>
                    <a:cubicBezTo>
                      <a:pt x="71" y="109"/>
                      <a:pt x="73" y="116"/>
                      <a:pt x="72" y="121"/>
                    </a:cubicBezTo>
                    <a:cubicBezTo>
                      <a:pt x="72" y="122"/>
                      <a:pt x="72" y="123"/>
                      <a:pt x="70" y="124"/>
                    </a:cubicBezTo>
                    <a:cubicBezTo>
                      <a:pt x="69" y="124"/>
                      <a:pt x="68" y="124"/>
                      <a:pt x="67" y="122"/>
                    </a:cubicBezTo>
                    <a:cubicBezTo>
                      <a:pt x="67" y="121"/>
                      <a:pt x="66" y="118"/>
                      <a:pt x="64" y="115"/>
                    </a:cubicBezTo>
                    <a:cubicBezTo>
                      <a:pt x="60" y="107"/>
                      <a:pt x="57" y="102"/>
                      <a:pt x="55" y="97"/>
                    </a:cubicBezTo>
                    <a:cubicBezTo>
                      <a:pt x="51" y="91"/>
                      <a:pt x="48" y="88"/>
                      <a:pt x="45" y="87"/>
                    </a:cubicBezTo>
                    <a:cubicBezTo>
                      <a:pt x="45" y="102"/>
                      <a:pt x="45" y="102"/>
                      <a:pt x="45" y="102"/>
                    </a:cubicBezTo>
                    <a:cubicBezTo>
                      <a:pt x="45" y="117"/>
                      <a:pt x="45" y="128"/>
                      <a:pt x="44" y="136"/>
                    </a:cubicBezTo>
                    <a:cubicBezTo>
                      <a:pt x="43" y="137"/>
                      <a:pt x="42" y="138"/>
                      <a:pt x="41" y="139"/>
                    </a:cubicBezTo>
                    <a:cubicBezTo>
                      <a:pt x="40" y="139"/>
                      <a:pt x="39" y="139"/>
                      <a:pt x="38" y="137"/>
                    </a:cubicBezTo>
                    <a:cubicBezTo>
                      <a:pt x="37" y="135"/>
                      <a:pt x="37" y="123"/>
                      <a:pt x="37" y="103"/>
                    </a:cubicBezTo>
                    <a:cubicBezTo>
                      <a:pt x="37" y="97"/>
                      <a:pt x="37" y="92"/>
                      <a:pt x="37" y="86"/>
                    </a:cubicBezTo>
                    <a:cubicBezTo>
                      <a:pt x="34" y="87"/>
                      <a:pt x="31" y="89"/>
                      <a:pt x="28" y="92"/>
                    </a:cubicBezTo>
                    <a:cubicBezTo>
                      <a:pt x="24" y="98"/>
                      <a:pt x="21" y="103"/>
                      <a:pt x="19" y="109"/>
                    </a:cubicBezTo>
                    <a:cubicBezTo>
                      <a:pt x="17" y="113"/>
                      <a:pt x="15" y="117"/>
                      <a:pt x="12" y="121"/>
                    </a:cubicBezTo>
                    <a:cubicBezTo>
                      <a:pt x="11" y="122"/>
                      <a:pt x="9" y="122"/>
                      <a:pt x="8" y="122"/>
                    </a:cubicBezTo>
                    <a:cubicBezTo>
                      <a:pt x="7" y="122"/>
                      <a:pt x="7" y="121"/>
                      <a:pt x="7" y="120"/>
                    </a:cubicBezTo>
                    <a:cubicBezTo>
                      <a:pt x="7" y="119"/>
                      <a:pt x="7" y="118"/>
                      <a:pt x="8" y="117"/>
                    </a:cubicBezTo>
                    <a:cubicBezTo>
                      <a:pt x="9" y="112"/>
                      <a:pt x="10" y="108"/>
                      <a:pt x="11" y="106"/>
                    </a:cubicBezTo>
                    <a:cubicBezTo>
                      <a:pt x="13" y="101"/>
                      <a:pt x="17" y="94"/>
                      <a:pt x="22" y="86"/>
                    </a:cubicBezTo>
                    <a:cubicBezTo>
                      <a:pt x="27" y="80"/>
                      <a:pt x="32" y="77"/>
                      <a:pt x="37" y="76"/>
                    </a:cubicBezTo>
                    <a:cubicBezTo>
                      <a:pt x="37" y="68"/>
                      <a:pt x="37" y="68"/>
                      <a:pt x="37" y="68"/>
                    </a:cubicBezTo>
                    <a:cubicBezTo>
                      <a:pt x="37" y="63"/>
                      <a:pt x="37" y="63"/>
                      <a:pt x="37" y="63"/>
                    </a:cubicBezTo>
                    <a:cubicBezTo>
                      <a:pt x="33" y="64"/>
                      <a:pt x="29" y="66"/>
                      <a:pt x="24" y="69"/>
                    </a:cubicBezTo>
                    <a:cubicBezTo>
                      <a:pt x="23" y="70"/>
                      <a:pt x="20" y="72"/>
                      <a:pt x="16" y="77"/>
                    </a:cubicBezTo>
                    <a:cubicBezTo>
                      <a:pt x="13" y="81"/>
                      <a:pt x="11" y="83"/>
                      <a:pt x="9" y="85"/>
                    </a:cubicBezTo>
                    <a:cubicBezTo>
                      <a:pt x="8" y="86"/>
                      <a:pt x="7" y="87"/>
                      <a:pt x="6" y="86"/>
                    </a:cubicBezTo>
                    <a:cubicBezTo>
                      <a:pt x="5" y="86"/>
                      <a:pt x="5" y="84"/>
                      <a:pt x="5" y="82"/>
                    </a:cubicBezTo>
                    <a:cubicBezTo>
                      <a:pt x="10" y="73"/>
                      <a:pt x="15" y="65"/>
                      <a:pt x="22" y="60"/>
                    </a:cubicBezTo>
                    <a:cubicBezTo>
                      <a:pt x="27" y="56"/>
                      <a:pt x="32" y="54"/>
                      <a:pt x="37" y="54"/>
                    </a:cubicBezTo>
                    <a:cubicBezTo>
                      <a:pt x="37" y="47"/>
                      <a:pt x="37" y="47"/>
                      <a:pt x="37" y="47"/>
                    </a:cubicBezTo>
                    <a:cubicBezTo>
                      <a:pt x="22" y="49"/>
                      <a:pt x="10" y="48"/>
                      <a:pt x="3" y="45"/>
                    </a:cubicBezTo>
                    <a:cubicBezTo>
                      <a:pt x="1" y="44"/>
                      <a:pt x="0" y="42"/>
                      <a:pt x="0" y="40"/>
                    </a:cubicBezTo>
                    <a:cubicBezTo>
                      <a:pt x="1" y="38"/>
                      <a:pt x="3" y="38"/>
                      <a:pt x="5" y="38"/>
                    </a:cubicBezTo>
                    <a:cubicBezTo>
                      <a:pt x="12" y="40"/>
                      <a:pt x="22" y="40"/>
                      <a:pt x="37" y="39"/>
                    </a:cubicBezTo>
                    <a:cubicBezTo>
                      <a:pt x="37" y="39"/>
                      <a:pt x="37" y="39"/>
                      <a:pt x="37" y="39"/>
                    </a:cubicBezTo>
                    <a:cubicBezTo>
                      <a:pt x="38" y="32"/>
                      <a:pt x="36" y="29"/>
                      <a:pt x="33" y="28"/>
                    </a:cubicBezTo>
                    <a:cubicBezTo>
                      <a:pt x="26" y="25"/>
                      <a:pt x="19" y="24"/>
                      <a:pt x="12" y="2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135" name="íṣlíḑe"/>
              <p:cNvSpPr/>
              <p:nvPr/>
            </p:nvSpPr>
            <p:spPr bwMode="auto">
              <a:xfrm>
                <a:off x="2273197" y="5255215"/>
                <a:ext cx="163513" cy="263525"/>
              </a:xfrm>
              <a:custGeom>
                <a:avLst/>
                <a:gdLst>
                  <a:gd name="T0" fmla="*/ 47 w 88"/>
                  <a:gd name="T1" fmla="*/ 8 h 143"/>
                  <a:gd name="T2" fmla="*/ 74 w 88"/>
                  <a:gd name="T3" fmla="*/ 14 h 143"/>
                  <a:gd name="T4" fmla="*/ 82 w 88"/>
                  <a:gd name="T5" fmla="*/ 26 h 143"/>
                  <a:gd name="T6" fmla="*/ 79 w 88"/>
                  <a:gd name="T7" fmla="*/ 75 h 143"/>
                  <a:gd name="T8" fmla="*/ 86 w 88"/>
                  <a:gd name="T9" fmla="*/ 136 h 143"/>
                  <a:gd name="T10" fmla="*/ 73 w 88"/>
                  <a:gd name="T11" fmla="*/ 45 h 143"/>
                  <a:gd name="T12" fmla="*/ 67 w 88"/>
                  <a:gd name="T13" fmla="*/ 44 h 143"/>
                  <a:gd name="T14" fmla="*/ 54 w 88"/>
                  <a:gd name="T15" fmla="*/ 58 h 143"/>
                  <a:gd name="T16" fmla="*/ 22 w 88"/>
                  <a:gd name="T17" fmla="*/ 54 h 143"/>
                  <a:gd name="T18" fmla="*/ 15 w 88"/>
                  <a:gd name="T19" fmla="*/ 45 h 143"/>
                  <a:gd name="T20" fmla="*/ 11 w 88"/>
                  <a:gd name="T21" fmla="*/ 91 h 143"/>
                  <a:gd name="T22" fmla="*/ 9 w 88"/>
                  <a:gd name="T23" fmla="*/ 118 h 143"/>
                  <a:gd name="T24" fmla="*/ 2 w 88"/>
                  <a:gd name="T25" fmla="*/ 139 h 143"/>
                  <a:gd name="T26" fmla="*/ 6 w 88"/>
                  <a:gd name="T27" fmla="*/ 80 h 143"/>
                  <a:gd name="T28" fmla="*/ 2 w 88"/>
                  <a:gd name="T29" fmla="*/ 26 h 143"/>
                  <a:gd name="T30" fmla="*/ 32 w 88"/>
                  <a:gd name="T31" fmla="*/ 10 h 143"/>
                  <a:gd name="T32" fmla="*/ 39 w 88"/>
                  <a:gd name="T33" fmla="*/ 0 h 143"/>
                  <a:gd name="T34" fmla="*/ 24 w 88"/>
                  <a:gd name="T35" fmla="*/ 23 h 143"/>
                  <a:gd name="T36" fmla="*/ 66 w 88"/>
                  <a:gd name="T37" fmla="*/ 29 h 143"/>
                  <a:gd name="T38" fmla="*/ 67 w 88"/>
                  <a:gd name="T39" fmla="*/ 37 h 143"/>
                  <a:gd name="T40" fmla="*/ 73 w 88"/>
                  <a:gd name="T41" fmla="*/ 34 h 143"/>
                  <a:gd name="T42" fmla="*/ 66 w 88"/>
                  <a:gd name="T43" fmla="*/ 20 h 143"/>
                  <a:gd name="T44" fmla="*/ 13 w 88"/>
                  <a:gd name="T45" fmla="*/ 21 h 143"/>
                  <a:gd name="T46" fmla="*/ 12 w 88"/>
                  <a:gd name="T47" fmla="*/ 32 h 143"/>
                  <a:gd name="T48" fmla="*/ 17 w 88"/>
                  <a:gd name="T49" fmla="*/ 38 h 143"/>
                  <a:gd name="T50" fmla="*/ 24 w 88"/>
                  <a:gd name="T51" fmla="*/ 23 h 143"/>
                  <a:gd name="T52" fmla="*/ 61 w 88"/>
                  <a:gd name="T53" fmla="*/ 64 h 143"/>
                  <a:gd name="T54" fmla="*/ 66 w 88"/>
                  <a:gd name="T55" fmla="*/ 96 h 143"/>
                  <a:gd name="T56" fmla="*/ 61 w 88"/>
                  <a:gd name="T57" fmla="*/ 136 h 143"/>
                  <a:gd name="T58" fmla="*/ 59 w 88"/>
                  <a:gd name="T59" fmla="*/ 143 h 143"/>
                  <a:gd name="T60" fmla="*/ 46 w 88"/>
                  <a:gd name="T61" fmla="*/ 105 h 143"/>
                  <a:gd name="T62" fmla="*/ 30 w 88"/>
                  <a:gd name="T63" fmla="*/ 140 h 143"/>
                  <a:gd name="T64" fmla="*/ 26 w 88"/>
                  <a:gd name="T65" fmla="*/ 137 h 143"/>
                  <a:gd name="T66" fmla="*/ 32 w 88"/>
                  <a:gd name="T67" fmla="*/ 121 h 143"/>
                  <a:gd name="T68" fmla="*/ 35 w 88"/>
                  <a:gd name="T69" fmla="*/ 105 h 143"/>
                  <a:gd name="T70" fmla="*/ 18 w 88"/>
                  <a:gd name="T71" fmla="*/ 75 h 143"/>
                  <a:gd name="T72" fmla="*/ 24 w 88"/>
                  <a:gd name="T73" fmla="*/ 35 h 143"/>
                  <a:gd name="T74" fmla="*/ 39 w 88"/>
                  <a:gd name="T75" fmla="*/ 37 h 143"/>
                  <a:gd name="T76" fmla="*/ 34 w 88"/>
                  <a:gd name="T77" fmla="*/ 29 h 143"/>
                  <a:gd name="T78" fmla="*/ 24 w 88"/>
                  <a:gd name="T79" fmla="*/ 35 h 143"/>
                  <a:gd name="T80" fmla="*/ 62 w 88"/>
                  <a:gd name="T81" fmla="*/ 84 h 143"/>
                  <a:gd name="T82" fmla="*/ 43 w 88"/>
                  <a:gd name="T83" fmla="*/ 81 h 143"/>
                  <a:gd name="T84" fmla="*/ 25 w 88"/>
                  <a:gd name="T85" fmla="*/ 87 h 143"/>
                  <a:gd name="T86" fmla="*/ 26 w 88"/>
                  <a:gd name="T87" fmla="*/ 48 h 143"/>
                  <a:gd name="T88" fmla="*/ 38 w 88"/>
                  <a:gd name="T89" fmla="*/ 52 h 143"/>
                  <a:gd name="T90" fmla="*/ 25 w 88"/>
                  <a:gd name="T91" fmla="*/ 44 h 143"/>
                  <a:gd name="T92" fmla="*/ 32 w 88"/>
                  <a:gd name="T93" fmla="*/ 69 h 143"/>
                  <a:gd name="T94" fmla="*/ 41 w 88"/>
                  <a:gd name="T95" fmla="*/ 75 h 143"/>
                  <a:gd name="T96" fmla="*/ 57 w 88"/>
                  <a:gd name="T97" fmla="*/ 70 h 143"/>
                  <a:gd name="T98" fmla="*/ 56 w 88"/>
                  <a:gd name="T99" fmla="*/ 98 h 143"/>
                  <a:gd name="T100" fmla="*/ 54 w 88"/>
                  <a:gd name="T101" fmla="*/ 93 h 143"/>
                  <a:gd name="T102" fmla="*/ 36 w 88"/>
                  <a:gd name="T103" fmla="*/ 93 h 143"/>
                  <a:gd name="T104" fmla="*/ 32 w 88"/>
                  <a:gd name="T105" fmla="*/ 98 h 143"/>
                  <a:gd name="T106" fmla="*/ 56 w 88"/>
                  <a:gd name="T107" fmla="*/ 29 h 143"/>
                  <a:gd name="T108" fmla="*/ 46 w 88"/>
                  <a:gd name="T109" fmla="*/ 29 h 143"/>
                  <a:gd name="T110" fmla="*/ 60 w 88"/>
                  <a:gd name="T111" fmla="*/ 37 h 143"/>
                  <a:gd name="T112" fmla="*/ 56 w 88"/>
                  <a:gd name="T113" fmla="*/ 29 h 143"/>
                  <a:gd name="T114" fmla="*/ 60 w 88"/>
                  <a:gd name="T115" fmla="*/ 43 h 143"/>
                  <a:gd name="T116" fmla="*/ 46 w 88"/>
                  <a:gd name="T117" fmla="*/ 52 h 143"/>
                  <a:gd name="T118" fmla="*/ 59 w 88"/>
                  <a:gd name="T119" fmla="*/ 48 h 1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88" h="143">
                    <a:moveTo>
                      <a:pt x="43" y="2"/>
                    </a:moveTo>
                    <a:cubicBezTo>
                      <a:pt x="45" y="3"/>
                      <a:pt x="47" y="6"/>
                      <a:pt x="47" y="8"/>
                    </a:cubicBezTo>
                    <a:cubicBezTo>
                      <a:pt x="47" y="9"/>
                      <a:pt x="48" y="10"/>
                      <a:pt x="49" y="10"/>
                    </a:cubicBezTo>
                    <a:cubicBezTo>
                      <a:pt x="57" y="10"/>
                      <a:pt x="66" y="12"/>
                      <a:pt x="74" y="14"/>
                    </a:cubicBezTo>
                    <a:cubicBezTo>
                      <a:pt x="78" y="16"/>
                      <a:pt x="81" y="18"/>
                      <a:pt x="81" y="19"/>
                    </a:cubicBezTo>
                    <a:cubicBezTo>
                      <a:pt x="82" y="21"/>
                      <a:pt x="82" y="24"/>
                      <a:pt x="82" y="26"/>
                    </a:cubicBezTo>
                    <a:cubicBezTo>
                      <a:pt x="82" y="27"/>
                      <a:pt x="82" y="27"/>
                      <a:pt x="82" y="28"/>
                    </a:cubicBezTo>
                    <a:cubicBezTo>
                      <a:pt x="79" y="39"/>
                      <a:pt x="78" y="55"/>
                      <a:pt x="79" y="75"/>
                    </a:cubicBezTo>
                    <a:cubicBezTo>
                      <a:pt x="80" y="87"/>
                      <a:pt x="83" y="106"/>
                      <a:pt x="87" y="131"/>
                    </a:cubicBezTo>
                    <a:cubicBezTo>
                      <a:pt x="88" y="134"/>
                      <a:pt x="87" y="135"/>
                      <a:pt x="86" y="136"/>
                    </a:cubicBezTo>
                    <a:cubicBezTo>
                      <a:pt x="84" y="137"/>
                      <a:pt x="82" y="136"/>
                      <a:pt x="82" y="133"/>
                    </a:cubicBezTo>
                    <a:cubicBezTo>
                      <a:pt x="74" y="106"/>
                      <a:pt x="71" y="76"/>
                      <a:pt x="73" y="45"/>
                    </a:cubicBezTo>
                    <a:cubicBezTo>
                      <a:pt x="72" y="45"/>
                      <a:pt x="71" y="44"/>
                      <a:pt x="70" y="44"/>
                    </a:cubicBezTo>
                    <a:cubicBezTo>
                      <a:pt x="69" y="44"/>
                      <a:pt x="68" y="44"/>
                      <a:pt x="67" y="44"/>
                    </a:cubicBezTo>
                    <a:cubicBezTo>
                      <a:pt x="67" y="48"/>
                      <a:pt x="66" y="51"/>
                      <a:pt x="64" y="54"/>
                    </a:cubicBezTo>
                    <a:cubicBezTo>
                      <a:pt x="62" y="57"/>
                      <a:pt x="59" y="59"/>
                      <a:pt x="54" y="58"/>
                    </a:cubicBezTo>
                    <a:cubicBezTo>
                      <a:pt x="47" y="58"/>
                      <a:pt x="39" y="58"/>
                      <a:pt x="32" y="58"/>
                    </a:cubicBezTo>
                    <a:cubicBezTo>
                      <a:pt x="28" y="59"/>
                      <a:pt x="25" y="58"/>
                      <a:pt x="22" y="54"/>
                    </a:cubicBezTo>
                    <a:cubicBezTo>
                      <a:pt x="20" y="51"/>
                      <a:pt x="19" y="48"/>
                      <a:pt x="18" y="45"/>
                    </a:cubicBezTo>
                    <a:cubicBezTo>
                      <a:pt x="17" y="45"/>
                      <a:pt x="16" y="45"/>
                      <a:pt x="15" y="45"/>
                    </a:cubicBezTo>
                    <a:cubicBezTo>
                      <a:pt x="14" y="45"/>
                      <a:pt x="13" y="45"/>
                      <a:pt x="13" y="45"/>
                    </a:cubicBezTo>
                    <a:cubicBezTo>
                      <a:pt x="13" y="60"/>
                      <a:pt x="13" y="75"/>
                      <a:pt x="11" y="91"/>
                    </a:cubicBezTo>
                    <a:cubicBezTo>
                      <a:pt x="11" y="95"/>
                      <a:pt x="11" y="102"/>
                      <a:pt x="10" y="111"/>
                    </a:cubicBezTo>
                    <a:cubicBezTo>
                      <a:pt x="10" y="108"/>
                      <a:pt x="10" y="111"/>
                      <a:pt x="9" y="118"/>
                    </a:cubicBezTo>
                    <a:cubicBezTo>
                      <a:pt x="9" y="124"/>
                      <a:pt x="8" y="130"/>
                      <a:pt x="6" y="134"/>
                    </a:cubicBezTo>
                    <a:cubicBezTo>
                      <a:pt x="5" y="138"/>
                      <a:pt x="3" y="139"/>
                      <a:pt x="2" y="139"/>
                    </a:cubicBezTo>
                    <a:cubicBezTo>
                      <a:pt x="0" y="139"/>
                      <a:pt x="0" y="137"/>
                      <a:pt x="0" y="133"/>
                    </a:cubicBezTo>
                    <a:cubicBezTo>
                      <a:pt x="3" y="112"/>
                      <a:pt x="5" y="94"/>
                      <a:pt x="6" y="80"/>
                    </a:cubicBezTo>
                    <a:cubicBezTo>
                      <a:pt x="8" y="64"/>
                      <a:pt x="7" y="51"/>
                      <a:pt x="6" y="38"/>
                    </a:cubicBezTo>
                    <a:cubicBezTo>
                      <a:pt x="5" y="34"/>
                      <a:pt x="4" y="30"/>
                      <a:pt x="2" y="26"/>
                    </a:cubicBezTo>
                    <a:cubicBezTo>
                      <a:pt x="0" y="21"/>
                      <a:pt x="1" y="17"/>
                      <a:pt x="6" y="16"/>
                    </a:cubicBezTo>
                    <a:cubicBezTo>
                      <a:pt x="14" y="12"/>
                      <a:pt x="23" y="11"/>
                      <a:pt x="32" y="10"/>
                    </a:cubicBezTo>
                    <a:cubicBezTo>
                      <a:pt x="36" y="9"/>
                      <a:pt x="38" y="7"/>
                      <a:pt x="38" y="4"/>
                    </a:cubicBezTo>
                    <a:cubicBezTo>
                      <a:pt x="38" y="2"/>
                      <a:pt x="38" y="1"/>
                      <a:pt x="39" y="0"/>
                    </a:cubicBezTo>
                    <a:cubicBezTo>
                      <a:pt x="41" y="0"/>
                      <a:pt x="42" y="0"/>
                      <a:pt x="43" y="2"/>
                    </a:cubicBezTo>
                    <a:close/>
                    <a:moveTo>
                      <a:pt x="24" y="23"/>
                    </a:moveTo>
                    <a:cubicBezTo>
                      <a:pt x="33" y="22"/>
                      <a:pt x="44" y="22"/>
                      <a:pt x="58" y="23"/>
                    </a:cubicBezTo>
                    <a:cubicBezTo>
                      <a:pt x="63" y="24"/>
                      <a:pt x="66" y="26"/>
                      <a:pt x="66" y="29"/>
                    </a:cubicBezTo>
                    <a:cubicBezTo>
                      <a:pt x="66" y="30"/>
                      <a:pt x="66" y="30"/>
                      <a:pt x="67" y="31"/>
                    </a:cubicBezTo>
                    <a:cubicBezTo>
                      <a:pt x="67" y="33"/>
                      <a:pt x="67" y="35"/>
                      <a:pt x="67" y="37"/>
                    </a:cubicBezTo>
                    <a:cubicBezTo>
                      <a:pt x="69" y="38"/>
                      <a:pt x="71" y="38"/>
                      <a:pt x="73" y="38"/>
                    </a:cubicBezTo>
                    <a:cubicBezTo>
                      <a:pt x="73" y="37"/>
                      <a:pt x="73" y="36"/>
                      <a:pt x="73" y="34"/>
                    </a:cubicBezTo>
                    <a:cubicBezTo>
                      <a:pt x="73" y="32"/>
                      <a:pt x="73" y="30"/>
                      <a:pt x="74" y="29"/>
                    </a:cubicBezTo>
                    <a:cubicBezTo>
                      <a:pt x="75" y="25"/>
                      <a:pt x="72" y="21"/>
                      <a:pt x="66" y="20"/>
                    </a:cubicBezTo>
                    <a:cubicBezTo>
                      <a:pt x="58" y="17"/>
                      <a:pt x="50" y="16"/>
                      <a:pt x="40" y="16"/>
                    </a:cubicBezTo>
                    <a:cubicBezTo>
                      <a:pt x="29" y="16"/>
                      <a:pt x="20" y="18"/>
                      <a:pt x="13" y="21"/>
                    </a:cubicBezTo>
                    <a:cubicBezTo>
                      <a:pt x="11" y="22"/>
                      <a:pt x="11" y="24"/>
                      <a:pt x="11" y="26"/>
                    </a:cubicBezTo>
                    <a:cubicBezTo>
                      <a:pt x="11" y="28"/>
                      <a:pt x="12" y="30"/>
                      <a:pt x="12" y="32"/>
                    </a:cubicBezTo>
                    <a:cubicBezTo>
                      <a:pt x="12" y="35"/>
                      <a:pt x="12" y="37"/>
                      <a:pt x="12" y="38"/>
                    </a:cubicBezTo>
                    <a:cubicBezTo>
                      <a:pt x="14" y="38"/>
                      <a:pt x="15" y="38"/>
                      <a:pt x="17" y="38"/>
                    </a:cubicBezTo>
                    <a:cubicBezTo>
                      <a:pt x="17" y="35"/>
                      <a:pt x="17" y="32"/>
                      <a:pt x="17" y="30"/>
                    </a:cubicBezTo>
                    <a:cubicBezTo>
                      <a:pt x="18" y="26"/>
                      <a:pt x="20" y="24"/>
                      <a:pt x="24" y="23"/>
                    </a:cubicBezTo>
                    <a:close/>
                    <a:moveTo>
                      <a:pt x="28" y="64"/>
                    </a:moveTo>
                    <a:cubicBezTo>
                      <a:pt x="39" y="62"/>
                      <a:pt x="50" y="62"/>
                      <a:pt x="61" y="64"/>
                    </a:cubicBezTo>
                    <a:cubicBezTo>
                      <a:pt x="65" y="65"/>
                      <a:pt x="67" y="67"/>
                      <a:pt x="67" y="71"/>
                    </a:cubicBezTo>
                    <a:cubicBezTo>
                      <a:pt x="69" y="79"/>
                      <a:pt x="68" y="88"/>
                      <a:pt x="66" y="96"/>
                    </a:cubicBezTo>
                    <a:cubicBezTo>
                      <a:pt x="65" y="102"/>
                      <a:pt x="61" y="105"/>
                      <a:pt x="54" y="105"/>
                    </a:cubicBezTo>
                    <a:cubicBezTo>
                      <a:pt x="55" y="115"/>
                      <a:pt x="57" y="125"/>
                      <a:pt x="61" y="136"/>
                    </a:cubicBezTo>
                    <a:cubicBezTo>
                      <a:pt x="63" y="138"/>
                      <a:pt x="63" y="140"/>
                      <a:pt x="61" y="142"/>
                    </a:cubicBezTo>
                    <a:cubicBezTo>
                      <a:pt x="60" y="142"/>
                      <a:pt x="59" y="143"/>
                      <a:pt x="59" y="143"/>
                    </a:cubicBezTo>
                    <a:cubicBezTo>
                      <a:pt x="58" y="143"/>
                      <a:pt x="57" y="142"/>
                      <a:pt x="57" y="141"/>
                    </a:cubicBezTo>
                    <a:cubicBezTo>
                      <a:pt x="52" y="131"/>
                      <a:pt x="48" y="120"/>
                      <a:pt x="46" y="105"/>
                    </a:cubicBezTo>
                    <a:cubicBezTo>
                      <a:pt x="41" y="105"/>
                      <a:pt x="41" y="105"/>
                      <a:pt x="41" y="105"/>
                    </a:cubicBezTo>
                    <a:cubicBezTo>
                      <a:pt x="40" y="120"/>
                      <a:pt x="37" y="131"/>
                      <a:pt x="30" y="140"/>
                    </a:cubicBezTo>
                    <a:cubicBezTo>
                      <a:pt x="29" y="141"/>
                      <a:pt x="27" y="142"/>
                      <a:pt x="26" y="142"/>
                    </a:cubicBezTo>
                    <a:cubicBezTo>
                      <a:pt x="25" y="141"/>
                      <a:pt x="25" y="139"/>
                      <a:pt x="26" y="137"/>
                    </a:cubicBezTo>
                    <a:cubicBezTo>
                      <a:pt x="26" y="137"/>
                      <a:pt x="26" y="135"/>
                      <a:pt x="28" y="132"/>
                    </a:cubicBezTo>
                    <a:cubicBezTo>
                      <a:pt x="30" y="127"/>
                      <a:pt x="32" y="123"/>
                      <a:pt x="32" y="121"/>
                    </a:cubicBezTo>
                    <a:cubicBezTo>
                      <a:pt x="33" y="118"/>
                      <a:pt x="34" y="113"/>
                      <a:pt x="35" y="107"/>
                    </a:cubicBezTo>
                    <a:cubicBezTo>
                      <a:pt x="35" y="106"/>
                      <a:pt x="35" y="106"/>
                      <a:pt x="35" y="105"/>
                    </a:cubicBezTo>
                    <a:cubicBezTo>
                      <a:pt x="29" y="105"/>
                      <a:pt x="25" y="103"/>
                      <a:pt x="22" y="98"/>
                    </a:cubicBezTo>
                    <a:cubicBezTo>
                      <a:pt x="19" y="93"/>
                      <a:pt x="17" y="85"/>
                      <a:pt x="18" y="75"/>
                    </a:cubicBezTo>
                    <a:cubicBezTo>
                      <a:pt x="19" y="68"/>
                      <a:pt x="22" y="65"/>
                      <a:pt x="28" y="64"/>
                    </a:cubicBezTo>
                    <a:close/>
                    <a:moveTo>
                      <a:pt x="24" y="35"/>
                    </a:moveTo>
                    <a:cubicBezTo>
                      <a:pt x="24" y="36"/>
                      <a:pt x="24" y="36"/>
                      <a:pt x="24" y="37"/>
                    </a:cubicBezTo>
                    <a:cubicBezTo>
                      <a:pt x="29" y="37"/>
                      <a:pt x="34" y="37"/>
                      <a:pt x="39" y="37"/>
                    </a:cubicBezTo>
                    <a:cubicBezTo>
                      <a:pt x="39" y="34"/>
                      <a:pt x="38" y="31"/>
                      <a:pt x="38" y="29"/>
                    </a:cubicBezTo>
                    <a:cubicBezTo>
                      <a:pt x="37" y="29"/>
                      <a:pt x="36" y="29"/>
                      <a:pt x="34" y="29"/>
                    </a:cubicBezTo>
                    <a:cubicBezTo>
                      <a:pt x="31" y="29"/>
                      <a:pt x="30" y="29"/>
                      <a:pt x="28" y="29"/>
                    </a:cubicBezTo>
                    <a:cubicBezTo>
                      <a:pt x="25" y="31"/>
                      <a:pt x="24" y="32"/>
                      <a:pt x="24" y="35"/>
                    </a:cubicBezTo>
                    <a:close/>
                    <a:moveTo>
                      <a:pt x="61" y="87"/>
                    </a:moveTo>
                    <a:cubicBezTo>
                      <a:pt x="61" y="86"/>
                      <a:pt x="62" y="85"/>
                      <a:pt x="62" y="84"/>
                    </a:cubicBezTo>
                    <a:cubicBezTo>
                      <a:pt x="62" y="83"/>
                      <a:pt x="62" y="82"/>
                      <a:pt x="62" y="82"/>
                    </a:cubicBezTo>
                    <a:cubicBezTo>
                      <a:pt x="56" y="81"/>
                      <a:pt x="50" y="80"/>
                      <a:pt x="43" y="81"/>
                    </a:cubicBezTo>
                    <a:cubicBezTo>
                      <a:pt x="37" y="81"/>
                      <a:pt x="31" y="82"/>
                      <a:pt x="24" y="83"/>
                    </a:cubicBezTo>
                    <a:cubicBezTo>
                      <a:pt x="25" y="87"/>
                      <a:pt x="25" y="87"/>
                      <a:pt x="25" y="87"/>
                    </a:cubicBezTo>
                    <a:cubicBezTo>
                      <a:pt x="35" y="86"/>
                      <a:pt x="48" y="86"/>
                      <a:pt x="61" y="87"/>
                    </a:cubicBezTo>
                    <a:close/>
                    <a:moveTo>
                      <a:pt x="26" y="48"/>
                    </a:moveTo>
                    <a:cubicBezTo>
                      <a:pt x="28" y="51"/>
                      <a:pt x="30" y="52"/>
                      <a:pt x="35" y="52"/>
                    </a:cubicBezTo>
                    <a:cubicBezTo>
                      <a:pt x="38" y="52"/>
                      <a:pt x="38" y="52"/>
                      <a:pt x="38" y="52"/>
                    </a:cubicBezTo>
                    <a:cubicBezTo>
                      <a:pt x="38" y="49"/>
                      <a:pt x="39" y="46"/>
                      <a:pt x="39" y="44"/>
                    </a:cubicBezTo>
                    <a:cubicBezTo>
                      <a:pt x="34" y="44"/>
                      <a:pt x="30" y="44"/>
                      <a:pt x="25" y="44"/>
                    </a:cubicBezTo>
                    <a:cubicBezTo>
                      <a:pt x="25" y="46"/>
                      <a:pt x="25" y="47"/>
                      <a:pt x="26" y="48"/>
                    </a:cubicBezTo>
                    <a:close/>
                    <a:moveTo>
                      <a:pt x="32" y="69"/>
                    </a:moveTo>
                    <a:cubicBezTo>
                      <a:pt x="28" y="70"/>
                      <a:pt x="25" y="72"/>
                      <a:pt x="25" y="76"/>
                    </a:cubicBezTo>
                    <a:cubicBezTo>
                      <a:pt x="30" y="75"/>
                      <a:pt x="35" y="75"/>
                      <a:pt x="41" y="75"/>
                    </a:cubicBezTo>
                    <a:cubicBezTo>
                      <a:pt x="46" y="74"/>
                      <a:pt x="53" y="74"/>
                      <a:pt x="61" y="75"/>
                    </a:cubicBezTo>
                    <a:cubicBezTo>
                      <a:pt x="61" y="72"/>
                      <a:pt x="59" y="71"/>
                      <a:pt x="57" y="70"/>
                    </a:cubicBezTo>
                    <a:cubicBezTo>
                      <a:pt x="49" y="68"/>
                      <a:pt x="40" y="68"/>
                      <a:pt x="32" y="69"/>
                    </a:cubicBezTo>
                    <a:close/>
                    <a:moveTo>
                      <a:pt x="56" y="98"/>
                    </a:moveTo>
                    <a:cubicBezTo>
                      <a:pt x="59" y="97"/>
                      <a:pt x="60" y="96"/>
                      <a:pt x="61" y="93"/>
                    </a:cubicBezTo>
                    <a:cubicBezTo>
                      <a:pt x="60" y="93"/>
                      <a:pt x="57" y="93"/>
                      <a:pt x="54" y="93"/>
                    </a:cubicBezTo>
                    <a:cubicBezTo>
                      <a:pt x="48" y="92"/>
                      <a:pt x="44" y="92"/>
                      <a:pt x="41" y="92"/>
                    </a:cubicBezTo>
                    <a:cubicBezTo>
                      <a:pt x="40" y="92"/>
                      <a:pt x="38" y="92"/>
                      <a:pt x="36" y="93"/>
                    </a:cubicBezTo>
                    <a:cubicBezTo>
                      <a:pt x="31" y="93"/>
                      <a:pt x="28" y="94"/>
                      <a:pt x="26" y="94"/>
                    </a:cubicBezTo>
                    <a:cubicBezTo>
                      <a:pt x="27" y="96"/>
                      <a:pt x="29" y="98"/>
                      <a:pt x="32" y="98"/>
                    </a:cubicBezTo>
                    <a:cubicBezTo>
                      <a:pt x="39" y="99"/>
                      <a:pt x="47" y="99"/>
                      <a:pt x="56" y="98"/>
                    </a:cubicBezTo>
                    <a:close/>
                    <a:moveTo>
                      <a:pt x="56" y="29"/>
                    </a:moveTo>
                    <a:cubicBezTo>
                      <a:pt x="55" y="29"/>
                      <a:pt x="53" y="29"/>
                      <a:pt x="51" y="29"/>
                    </a:cubicBezTo>
                    <a:cubicBezTo>
                      <a:pt x="49" y="29"/>
                      <a:pt x="47" y="29"/>
                      <a:pt x="46" y="29"/>
                    </a:cubicBezTo>
                    <a:cubicBezTo>
                      <a:pt x="46" y="31"/>
                      <a:pt x="46" y="34"/>
                      <a:pt x="46" y="37"/>
                    </a:cubicBezTo>
                    <a:cubicBezTo>
                      <a:pt x="50" y="37"/>
                      <a:pt x="55" y="37"/>
                      <a:pt x="60" y="37"/>
                    </a:cubicBezTo>
                    <a:cubicBezTo>
                      <a:pt x="60" y="35"/>
                      <a:pt x="60" y="35"/>
                      <a:pt x="60" y="35"/>
                    </a:cubicBezTo>
                    <a:cubicBezTo>
                      <a:pt x="60" y="32"/>
                      <a:pt x="58" y="30"/>
                      <a:pt x="56" y="29"/>
                    </a:cubicBezTo>
                    <a:close/>
                    <a:moveTo>
                      <a:pt x="59" y="48"/>
                    </a:moveTo>
                    <a:cubicBezTo>
                      <a:pt x="59" y="47"/>
                      <a:pt x="59" y="45"/>
                      <a:pt x="60" y="43"/>
                    </a:cubicBezTo>
                    <a:cubicBezTo>
                      <a:pt x="55" y="43"/>
                      <a:pt x="51" y="43"/>
                      <a:pt x="46" y="43"/>
                    </a:cubicBezTo>
                    <a:cubicBezTo>
                      <a:pt x="46" y="52"/>
                      <a:pt x="46" y="52"/>
                      <a:pt x="46" y="52"/>
                    </a:cubicBezTo>
                    <a:cubicBezTo>
                      <a:pt x="48" y="52"/>
                      <a:pt x="51" y="52"/>
                      <a:pt x="54" y="52"/>
                    </a:cubicBezTo>
                    <a:cubicBezTo>
                      <a:pt x="57" y="51"/>
                      <a:pt x="59" y="49"/>
                      <a:pt x="59" y="4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136" name="îSḻide"/>
              <p:cNvSpPr/>
              <p:nvPr/>
            </p:nvSpPr>
            <p:spPr bwMode="auto">
              <a:xfrm>
                <a:off x="2449409" y="5256803"/>
                <a:ext cx="139700" cy="265113"/>
              </a:xfrm>
              <a:custGeom>
                <a:avLst/>
                <a:gdLst>
                  <a:gd name="T0" fmla="*/ 56 w 76"/>
                  <a:gd name="T1" fmla="*/ 3 h 144"/>
                  <a:gd name="T2" fmla="*/ 61 w 76"/>
                  <a:gd name="T3" fmla="*/ 45 h 144"/>
                  <a:gd name="T4" fmla="*/ 50 w 76"/>
                  <a:gd name="T5" fmla="*/ 74 h 144"/>
                  <a:gd name="T6" fmla="*/ 68 w 76"/>
                  <a:gd name="T7" fmla="*/ 65 h 144"/>
                  <a:gd name="T8" fmla="*/ 70 w 76"/>
                  <a:gd name="T9" fmla="*/ 31 h 144"/>
                  <a:gd name="T10" fmla="*/ 74 w 76"/>
                  <a:gd name="T11" fmla="*/ 31 h 144"/>
                  <a:gd name="T12" fmla="*/ 74 w 76"/>
                  <a:gd name="T13" fmla="*/ 64 h 144"/>
                  <a:gd name="T14" fmla="*/ 50 w 76"/>
                  <a:gd name="T15" fmla="*/ 81 h 144"/>
                  <a:gd name="T16" fmla="*/ 69 w 76"/>
                  <a:gd name="T17" fmla="*/ 103 h 144"/>
                  <a:gd name="T18" fmla="*/ 74 w 76"/>
                  <a:gd name="T19" fmla="*/ 140 h 144"/>
                  <a:gd name="T20" fmla="*/ 63 w 76"/>
                  <a:gd name="T21" fmla="*/ 105 h 144"/>
                  <a:gd name="T22" fmla="*/ 52 w 76"/>
                  <a:gd name="T23" fmla="*/ 138 h 144"/>
                  <a:gd name="T24" fmla="*/ 46 w 76"/>
                  <a:gd name="T25" fmla="*/ 139 h 144"/>
                  <a:gd name="T26" fmla="*/ 42 w 76"/>
                  <a:gd name="T27" fmla="*/ 57 h 144"/>
                  <a:gd name="T28" fmla="*/ 35 w 76"/>
                  <a:gd name="T29" fmla="*/ 132 h 144"/>
                  <a:gd name="T30" fmla="*/ 27 w 76"/>
                  <a:gd name="T31" fmla="*/ 136 h 144"/>
                  <a:gd name="T32" fmla="*/ 29 w 76"/>
                  <a:gd name="T33" fmla="*/ 95 h 144"/>
                  <a:gd name="T34" fmla="*/ 5 w 76"/>
                  <a:gd name="T35" fmla="*/ 135 h 144"/>
                  <a:gd name="T36" fmla="*/ 0 w 76"/>
                  <a:gd name="T37" fmla="*/ 135 h 144"/>
                  <a:gd name="T38" fmla="*/ 30 w 76"/>
                  <a:gd name="T39" fmla="*/ 86 h 144"/>
                  <a:gd name="T40" fmla="*/ 26 w 76"/>
                  <a:gd name="T41" fmla="*/ 80 h 144"/>
                  <a:gd name="T42" fmla="*/ 5 w 76"/>
                  <a:gd name="T43" fmla="*/ 66 h 144"/>
                  <a:gd name="T44" fmla="*/ 3 w 76"/>
                  <a:gd name="T45" fmla="*/ 29 h 144"/>
                  <a:gd name="T46" fmla="*/ 9 w 76"/>
                  <a:gd name="T47" fmla="*/ 59 h 144"/>
                  <a:gd name="T48" fmla="*/ 31 w 76"/>
                  <a:gd name="T49" fmla="*/ 74 h 144"/>
                  <a:gd name="T50" fmla="*/ 32 w 76"/>
                  <a:gd name="T51" fmla="*/ 57 h 144"/>
                  <a:gd name="T52" fmla="*/ 16 w 76"/>
                  <a:gd name="T53" fmla="*/ 14 h 144"/>
                  <a:gd name="T54" fmla="*/ 22 w 76"/>
                  <a:gd name="T55" fmla="*/ 19 h 144"/>
                  <a:gd name="T56" fmla="*/ 57 w 76"/>
                  <a:gd name="T57" fmla="*/ 19 h 144"/>
                  <a:gd name="T58" fmla="*/ 50 w 76"/>
                  <a:gd name="T59" fmla="*/ 9 h 144"/>
                  <a:gd name="T60" fmla="*/ 22 w 76"/>
                  <a:gd name="T61" fmla="*/ 19 h 144"/>
                  <a:gd name="T62" fmla="*/ 23 w 76"/>
                  <a:gd name="T63" fmla="*/ 31 h 144"/>
                  <a:gd name="T64" fmla="*/ 57 w 76"/>
                  <a:gd name="T65" fmla="*/ 34 h 144"/>
                  <a:gd name="T66" fmla="*/ 22 w 76"/>
                  <a:gd name="T67" fmla="*/ 27 h 144"/>
                  <a:gd name="T68" fmla="*/ 48 w 76"/>
                  <a:gd name="T69" fmla="*/ 50 h 144"/>
                  <a:gd name="T70" fmla="*/ 57 w 76"/>
                  <a:gd name="T71" fmla="*/ 41 h 144"/>
                  <a:gd name="T72" fmla="*/ 25 w 76"/>
                  <a:gd name="T73" fmla="*/ 44 h 1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76" h="144">
                    <a:moveTo>
                      <a:pt x="27" y="2"/>
                    </a:moveTo>
                    <a:cubicBezTo>
                      <a:pt x="37" y="0"/>
                      <a:pt x="47" y="0"/>
                      <a:pt x="56" y="3"/>
                    </a:cubicBezTo>
                    <a:cubicBezTo>
                      <a:pt x="60" y="3"/>
                      <a:pt x="62" y="7"/>
                      <a:pt x="63" y="15"/>
                    </a:cubicBezTo>
                    <a:cubicBezTo>
                      <a:pt x="65" y="25"/>
                      <a:pt x="64" y="35"/>
                      <a:pt x="61" y="45"/>
                    </a:cubicBezTo>
                    <a:cubicBezTo>
                      <a:pt x="60" y="53"/>
                      <a:pt x="55" y="56"/>
                      <a:pt x="49" y="57"/>
                    </a:cubicBezTo>
                    <a:cubicBezTo>
                      <a:pt x="49" y="62"/>
                      <a:pt x="50" y="68"/>
                      <a:pt x="50" y="74"/>
                    </a:cubicBezTo>
                    <a:cubicBezTo>
                      <a:pt x="53" y="74"/>
                      <a:pt x="56" y="74"/>
                      <a:pt x="58" y="74"/>
                    </a:cubicBezTo>
                    <a:cubicBezTo>
                      <a:pt x="62" y="75"/>
                      <a:pt x="66" y="72"/>
                      <a:pt x="68" y="65"/>
                    </a:cubicBezTo>
                    <a:cubicBezTo>
                      <a:pt x="69" y="62"/>
                      <a:pt x="70" y="53"/>
                      <a:pt x="70" y="39"/>
                    </a:cubicBezTo>
                    <a:cubicBezTo>
                      <a:pt x="70" y="35"/>
                      <a:pt x="70" y="32"/>
                      <a:pt x="70" y="31"/>
                    </a:cubicBezTo>
                    <a:cubicBezTo>
                      <a:pt x="71" y="31"/>
                      <a:pt x="71" y="30"/>
                      <a:pt x="72" y="30"/>
                    </a:cubicBezTo>
                    <a:cubicBezTo>
                      <a:pt x="73" y="30"/>
                      <a:pt x="74" y="30"/>
                      <a:pt x="74" y="31"/>
                    </a:cubicBezTo>
                    <a:cubicBezTo>
                      <a:pt x="75" y="33"/>
                      <a:pt x="76" y="36"/>
                      <a:pt x="76" y="41"/>
                    </a:cubicBezTo>
                    <a:cubicBezTo>
                      <a:pt x="76" y="49"/>
                      <a:pt x="75" y="56"/>
                      <a:pt x="74" y="64"/>
                    </a:cubicBezTo>
                    <a:cubicBezTo>
                      <a:pt x="72" y="75"/>
                      <a:pt x="67" y="81"/>
                      <a:pt x="58" y="81"/>
                    </a:cubicBezTo>
                    <a:cubicBezTo>
                      <a:pt x="50" y="81"/>
                      <a:pt x="50" y="81"/>
                      <a:pt x="50" y="81"/>
                    </a:cubicBezTo>
                    <a:cubicBezTo>
                      <a:pt x="50" y="87"/>
                      <a:pt x="50" y="87"/>
                      <a:pt x="50" y="87"/>
                    </a:cubicBezTo>
                    <a:cubicBezTo>
                      <a:pt x="60" y="87"/>
                      <a:pt x="66" y="92"/>
                      <a:pt x="69" y="103"/>
                    </a:cubicBezTo>
                    <a:cubicBezTo>
                      <a:pt x="72" y="112"/>
                      <a:pt x="74" y="122"/>
                      <a:pt x="76" y="134"/>
                    </a:cubicBezTo>
                    <a:cubicBezTo>
                      <a:pt x="76" y="138"/>
                      <a:pt x="75" y="140"/>
                      <a:pt x="74" y="140"/>
                    </a:cubicBezTo>
                    <a:cubicBezTo>
                      <a:pt x="72" y="141"/>
                      <a:pt x="71" y="139"/>
                      <a:pt x="70" y="136"/>
                    </a:cubicBezTo>
                    <a:cubicBezTo>
                      <a:pt x="68" y="126"/>
                      <a:pt x="66" y="116"/>
                      <a:pt x="63" y="105"/>
                    </a:cubicBezTo>
                    <a:cubicBezTo>
                      <a:pt x="61" y="98"/>
                      <a:pt x="57" y="95"/>
                      <a:pt x="50" y="95"/>
                    </a:cubicBezTo>
                    <a:cubicBezTo>
                      <a:pt x="50" y="109"/>
                      <a:pt x="51" y="123"/>
                      <a:pt x="52" y="138"/>
                    </a:cubicBezTo>
                    <a:cubicBezTo>
                      <a:pt x="52" y="141"/>
                      <a:pt x="51" y="143"/>
                      <a:pt x="49" y="144"/>
                    </a:cubicBezTo>
                    <a:cubicBezTo>
                      <a:pt x="47" y="144"/>
                      <a:pt x="46" y="142"/>
                      <a:pt x="46" y="139"/>
                    </a:cubicBezTo>
                    <a:cubicBezTo>
                      <a:pt x="44" y="134"/>
                      <a:pt x="43" y="118"/>
                      <a:pt x="43" y="92"/>
                    </a:cubicBezTo>
                    <a:cubicBezTo>
                      <a:pt x="43" y="76"/>
                      <a:pt x="43" y="64"/>
                      <a:pt x="42" y="57"/>
                    </a:cubicBezTo>
                    <a:cubicBezTo>
                      <a:pt x="38" y="57"/>
                      <a:pt x="38" y="57"/>
                      <a:pt x="38" y="57"/>
                    </a:cubicBezTo>
                    <a:cubicBezTo>
                      <a:pt x="36" y="88"/>
                      <a:pt x="35" y="113"/>
                      <a:pt x="35" y="132"/>
                    </a:cubicBezTo>
                    <a:cubicBezTo>
                      <a:pt x="35" y="138"/>
                      <a:pt x="33" y="142"/>
                      <a:pt x="31" y="142"/>
                    </a:cubicBezTo>
                    <a:cubicBezTo>
                      <a:pt x="29" y="142"/>
                      <a:pt x="27" y="140"/>
                      <a:pt x="27" y="136"/>
                    </a:cubicBezTo>
                    <a:cubicBezTo>
                      <a:pt x="27" y="136"/>
                      <a:pt x="27" y="134"/>
                      <a:pt x="27" y="132"/>
                    </a:cubicBezTo>
                    <a:cubicBezTo>
                      <a:pt x="28" y="118"/>
                      <a:pt x="29" y="105"/>
                      <a:pt x="29" y="95"/>
                    </a:cubicBezTo>
                    <a:cubicBezTo>
                      <a:pt x="19" y="95"/>
                      <a:pt x="14" y="98"/>
                      <a:pt x="13" y="105"/>
                    </a:cubicBezTo>
                    <a:cubicBezTo>
                      <a:pt x="10" y="114"/>
                      <a:pt x="7" y="124"/>
                      <a:pt x="5" y="135"/>
                    </a:cubicBezTo>
                    <a:cubicBezTo>
                      <a:pt x="4" y="137"/>
                      <a:pt x="3" y="139"/>
                      <a:pt x="2" y="139"/>
                    </a:cubicBezTo>
                    <a:cubicBezTo>
                      <a:pt x="1" y="140"/>
                      <a:pt x="0" y="138"/>
                      <a:pt x="0" y="135"/>
                    </a:cubicBezTo>
                    <a:cubicBezTo>
                      <a:pt x="0" y="125"/>
                      <a:pt x="2" y="115"/>
                      <a:pt x="7" y="104"/>
                    </a:cubicBezTo>
                    <a:cubicBezTo>
                      <a:pt x="11" y="92"/>
                      <a:pt x="18" y="86"/>
                      <a:pt x="30" y="86"/>
                    </a:cubicBezTo>
                    <a:cubicBezTo>
                      <a:pt x="30" y="85"/>
                      <a:pt x="30" y="83"/>
                      <a:pt x="31" y="80"/>
                    </a:cubicBezTo>
                    <a:cubicBezTo>
                      <a:pt x="29" y="81"/>
                      <a:pt x="28" y="81"/>
                      <a:pt x="26" y="80"/>
                    </a:cubicBezTo>
                    <a:cubicBezTo>
                      <a:pt x="24" y="80"/>
                      <a:pt x="23" y="80"/>
                      <a:pt x="22" y="80"/>
                    </a:cubicBezTo>
                    <a:cubicBezTo>
                      <a:pt x="14" y="81"/>
                      <a:pt x="8" y="76"/>
                      <a:pt x="5" y="66"/>
                    </a:cubicBezTo>
                    <a:cubicBezTo>
                      <a:pt x="2" y="59"/>
                      <a:pt x="0" y="49"/>
                      <a:pt x="0" y="37"/>
                    </a:cubicBezTo>
                    <a:cubicBezTo>
                      <a:pt x="0" y="32"/>
                      <a:pt x="1" y="29"/>
                      <a:pt x="3" y="29"/>
                    </a:cubicBezTo>
                    <a:cubicBezTo>
                      <a:pt x="6" y="31"/>
                      <a:pt x="8" y="35"/>
                      <a:pt x="8" y="39"/>
                    </a:cubicBezTo>
                    <a:cubicBezTo>
                      <a:pt x="7" y="45"/>
                      <a:pt x="7" y="52"/>
                      <a:pt x="9" y="59"/>
                    </a:cubicBezTo>
                    <a:cubicBezTo>
                      <a:pt x="10" y="68"/>
                      <a:pt x="16" y="73"/>
                      <a:pt x="24" y="74"/>
                    </a:cubicBezTo>
                    <a:cubicBezTo>
                      <a:pt x="26" y="74"/>
                      <a:pt x="29" y="74"/>
                      <a:pt x="31" y="74"/>
                    </a:cubicBezTo>
                    <a:cubicBezTo>
                      <a:pt x="31" y="72"/>
                      <a:pt x="31" y="69"/>
                      <a:pt x="31" y="65"/>
                    </a:cubicBezTo>
                    <a:cubicBezTo>
                      <a:pt x="31" y="61"/>
                      <a:pt x="32" y="58"/>
                      <a:pt x="32" y="57"/>
                    </a:cubicBezTo>
                    <a:cubicBezTo>
                      <a:pt x="25" y="56"/>
                      <a:pt x="20" y="53"/>
                      <a:pt x="19" y="48"/>
                    </a:cubicBezTo>
                    <a:cubicBezTo>
                      <a:pt x="15" y="36"/>
                      <a:pt x="14" y="25"/>
                      <a:pt x="16" y="14"/>
                    </a:cubicBezTo>
                    <a:cubicBezTo>
                      <a:pt x="17" y="6"/>
                      <a:pt x="21" y="2"/>
                      <a:pt x="27" y="2"/>
                    </a:cubicBezTo>
                    <a:close/>
                    <a:moveTo>
                      <a:pt x="22" y="19"/>
                    </a:moveTo>
                    <a:cubicBezTo>
                      <a:pt x="22" y="20"/>
                      <a:pt x="22" y="20"/>
                      <a:pt x="22" y="20"/>
                    </a:cubicBezTo>
                    <a:cubicBezTo>
                      <a:pt x="30" y="20"/>
                      <a:pt x="42" y="19"/>
                      <a:pt x="57" y="19"/>
                    </a:cubicBezTo>
                    <a:cubicBezTo>
                      <a:pt x="57" y="18"/>
                      <a:pt x="57" y="17"/>
                      <a:pt x="57" y="16"/>
                    </a:cubicBezTo>
                    <a:cubicBezTo>
                      <a:pt x="56" y="13"/>
                      <a:pt x="54" y="10"/>
                      <a:pt x="50" y="9"/>
                    </a:cubicBezTo>
                    <a:cubicBezTo>
                      <a:pt x="44" y="8"/>
                      <a:pt x="37" y="7"/>
                      <a:pt x="31" y="9"/>
                    </a:cubicBezTo>
                    <a:cubicBezTo>
                      <a:pt x="25" y="11"/>
                      <a:pt x="22" y="14"/>
                      <a:pt x="22" y="19"/>
                    </a:cubicBezTo>
                    <a:close/>
                    <a:moveTo>
                      <a:pt x="22" y="27"/>
                    </a:moveTo>
                    <a:cubicBezTo>
                      <a:pt x="22" y="28"/>
                      <a:pt x="22" y="29"/>
                      <a:pt x="23" y="31"/>
                    </a:cubicBezTo>
                    <a:cubicBezTo>
                      <a:pt x="23" y="32"/>
                      <a:pt x="23" y="33"/>
                      <a:pt x="23" y="34"/>
                    </a:cubicBezTo>
                    <a:cubicBezTo>
                      <a:pt x="57" y="34"/>
                      <a:pt x="57" y="34"/>
                      <a:pt x="57" y="34"/>
                    </a:cubicBezTo>
                    <a:cubicBezTo>
                      <a:pt x="57" y="27"/>
                      <a:pt x="57" y="27"/>
                      <a:pt x="57" y="27"/>
                    </a:cubicBezTo>
                    <a:cubicBezTo>
                      <a:pt x="45" y="26"/>
                      <a:pt x="33" y="26"/>
                      <a:pt x="22" y="27"/>
                    </a:cubicBezTo>
                    <a:close/>
                    <a:moveTo>
                      <a:pt x="35" y="50"/>
                    </a:moveTo>
                    <a:cubicBezTo>
                      <a:pt x="48" y="50"/>
                      <a:pt x="48" y="50"/>
                      <a:pt x="48" y="50"/>
                    </a:cubicBezTo>
                    <a:cubicBezTo>
                      <a:pt x="53" y="50"/>
                      <a:pt x="55" y="47"/>
                      <a:pt x="57" y="42"/>
                    </a:cubicBezTo>
                    <a:cubicBezTo>
                      <a:pt x="57" y="41"/>
                      <a:pt x="57" y="41"/>
                      <a:pt x="57" y="41"/>
                    </a:cubicBezTo>
                    <a:cubicBezTo>
                      <a:pt x="43" y="41"/>
                      <a:pt x="32" y="41"/>
                      <a:pt x="24" y="42"/>
                    </a:cubicBezTo>
                    <a:cubicBezTo>
                      <a:pt x="24" y="43"/>
                      <a:pt x="24" y="43"/>
                      <a:pt x="25" y="44"/>
                    </a:cubicBezTo>
                    <a:cubicBezTo>
                      <a:pt x="27" y="48"/>
                      <a:pt x="30" y="50"/>
                      <a:pt x="35" y="5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137" name="iṣlîḋè"/>
              <p:cNvSpPr/>
              <p:nvPr/>
            </p:nvSpPr>
            <p:spPr bwMode="auto">
              <a:xfrm>
                <a:off x="2604984" y="5259978"/>
                <a:ext cx="177800" cy="255588"/>
              </a:xfrm>
              <a:custGeom>
                <a:avLst/>
                <a:gdLst>
                  <a:gd name="T0" fmla="*/ 5 w 96"/>
                  <a:gd name="T1" fmla="*/ 37 h 138"/>
                  <a:gd name="T2" fmla="*/ 24 w 96"/>
                  <a:gd name="T3" fmla="*/ 49 h 138"/>
                  <a:gd name="T4" fmla="*/ 7 w 96"/>
                  <a:gd name="T5" fmla="*/ 26 h 138"/>
                  <a:gd name="T6" fmla="*/ 0 w 96"/>
                  <a:gd name="T7" fmla="*/ 22 h 138"/>
                  <a:gd name="T8" fmla="*/ 44 w 96"/>
                  <a:gd name="T9" fmla="*/ 19 h 138"/>
                  <a:gd name="T10" fmla="*/ 40 w 96"/>
                  <a:gd name="T11" fmla="*/ 26 h 138"/>
                  <a:gd name="T12" fmla="*/ 29 w 96"/>
                  <a:gd name="T13" fmla="*/ 49 h 138"/>
                  <a:gd name="T14" fmla="*/ 42 w 96"/>
                  <a:gd name="T15" fmla="*/ 39 h 138"/>
                  <a:gd name="T16" fmla="*/ 36 w 96"/>
                  <a:gd name="T17" fmla="*/ 64 h 138"/>
                  <a:gd name="T18" fmla="*/ 44 w 96"/>
                  <a:gd name="T19" fmla="*/ 70 h 138"/>
                  <a:gd name="T20" fmla="*/ 30 w 96"/>
                  <a:gd name="T21" fmla="*/ 78 h 138"/>
                  <a:gd name="T22" fmla="*/ 48 w 96"/>
                  <a:gd name="T23" fmla="*/ 111 h 138"/>
                  <a:gd name="T24" fmla="*/ 42 w 96"/>
                  <a:gd name="T25" fmla="*/ 124 h 138"/>
                  <a:gd name="T26" fmla="*/ 33 w 96"/>
                  <a:gd name="T27" fmla="*/ 93 h 138"/>
                  <a:gd name="T28" fmla="*/ 30 w 96"/>
                  <a:gd name="T29" fmla="*/ 116 h 138"/>
                  <a:gd name="T30" fmla="*/ 24 w 96"/>
                  <a:gd name="T31" fmla="*/ 133 h 138"/>
                  <a:gd name="T32" fmla="*/ 20 w 96"/>
                  <a:gd name="T33" fmla="*/ 93 h 138"/>
                  <a:gd name="T34" fmla="*/ 11 w 96"/>
                  <a:gd name="T35" fmla="*/ 122 h 138"/>
                  <a:gd name="T36" fmla="*/ 8 w 96"/>
                  <a:gd name="T37" fmla="*/ 102 h 138"/>
                  <a:gd name="T38" fmla="*/ 24 w 96"/>
                  <a:gd name="T39" fmla="*/ 81 h 138"/>
                  <a:gd name="T40" fmla="*/ 3 w 96"/>
                  <a:gd name="T41" fmla="*/ 77 h 138"/>
                  <a:gd name="T42" fmla="*/ 14 w 96"/>
                  <a:gd name="T43" fmla="*/ 70 h 138"/>
                  <a:gd name="T44" fmla="*/ 20 w 96"/>
                  <a:gd name="T45" fmla="*/ 65 h 138"/>
                  <a:gd name="T46" fmla="*/ 2 w 96"/>
                  <a:gd name="T47" fmla="*/ 37 h 138"/>
                  <a:gd name="T48" fmla="*/ 40 w 96"/>
                  <a:gd name="T49" fmla="*/ 3 h 138"/>
                  <a:gd name="T50" fmla="*/ 14 w 96"/>
                  <a:gd name="T51" fmla="*/ 11 h 138"/>
                  <a:gd name="T52" fmla="*/ 5 w 96"/>
                  <a:gd name="T53" fmla="*/ 6 h 138"/>
                  <a:gd name="T54" fmla="*/ 33 w 96"/>
                  <a:gd name="T55" fmla="*/ 26 h 138"/>
                  <a:gd name="T56" fmla="*/ 27 w 96"/>
                  <a:gd name="T57" fmla="*/ 45 h 138"/>
                  <a:gd name="T58" fmla="*/ 54 w 96"/>
                  <a:gd name="T59" fmla="*/ 2 h 138"/>
                  <a:gd name="T60" fmla="*/ 58 w 96"/>
                  <a:gd name="T61" fmla="*/ 10 h 138"/>
                  <a:gd name="T62" fmla="*/ 88 w 96"/>
                  <a:gd name="T63" fmla="*/ 22 h 138"/>
                  <a:gd name="T64" fmla="*/ 74 w 96"/>
                  <a:gd name="T65" fmla="*/ 37 h 138"/>
                  <a:gd name="T66" fmla="*/ 62 w 96"/>
                  <a:gd name="T67" fmla="*/ 66 h 138"/>
                  <a:gd name="T68" fmla="*/ 53 w 96"/>
                  <a:gd name="T69" fmla="*/ 136 h 138"/>
                  <a:gd name="T70" fmla="*/ 48 w 96"/>
                  <a:gd name="T71" fmla="*/ 130 h 138"/>
                  <a:gd name="T72" fmla="*/ 55 w 96"/>
                  <a:gd name="T73" fmla="*/ 48 h 138"/>
                  <a:gd name="T74" fmla="*/ 76 w 96"/>
                  <a:gd name="T75" fmla="*/ 31 h 138"/>
                  <a:gd name="T76" fmla="*/ 65 w 96"/>
                  <a:gd name="T77" fmla="*/ 18 h 138"/>
                  <a:gd name="T78" fmla="*/ 52 w 96"/>
                  <a:gd name="T79" fmla="*/ 13 h 138"/>
                  <a:gd name="T80" fmla="*/ 94 w 96"/>
                  <a:gd name="T81" fmla="*/ 74 h 138"/>
                  <a:gd name="T82" fmla="*/ 76 w 96"/>
                  <a:gd name="T83" fmla="*/ 54 h 138"/>
                  <a:gd name="T84" fmla="*/ 83 w 96"/>
                  <a:gd name="T85" fmla="*/ 119 h 138"/>
                  <a:gd name="T86" fmla="*/ 88 w 96"/>
                  <a:gd name="T87" fmla="*/ 133 h 138"/>
                  <a:gd name="T88" fmla="*/ 70 w 96"/>
                  <a:gd name="T89" fmla="*/ 93 h 138"/>
                  <a:gd name="T90" fmla="*/ 70 w 96"/>
                  <a:gd name="T91" fmla="*/ 42 h 138"/>
                  <a:gd name="T92" fmla="*/ 95 w 96"/>
                  <a:gd name="T93" fmla="*/ 70 h 1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96" h="138">
                    <a:moveTo>
                      <a:pt x="2" y="37"/>
                    </a:moveTo>
                    <a:cubicBezTo>
                      <a:pt x="2" y="36"/>
                      <a:pt x="2" y="35"/>
                      <a:pt x="3" y="35"/>
                    </a:cubicBezTo>
                    <a:cubicBezTo>
                      <a:pt x="4" y="35"/>
                      <a:pt x="5" y="36"/>
                      <a:pt x="5" y="37"/>
                    </a:cubicBezTo>
                    <a:cubicBezTo>
                      <a:pt x="9" y="49"/>
                      <a:pt x="14" y="56"/>
                      <a:pt x="21" y="59"/>
                    </a:cubicBezTo>
                    <a:cubicBezTo>
                      <a:pt x="21" y="59"/>
                      <a:pt x="22" y="60"/>
                      <a:pt x="24" y="60"/>
                    </a:cubicBezTo>
                    <a:cubicBezTo>
                      <a:pt x="24" y="56"/>
                      <a:pt x="24" y="53"/>
                      <a:pt x="24" y="49"/>
                    </a:cubicBezTo>
                    <a:cubicBezTo>
                      <a:pt x="21" y="48"/>
                      <a:pt x="18" y="46"/>
                      <a:pt x="16" y="42"/>
                    </a:cubicBezTo>
                    <a:cubicBezTo>
                      <a:pt x="13" y="38"/>
                      <a:pt x="12" y="33"/>
                      <a:pt x="12" y="26"/>
                    </a:cubicBezTo>
                    <a:cubicBezTo>
                      <a:pt x="9" y="26"/>
                      <a:pt x="8" y="26"/>
                      <a:pt x="7" y="26"/>
                    </a:cubicBezTo>
                    <a:cubicBezTo>
                      <a:pt x="4" y="27"/>
                      <a:pt x="2" y="27"/>
                      <a:pt x="1" y="25"/>
                    </a:cubicBezTo>
                    <a:cubicBezTo>
                      <a:pt x="0" y="24"/>
                      <a:pt x="0" y="23"/>
                      <a:pt x="0" y="22"/>
                    </a:cubicBezTo>
                    <a:cubicBezTo>
                      <a:pt x="0" y="22"/>
                      <a:pt x="0" y="22"/>
                      <a:pt x="0" y="22"/>
                    </a:cubicBezTo>
                    <a:cubicBezTo>
                      <a:pt x="1" y="19"/>
                      <a:pt x="2" y="18"/>
                      <a:pt x="4" y="19"/>
                    </a:cubicBezTo>
                    <a:cubicBezTo>
                      <a:pt x="6" y="19"/>
                      <a:pt x="8" y="19"/>
                      <a:pt x="11" y="19"/>
                    </a:cubicBezTo>
                    <a:cubicBezTo>
                      <a:pt x="44" y="19"/>
                      <a:pt x="44" y="19"/>
                      <a:pt x="44" y="19"/>
                    </a:cubicBezTo>
                    <a:cubicBezTo>
                      <a:pt x="46" y="19"/>
                      <a:pt x="48" y="20"/>
                      <a:pt x="48" y="23"/>
                    </a:cubicBezTo>
                    <a:cubicBezTo>
                      <a:pt x="47" y="25"/>
                      <a:pt x="45" y="26"/>
                      <a:pt x="42" y="26"/>
                    </a:cubicBezTo>
                    <a:cubicBezTo>
                      <a:pt x="42" y="26"/>
                      <a:pt x="41" y="26"/>
                      <a:pt x="40" y="26"/>
                    </a:cubicBezTo>
                    <a:cubicBezTo>
                      <a:pt x="40" y="26"/>
                      <a:pt x="40" y="26"/>
                      <a:pt x="40" y="26"/>
                    </a:cubicBezTo>
                    <a:cubicBezTo>
                      <a:pt x="39" y="34"/>
                      <a:pt x="38" y="39"/>
                      <a:pt x="37" y="42"/>
                    </a:cubicBezTo>
                    <a:cubicBezTo>
                      <a:pt x="34" y="46"/>
                      <a:pt x="32" y="49"/>
                      <a:pt x="29" y="49"/>
                    </a:cubicBezTo>
                    <a:cubicBezTo>
                      <a:pt x="30" y="53"/>
                      <a:pt x="30" y="56"/>
                      <a:pt x="30" y="60"/>
                    </a:cubicBezTo>
                    <a:cubicBezTo>
                      <a:pt x="31" y="60"/>
                      <a:pt x="32" y="59"/>
                      <a:pt x="33" y="58"/>
                    </a:cubicBezTo>
                    <a:cubicBezTo>
                      <a:pt x="39" y="56"/>
                      <a:pt x="42" y="49"/>
                      <a:pt x="42" y="39"/>
                    </a:cubicBezTo>
                    <a:cubicBezTo>
                      <a:pt x="43" y="37"/>
                      <a:pt x="44" y="36"/>
                      <a:pt x="46" y="36"/>
                    </a:cubicBezTo>
                    <a:cubicBezTo>
                      <a:pt x="47" y="36"/>
                      <a:pt x="48" y="37"/>
                      <a:pt x="48" y="39"/>
                    </a:cubicBezTo>
                    <a:cubicBezTo>
                      <a:pt x="49" y="49"/>
                      <a:pt x="45" y="57"/>
                      <a:pt x="36" y="64"/>
                    </a:cubicBezTo>
                    <a:cubicBezTo>
                      <a:pt x="34" y="65"/>
                      <a:pt x="32" y="66"/>
                      <a:pt x="30" y="66"/>
                    </a:cubicBezTo>
                    <a:cubicBezTo>
                      <a:pt x="30" y="70"/>
                      <a:pt x="30" y="70"/>
                      <a:pt x="30" y="70"/>
                    </a:cubicBezTo>
                    <a:cubicBezTo>
                      <a:pt x="44" y="70"/>
                      <a:pt x="44" y="70"/>
                      <a:pt x="44" y="70"/>
                    </a:cubicBezTo>
                    <a:cubicBezTo>
                      <a:pt x="47" y="70"/>
                      <a:pt x="49" y="71"/>
                      <a:pt x="49" y="73"/>
                    </a:cubicBezTo>
                    <a:cubicBezTo>
                      <a:pt x="49" y="76"/>
                      <a:pt x="47" y="77"/>
                      <a:pt x="43" y="77"/>
                    </a:cubicBezTo>
                    <a:cubicBezTo>
                      <a:pt x="37" y="77"/>
                      <a:pt x="33" y="77"/>
                      <a:pt x="30" y="78"/>
                    </a:cubicBezTo>
                    <a:cubicBezTo>
                      <a:pt x="30" y="80"/>
                      <a:pt x="30" y="82"/>
                      <a:pt x="30" y="84"/>
                    </a:cubicBezTo>
                    <a:cubicBezTo>
                      <a:pt x="34" y="84"/>
                      <a:pt x="37" y="87"/>
                      <a:pt x="40" y="91"/>
                    </a:cubicBezTo>
                    <a:cubicBezTo>
                      <a:pt x="44" y="96"/>
                      <a:pt x="46" y="103"/>
                      <a:pt x="48" y="111"/>
                    </a:cubicBezTo>
                    <a:cubicBezTo>
                      <a:pt x="49" y="116"/>
                      <a:pt x="49" y="120"/>
                      <a:pt x="48" y="124"/>
                    </a:cubicBezTo>
                    <a:cubicBezTo>
                      <a:pt x="47" y="125"/>
                      <a:pt x="46" y="125"/>
                      <a:pt x="45" y="125"/>
                    </a:cubicBezTo>
                    <a:cubicBezTo>
                      <a:pt x="44" y="125"/>
                      <a:pt x="43" y="125"/>
                      <a:pt x="42" y="124"/>
                    </a:cubicBezTo>
                    <a:cubicBezTo>
                      <a:pt x="42" y="123"/>
                      <a:pt x="42" y="121"/>
                      <a:pt x="42" y="118"/>
                    </a:cubicBezTo>
                    <a:cubicBezTo>
                      <a:pt x="41" y="116"/>
                      <a:pt x="41" y="114"/>
                      <a:pt x="41" y="113"/>
                    </a:cubicBezTo>
                    <a:cubicBezTo>
                      <a:pt x="40" y="104"/>
                      <a:pt x="37" y="97"/>
                      <a:pt x="33" y="93"/>
                    </a:cubicBezTo>
                    <a:cubicBezTo>
                      <a:pt x="33" y="92"/>
                      <a:pt x="32" y="91"/>
                      <a:pt x="30" y="91"/>
                    </a:cubicBezTo>
                    <a:cubicBezTo>
                      <a:pt x="31" y="97"/>
                      <a:pt x="31" y="101"/>
                      <a:pt x="31" y="105"/>
                    </a:cubicBezTo>
                    <a:cubicBezTo>
                      <a:pt x="31" y="107"/>
                      <a:pt x="31" y="111"/>
                      <a:pt x="30" y="116"/>
                    </a:cubicBezTo>
                    <a:cubicBezTo>
                      <a:pt x="30" y="124"/>
                      <a:pt x="30" y="129"/>
                      <a:pt x="29" y="133"/>
                    </a:cubicBezTo>
                    <a:cubicBezTo>
                      <a:pt x="29" y="136"/>
                      <a:pt x="28" y="137"/>
                      <a:pt x="27" y="137"/>
                    </a:cubicBezTo>
                    <a:cubicBezTo>
                      <a:pt x="26" y="137"/>
                      <a:pt x="25" y="136"/>
                      <a:pt x="24" y="133"/>
                    </a:cubicBezTo>
                    <a:cubicBezTo>
                      <a:pt x="24" y="120"/>
                      <a:pt x="24" y="111"/>
                      <a:pt x="24" y="105"/>
                    </a:cubicBezTo>
                    <a:cubicBezTo>
                      <a:pt x="24" y="100"/>
                      <a:pt x="24" y="95"/>
                      <a:pt x="24" y="90"/>
                    </a:cubicBezTo>
                    <a:cubicBezTo>
                      <a:pt x="22" y="91"/>
                      <a:pt x="21" y="92"/>
                      <a:pt x="20" y="93"/>
                    </a:cubicBezTo>
                    <a:cubicBezTo>
                      <a:pt x="18" y="94"/>
                      <a:pt x="16" y="98"/>
                      <a:pt x="14" y="102"/>
                    </a:cubicBezTo>
                    <a:cubicBezTo>
                      <a:pt x="13" y="104"/>
                      <a:pt x="13" y="104"/>
                      <a:pt x="13" y="104"/>
                    </a:cubicBezTo>
                    <a:cubicBezTo>
                      <a:pt x="12" y="108"/>
                      <a:pt x="11" y="114"/>
                      <a:pt x="11" y="122"/>
                    </a:cubicBezTo>
                    <a:cubicBezTo>
                      <a:pt x="10" y="124"/>
                      <a:pt x="9" y="125"/>
                      <a:pt x="7" y="125"/>
                    </a:cubicBezTo>
                    <a:cubicBezTo>
                      <a:pt x="6" y="125"/>
                      <a:pt x="5" y="124"/>
                      <a:pt x="5" y="122"/>
                    </a:cubicBezTo>
                    <a:cubicBezTo>
                      <a:pt x="6" y="115"/>
                      <a:pt x="7" y="108"/>
                      <a:pt x="8" y="102"/>
                    </a:cubicBezTo>
                    <a:cubicBezTo>
                      <a:pt x="9" y="97"/>
                      <a:pt x="11" y="92"/>
                      <a:pt x="14" y="89"/>
                    </a:cubicBezTo>
                    <a:cubicBezTo>
                      <a:pt x="17" y="86"/>
                      <a:pt x="20" y="84"/>
                      <a:pt x="24" y="84"/>
                    </a:cubicBezTo>
                    <a:cubicBezTo>
                      <a:pt x="24" y="81"/>
                      <a:pt x="24" y="81"/>
                      <a:pt x="24" y="81"/>
                    </a:cubicBezTo>
                    <a:cubicBezTo>
                      <a:pt x="24" y="80"/>
                      <a:pt x="24" y="79"/>
                      <a:pt x="24" y="78"/>
                    </a:cubicBezTo>
                    <a:cubicBezTo>
                      <a:pt x="14" y="78"/>
                      <a:pt x="9" y="78"/>
                      <a:pt x="9" y="78"/>
                    </a:cubicBezTo>
                    <a:cubicBezTo>
                      <a:pt x="6" y="79"/>
                      <a:pt x="4" y="79"/>
                      <a:pt x="3" y="77"/>
                    </a:cubicBezTo>
                    <a:cubicBezTo>
                      <a:pt x="2" y="76"/>
                      <a:pt x="2" y="74"/>
                      <a:pt x="3" y="72"/>
                    </a:cubicBezTo>
                    <a:cubicBezTo>
                      <a:pt x="3" y="70"/>
                      <a:pt x="4" y="70"/>
                      <a:pt x="7" y="70"/>
                    </a:cubicBezTo>
                    <a:cubicBezTo>
                      <a:pt x="8" y="70"/>
                      <a:pt x="10" y="70"/>
                      <a:pt x="14" y="70"/>
                    </a:cubicBezTo>
                    <a:cubicBezTo>
                      <a:pt x="24" y="70"/>
                      <a:pt x="24" y="70"/>
                      <a:pt x="24" y="70"/>
                    </a:cubicBezTo>
                    <a:cubicBezTo>
                      <a:pt x="24" y="66"/>
                      <a:pt x="24" y="66"/>
                      <a:pt x="24" y="66"/>
                    </a:cubicBezTo>
                    <a:cubicBezTo>
                      <a:pt x="22" y="66"/>
                      <a:pt x="21" y="66"/>
                      <a:pt x="20" y="65"/>
                    </a:cubicBezTo>
                    <a:cubicBezTo>
                      <a:pt x="12" y="62"/>
                      <a:pt x="6" y="56"/>
                      <a:pt x="2" y="46"/>
                    </a:cubicBezTo>
                    <a:cubicBezTo>
                      <a:pt x="2" y="46"/>
                      <a:pt x="2" y="43"/>
                      <a:pt x="2" y="40"/>
                    </a:cubicBezTo>
                    <a:cubicBezTo>
                      <a:pt x="2" y="39"/>
                      <a:pt x="2" y="38"/>
                      <a:pt x="2" y="37"/>
                    </a:cubicBezTo>
                    <a:close/>
                    <a:moveTo>
                      <a:pt x="9" y="3"/>
                    </a:moveTo>
                    <a:cubicBezTo>
                      <a:pt x="11" y="3"/>
                      <a:pt x="15" y="3"/>
                      <a:pt x="19" y="3"/>
                    </a:cubicBezTo>
                    <a:cubicBezTo>
                      <a:pt x="40" y="3"/>
                      <a:pt x="40" y="3"/>
                      <a:pt x="40" y="3"/>
                    </a:cubicBezTo>
                    <a:cubicBezTo>
                      <a:pt x="43" y="3"/>
                      <a:pt x="44" y="5"/>
                      <a:pt x="44" y="7"/>
                    </a:cubicBezTo>
                    <a:cubicBezTo>
                      <a:pt x="44" y="9"/>
                      <a:pt x="42" y="10"/>
                      <a:pt x="39" y="10"/>
                    </a:cubicBezTo>
                    <a:cubicBezTo>
                      <a:pt x="34" y="10"/>
                      <a:pt x="25" y="10"/>
                      <a:pt x="14" y="11"/>
                    </a:cubicBezTo>
                    <a:cubicBezTo>
                      <a:pt x="13" y="11"/>
                      <a:pt x="12" y="11"/>
                      <a:pt x="11" y="11"/>
                    </a:cubicBezTo>
                    <a:cubicBezTo>
                      <a:pt x="7" y="11"/>
                      <a:pt x="5" y="11"/>
                      <a:pt x="5" y="9"/>
                    </a:cubicBezTo>
                    <a:cubicBezTo>
                      <a:pt x="5" y="9"/>
                      <a:pt x="4" y="8"/>
                      <a:pt x="5" y="6"/>
                    </a:cubicBezTo>
                    <a:cubicBezTo>
                      <a:pt x="5" y="5"/>
                      <a:pt x="5" y="5"/>
                      <a:pt x="5" y="5"/>
                    </a:cubicBezTo>
                    <a:cubicBezTo>
                      <a:pt x="5" y="3"/>
                      <a:pt x="6" y="3"/>
                      <a:pt x="9" y="3"/>
                    </a:cubicBezTo>
                    <a:close/>
                    <a:moveTo>
                      <a:pt x="33" y="26"/>
                    </a:moveTo>
                    <a:cubicBezTo>
                      <a:pt x="28" y="26"/>
                      <a:pt x="23" y="26"/>
                      <a:pt x="17" y="26"/>
                    </a:cubicBezTo>
                    <a:cubicBezTo>
                      <a:pt x="18" y="32"/>
                      <a:pt x="20" y="38"/>
                      <a:pt x="24" y="42"/>
                    </a:cubicBezTo>
                    <a:cubicBezTo>
                      <a:pt x="25" y="44"/>
                      <a:pt x="26" y="45"/>
                      <a:pt x="27" y="45"/>
                    </a:cubicBezTo>
                    <a:cubicBezTo>
                      <a:pt x="28" y="45"/>
                      <a:pt x="29" y="44"/>
                      <a:pt x="29" y="42"/>
                    </a:cubicBezTo>
                    <a:cubicBezTo>
                      <a:pt x="32" y="38"/>
                      <a:pt x="33" y="33"/>
                      <a:pt x="33" y="26"/>
                    </a:cubicBezTo>
                    <a:close/>
                    <a:moveTo>
                      <a:pt x="54" y="2"/>
                    </a:moveTo>
                    <a:cubicBezTo>
                      <a:pt x="55" y="0"/>
                      <a:pt x="57" y="0"/>
                      <a:pt x="58" y="1"/>
                    </a:cubicBezTo>
                    <a:cubicBezTo>
                      <a:pt x="59" y="2"/>
                      <a:pt x="60" y="4"/>
                      <a:pt x="59" y="6"/>
                    </a:cubicBezTo>
                    <a:cubicBezTo>
                      <a:pt x="57" y="8"/>
                      <a:pt x="57" y="9"/>
                      <a:pt x="58" y="10"/>
                    </a:cubicBezTo>
                    <a:cubicBezTo>
                      <a:pt x="59" y="11"/>
                      <a:pt x="61" y="12"/>
                      <a:pt x="63" y="11"/>
                    </a:cubicBezTo>
                    <a:cubicBezTo>
                      <a:pt x="67" y="9"/>
                      <a:pt x="73" y="9"/>
                      <a:pt x="80" y="11"/>
                    </a:cubicBezTo>
                    <a:cubicBezTo>
                      <a:pt x="84" y="13"/>
                      <a:pt x="87" y="16"/>
                      <a:pt x="88" y="22"/>
                    </a:cubicBezTo>
                    <a:cubicBezTo>
                      <a:pt x="89" y="27"/>
                      <a:pt x="88" y="32"/>
                      <a:pt x="85" y="35"/>
                    </a:cubicBezTo>
                    <a:cubicBezTo>
                      <a:pt x="84" y="38"/>
                      <a:pt x="81" y="39"/>
                      <a:pt x="75" y="37"/>
                    </a:cubicBezTo>
                    <a:cubicBezTo>
                      <a:pt x="75" y="37"/>
                      <a:pt x="74" y="37"/>
                      <a:pt x="74" y="37"/>
                    </a:cubicBezTo>
                    <a:cubicBezTo>
                      <a:pt x="69" y="37"/>
                      <a:pt x="66" y="37"/>
                      <a:pt x="63" y="38"/>
                    </a:cubicBezTo>
                    <a:cubicBezTo>
                      <a:pt x="62" y="38"/>
                      <a:pt x="61" y="40"/>
                      <a:pt x="61" y="43"/>
                    </a:cubicBezTo>
                    <a:cubicBezTo>
                      <a:pt x="62" y="48"/>
                      <a:pt x="62" y="56"/>
                      <a:pt x="62" y="66"/>
                    </a:cubicBezTo>
                    <a:cubicBezTo>
                      <a:pt x="62" y="70"/>
                      <a:pt x="61" y="76"/>
                      <a:pt x="61" y="84"/>
                    </a:cubicBezTo>
                    <a:cubicBezTo>
                      <a:pt x="59" y="99"/>
                      <a:pt x="58" y="110"/>
                      <a:pt x="57" y="116"/>
                    </a:cubicBezTo>
                    <a:cubicBezTo>
                      <a:pt x="57" y="122"/>
                      <a:pt x="55" y="128"/>
                      <a:pt x="53" y="136"/>
                    </a:cubicBezTo>
                    <a:cubicBezTo>
                      <a:pt x="52" y="137"/>
                      <a:pt x="51" y="138"/>
                      <a:pt x="50" y="138"/>
                    </a:cubicBezTo>
                    <a:cubicBezTo>
                      <a:pt x="48" y="138"/>
                      <a:pt x="48" y="137"/>
                      <a:pt x="48" y="136"/>
                    </a:cubicBezTo>
                    <a:cubicBezTo>
                      <a:pt x="48" y="135"/>
                      <a:pt x="48" y="133"/>
                      <a:pt x="48" y="130"/>
                    </a:cubicBezTo>
                    <a:cubicBezTo>
                      <a:pt x="49" y="127"/>
                      <a:pt x="49" y="126"/>
                      <a:pt x="49" y="125"/>
                    </a:cubicBezTo>
                    <a:cubicBezTo>
                      <a:pt x="53" y="104"/>
                      <a:pt x="55" y="85"/>
                      <a:pt x="55" y="68"/>
                    </a:cubicBezTo>
                    <a:cubicBezTo>
                      <a:pt x="56" y="60"/>
                      <a:pt x="56" y="54"/>
                      <a:pt x="55" y="48"/>
                    </a:cubicBezTo>
                    <a:cubicBezTo>
                      <a:pt x="54" y="45"/>
                      <a:pt x="53" y="42"/>
                      <a:pt x="52" y="40"/>
                    </a:cubicBezTo>
                    <a:cubicBezTo>
                      <a:pt x="50" y="38"/>
                      <a:pt x="51" y="36"/>
                      <a:pt x="54" y="34"/>
                    </a:cubicBezTo>
                    <a:cubicBezTo>
                      <a:pt x="58" y="30"/>
                      <a:pt x="66" y="29"/>
                      <a:pt x="76" y="31"/>
                    </a:cubicBezTo>
                    <a:cubicBezTo>
                      <a:pt x="81" y="32"/>
                      <a:pt x="83" y="30"/>
                      <a:pt x="83" y="25"/>
                    </a:cubicBezTo>
                    <a:cubicBezTo>
                      <a:pt x="83" y="21"/>
                      <a:pt x="81" y="18"/>
                      <a:pt x="77" y="18"/>
                    </a:cubicBezTo>
                    <a:cubicBezTo>
                      <a:pt x="70" y="17"/>
                      <a:pt x="66" y="17"/>
                      <a:pt x="65" y="18"/>
                    </a:cubicBezTo>
                    <a:cubicBezTo>
                      <a:pt x="63" y="19"/>
                      <a:pt x="60" y="19"/>
                      <a:pt x="57" y="19"/>
                    </a:cubicBezTo>
                    <a:cubicBezTo>
                      <a:pt x="57" y="18"/>
                      <a:pt x="55" y="17"/>
                      <a:pt x="53" y="15"/>
                    </a:cubicBezTo>
                    <a:cubicBezTo>
                      <a:pt x="53" y="14"/>
                      <a:pt x="52" y="14"/>
                      <a:pt x="52" y="13"/>
                    </a:cubicBezTo>
                    <a:cubicBezTo>
                      <a:pt x="50" y="10"/>
                      <a:pt x="51" y="6"/>
                      <a:pt x="54" y="2"/>
                    </a:cubicBezTo>
                    <a:close/>
                    <a:moveTo>
                      <a:pt x="95" y="70"/>
                    </a:moveTo>
                    <a:cubicBezTo>
                      <a:pt x="96" y="72"/>
                      <a:pt x="95" y="73"/>
                      <a:pt x="94" y="74"/>
                    </a:cubicBezTo>
                    <a:cubicBezTo>
                      <a:pt x="92" y="74"/>
                      <a:pt x="91" y="74"/>
                      <a:pt x="90" y="72"/>
                    </a:cubicBezTo>
                    <a:cubicBezTo>
                      <a:pt x="88" y="67"/>
                      <a:pt x="84" y="62"/>
                      <a:pt x="78" y="56"/>
                    </a:cubicBezTo>
                    <a:cubicBezTo>
                      <a:pt x="77" y="55"/>
                      <a:pt x="76" y="54"/>
                      <a:pt x="76" y="54"/>
                    </a:cubicBezTo>
                    <a:cubicBezTo>
                      <a:pt x="75" y="56"/>
                      <a:pt x="75" y="56"/>
                      <a:pt x="75" y="56"/>
                    </a:cubicBezTo>
                    <a:cubicBezTo>
                      <a:pt x="75" y="61"/>
                      <a:pt x="75" y="73"/>
                      <a:pt x="77" y="93"/>
                    </a:cubicBezTo>
                    <a:cubicBezTo>
                      <a:pt x="78" y="99"/>
                      <a:pt x="80" y="107"/>
                      <a:pt x="83" y="119"/>
                    </a:cubicBezTo>
                    <a:cubicBezTo>
                      <a:pt x="84" y="122"/>
                      <a:pt x="85" y="124"/>
                      <a:pt x="85" y="124"/>
                    </a:cubicBezTo>
                    <a:cubicBezTo>
                      <a:pt x="86" y="126"/>
                      <a:pt x="86" y="128"/>
                      <a:pt x="87" y="131"/>
                    </a:cubicBezTo>
                    <a:cubicBezTo>
                      <a:pt x="88" y="132"/>
                      <a:pt x="88" y="133"/>
                      <a:pt x="88" y="133"/>
                    </a:cubicBezTo>
                    <a:cubicBezTo>
                      <a:pt x="88" y="135"/>
                      <a:pt x="88" y="136"/>
                      <a:pt x="86" y="136"/>
                    </a:cubicBezTo>
                    <a:cubicBezTo>
                      <a:pt x="84" y="136"/>
                      <a:pt x="83" y="135"/>
                      <a:pt x="82" y="133"/>
                    </a:cubicBezTo>
                    <a:cubicBezTo>
                      <a:pt x="77" y="123"/>
                      <a:pt x="73" y="110"/>
                      <a:pt x="70" y="93"/>
                    </a:cubicBezTo>
                    <a:cubicBezTo>
                      <a:pt x="69" y="79"/>
                      <a:pt x="68" y="68"/>
                      <a:pt x="68" y="58"/>
                    </a:cubicBezTo>
                    <a:cubicBezTo>
                      <a:pt x="68" y="51"/>
                      <a:pt x="68" y="46"/>
                      <a:pt x="68" y="44"/>
                    </a:cubicBezTo>
                    <a:cubicBezTo>
                      <a:pt x="68" y="43"/>
                      <a:pt x="69" y="42"/>
                      <a:pt x="70" y="42"/>
                    </a:cubicBezTo>
                    <a:cubicBezTo>
                      <a:pt x="71" y="41"/>
                      <a:pt x="71" y="41"/>
                      <a:pt x="72" y="42"/>
                    </a:cubicBezTo>
                    <a:cubicBezTo>
                      <a:pt x="76" y="45"/>
                      <a:pt x="78" y="48"/>
                      <a:pt x="80" y="49"/>
                    </a:cubicBezTo>
                    <a:cubicBezTo>
                      <a:pt x="86" y="54"/>
                      <a:pt x="91" y="61"/>
                      <a:pt x="95" y="7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138" name="íṣ1ïḑe"/>
              <p:cNvSpPr/>
              <p:nvPr/>
            </p:nvSpPr>
            <p:spPr bwMode="auto">
              <a:xfrm>
                <a:off x="1750909" y="4905965"/>
                <a:ext cx="93663" cy="87313"/>
              </a:xfrm>
              <a:custGeom>
                <a:avLst/>
                <a:gdLst>
                  <a:gd name="T0" fmla="*/ 51 w 51"/>
                  <a:gd name="T1" fmla="*/ 17 h 47"/>
                  <a:gd name="T2" fmla="*/ 46 w 51"/>
                  <a:gd name="T3" fmla="*/ 25 h 47"/>
                  <a:gd name="T4" fmla="*/ 26 w 51"/>
                  <a:gd name="T5" fmla="*/ 13 h 47"/>
                  <a:gd name="T6" fmla="*/ 20 w 51"/>
                  <a:gd name="T7" fmla="*/ 9 h 47"/>
                  <a:gd name="T8" fmla="*/ 14 w 51"/>
                  <a:gd name="T9" fmla="*/ 9 h 47"/>
                  <a:gd name="T10" fmla="*/ 10 w 51"/>
                  <a:gd name="T11" fmla="*/ 13 h 47"/>
                  <a:gd name="T12" fmla="*/ 8 w 51"/>
                  <a:gd name="T13" fmla="*/ 19 h 47"/>
                  <a:gd name="T14" fmla="*/ 10 w 51"/>
                  <a:gd name="T15" fmla="*/ 23 h 47"/>
                  <a:gd name="T16" fmla="*/ 17 w 51"/>
                  <a:gd name="T17" fmla="*/ 27 h 47"/>
                  <a:gd name="T18" fmla="*/ 37 w 51"/>
                  <a:gd name="T19" fmla="*/ 40 h 47"/>
                  <a:gd name="T20" fmla="*/ 33 w 51"/>
                  <a:gd name="T21" fmla="*/ 47 h 47"/>
                  <a:gd name="T22" fmla="*/ 13 w 51"/>
                  <a:gd name="T23" fmla="*/ 35 h 47"/>
                  <a:gd name="T24" fmla="*/ 4 w 51"/>
                  <a:gd name="T25" fmla="*/ 29 h 47"/>
                  <a:gd name="T26" fmla="*/ 1 w 51"/>
                  <a:gd name="T27" fmla="*/ 24 h 47"/>
                  <a:gd name="T28" fmla="*/ 0 w 51"/>
                  <a:gd name="T29" fmla="*/ 18 h 47"/>
                  <a:gd name="T30" fmla="*/ 3 w 51"/>
                  <a:gd name="T31" fmla="*/ 10 h 47"/>
                  <a:gd name="T32" fmla="*/ 10 w 51"/>
                  <a:gd name="T33" fmla="*/ 2 h 47"/>
                  <a:gd name="T34" fmla="*/ 15 w 51"/>
                  <a:gd name="T35" fmla="*/ 0 h 47"/>
                  <a:gd name="T36" fmla="*/ 21 w 51"/>
                  <a:gd name="T37" fmla="*/ 0 h 47"/>
                  <a:gd name="T38" fmla="*/ 31 w 51"/>
                  <a:gd name="T39" fmla="*/ 5 h 47"/>
                  <a:gd name="T40" fmla="*/ 51 w 51"/>
                  <a:gd name="T41" fmla="*/ 17 h 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51" h="47">
                    <a:moveTo>
                      <a:pt x="51" y="17"/>
                    </a:moveTo>
                    <a:cubicBezTo>
                      <a:pt x="46" y="25"/>
                      <a:pt x="46" y="25"/>
                      <a:pt x="46" y="25"/>
                    </a:cubicBezTo>
                    <a:cubicBezTo>
                      <a:pt x="26" y="13"/>
                      <a:pt x="26" y="13"/>
                      <a:pt x="26" y="13"/>
                    </a:cubicBezTo>
                    <a:cubicBezTo>
                      <a:pt x="23" y="11"/>
                      <a:pt x="21" y="10"/>
                      <a:pt x="20" y="9"/>
                    </a:cubicBezTo>
                    <a:cubicBezTo>
                      <a:pt x="18" y="9"/>
                      <a:pt x="16" y="9"/>
                      <a:pt x="14" y="9"/>
                    </a:cubicBezTo>
                    <a:cubicBezTo>
                      <a:pt x="13" y="10"/>
                      <a:pt x="11" y="11"/>
                      <a:pt x="10" y="13"/>
                    </a:cubicBezTo>
                    <a:cubicBezTo>
                      <a:pt x="9" y="16"/>
                      <a:pt x="8" y="17"/>
                      <a:pt x="8" y="19"/>
                    </a:cubicBezTo>
                    <a:cubicBezTo>
                      <a:pt x="9" y="21"/>
                      <a:pt x="9" y="22"/>
                      <a:pt x="10" y="23"/>
                    </a:cubicBezTo>
                    <a:cubicBezTo>
                      <a:pt x="12" y="24"/>
                      <a:pt x="14" y="25"/>
                      <a:pt x="17" y="27"/>
                    </a:cubicBezTo>
                    <a:cubicBezTo>
                      <a:pt x="37" y="40"/>
                      <a:pt x="37" y="40"/>
                      <a:pt x="37" y="40"/>
                    </a:cubicBezTo>
                    <a:cubicBezTo>
                      <a:pt x="33" y="47"/>
                      <a:pt x="33" y="47"/>
                      <a:pt x="33" y="47"/>
                    </a:cubicBezTo>
                    <a:cubicBezTo>
                      <a:pt x="13" y="35"/>
                      <a:pt x="13" y="35"/>
                      <a:pt x="13" y="35"/>
                    </a:cubicBezTo>
                    <a:cubicBezTo>
                      <a:pt x="9" y="33"/>
                      <a:pt x="6" y="31"/>
                      <a:pt x="4" y="29"/>
                    </a:cubicBezTo>
                    <a:cubicBezTo>
                      <a:pt x="2" y="28"/>
                      <a:pt x="1" y="26"/>
                      <a:pt x="1" y="24"/>
                    </a:cubicBezTo>
                    <a:cubicBezTo>
                      <a:pt x="0" y="22"/>
                      <a:pt x="0" y="20"/>
                      <a:pt x="0" y="18"/>
                    </a:cubicBezTo>
                    <a:cubicBezTo>
                      <a:pt x="0" y="15"/>
                      <a:pt x="2" y="13"/>
                      <a:pt x="3" y="10"/>
                    </a:cubicBezTo>
                    <a:cubicBezTo>
                      <a:pt x="6" y="6"/>
                      <a:pt x="8" y="4"/>
                      <a:pt x="10" y="2"/>
                    </a:cubicBezTo>
                    <a:cubicBezTo>
                      <a:pt x="11" y="1"/>
                      <a:pt x="13" y="0"/>
                      <a:pt x="15" y="0"/>
                    </a:cubicBezTo>
                    <a:cubicBezTo>
                      <a:pt x="17" y="0"/>
                      <a:pt x="19" y="0"/>
                      <a:pt x="21" y="0"/>
                    </a:cubicBezTo>
                    <a:cubicBezTo>
                      <a:pt x="23" y="1"/>
                      <a:pt x="27" y="3"/>
                      <a:pt x="31" y="5"/>
                    </a:cubicBezTo>
                    <a:lnTo>
                      <a:pt x="51" y="1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139" name="íṧḷîde"/>
              <p:cNvSpPr/>
              <p:nvPr/>
            </p:nvSpPr>
            <p:spPr bwMode="auto">
              <a:xfrm>
                <a:off x="1704872" y="4971053"/>
                <a:ext cx="100013" cy="92075"/>
              </a:xfrm>
              <a:custGeom>
                <a:avLst/>
                <a:gdLst>
                  <a:gd name="T0" fmla="*/ 17 w 63"/>
                  <a:gd name="T1" fmla="*/ 0 h 58"/>
                  <a:gd name="T2" fmla="*/ 63 w 63"/>
                  <a:gd name="T3" fmla="*/ 21 h 58"/>
                  <a:gd name="T4" fmla="*/ 59 w 63"/>
                  <a:gd name="T5" fmla="*/ 30 h 58"/>
                  <a:gd name="T6" fmla="*/ 19 w 63"/>
                  <a:gd name="T7" fmla="*/ 35 h 58"/>
                  <a:gd name="T8" fmla="*/ 50 w 63"/>
                  <a:gd name="T9" fmla="*/ 50 h 58"/>
                  <a:gd name="T10" fmla="*/ 46 w 63"/>
                  <a:gd name="T11" fmla="*/ 58 h 58"/>
                  <a:gd name="T12" fmla="*/ 0 w 63"/>
                  <a:gd name="T13" fmla="*/ 37 h 58"/>
                  <a:gd name="T14" fmla="*/ 4 w 63"/>
                  <a:gd name="T15" fmla="*/ 26 h 58"/>
                  <a:gd name="T16" fmla="*/ 43 w 63"/>
                  <a:gd name="T17" fmla="*/ 22 h 58"/>
                  <a:gd name="T18" fmla="*/ 12 w 63"/>
                  <a:gd name="T19" fmla="*/ 8 h 58"/>
                  <a:gd name="T20" fmla="*/ 17 w 63"/>
                  <a:gd name="T21" fmla="*/ 0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63" h="58">
                    <a:moveTo>
                      <a:pt x="17" y="0"/>
                    </a:moveTo>
                    <a:lnTo>
                      <a:pt x="63" y="21"/>
                    </a:lnTo>
                    <a:lnTo>
                      <a:pt x="59" y="30"/>
                    </a:lnTo>
                    <a:lnTo>
                      <a:pt x="19" y="35"/>
                    </a:lnTo>
                    <a:lnTo>
                      <a:pt x="50" y="50"/>
                    </a:lnTo>
                    <a:lnTo>
                      <a:pt x="46" y="58"/>
                    </a:lnTo>
                    <a:lnTo>
                      <a:pt x="0" y="37"/>
                    </a:lnTo>
                    <a:lnTo>
                      <a:pt x="4" y="26"/>
                    </a:lnTo>
                    <a:lnTo>
                      <a:pt x="43" y="22"/>
                    </a:lnTo>
                    <a:lnTo>
                      <a:pt x="12" y="8"/>
                    </a:lnTo>
                    <a:lnTo>
                      <a:pt x="17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140" name="íS1îḍé"/>
              <p:cNvSpPr/>
              <p:nvPr/>
            </p:nvSpPr>
            <p:spPr bwMode="auto">
              <a:xfrm>
                <a:off x="1690584" y="5045665"/>
                <a:ext cx="84138" cy="44450"/>
              </a:xfrm>
              <a:custGeom>
                <a:avLst/>
                <a:gdLst>
                  <a:gd name="T0" fmla="*/ 5 w 53"/>
                  <a:gd name="T1" fmla="*/ 0 h 28"/>
                  <a:gd name="T2" fmla="*/ 53 w 53"/>
                  <a:gd name="T3" fmla="*/ 19 h 28"/>
                  <a:gd name="T4" fmla="*/ 49 w 53"/>
                  <a:gd name="T5" fmla="*/ 28 h 28"/>
                  <a:gd name="T6" fmla="*/ 0 w 53"/>
                  <a:gd name="T7" fmla="*/ 10 h 28"/>
                  <a:gd name="T8" fmla="*/ 5 w 53"/>
                  <a:gd name="T9" fmla="*/ 0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3" h="28">
                    <a:moveTo>
                      <a:pt x="5" y="0"/>
                    </a:moveTo>
                    <a:lnTo>
                      <a:pt x="53" y="19"/>
                    </a:lnTo>
                    <a:lnTo>
                      <a:pt x="49" y="28"/>
                    </a:lnTo>
                    <a:lnTo>
                      <a:pt x="0" y="10"/>
                    </a:lnTo>
                    <a:lnTo>
                      <a:pt x="5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141" name="íṧļïḋè"/>
              <p:cNvSpPr/>
              <p:nvPr/>
            </p:nvSpPr>
            <p:spPr bwMode="auto">
              <a:xfrm>
                <a:off x="1674709" y="5091703"/>
                <a:ext cx="92075" cy="73025"/>
              </a:xfrm>
              <a:custGeom>
                <a:avLst/>
                <a:gdLst>
                  <a:gd name="T0" fmla="*/ 4 w 58"/>
                  <a:gd name="T1" fmla="*/ 3 h 46"/>
                  <a:gd name="T2" fmla="*/ 58 w 58"/>
                  <a:gd name="T3" fmla="*/ 0 h 46"/>
                  <a:gd name="T4" fmla="*/ 55 w 58"/>
                  <a:gd name="T5" fmla="*/ 11 h 46"/>
                  <a:gd name="T6" fmla="*/ 14 w 58"/>
                  <a:gd name="T7" fmla="*/ 13 h 46"/>
                  <a:gd name="T8" fmla="*/ 46 w 58"/>
                  <a:gd name="T9" fmla="*/ 35 h 46"/>
                  <a:gd name="T10" fmla="*/ 44 w 58"/>
                  <a:gd name="T11" fmla="*/ 46 h 46"/>
                  <a:gd name="T12" fmla="*/ 0 w 58"/>
                  <a:gd name="T13" fmla="*/ 14 h 46"/>
                  <a:gd name="T14" fmla="*/ 4 w 58"/>
                  <a:gd name="T15" fmla="*/ 3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58" h="46">
                    <a:moveTo>
                      <a:pt x="4" y="3"/>
                    </a:moveTo>
                    <a:lnTo>
                      <a:pt x="58" y="0"/>
                    </a:lnTo>
                    <a:lnTo>
                      <a:pt x="55" y="11"/>
                    </a:lnTo>
                    <a:lnTo>
                      <a:pt x="14" y="13"/>
                    </a:lnTo>
                    <a:lnTo>
                      <a:pt x="46" y="35"/>
                    </a:lnTo>
                    <a:lnTo>
                      <a:pt x="44" y="46"/>
                    </a:lnTo>
                    <a:lnTo>
                      <a:pt x="0" y="14"/>
                    </a:lnTo>
                    <a:lnTo>
                      <a:pt x="4" y="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142" name="ïṡḷiḋé"/>
              <p:cNvSpPr/>
              <p:nvPr/>
            </p:nvSpPr>
            <p:spPr bwMode="auto">
              <a:xfrm>
                <a:off x="1652484" y="5153615"/>
                <a:ext cx="90488" cy="73025"/>
              </a:xfrm>
              <a:custGeom>
                <a:avLst/>
                <a:gdLst>
                  <a:gd name="T0" fmla="*/ 7 w 57"/>
                  <a:gd name="T1" fmla="*/ 0 h 46"/>
                  <a:gd name="T2" fmla="*/ 57 w 57"/>
                  <a:gd name="T3" fmla="*/ 10 h 46"/>
                  <a:gd name="T4" fmla="*/ 50 w 57"/>
                  <a:gd name="T5" fmla="*/ 46 h 46"/>
                  <a:gd name="T6" fmla="*/ 42 w 57"/>
                  <a:gd name="T7" fmla="*/ 45 h 46"/>
                  <a:gd name="T8" fmla="*/ 47 w 57"/>
                  <a:gd name="T9" fmla="*/ 18 h 46"/>
                  <a:gd name="T10" fmla="*/ 36 w 57"/>
                  <a:gd name="T11" fmla="*/ 16 h 46"/>
                  <a:gd name="T12" fmla="*/ 30 w 57"/>
                  <a:gd name="T13" fmla="*/ 40 h 46"/>
                  <a:gd name="T14" fmla="*/ 22 w 57"/>
                  <a:gd name="T15" fmla="*/ 39 h 46"/>
                  <a:gd name="T16" fmla="*/ 27 w 57"/>
                  <a:gd name="T17" fmla="*/ 14 h 46"/>
                  <a:gd name="T18" fmla="*/ 14 w 57"/>
                  <a:gd name="T19" fmla="*/ 11 h 46"/>
                  <a:gd name="T20" fmla="*/ 8 w 57"/>
                  <a:gd name="T21" fmla="*/ 39 h 46"/>
                  <a:gd name="T22" fmla="*/ 0 w 57"/>
                  <a:gd name="T23" fmla="*/ 38 h 46"/>
                  <a:gd name="T24" fmla="*/ 7 w 57"/>
                  <a:gd name="T25" fmla="*/ 0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57" h="46">
                    <a:moveTo>
                      <a:pt x="7" y="0"/>
                    </a:moveTo>
                    <a:lnTo>
                      <a:pt x="57" y="10"/>
                    </a:lnTo>
                    <a:lnTo>
                      <a:pt x="50" y="46"/>
                    </a:lnTo>
                    <a:lnTo>
                      <a:pt x="42" y="45"/>
                    </a:lnTo>
                    <a:lnTo>
                      <a:pt x="47" y="18"/>
                    </a:lnTo>
                    <a:lnTo>
                      <a:pt x="36" y="16"/>
                    </a:lnTo>
                    <a:lnTo>
                      <a:pt x="30" y="40"/>
                    </a:lnTo>
                    <a:lnTo>
                      <a:pt x="22" y="39"/>
                    </a:lnTo>
                    <a:lnTo>
                      <a:pt x="27" y="14"/>
                    </a:lnTo>
                    <a:lnTo>
                      <a:pt x="14" y="11"/>
                    </a:lnTo>
                    <a:lnTo>
                      <a:pt x="8" y="39"/>
                    </a:lnTo>
                    <a:lnTo>
                      <a:pt x="0" y="38"/>
                    </a:lnTo>
                    <a:lnTo>
                      <a:pt x="7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143" name="ïşļiḋe"/>
              <p:cNvSpPr/>
              <p:nvPr/>
            </p:nvSpPr>
            <p:spPr bwMode="auto">
              <a:xfrm>
                <a:off x="1641372" y="5231403"/>
                <a:ext cx="88900" cy="71438"/>
              </a:xfrm>
              <a:custGeom>
                <a:avLst/>
                <a:gdLst>
                  <a:gd name="T0" fmla="*/ 4 w 48"/>
                  <a:gd name="T1" fmla="*/ 0 h 39"/>
                  <a:gd name="T2" fmla="*/ 48 w 48"/>
                  <a:gd name="T3" fmla="*/ 4 h 39"/>
                  <a:gd name="T4" fmla="*/ 46 w 48"/>
                  <a:gd name="T5" fmla="*/ 23 h 39"/>
                  <a:gd name="T6" fmla="*/ 44 w 48"/>
                  <a:gd name="T7" fmla="*/ 33 h 39"/>
                  <a:gd name="T8" fmla="*/ 39 w 48"/>
                  <a:gd name="T9" fmla="*/ 38 h 39"/>
                  <a:gd name="T10" fmla="*/ 32 w 48"/>
                  <a:gd name="T11" fmla="*/ 39 h 39"/>
                  <a:gd name="T12" fmla="*/ 24 w 48"/>
                  <a:gd name="T13" fmla="*/ 35 h 39"/>
                  <a:gd name="T14" fmla="*/ 21 w 48"/>
                  <a:gd name="T15" fmla="*/ 26 h 39"/>
                  <a:gd name="T16" fmla="*/ 17 w 48"/>
                  <a:gd name="T17" fmla="*/ 30 h 39"/>
                  <a:gd name="T18" fmla="*/ 9 w 48"/>
                  <a:gd name="T19" fmla="*/ 35 h 39"/>
                  <a:gd name="T20" fmla="*/ 0 w 48"/>
                  <a:gd name="T21" fmla="*/ 39 h 39"/>
                  <a:gd name="T22" fmla="*/ 1 w 48"/>
                  <a:gd name="T23" fmla="*/ 29 h 39"/>
                  <a:gd name="T24" fmla="*/ 12 w 48"/>
                  <a:gd name="T25" fmla="*/ 23 h 39"/>
                  <a:gd name="T26" fmla="*/ 18 w 48"/>
                  <a:gd name="T27" fmla="*/ 19 h 39"/>
                  <a:gd name="T28" fmla="*/ 20 w 48"/>
                  <a:gd name="T29" fmla="*/ 17 h 39"/>
                  <a:gd name="T30" fmla="*/ 21 w 48"/>
                  <a:gd name="T31" fmla="*/ 12 h 39"/>
                  <a:gd name="T32" fmla="*/ 22 w 48"/>
                  <a:gd name="T33" fmla="*/ 11 h 39"/>
                  <a:gd name="T34" fmla="*/ 3 w 48"/>
                  <a:gd name="T35" fmla="*/ 9 h 39"/>
                  <a:gd name="T36" fmla="*/ 4 w 48"/>
                  <a:gd name="T37" fmla="*/ 0 h 39"/>
                  <a:gd name="T38" fmla="*/ 29 w 48"/>
                  <a:gd name="T39" fmla="*/ 11 h 39"/>
                  <a:gd name="T40" fmla="*/ 28 w 48"/>
                  <a:gd name="T41" fmla="*/ 18 h 39"/>
                  <a:gd name="T42" fmla="*/ 28 w 48"/>
                  <a:gd name="T43" fmla="*/ 26 h 39"/>
                  <a:gd name="T44" fmla="*/ 29 w 48"/>
                  <a:gd name="T45" fmla="*/ 28 h 39"/>
                  <a:gd name="T46" fmla="*/ 32 w 48"/>
                  <a:gd name="T47" fmla="*/ 30 h 39"/>
                  <a:gd name="T48" fmla="*/ 36 w 48"/>
                  <a:gd name="T49" fmla="*/ 29 h 39"/>
                  <a:gd name="T50" fmla="*/ 38 w 48"/>
                  <a:gd name="T51" fmla="*/ 26 h 39"/>
                  <a:gd name="T52" fmla="*/ 39 w 48"/>
                  <a:gd name="T53" fmla="*/ 19 h 39"/>
                  <a:gd name="T54" fmla="*/ 40 w 48"/>
                  <a:gd name="T55" fmla="*/ 12 h 39"/>
                  <a:gd name="T56" fmla="*/ 29 w 48"/>
                  <a:gd name="T57" fmla="*/ 11 h 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48" h="39">
                    <a:moveTo>
                      <a:pt x="4" y="0"/>
                    </a:moveTo>
                    <a:cubicBezTo>
                      <a:pt x="48" y="4"/>
                      <a:pt x="48" y="4"/>
                      <a:pt x="48" y="4"/>
                    </a:cubicBezTo>
                    <a:cubicBezTo>
                      <a:pt x="46" y="23"/>
                      <a:pt x="46" y="23"/>
                      <a:pt x="46" y="23"/>
                    </a:cubicBezTo>
                    <a:cubicBezTo>
                      <a:pt x="46" y="27"/>
                      <a:pt x="45" y="31"/>
                      <a:pt x="44" y="33"/>
                    </a:cubicBezTo>
                    <a:cubicBezTo>
                      <a:pt x="43" y="35"/>
                      <a:pt x="41" y="36"/>
                      <a:pt x="39" y="38"/>
                    </a:cubicBezTo>
                    <a:cubicBezTo>
                      <a:pt x="37" y="39"/>
                      <a:pt x="35" y="39"/>
                      <a:pt x="32" y="39"/>
                    </a:cubicBezTo>
                    <a:cubicBezTo>
                      <a:pt x="29" y="38"/>
                      <a:pt x="26" y="37"/>
                      <a:pt x="24" y="35"/>
                    </a:cubicBezTo>
                    <a:cubicBezTo>
                      <a:pt x="22" y="33"/>
                      <a:pt x="21" y="30"/>
                      <a:pt x="21" y="26"/>
                    </a:cubicBezTo>
                    <a:cubicBezTo>
                      <a:pt x="20" y="28"/>
                      <a:pt x="18" y="29"/>
                      <a:pt x="17" y="30"/>
                    </a:cubicBezTo>
                    <a:cubicBezTo>
                      <a:pt x="16" y="32"/>
                      <a:pt x="13" y="33"/>
                      <a:pt x="9" y="35"/>
                    </a:cubicBezTo>
                    <a:cubicBezTo>
                      <a:pt x="0" y="39"/>
                      <a:pt x="0" y="39"/>
                      <a:pt x="0" y="39"/>
                    </a:cubicBezTo>
                    <a:cubicBezTo>
                      <a:pt x="1" y="29"/>
                      <a:pt x="1" y="29"/>
                      <a:pt x="1" y="29"/>
                    </a:cubicBezTo>
                    <a:cubicBezTo>
                      <a:pt x="12" y="23"/>
                      <a:pt x="12" y="23"/>
                      <a:pt x="12" y="23"/>
                    </a:cubicBezTo>
                    <a:cubicBezTo>
                      <a:pt x="15" y="21"/>
                      <a:pt x="17" y="20"/>
                      <a:pt x="18" y="19"/>
                    </a:cubicBezTo>
                    <a:cubicBezTo>
                      <a:pt x="19" y="18"/>
                      <a:pt x="20" y="18"/>
                      <a:pt x="20" y="17"/>
                    </a:cubicBezTo>
                    <a:cubicBezTo>
                      <a:pt x="21" y="16"/>
                      <a:pt x="21" y="14"/>
                      <a:pt x="21" y="12"/>
                    </a:cubicBezTo>
                    <a:cubicBezTo>
                      <a:pt x="22" y="11"/>
                      <a:pt x="22" y="11"/>
                      <a:pt x="22" y="11"/>
                    </a:cubicBezTo>
                    <a:cubicBezTo>
                      <a:pt x="3" y="9"/>
                      <a:pt x="3" y="9"/>
                      <a:pt x="3" y="9"/>
                    </a:cubicBezTo>
                    <a:lnTo>
                      <a:pt x="4" y="0"/>
                    </a:lnTo>
                    <a:close/>
                    <a:moveTo>
                      <a:pt x="29" y="11"/>
                    </a:moveTo>
                    <a:cubicBezTo>
                      <a:pt x="28" y="18"/>
                      <a:pt x="28" y="18"/>
                      <a:pt x="28" y="18"/>
                    </a:cubicBezTo>
                    <a:cubicBezTo>
                      <a:pt x="28" y="22"/>
                      <a:pt x="27" y="25"/>
                      <a:pt x="28" y="26"/>
                    </a:cubicBezTo>
                    <a:cubicBezTo>
                      <a:pt x="28" y="27"/>
                      <a:pt x="28" y="28"/>
                      <a:pt x="29" y="28"/>
                    </a:cubicBezTo>
                    <a:cubicBezTo>
                      <a:pt x="30" y="29"/>
                      <a:pt x="31" y="30"/>
                      <a:pt x="32" y="30"/>
                    </a:cubicBezTo>
                    <a:cubicBezTo>
                      <a:pt x="34" y="30"/>
                      <a:pt x="35" y="30"/>
                      <a:pt x="36" y="29"/>
                    </a:cubicBezTo>
                    <a:cubicBezTo>
                      <a:pt x="37" y="28"/>
                      <a:pt x="38" y="27"/>
                      <a:pt x="38" y="26"/>
                    </a:cubicBezTo>
                    <a:cubicBezTo>
                      <a:pt x="38" y="25"/>
                      <a:pt x="39" y="23"/>
                      <a:pt x="39" y="19"/>
                    </a:cubicBezTo>
                    <a:cubicBezTo>
                      <a:pt x="40" y="12"/>
                      <a:pt x="40" y="12"/>
                      <a:pt x="40" y="12"/>
                    </a:cubicBezTo>
                    <a:lnTo>
                      <a:pt x="29" y="1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144" name="îś1iḓê"/>
              <p:cNvSpPr/>
              <p:nvPr/>
            </p:nvSpPr>
            <p:spPr bwMode="auto">
              <a:xfrm>
                <a:off x="1641372" y="5312365"/>
                <a:ext cx="82550" cy="66675"/>
              </a:xfrm>
              <a:custGeom>
                <a:avLst/>
                <a:gdLst>
                  <a:gd name="T0" fmla="*/ 15 w 45"/>
                  <a:gd name="T1" fmla="*/ 0 h 36"/>
                  <a:gd name="T2" fmla="*/ 16 w 45"/>
                  <a:gd name="T3" fmla="*/ 8 h 36"/>
                  <a:gd name="T4" fmla="*/ 9 w 45"/>
                  <a:gd name="T5" fmla="*/ 12 h 36"/>
                  <a:gd name="T6" fmla="*/ 7 w 45"/>
                  <a:gd name="T7" fmla="*/ 18 h 36"/>
                  <a:gd name="T8" fmla="*/ 9 w 45"/>
                  <a:gd name="T9" fmla="*/ 25 h 36"/>
                  <a:gd name="T10" fmla="*/ 13 w 45"/>
                  <a:gd name="T11" fmla="*/ 27 h 36"/>
                  <a:gd name="T12" fmla="*/ 16 w 45"/>
                  <a:gd name="T13" fmla="*/ 26 h 36"/>
                  <a:gd name="T14" fmla="*/ 18 w 45"/>
                  <a:gd name="T15" fmla="*/ 23 h 36"/>
                  <a:gd name="T16" fmla="*/ 20 w 45"/>
                  <a:gd name="T17" fmla="*/ 15 h 36"/>
                  <a:gd name="T18" fmla="*/ 24 w 45"/>
                  <a:gd name="T19" fmla="*/ 5 h 36"/>
                  <a:gd name="T20" fmla="*/ 33 w 45"/>
                  <a:gd name="T21" fmla="*/ 1 h 36"/>
                  <a:gd name="T22" fmla="*/ 39 w 45"/>
                  <a:gd name="T23" fmla="*/ 3 h 36"/>
                  <a:gd name="T24" fmla="*/ 44 w 45"/>
                  <a:gd name="T25" fmla="*/ 9 h 36"/>
                  <a:gd name="T26" fmla="*/ 45 w 45"/>
                  <a:gd name="T27" fmla="*/ 17 h 36"/>
                  <a:gd name="T28" fmla="*/ 42 w 45"/>
                  <a:gd name="T29" fmla="*/ 30 h 36"/>
                  <a:gd name="T30" fmla="*/ 32 w 45"/>
                  <a:gd name="T31" fmla="*/ 34 h 36"/>
                  <a:gd name="T32" fmla="*/ 31 w 45"/>
                  <a:gd name="T33" fmla="*/ 25 h 36"/>
                  <a:gd name="T34" fmla="*/ 36 w 45"/>
                  <a:gd name="T35" fmla="*/ 23 h 36"/>
                  <a:gd name="T36" fmla="*/ 38 w 45"/>
                  <a:gd name="T37" fmla="*/ 17 h 36"/>
                  <a:gd name="T38" fmla="*/ 36 w 45"/>
                  <a:gd name="T39" fmla="*/ 11 h 36"/>
                  <a:gd name="T40" fmla="*/ 33 w 45"/>
                  <a:gd name="T41" fmla="*/ 10 h 36"/>
                  <a:gd name="T42" fmla="*/ 31 w 45"/>
                  <a:gd name="T43" fmla="*/ 11 h 36"/>
                  <a:gd name="T44" fmla="*/ 28 w 45"/>
                  <a:gd name="T45" fmla="*/ 19 h 36"/>
                  <a:gd name="T46" fmla="*/ 25 w 45"/>
                  <a:gd name="T47" fmla="*/ 29 h 36"/>
                  <a:gd name="T48" fmla="*/ 20 w 45"/>
                  <a:gd name="T49" fmla="*/ 34 h 36"/>
                  <a:gd name="T50" fmla="*/ 13 w 45"/>
                  <a:gd name="T51" fmla="*/ 36 h 36"/>
                  <a:gd name="T52" fmla="*/ 6 w 45"/>
                  <a:gd name="T53" fmla="*/ 33 h 36"/>
                  <a:gd name="T54" fmla="*/ 1 w 45"/>
                  <a:gd name="T55" fmla="*/ 28 h 36"/>
                  <a:gd name="T56" fmla="*/ 0 w 45"/>
                  <a:gd name="T57" fmla="*/ 18 h 36"/>
                  <a:gd name="T58" fmla="*/ 3 w 45"/>
                  <a:gd name="T59" fmla="*/ 5 h 36"/>
                  <a:gd name="T60" fmla="*/ 15 w 45"/>
                  <a:gd name="T61" fmla="*/ 0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45" h="36">
                    <a:moveTo>
                      <a:pt x="15" y="0"/>
                    </a:moveTo>
                    <a:cubicBezTo>
                      <a:pt x="16" y="8"/>
                      <a:pt x="16" y="8"/>
                      <a:pt x="16" y="8"/>
                    </a:cubicBezTo>
                    <a:cubicBezTo>
                      <a:pt x="13" y="9"/>
                      <a:pt x="10" y="10"/>
                      <a:pt x="9" y="12"/>
                    </a:cubicBezTo>
                    <a:cubicBezTo>
                      <a:pt x="8" y="13"/>
                      <a:pt x="7" y="15"/>
                      <a:pt x="7" y="18"/>
                    </a:cubicBezTo>
                    <a:cubicBezTo>
                      <a:pt x="7" y="21"/>
                      <a:pt x="8" y="23"/>
                      <a:pt x="9" y="25"/>
                    </a:cubicBezTo>
                    <a:cubicBezTo>
                      <a:pt x="10" y="26"/>
                      <a:pt x="12" y="27"/>
                      <a:pt x="13" y="27"/>
                    </a:cubicBezTo>
                    <a:cubicBezTo>
                      <a:pt x="14" y="27"/>
                      <a:pt x="15" y="26"/>
                      <a:pt x="16" y="26"/>
                    </a:cubicBezTo>
                    <a:cubicBezTo>
                      <a:pt x="17" y="25"/>
                      <a:pt x="17" y="24"/>
                      <a:pt x="18" y="23"/>
                    </a:cubicBezTo>
                    <a:cubicBezTo>
                      <a:pt x="18" y="22"/>
                      <a:pt x="19" y="19"/>
                      <a:pt x="20" y="15"/>
                    </a:cubicBezTo>
                    <a:cubicBezTo>
                      <a:pt x="21" y="11"/>
                      <a:pt x="22" y="7"/>
                      <a:pt x="24" y="5"/>
                    </a:cubicBezTo>
                    <a:cubicBezTo>
                      <a:pt x="26" y="3"/>
                      <a:pt x="29" y="1"/>
                      <a:pt x="33" y="1"/>
                    </a:cubicBezTo>
                    <a:cubicBezTo>
                      <a:pt x="35" y="1"/>
                      <a:pt x="37" y="2"/>
                      <a:pt x="39" y="3"/>
                    </a:cubicBezTo>
                    <a:cubicBezTo>
                      <a:pt x="41" y="4"/>
                      <a:pt x="43" y="6"/>
                      <a:pt x="44" y="9"/>
                    </a:cubicBezTo>
                    <a:cubicBezTo>
                      <a:pt x="45" y="11"/>
                      <a:pt x="45" y="14"/>
                      <a:pt x="45" y="17"/>
                    </a:cubicBezTo>
                    <a:cubicBezTo>
                      <a:pt x="45" y="23"/>
                      <a:pt x="44" y="27"/>
                      <a:pt x="42" y="30"/>
                    </a:cubicBezTo>
                    <a:cubicBezTo>
                      <a:pt x="39" y="33"/>
                      <a:pt x="36" y="34"/>
                      <a:pt x="32" y="34"/>
                    </a:cubicBezTo>
                    <a:cubicBezTo>
                      <a:pt x="31" y="25"/>
                      <a:pt x="31" y="25"/>
                      <a:pt x="31" y="25"/>
                    </a:cubicBezTo>
                    <a:cubicBezTo>
                      <a:pt x="34" y="25"/>
                      <a:pt x="35" y="24"/>
                      <a:pt x="36" y="23"/>
                    </a:cubicBezTo>
                    <a:cubicBezTo>
                      <a:pt x="37" y="22"/>
                      <a:pt x="38" y="20"/>
                      <a:pt x="38" y="17"/>
                    </a:cubicBezTo>
                    <a:cubicBezTo>
                      <a:pt x="38" y="15"/>
                      <a:pt x="37" y="13"/>
                      <a:pt x="36" y="11"/>
                    </a:cubicBezTo>
                    <a:cubicBezTo>
                      <a:pt x="35" y="10"/>
                      <a:pt x="35" y="10"/>
                      <a:pt x="33" y="10"/>
                    </a:cubicBezTo>
                    <a:cubicBezTo>
                      <a:pt x="32" y="10"/>
                      <a:pt x="31" y="10"/>
                      <a:pt x="31" y="11"/>
                    </a:cubicBezTo>
                    <a:cubicBezTo>
                      <a:pt x="30" y="12"/>
                      <a:pt x="29" y="15"/>
                      <a:pt x="28" y="19"/>
                    </a:cubicBezTo>
                    <a:cubicBezTo>
                      <a:pt x="27" y="24"/>
                      <a:pt x="26" y="27"/>
                      <a:pt x="25" y="29"/>
                    </a:cubicBezTo>
                    <a:cubicBezTo>
                      <a:pt x="24" y="31"/>
                      <a:pt x="22" y="33"/>
                      <a:pt x="20" y="34"/>
                    </a:cubicBezTo>
                    <a:cubicBezTo>
                      <a:pt x="18" y="35"/>
                      <a:pt x="16" y="36"/>
                      <a:pt x="13" y="36"/>
                    </a:cubicBezTo>
                    <a:cubicBezTo>
                      <a:pt x="11" y="36"/>
                      <a:pt x="8" y="35"/>
                      <a:pt x="6" y="33"/>
                    </a:cubicBezTo>
                    <a:cubicBezTo>
                      <a:pt x="4" y="32"/>
                      <a:pt x="2" y="30"/>
                      <a:pt x="1" y="28"/>
                    </a:cubicBezTo>
                    <a:cubicBezTo>
                      <a:pt x="0" y="25"/>
                      <a:pt x="0" y="22"/>
                      <a:pt x="0" y="18"/>
                    </a:cubicBezTo>
                    <a:cubicBezTo>
                      <a:pt x="0" y="12"/>
                      <a:pt x="1" y="8"/>
                      <a:pt x="3" y="5"/>
                    </a:cubicBezTo>
                    <a:cubicBezTo>
                      <a:pt x="6" y="2"/>
                      <a:pt x="10" y="0"/>
                      <a:pt x="15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145" name="íş1ïḓe"/>
              <p:cNvSpPr/>
              <p:nvPr/>
            </p:nvSpPr>
            <p:spPr bwMode="auto">
              <a:xfrm>
                <a:off x="1642959" y="5385390"/>
                <a:ext cx="84138" cy="22225"/>
              </a:xfrm>
              <a:custGeom>
                <a:avLst/>
                <a:gdLst>
                  <a:gd name="T0" fmla="*/ 0 w 53"/>
                  <a:gd name="T1" fmla="*/ 5 h 14"/>
                  <a:gd name="T2" fmla="*/ 51 w 53"/>
                  <a:gd name="T3" fmla="*/ 0 h 14"/>
                  <a:gd name="T4" fmla="*/ 53 w 53"/>
                  <a:gd name="T5" fmla="*/ 11 h 14"/>
                  <a:gd name="T6" fmla="*/ 1 w 53"/>
                  <a:gd name="T7" fmla="*/ 14 h 14"/>
                  <a:gd name="T8" fmla="*/ 0 w 53"/>
                  <a:gd name="T9" fmla="*/ 5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3" h="14">
                    <a:moveTo>
                      <a:pt x="0" y="5"/>
                    </a:moveTo>
                    <a:lnTo>
                      <a:pt x="51" y="0"/>
                    </a:lnTo>
                    <a:lnTo>
                      <a:pt x="53" y="11"/>
                    </a:lnTo>
                    <a:lnTo>
                      <a:pt x="1" y="14"/>
                    </a:lnTo>
                    <a:lnTo>
                      <a:pt x="0" y="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146" name="ïṩlîḋè"/>
              <p:cNvSpPr/>
              <p:nvPr/>
            </p:nvSpPr>
            <p:spPr bwMode="auto">
              <a:xfrm>
                <a:off x="1649309" y="5407615"/>
                <a:ext cx="84138" cy="66675"/>
              </a:xfrm>
              <a:custGeom>
                <a:avLst/>
                <a:gdLst>
                  <a:gd name="T0" fmla="*/ 0 w 53"/>
                  <a:gd name="T1" fmla="*/ 22 h 42"/>
                  <a:gd name="T2" fmla="*/ 42 w 53"/>
                  <a:gd name="T3" fmla="*/ 17 h 42"/>
                  <a:gd name="T4" fmla="*/ 39 w 53"/>
                  <a:gd name="T5" fmla="*/ 1 h 42"/>
                  <a:gd name="T6" fmla="*/ 49 w 53"/>
                  <a:gd name="T7" fmla="*/ 0 h 42"/>
                  <a:gd name="T8" fmla="*/ 53 w 53"/>
                  <a:gd name="T9" fmla="*/ 41 h 42"/>
                  <a:gd name="T10" fmla="*/ 45 w 53"/>
                  <a:gd name="T11" fmla="*/ 42 h 42"/>
                  <a:gd name="T12" fmla="*/ 43 w 53"/>
                  <a:gd name="T13" fmla="*/ 27 h 42"/>
                  <a:gd name="T14" fmla="*/ 1 w 53"/>
                  <a:gd name="T15" fmla="*/ 33 h 42"/>
                  <a:gd name="T16" fmla="*/ 0 w 53"/>
                  <a:gd name="T17" fmla="*/ 22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3" h="42">
                    <a:moveTo>
                      <a:pt x="0" y="22"/>
                    </a:moveTo>
                    <a:lnTo>
                      <a:pt x="42" y="17"/>
                    </a:lnTo>
                    <a:lnTo>
                      <a:pt x="39" y="1"/>
                    </a:lnTo>
                    <a:lnTo>
                      <a:pt x="49" y="0"/>
                    </a:lnTo>
                    <a:lnTo>
                      <a:pt x="53" y="41"/>
                    </a:lnTo>
                    <a:lnTo>
                      <a:pt x="45" y="42"/>
                    </a:lnTo>
                    <a:lnTo>
                      <a:pt x="43" y="27"/>
                    </a:lnTo>
                    <a:lnTo>
                      <a:pt x="1" y="33"/>
                    </a:lnTo>
                    <a:lnTo>
                      <a:pt x="0" y="2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147" name="ïṣľîďe"/>
              <p:cNvSpPr/>
              <p:nvPr/>
            </p:nvSpPr>
            <p:spPr bwMode="auto">
              <a:xfrm>
                <a:off x="1662009" y="5471115"/>
                <a:ext cx="90488" cy="73025"/>
              </a:xfrm>
              <a:custGeom>
                <a:avLst/>
                <a:gdLst>
                  <a:gd name="T0" fmla="*/ 0 w 57"/>
                  <a:gd name="T1" fmla="*/ 29 h 46"/>
                  <a:gd name="T2" fmla="*/ 21 w 57"/>
                  <a:gd name="T3" fmla="*/ 24 h 46"/>
                  <a:gd name="T4" fmla="*/ 45 w 57"/>
                  <a:gd name="T5" fmla="*/ 0 h 46"/>
                  <a:gd name="T6" fmla="*/ 49 w 57"/>
                  <a:gd name="T7" fmla="*/ 11 h 46"/>
                  <a:gd name="T8" fmla="*/ 31 w 57"/>
                  <a:gd name="T9" fmla="*/ 28 h 46"/>
                  <a:gd name="T10" fmla="*/ 53 w 57"/>
                  <a:gd name="T11" fmla="*/ 35 h 46"/>
                  <a:gd name="T12" fmla="*/ 57 w 57"/>
                  <a:gd name="T13" fmla="*/ 46 h 46"/>
                  <a:gd name="T14" fmla="*/ 23 w 57"/>
                  <a:gd name="T15" fmla="*/ 35 h 46"/>
                  <a:gd name="T16" fmla="*/ 2 w 57"/>
                  <a:gd name="T17" fmla="*/ 39 h 46"/>
                  <a:gd name="T18" fmla="*/ 0 w 57"/>
                  <a:gd name="T19" fmla="*/ 29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57" h="46">
                    <a:moveTo>
                      <a:pt x="0" y="29"/>
                    </a:moveTo>
                    <a:lnTo>
                      <a:pt x="21" y="24"/>
                    </a:lnTo>
                    <a:lnTo>
                      <a:pt x="45" y="0"/>
                    </a:lnTo>
                    <a:lnTo>
                      <a:pt x="49" y="11"/>
                    </a:lnTo>
                    <a:lnTo>
                      <a:pt x="31" y="28"/>
                    </a:lnTo>
                    <a:lnTo>
                      <a:pt x="53" y="35"/>
                    </a:lnTo>
                    <a:lnTo>
                      <a:pt x="57" y="46"/>
                    </a:lnTo>
                    <a:lnTo>
                      <a:pt x="23" y="35"/>
                    </a:lnTo>
                    <a:lnTo>
                      <a:pt x="2" y="39"/>
                    </a:lnTo>
                    <a:lnTo>
                      <a:pt x="0" y="2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148" name="íśļiḓe"/>
              <p:cNvSpPr/>
              <p:nvPr/>
            </p:nvSpPr>
            <p:spPr bwMode="auto">
              <a:xfrm>
                <a:off x="1704872" y="5609228"/>
                <a:ext cx="85725" cy="80963"/>
              </a:xfrm>
              <a:custGeom>
                <a:avLst/>
                <a:gdLst>
                  <a:gd name="T0" fmla="*/ 15 w 47"/>
                  <a:gd name="T1" fmla="*/ 2 h 44"/>
                  <a:gd name="T2" fmla="*/ 26 w 47"/>
                  <a:gd name="T3" fmla="*/ 0 h 44"/>
                  <a:gd name="T4" fmla="*/ 33 w 47"/>
                  <a:gd name="T5" fmla="*/ 1 h 44"/>
                  <a:gd name="T6" fmla="*/ 39 w 47"/>
                  <a:gd name="T7" fmla="*/ 4 h 44"/>
                  <a:gd name="T8" fmla="*/ 44 w 47"/>
                  <a:gd name="T9" fmla="*/ 12 h 44"/>
                  <a:gd name="T10" fmla="*/ 45 w 47"/>
                  <a:gd name="T11" fmla="*/ 29 h 44"/>
                  <a:gd name="T12" fmla="*/ 32 w 47"/>
                  <a:gd name="T13" fmla="*/ 41 h 44"/>
                  <a:gd name="T14" fmla="*/ 15 w 47"/>
                  <a:gd name="T15" fmla="*/ 43 h 44"/>
                  <a:gd name="T16" fmla="*/ 3 w 47"/>
                  <a:gd name="T17" fmla="*/ 31 h 44"/>
                  <a:gd name="T18" fmla="*/ 2 w 47"/>
                  <a:gd name="T19" fmla="*/ 14 h 44"/>
                  <a:gd name="T20" fmla="*/ 15 w 47"/>
                  <a:gd name="T21" fmla="*/ 2 h 44"/>
                  <a:gd name="T22" fmla="*/ 19 w 47"/>
                  <a:gd name="T23" fmla="*/ 10 h 44"/>
                  <a:gd name="T24" fmla="*/ 10 w 47"/>
                  <a:gd name="T25" fmla="*/ 18 h 44"/>
                  <a:gd name="T26" fmla="*/ 10 w 47"/>
                  <a:gd name="T27" fmla="*/ 28 h 44"/>
                  <a:gd name="T28" fmla="*/ 17 w 47"/>
                  <a:gd name="T29" fmla="*/ 34 h 44"/>
                  <a:gd name="T30" fmla="*/ 29 w 47"/>
                  <a:gd name="T31" fmla="*/ 33 h 44"/>
                  <a:gd name="T32" fmla="*/ 38 w 47"/>
                  <a:gd name="T33" fmla="*/ 25 h 44"/>
                  <a:gd name="T34" fmla="*/ 37 w 47"/>
                  <a:gd name="T35" fmla="*/ 16 h 44"/>
                  <a:gd name="T36" fmla="*/ 30 w 47"/>
                  <a:gd name="T37" fmla="*/ 9 h 44"/>
                  <a:gd name="T38" fmla="*/ 19 w 47"/>
                  <a:gd name="T39" fmla="*/ 10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47" h="44">
                    <a:moveTo>
                      <a:pt x="15" y="2"/>
                    </a:moveTo>
                    <a:cubicBezTo>
                      <a:pt x="19" y="0"/>
                      <a:pt x="23" y="0"/>
                      <a:pt x="26" y="0"/>
                    </a:cubicBezTo>
                    <a:cubicBezTo>
                      <a:pt x="28" y="0"/>
                      <a:pt x="31" y="0"/>
                      <a:pt x="33" y="1"/>
                    </a:cubicBezTo>
                    <a:cubicBezTo>
                      <a:pt x="35" y="2"/>
                      <a:pt x="37" y="3"/>
                      <a:pt x="39" y="4"/>
                    </a:cubicBezTo>
                    <a:cubicBezTo>
                      <a:pt x="41" y="6"/>
                      <a:pt x="43" y="9"/>
                      <a:pt x="44" y="12"/>
                    </a:cubicBezTo>
                    <a:cubicBezTo>
                      <a:pt x="47" y="18"/>
                      <a:pt x="47" y="24"/>
                      <a:pt x="45" y="29"/>
                    </a:cubicBezTo>
                    <a:cubicBezTo>
                      <a:pt x="43" y="34"/>
                      <a:pt x="39" y="38"/>
                      <a:pt x="32" y="41"/>
                    </a:cubicBezTo>
                    <a:cubicBezTo>
                      <a:pt x="26" y="44"/>
                      <a:pt x="20" y="44"/>
                      <a:pt x="15" y="43"/>
                    </a:cubicBezTo>
                    <a:cubicBezTo>
                      <a:pt x="9" y="41"/>
                      <a:pt x="5" y="37"/>
                      <a:pt x="3" y="31"/>
                    </a:cubicBezTo>
                    <a:cubicBezTo>
                      <a:pt x="0" y="25"/>
                      <a:pt x="0" y="19"/>
                      <a:pt x="2" y="14"/>
                    </a:cubicBezTo>
                    <a:cubicBezTo>
                      <a:pt x="4" y="9"/>
                      <a:pt x="8" y="5"/>
                      <a:pt x="15" y="2"/>
                    </a:cubicBezTo>
                    <a:close/>
                    <a:moveTo>
                      <a:pt x="19" y="10"/>
                    </a:moveTo>
                    <a:cubicBezTo>
                      <a:pt x="14" y="12"/>
                      <a:pt x="11" y="15"/>
                      <a:pt x="10" y="18"/>
                    </a:cubicBezTo>
                    <a:cubicBezTo>
                      <a:pt x="8" y="21"/>
                      <a:pt x="8" y="24"/>
                      <a:pt x="10" y="28"/>
                    </a:cubicBezTo>
                    <a:cubicBezTo>
                      <a:pt x="11" y="31"/>
                      <a:pt x="13" y="33"/>
                      <a:pt x="17" y="34"/>
                    </a:cubicBezTo>
                    <a:cubicBezTo>
                      <a:pt x="20" y="35"/>
                      <a:pt x="24" y="35"/>
                      <a:pt x="29" y="33"/>
                    </a:cubicBezTo>
                    <a:cubicBezTo>
                      <a:pt x="33" y="31"/>
                      <a:pt x="36" y="28"/>
                      <a:pt x="38" y="25"/>
                    </a:cubicBezTo>
                    <a:cubicBezTo>
                      <a:pt x="39" y="22"/>
                      <a:pt x="39" y="19"/>
                      <a:pt x="37" y="16"/>
                    </a:cubicBezTo>
                    <a:cubicBezTo>
                      <a:pt x="36" y="12"/>
                      <a:pt x="34" y="10"/>
                      <a:pt x="30" y="9"/>
                    </a:cubicBezTo>
                    <a:cubicBezTo>
                      <a:pt x="27" y="8"/>
                      <a:pt x="23" y="8"/>
                      <a:pt x="19" y="1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149" name="î$ḷïďe"/>
              <p:cNvSpPr/>
              <p:nvPr/>
            </p:nvSpPr>
            <p:spPr bwMode="auto">
              <a:xfrm>
                <a:off x="1733447" y="5675903"/>
                <a:ext cx="98425" cy="66675"/>
              </a:xfrm>
              <a:custGeom>
                <a:avLst/>
                <a:gdLst>
                  <a:gd name="T0" fmla="*/ 0 w 62"/>
                  <a:gd name="T1" fmla="*/ 26 h 42"/>
                  <a:gd name="T2" fmla="*/ 45 w 62"/>
                  <a:gd name="T3" fmla="*/ 0 h 42"/>
                  <a:gd name="T4" fmla="*/ 62 w 62"/>
                  <a:gd name="T5" fmla="*/ 30 h 42"/>
                  <a:gd name="T6" fmla="*/ 55 w 62"/>
                  <a:gd name="T7" fmla="*/ 35 h 42"/>
                  <a:gd name="T8" fmla="*/ 43 w 62"/>
                  <a:gd name="T9" fmla="*/ 14 h 42"/>
                  <a:gd name="T10" fmla="*/ 32 w 62"/>
                  <a:gd name="T11" fmla="*/ 20 h 42"/>
                  <a:gd name="T12" fmla="*/ 43 w 62"/>
                  <a:gd name="T13" fmla="*/ 38 h 42"/>
                  <a:gd name="T14" fmla="*/ 35 w 62"/>
                  <a:gd name="T15" fmla="*/ 42 h 42"/>
                  <a:gd name="T16" fmla="*/ 25 w 62"/>
                  <a:gd name="T17" fmla="*/ 23 h 42"/>
                  <a:gd name="T18" fmla="*/ 6 w 62"/>
                  <a:gd name="T19" fmla="*/ 35 h 42"/>
                  <a:gd name="T20" fmla="*/ 0 w 62"/>
                  <a:gd name="T21" fmla="*/ 26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62" h="42">
                    <a:moveTo>
                      <a:pt x="0" y="26"/>
                    </a:moveTo>
                    <a:lnTo>
                      <a:pt x="45" y="0"/>
                    </a:lnTo>
                    <a:lnTo>
                      <a:pt x="62" y="30"/>
                    </a:lnTo>
                    <a:lnTo>
                      <a:pt x="55" y="35"/>
                    </a:lnTo>
                    <a:lnTo>
                      <a:pt x="43" y="14"/>
                    </a:lnTo>
                    <a:lnTo>
                      <a:pt x="32" y="20"/>
                    </a:lnTo>
                    <a:lnTo>
                      <a:pt x="43" y="38"/>
                    </a:lnTo>
                    <a:lnTo>
                      <a:pt x="35" y="42"/>
                    </a:lnTo>
                    <a:lnTo>
                      <a:pt x="25" y="23"/>
                    </a:lnTo>
                    <a:lnTo>
                      <a:pt x="6" y="35"/>
                    </a:lnTo>
                    <a:lnTo>
                      <a:pt x="0" y="26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150" name="îśḻîḍe"/>
              <p:cNvSpPr/>
              <p:nvPr/>
            </p:nvSpPr>
            <p:spPr bwMode="auto">
              <a:xfrm>
                <a:off x="1812822" y="5785440"/>
                <a:ext cx="85725" cy="82550"/>
              </a:xfrm>
              <a:custGeom>
                <a:avLst/>
                <a:gdLst>
                  <a:gd name="T0" fmla="*/ 6 w 46"/>
                  <a:gd name="T1" fmla="*/ 13 h 45"/>
                  <a:gd name="T2" fmla="*/ 12 w 46"/>
                  <a:gd name="T3" fmla="*/ 19 h 45"/>
                  <a:gd name="T4" fmla="*/ 9 w 46"/>
                  <a:gd name="T5" fmla="*/ 26 h 45"/>
                  <a:gd name="T6" fmla="*/ 11 w 46"/>
                  <a:gd name="T7" fmla="*/ 32 h 45"/>
                  <a:gd name="T8" fmla="*/ 17 w 46"/>
                  <a:gd name="T9" fmla="*/ 36 h 45"/>
                  <a:gd name="T10" fmla="*/ 22 w 46"/>
                  <a:gd name="T11" fmla="*/ 35 h 45"/>
                  <a:gd name="T12" fmla="*/ 23 w 46"/>
                  <a:gd name="T13" fmla="*/ 32 h 45"/>
                  <a:gd name="T14" fmla="*/ 22 w 46"/>
                  <a:gd name="T15" fmla="*/ 29 h 45"/>
                  <a:gd name="T16" fmla="*/ 19 w 46"/>
                  <a:gd name="T17" fmla="*/ 22 h 45"/>
                  <a:gd name="T18" fmla="*/ 16 w 46"/>
                  <a:gd name="T19" fmla="*/ 12 h 45"/>
                  <a:gd name="T20" fmla="*/ 21 w 46"/>
                  <a:gd name="T21" fmla="*/ 3 h 45"/>
                  <a:gd name="T22" fmla="*/ 27 w 46"/>
                  <a:gd name="T23" fmla="*/ 0 h 45"/>
                  <a:gd name="T24" fmla="*/ 34 w 46"/>
                  <a:gd name="T25" fmla="*/ 2 h 45"/>
                  <a:gd name="T26" fmla="*/ 40 w 46"/>
                  <a:gd name="T27" fmla="*/ 8 h 45"/>
                  <a:gd name="T28" fmla="*/ 45 w 46"/>
                  <a:gd name="T29" fmla="*/ 19 h 45"/>
                  <a:gd name="T30" fmla="*/ 41 w 46"/>
                  <a:gd name="T31" fmla="*/ 29 h 45"/>
                  <a:gd name="T32" fmla="*/ 35 w 46"/>
                  <a:gd name="T33" fmla="*/ 22 h 45"/>
                  <a:gd name="T34" fmla="*/ 37 w 46"/>
                  <a:gd name="T35" fmla="*/ 17 h 45"/>
                  <a:gd name="T36" fmla="*/ 35 w 46"/>
                  <a:gd name="T37" fmla="*/ 12 h 45"/>
                  <a:gd name="T38" fmla="*/ 30 w 46"/>
                  <a:gd name="T39" fmla="*/ 8 h 45"/>
                  <a:gd name="T40" fmla="*/ 27 w 46"/>
                  <a:gd name="T41" fmla="*/ 9 h 45"/>
                  <a:gd name="T42" fmla="*/ 25 w 46"/>
                  <a:gd name="T43" fmla="*/ 12 h 45"/>
                  <a:gd name="T44" fmla="*/ 28 w 46"/>
                  <a:gd name="T45" fmla="*/ 20 h 45"/>
                  <a:gd name="T46" fmla="*/ 32 w 46"/>
                  <a:gd name="T47" fmla="*/ 29 h 45"/>
                  <a:gd name="T48" fmla="*/ 31 w 46"/>
                  <a:gd name="T49" fmla="*/ 36 h 45"/>
                  <a:gd name="T50" fmla="*/ 27 w 46"/>
                  <a:gd name="T51" fmla="*/ 42 h 45"/>
                  <a:gd name="T52" fmla="*/ 20 w 46"/>
                  <a:gd name="T53" fmla="*/ 45 h 45"/>
                  <a:gd name="T54" fmla="*/ 13 w 46"/>
                  <a:gd name="T55" fmla="*/ 43 h 45"/>
                  <a:gd name="T56" fmla="*/ 6 w 46"/>
                  <a:gd name="T57" fmla="*/ 37 h 45"/>
                  <a:gd name="T58" fmla="*/ 0 w 46"/>
                  <a:gd name="T59" fmla="*/ 24 h 45"/>
                  <a:gd name="T60" fmla="*/ 6 w 46"/>
                  <a:gd name="T61" fmla="*/ 13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46" h="45">
                    <a:moveTo>
                      <a:pt x="6" y="13"/>
                    </a:moveTo>
                    <a:cubicBezTo>
                      <a:pt x="12" y="19"/>
                      <a:pt x="12" y="19"/>
                      <a:pt x="12" y="19"/>
                    </a:cubicBezTo>
                    <a:cubicBezTo>
                      <a:pt x="10" y="21"/>
                      <a:pt x="9" y="24"/>
                      <a:pt x="9" y="26"/>
                    </a:cubicBezTo>
                    <a:cubicBezTo>
                      <a:pt x="9" y="28"/>
                      <a:pt x="10" y="30"/>
                      <a:pt x="11" y="32"/>
                    </a:cubicBezTo>
                    <a:cubicBezTo>
                      <a:pt x="13" y="34"/>
                      <a:pt x="15" y="35"/>
                      <a:pt x="17" y="36"/>
                    </a:cubicBezTo>
                    <a:cubicBezTo>
                      <a:pt x="19" y="36"/>
                      <a:pt x="20" y="36"/>
                      <a:pt x="22" y="35"/>
                    </a:cubicBezTo>
                    <a:cubicBezTo>
                      <a:pt x="22" y="34"/>
                      <a:pt x="23" y="33"/>
                      <a:pt x="23" y="32"/>
                    </a:cubicBezTo>
                    <a:cubicBezTo>
                      <a:pt x="23" y="32"/>
                      <a:pt x="23" y="30"/>
                      <a:pt x="22" y="29"/>
                    </a:cubicBezTo>
                    <a:cubicBezTo>
                      <a:pt x="22" y="28"/>
                      <a:pt x="21" y="26"/>
                      <a:pt x="19" y="22"/>
                    </a:cubicBezTo>
                    <a:cubicBezTo>
                      <a:pt x="17" y="18"/>
                      <a:pt x="16" y="14"/>
                      <a:pt x="16" y="12"/>
                    </a:cubicBezTo>
                    <a:cubicBezTo>
                      <a:pt x="17" y="8"/>
                      <a:pt x="18" y="5"/>
                      <a:pt x="21" y="3"/>
                    </a:cubicBezTo>
                    <a:cubicBezTo>
                      <a:pt x="23" y="1"/>
                      <a:pt x="25" y="1"/>
                      <a:pt x="27" y="0"/>
                    </a:cubicBezTo>
                    <a:cubicBezTo>
                      <a:pt x="29" y="0"/>
                      <a:pt x="31" y="1"/>
                      <a:pt x="34" y="2"/>
                    </a:cubicBezTo>
                    <a:cubicBezTo>
                      <a:pt x="36" y="3"/>
                      <a:pt x="38" y="5"/>
                      <a:pt x="40" y="8"/>
                    </a:cubicBezTo>
                    <a:cubicBezTo>
                      <a:pt x="44" y="12"/>
                      <a:pt x="46" y="16"/>
                      <a:pt x="45" y="19"/>
                    </a:cubicBezTo>
                    <a:cubicBezTo>
                      <a:pt x="45" y="23"/>
                      <a:pt x="44" y="26"/>
                      <a:pt x="41" y="29"/>
                    </a:cubicBezTo>
                    <a:cubicBezTo>
                      <a:pt x="35" y="22"/>
                      <a:pt x="35" y="22"/>
                      <a:pt x="35" y="22"/>
                    </a:cubicBezTo>
                    <a:cubicBezTo>
                      <a:pt x="36" y="21"/>
                      <a:pt x="37" y="19"/>
                      <a:pt x="37" y="17"/>
                    </a:cubicBezTo>
                    <a:cubicBezTo>
                      <a:pt x="37" y="16"/>
                      <a:pt x="36" y="14"/>
                      <a:pt x="35" y="12"/>
                    </a:cubicBezTo>
                    <a:cubicBezTo>
                      <a:pt x="33" y="10"/>
                      <a:pt x="31" y="9"/>
                      <a:pt x="30" y="8"/>
                    </a:cubicBezTo>
                    <a:cubicBezTo>
                      <a:pt x="28" y="8"/>
                      <a:pt x="27" y="8"/>
                      <a:pt x="27" y="9"/>
                    </a:cubicBezTo>
                    <a:cubicBezTo>
                      <a:pt x="26" y="10"/>
                      <a:pt x="25" y="11"/>
                      <a:pt x="25" y="12"/>
                    </a:cubicBezTo>
                    <a:cubicBezTo>
                      <a:pt x="25" y="13"/>
                      <a:pt x="26" y="16"/>
                      <a:pt x="28" y="20"/>
                    </a:cubicBezTo>
                    <a:cubicBezTo>
                      <a:pt x="30" y="24"/>
                      <a:pt x="31" y="27"/>
                      <a:pt x="32" y="29"/>
                    </a:cubicBezTo>
                    <a:cubicBezTo>
                      <a:pt x="32" y="32"/>
                      <a:pt x="32" y="34"/>
                      <a:pt x="31" y="36"/>
                    </a:cubicBezTo>
                    <a:cubicBezTo>
                      <a:pt x="31" y="38"/>
                      <a:pt x="29" y="40"/>
                      <a:pt x="27" y="42"/>
                    </a:cubicBezTo>
                    <a:cubicBezTo>
                      <a:pt x="25" y="43"/>
                      <a:pt x="23" y="44"/>
                      <a:pt x="20" y="45"/>
                    </a:cubicBezTo>
                    <a:cubicBezTo>
                      <a:pt x="18" y="45"/>
                      <a:pt x="15" y="44"/>
                      <a:pt x="13" y="43"/>
                    </a:cubicBezTo>
                    <a:cubicBezTo>
                      <a:pt x="10" y="42"/>
                      <a:pt x="8" y="40"/>
                      <a:pt x="6" y="37"/>
                    </a:cubicBezTo>
                    <a:cubicBezTo>
                      <a:pt x="2" y="32"/>
                      <a:pt x="0" y="28"/>
                      <a:pt x="0" y="24"/>
                    </a:cubicBezTo>
                    <a:cubicBezTo>
                      <a:pt x="1" y="20"/>
                      <a:pt x="2" y="17"/>
                      <a:pt x="6" y="1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151" name="í$ļîḋê"/>
              <p:cNvSpPr/>
              <p:nvPr/>
            </p:nvSpPr>
            <p:spPr bwMode="auto">
              <a:xfrm>
                <a:off x="1868384" y="5844178"/>
                <a:ext cx="82550" cy="82550"/>
              </a:xfrm>
              <a:custGeom>
                <a:avLst/>
                <a:gdLst>
                  <a:gd name="T0" fmla="*/ 25 w 45"/>
                  <a:gd name="T1" fmla="*/ 33 h 45"/>
                  <a:gd name="T2" fmla="*/ 29 w 45"/>
                  <a:gd name="T3" fmla="*/ 41 h 45"/>
                  <a:gd name="T4" fmla="*/ 17 w 45"/>
                  <a:gd name="T5" fmla="*/ 44 h 45"/>
                  <a:gd name="T6" fmla="*/ 6 w 45"/>
                  <a:gd name="T7" fmla="*/ 38 h 45"/>
                  <a:gd name="T8" fmla="*/ 0 w 45"/>
                  <a:gd name="T9" fmla="*/ 24 h 45"/>
                  <a:gd name="T10" fmla="*/ 8 w 45"/>
                  <a:gd name="T11" fmla="*/ 8 h 45"/>
                  <a:gd name="T12" fmla="*/ 24 w 45"/>
                  <a:gd name="T13" fmla="*/ 0 h 45"/>
                  <a:gd name="T14" fmla="*/ 39 w 45"/>
                  <a:gd name="T15" fmla="*/ 7 h 45"/>
                  <a:gd name="T16" fmla="*/ 45 w 45"/>
                  <a:gd name="T17" fmla="*/ 19 h 45"/>
                  <a:gd name="T18" fmla="*/ 42 w 45"/>
                  <a:gd name="T19" fmla="*/ 28 h 45"/>
                  <a:gd name="T20" fmla="*/ 34 w 45"/>
                  <a:gd name="T21" fmla="*/ 23 h 45"/>
                  <a:gd name="T22" fmla="*/ 36 w 45"/>
                  <a:gd name="T23" fmla="*/ 17 h 45"/>
                  <a:gd name="T24" fmla="*/ 33 w 45"/>
                  <a:gd name="T25" fmla="*/ 12 h 45"/>
                  <a:gd name="T26" fmla="*/ 25 w 45"/>
                  <a:gd name="T27" fmla="*/ 9 h 45"/>
                  <a:gd name="T28" fmla="*/ 15 w 45"/>
                  <a:gd name="T29" fmla="*/ 14 h 45"/>
                  <a:gd name="T30" fmla="*/ 8 w 45"/>
                  <a:gd name="T31" fmla="*/ 25 h 45"/>
                  <a:gd name="T32" fmla="*/ 11 w 45"/>
                  <a:gd name="T33" fmla="*/ 33 h 45"/>
                  <a:gd name="T34" fmla="*/ 17 w 45"/>
                  <a:gd name="T35" fmla="*/ 36 h 45"/>
                  <a:gd name="T36" fmla="*/ 25 w 45"/>
                  <a:gd name="T37" fmla="*/ 33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45" h="45">
                    <a:moveTo>
                      <a:pt x="25" y="33"/>
                    </a:moveTo>
                    <a:cubicBezTo>
                      <a:pt x="29" y="41"/>
                      <a:pt x="29" y="41"/>
                      <a:pt x="29" y="41"/>
                    </a:cubicBezTo>
                    <a:cubicBezTo>
                      <a:pt x="25" y="44"/>
                      <a:pt x="21" y="45"/>
                      <a:pt x="17" y="44"/>
                    </a:cubicBezTo>
                    <a:cubicBezTo>
                      <a:pt x="13" y="44"/>
                      <a:pt x="9" y="42"/>
                      <a:pt x="6" y="38"/>
                    </a:cubicBezTo>
                    <a:cubicBezTo>
                      <a:pt x="2" y="34"/>
                      <a:pt x="0" y="29"/>
                      <a:pt x="0" y="24"/>
                    </a:cubicBezTo>
                    <a:cubicBezTo>
                      <a:pt x="0" y="19"/>
                      <a:pt x="3" y="13"/>
                      <a:pt x="8" y="8"/>
                    </a:cubicBezTo>
                    <a:cubicBezTo>
                      <a:pt x="13" y="3"/>
                      <a:pt x="18" y="1"/>
                      <a:pt x="24" y="0"/>
                    </a:cubicBezTo>
                    <a:cubicBezTo>
                      <a:pt x="29" y="0"/>
                      <a:pt x="34" y="2"/>
                      <a:pt x="39" y="7"/>
                    </a:cubicBezTo>
                    <a:cubicBezTo>
                      <a:pt x="42" y="10"/>
                      <a:pt x="44" y="15"/>
                      <a:pt x="45" y="19"/>
                    </a:cubicBezTo>
                    <a:cubicBezTo>
                      <a:pt x="45" y="22"/>
                      <a:pt x="44" y="25"/>
                      <a:pt x="42" y="28"/>
                    </a:cubicBezTo>
                    <a:cubicBezTo>
                      <a:pt x="34" y="23"/>
                      <a:pt x="34" y="23"/>
                      <a:pt x="34" y="23"/>
                    </a:cubicBezTo>
                    <a:cubicBezTo>
                      <a:pt x="36" y="21"/>
                      <a:pt x="36" y="19"/>
                      <a:pt x="36" y="17"/>
                    </a:cubicBezTo>
                    <a:cubicBezTo>
                      <a:pt x="36" y="15"/>
                      <a:pt x="35" y="13"/>
                      <a:pt x="33" y="12"/>
                    </a:cubicBezTo>
                    <a:cubicBezTo>
                      <a:pt x="31" y="9"/>
                      <a:pt x="28" y="8"/>
                      <a:pt x="25" y="9"/>
                    </a:cubicBezTo>
                    <a:cubicBezTo>
                      <a:pt x="22" y="9"/>
                      <a:pt x="18" y="11"/>
                      <a:pt x="15" y="14"/>
                    </a:cubicBezTo>
                    <a:cubicBezTo>
                      <a:pt x="11" y="18"/>
                      <a:pt x="9" y="22"/>
                      <a:pt x="8" y="25"/>
                    </a:cubicBezTo>
                    <a:cubicBezTo>
                      <a:pt x="8" y="28"/>
                      <a:pt x="9" y="31"/>
                      <a:pt x="11" y="33"/>
                    </a:cubicBezTo>
                    <a:cubicBezTo>
                      <a:pt x="13" y="35"/>
                      <a:pt x="15" y="36"/>
                      <a:pt x="17" y="36"/>
                    </a:cubicBezTo>
                    <a:cubicBezTo>
                      <a:pt x="20" y="36"/>
                      <a:pt x="22" y="35"/>
                      <a:pt x="25" y="3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152" name="íṩḷiḋé"/>
              <p:cNvSpPr/>
              <p:nvPr/>
            </p:nvSpPr>
            <p:spPr bwMode="auto">
              <a:xfrm>
                <a:off x="1916009" y="5887040"/>
                <a:ext cx="65088" cy="71438"/>
              </a:xfrm>
              <a:custGeom>
                <a:avLst/>
                <a:gdLst>
                  <a:gd name="T0" fmla="*/ 0 w 41"/>
                  <a:gd name="T1" fmla="*/ 38 h 45"/>
                  <a:gd name="T2" fmla="*/ 34 w 41"/>
                  <a:gd name="T3" fmla="*/ 0 h 45"/>
                  <a:gd name="T4" fmla="*/ 41 w 41"/>
                  <a:gd name="T5" fmla="*/ 6 h 45"/>
                  <a:gd name="T6" fmla="*/ 8 w 41"/>
                  <a:gd name="T7" fmla="*/ 45 h 45"/>
                  <a:gd name="T8" fmla="*/ 0 w 41"/>
                  <a:gd name="T9" fmla="*/ 38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1" h="45">
                    <a:moveTo>
                      <a:pt x="0" y="38"/>
                    </a:moveTo>
                    <a:lnTo>
                      <a:pt x="34" y="0"/>
                    </a:lnTo>
                    <a:lnTo>
                      <a:pt x="41" y="6"/>
                    </a:lnTo>
                    <a:lnTo>
                      <a:pt x="8" y="45"/>
                    </a:lnTo>
                    <a:lnTo>
                      <a:pt x="0" y="3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153" name="îsľïďé"/>
              <p:cNvSpPr/>
              <p:nvPr/>
            </p:nvSpPr>
            <p:spPr bwMode="auto">
              <a:xfrm>
                <a:off x="1941409" y="5904503"/>
                <a:ext cx="96838" cy="101600"/>
              </a:xfrm>
              <a:custGeom>
                <a:avLst/>
                <a:gdLst>
                  <a:gd name="T0" fmla="*/ 0 w 61"/>
                  <a:gd name="T1" fmla="*/ 41 h 64"/>
                  <a:gd name="T2" fmla="*/ 31 w 61"/>
                  <a:gd name="T3" fmla="*/ 0 h 64"/>
                  <a:gd name="T4" fmla="*/ 61 w 61"/>
                  <a:gd name="T5" fmla="*/ 22 h 64"/>
                  <a:gd name="T6" fmla="*/ 56 w 61"/>
                  <a:gd name="T7" fmla="*/ 29 h 64"/>
                  <a:gd name="T8" fmla="*/ 34 w 61"/>
                  <a:gd name="T9" fmla="*/ 13 h 64"/>
                  <a:gd name="T10" fmla="*/ 27 w 61"/>
                  <a:gd name="T11" fmla="*/ 22 h 64"/>
                  <a:gd name="T12" fmla="*/ 47 w 61"/>
                  <a:gd name="T13" fmla="*/ 37 h 64"/>
                  <a:gd name="T14" fmla="*/ 42 w 61"/>
                  <a:gd name="T15" fmla="*/ 44 h 64"/>
                  <a:gd name="T16" fmla="*/ 21 w 61"/>
                  <a:gd name="T17" fmla="*/ 29 h 64"/>
                  <a:gd name="T18" fmla="*/ 13 w 61"/>
                  <a:gd name="T19" fmla="*/ 40 h 64"/>
                  <a:gd name="T20" fmla="*/ 36 w 61"/>
                  <a:gd name="T21" fmla="*/ 57 h 64"/>
                  <a:gd name="T22" fmla="*/ 31 w 61"/>
                  <a:gd name="T23" fmla="*/ 64 h 64"/>
                  <a:gd name="T24" fmla="*/ 0 w 61"/>
                  <a:gd name="T25" fmla="*/ 41 h 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1" h="64">
                    <a:moveTo>
                      <a:pt x="0" y="41"/>
                    </a:moveTo>
                    <a:lnTo>
                      <a:pt x="31" y="0"/>
                    </a:lnTo>
                    <a:lnTo>
                      <a:pt x="61" y="22"/>
                    </a:lnTo>
                    <a:lnTo>
                      <a:pt x="56" y="29"/>
                    </a:lnTo>
                    <a:lnTo>
                      <a:pt x="34" y="13"/>
                    </a:lnTo>
                    <a:lnTo>
                      <a:pt x="27" y="22"/>
                    </a:lnTo>
                    <a:lnTo>
                      <a:pt x="47" y="37"/>
                    </a:lnTo>
                    <a:lnTo>
                      <a:pt x="42" y="44"/>
                    </a:lnTo>
                    <a:lnTo>
                      <a:pt x="21" y="29"/>
                    </a:lnTo>
                    <a:lnTo>
                      <a:pt x="13" y="40"/>
                    </a:lnTo>
                    <a:lnTo>
                      <a:pt x="36" y="57"/>
                    </a:lnTo>
                    <a:lnTo>
                      <a:pt x="31" y="64"/>
                    </a:lnTo>
                    <a:lnTo>
                      <a:pt x="0" y="4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154" name="íśliḋé"/>
              <p:cNvSpPr/>
              <p:nvPr/>
            </p:nvSpPr>
            <p:spPr bwMode="auto">
              <a:xfrm>
                <a:off x="2004909" y="5947365"/>
                <a:ext cx="96838" cy="101600"/>
              </a:xfrm>
              <a:custGeom>
                <a:avLst/>
                <a:gdLst>
                  <a:gd name="T0" fmla="*/ 0 w 61"/>
                  <a:gd name="T1" fmla="*/ 43 h 64"/>
                  <a:gd name="T2" fmla="*/ 27 w 61"/>
                  <a:gd name="T3" fmla="*/ 0 h 64"/>
                  <a:gd name="T4" fmla="*/ 35 w 61"/>
                  <a:gd name="T5" fmla="*/ 5 h 64"/>
                  <a:gd name="T6" fmla="*/ 36 w 61"/>
                  <a:gd name="T7" fmla="*/ 45 h 64"/>
                  <a:gd name="T8" fmla="*/ 53 w 61"/>
                  <a:gd name="T9" fmla="*/ 15 h 64"/>
                  <a:gd name="T10" fmla="*/ 61 w 61"/>
                  <a:gd name="T11" fmla="*/ 21 h 64"/>
                  <a:gd name="T12" fmla="*/ 35 w 61"/>
                  <a:gd name="T13" fmla="*/ 64 h 64"/>
                  <a:gd name="T14" fmla="*/ 27 w 61"/>
                  <a:gd name="T15" fmla="*/ 59 h 64"/>
                  <a:gd name="T16" fmla="*/ 25 w 61"/>
                  <a:gd name="T17" fmla="*/ 20 h 64"/>
                  <a:gd name="T18" fmla="*/ 8 w 61"/>
                  <a:gd name="T19" fmla="*/ 49 h 64"/>
                  <a:gd name="T20" fmla="*/ 0 w 61"/>
                  <a:gd name="T21" fmla="*/ 43 h 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61" h="64">
                    <a:moveTo>
                      <a:pt x="0" y="43"/>
                    </a:moveTo>
                    <a:lnTo>
                      <a:pt x="27" y="0"/>
                    </a:lnTo>
                    <a:lnTo>
                      <a:pt x="35" y="5"/>
                    </a:lnTo>
                    <a:lnTo>
                      <a:pt x="36" y="45"/>
                    </a:lnTo>
                    <a:lnTo>
                      <a:pt x="53" y="15"/>
                    </a:lnTo>
                    <a:lnTo>
                      <a:pt x="61" y="21"/>
                    </a:lnTo>
                    <a:lnTo>
                      <a:pt x="35" y="64"/>
                    </a:lnTo>
                    <a:lnTo>
                      <a:pt x="27" y="59"/>
                    </a:lnTo>
                    <a:lnTo>
                      <a:pt x="25" y="20"/>
                    </a:lnTo>
                    <a:lnTo>
                      <a:pt x="8" y="49"/>
                    </a:lnTo>
                    <a:lnTo>
                      <a:pt x="0" y="4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155" name="iSļiďê"/>
              <p:cNvSpPr/>
              <p:nvPr/>
            </p:nvSpPr>
            <p:spPr bwMode="auto">
              <a:xfrm>
                <a:off x="2087459" y="5993403"/>
                <a:ext cx="79375" cy="87313"/>
              </a:xfrm>
              <a:custGeom>
                <a:avLst/>
                <a:gdLst>
                  <a:gd name="T0" fmla="*/ 28 w 43"/>
                  <a:gd name="T1" fmla="*/ 33 h 47"/>
                  <a:gd name="T2" fmla="*/ 34 w 43"/>
                  <a:gd name="T3" fmla="*/ 39 h 47"/>
                  <a:gd name="T4" fmla="*/ 24 w 43"/>
                  <a:gd name="T5" fmla="*/ 46 h 47"/>
                  <a:gd name="T6" fmla="*/ 12 w 43"/>
                  <a:gd name="T7" fmla="*/ 44 h 47"/>
                  <a:gd name="T8" fmla="*/ 1 w 43"/>
                  <a:gd name="T9" fmla="*/ 33 h 47"/>
                  <a:gd name="T10" fmla="*/ 3 w 43"/>
                  <a:gd name="T11" fmla="*/ 15 h 47"/>
                  <a:gd name="T12" fmla="*/ 15 w 43"/>
                  <a:gd name="T13" fmla="*/ 2 h 47"/>
                  <a:gd name="T14" fmla="*/ 32 w 43"/>
                  <a:gd name="T15" fmla="*/ 3 h 47"/>
                  <a:gd name="T16" fmla="*/ 41 w 43"/>
                  <a:gd name="T17" fmla="*/ 13 h 47"/>
                  <a:gd name="T18" fmla="*/ 42 w 43"/>
                  <a:gd name="T19" fmla="*/ 22 h 47"/>
                  <a:gd name="T20" fmla="*/ 33 w 43"/>
                  <a:gd name="T21" fmla="*/ 20 h 47"/>
                  <a:gd name="T22" fmla="*/ 33 w 43"/>
                  <a:gd name="T23" fmla="*/ 14 h 47"/>
                  <a:gd name="T24" fmla="*/ 28 w 43"/>
                  <a:gd name="T25" fmla="*/ 10 h 47"/>
                  <a:gd name="T26" fmla="*/ 19 w 43"/>
                  <a:gd name="T27" fmla="*/ 10 h 47"/>
                  <a:gd name="T28" fmla="*/ 12 w 43"/>
                  <a:gd name="T29" fmla="*/ 19 h 47"/>
                  <a:gd name="T30" fmla="*/ 9 w 43"/>
                  <a:gd name="T31" fmla="*/ 31 h 47"/>
                  <a:gd name="T32" fmla="*/ 15 w 43"/>
                  <a:gd name="T33" fmla="*/ 37 h 47"/>
                  <a:gd name="T34" fmla="*/ 22 w 43"/>
                  <a:gd name="T35" fmla="*/ 38 h 47"/>
                  <a:gd name="T36" fmla="*/ 28 w 43"/>
                  <a:gd name="T37" fmla="*/ 33 h 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43" h="47">
                    <a:moveTo>
                      <a:pt x="28" y="33"/>
                    </a:moveTo>
                    <a:cubicBezTo>
                      <a:pt x="34" y="39"/>
                      <a:pt x="34" y="39"/>
                      <a:pt x="34" y="39"/>
                    </a:cubicBezTo>
                    <a:cubicBezTo>
                      <a:pt x="31" y="43"/>
                      <a:pt x="28" y="45"/>
                      <a:pt x="24" y="46"/>
                    </a:cubicBezTo>
                    <a:cubicBezTo>
                      <a:pt x="20" y="47"/>
                      <a:pt x="16" y="46"/>
                      <a:pt x="12" y="44"/>
                    </a:cubicBezTo>
                    <a:cubicBezTo>
                      <a:pt x="7" y="42"/>
                      <a:pt x="3" y="38"/>
                      <a:pt x="1" y="33"/>
                    </a:cubicBezTo>
                    <a:cubicBezTo>
                      <a:pt x="0" y="27"/>
                      <a:pt x="0" y="22"/>
                      <a:pt x="3" y="15"/>
                    </a:cubicBezTo>
                    <a:cubicBezTo>
                      <a:pt x="6" y="9"/>
                      <a:pt x="10" y="4"/>
                      <a:pt x="15" y="2"/>
                    </a:cubicBezTo>
                    <a:cubicBezTo>
                      <a:pt x="21" y="0"/>
                      <a:pt x="26" y="1"/>
                      <a:pt x="32" y="3"/>
                    </a:cubicBezTo>
                    <a:cubicBezTo>
                      <a:pt x="36" y="5"/>
                      <a:pt x="40" y="9"/>
                      <a:pt x="41" y="13"/>
                    </a:cubicBezTo>
                    <a:cubicBezTo>
                      <a:pt x="42" y="16"/>
                      <a:pt x="43" y="19"/>
                      <a:pt x="42" y="22"/>
                    </a:cubicBezTo>
                    <a:cubicBezTo>
                      <a:pt x="33" y="20"/>
                      <a:pt x="33" y="20"/>
                      <a:pt x="33" y="20"/>
                    </a:cubicBezTo>
                    <a:cubicBezTo>
                      <a:pt x="34" y="18"/>
                      <a:pt x="34" y="16"/>
                      <a:pt x="33" y="14"/>
                    </a:cubicBezTo>
                    <a:cubicBezTo>
                      <a:pt x="32" y="12"/>
                      <a:pt x="30" y="11"/>
                      <a:pt x="28" y="10"/>
                    </a:cubicBezTo>
                    <a:cubicBezTo>
                      <a:pt x="25" y="8"/>
                      <a:pt x="22" y="8"/>
                      <a:pt x="19" y="10"/>
                    </a:cubicBezTo>
                    <a:cubicBezTo>
                      <a:pt x="16" y="11"/>
                      <a:pt x="14" y="14"/>
                      <a:pt x="12" y="19"/>
                    </a:cubicBezTo>
                    <a:cubicBezTo>
                      <a:pt x="9" y="24"/>
                      <a:pt x="9" y="28"/>
                      <a:pt x="9" y="31"/>
                    </a:cubicBezTo>
                    <a:cubicBezTo>
                      <a:pt x="10" y="34"/>
                      <a:pt x="12" y="36"/>
                      <a:pt x="15" y="37"/>
                    </a:cubicBezTo>
                    <a:cubicBezTo>
                      <a:pt x="17" y="38"/>
                      <a:pt x="19" y="38"/>
                      <a:pt x="22" y="38"/>
                    </a:cubicBezTo>
                    <a:cubicBezTo>
                      <a:pt x="24" y="37"/>
                      <a:pt x="26" y="35"/>
                      <a:pt x="28" y="3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156" name="íSliḋé"/>
              <p:cNvSpPr/>
              <p:nvPr/>
            </p:nvSpPr>
            <p:spPr bwMode="auto">
              <a:xfrm>
                <a:off x="2157309" y="6017215"/>
                <a:ext cx="82550" cy="96838"/>
              </a:xfrm>
              <a:custGeom>
                <a:avLst/>
                <a:gdLst>
                  <a:gd name="T0" fmla="*/ 0 w 52"/>
                  <a:gd name="T1" fmla="*/ 49 h 61"/>
                  <a:gd name="T2" fmla="*/ 16 w 52"/>
                  <a:gd name="T3" fmla="*/ 0 h 61"/>
                  <a:gd name="T4" fmla="*/ 52 w 52"/>
                  <a:gd name="T5" fmla="*/ 13 h 61"/>
                  <a:gd name="T6" fmla="*/ 50 w 52"/>
                  <a:gd name="T7" fmla="*/ 21 h 61"/>
                  <a:gd name="T8" fmla="*/ 23 w 52"/>
                  <a:gd name="T9" fmla="*/ 12 h 61"/>
                  <a:gd name="T10" fmla="*/ 20 w 52"/>
                  <a:gd name="T11" fmla="*/ 22 h 61"/>
                  <a:gd name="T12" fmla="*/ 44 w 52"/>
                  <a:gd name="T13" fmla="*/ 30 h 61"/>
                  <a:gd name="T14" fmla="*/ 41 w 52"/>
                  <a:gd name="T15" fmla="*/ 38 h 61"/>
                  <a:gd name="T16" fmla="*/ 18 w 52"/>
                  <a:gd name="T17" fmla="*/ 30 h 61"/>
                  <a:gd name="T18" fmla="*/ 13 w 52"/>
                  <a:gd name="T19" fmla="*/ 43 h 61"/>
                  <a:gd name="T20" fmla="*/ 40 w 52"/>
                  <a:gd name="T21" fmla="*/ 52 h 61"/>
                  <a:gd name="T22" fmla="*/ 36 w 52"/>
                  <a:gd name="T23" fmla="*/ 61 h 61"/>
                  <a:gd name="T24" fmla="*/ 0 w 52"/>
                  <a:gd name="T25" fmla="*/ 49 h 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52" h="61">
                    <a:moveTo>
                      <a:pt x="0" y="49"/>
                    </a:moveTo>
                    <a:lnTo>
                      <a:pt x="16" y="0"/>
                    </a:lnTo>
                    <a:lnTo>
                      <a:pt x="52" y="13"/>
                    </a:lnTo>
                    <a:lnTo>
                      <a:pt x="50" y="21"/>
                    </a:lnTo>
                    <a:lnTo>
                      <a:pt x="23" y="12"/>
                    </a:lnTo>
                    <a:lnTo>
                      <a:pt x="20" y="22"/>
                    </a:lnTo>
                    <a:lnTo>
                      <a:pt x="44" y="30"/>
                    </a:lnTo>
                    <a:lnTo>
                      <a:pt x="41" y="38"/>
                    </a:lnTo>
                    <a:lnTo>
                      <a:pt x="18" y="30"/>
                    </a:lnTo>
                    <a:lnTo>
                      <a:pt x="13" y="43"/>
                    </a:lnTo>
                    <a:lnTo>
                      <a:pt x="40" y="52"/>
                    </a:lnTo>
                    <a:lnTo>
                      <a:pt x="36" y="61"/>
                    </a:lnTo>
                    <a:lnTo>
                      <a:pt x="0" y="4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157" name="îŝ1îḑè"/>
              <p:cNvSpPr/>
              <p:nvPr/>
            </p:nvSpPr>
            <p:spPr bwMode="auto">
              <a:xfrm>
                <a:off x="2663722" y="6026740"/>
                <a:ext cx="77788" cy="92075"/>
              </a:xfrm>
              <a:custGeom>
                <a:avLst/>
                <a:gdLst>
                  <a:gd name="T0" fmla="*/ 49 w 49"/>
                  <a:gd name="T1" fmla="*/ 42 h 58"/>
                  <a:gd name="T2" fmla="*/ 39 w 49"/>
                  <a:gd name="T3" fmla="*/ 45 h 58"/>
                  <a:gd name="T4" fmla="*/ 31 w 49"/>
                  <a:gd name="T5" fmla="*/ 36 h 58"/>
                  <a:gd name="T6" fmla="*/ 11 w 49"/>
                  <a:gd name="T7" fmla="*/ 43 h 58"/>
                  <a:gd name="T8" fmla="*/ 11 w 49"/>
                  <a:gd name="T9" fmla="*/ 55 h 58"/>
                  <a:gd name="T10" fmla="*/ 0 w 49"/>
                  <a:gd name="T11" fmla="*/ 58 h 58"/>
                  <a:gd name="T12" fmla="*/ 3 w 49"/>
                  <a:gd name="T13" fmla="*/ 3 h 58"/>
                  <a:gd name="T14" fmla="*/ 13 w 49"/>
                  <a:gd name="T15" fmla="*/ 0 h 58"/>
                  <a:gd name="T16" fmla="*/ 49 w 49"/>
                  <a:gd name="T17" fmla="*/ 42 h 58"/>
                  <a:gd name="T18" fmla="*/ 25 w 49"/>
                  <a:gd name="T19" fmla="*/ 29 h 58"/>
                  <a:gd name="T20" fmla="*/ 12 w 49"/>
                  <a:gd name="T21" fmla="*/ 14 h 58"/>
                  <a:gd name="T22" fmla="*/ 11 w 49"/>
                  <a:gd name="T23" fmla="*/ 34 h 58"/>
                  <a:gd name="T24" fmla="*/ 25 w 49"/>
                  <a:gd name="T25" fmla="*/ 29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49" h="58">
                    <a:moveTo>
                      <a:pt x="49" y="42"/>
                    </a:moveTo>
                    <a:lnTo>
                      <a:pt x="39" y="45"/>
                    </a:lnTo>
                    <a:lnTo>
                      <a:pt x="31" y="36"/>
                    </a:lnTo>
                    <a:lnTo>
                      <a:pt x="11" y="43"/>
                    </a:lnTo>
                    <a:lnTo>
                      <a:pt x="11" y="55"/>
                    </a:lnTo>
                    <a:lnTo>
                      <a:pt x="0" y="58"/>
                    </a:lnTo>
                    <a:lnTo>
                      <a:pt x="3" y="3"/>
                    </a:lnTo>
                    <a:lnTo>
                      <a:pt x="13" y="0"/>
                    </a:lnTo>
                    <a:lnTo>
                      <a:pt x="49" y="42"/>
                    </a:lnTo>
                    <a:close/>
                    <a:moveTo>
                      <a:pt x="25" y="29"/>
                    </a:moveTo>
                    <a:lnTo>
                      <a:pt x="12" y="14"/>
                    </a:lnTo>
                    <a:lnTo>
                      <a:pt x="11" y="34"/>
                    </a:lnTo>
                    <a:lnTo>
                      <a:pt x="25" y="2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158" name="íṩḻiḋê"/>
              <p:cNvSpPr/>
              <p:nvPr/>
            </p:nvSpPr>
            <p:spPr bwMode="auto">
              <a:xfrm>
                <a:off x="2714522" y="5990228"/>
                <a:ext cx="92075" cy="101600"/>
              </a:xfrm>
              <a:custGeom>
                <a:avLst/>
                <a:gdLst>
                  <a:gd name="T0" fmla="*/ 21 w 58"/>
                  <a:gd name="T1" fmla="*/ 64 h 64"/>
                  <a:gd name="T2" fmla="*/ 0 w 58"/>
                  <a:gd name="T3" fmla="*/ 17 h 64"/>
                  <a:gd name="T4" fmla="*/ 9 w 58"/>
                  <a:gd name="T5" fmla="*/ 12 h 64"/>
                  <a:gd name="T6" fmla="*/ 43 w 58"/>
                  <a:gd name="T7" fmla="*/ 36 h 64"/>
                  <a:gd name="T8" fmla="*/ 29 w 58"/>
                  <a:gd name="T9" fmla="*/ 4 h 64"/>
                  <a:gd name="T10" fmla="*/ 37 w 58"/>
                  <a:gd name="T11" fmla="*/ 0 h 64"/>
                  <a:gd name="T12" fmla="*/ 58 w 58"/>
                  <a:gd name="T13" fmla="*/ 46 h 64"/>
                  <a:gd name="T14" fmla="*/ 49 w 58"/>
                  <a:gd name="T15" fmla="*/ 51 h 64"/>
                  <a:gd name="T16" fmla="*/ 16 w 58"/>
                  <a:gd name="T17" fmla="*/ 29 h 64"/>
                  <a:gd name="T18" fmla="*/ 30 w 58"/>
                  <a:gd name="T19" fmla="*/ 59 h 64"/>
                  <a:gd name="T20" fmla="*/ 21 w 58"/>
                  <a:gd name="T21" fmla="*/ 64 h 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58" h="64">
                    <a:moveTo>
                      <a:pt x="21" y="64"/>
                    </a:moveTo>
                    <a:lnTo>
                      <a:pt x="0" y="17"/>
                    </a:lnTo>
                    <a:lnTo>
                      <a:pt x="9" y="12"/>
                    </a:lnTo>
                    <a:lnTo>
                      <a:pt x="43" y="36"/>
                    </a:lnTo>
                    <a:lnTo>
                      <a:pt x="29" y="4"/>
                    </a:lnTo>
                    <a:lnTo>
                      <a:pt x="37" y="0"/>
                    </a:lnTo>
                    <a:lnTo>
                      <a:pt x="58" y="46"/>
                    </a:lnTo>
                    <a:lnTo>
                      <a:pt x="49" y="51"/>
                    </a:lnTo>
                    <a:lnTo>
                      <a:pt x="16" y="29"/>
                    </a:lnTo>
                    <a:lnTo>
                      <a:pt x="30" y="59"/>
                    </a:lnTo>
                    <a:lnTo>
                      <a:pt x="21" y="6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159" name="îṧľíḍe"/>
              <p:cNvSpPr/>
              <p:nvPr/>
            </p:nvSpPr>
            <p:spPr bwMode="auto">
              <a:xfrm>
                <a:off x="2781197" y="5963240"/>
                <a:ext cx="85725" cy="95250"/>
              </a:xfrm>
              <a:custGeom>
                <a:avLst/>
                <a:gdLst>
                  <a:gd name="T0" fmla="*/ 0 w 47"/>
                  <a:gd name="T1" fmla="*/ 13 h 51"/>
                  <a:gd name="T2" fmla="*/ 14 w 47"/>
                  <a:gd name="T3" fmla="*/ 4 h 51"/>
                  <a:gd name="T4" fmla="*/ 22 w 47"/>
                  <a:gd name="T5" fmla="*/ 1 h 51"/>
                  <a:gd name="T6" fmla="*/ 29 w 47"/>
                  <a:gd name="T7" fmla="*/ 1 h 51"/>
                  <a:gd name="T8" fmla="*/ 37 w 47"/>
                  <a:gd name="T9" fmla="*/ 5 h 51"/>
                  <a:gd name="T10" fmla="*/ 43 w 47"/>
                  <a:gd name="T11" fmla="*/ 14 h 51"/>
                  <a:gd name="T12" fmla="*/ 47 w 47"/>
                  <a:gd name="T13" fmla="*/ 22 h 51"/>
                  <a:gd name="T14" fmla="*/ 46 w 47"/>
                  <a:gd name="T15" fmla="*/ 31 h 51"/>
                  <a:gd name="T16" fmla="*/ 43 w 47"/>
                  <a:gd name="T17" fmla="*/ 38 h 51"/>
                  <a:gd name="T18" fmla="*/ 36 w 47"/>
                  <a:gd name="T19" fmla="*/ 42 h 51"/>
                  <a:gd name="T20" fmla="*/ 22 w 47"/>
                  <a:gd name="T21" fmla="*/ 51 h 51"/>
                  <a:gd name="T22" fmla="*/ 0 w 47"/>
                  <a:gd name="T23" fmla="*/ 13 h 51"/>
                  <a:gd name="T24" fmla="*/ 11 w 47"/>
                  <a:gd name="T25" fmla="*/ 15 h 51"/>
                  <a:gd name="T26" fmla="*/ 26 w 47"/>
                  <a:gd name="T27" fmla="*/ 40 h 51"/>
                  <a:gd name="T28" fmla="*/ 32 w 47"/>
                  <a:gd name="T29" fmla="*/ 37 h 51"/>
                  <a:gd name="T30" fmla="*/ 36 w 47"/>
                  <a:gd name="T31" fmla="*/ 33 h 51"/>
                  <a:gd name="T32" fmla="*/ 38 w 47"/>
                  <a:gd name="T33" fmla="*/ 30 h 51"/>
                  <a:gd name="T34" fmla="*/ 38 w 47"/>
                  <a:gd name="T35" fmla="*/ 25 h 51"/>
                  <a:gd name="T36" fmla="*/ 35 w 47"/>
                  <a:gd name="T37" fmla="*/ 18 h 51"/>
                  <a:gd name="T38" fmla="*/ 30 w 47"/>
                  <a:gd name="T39" fmla="*/ 11 h 51"/>
                  <a:gd name="T40" fmla="*/ 26 w 47"/>
                  <a:gd name="T41" fmla="*/ 9 h 51"/>
                  <a:gd name="T42" fmla="*/ 21 w 47"/>
                  <a:gd name="T43" fmla="*/ 9 h 51"/>
                  <a:gd name="T44" fmla="*/ 15 w 47"/>
                  <a:gd name="T45" fmla="*/ 13 h 51"/>
                  <a:gd name="T46" fmla="*/ 11 w 47"/>
                  <a:gd name="T47" fmla="*/ 15 h 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47" h="51">
                    <a:moveTo>
                      <a:pt x="0" y="13"/>
                    </a:moveTo>
                    <a:cubicBezTo>
                      <a:pt x="14" y="4"/>
                      <a:pt x="14" y="4"/>
                      <a:pt x="14" y="4"/>
                    </a:cubicBezTo>
                    <a:cubicBezTo>
                      <a:pt x="17" y="3"/>
                      <a:pt x="20" y="1"/>
                      <a:pt x="22" y="1"/>
                    </a:cubicBezTo>
                    <a:cubicBezTo>
                      <a:pt x="24" y="0"/>
                      <a:pt x="27" y="0"/>
                      <a:pt x="29" y="1"/>
                    </a:cubicBezTo>
                    <a:cubicBezTo>
                      <a:pt x="32" y="2"/>
                      <a:pt x="34" y="3"/>
                      <a:pt x="37" y="5"/>
                    </a:cubicBezTo>
                    <a:cubicBezTo>
                      <a:pt x="39" y="7"/>
                      <a:pt x="41" y="10"/>
                      <a:pt x="43" y="14"/>
                    </a:cubicBezTo>
                    <a:cubicBezTo>
                      <a:pt x="45" y="17"/>
                      <a:pt x="46" y="20"/>
                      <a:pt x="47" y="22"/>
                    </a:cubicBezTo>
                    <a:cubicBezTo>
                      <a:pt x="47" y="26"/>
                      <a:pt x="47" y="29"/>
                      <a:pt x="46" y="31"/>
                    </a:cubicBezTo>
                    <a:cubicBezTo>
                      <a:pt x="46" y="34"/>
                      <a:pt x="45" y="36"/>
                      <a:pt x="43" y="38"/>
                    </a:cubicBezTo>
                    <a:cubicBezTo>
                      <a:pt x="41" y="39"/>
                      <a:pt x="39" y="41"/>
                      <a:pt x="36" y="42"/>
                    </a:cubicBezTo>
                    <a:cubicBezTo>
                      <a:pt x="22" y="51"/>
                      <a:pt x="22" y="51"/>
                      <a:pt x="22" y="51"/>
                    </a:cubicBezTo>
                    <a:lnTo>
                      <a:pt x="0" y="13"/>
                    </a:lnTo>
                    <a:close/>
                    <a:moveTo>
                      <a:pt x="11" y="15"/>
                    </a:moveTo>
                    <a:cubicBezTo>
                      <a:pt x="26" y="40"/>
                      <a:pt x="26" y="40"/>
                      <a:pt x="26" y="40"/>
                    </a:cubicBezTo>
                    <a:cubicBezTo>
                      <a:pt x="32" y="37"/>
                      <a:pt x="32" y="37"/>
                      <a:pt x="32" y="37"/>
                    </a:cubicBezTo>
                    <a:cubicBezTo>
                      <a:pt x="34" y="35"/>
                      <a:pt x="35" y="34"/>
                      <a:pt x="36" y="33"/>
                    </a:cubicBezTo>
                    <a:cubicBezTo>
                      <a:pt x="37" y="32"/>
                      <a:pt x="38" y="31"/>
                      <a:pt x="38" y="30"/>
                    </a:cubicBezTo>
                    <a:cubicBezTo>
                      <a:pt x="39" y="29"/>
                      <a:pt x="39" y="27"/>
                      <a:pt x="38" y="25"/>
                    </a:cubicBezTo>
                    <a:cubicBezTo>
                      <a:pt x="38" y="23"/>
                      <a:pt x="37" y="21"/>
                      <a:pt x="35" y="18"/>
                    </a:cubicBezTo>
                    <a:cubicBezTo>
                      <a:pt x="33" y="15"/>
                      <a:pt x="32" y="13"/>
                      <a:pt x="30" y="11"/>
                    </a:cubicBezTo>
                    <a:cubicBezTo>
                      <a:pt x="29" y="10"/>
                      <a:pt x="27" y="9"/>
                      <a:pt x="26" y="9"/>
                    </a:cubicBezTo>
                    <a:cubicBezTo>
                      <a:pt x="25" y="9"/>
                      <a:pt x="23" y="9"/>
                      <a:pt x="21" y="9"/>
                    </a:cubicBezTo>
                    <a:cubicBezTo>
                      <a:pt x="20" y="10"/>
                      <a:pt x="18" y="11"/>
                      <a:pt x="15" y="13"/>
                    </a:cubicBezTo>
                    <a:lnTo>
                      <a:pt x="11" y="1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160" name="ïṩḻiḍe"/>
              <p:cNvSpPr/>
              <p:nvPr/>
            </p:nvSpPr>
            <p:spPr bwMode="auto">
              <a:xfrm>
                <a:off x="2876447" y="5888628"/>
                <a:ext cx="80963" cy="88900"/>
              </a:xfrm>
              <a:custGeom>
                <a:avLst/>
                <a:gdLst>
                  <a:gd name="T0" fmla="*/ 43 w 51"/>
                  <a:gd name="T1" fmla="*/ 56 h 56"/>
                  <a:gd name="T2" fmla="*/ 16 w 51"/>
                  <a:gd name="T3" fmla="*/ 22 h 56"/>
                  <a:gd name="T4" fmla="*/ 5 w 51"/>
                  <a:gd name="T5" fmla="*/ 31 h 56"/>
                  <a:gd name="T6" fmla="*/ 0 w 51"/>
                  <a:gd name="T7" fmla="*/ 25 h 56"/>
                  <a:gd name="T8" fmla="*/ 31 w 51"/>
                  <a:gd name="T9" fmla="*/ 0 h 56"/>
                  <a:gd name="T10" fmla="*/ 37 w 51"/>
                  <a:gd name="T11" fmla="*/ 7 h 56"/>
                  <a:gd name="T12" fmla="*/ 24 w 51"/>
                  <a:gd name="T13" fmla="*/ 16 h 56"/>
                  <a:gd name="T14" fmla="*/ 51 w 51"/>
                  <a:gd name="T15" fmla="*/ 49 h 56"/>
                  <a:gd name="T16" fmla="*/ 43 w 51"/>
                  <a:gd name="T17" fmla="*/ 56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1" h="56">
                    <a:moveTo>
                      <a:pt x="43" y="56"/>
                    </a:moveTo>
                    <a:lnTo>
                      <a:pt x="16" y="22"/>
                    </a:lnTo>
                    <a:lnTo>
                      <a:pt x="5" y="31"/>
                    </a:lnTo>
                    <a:lnTo>
                      <a:pt x="0" y="25"/>
                    </a:lnTo>
                    <a:lnTo>
                      <a:pt x="31" y="0"/>
                    </a:lnTo>
                    <a:lnTo>
                      <a:pt x="37" y="7"/>
                    </a:lnTo>
                    <a:lnTo>
                      <a:pt x="24" y="16"/>
                    </a:lnTo>
                    <a:lnTo>
                      <a:pt x="51" y="49"/>
                    </a:lnTo>
                    <a:lnTo>
                      <a:pt x="43" y="56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161" name="íśļïḓè"/>
              <p:cNvSpPr/>
              <p:nvPr/>
            </p:nvSpPr>
            <p:spPr bwMode="auto">
              <a:xfrm>
                <a:off x="2925659" y="5845765"/>
                <a:ext cx="101600" cy="100013"/>
              </a:xfrm>
              <a:custGeom>
                <a:avLst/>
                <a:gdLst>
                  <a:gd name="T0" fmla="*/ 36 w 64"/>
                  <a:gd name="T1" fmla="*/ 63 h 63"/>
                  <a:gd name="T2" fmla="*/ 0 w 64"/>
                  <a:gd name="T3" fmla="*/ 26 h 63"/>
                  <a:gd name="T4" fmla="*/ 28 w 64"/>
                  <a:gd name="T5" fmla="*/ 0 h 63"/>
                  <a:gd name="T6" fmla="*/ 34 w 64"/>
                  <a:gd name="T7" fmla="*/ 6 h 63"/>
                  <a:gd name="T8" fmla="*/ 14 w 64"/>
                  <a:gd name="T9" fmla="*/ 26 h 63"/>
                  <a:gd name="T10" fmla="*/ 22 w 64"/>
                  <a:gd name="T11" fmla="*/ 34 h 63"/>
                  <a:gd name="T12" fmla="*/ 41 w 64"/>
                  <a:gd name="T13" fmla="*/ 16 h 63"/>
                  <a:gd name="T14" fmla="*/ 47 w 64"/>
                  <a:gd name="T15" fmla="*/ 22 h 63"/>
                  <a:gd name="T16" fmla="*/ 28 w 64"/>
                  <a:gd name="T17" fmla="*/ 39 h 63"/>
                  <a:gd name="T18" fmla="*/ 38 w 64"/>
                  <a:gd name="T19" fmla="*/ 50 h 63"/>
                  <a:gd name="T20" fmla="*/ 58 w 64"/>
                  <a:gd name="T21" fmla="*/ 30 h 63"/>
                  <a:gd name="T22" fmla="*/ 64 w 64"/>
                  <a:gd name="T23" fmla="*/ 36 h 63"/>
                  <a:gd name="T24" fmla="*/ 36 w 64"/>
                  <a:gd name="T25" fmla="*/ 63 h 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4" h="63">
                    <a:moveTo>
                      <a:pt x="36" y="63"/>
                    </a:moveTo>
                    <a:lnTo>
                      <a:pt x="0" y="26"/>
                    </a:lnTo>
                    <a:lnTo>
                      <a:pt x="28" y="0"/>
                    </a:lnTo>
                    <a:lnTo>
                      <a:pt x="34" y="6"/>
                    </a:lnTo>
                    <a:lnTo>
                      <a:pt x="14" y="26"/>
                    </a:lnTo>
                    <a:lnTo>
                      <a:pt x="22" y="34"/>
                    </a:lnTo>
                    <a:lnTo>
                      <a:pt x="41" y="16"/>
                    </a:lnTo>
                    <a:lnTo>
                      <a:pt x="47" y="22"/>
                    </a:lnTo>
                    <a:lnTo>
                      <a:pt x="28" y="39"/>
                    </a:lnTo>
                    <a:lnTo>
                      <a:pt x="38" y="50"/>
                    </a:lnTo>
                    <a:lnTo>
                      <a:pt x="58" y="30"/>
                    </a:lnTo>
                    <a:lnTo>
                      <a:pt x="64" y="36"/>
                    </a:lnTo>
                    <a:lnTo>
                      <a:pt x="36" y="6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162" name="íṩḻîde"/>
              <p:cNvSpPr/>
              <p:nvPr/>
            </p:nvSpPr>
            <p:spPr bwMode="auto">
              <a:xfrm>
                <a:off x="2985984" y="5801315"/>
                <a:ext cx="82550" cy="80963"/>
              </a:xfrm>
              <a:custGeom>
                <a:avLst/>
                <a:gdLst>
                  <a:gd name="T0" fmla="*/ 34 w 45"/>
                  <a:gd name="T1" fmla="*/ 19 h 44"/>
                  <a:gd name="T2" fmla="*/ 41 w 45"/>
                  <a:gd name="T3" fmla="*/ 14 h 44"/>
                  <a:gd name="T4" fmla="*/ 45 w 45"/>
                  <a:gd name="T5" fmla="*/ 26 h 44"/>
                  <a:gd name="T6" fmla="*/ 40 w 45"/>
                  <a:gd name="T7" fmla="*/ 37 h 44"/>
                  <a:gd name="T8" fmla="*/ 26 w 45"/>
                  <a:gd name="T9" fmla="*/ 44 h 44"/>
                  <a:gd name="T10" fmla="*/ 10 w 45"/>
                  <a:gd name="T11" fmla="*/ 38 h 44"/>
                  <a:gd name="T12" fmla="*/ 1 w 45"/>
                  <a:gd name="T13" fmla="*/ 22 h 44"/>
                  <a:gd name="T14" fmla="*/ 6 w 45"/>
                  <a:gd name="T15" fmla="*/ 7 h 44"/>
                  <a:gd name="T16" fmla="*/ 18 w 45"/>
                  <a:gd name="T17" fmla="*/ 0 h 44"/>
                  <a:gd name="T18" fmla="*/ 27 w 45"/>
                  <a:gd name="T19" fmla="*/ 2 h 44"/>
                  <a:gd name="T20" fmla="*/ 23 w 45"/>
                  <a:gd name="T21" fmla="*/ 10 h 44"/>
                  <a:gd name="T22" fmla="*/ 17 w 45"/>
                  <a:gd name="T23" fmla="*/ 9 h 44"/>
                  <a:gd name="T24" fmla="*/ 11 w 45"/>
                  <a:gd name="T25" fmla="*/ 12 h 44"/>
                  <a:gd name="T26" fmla="*/ 9 w 45"/>
                  <a:gd name="T27" fmla="*/ 21 h 44"/>
                  <a:gd name="T28" fmla="*/ 15 w 45"/>
                  <a:gd name="T29" fmla="*/ 30 h 44"/>
                  <a:gd name="T30" fmla="*/ 26 w 45"/>
                  <a:gd name="T31" fmla="*/ 36 h 44"/>
                  <a:gd name="T32" fmla="*/ 34 w 45"/>
                  <a:gd name="T33" fmla="*/ 32 h 44"/>
                  <a:gd name="T34" fmla="*/ 36 w 45"/>
                  <a:gd name="T35" fmla="*/ 26 h 44"/>
                  <a:gd name="T36" fmla="*/ 34 w 45"/>
                  <a:gd name="T37" fmla="*/ 19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45" h="44">
                    <a:moveTo>
                      <a:pt x="34" y="19"/>
                    </a:moveTo>
                    <a:cubicBezTo>
                      <a:pt x="41" y="14"/>
                      <a:pt x="41" y="14"/>
                      <a:pt x="41" y="14"/>
                    </a:cubicBezTo>
                    <a:cubicBezTo>
                      <a:pt x="44" y="18"/>
                      <a:pt x="45" y="22"/>
                      <a:pt x="45" y="26"/>
                    </a:cubicBezTo>
                    <a:cubicBezTo>
                      <a:pt x="45" y="30"/>
                      <a:pt x="43" y="34"/>
                      <a:pt x="40" y="37"/>
                    </a:cubicBezTo>
                    <a:cubicBezTo>
                      <a:pt x="36" y="42"/>
                      <a:pt x="31" y="44"/>
                      <a:pt x="26" y="44"/>
                    </a:cubicBezTo>
                    <a:cubicBezTo>
                      <a:pt x="21" y="44"/>
                      <a:pt x="15" y="42"/>
                      <a:pt x="10" y="38"/>
                    </a:cubicBezTo>
                    <a:cubicBezTo>
                      <a:pt x="4" y="33"/>
                      <a:pt x="1" y="28"/>
                      <a:pt x="1" y="22"/>
                    </a:cubicBezTo>
                    <a:cubicBezTo>
                      <a:pt x="0" y="17"/>
                      <a:pt x="2" y="12"/>
                      <a:pt x="6" y="7"/>
                    </a:cubicBezTo>
                    <a:cubicBezTo>
                      <a:pt x="10" y="3"/>
                      <a:pt x="14" y="1"/>
                      <a:pt x="18" y="0"/>
                    </a:cubicBezTo>
                    <a:cubicBezTo>
                      <a:pt x="21" y="0"/>
                      <a:pt x="24" y="1"/>
                      <a:pt x="27" y="2"/>
                    </a:cubicBezTo>
                    <a:cubicBezTo>
                      <a:pt x="23" y="10"/>
                      <a:pt x="23" y="10"/>
                      <a:pt x="23" y="10"/>
                    </a:cubicBezTo>
                    <a:cubicBezTo>
                      <a:pt x="21" y="9"/>
                      <a:pt x="19" y="9"/>
                      <a:pt x="17" y="9"/>
                    </a:cubicBezTo>
                    <a:cubicBezTo>
                      <a:pt x="15" y="9"/>
                      <a:pt x="13" y="11"/>
                      <a:pt x="11" y="12"/>
                    </a:cubicBezTo>
                    <a:cubicBezTo>
                      <a:pt x="9" y="15"/>
                      <a:pt x="8" y="18"/>
                      <a:pt x="9" y="21"/>
                    </a:cubicBezTo>
                    <a:cubicBezTo>
                      <a:pt x="9" y="24"/>
                      <a:pt x="12" y="27"/>
                      <a:pt x="15" y="30"/>
                    </a:cubicBezTo>
                    <a:cubicBezTo>
                      <a:pt x="20" y="34"/>
                      <a:pt x="23" y="36"/>
                      <a:pt x="26" y="36"/>
                    </a:cubicBezTo>
                    <a:cubicBezTo>
                      <a:pt x="29" y="36"/>
                      <a:pt x="32" y="35"/>
                      <a:pt x="34" y="32"/>
                    </a:cubicBezTo>
                    <a:cubicBezTo>
                      <a:pt x="36" y="31"/>
                      <a:pt x="36" y="29"/>
                      <a:pt x="36" y="26"/>
                    </a:cubicBezTo>
                    <a:cubicBezTo>
                      <a:pt x="36" y="24"/>
                      <a:pt x="35" y="22"/>
                      <a:pt x="34" y="1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163" name="îŝḷïḓê"/>
              <p:cNvSpPr/>
              <p:nvPr/>
            </p:nvSpPr>
            <p:spPr bwMode="auto">
              <a:xfrm>
                <a:off x="3022497" y="5733053"/>
                <a:ext cx="103188" cy="101600"/>
              </a:xfrm>
              <a:custGeom>
                <a:avLst/>
                <a:gdLst>
                  <a:gd name="T0" fmla="*/ 42 w 65"/>
                  <a:gd name="T1" fmla="*/ 64 h 64"/>
                  <a:gd name="T2" fmla="*/ 0 w 65"/>
                  <a:gd name="T3" fmla="*/ 34 h 64"/>
                  <a:gd name="T4" fmla="*/ 6 w 65"/>
                  <a:gd name="T5" fmla="*/ 26 h 64"/>
                  <a:gd name="T6" fmla="*/ 22 w 65"/>
                  <a:gd name="T7" fmla="*/ 37 h 64"/>
                  <a:gd name="T8" fmla="*/ 33 w 65"/>
                  <a:gd name="T9" fmla="*/ 21 h 64"/>
                  <a:gd name="T10" fmla="*/ 17 w 65"/>
                  <a:gd name="T11" fmla="*/ 9 h 64"/>
                  <a:gd name="T12" fmla="*/ 23 w 65"/>
                  <a:gd name="T13" fmla="*/ 0 h 64"/>
                  <a:gd name="T14" fmla="*/ 65 w 65"/>
                  <a:gd name="T15" fmla="*/ 30 h 64"/>
                  <a:gd name="T16" fmla="*/ 59 w 65"/>
                  <a:gd name="T17" fmla="*/ 38 h 64"/>
                  <a:gd name="T18" fmla="*/ 40 w 65"/>
                  <a:gd name="T19" fmla="*/ 26 h 64"/>
                  <a:gd name="T20" fmla="*/ 29 w 65"/>
                  <a:gd name="T21" fmla="*/ 42 h 64"/>
                  <a:gd name="T22" fmla="*/ 47 w 65"/>
                  <a:gd name="T23" fmla="*/ 55 h 64"/>
                  <a:gd name="T24" fmla="*/ 42 w 65"/>
                  <a:gd name="T25" fmla="*/ 64 h 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5" h="64">
                    <a:moveTo>
                      <a:pt x="42" y="64"/>
                    </a:moveTo>
                    <a:lnTo>
                      <a:pt x="0" y="34"/>
                    </a:lnTo>
                    <a:lnTo>
                      <a:pt x="6" y="26"/>
                    </a:lnTo>
                    <a:lnTo>
                      <a:pt x="22" y="37"/>
                    </a:lnTo>
                    <a:lnTo>
                      <a:pt x="33" y="21"/>
                    </a:lnTo>
                    <a:lnTo>
                      <a:pt x="17" y="9"/>
                    </a:lnTo>
                    <a:lnTo>
                      <a:pt x="23" y="0"/>
                    </a:lnTo>
                    <a:lnTo>
                      <a:pt x="65" y="30"/>
                    </a:lnTo>
                    <a:lnTo>
                      <a:pt x="59" y="38"/>
                    </a:lnTo>
                    <a:lnTo>
                      <a:pt x="40" y="26"/>
                    </a:lnTo>
                    <a:lnTo>
                      <a:pt x="29" y="42"/>
                    </a:lnTo>
                    <a:lnTo>
                      <a:pt x="47" y="55"/>
                    </a:lnTo>
                    <a:lnTo>
                      <a:pt x="42" y="6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164" name="îşḷîḑe"/>
              <p:cNvSpPr/>
              <p:nvPr/>
            </p:nvSpPr>
            <p:spPr bwMode="auto">
              <a:xfrm>
                <a:off x="3062184" y="5672728"/>
                <a:ext cx="103188" cy="95250"/>
              </a:xfrm>
              <a:custGeom>
                <a:avLst/>
                <a:gdLst>
                  <a:gd name="T0" fmla="*/ 44 w 65"/>
                  <a:gd name="T1" fmla="*/ 60 h 60"/>
                  <a:gd name="T2" fmla="*/ 0 w 65"/>
                  <a:gd name="T3" fmla="*/ 34 h 60"/>
                  <a:gd name="T4" fmla="*/ 5 w 65"/>
                  <a:gd name="T5" fmla="*/ 26 h 60"/>
                  <a:gd name="T6" fmla="*/ 46 w 65"/>
                  <a:gd name="T7" fmla="*/ 24 h 60"/>
                  <a:gd name="T8" fmla="*/ 15 w 65"/>
                  <a:gd name="T9" fmla="*/ 8 h 60"/>
                  <a:gd name="T10" fmla="*/ 20 w 65"/>
                  <a:gd name="T11" fmla="*/ 0 h 60"/>
                  <a:gd name="T12" fmla="*/ 65 w 65"/>
                  <a:gd name="T13" fmla="*/ 24 h 60"/>
                  <a:gd name="T14" fmla="*/ 59 w 65"/>
                  <a:gd name="T15" fmla="*/ 33 h 60"/>
                  <a:gd name="T16" fmla="*/ 20 w 65"/>
                  <a:gd name="T17" fmla="*/ 34 h 60"/>
                  <a:gd name="T18" fmla="*/ 49 w 65"/>
                  <a:gd name="T19" fmla="*/ 52 h 60"/>
                  <a:gd name="T20" fmla="*/ 44 w 65"/>
                  <a:gd name="T21" fmla="*/ 60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65" h="60">
                    <a:moveTo>
                      <a:pt x="44" y="60"/>
                    </a:moveTo>
                    <a:lnTo>
                      <a:pt x="0" y="34"/>
                    </a:lnTo>
                    <a:lnTo>
                      <a:pt x="5" y="26"/>
                    </a:lnTo>
                    <a:lnTo>
                      <a:pt x="46" y="24"/>
                    </a:lnTo>
                    <a:lnTo>
                      <a:pt x="15" y="8"/>
                    </a:lnTo>
                    <a:lnTo>
                      <a:pt x="20" y="0"/>
                    </a:lnTo>
                    <a:lnTo>
                      <a:pt x="65" y="24"/>
                    </a:lnTo>
                    <a:lnTo>
                      <a:pt x="59" y="33"/>
                    </a:lnTo>
                    <a:lnTo>
                      <a:pt x="20" y="34"/>
                    </a:lnTo>
                    <a:lnTo>
                      <a:pt x="49" y="52"/>
                    </a:lnTo>
                    <a:lnTo>
                      <a:pt x="44" y="6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165" name="îşḷïḋê"/>
              <p:cNvSpPr/>
              <p:nvPr/>
            </p:nvSpPr>
            <p:spPr bwMode="auto">
              <a:xfrm>
                <a:off x="3106634" y="5606053"/>
                <a:ext cx="87313" cy="84138"/>
              </a:xfrm>
              <a:custGeom>
                <a:avLst/>
                <a:gdLst>
                  <a:gd name="T0" fmla="*/ 15 w 47"/>
                  <a:gd name="T1" fmla="*/ 43 h 46"/>
                  <a:gd name="T2" fmla="*/ 5 w 47"/>
                  <a:gd name="T3" fmla="*/ 36 h 46"/>
                  <a:gd name="T4" fmla="*/ 2 w 47"/>
                  <a:gd name="T5" fmla="*/ 30 h 46"/>
                  <a:gd name="T6" fmla="*/ 0 w 47"/>
                  <a:gd name="T7" fmla="*/ 23 h 46"/>
                  <a:gd name="T8" fmla="*/ 2 w 47"/>
                  <a:gd name="T9" fmla="*/ 14 h 46"/>
                  <a:gd name="T10" fmla="*/ 14 w 47"/>
                  <a:gd name="T11" fmla="*/ 2 h 46"/>
                  <a:gd name="T12" fmla="*/ 32 w 47"/>
                  <a:gd name="T13" fmla="*/ 3 h 46"/>
                  <a:gd name="T14" fmla="*/ 45 w 47"/>
                  <a:gd name="T15" fmla="*/ 15 h 46"/>
                  <a:gd name="T16" fmla="*/ 44 w 47"/>
                  <a:gd name="T17" fmla="*/ 32 h 46"/>
                  <a:gd name="T18" fmla="*/ 32 w 47"/>
                  <a:gd name="T19" fmla="*/ 44 h 46"/>
                  <a:gd name="T20" fmla="*/ 15 w 47"/>
                  <a:gd name="T21" fmla="*/ 43 h 46"/>
                  <a:gd name="T22" fmla="*/ 18 w 47"/>
                  <a:gd name="T23" fmla="*/ 34 h 46"/>
                  <a:gd name="T24" fmla="*/ 30 w 47"/>
                  <a:gd name="T25" fmla="*/ 35 h 46"/>
                  <a:gd name="T26" fmla="*/ 37 w 47"/>
                  <a:gd name="T27" fmla="*/ 29 h 46"/>
                  <a:gd name="T28" fmla="*/ 37 w 47"/>
                  <a:gd name="T29" fmla="*/ 19 h 46"/>
                  <a:gd name="T30" fmla="*/ 28 w 47"/>
                  <a:gd name="T31" fmla="*/ 12 h 46"/>
                  <a:gd name="T32" fmla="*/ 16 w 47"/>
                  <a:gd name="T33" fmla="*/ 10 h 46"/>
                  <a:gd name="T34" fmla="*/ 9 w 47"/>
                  <a:gd name="T35" fmla="*/ 17 h 46"/>
                  <a:gd name="T36" fmla="*/ 9 w 47"/>
                  <a:gd name="T37" fmla="*/ 27 h 46"/>
                  <a:gd name="T38" fmla="*/ 18 w 47"/>
                  <a:gd name="T39" fmla="*/ 34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47" h="46">
                    <a:moveTo>
                      <a:pt x="15" y="43"/>
                    </a:moveTo>
                    <a:cubicBezTo>
                      <a:pt x="11" y="41"/>
                      <a:pt x="8" y="39"/>
                      <a:pt x="5" y="36"/>
                    </a:cubicBezTo>
                    <a:cubicBezTo>
                      <a:pt x="4" y="34"/>
                      <a:pt x="2" y="32"/>
                      <a:pt x="2" y="30"/>
                    </a:cubicBezTo>
                    <a:cubicBezTo>
                      <a:pt x="1" y="28"/>
                      <a:pt x="0" y="26"/>
                      <a:pt x="0" y="23"/>
                    </a:cubicBezTo>
                    <a:cubicBezTo>
                      <a:pt x="0" y="20"/>
                      <a:pt x="1" y="17"/>
                      <a:pt x="2" y="14"/>
                    </a:cubicBezTo>
                    <a:cubicBezTo>
                      <a:pt x="5" y="8"/>
                      <a:pt x="9" y="4"/>
                      <a:pt x="14" y="2"/>
                    </a:cubicBezTo>
                    <a:cubicBezTo>
                      <a:pt x="19" y="0"/>
                      <a:pt x="25" y="1"/>
                      <a:pt x="32" y="3"/>
                    </a:cubicBezTo>
                    <a:cubicBezTo>
                      <a:pt x="38" y="6"/>
                      <a:pt x="43" y="10"/>
                      <a:pt x="45" y="15"/>
                    </a:cubicBezTo>
                    <a:cubicBezTo>
                      <a:pt x="47" y="21"/>
                      <a:pt x="47" y="26"/>
                      <a:pt x="44" y="32"/>
                    </a:cubicBezTo>
                    <a:cubicBezTo>
                      <a:pt x="41" y="38"/>
                      <a:pt x="38" y="42"/>
                      <a:pt x="32" y="44"/>
                    </a:cubicBezTo>
                    <a:cubicBezTo>
                      <a:pt x="27" y="46"/>
                      <a:pt x="21" y="45"/>
                      <a:pt x="15" y="43"/>
                    </a:cubicBezTo>
                    <a:close/>
                    <a:moveTo>
                      <a:pt x="18" y="34"/>
                    </a:moveTo>
                    <a:cubicBezTo>
                      <a:pt x="23" y="36"/>
                      <a:pt x="27" y="37"/>
                      <a:pt x="30" y="35"/>
                    </a:cubicBezTo>
                    <a:cubicBezTo>
                      <a:pt x="33" y="34"/>
                      <a:pt x="36" y="32"/>
                      <a:pt x="37" y="29"/>
                    </a:cubicBezTo>
                    <a:cubicBezTo>
                      <a:pt x="39" y="26"/>
                      <a:pt x="39" y="23"/>
                      <a:pt x="37" y="19"/>
                    </a:cubicBezTo>
                    <a:cubicBezTo>
                      <a:pt x="36" y="16"/>
                      <a:pt x="33" y="14"/>
                      <a:pt x="28" y="12"/>
                    </a:cubicBezTo>
                    <a:cubicBezTo>
                      <a:pt x="23" y="10"/>
                      <a:pt x="19" y="9"/>
                      <a:pt x="16" y="10"/>
                    </a:cubicBezTo>
                    <a:cubicBezTo>
                      <a:pt x="13" y="11"/>
                      <a:pt x="11" y="14"/>
                      <a:pt x="9" y="17"/>
                    </a:cubicBezTo>
                    <a:cubicBezTo>
                      <a:pt x="8" y="20"/>
                      <a:pt x="8" y="23"/>
                      <a:pt x="9" y="27"/>
                    </a:cubicBezTo>
                    <a:cubicBezTo>
                      <a:pt x="11" y="30"/>
                      <a:pt x="14" y="32"/>
                      <a:pt x="18" y="3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166" name="îṣlïḍè"/>
              <p:cNvSpPr/>
              <p:nvPr/>
            </p:nvSpPr>
            <p:spPr bwMode="auto">
              <a:xfrm>
                <a:off x="3128859" y="5560015"/>
                <a:ext cx="93663" cy="57150"/>
              </a:xfrm>
              <a:custGeom>
                <a:avLst/>
                <a:gdLst>
                  <a:gd name="T0" fmla="*/ 49 w 59"/>
                  <a:gd name="T1" fmla="*/ 36 h 36"/>
                  <a:gd name="T2" fmla="*/ 0 w 59"/>
                  <a:gd name="T3" fmla="*/ 21 h 36"/>
                  <a:gd name="T4" fmla="*/ 4 w 59"/>
                  <a:gd name="T5" fmla="*/ 10 h 36"/>
                  <a:gd name="T6" fmla="*/ 43 w 59"/>
                  <a:gd name="T7" fmla="*/ 24 h 36"/>
                  <a:gd name="T8" fmla="*/ 51 w 59"/>
                  <a:gd name="T9" fmla="*/ 0 h 36"/>
                  <a:gd name="T10" fmla="*/ 59 w 59"/>
                  <a:gd name="T11" fmla="*/ 2 h 36"/>
                  <a:gd name="T12" fmla="*/ 49 w 59"/>
                  <a:gd name="T13" fmla="*/ 36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59" h="36">
                    <a:moveTo>
                      <a:pt x="49" y="36"/>
                    </a:moveTo>
                    <a:lnTo>
                      <a:pt x="0" y="21"/>
                    </a:lnTo>
                    <a:lnTo>
                      <a:pt x="4" y="10"/>
                    </a:lnTo>
                    <a:lnTo>
                      <a:pt x="43" y="24"/>
                    </a:lnTo>
                    <a:lnTo>
                      <a:pt x="51" y="0"/>
                    </a:lnTo>
                    <a:lnTo>
                      <a:pt x="59" y="2"/>
                    </a:lnTo>
                    <a:lnTo>
                      <a:pt x="49" y="36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167" name="ïṩḷîḓê"/>
              <p:cNvSpPr/>
              <p:nvPr/>
            </p:nvSpPr>
            <p:spPr bwMode="auto">
              <a:xfrm>
                <a:off x="3152672" y="5469528"/>
                <a:ext cx="85725" cy="80963"/>
              </a:xfrm>
              <a:custGeom>
                <a:avLst/>
                <a:gdLst>
                  <a:gd name="T0" fmla="*/ 18 w 46"/>
                  <a:gd name="T1" fmla="*/ 43 h 44"/>
                  <a:gd name="T2" fmla="*/ 8 w 46"/>
                  <a:gd name="T3" fmla="*/ 38 h 44"/>
                  <a:gd name="T4" fmla="*/ 3 w 46"/>
                  <a:gd name="T5" fmla="*/ 33 h 44"/>
                  <a:gd name="T6" fmla="*/ 0 w 46"/>
                  <a:gd name="T7" fmla="*/ 27 h 44"/>
                  <a:gd name="T8" fmla="*/ 1 w 46"/>
                  <a:gd name="T9" fmla="*/ 17 h 44"/>
                  <a:gd name="T10" fmla="*/ 10 w 46"/>
                  <a:gd name="T11" fmla="*/ 3 h 44"/>
                  <a:gd name="T12" fmla="*/ 28 w 46"/>
                  <a:gd name="T13" fmla="*/ 1 h 44"/>
                  <a:gd name="T14" fmla="*/ 43 w 46"/>
                  <a:gd name="T15" fmla="*/ 11 h 44"/>
                  <a:gd name="T16" fmla="*/ 45 w 46"/>
                  <a:gd name="T17" fmla="*/ 27 h 44"/>
                  <a:gd name="T18" fmla="*/ 36 w 46"/>
                  <a:gd name="T19" fmla="*/ 41 h 44"/>
                  <a:gd name="T20" fmla="*/ 18 w 46"/>
                  <a:gd name="T21" fmla="*/ 43 h 44"/>
                  <a:gd name="T22" fmla="*/ 20 w 46"/>
                  <a:gd name="T23" fmla="*/ 34 h 44"/>
                  <a:gd name="T24" fmla="*/ 32 w 46"/>
                  <a:gd name="T25" fmla="*/ 33 h 44"/>
                  <a:gd name="T26" fmla="*/ 38 w 46"/>
                  <a:gd name="T27" fmla="*/ 25 h 44"/>
                  <a:gd name="T28" fmla="*/ 36 w 46"/>
                  <a:gd name="T29" fmla="*/ 16 h 44"/>
                  <a:gd name="T30" fmla="*/ 25 w 46"/>
                  <a:gd name="T31" fmla="*/ 10 h 44"/>
                  <a:gd name="T32" fmla="*/ 14 w 46"/>
                  <a:gd name="T33" fmla="*/ 11 h 44"/>
                  <a:gd name="T34" fmla="*/ 8 w 46"/>
                  <a:gd name="T35" fmla="*/ 19 h 44"/>
                  <a:gd name="T36" fmla="*/ 10 w 46"/>
                  <a:gd name="T37" fmla="*/ 28 h 44"/>
                  <a:gd name="T38" fmla="*/ 20 w 46"/>
                  <a:gd name="T39" fmla="*/ 34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46" h="44">
                    <a:moveTo>
                      <a:pt x="18" y="43"/>
                    </a:moveTo>
                    <a:cubicBezTo>
                      <a:pt x="14" y="42"/>
                      <a:pt x="10" y="40"/>
                      <a:pt x="8" y="38"/>
                    </a:cubicBezTo>
                    <a:cubicBezTo>
                      <a:pt x="6" y="37"/>
                      <a:pt x="4" y="35"/>
                      <a:pt x="3" y="33"/>
                    </a:cubicBezTo>
                    <a:cubicBezTo>
                      <a:pt x="1" y="31"/>
                      <a:pt x="1" y="29"/>
                      <a:pt x="0" y="27"/>
                    </a:cubicBezTo>
                    <a:cubicBezTo>
                      <a:pt x="0" y="24"/>
                      <a:pt x="0" y="21"/>
                      <a:pt x="1" y="17"/>
                    </a:cubicBezTo>
                    <a:cubicBezTo>
                      <a:pt x="2" y="11"/>
                      <a:pt x="5" y="6"/>
                      <a:pt x="10" y="3"/>
                    </a:cubicBezTo>
                    <a:cubicBezTo>
                      <a:pt x="15" y="0"/>
                      <a:pt x="21" y="0"/>
                      <a:pt x="28" y="1"/>
                    </a:cubicBezTo>
                    <a:cubicBezTo>
                      <a:pt x="34" y="3"/>
                      <a:pt x="39" y="6"/>
                      <a:pt x="43" y="11"/>
                    </a:cubicBezTo>
                    <a:cubicBezTo>
                      <a:pt x="46" y="15"/>
                      <a:pt x="46" y="21"/>
                      <a:pt x="45" y="27"/>
                    </a:cubicBezTo>
                    <a:cubicBezTo>
                      <a:pt x="44" y="33"/>
                      <a:pt x="40" y="38"/>
                      <a:pt x="36" y="41"/>
                    </a:cubicBezTo>
                    <a:cubicBezTo>
                      <a:pt x="31" y="44"/>
                      <a:pt x="25" y="44"/>
                      <a:pt x="18" y="43"/>
                    </a:cubicBezTo>
                    <a:close/>
                    <a:moveTo>
                      <a:pt x="20" y="34"/>
                    </a:moveTo>
                    <a:cubicBezTo>
                      <a:pt x="25" y="35"/>
                      <a:pt x="29" y="35"/>
                      <a:pt x="32" y="33"/>
                    </a:cubicBezTo>
                    <a:cubicBezTo>
                      <a:pt x="35" y="31"/>
                      <a:pt x="37" y="29"/>
                      <a:pt x="38" y="25"/>
                    </a:cubicBezTo>
                    <a:cubicBezTo>
                      <a:pt x="38" y="22"/>
                      <a:pt x="38" y="19"/>
                      <a:pt x="36" y="16"/>
                    </a:cubicBezTo>
                    <a:cubicBezTo>
                      <a:pt x="34" y="13"/>
                      <a:pt x="30" y="11"/>
                      <a:pt x="25" y="10"/>
                    </a:cubicBezTo>
                    <a:cubicBezTo>
                      <a:pt x="20" y="9"/>
                      <a:pt x="16" y="9"/>
                      <a:pt x="14" y="11"/>
                    </a:cubicBezTo>
                    <a:cubicBezTo>
                      <a:pt x="11" y="13"/>
                      <a:pt x="9" y="15"/>
                      <a:pt x="8" y="19"/>
                    </a:cubicBezTo>
                    <a:cubicBezTo>
                      <a:pt x="7" y="22"/>
                      <a:pt x="8" y="25"/>
                      <a:pt x="10" y="28"/>
                    </a:cubicBezTo>
                    <a:cubicBezTo>
                      <a:pt x="12" y="31"/>
                      <a:pt x="15" y="33"/>
                      <a:pt x="20" y="3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168" name="ïSļiďé"/>
              <p:cNvSpPr/>
              <p:nvPr/>
            </p:nvSpPr>
            <p:spPr bwMode="auto">
              <a:xfrm>
                <a:off x="3165372" y="5390153"/>
                <a:ext cx="85725" cy="77788"/>
              </a:xfrm>
              <a:custGeom>
                <a:avLst/>
                <a:gdLst>
                  <a:gd name="T0" fmla="*/ 29 w 46"/>
                  <a:gd name="T1" fmla="*/ 21 h 42"/>
                  <a:gd name="T2" fmla="*/ 22 w 46"/>
                  <a:gd name="T3" fmla="*/ 20 h 42"/>
                  <a:gd name="T4" fmla="*/ 24 w 46"/>
                  <a:gd name="T5" fmla="*/ 1 h 42"/>
                  <a:gd name="T6" fmla="*/ 41 w 46"/>
                  <a:gd name="T7" fmla="*/ 3 h 42"/>
                  <a:gd name="T8" fmla="*/ 45 w 46"/>
                  <a:gd name="T9" fmla="*/ 11 h 42"/>
                  <a:gd name="T10" fmla="*/ 46 w 46"/>
                  <a:gd name="T11" fmla="*/ 22 h 42"/>
                  <a:gd name="T12" fmla="*/ 42 w 46"/>
                  <a:gd name="T13" fmla="*/ 34 h 42"/>
                  <a:gd name="T14" fmla="*/ 33 w 46"/>
                  <a:gd name="T15" fmla="*/ 41 h 42"/>
                  <a:gd name="T16" fmla="*/ 21 w 46"/>
                  <a:gd name="T17" fmla="*/ 42 h 42"/>
                  <a:gd name="T18" fmla="*/ 9 w 46"/>
                  <a:gd name="T19" fmla="*/ 38 h 42"/>
                  <a:gd name="T20" fmla="*/ 2 w 46"/>
                  <a:gd name="T21" fmla="*/ 28 h 42"/>
                  <a:gd name="T22" fmla="*/ 1 w 46"/>
                  <a:gd name="T23" fmla="*/ 18 h 42"/>
                  <a:gd name="T24" fmla="*/ 6 w 46"/>
                  <a:gd name="T25" fmla="*/ 5 h 42"/>
                  <a:gd name="T26" fmla="*/ 16 w 46"/>
                  <a:gd name="T27" fmla="*/ 0 h 42"/>
                  <a:gd name="T28" fmla="*/ 16 w 46"/>
                  <a:gd name="T29" fmla="*/ 9 h 42"/>
                  <a:gd name="T30" fmla="*/ 11 w 46"/>
                  <a:gd name="T31" fmla="*/ 12 h 42"/>
                  <a:gd name="T32" fmla="*/ 8 w 46"/>
                  <a:gd name="T33" fmla="*/ 18 h 42"/>
                  <a:gd name="T34" fmla="*/ 11 w 46"/>
                  <a:gd name="T35" fmla="*/ 28 h 42"/>
                  <a:gd name="T36" fmla="*/ 21 w 46"/>
                  <a:gd name="T37" fmla="*/ 33 h 42"/>
                  <a:gd name="T38" fmla="*/ 34 w 46"/>
                  <a:gd name="T39" fmla="*/ 31 h 42"/>
                  <a:gd name="T40" fmla="*/ 38 w 46"/>
                  <a:gd name="T41" fmla="*/ 22 h 42"/>
                  <a:gd name="T42" fmla="*/ 38 w 46"/>
                  <a:gd name="T43" fmla="*/ 16 h 42"/>
                  <a:gd name="T44" fmla="*/ 36 w 46"/>
                  <a:gd name="T45" fmla="*/ 11 h 42"/>
                  <a:gd name="T46" fmla="*/ 30 w 46"/>
                  <a:gd name="T47" fmla="*/ 11 h 42"/>
                  <a:gd name="T48" fmla="*/ 29 w 46"/>
                  <a:gd name="T49" fmla="*/ 21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46" h="42">
                    <a:moveTo>
                      <a:pt x="29" y="21"/>
                    </a:moveTo>
                    <a:cubicBezTo>
                      <a:pt x="22" y="20"/>
                      <a:pt x="22" y="20"/>
                      <a:pt x="22" y="20"/>
                    </a:cubicBezTo>
                    <a:cubicBezTo>
                      <a:pt x="24" y="1"/>
                      <a:pt x="24" y="1"/>
                      <a:pt x="24" y="1"/>
                    </a:cubicBezTo>
                    <a:cubicBezTo>
                      <a:pt x="41" y="3"/>
                      <a:pt x="41" y="3"/>
                      <a:pt x="41" y="3"/>
                    </a:cubicBezTo>
                    <a:cubicBezTo>
                      <a:pt x="43" y="5"/>
                      <a:pt x="44" y="8"/>
                      <a:pt x="45" y="11"/>
                    </a:cubicBezTo>
                    <a:cubicBezTo>
                      <a:pt x="46" y="15"/>
                      <a:pt x="46" y="19"/>
                      <a:pt x="46" y="22"/>
                    </a:cubicBezTo>
                    <a:cubicBezTo>
                      <a:pt x="46" y="27"/>
                      <a:pt x="44" y="31"/>
                      <a:pt x="42" y="34"/>
                    </a:cubicBezTo>
                    <a:cubicBezTo>
                      <a:pt x="39" y="37"/>
                      <a:pt x="36" y="39"/>
                      <a:pt x="33" y="41"/>
                    </a:cubicBezTo>
                    <a:cubicBezTo>
                      <a:pt x="29" y="42"/>
                      <a:pt x="25" y="42"/>
                      <a:pt x="21" y="42"/>
                    </a:cubicBezTo>
                    <a:cubicBezTo>
                      <a:pt x="16" y="41"/>
                      <a:pt x="12" y="40"/>
                      <a:pt x="9" y="38"/>
                    </a:cubicBezTo>
                    <a:cubicBezTo>
                      <a:pt x="6" y="35"/>
                      <a:pt x="3" y="32"/>
                      <a:pt x="2" y="28"/>
                    </a:cubicBezTo>
                    <a:cubicBezTo>
                      <a:pt x="1" y="25"/>
                      <a:pt x="0" y="22"/>
                      <a:pt x="1" y="18"/>
                    </a:cubicBezTo>
                    <a:cubicBezTo>
                      <a:pt x="1" y="12"/>
                      <a:pt x="3" y="8"/>
                      <a:pt x="6" y="5"/>
                    </a:cubicBezTo>
                    <a:cubicBezTo>
                      <a:pt x="8" y="2"/>
                      <a:pt x="12" y="1"/>
                      <a:pt x="16" y="0"/>
                    </a:cubicBezTo>
                    <a:cubicBezTo>
                      <a:pt x="16" y="9"/>
                      <a:pt x="16" y="9"/>
                      <a:pt x="16" y="9"/>
                    </a:cubicBezTo>
                    <a:cubicBezTo>
                      <a:pt x="14" y="10"/>
                      <a:pt x="12" y="11"/>
                      <a:pt x="11" y="12"/>
                    </a:cubicBezTo>
                    <a:cubicBezTo>
                      <a:pt x="10" y="14"/>
                      <a:pt x="9" y="16"/>
                      <a:pt x="8" y="18"/>
                    </a:cubicBezTo>
                    <a:cubicBezTo>
                      <a:pt x="8" y="22"/>
                      <a:pt x="9" y="25"/>
                      <a:pt x="11" y="28"/>
                    </a:cubicBezTo>
                    <a:cubicBezTo>
                      <a:pt x="13" y="31"/>
                      <a:pt x="17" y="32"/>
                      <a:pt x="21" y="33"/>
                    </a:cubicBezTo>
                    <a:cubicBezTo>
                      <a:pt x="27" y="33"/>
                      <a:pt x="31" y="33"/>
                      <a:pt x="34" y="31"/>
                    </a:cubicBezTo>
                    <a:cubicBezTo>
                      <a:pt x="36" y="29"/>
                      <a:pt x="38" y="26"/>
                      <a:pt x="38" y="22"/>
                    </a:cubicBezTo>
                    <a:cubicBezTo>
                      <a:pt x="39" y="20"/>
                      <a:pt x="39" y="18"/>
                      <a:pt x="38" y="16"/>
                    </a:cubicBezTo>
                    <a:cubicBezTo>
                      <a:pt x="37" y="14"/>
                      <a:pt x="37" y="13"/>
                      <a:pt x="36" y="11"/>
                    </a:cubicBezTo>
                    <a:cubicBezTo>
                      <a:pt x="30" y="11"/>
                      <a:pt x="30" y="11"/>
                      <a:pt x="30" y="11"/>
                    </a:cubicBezTo>
                    <a:lnTo>
                      <a:pt x="29" y="2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169" name="îSḷiḋè"/>
              <p:cNvSpPr/>
              <p:nvPr/>
            </p:nvSpPr>
            <p:spPr bwMode="auto">
              <a:xfrm>
                <a:off x="3173309" y="5313953"/>
                <a:ext cx="80963" cy="76200"/>
              </a:xfrm>
              <a:custGeom>
                <a:avLst/>
                <a:gdLst>
                  <a:gd name="T0" fmla="*/ 51 w 51"/>
                  <a:gd name="T1" fmla="*/ 30 h 48"/>
                  <a:gd name="T2" fmla="*/ 29 w 51"/>
                  <a:gd name="T3" fmla="*/ 29 h 48"/>
                  <a:gd name="T4" fmla="*/ 0 w 51"/>
                  <a:gd name="T5" fmla="*/ 48 h 48"/>
                  <a:gd name="T6" fmla="*/ 0 w 51"/>
                  <a:gd name="T7" fmla="*/ 36 h 48"/>
                  <a:gd name="T8" fmla="*/ 20 w 51"/>
                  <a:gd name="T9" fmla="*/ 24 h 48"/>
                  <a:gd name="T10" fmla="*/ 0 w 51"/>
                  <a:gd name="T11" fmla="*/ 12 h 48"/>
                  <a:gd name="T12" fmla="*/ 0 w 51"/>
                  <a:gd name="T13" fmla="*/ 0 h 48"/>
                  <a:gd name="T14" fmla="*/ 30 w 51"/>
                  <a:gd name="T15" fmla="*/ 20 h 48"/>
                  <a:gd name="T16" fmla="*/ 51 w 51"/>
                  <a:gd name="T17" fmla="*/ 20 h 48"/>
                  <a:gd name="T18" fmla="*/ 51 w 51"/>
                  <a:gd name="T19" fmla="*/ 30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51" h="48">
                    <a:moveTo>
                      <a:pt x="51" y="30"/>
                    </a:moveTo>
                    <a:lnTo>
                      <a:pt x="29" y="29"/>
                    </a:lnTo>
                    <a:lnTo>
                      <a:pt x="0" y="48"/>
                    </a:lnTo>
                    <a:lnTo>
                      <a:pt x="0" y="36"/>
                    </a:lnTo>
                    <a:lnTo>
                      <a:pt x="20" y="24"/>
                    </a:lnTo>
                    <a:lnTo>
                      <a:pt x="0" y="12"/>
                    </a:lnTo>
                    <a:lnTo>
                      <a:pt x="0" y="0"/>
                    </a:lnTo>
                    <a:lnTo>
                      <a:pt x="30" y="20"/>
                    </a:lnTo>
                    <a:lnTo>
                      <a:pt x="51" y="20"/>
                    </a:lnTo>
                    <a:lnTo>
                      <a:pt x="51" y="3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170" name="îṣḷíḋé"/>
              <p:cNvSpPr/>
              <p:nvPr/>
            </p:nvSpPr>
            <p:spPr bwMode="auto">
              <a:xfrm>
                <a:off x="3163784" y="5193303"/>
                <a:ext cx="87313" cy="76200"/>
              </a:xfrm>
              <a:custGeom>
                <a:avLst/>
                <a:gdLst>
                  <a:gd name="T0" fmla="*/ 4 w 47"/>
                  <a:gd name="T1" fmla="*/ 41 h 41"/>
                  <a:gd name="T2" fmla="*/ 1 w 47"/>
                  <a:gd name="T3" fmla="*/ 24 h 41"/>
                  <a:gd name="T4" fmla="*/ 0 w 47"/>
                  <a:gd name="T5" fmla="*/ 16 h 41"/>
                  <a:gd name="T6" fmla="*/ 2 w 47"/>
                  <a:gd name="T7" fmla="*/ 11 h 41"/>
                  <a:gd name="T8" fmla="*/ 5 w 47"/>
                  <a:gd name="T9" fmla="*/ 7 h 41"/>
                  <a:gd name="T10" fmla="*/ 10 w 47"/>
                  <a:gd name="T11" fmla="*/ 5 h 41"/>
                  <a:gd name="T12" fmla="*/ 16 w 47"/>
                  <a:gd name="T13" fmla="*/ 6 h 41"/>
                  <a:gd name="T14" fmla="*/ 20 w 47"/>
                  <a:gd name="T15" fmla="*/ 10 h 41"/>
                  <a:gd name="T16" fmla="*/ 23 w 47"/>
                  <a:gd name="T17" fmla="*/ 3 h 41"/>
                  <a:gd name="T18" fmla="*/ 29 w 47"/>
                  <a:gd name="T19" fmla="*/ 0 h 41"/>
                  <a:gd name="T20" fmla="*/ 35 w 47"/>
                  <a:gd name="T21" fmla="*/ 1 h 41"/>
                  <a:gd name="T22" fmla="*/ 40 w 47"/>
                  <a:gd name="T23" fmla="*/ 4 h 41"/>
                  <a:gd name="T24" fmla="*/ 43 w 47"/>
                  <a:gd name="T25" fmla="*/ 10 h 41"/>
                  <a:gd name="T26" fmla="*/ 45 w 47"/>
                  <a:gd name="T27" fmla="*/ 20 h 41"/>
                  <a:gd name="T28" fmla="*/ 47 w 47"/>
                  <a:gd name="T29" fmla="*/ 35 h 41"/>
                  <a:gd name="T30" fmla="*/ 4 w 47"/>
                  <a:gd name="T31" fmla="*/ 41 h 41"/>
                  <a:gd name="T32" fmla="*/ 10 w 47"/>
                  <a:gd name="T33" fmla="*/ 31 h 41"/>
                  <a:gd name="T34" fmla="*/ 20 w 47"/>
                  <a:gd name="T35" fmla="*/ 30 h 41"/>
                  <a:gd name="T36" fmla="*/ 19 w 47"/>
                  <a:gd name="T37" fmla="*/ 24 h 41"/>
                  <a:gd name="T38" fmla="*/ 18 w 47"/>
                  <a:gd name="T39" fmla="*/ 18 h 41"/>
                  <a:gd name="T40" fmla="*/ 16 w 47"/>
                  <a:gd name="T41" fmla="*/ 15 h 41"/>
                  <a:gd name="T42" fmla="*/ 12 w 47"/>
                  <a:gd name="T43" fmla="*/ 14 h 41"/>
                  <a:gd name="T44" fmla="*/ 9 w 47"/>
                  <a:gd name="T45" fmla="*/ 15 h 41"/>
                  <a:gd name="T46" fmla="*/ 8 w 47"/>
                  <a:gd name="T47" fmla="*/ 19 h 41"/>
                  <a:gd name="T48" fmla="*/ 9 w 47"/>
                  <a:gd name="T49" fmla="*/ 26 h 41"/>
                  <a:gd name="T50" fmla="*/ 10 w 47"/>
                  <a:gd name="T51" fmla="*/ 31 h 41"/>
                  <a:gd name="T52" fmla="*/ 27 w 47"/>
                  <a:gd name="T53" fmla="*/ 29 h 41"/>
                  <a:gd name="T54" fmla="*/ 39 w 47"/>
                  <a:gd name="T55" fmla="*/ 27 h 41"/>
                  <a:gd name="T56" fmla="*/ 37 w 47"/>
                  <a:gd name="T57" fmla="*/ 19 h 41"/>
                  <a:gd name="T58" fmla="*/ 36 w 47"/>
                  <a:gd name="T59" fmla="*/ 13 h 41"/>
                  <a:gd name="T60" fmla="*/ 34 w 47"/>
                  <a:gd name="T61" fmla="*/ 10 h 41"/>
                  <a:gd name="T62" fmla="*/ 30 w 47"/>
                  <a:gd name="T63" fmla="*/ 10 h 41"/>
                  <a:gd name="T64" fmla="*/ 27 w 47"/>
                  <a:gd name="T65" fmla="*/ 11 h 41"/>
                  <a:gd name="T66" fmla="*/ 25 w 47"/>
                  <a:gd name="T67" fmla="*/ 14 h 41"/>
                  <a:gd name="T68" fmla="*/ 26 w 47"/>
                  <a:gd name="T69" fmla="*/ 22 h 41"/>
                  <a:gd name="T70" fmla="*/ 27 w 47"/>
                  <a:gd name="T71" fmla="*/ 29 h 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47" h="41">
                    <a:moveTo>
                      <a:pt x="4" y="41"/>
                    </a:moveTo>
                    <a:cubicBezTo>
                      <a:pt x="1" y="24"/>
                      <a:pt x="1" y="24"/>
                      <a:pt x="1" y="24"/>
                    </a:cubicBezTo>
                    <a:cubicBezTo>
                      <a:pt x="1" y="20"/>
                      <a:pt x="0" y="18"/>
                      <a:pt x="0" y="16"/>
                    </a:cubicBezTo>
                    <a:cubicBezTo>
                      <a:pt x="1" y="14"/>
                      <a:pt x="1" y="13"/>
                      <a:pt x="2" y="11"/>
                    </a:cubicBezTo>
                    <a:cubicBezTo>
                      <a:pt x="2" y="10"/>
                      <a:pt x="3" y="9"/>
                      <a:pt x="5" y="7"/>
                    </a:cubicBezTo>
                    <a:cubicBezTo>
                      <a:pt x="6" y="6"/>
                      <a:pt x="8" y="6"/>
                      <a:pt x="10" y="5"/>
                    </a:cubicBezTo>
                    <a:cubicBezTo>
                      <a:pt x="12" y="5"/>
                      <a:pt x="14" y="5"/>
                      <a:pt x="16" y="6"/>
                    </a:cubicBezTo>
                    <a:cubicBezTo>
                      <a:pt x="17" y="7"/>
                      <a:pt x="19" y="8"/>
                      <a:pt x="20" y="10"/>
                    </a:cubicBezTo>
                    <a:cubicBezTo>
                      <a:pt x="20" y="7"/>
                      <a:pt x="21" y="5"/>
                      <a:pt x="23" y="3"/>
                    </a:cubicBezTo>
                    <a:cubicBezTo>
                      <a:pt x="25" y="2"/>
                      <a:pt x="27" y="1"/>
                      <a:pt x="29" y="0"/>
                    </a:cubicBezTo>
                    <a:cubicBezTo>
                      <a:pt x="31" y="0"/>
                      <a:pt x="33" y="0"/>
                      <a:pt x="35" y="1"/>
                    </a:cubicBezTo>
                    <a:cubicBezTo>
                      <a:pt x="37" y="2"/>
                      <a:pt x="39" y="3"/>
                      <a:pt x="40" y="4"/>
                    </a:cubicBezTo>
                    <a:cubicBezTo>
                      <a:pt x="42" y="5"/>
                      <a:pt x="43" y="7"/>
                      <a:pt x="43" y="10"/>
                    </a:cubicBezTo>
                    <a:cubicBezTo>
                      <a:pt x="44" y="11"/>
                      <a:pt x="44" y="15"/>
                      <a:pt x="45" y="20"/>
                    </a:cubicBezTo>
                    <a:cubicBezTo>
                      <a:pt x="47" y="35"/>
                      <a:pt x="47" y="35"/>
                      <a:pt x="47" y="35"/>
                    </a:cubicBezTo>
                    <a:lnTo>
                      <a:pt x="4" y="41"/>
                    </a:lnTo>
                    <a:close/>
                    <a:moveTo>
                      <a:pt x="10" y="31"/>
                    </a:moveTo>
                    <a:cubicBezTo>
                      <a:pt x="20" y="30"/>
                      <a:pt x="20" y="30"/>
                      <a:pt x="20" y="30"/>
                    </a:cubicBezTo>
                    <a:cubicBezTo>
                      <a:pt x="19" y="24"/>
                      <a:pt x="19" y="24"/>
                      <a:pt x="19" y="24"/>
                    </a:cubicBezTo>
                    <a:cubicBezTo>
                      <a:pt x="18" y="21"/>
                      <a:pt x="18" y="19"/>
                      <a:pt x="18" y="18"/>
                    </a:cubicBezTo>
                    <a:cubicBezTo>
                      <a:pt x="17" y="16"/>
                      <a:pt x="17" y="15"/>
                      <a:pt x="16" y="15"/>
                    </a:cubicBezTo>
                    <a:cubicBezTo>
                      <a:pt x="15" y="14"/>
                      <a:pt x="14" y="14"/>
                      <a:pt x="12" y="14"/>
                    </a:cubicBezTo>
                    <a:cubicBezTo>
                      <a:pt x="11" y="14"/>
                      <a:pt x="10" y="14"/>
                      <a:pt x="9" y="15"/>
                    </a:cubicBezTo>
                    <a:cubicBezTo>
                      <a:pt x="8" y="16"/>
                      <a:pt x="8" y="17"/>
                      <a:pt x="8" y="19"/>
                    </a:cubicBezTo>
                    <a:cubicBezTo>
                      <a:pt x="8" y="20"/>
                      <a:pt x="8" y="22"/>
                      <a:pt x="9" y="26"/>
                    </a:cubicBezTo>
                    <a:lnTo>
                      <a:pt x="10" y="31"/>
                    </a:lnTo>
                    <a:close/>
                    <a:moveTo>
                      <a:pt x="27" y="29"/>
                    </a:moveTo>
                    <a:cubicBezTo>
                      <a:pt x="39" y="27"/>
                      <a:pt x="39" y="27"/>
                      <a:pt x="39" y="27"/>
                    </a:cubicBezTo>
                    <a:cubicBezTo>
                      <a:pt x="37" y="19"/>
                      <a:pt x="37" y="19"/>
                      <a:pt x="37" y="19"/>
                    </a:cubicBezTo>
                    <a:cubicBezTo>
                      <a:pt x="37" y="16"/>
                      <a:pt x="37" y="14"/>
                      <a:pt x="36" y="13"/>
                    </a:cubicBezTo>
                    <a:cubicBezTo>
                      <a:pt x="36" y="12"/>
                      <a:pt x="35" y="11"/>
                      <a:pt x="34" y="10"/>
                    </a:cubicBezTo>
                    <a:cubicBezTo>
                      <a:pt x="33" y="10"/>
                      <a:pt x="32" y="9"/>
                      <a:pt x="30" y="10"/>
                    </a:cubicBezTo>
                    <a:cubicBezTo>
                      <a:pt x="29" y="10"/>
                      <a:pt x="28" y="10"/>
                      <a:pt x="27" y="11"/>
                    </a:cubicBezTo>
                    <a:cubicBezTo>
                      <a:pt x="26" y="12"/>
                      <a:pt x="26" y="13"/>
                      <a:pt x="25" y="14"/>
                    </a:cubicBezTo>
                    <a:cubicBezTo>
                      <a:pt x="25" y="15"/>
                      <a:pt x="25" y="18"/>
                      <a:pt x="26" y="22"/>
                    </a:cubicBezTo>
                    <a:lnTo>
                      <a:pt x="27" y="2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171" name="îṩliďè"/>
              <p:cNvSpPr/>
              <p:nvPr/>
            </p:nvSpPr>
            <p:spPr bwMode="auto">
              <a:xfrm>
                <a:off x="3146322" y="5120278"/>
                <a:ext cx="93663" cy="79375"/>
              </a:xfrm>
              <a:custGeom>
                <a:avLst/>
                <a:gdLst>
                  <a:gd name="T0" fmla="*/ 59 w 59"/>
                  <a:gd name="T1" fmla="*/ 37 h 50"/>
                  <a:gd name="T2" fmla="*/ 9 w 59"/>
                  <a:gd name="T3" fmla="*/ 50 h 50"/>
                  <a:gd name="T4" fmla="*/ 0 w 59"/>
                  <a:gd name="T5" fmla="*/ 13 h 50"/>
                  <a:gd name="T6" fmla="*/ 8 w 59"/>
                  <a:gd name="T7" fmla="*/ 10 h 50"/>
                  <a:gd name="T8" fmla="*/ 15 w 59"/>
                  <a:gd name="T9" fmla="*/ 37 h 50"/>
                  <a:gd name="T10" fmla="*/ 25 w 59"/>
                  <a:gd name="T11" fmla="*/ 35 h 50"/>
                  <a:gd name="T12" fmla="*/ 19 w 59"/>
                  <a:gd name="T13" fmla="*/ 9 h 50"/>
                  <a:gd name="T14" fmla="*/ 27 w 59"/>
                  <a:gd name="T15" fmla="*/ 8 h 50"/>
                  <a:gd name="T16" fmla="*/ 34 w 59"/>
                  <a:gd name="T17" fmla="*/ 32 h 50"/>
                  <a:gd name="T18" fmla="*/ 47 w 59"/>
                  <a:gd name="T19" fmla="*/ 29 h 50"/>
                  <a:gd name="T20" fmla="*/ 40 w 59"/>
                  <a:gd name="T21" fmla="*/ 1 h 50"/>
                  <a:gd name="T22" fmla="*/ 49 w 59"/>
                  <a:gd name="T23" fmla="*/ 0 h 50"/>
                  <a:gd name="T24" fmla="*/ 59 w 59"/>
                  <a:gd name="T25" fmla="*/ 37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59" h="50">
                    <a:moveTo>
                      <a:pt x="59" y="37"/>
                    </a:moveTo>
                    <a:lnTo>
                      <a:pt x="9" y="50"/>
                    </a:lnTo>
                    <a:lnTo>
                      <a:pt x="0" y="13"/>
                    </a:lnTo>
                    <a:lnTo>
                      <a:pt x="8" y="10"/>
                    </a:lnTo>
                    <a:lnTo>
                      <a:pt x="15" y="37"/>
                    </a:lnTo>
                    <a:lnTo>
                      <a:pt x="25" y="35"/>
                    </a:lnTo>
                    <a:lnTo>
                      <a:pt x="19" y="9"/>
                    </a:lnTo>
                    <a:lnTo>
                      <a:pt x="27" y="8"/>
                    </a:lnTo>
                    <a:lnTo>
                      <a:pt x="34" y="32"/>
                    </a:lnTo>
                    <a:lnTo>
                      <a:pt x="47" y="29"/>
                    </a:lnTo>
                    <a:lnTo>
                      <a:pt x="40" y="1"/>
                    </a:lnTo>
                    <a:lnTo>
                      <a:pt x="49" y="0"/>
                    </a:lnTo>
                    <a:lnTo>
                      <a:pt x="59" y="3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172" name="iṧlíḋè"/>
              <p:cNvSpPr/>
              <p:nvPr/>
            </p:nvSpPr>
            <p:spPr bwMode="auto">
              <a:xfrm>
                <a:off x="3138384" y="5096465"/>
                <a:ext cx="82550" cy="38100"/>
              </a:xfrm>
              <a:custGeom>
                <a:avLst/>
                <a:gdLst>
                  <a:gd name="T0" fmla="*/ 52 w 52"/>
                  <a:gd name="T1" fmla="*/ 9 h 24"/>
                  <a:gd name="T2" fmla="*/ 3 w 52"/>
                  <a:gd name="T3" fmla="*/ 24 h 24"/>
                  <a:gd name="T4" fmla="*/ 0 w 52"/>
                  <a:gd name="T5" fmla="*/ 15 h 24"/>
                  <a:gd name="T6" fmla="*/ 49 w 52"/>
                  <a:gd name="T7" fmla="*/ 0 h 24"/>
                  <a:gd name="T8" fmla="*/ 52 w 52"/>
                  <a:gd name="T9" fmla="*/ 9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2" h="24">
                    <a:moveTo>
                      <a:pt x="52" y="9"/>
                    </a:moveTo>
                    <a:lnTo>
                      <a:pt x="3" y="24"/>
                    </a:lnTo>
                    <a:lnTo>
                      <a:pt x="0" y="15"/>
                    </a:lnTo>
                    <a:lnTo>
                      <a:pt x="49" y="0"/>
                    </a:lnTo>
                    <a:lnTo>
                      <a:pt x="52" y="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173" name="islïḓè"/>
              <p:cNvSpPr/>
              <p:nvPr/>
            </p:nvSpPr>
            <p:spPr bwMode="auto">
              <a:xfrm>
                <a:off x="3120922" y="5047253"/>
                <a:ext cx="88900" cy="52388"/>
              </a:xfrm>
              <a:custGeom>
                <a:avLst/>
                <a:gdLst>
                  <a:gd name="T0" fmla="*/ 3 w 48"/>
                  <a:gd name="T1" fmla="*/ 20 h 28"/>
                  <a:gd name="T2" fmla="*/ 0 w 48"/>
                  <a:gd name="T3" fmla="*/ 12 h 28"/>
                  <a:gd name="T4" fmla="*/ 26 w 48"/>
                  <a:gd name="T5" fmla="*/ 2 h 28"/>
                  <a:gd name="T6" fmla="*/ 34 w 48"/>
                  <a:gd name="T7" fmla="*/ 0 h 28"/>
                  <a:gd name="T8" fmla="*/ 42 w 48"/>
                  <a:gd name="T9" fmla="*/ 3 h 28"/>
                  <a:gd name="T10" fmla="*/ 47 w 48"/>
                  <a:gd name="T11" fmla="*/ 10 h 28"/>
                  <a:gd name="T12" fmla="*/ 47 w 48"/>
                  <a:gd name="T13" fmla="*/ 21 h 28"/>
                  <a:gd name="T14" fmla="*/ 38 w 48"/>
                  <a:gd name="T15" fmla="*/ 28 h 28"/>
                  <a:gd name="T16" fmla="*/ 34 w 48"/>
                  <a:gd name="T17" fmla="*/ 20 h 28"/>
                  <a:gd name="T18" fmla="*/ 39 w 48"/>
                  <a:gd name="T19" fmla="*/ 17 h 28"/>
                  <a:gd name="T20" fmla="*/ 40 w 48"/>
                  <a:gd name="T21" fmla="*/ 13 h 28"/>
                  <a:gd name="T22" fmla="*/ 37 w 48"/>
                  <a:gd name="T23" fmla="*/ 9 h 28"/>
                  <a:gd name="T24" fmla="*/ 30 w 48"/>
                  <a:gd name="T25" fmla="*/ 10 h 28"/>
                  <a:gd name="T26" fmla="*/ 3 w 48"/>
                  <a:gd name="T27" fmla="*/ 20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48" h="28">
                    <a:moveTo>
                      <a:pt x="3" y="20"/>
                    </a:moveTo>
                    <a:cubicBezTo>
                      <a:pt x="0" y="12"/>
                      <a:pt x="0" y="12"/>
                      <a:pt x="0" y="12"/>
                    </a:cubicBezTo>
                    <a:cubicBezTo>
                      <a:pt x="26" y="2"/>
                      <a:pt x="26" y="2"/>
                      <a:pt x="26" y="2"/>
                    </a:cubicBezTo>
                    <a:cubicBezTo>
                      <a:pt x="29" y="1"/>
                      <a:pt x="32" y="0"/>
                      <a:pt x="34" y="0"/>
                    </a:cubicBezTo>
                    <a:cubicBezTo>
                      <a:pt x="37" y="0"/>
                      <a:pt x="39" y="1"/>
                      <a:pt x="42" y="3"/>
                    </a:cubicBezTo>
                    <a:cubicBezTo>
                      <a:pt x="44" y="4"/>
                      <a:pt x="46" y="7"/>
                      <a:pt x="47" y="10"/>
                    </a:cubicBezTo>
                    <a:cubicBezTo>
                      <a:pt x="48" y="14"/>
                      <a:pt x="48" y="18"/>
                      <a:pt x="47" y="21"/>
                    </a:cubicBezTo>
                    <a:cubicBezTo>
                      <a:pt x="45" y="24"/>
                      <a:pt x="42" y="26"/>
                      <a:pt x="38" y="28"/>
                    </a:cubicBezTo>
                    <a:cubicBezTo>
                      <a:pt x="34" y="20"/>
                      <a:pt x="34" y="20"/>
                      <a:pt x="34" y="20"/>
                    </a:cubicBezTo>
                    <a:cubicBezTo>
                      <a:pt x="37" y="19"/>
                      <a:pt x="38" y="18"/>
                      <a:pt x="39" y="17"/>
                    </a:cubicBezTo>
                    <a:cubicBezTo>
                      <a:pt x="40" y="16"/>
                      <a:pt x="40" y="14"/>
                      <a:pt x="40" y="13"/>
                    </a:cubicBezTo>
                    <a:cubicBezTo>
                      <a:pt x="39" y="11"/>
                      <a:pt x="38" y="10"/>
                      <a:pt x="37" y="9"/>
                    </a:cubicBezTo>
                    <a:cubicBezTo>
                      <a:pt x="35" y="9"/>
                      <a:pt x="33" y="9"/>
                      <a:pt x="30" y="10"/>
                    </a:cubicBezTo>
                    <a:lnTo>
                      <a:pt x="3" y="2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174" name="íṥ1iḍe"/>
              <p:cNvSpPr/>
              <p:nvPr/>
            </p:nvSpPr>
            <p:spPr bwMode="auto">
              <a:xfrm>
                <a:off x="3112984" y="5017090"/>
                <a:ext cx="80963" cy="46038"/>
              </a:xfrm>
              <a:custGeom>
                <a:avLst/>
                <a:gdLst>
                  <a:gd name="T0" fmla="*/ 51 w 51"/>
                  <a:gd name="T1" fmla="*/ 9 h 29"/>
                  <a:gd name="T2" fmla="*/ 3 w 51"/>
                  <a:gd name="T3" fmla="*/ 29 h 29"/>
                  <a:gd name="T4" fmla="*/ 0 w 51"/>
                  <a:gd name="T5" fmla="*/ 19 h 29"/>
                  <a:gd name="T6" fmla="*/ 46 w 51"/>
                  <a:gd name="T7" fmla="*/ 0 h 29"/>
                  <a:gd name="T8" fmla="*/ 51 w 51"/>
                  <a:gd name="T9" fmla="*/ 9 h 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1" h="29">
                    <a:moveTo>
                      <a:pt x="51" y="9"/>
                    </a:moveTo>
                    <a:lnTo>
                      <a:pt x="3" y="29"/>
                    </a:lnTo>
                    <a:lnTo>
                      <a:pt x="0" y="19"/>
                    </a:lnTo>
                    <a:lnTo>
                      <a:pt x="46" y="0"/>
                    </a:lnTo>
                    <a:lnTo>
                      <a:pt x="51" y="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175" name="iṥľîḋé"/>
              <p:cNvSpPr/>
              <p:nvPr/>
            </p:nvSpPr>
            <p:spPr bwMode="auto">
              <a:xfrm>
                <a:off x="3081234" y="4948828"/>
                <a:ext cx="101600" cy="93663"/>
              </a:xfrm>
              <a:custGeom>
                <a:avLst/>
                <a:gdLst>
                  <a:gd name="T0" fmla="*/ 64 w 64"/>
                  <a:gd name="T1" fmla="*/ 36 h 59"/>
                  <a:gd name="T2" fmla="*/ 18 w 64"/>
                  <a:gd name="T3" fmla="*/ 59 h 59"/>
                  <a:gd name="T4" fmla="*/ 14 w 64"/>
                  <a:gd name="T5" fmla="*/ 50 h 59"/>
                  <a:gd name="T6" fmla="*/ 35 w 64"/>
                  <a:gd name="T7" fmla="*/ 16 h 59"/>
                  <a:gd name="T8" fmla="*/ 3 w 64"/>
                  <a:gd name="T9" fmla="*/ 31 h 59"/>
                  <a:gd name="T10" fmla="*/ 0 w 64"/>
                  <a:gd name="T11" fmla="*/ 22 h 59"/>
                  <a:gd name="T12" fmla="*/ 45 w 64"/>
                  <a:gd name="T13" fmla="*/ 0 h 59"/>
                  <a:gd name="T14" fmla="*/ 50 w 64"/>
                  <a:gd name="T15" fmla="*/ 8 h 59"/>
                  <a:gd name="T16" fmla="*/ 29 w 64"/>
                  <a:gd name="T17" fmla="*/ 42 h 59"/>
                  <a:gd name="T18" fmla="*/ 59 w 64"/>
                  <a:gd name="T19" fmla="*/ 26 h 59"/>
                  <a:gd name="T20" fmla="*/ 64 w 64"/>
                  <a:gd name="T21" fmla="*/ 36 h 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64" h="59">
                    <a:moveTo>
                      <a:pt x="64" y="36"/>
                    </a:moveTo>
                    <a:lnTo>
                      <a:pt x="18" y="59"/>
                    </a:lnTo>
                    <a:lnTo>
                      <a:pt x="14" y="50"/>
                    </a:lnTo>
                    <a:lnTo>
                      <a:pt x="35" y="16"/>
                    </a:lnTo>
                    <a:lnTo>
                      <a:pt x="3" y="31"/>
                    </a:lnTo>
                    <a:lnTo>
                      <a:pt x="0" y="22"/>
                    </a:lnTo>
                    <a:lnTo>
                      <a:pt x="45" y="0"/>
                    </a:lnTo>
                    <a:lnTo>
                      <a:pt x="50" y="8"/>
                    </a:lnTo>
                    <a:lnTo>
                      <a:pt x="29" y="42"/>
                    </a:lnTo>
                    <a:lnTo>
                      <a:pt x="59" y="26"/>
                    </a:lnTo>
                    <a:lnTo>
                      <a:pt x="64" y="36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176" name="îślidè"/>
              <p:cNvSpPr/>
              <p:nvPr/>
            </p:nvSpPr>
            <p:spPr bwMode="auto">
              <a:xfrm>
                <a:off x="3047897" y="4877390"/>
                <a:ext cx="84138" cy="88900"/>
              </a:xfrm>
              <a:custGeom>
                <a:avLst/>
                <a:gdLst>
                  <a:gd name="T0" fmla="*/ 28 w 46"/>
                  <a:gd name="T1" fmla="*/ 21 h 48"/>
                  <a:gd name="T2" fmla="*/ 22 w 46"/>
                  <a:gd name="T3" fmla="*/ 25 h 48"/>
                  <a:gd name="T4" fmla="*/ 11 w 46"/>
                  <a:gd name="T5" fmla="*/ 9 h 48"/>
                  <a:gd name="T6" fmla="*/ 26 w 46"/>
                  <a:gd name="T7" fmla="*/ 0 h 48"/>
                  <a:gd name="T8" fmla="*/ 35 w 46"/>
                  <a:gd name="T9" fmla="*/ 4 h 48"/>
                  <a:gd name="T10" fmla="*/ 42 w 46"/>
                  <a:gd name="T11" fmla="*/ 12 h 48"/>
                  <a:gd name="T12" fmla="*/ 46 w 46"/>
                  <a:gd name="T13" fmla="*/ 24 h 48"/>
                  <a:gd name="T14" fmla="*/ 43 w 46"/>
                  <a:gd name="T15" fmla="*/ 35 h 48"/>
                  <a:gd name="T16" fmla="*/ 35 w 46"/>
                  <a:gd name="T17" fmla="*/ 43 h 48"/>
                  <a:gd name="T18" fmla="*/ 23 w 46"/>
                  <a:gd name="T19" fmla="*/ 47 h 48"/>
                  <a:gd name="T20" fmla="*/ 12 w 46"/>
                  <a:gd name="T21" fmla="*/ 45 h 48"/>
                  <a:gd name="T22" fmla="*/ 4 w 46"/>
                  <a:gd name="T23" fmla="*/ 37 h 48"/>
                  <a:gd name="T24" fmla="*/ 0 w 46"/>
                  <a:gd name="T25" fmla="*/ 24 h 48"/>
                  <a:gd name="T26" fmla="*/ 5 w 46"/>
                  <a:gd name="T27" fmla="*/ 14 h 48"/>
                  <a:gd name="T28" fmla="*/ 11 w 46"/>
                  <a:gd name="T29" fmla="*/ 21 h 48"/>
                  <a:gd name="T30" fmla="*/ 9 w 46"/>
                  <a:gd name="T31" fmla="*/ 27 h 48"/>
                  <a:gd name="T32" fmla="*/ 11 w 46"/>
                  <a:gd name="T33" fmla="*/ 33 h 48"/>
                  <a:gd name="T34" fmla="*/ 19 w 46"/>
                  <a:gd name="T35" fmla="*/ 39 h 48"/>
                  <a:gd name="T36" fmla="*/ 30 w 46"/>
                  <a:gd name="T37" fmla="*/ 36 h 48"/>
                  <a:gd name="T38" fmla="*/ 38 w 46"/>
                  <a:gd name="T39" fmla="*/ 26 h 48"/>
                  <a:gd name="T40" fmla="*/ 36 w 46"/>
                  <a:gd name="T41" fmla="*/ 17 h 48"/>
                  <a:gd name="T42" fmla="*/ 32 w 46"/>
                  <a:gd name="T43" fmla="*/ 13 h 48"/>
                  <a:gd name="T44" fmla="*/ 27 w 46"/>
                  <a:gd name="T45" fmla="*/ 10 h 48"/>
                  <a:gd name="T46" fmla="*/ 23 w 46"/>
                  <a:gd name="T47" fmla="*/ 13 h 48"/>
                  <a:gd name="T48" fmla="*/ 28 w 46"/>
                  <a:gd name="T49" fmla="*/ 21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46" h="48">
                    <a:moveTo>
                      <a:pt x="28" y="21"/>
                    </a:moveTo>
                    <a:cubicBezTo>
                      <a:pt x="22" y="25"/>
                      <a:pt x="22" y="25"/>
                      <a:pt x="22" y="25"/>
                    </a:cubicBezTo>
                    <a:cubicBezTo>
                      <a:pt x="11" y="9"/>
                      <a:pt x="11" y="9"/>
                      <a:pt x="11" y="9"/>
                    </a:cubicBezTo>
                    <a:cubicBezTo>
                      <a:pt x="26" y="0"/>
                      <a:pt x="26" y="0"/>
                      <a:pt x="26" y="0"/>
                    </a:cubicBezTo>
                    <a:cubicBezTo>
                      <a:pt x="29" y="1"/>
                      <a:pt x="31" y="2"/>
                      <a:pt x="35" y="4"/>
                    </a:cubicBezTo>
                    <a:cubicBezTo>
                      <a:pt x="38" y="6"/>
                      <a:pt x="40" y="9"/>
                      <a:pt x="42" y="12"/>
                    </a:cubicBezTo>
                    <a:cubicBezTo>
                      <a:pt x="45" y="16"/>
                      <a:pt x="46" y="20"/>
                      <a:pt x="46" y="24"/>
                    </a:cubicBezTo>
                    <a:cubicBezTo>
                      <a:pt x="46" y="28"/>
                      <a:pt x="45" y="31"/>
                      <a:pt x="43" y="35"/>
                    </a:cubicBezTo>
                    <a:cubicBezTo>
                      <a:pt x="41" y="38"/>
                      <a:pt x="38" y="41"/>
                      <a:pt x="35" y="43"/>
                    </a:cubicBezTo>
                    <a:cubicBezTo>
                      <a:pt x="31" y="46"/>
                      <a:pt x="27" y="47"/>
                      <a:pt x="23" y="47"/>
                    </a:cubicBezTo>
                    <a:cubicBezTo>
                      <a:pt x="19" y="48"/>
                      <a:pt x="15" y="47"/>
                      <a:pt x="12" y="45"/>
                    </a:cubicBezTo>
                    <a:cubicBezTo>
                      <a:pt x="9" y="43"/>
                      <a:pt x="6" y="41"/>
                      <a:pt x="4" y="37"/>
                    </a:cubicBezTo>
                    <a:cubicBezTo>
                      <a:pt x="1" y="32"/>
                      <a:pt x="0" y="28"/>
                      <a:pt x="0" y="24"/>
                    </a:cubicBezTo>
                    <a:cubicBezTo>
                      <a:pt x="0" y="21"/>
                      <a:pt x="2" y="17"/>
                      <a:pt x="5" y="14"/>
                    </a:cubicBezTo>
                    <a:cubicBezTo>
                      <a:pt x="11" y="21"/>
                      <a:pt x="11" y="21"/>
                      <a:pt x="11" y="21"/>
                    </a:cubicBezTo>
                    <a:cubicBezTo>
                      <a:pt x="10" y="23"/>
                      <a:pt x="9" y="24"/>
                      <a:pt x="9" y="27"/>
                    </a:cubicBezTo>
                    <a:cubicBezTo>
                      <a:pt x="8" y="29"/>
                      <a:pt x="9" y="31"/>
                      <a:pt x="11" y="33"/>
                    </a:cubicBezTo>
                    <a:cubicBezTo>
                      <a:pt x="13" y="36"/>
                      <a:pt x="15" y="38"/>
                      <a:pt x="19" y="39"/>
                    </a:cubicBezTo>
                    <a:cubicBezTo>
                      <a:pt x="22" y="39"/>
                      <a:pt x="26" y="38"/>
                      <a:pt x="30" y="36"/>
                    </a:cubicBezTo>
                    <a:cubicBezTo>
                      <a:pt x="34" y="33"/>
                      <a:pt x="37" y="30"/>
                      <a:pt x="38" y="26"/>
                    </a:cubicBezTo>
                    <a:cubicBezTo>
                      <a:pt x="39" y="23"/>
                      <a:pt x="38" y="20"/>
                      <a:pt x="36" y="17"/>
                    </a:cubicBezTo>
                    <a:cubicBezTo>
                      <a:pt x="35" y="15"/>
                      <a:pt x="34" y="14"/>
                      <a:pt x="32" y="13"/>
                    </a:cubicBezTo>
                    <a:cubicBezTo>
                      <a:pt x="30" y="11"/>
                      <a:pt x="29" y="10"/>
                      <a:pt x="27" y="10"/>
                    </a:cubicBezTo>
                    <a:cubicBezTo>
                      <a:pt x="23" y="13"/>
                      <a:pt x="23" y="13"/>
                      <a:pt x="23" y="13"/>
                    </a:cubicBezTo>
                    <a:lnTo>
                      <a:pt x="28" y="2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177" name="îŝ1ide"/>
              <p:cNvSpPr/>
              <p:nvPr/>
            </p:nvSpPr>
            <p:spPr bwMode="auto">
              <a:xfrm>
                <a:off x="1981097" y="4907553"/>
                <a:ext cx="931863" cy="969963"/>
              </a:xfrm>
              <a:custGeom>
                <a:avLst/>
                <a:gdLst>
                  <a:gd name="T0" fmla="*/ 488 w 506"/>
                  <a:gd name="T1" fmla="*/ 144 h 525"/>
                  <a:gd name="T2" fmla="*/ 449 w 506"/>
                  <a:gd name="T3" fmla="*/ 161 h 525"/>
                  <a:gd name="T4" fmla="*/ 473 w 506"/>
                  <a:gd name="T5" fmla="*/ 361 h 525"/>
                  <a:gd name="T6" fmla="*/ 434 w 506"/>
                  <a:gd name="T7" fmla="*/ 382 h 525"/>
                  <a:gd name="T8" fmla="*/ 463 w 506"/>
                  <a:gd name="T9" fmla="*/ 392 h 525"/>
                  <a:gd name="T10" fmla="*/ 434 w 506"/>
                  <a:gd name="T11" fmla="*/ 455 h 525"/>
                  <a:gd name="T12" fmla="*/ 418 w 506"/>
                  <a:gd name="T13" fmla="*/ 525 h 525"/>
                  <a:gd name="T14" fmla="*/ 328 w 506"/>
                  <a:gd name="T15" fmla="*/ 392 h 525"/>
                  <a:gd name="T16" fmla="*/ 200 w 506"/>
                  <a:gd name="T17" fmla="*/ 376 h 525"/>
                  <a:gd name="T18" fmla="*/ 179 w 506"/>
                  <a:gd name="T19" fmla="*/ 525 h 525"/>
                  <a:gd name="T20" fmla="*/ 72 w 506"/>
                  <a:gd name="T21" fmla="*/ 510 h 525"/>
                  <a:gd name="T22" fmla="*/ 44 w 506"/>
                  <a:gd name="T23" fmla="*/ 439 h 525"/>
                  <a:gd name="T24" fmla="*/ 72 w 506"/>
                  <a:gd name="T25" fmla="*/ 392 h 525"/>
                  <a:gd name="T26" fmla="*/ 57 w 506"/>
                  <a:gd name="T27" fmla="*/ 382 h 525"/>
                  <a:gd name="T28" fmla="*/ 18 w 506"/>
                  <a:gd name="T29" fmla="*/ 161 h 525"/>
                  <a:gd name="T30" fmla="*/ 56 w 506"/>
                  <a:gd name="T31" fmla="*/ 144 h 525"/>
                  <a:gd name="T32" fmla="*/ 0 w 506"/>
                  <a:gd name="T33" fmla="*/ 21 h 525"/>
                  <a:gd name="T34" fmla="*/ 92 w 506"/>
                  <a:gd name="T35" fmla="*/ 21 h 525"/>
                  <a:gd name="T36" fmla="*/ 403 w 506"/>
                  <a:gd name="T37" fmla="*/ 82 h 525"/>
                  <a:gd name="T38" fmla="*/ 457 w 506"/>
                  <a:gd name="T39" fmla="*/ 0 h 525"/>
                  <a:gd name="T40" fmla="*/ 461 w 506"/>
                  <a:gd name="T41" fmla="*/ 82 h 525"/>
                  <a:gd name="T42" fmla="*/ 455 w 506"/>
                  <a:gd name="T43" fmla="*/ 24 h 525"/>
                  <a:gd name="T44" fmla="*/ 435 w 506"/>
                  <a:gd name="T45" fmla="*/ 82 h 525"/>
                  <a:gd name="T46" fmla="*/ 454 w 506"/>
                  <a:gd name="T47" fmla="*/ 127 h 525"/>
                  <a:gd name="T48" fmla="*/ 49 w 506"/>
                  <a:gd name="T49" fmla="*/ 112 h 525"/>
                  <a:gd name="T50" fmla="*/ 78 w 506"/>
                  <a:gd name="T51" fmla="*/ 127 h 525"/>
                  <a:gd name="T52" fmla="*/ 81 w 506"/>
                  <a:gd name="T53" fmla="*/ 161 h 525"/>
                  <a:gd name="T54" fmla="*/ 426 w 506"/>
                  <a:gd name="T55" fmla="*/ 145 h 525"/>
                  <a:gd name="T56" fmla="*/ 454 w 506"/>
                  <a:gd name="T57" fmla="*/ 127 h 525"/>
                  <a:gd name="T58" fmla="*/ 450 w 506"/>
                  <a:gd name="T59" fmla="*/ 178 h 525"/>
                  <a:gd name="T60" fmla="*/ 65 w 506"/>
                  <a:gd name="T61" fmla="*/ 335 h 525"/>
                  <a:gd name="T62" fmla="*/ 421 w 506"/>
                  <a:gd name="T63" fmla="*/ 349 h 525"/>
                  <a:gd name="T64" fmla="*/ 398 w 506"/>
                  <a:gd name="T65" fmla="*/ 490 h 525"/>
                  <a:gd name="T66" fmla="*/ 356 w 506"/>
                  <a:gd name="T67" fmla="*/ 371 h 525"/>
                  <a:gd name="T68" fmla="*/ 389 w 506"/>
                  <a:gd name="T69" fmla="*/ 496 h 525"/>
                  <a:gd name="T70" fmla="*/ 150 w 506"/>
                  <a:gd name="T71" fmla="*/ 496 h 525"/>
                  <a:gd name="T72" fmla="*/ 108 w 506"/>
                  <a:gd name="T73" fmla="*/ 371 h 525"/>
                  <a:gd name="T74" fmla="*/ 117 w 506"/>
                  <a:gd name="T75" fmla="*/ 496 h 525"/>
                  <a:gd name="T76" fmla="*/ 71 w 506"/>
                  <a:gd name="T77" fmla="*/ 82 h 525"/>
                  <a:gd name="T78" fmla="*/ 51 w 506"/>
                  <a:gd name="T79" fmla="*/ 24 h 525"/>
                  <a:gd name="T80" fmla="*/ 45 w 506"/>
                  <a:gd name="T81" fmla="*/ 82 h 5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506" h="525">
                    <a:moveTo>
                      <a:pt x="506" y="21"/>
                    </a:moveTo>
                    <a:cubicBezTo>
                      <a:pt x="488" y="144"/>
                      <a:pt x="488" y="144"/>
                      <a:pt x="488" y="144"/>
                    </a:cubicBezTo>
                    <a:cubicBezTo>
                      <a:pt x="450" y="144"/>
                      <a:pt x="450" y="144"/>
                      <a:pt x="450" y="144"/>
                    </a:cubicBezTo>
                    <a:cubicBezTo>
                      <a:pt x="449" y="161"/>
                      <a:pt x="449" y="161"/>
                      <a:pt x="449" y="161"/>
                    </a:cubicBezTo>
                    <a:cubicBezTo>
                      <a:pt x="488" y="161"/>
                      <a:pt x="488" y="161"/>
                      <a:pt x="488" y="161"/>
                    </a:cubicBezTo>
                    <a:cubicBezTo>
                      <a:pt x="473" y="361"/>
                      <a:pt x="473" y="361"/>
                      <a:pt x="473" y="361"/>
                    </a:cubicBezTo>
                    <a:cubicBezTo>
                      <a:pt x="473" y="372"/>
                      <a:pt x="462" y="382"/>
                      <a:pt x="450" y="382"/>
                    </a:cubicBezTo>
                    <a:cubicBezTo>
                      <a:pt x="434" y="382"/>
                      <a:pt x="434" y="382"/>
                      <a:pt x="434" y="382"/>
                    </a:cubicBezTo>
                    <a:cubicBezTo>
                      <a:pt x="434" y="392"/>
                      <a:pt x="434" y="392"/>
                      <a:pt x="434" y="392"/>
                    </a:cubicBezTo>
                    <a:cubicBezTo>
                      <a:pt x="463" y="392"/>
                      <a:pt x="463" y="392"/>
                      <a:pt x="463" y="392"/>
                    </a:cubicBezTo>
                    <a:cubicBezTo>
                      <a:pt x="463" y="439"/>
                      <a:pt x="463" y="439"/>
                      <a:pt x="463" y="439"/>
                    </a:cubicBezTo>
                    <a:cubicBezTo>
                      <a:pt x="463" y="448"/>
                      <a:pt x="450" y="455"/>
                      <a:pt x="434" y="455"/>
                    </a:cubicBezTo>
                    <a:cubicBezTo>
                      <a:pt x="434" y="510"/>
                      <a:pt x="434" y="510"/>
                      <a:pt x="434" y="510"/>
                    </a:cubicBezTo>
                    <a:cubicBezTo>
                      <a:pt x="434" y="518"/>
                      <a:pt x="427" y="525"/>
                      <a:pt x="418" y="525"/>
                    </a:cubicBezTo>
                    <a:cubicBezTo>
                      <a:pt x="328" y="525"/>
                      <a:pt x="328" y="525"/>
                      <a:pt x="328" y="525"/>
                    </a:cubicBezTo>
                    <a:cubicBezTo>
                      <a:pt x="328" y="392"/>
                      <a:pt x="328" y="392"/>
                      <a:pt x="328" y="392"/>
                    </a:cubicBezTo>
                    <a:cubicBezTo>
                      <a:pt x="328" y="383"/>
                      <a:pt x="318" y="376"/>
                      <a:pt x="307" y="376"/>
                    </a:cubicBezTo>
                    <a:cubicBezTo>
                      <a:pt x="200" y="376"/>
                      <a:pt x="200" y="376"/>
                      <a:pt x="200" y="376"/>
                    </a:cubicBezTo>
                    <a:cubicBezTo>
                      <a:pt x="188" y="376"/>
                      <a:pt x="179" y="383"/>
                      <a:pt x="179" y="392"/>
                    </a:cubicBezTo>
                    <a:cubicBezTo>
                      <a:pt x="179" y="525"/>
                      <a:pt x="179" y="525"/>
                      <a:pt x="179" y="525"/>
                    </a:cubicBezTo>
                    <a:cubicBezTo>
                      <a:pt x="89" y="525"/>
                      <a:pt x="89" y="525"/>
                      <a:pt x="89" y="525"/>
                    </a:cubicBezTo>
                    <a:cubicBezTo>
                      <a:pt x="80" y="525"/>
                      <a:pt x="72" y="518"/>
                      <a:pt x="72" y="510"/>
                    </a:cubicBezTo>
                    <a:cubicBezTo>
                      <a:pt x="72" y="455"/>
                      <a:pt x="72" y="455"/>
                      <a:pt x="72" y="455"/>
                    </a:cubicBezTo>
                    <a:cubicBezTo>
                      <a:pt x="56" y="455"/>
                      <a:pt x="44" y="448"/>
                      <a:pt x="44" y="439"/>
                    </a:cubicBezTo>
                    <a:cubicBezTo>
                      <a:pt x="44" y="392"/>
                      <a:pt x="44" y="392"/>
                      <a:pt x="44" y="392"/>
                    </a:cubicBezTo>
                    <a:cubicBezTo>
                      <a:pt x="72" y="392"/>
                      <a:pt x="72" y="392"/>
                      <a:pt x="72" y="392"/>
                    </a:cubicBezTo>
                    <a:cubicBezTo>
                      <a:pt x="72" y="382"/>
                      <a:pt x="72" y="382"/>
                      <a:pt x="72" y="382"/>
                    </a:cubicBezTo>
                    <a:cubicBezTo>
                      <a:pt x="57" y="382"/>
                      <a:pt x="57" y="382"/>
                      <a:pt x="57" y="382"/>
                    </a:cubicBezTo>
                    <a:cubicBezTo>
                      <a:pt x="44" y="382"/>
                      <a:pt x="34" y="372"/>
                      <a:pt x="34" y="361"/>
                    </a:cubicBezTo>
                    <a:cubicBezTo>
                      <a:pt x="18" y="161"/>
                      <a:pt x="18" y="161"/>
                      <a:pt x="18" y="161"/>
                    </a:cubicBezTo>
                    <a:cubicBezTo>
                      <a:pt x="58" y="161"/>
                      <a:pt x="58" y="161"/>
                      <a:pt x="58" y="161"/>
                    </a:cubicBezTo>
                    <a:cubicBezTo>
                      <a:pt x="56" y="144"/>
                      <a:pt x="56" y="144"/>
                      <a:pt x="56" y="144"/>
                    </a:cubicBezTo>
                    <a:cubicBezTo>
                      <a:pt x="18" y="144"/>
                      <a:pt x="18" y="144"/>
                      <a:pt x="18" y="144"/>
                    </a:cubicBezTo>
                    <a:cubicBezTo>
                      <a:pt x="0" y="21"/>
                      <a:pt x="0" y="21"/>
                      <a:pt x="0" y="21"/>
                    </a:cubicBezTo>
                    <a:cubicBezTo>
                      <a:pt x="2" y="7"/>
                      <a:pt x="31" y="0"/>
                      <a:pt x="49" y="0"/>
                    </a:cubicBezTo>
                    <a:cubicBezTo>
                      <a:pt x="73" y="0"/>
                      <a:pt x="80" y="3"/>
                      <a:pt x="92" y="21"/>
                    </a:cubicBezTo>
                    <a:cubicBezTo>
                      <a:pt x="103" y="82"/>
                      <a:pt x="103" y="82"/>
                      <a:pt x="103" y="82"/>
                    </a:cubicBezTo>
                    <a:cubicBezTo>
                      <a:pt x="403" y="82"/>
                      <a:pt x="403" y="82"/>
                      <a:pt x="403" y="82"/>
                    </a:cubicBezTo>
                    <a:cubicBezTo>
                      <a:pt x="415" y="21"/>
                      <a:pt x="415" y="21"/>
                      <a:pt x="415" y="21"/>
                    </a:cubicBezTo>
                    <a:cubicBezTo>
                      <a:pt x="426" y="3"/>
                      <a:pt x="433" y="0"/>
                      <a:pt x="457" y="0"/>
                    </a:cubicBezTo>
                    <a:cubicBezTo>
                      <a:pt x="475" y="0"/>
                      <a:pt x="504" y="7"/>
                      <a:pt x="506" y="21"/>
                    </a:cubicBezTo>
                    <a:close/>
                    <a:moveTo>
                      <a:pt x="461" y="82"/>
                    </a:moveTo>
                    <a:cubicBezTo>
                      <a:pt x="469" y="32"/>
                      <a:pt x="469" y="32"/>
                      <a:pt x="469" y="32"/>
                    </a:cubicBezTo>
                    <a:cubicBezTo>
                      <a:pt x="469" y="24"/>
                      <a:pt x="463" y="24"/>
                      <a:pt x="455" y="24"/>
                    </a:cubicBezTo>
                    <a:cubicBezTo>
                      <a:pt x="450" y="24"/>
                      <a:pt x="447" y="26"/>
                      <a:pt x="445" y="32"/>
                    </a:cubicBezTo>
                    <a:cubicBezTo>
                      <a:pt x="435" y="82"/>
                      <a:pt x="435" y="82"/>
                      <a:pt x="435" y="82"/>
                    </a:cubicBezTo>
                    <a:lnTo>
                      <a:pt x="461" y="82"/>
                    </a:lnTo>
                    <a:close/>
                    <a:moveTo>
                      <a:pt x="454" y="127"/>
                    </a:moveTo>
                    <a:cubicBezTo>
                      <a:pt x="457" y="112"/>
                      <a:pt x="457" y="112"/>
                      <a:pt x="457" y="112"/>
                    </a:cubicBezTo>
                    <a:cubicBezTo>
                      <a:pt x="49" y="112"/>
                      <a:pt x="49" y="112"/>
                      <a:pt x="49" y="112"/>
                    </a:cubicBezTo>
                    <a:cubicBezTo>
                      <a:pt x="52" y="127"/>
                      <a:pt x="52" y="127"/>
                      <a:pt x="52" y="127"/>
                    </a:cubicBezTo>
                    <a:cubicBezTo>
                      <a:pt x="78" y="127"/>
                      <a:pt x="78" y="127"/>
                      <a:pt x="78" y="127"/>
                    </a:cubicBezTo>
                    <a:cubicBezTo>
                      <a:pt x="80" y="145"/>
                      <a:pt x="80" y="145"/>
                      <a:pt x="80" y="145"/>
                    </a:cubicBezTo>
                    <a:cubicBezTo>
                      <a:pt x="81" y="161"/>
                      <a:pt x="81" y="161"/>
                      <a:pt x="81" y="161"/>
                    </a:cubicBezTo>
                    <a:cubicBezTo>
                      <a:pt x="425" y="161"/>
                      <a:pt x="425" y="161"/>
                      <a:pt x="425" y="161"/>
                    </a:cubicBezTo>
                    <a:cubicBezTo>
                      <a:pt x="426" y="145"/>
                      <a:pt x="426" y="145"/>
                      <a:pt x="426" y="145"/>
                    </a:cubicBezTo>
                    <a:cubicBezTo>
                      <a:pt x="428" y="127"/>
                      <a:pt x="428" y="127"/>
                      <a:pt x="428" y="127"/>
                    </a:cubicBezTo>
                    <a:lnTo>
                      <a:pt x="454" y="127"/>
                    </a:lnTo>
                    <a:close/>
                    <a:moveTo>
                      <a:pt x="441" y="335"/>
                    </a:moveTo>
                    <a:cubicBezTo>
                      <a:pt x="450" y="178"/>
                      <a:pt x="450" y="178"/>
                      <a:pt x="450" y="178"/>
                    </a:cubicBezTo>
                    <a:cubicBezTo>
                      <a:pt x="56" y="178"/>
                      <a:pt x="56" y="178"/>
                      <a:pt x="56" y="178"/>
                    </a:cubicBezTo>
                    <a:cubicBezTo>
                      <a:pt x="65" y="335"/>
                      <a:pt x="65" y="335"/>
                      <a:pt x="65" y="335"/>
                    </a:cubicBezTo>
                    <a:cubicBezTo>
                      <a:pt x="65" y="343"/>
                      <a:pt x="74" y="349"/>
                      <a:pt x="85" y="349"/>
                    </a:cubicBezTo>
                    <a:cubicBezTo>
                      <a:pt x="421" y="349"/>
                      <a:pt x="421" y="349"/>
                      <a:pt x="421" y="349"/>
                    </a:cubicBezTo>
                    <a:cubicBezTo>
                      <a:pt x="432" y="349"/>
                      <a:pt x="441" y="343"/>
                      <a:pt x="441" y="335"/>
                    </a:cubicBezTo>
                    <a:close/>
                    <a:moveTo>
                      <a:pt x="398" y="490"/>
                    </a:moveTo>
                    <a:cubicBezTo>
                      <a:pt x="398" y="371"/>
                      <a:pt x="398" y="371"/>
                      <a:pt x="398" y="371"/>
                    </a:cubicBezTo>
                    <a:cubicBezTo>
                      <a:pt x="356" y="371"/>
                      <a:pt x="356" y="371"/>
                      <a:pt x="356" y="371"/>
                    </a:cubicBezTo>
                    <a:cubicBezTo>
                      <a:pt x="356" y="496"/>
                      <a:pt x="356" y="496"/>
                      <a:pt x="356" y="496"/>
                    </a:cubicBezTo>
                    <a:cubicBezTo>
                      <a:pt x="389" y="496"/>
                      <a:pt x="389" y="496"/>
                      <a:pt x="389" y="496"/>
                    </a:cubicBezTo>
                    <a:cubicBezTo>
                      <a:pt x="394" y="496"/>
                      <a:pt x="398" y="496"/>
                      <a:pt x="398" y="490"/>
                    </a:cubicBezTo>
                    <a:close/>
                    <a:moveTo>
                      <a:pt x="150" y="496"/>
                    </a:moveTo>
                    <a:cubicBezTo>
                      <a:pt x="150" y="371"/>
                      <a:pt x="150" y="371"/>
                      <a:pt x="150" y="371"/>
                    </a:cubicBezTo>
                    <a:cubicBezTo>
                      <a:pt x="108" y="371"/>
                      <a:pt x="108" y="371"/>
                      <a:pt x="108" y="371"/>
                    </a:cubicBezTo>
                    <a:cubicBezTo>
                      <a:pt x="108" y="490"/>
                      <a:pt x="108" y="490"/>
                      <a:pt x="108" y="490"/>
                    </a:cubicBezTo>
                    <a:cubicBezTo>
                      <a:pt x="108" y="496"/>
                      <a:pt x="112" y="496"/>
                      <a:pt x="117" y="496"/>
                    </a:cubicBezTo>
                    <a:lnTo>
                      <a:pt x="150" y="496"/>
                    </a:lnTo>
                    <a:close/>
                    <a:moveTo>
                      <a:pt x="71" y="82"/>
                    </a:moveTo>
                    <a:cubicBezTo>
                      <a:pt x="61" y="32"/>
                      <a:pt x="61" y="32"/>
                      <a:pt x="61" y="32"/>
                    </a:cubicBezTo>
                    <a:cubicBezTo>
                      <a:pt x="60" y="26"/>
                      <a:pt x="57" y="24"/>
                      <a:pt x="51" y="24"/>
                    </a:cubicBezTo>
                    <a:cubicBezTo>
                      <a:pt x="43" y="24"/>
                      <a:pt x="37" y="24"/>
                      <a:pt x="37" y="32"/>
                    </a:cubicBezTo>
                    <a:cubicBezTo>
                      <a:pt x="45" y="82"/>
                      <a:pt x="45" y="82"/>
                      <a:pt x="45" y="82"/>
                    </a:cubicBezTo>
                    <a:lnTo>
                      <a:pt x="71" y="8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178" name="í$ḻíde"/>
              <p:cNvSpPr/>
              <p:nvPr/>
            </p:nvSpPr>
            <p:spPr bwMode="auto">
              <a:xfrm>
                <a:off x="2144609" y="5142503"/>
                <a:ext cx="604838" cy="31750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</p:grpSp>
      </p:grpSp>
      <p:grpSp>
        <p:nvGrpSpPr>
          <p:cNvPr id="181" name="组合 180"/>
          <p:cNvGrpSpPr/>
          <p:nvPr userDrawn="1"/>
        </p:nvGrpSpPr>
        <p:grpSpPr>
          <a:xfrm>
            <a:off x="3989822" y="1457555"/>
            <a:ext cx="1164357" cy="320434"/>
            <a:chOff x="5180266" y="4756740"/>
            <a:chExt cx="5753100" cy="1187451"/>
          </a:xfrm>
          <a:solidFill>
            <a:srgbClr val="F2C68E"/>
          </a:solidFill>
        </p:grpSpPr>
        <p:sp>
          <p:nvSpPr>
            <p:cNvPr id="182" name="ïṩļîḑê"/>
            <p:cNvSpPr/>
            <p:nvPr/>
          </p:nvSpPr>
          <p:spPr bwMode="auto">
            <a:xfrm>
              <a:off x="10319003" y="4805953"/>
              <a:ext cx="600075" cy="771525"/>
            </a:xfrm>
            <a:custGeom>
              <a:avLst/>
              <a:gdLst>
                <a:gd name="T0" fmla="*/ 210 w 325"/>
                <a:gd name="T1" fmla="*/ 140 h 418"/>
                <a:gd name="T2" fmla="*/ 237 w 325"/>
                <a:gd name="T3" fmla="*/ 155 h 418"/>
                <a:gd name="T4" fmla="*/ 161 w 325"/>
                <a:gd name="T5" fmla="*/ 179 h 418"/>
                <a:gd name="T6" fmla="*/ 187 w 325"/>
                <a:gd name="T7" fmla="*/ 68 h 418"/>
                <a:gd name="T8" fmla="*/ 230 w 325"/>
                <a:gd name="T9" fmla="*/ 40 h 418"/>
                <a:gd name="T10" fmla="*/ 199 w 325"/>
                <a:gd name="T11" fmla="*/ 85 h 418"/>
                <a:gd name="T12" fmla="*/ 99 w 325"/>
                <a:gd name="T13" fmla="*/ 132 h 418"/>
                <a:gd name="T14" fmla="*/ 132 w 325"/>
                <a:gd name="T15" fmla="*/ 83 h 418"/>
                <a:gd name="T16" fmla="*/ 174 w 325"/>
                <a:gd name="T17" fmla="*/ 116 h 418"/>
                <a:gd name="T18" fmla="*/ 59 w 325"/>
                <a:gd name="T19" fmla="*/ 198 h 418"/>
                <a:gd name="T20" fmla="*/ 16 w 325"/>
                <a:gd name="T21" fmla="*/ 224 h 418"/>
                <a:gd name="T22" fmla="*/ 17 w 325"/>
                <a:gd name="T23" fmla="*/ 314 h 418"/>
                <a:gd name="T24" fmla="*/ 55 w 325"/>
                <a:gd name="T25" fmla="*/ 244 h 418"/>
                <a:gd name="T26" fmla="*/ 131 w 325"/>
                <a:gd name="T27" fmla="*/ 194 h 418"/>
                <a:gd name="T28" fmla="*/ 111 w 325"/>
                <a:gd name="T29" fmla="*/ 251 h 418"/>
                <a:gd name="T30" fmla="*/ 148 w 325"/>
                <a:gd name="T31" fmla="*/ 246 h 418"/>
                <a:gd name="T32" fmla="*/ 184 w 325"/>
                <a:gd name="T33" fmla="*/ 243 h 418"/>
                <a:gd name="T34" fmla="*/ 131 w 325"/>
                <a:gd name="T35" fmla="*/ 281 h 418"/>
                <a:gd name="T36" fmla="*/ 76 w 325"/>
                <a:gd name="T37" fmla="*/ 299 h 418"/>
                <a:gd name="T38" fmla="*/ 134 w 325"/>
                <a:gd name="T39" fmla="*/ 334 h 418"/>
                <a:gd name="T40" fmla="*/ 203 w 325"/>
                <a:gd name="T41" fmla="*/ 298 h 418"/>
                <a:gd name="T42" fmla="*/ 206 w 325"/>
                <a:gd name="T43" fmla="*/ 350 h 418"/>
                <a:gd name="T44" fmla="*/ 165 w 325"/>
                <a:gd name="T45" fmla="*/ 378 h 418"/>
                <a:gd name="T46" fmla="*/ 144 w 325"/>
                <a:gd name="T47" fmla="*/ 410 h 418"/>
                <a:gd name="T48" fmla="*/ 228 w 325"/>
                <a:gd name="T49" fmla="*/ 408 h 418"/>
                <a:gd name="T50" fmla="*/ 239 w 325"/>
                <a:gd name="T51" fmla="*/ 307 h 418"/>
                <a:gd name="T52" fmla="*/ 273 w 325"/>
                <a:gd name="T53" fmla="*/ 283 h 418"/>
                <a:gd name="T54" fmla="*/ 271 w 325"/>
                <a:gd name="T55" fmla="*/ 239 h 418"/>
                <a:gd name="T56" fmla="*/ 233 w 325"/>
                <a:gd name="T57" fmla="*/ 226 h 418"/>
                <a:gd name="T58" fmla="*/ 261 w 325"/>
                <a:gd name="T59" fmla="*/ 181 h 418"/>
                <a:gd name="T60" fmla="*/ 316 w 325"/>
                <a:gd name="T61" fmla="*/ 167 h 418"/>
                <a:gd name="T62" fmla="*/ 297 w 325"/>
                <a:gd name="T63" fmla="*/ 119 h 418"/>
                <a:gd name="T64" fmla="*/ 251 w 325"/>
                <a:gd name="T65" fmla="*/ 93 h 418"/>
                <a:gd name="T66" fmla="*/ 276 w 325"/>
                <a:gd name="T67" fmla="*/ 34 h 418"/>
                <a:gd name="T68" fmla="*/ 217 w 325"/>
                <a:gd name="T69" fmla="*/ 11 h 418"/>
                <a:gd name="T70" fmla="*/ 164 w 325"/>
                <a:gd name="T71" fmla="*/ 29 h 418"/>
                <a:gd name="T72" fmla="*/ 136 w 325"/>
                <a:gd name="T73" fmla="*/ 43 h 418"/>
                <a:gd name="T74" fmla="*/ 113 w 325"/>
                <a:gd name="T75" fmla="*/ 21 h 418"/>
                <a:gd name="T76" fmla="*/ 78 w 325"/>
                <a:gd name="T77" fmla="*/ 52 h 4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325" h="418">
                  <a:moveTo>
                    <a:pt x="161" y="179"/>
                  </a:moveTo>
                  <a:cubicBezTo>
                    <a:pt x="160" y="178"/>
                    <a:pt x="188" y="143"/>
                    <a:pt x="210" y="140"/>
                  </a:cubicBezTo>
                  <a:cubicBezTo>
                    <a:pt x="232" y="137"/>
                    <a:pt x="226" y="133"/>
                    <a:pt x="238" y="138"/>
                  </a:cubicBezTo>
                  <a:cubicBezTo>
                    <a:pt x="250" y="144"/>
                    <a:pt x="252" y="148"/>
                    <a:pt x="237" y="155"/>
                  </a:cubicBezTo>
                  <a:cubicBezTo>
                    <a:pt x="222" y="162"/>
                    <a:pt x="215" y="168"/>
                    <a:pt x="196" y="171"/>
                  </a:cubicBezTo>
                  <a:cubicBezTo>
                    <a:pt x="177" y="175"/>
                    <a:pt x="163" y="181"/>
                    <a:pt x="161" y="179"/>
                  </a:cubicBezTo>
                  <a:close/>
                  <a:moveTo>
                    <a:pt x="199" y="85"/>
                  </a:moveTo>
                  <a:cubicBezTo>
                    <a:pt x="197" y="87"/>
                    <a:pt x="186" y="79"/>
                    <a:pt x="187" y="68"/>
                  </a:cubicBezTo>
                  <a:cubicBezTo>
                    <a:pt x="188" y="57"/>
                    <a:pt x="197" y="38"/>
                    <a:pt x="211" y="34"/>
                  </a:cubicBezTo>
                  <a:cubicBezTo>
                    <a:pt x="225" y="30"/>
                    <a:pt x="230" y="30"/>
                    <a:pt x="230" y="40"/>
                  </a:cubicBezTo>
                  <a:cubicBezTo>
                    <a:pt x="229" y="51"/>
                    <a:pt x="229" y="62"/>
                    <a:pt x="219" y="71"/>
                  </a:cubicBezTo>
                  <a:cubicBezTo>
                    <a:pt x="210" y="80"/>
                    <a:pt x="201" y="84"/>
                    <a:pt x="199" y="85"/>
                  </a:cubicBezTo>
                  <a:close/>
                  <a:moveTo>
                    <a:pt x="79" y="112"/>
                  </a:moveTo>
                  <a:cubicBezTo>
                    <a:pt x="79" y="113"/>
                    <a:pt x="87" y="125"/>
                    <a:pt x="99" y="132"/>
                  </a:cubicBezTo>
                  <a:cubicBezTo>
                    <a:pt x="112" y="138"/>
                    <a:pt x="119" y="135"/>
                    <a:pt x="129" y="127"/>
                  </a:cubicBezTo>
                  <a:cubicBezTo>
                    <a:pt x="139" y="118"/>
                    <a:pt x="130" y="95"/>
                    <a:pt x="132" y="83"/>
                  </a:cubicBezTo>
                  <a:cubicBezTo>
                    <a:pt x="135" y="70"/>
                    <a:pt x="136" y="73"/>
                    <a:pt x="146" y="75"/>
                  </a:cubicBezTo>
                  <a:cubicBezTo>
                    <a:pt x="156" y="76"/>
                    <a:pt x="173" y="108"/>
                    <a:pt x="174" y="116"/>
                  </a:cubicBezTo>
                  <a:cubicBezTo>
                    <a:pt x="174" y="123"/>
                    <a:pt x="170" y="123"/>
                    <a:pt x="128" y="142"/>
                  </a:cubicBezTo>
                  <a:cubicBezTo>
                    <a:pt x="86" y="161"/>
                    <a:pt x="67" y="195"/>
                    <a:pt x="59" y="198"/>
                  </a:cubicBezTo>
                  <a:cubicBezTo>
                    <a:pt x="52" y="202"/>
                    <a:pt x="55" y="191"/>
                    <a:pt x="40" y="188"/>
                  </a:cubicBezTo>
                  <a:cubicBezTo>
                    <a:pt x="26" y="186"/>
                    <a:pt x="23" y="211"/>
                    <a:pt x="16" y="224"/>
                  </a:cubicBezTo>
                  <a:cubicBezTo>
                    <a:pt x="8" y="238"/>
                    <a:pt x="5" y="266"/>
                    <a:pt x="5" y="277"/>
                  </a:cubicBezTo>
                  <a:cubicBezTo>
                    <a:pt x="5" y="288"/>
                    <a:pt x="0" y="301"/>
                    <a:pt x="17" y="314"/>
                  </a:cubicBezTo>
                  <a:cubicBezTo>
                    <a:pt x="33" y="326"/>
                    <a:pt x="49" y="311"/>
                    <a:pt x="53" y="304"/>
                  </a:cubicBezTo>
                  <a:cubicBezTo>
                    <a:pt x="57" y="298"/>
                    <a:pt x="53" y="269"/>
                    <a:pt x="55" y="244"/>
                  </a:cubicBezTo>
                  <a:cubicBezTo>
                    <a:pt x="57" y="220"/>
                    <a:pt x="89" y="204"/>
                    <a:pt x="100" y="197"/>
                  </a:cubicBezTo>
                  <a:cubicBezTo>
                    <a:pt x="115" y="189"/>
                    <a:pt x="129" y="190"/>
                    <a:pt x="131" y="194"/>
                  </a:cubicBezTo>
                  <a:cubicBezTo>
                    <a:pt x="134" y="197"/>
                    <a:pt x="119" y="214"/>
                    <a:pt x="112" y="219"/>
                  </a:cubicBezTo>
                  <a:cubicBezTo>
                    <a:pt x="105" y="224"/>
                    <a:pt x="110" y="244"/>
                    <a:pt x="111" y="251"/>
                  </a:cubicBezTo>
                  <a:cubicBezTo>
                    <a:pt x="113" y="257"/>
                    <a:pt x="111" y="260"/>
                    <a:pt x="125" y="265"/>
                  </a:cubicBezTo>
                  <a:cubicBezTo>
                    <a:pt x="142" y="271"/>
                    <a:pt x="139" y="257"/>
                    <a:pt x="148" y="246"/>
                  </a:cubicBezTo>
                  <a:cubicBezTo>
                    <a:pt x="157" y="236"/>
                    <a:pt x="163" y="224"/>
                    <a:pt x="170" y="224"/>
                  </a:cubicBezTo>
                  <a:cubicBezTo>
                    <a:pt x="177" y="224"/>
                    <a:pt x="180" y="238"/>
                    <a:pt x="184" y="243"/>
                  </a:cubicBezTo>
                  <a:cubicBezTo>
                    <a:pt x="187" y="248"/>
                    <a:pt x="189" y="257"/>
                    <a:pt x="177" y="263"/>
                  </a:cubicBezTo>
                  <a:cubicBezTo>
                    <a:pt x="165" y="269"/>
                    <a:pt x="131" y="281"/>
                    <a:pt x="131" y="281"/>
                  </a:cubicBezTo>
                  <a:cubicBezTo>
                    <a:pt x="131" y="281"/>
                    <a:pt x="112" y="284"/>
                    <a:pt x="101" y="287"/>
                  </a:cubicBezTo>
                  <a:cubicBezTo>
                    <a:pt x="90" y="289"/>
                    <a:pt x="78" y="285"/>
                    <a:pt x="76" y="299"/>
                  </a:cubicBezTo>
                  <a:cubicBezTo>
                    <a:pt x="73" y="312"/>
                    <a:pt x="78" y="305"/>
                    <a:pt x="86" y="319"/>
                  </a:cubicBezTo>
                  <a:cubicBezTo>
                    <a:pt x="94" y="333"/>
                    <a:pt x="119" y="337"/>
                    <a:pt x="134" y="334"/>
                  </a:cubicBezTo>
                  <a:cubicBezTo>
                    <a:pt x="149" y="332"/>
                    <a:pt x="157" y="324"/>
                    <a:pt x="168" y="316"/>
                  </a:cubicBezTo>
                  <a:cubicBezTo>
                    <a:pt x="178" y="308"/>
                    <a:pt x="194" y="298"/>
                    <a:pt x="203" y="298"/>
                  </a:cubicBezTo>
                  <a:cubicBezTo>
                    <a:pt x="211" y="299"/>
                    <a:pt x="211" y="311"/>
                    <a:pt x="211" y="325"/>
                  </a:cubicBezTo>
                  <a:cubicBezTo>
                    <a:pt x="211" y="339"/>
                    <a:pt x="210" y="337"/>
                    <a:pt x="206" y="350"/>
                  </a:cubicBezTo>
                  <a:cubicBezTo>
                    <a:pt x="202" y="364"/>
                    <a:pt x="199" y="368"/>
                    <a:pt x="194" y="372"/>
                  </a:cubicBezTo>
                  <a:cubicBezTo>
                    <a:pt x="189" y="377"/>
                    <a:pt x="184" y="376"/>
                    <a:pt x="165" y="378"/>
                  </a:cubicBezTo>
                  <a:cubicBezTo>
                    <a:pt x="145" y="380"/>
                    <a:pt x="131" y="393"/>
                    <a:pt x="129" y="400"/>
                  </a:cubicBezTo>
                  <a:cubicBezTo>
                    <a:pt x="128" y="407"/>
                    <a:pt x="135" y="405"/>
                    <a:pt x="144" y="410"/>
                  </a:cubicBezTo>
                  <a:cubicBezTo>
                    <a:pt x="152" y="414"/>
                    <a:pt x="163" y="416"/>
                    <a:pt x="185" y="417"/>
                  </a:cubicBezTo>
                  <a:cubicBezTo>
                    <a:pt x="208" y="418"/>
                    <a:pt x="219" y="417"/>
                    <a:pt x="228" y="408"/>
                  </a:cubicBezTo>
                  <a:cubicBezTo>
                    <a:pt x="238" y="400"/>
                    <a:pt x="240" y="373"/>
                    <a:pt x="241" y="354"/>
                  </a:cubicBezTo>
                  <a:cubicBezTo>
                    <a:pt x="243" y="335"/>
                    <a:pt x="239" y="315"/>
                    <a:pt x="239" y="307"/>
                  </a:cubicBezTo>
                  <a:cubicBezTo>
                    <a:pt x="239" y="299"/>
                    <a:pt x="239" y="297"/>
                    <a:pt x="244" y="288"/>
                  </a:cubicBezTo>
                  <a:cubicBezTo>
                    <a:pt x="249" y="280"/>
                    <a:pt x="257" y="284"/>
                    <a:pt x="273" y="283"/>
                  </a:cubicBezTo>
                  <a:cubicBezTo>
                    <a:pt x="288" y="281"/>
                    <a:pt x="286" y="270"/>
                    <a:pt x="287" y="261"/>
                  </a:cubicBezTo>
                  <a:cubicBezTo>
                    <a:pt x="288" y="251"/>
                    <a:pt x="281" y="247"/>
                    <a:pt x="271" y="239"/>
                  </a:cubicBezTo>
                  <a:cubicBezTo>
                    <a:pt x="260" y="231"/>
                    <a:pt x="250" y="236"/>
                    <a:pt x="240" y="236"/>
                  </a:cubicBezTo>
                  <a:cubicBezTo>
                    <a:pt x="230" y="236"/>
                    <a:pt x="233" y="234"/>
                    <a:pt x="233" y="226"/>
                  </a:cubicBezTo>
                  <a:cubicBezTo>
                    <a:pt x="233" y="219"/>
                    <a:pt x="238" y="215"/>
                    <a:pt x="239" y="207"/>
                  </a:cubicBezTo>
                  <a:cubicBezTo>
                    <a:pt x="241" y="200"/>
                    <a:pt x="251" y="192"/>
                    <a:pt x="261" y="181"/>
                  </a:cubicBezTo>
                  <a:cubicBezTo>
                    <a:pt x="270" y="170"/>
                    <a:pt x="276" y="175"/>
                    <a:pt x="289" y="176"/>
                  </a:cubicBezTo>
                  <a:cubicBezTo>
                    <a:pt x="302" y="176"/>
                    <a:pt x="307" y="176"/>
                    <a:pt x="316" y="167"/>
                  </a:cubicBezTo>
                  <a:cubicBezTo>
                    <a:pt x="325" y="157"/>
                    <a:pt x="318" y="138"/>
                    <a:pt x="316" y="132"/>
                  </a:cubicBezTo>
                  <a:cubicBezTo>
                    <a:pt x="315" y="125"/>
                    <a:pt x="309" y="129"/>
                    <a:pt x="297" y="119"/>
                  </a:cubicBezTo>
                  <a:cubicBezTo>
                    <a:pt x="285" y="108"/>
                    <a:pt x="274" y="111"/>
                    <a:pt x="261" y="111"/>
                  </a:cubicBezTo>
                  <a:cubicBezTo>
                    <a:pt x="248" y="111"/>
                    <a:pt x="244" y="100"/>
                    <a:pt x="251" y="93"/>
                  </a:cubicBezTo>
                  <a:cubicBezTo>
                    <a:pt x="259" y="87"/>
                    <a:pt x="265" y="77"/>
                    <a:pt x="272" y="66"/>
                  </a:cubicBezTo>
                  <a:cubicBezTo>
                    <a:pt x="278" y="55"/>
                    <a:pt x="276" y="45"/>
                    <a:pt x="276" y="34"/>
                  </a:cubicBezTo>
                  <a:cubicBezTo>
                    <a:pt x="275" y="24"/>
                    <a:pt x="264" y="20"/>
                    <a:pt x="252" y="10"/>
                  </a:cubicBezTo>
                  <a:cubicBezTo>
                    <a:pt x="240" y="0"/>
                    <a:pt x="225" y="8"/>
                    <a:pt x="217" y="11"/>
                  </a:cubicBezTo>
                  <a:cubicBezTo>
                    <a:pt x="208" y="14"/>
                    <a:pt x="196" y="20"/>
                    <a:pt x="187" y="25"/>
                  </a:cubicBezTo>
                  <a:cubicBezTo>
                    <a:pt x="178" y="30"/>
                    <a:pt x="172" y="30"/>
                    <a:pt x="164" y="29"/>
                  </a:cubicBezTo>
                  <a:cubicBezTo>
                    <a:pt x="157" y="29"/>
                    <a:pt x="150" y="29"/>
                    <a:pt x="147" y="29"/>
                  </a:cubicBezTo>
                  <a:cubicBezTo>
                    <a:pt x="144" y="29"/>
                    <a:pt x="141" y="35"/>
                    <a:pt x="136" y="43"/>
                  </a:cubicBezTo>
                  <a:cubicBezTo>
                    <a:pt x="131" y="51"/>
                    <a:pt x="126" y="47"/>
                    <a:pt x="124" y="43"/>
                  </a:cubicBezTo>
                  <a:cubicBezTo>
                    <a:pt x="121" y="38"/>
                    <a:pt x="116" y="28"/>
                    <a:pt x="113" y="21"/>
                  </a:cubicBezTo>
                  <a:cubicBezTo>
                    <a:pt x="110" y="15"/>
                    <a:pt x="97" y="18"/>
                    <a:pt x="91" y="21"/>
                  </a:cubicBezTo>
                  <a:cubicBezTo>
                    <a:pt x="84" y="25"/>
                    <a:pt x="80" y="41"/>
                    <a:pt x="78" y="52"/>
                  </a:cubicBezTo>
                  <a:cubicBezTo>
                    <a:pt x="75" y="63"/>
                    <a:pt x="78" y="111"/>
                    <a:pt x="79" y="1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183" name="îşḷïḍe"/>
            <p:cNvSpPr/>
            <p:nvPr/>
          </p:nvSpPr>
          <p:spPr bwMode="auto">
            <a:xfrm>
              <a:off x="9461753" y="4939303"/>
              <a:ext cx="388938" cy="534988"/>
            </a:xfrm>
            <a:custGeom>
              <a:avLst/>
              <a:gdLst>
                <a:gd name="T0" fmla="*/ 4 w 211"/>
                <a:gd name="T1" fmla="*/ 137 h 290"/>
                <a:gd name="T2" fmla="*/ 41 w 211"/>
                <a:gd name="T3" fmla="*/ 117 h 290"/>
                <a:gd name="T4" fmla="*/ 75 w 211"/>
                <a:gd name="T5" fmla="*/ 83 h 290"/>
                <a:gd name="T6" fmla="*/ 82 w 211"/>
                <a:gd name="T7" fmla="*/ 29 h 290"/>
                <a:gd name="T8" fmla="*/ 94 w 211"/>
                <a:gd name="T9" fmla="*/ 6 h 290"/>
                <a:gd name="T10" fmla="*/ 126 w 211"/>
                <a:gd name="T11" fmla="*/ 27 h 290"/>
                <a:gd name="T12" fmla="*/ 145 w 211"/>
                <a:gd name="T13" fmla="*/ 65 h 290"/>
                <a:gd name="T14" fmla="*/ 170 w 211"/>
                <a:gd name="T15" fmla="*/ 93 h 290"/>
                <a:gd name="T16" fmla="*/ 164 w 211"/>
                <a:gd name="T17" fmla="*/ 119 h 290"/>
                <a:gd name="T18" fmla="*/ 127 w 211"/>
                <a:gd name="T19" fmla="*/ 151 h 290"/>
                <a:gd name="T20" fmla="*/ 123 w 211"/>
                <a:gd name="T21" fmla="*/ 165 h 290"/>
                <a:gd name="T22" fmla="*/ 181 w 211"/>
                <a:gd name="T23" fmla="*/ 187 h 290"/>
                <a:gd name="T24" fmla="*/ 210 w 211"/>
                <a:gd name="T25" fmla="*/ 231 h 290"/>
                <a:gd name="T26" fmla="*/ 202 w 211"/>
                <a:gd name="T27" fmla="*/ 281 h 290"/>
                <a:gd name="T28" fmla="*/ 185 w 211"/>
                <a:gd name="T29" fmla="*/ 289 h 290"/>
                <a:gd name="T30" fmla="*/ 162 w 211"/>
                <a:gd name="T31" fmla="*/ 267 h 290"/>
                <a:gd name="T32" fmla="*/ 158 w 211"/>
                <a:gd name="T33" fmla="*/ 217 h 290"/>
                <a:gd name="T34" fmla="*/ 134 w 211"/>
                <a:gd name="T35" fmla="*/ 188 h 290"/>
                <a:gd name="T36" fmla="*/ 117 w 211"/>
                <a:gd name="T37" fmla="*/ 183 h 290"/>
                <a:gd name="T38" fmla="*/ 105 w 211"/>
                <a:gd name="T39" fmla="*/ 191 h 290"/>
                <a:gd name="T40" fmla="*/ 95 w 211"/>
                <a:gd name="T41" fmla="*/ 225 h 290"/>
                <a:gd name="T42" fmla="*/ 92 w 211"/>
                <a:gd name="T43" fmla="*/ 251 h 290"/>
                <a:gd name="T44" fmla="*/ 58 w 211"/>
                <a:gd name="T45" fmla="*/ 261 h 290"/>
                <a:gd name="T46" fmla="*/ 37 w 211"/>
                <a:gd name="T47" fmla="*/ 235 h 290"/>
                <a:gd name="T48" fmla="*/ 39 w 211"/>
                <a:gd name="T49" fmla="*/ 205 h 290"/>
                <a:gd name="T50" fmla="*/ 45 w 211"/>
                <a:gd name="T51" fmla="*/ 177 h 290"/>
                <a:gd name="T52" fmla="*/ 18 w 211"/>
                <a:gd name="T53" fmla="*/ 155 h 290"/>
                <a:gd name="T54" fmla="*/ 0 w 211"/>
                <a:gd name="T55" fmla="*/ 147 h 290"/>
                <a:gd name="T56" fmla="*/ 4 w 211"/>
                <a:gd name="T57" fmla="*/ 137 h 2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211" h="290">
                  <a:moveTo>
                    <a:pt x="4" y="137"/>
                  </a:moveTo>
                  <a:cubicBezTo>
                    <a:pt x="4" y="137"/>
                    <a:pt x="32" y="120"/>
                    <a:pt x="41" y="117"/>
                  </a:cubicBezTo>
                  <a:cubicBezTo>
                    <a:pt x="50" y="115"/>
                    <a:pt x="69" y="103"/>
                    <a:pt x="75" y="83"/>
                  </a:cubicBezTo>
                  <a:cubicBezTo>
                    <a:pt x="81" y="63"/>
                    <a:pt x="82" y="39"/>
                    <a:pt x="82" y="29"/>
                  </a:cubicBezTo>
                  <a:cubicBezTo>
                    <a:pt x="82" y="19"/>
                    <a:pt x="76" y="0"/>
                    <a:pt x="94" y="6"/>
                  </a:cubicBezTo>
                  <a:cubicBezTo>
                    <a:pt x="112" y="12"/>
                    <a:pt x="124" y="15"/>
                    <a:pt x="126" y="27"/>
                  </a:cubicBezTo>
                  <a:cubicBezTo>
                    <a:pt x="129" y="39"/>
                    <a:pt x="131" y="55"/>
                    <a:pt x="145" y="65"/>
                  </a:cubicBezTo>
                  <a:cubicBezTo>
                    <a:pt x="159" y="75"/>
                    <a:pt x="168" y="83"/>
                    <a:pt x="170" y="93"/>
                  </a:cubicBezTo>
                  <a:cubicBezTo>
                    <a:pt x="172" y="103"/>
                    <a:pt x="172" y="114"/>
                    <a:pt x="164" y="119"/>
                  </a:cubicBezTo>
                  <a:cubicBezTo>
                    <a:pt x="157" y="123"/>
                    <a:pt x="132" y="147"/>
                    <a:pt x="127" y="151"/>
                  </a:cubicBezTo>
                  <a:cubicBezTo>
                    <a:pt x="121" y="154"/>
                    <a:pt x="119" y="165"/>
                    <a:pt x="123" y="165"/>
                  </a:cubicBezTo>
                  <a:cubicBezTo>
                    <a:pt x="127" y="165"/>
                    <a:pt x="163" y="172"/>
                    <a:pt x="181" y="187"/>
                  </a:cubicBezTo>
                  <a:cubicBezTo>
                    <a:pt x="198" y="202"/>
                    <a:pt x="209" y="216"/>
                    <a:pt x="210" y="231"/>
                  </a:cubicBezTo>
                  <a:cubicBezTo>
                    <a:pt x="211" y="247"/>
                    <a:pt x="210" y="273"/>
                    <a:pt x="202" y="281"/>
                  </a:cubicBezTo>
                  <a:cubicBezTo>
                    <a:pt x="194" y="288"/>
                    <a:pt x="192" y="290"/>
                    <a:pt x="185" y="289"/>
                  </a:cubicBezTo>
                  <a:cubicBezTo>
                    <a:pt x="178" y="288"/>
                    <a:pt x="164" y="279"/>
                    <a:pt x="162" y="267"/>
                  </a:cubicBezTo>
                  <a:cubicBezTo>
                    <a:pt x="160" y="255"/>
                    <a:pt x="164" y="239"/>
                    <a:pt x="158" y="217"/>
                  </a:cubicBezTo>
                  <a:cubicBezTo>
                    <a:pt x="153" y="196"/>
                    <a:pt x="139" y="191"/>
                    <a:pt x="134" y="188"/>
                  </a:cubicBezTo>
                  <a:cubicBezTo>
                    <a:pt x="129" y="186"/>
                    <a:pt x="117" y="183"/>
                    <a:pt x="117" y="183"/>
                  </a:cubicBezTo>
                  <a:cubicBezTo>
                    <a:pt x="117" y="183"/>
                    <a:pt x="108" y="182"/>
                    <a:pt x="105" y="191"/>
                  </a:cubicBezTo>
                  <a:cubicBezTo>
                    <a:pt x="102" y="199"/>
                    <a:pt x="96" y="215"/>
                    <a:pt x="95" y="225"/>
                  </a:cubicBezTo>
                  <a:cubicBezTo>
                    <a:pt x="94" y="235"/>
                    <a:pt x="96" y="247"/>
                    <a:pt x="92" y="251"/>
                  </a:cubicBezTo>
                  <a:cubicBezTo>
                    <a:pt x="87" y="256"/>
                    <a:pt x="77" y="267"/>
                    <a:pt x="58" y="261"/>
                  </a:cubicBezTo>
                  <a:cubicBezTo>
                    <a:pt x="39" y="255"/>
                    <a:pt x="41" y="238"/>
                    <a:pt x="37" y="235"/>
                  </a:cubicBezTo>
                  <a:cubicBezTo>
                    <a:pt x="33" y="231"/>
                    <a:pt x="39" y="211"/>
                    <a:pt x="39" y="205"/>
                  </a:cubicBezTo>
                  <a:cubicBezTo>
                    <a:pt x="39" y="200"/>
                    <a:pt x="47" y="182"/>
                    <a:pt x="45" y="177"/>
                  </a:cubicBezTo>
                  <a:cubicBezTo>
                    <a:pt x="44" y="173"/>
                    <a:pt x="25" y="153"/>
                    <a:pt x="18" y="155"/>
                  </a:cubicBezTo>
                  <a:cubicBezTo>
                    <a:pt x="11" y="157"/>
                    <a:pt x="1" y="155"/>
                    <a:pt x="0" y="147"/>
                  </a:cubicBezTo>
                  <a:cubicBezTo>
                    <a:pt x="0" y="140"/>
                    <a:pt x="4" y="137"/>
                    <a:pt x="4" y="13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184" name="îṧļíďe"/>
            <p:cNvSpPr/>
            <p:nvPr/>
          </p:nvSpPr>
          <p:spPr bwMode="auto">
            <a:xfrm>
              <a:off x="8326691" y="4823415"/>
              <a:ext cx="746125" cy="695325"/>
            </a:xfrm>
            <a:custGeom>
              <a:avLst/>
              <a:gdLst>
                <a:gd name="T0" fmla="*/ 159 w 405"/>
                <a:gd name="T1" fmla="*/ 229 h 377"/>
                <a:gd name="T2" fmla="*/ 218 w 405"/>
                <a:gd name="T3" fmla="*/ 183 h 377"/>
                <a:gd name="T4" fmla="*/ 234 w 405"/>
                <a:gd name="T5" fmla="*/ 247 h 377"/>
                <a:gd name="T6" fmla="*/ 260 w 405"/>
                <a:gd name="T7" fmla="*/ 269 h 377"/>
                <a:gd name="T8" fmla="*/ 209 w 405"/>
                <a:gd name="T9" fmla="*/ 247 h 377"/>
                <a:gd name="T10" fmla="*/ 108 w 405"/>
                <a:gd name="T11" fmla="*/ 215 h 377"/>
                <a:gd name="T12" fmla="*/ 73 w 405"/>
                <a:gd name="T13" fmla="*/ 283 h 377"/>
                <a:gd name="T14" fmla="*/ 43 w 405"/>
                <a:gd name="T15" fmla="*/ 350 h 377"/>
                <a:gd name="T16" fmla="*/ 91 w 405"/>
                <a:gd name="T17" fmla="*/ 347 h 377"/>
                <a:gd name="T18" fmla="*/ 118 w 405"/>
                <a:gd name="T19" fmla="*/ 372 h 377"/>
                <a:gd name="T20" fmla="*/ 136 w 405"/>
                <a:gd name="T21" fmla="*/ 328 h 377"/>
                <a:gd name="T22" fmla="*/ 147 w 405"/>
                <a:gd name="T23" fmla="*/ 265 h 377"/>
                <a:gd name="T24" fmla="*/ 242 w 405"/>
                <a:gd name="T25" fmla="*/ 306 h 377"/>
                <a:gd name="T26" fmla="*/ 186 w 405"/>
                <a:gd name="T27" fmla="*/ 337 h 377"/>
                <a:gd name="T28" fmla="*/ 172 w 405"/>
                <a:gd name="T29" fmla="*/ 367 h 377"/>
                <a:gd name="T30" fmla="*/ 272 w 405"/>
                <a:gd name="T31" fmla="*/ 328 h 377"/>
                <a:gd name="T32" fmla="*/ 352 w 405"/>
                <a:gd name="T33" fmla="*/ 373 h 377"/>
                <a:gd name="T34" fmla="*/ 389 w 405"/>
                <a:gd name="T35" fmla="*/ 333 h 377"/>
                <a:gd name="T36" fmla="*/ 292 w 405"/>
                <a:gd name="T37" fmla="*/ 299 h 377"/>
                <a:gd name="T38" fmla="*/ 291 w 405"/>
                <a:gd name="T39" fmla="*/ 217 h 377"/>
                <a:gd name="T40" fmla="*/ 261 w 405"/>
                <a:gd name="T41" fmla="*/ 173 h 377"/>
                <a:gd name="T42" fmla="*/ 297 w 405"/>
                <a:gd name="T43" fmla="*/ 107 h 377"/>
                <a:gd name="T44" fmla="*/ 283 w 405"/>
                <a:gd name="T45" fmla="*/ 43 h 377"/>
                <a:gd name="T46" fmla="*/ 241 w 405"/>
                <a:gd name="T47" fmla="*/ 1 h 377"/>
                <a:gd name="T48" fmla="*/ 241 w 405"/>
                <a:gd name="T49" fmla="*/ 35 h 377"/>
                <a:gd name="T50" fmla="*/ 245 w 405"/>
                <a:gd name="T51" fmla="*/ 97 h 377"/>
                <a:gd name="T52" fmla="*/ 194 w 405"/>
                <a:gd name="T53" fmla="*/ 129 h 377"/>
                <a:gd name="T54" fmla="*/ 161 w 405"/>
                <a:gd name="T55" fmla="*/ 121 h 377"/>
                <a:gd name="T56" fmla="*/ 150 w 405"/>
                <a:gd name="T57" fmla="*/ 33 h 377"/>
                <a:gd name="T58" fmla="*/ 122 w 405"/>
                <a:gd name="T59" fmla="*/ 56 h 377"/>
                <a:gd name="T60" fmla="*/ 121 w 405"/>
                <a:gd name="T61" fmla="*/ 133 h 377"/>
                <a:gd name="T62" fmla="*/ 30 w 405"/>
                <a:gd name="T63" fmla="*/ 180 h 377"/>
                <a:gd name="T64" fmla="*/ 22 w 405"/>
                <a:gd name="T65" fmla="*/ 219 h 3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05" h="377">
                  <a:moveTo>
                    <a:pt x="174" y="243"/>
                  </a:moveTo>
                  <a:cubicBezTo>
                    <a:pt x="172" y="243"/>
                    <a:pt x="154" y="236"/>
                    <a:pt x="159" y="229"/>
                  </a:cubicBezTo>
                  <a:cubicBezTo>
                    <a:pt x="163" y="221"/>
                    <a:pt x="190" y="187"/>
                    <a:pt x="199" y="183"/>
                  </a:cubicBezTo>
                  <a:cubicBezTo>
                    <a:pt x="208" y="178"/>
                    <a:pt x="215" y="172"/>
                    <a:pt x="218" y="183"/>
                  </a:cubicBezTo>
                  <a:cubicBezTo>
                    <a:pt x="221" y="193"/>
                    <a:pt x="215" y="230"/>
                    <a:pt x="220" y="236"/>
                  </a:cubicBezTo>
                  <a:cubicBezTo>
                    <a:pt x="225" y="241"/>
                    <a:pt x="227" y="248"/>
                    <a:pt x="234" y="247"/>
                  </a:cubicBezTo>
                  <a:cubicBezTo>
                    <a:pt x="241" y="246"/>
                    <a:pt x="256" y="238"/>
                    <a:pt x="260" y="245"/>
                  </a:cubicBezTo>
                  <a:cubicBezTo>
                    <a:pt x="263" y="252"/>
                    <a:pt x="268" y="259"/>
                    <a:pt x="260" y="269"/>
                  </a:cubicBezTo>
                  <a:cubicBezTo>
                    <a:pt x="253" y="278"/>
                    <a:pt x="247" y="281"/>
                    <a:pt x="239" y="274"/>
                  </a:cubicBezTo>
                  <a:cubicBezTo>
                    <a:pt x="230" y="267"/>
                    <a:pt x="221" y="250"/>
                    <a:pt x="209" y="247"/>
                  </a:cubicBezTo>
                  <a:cubicBezTo>
                    <a:pt x="198" y="245"/>
                    <a:pt x="176" y="243"/>
                    <a:pt x="174" y="243"/>
                  </a:cubicBezTo>
                  <a:close/>
                  <a:moveTo>
                    <a:pt x="108" y="215"/>
                  </a:moveTo>
                  <a:cubicBezTo>
                    <a:pt x="109" y="216"/>
                    <a:pt x="102" y="238"/>
                    <a:pt x="93" y="254"/>
                  </a:cubicBezTo>
                  <a:cubicBezTo>
                    <a:pt x="84" y="271"/>
                    <a:pt x="81" y="271"/>
                    <a:pt x="73" y="283"/>
                  </a:cubicBezTo>
                  <a:cubicBezTo>
                    <a:pt x="65" y="295"/>
                    <a:pt x="45" y="309"/>
                    <a:pt x="44" y="316"/>
                  </a:cubicBezTo>
                  <a:cubicBezTo>
                    <a:pt x="43" y="323"/>
                    <a:pt x="41" y="343"/>
                    <a:pt x="43" y="350"/>
                  </a:cubicBezTo>
                  <a:cubicBezTo>
                    <a:pt x="44" y="357"/>
                    <a:pt x="61" y="358"/>
                    <a:pt x="69" y="357"/>
                  </a:cubicBezTo>
                  <a:cubicBezTo>
                    <a:pt x="77" y="355"/>
                    <a:pt x="84" y="347"/>
                    <a:pt x="91" y="347"/>
                  </a:cubicBezTo>
                  <a:cubicBezTo>
                    <a:pt x="98" y="347"/>
                    <a:pt x="96" y="355"/>
                    <a:pt x="97" y="361"/>
                  </a:cubicBezTo>
                  <a:cubicBezTo>
                    <a:pt x="97" y="366"/>
                    <a:pt x="101" y="368"/>
                    <a:pt x="118" y="372"/>
                  </a:cubicBezTo>
                  <a:cubicBezTo>
                    <a:pt x="136" y="377"/>
                    <a:pt x="140" y="364"/>
                    <a:pt x="144" y="352"/>
                  </a:cubicBezTo>
                  <a:cubicBezTo>
                    <a:pt x="148" y="339"/>
                    <a:pt x="140" y="339"/>
                    <a:pt x="136" y="328"/>
                  </a:cubicBezTo>
                  <a:cubicBezTo>
                    <a:pt x="133" y="316"/>
                    <a:pt x="136" y="302"/>
                    <a:pt x="136" y="292"/>
                  </a:cubicBezTo>
                  <a:cubicBezTo>
                    <a:pt x="135" y="281"/>
                    <a:pt x="141" y="272"/>
                    <a:pt x="147" y="265"/>
                  </a:cubicBezTo>
                  <a:cubicBezTo>
                    <a:pt x="153" y="258"/>
                    <a:pt x="160" y="248"/>
                    <a:pt x="186" y="258"/>
                  </a:cubicBezTo>
                  <a:cubicBezTo>
                    <a:pt x="212" y="267"/>
                    <a:pt x="239" y="298"/>
                    <a:pt x="242" y="306"/>
                  </a:cubicBezTo>
                  <a:cubicBezTo>
                    <a:pt x="245" y="313"/>
                    <a:pt x="232" y="318"/>
                    <a:pt x="227" y="325"/>
                  </a:cubicBezTo>
                  <a:cubicBezTo>
                    <a:pt x="222" y="332"/>
                    <a:pt x="196" y="338"/>
                    <a:pt x="186" y="337"/>
                  </a:cubicBezTo>
                  <a:cubicBezTo>
                    <a:pt x="175" y="336"/>
                    <a:pt x="172" y="344"/>
                    <a:pt x="167" y="348"/>
                  </a:cubicBezTo>
                  <a:cubicBezTo>
                    <a:pt x="162" y="351"/>
                    <a:pt x="167" y="361"/>
                    <a:pt x="172" y="367"/>
                  </a:cubicBezTo>
                  <a:cubicBezTo>
                    <a:pt x="177" y="373"/>
                    <a:pt x="211" y="373"/>
                    <a:pt x="224" y="364"/>
                  </a:cubicBezTo>
                  <a:cubicBezTo>
                    <a:pt x="237" y="354"/>
                    <a:pt x="272" y="328"/>
                    <a:pt x="272" y="328"/>
                  </a:cubicBezTo>
                  <a:cubicBezTo>
                    <a:pt x="272" y="328"/>
                    <a:pt x="285" y="340"/>
                    <a:pt x="293" y="348"/>
                  </a:cubicBezTo>
                  <a:cubicBezTo>
                    <a:pt x="301" y="357"/>
                    <a:pt x="319" y="369"/>
                    <a:pt x="352" y="373"/>
                  </a:cubicBezTo>
                  <a:cubicBezTo>
                    <a:pt x="385" y="377"/>
                    <a:pt x="398" y="356"/>
                    <a:pt x="401" y="352"/>
                  </a:cubicBezTo>
                  <a:cubicBezTo>
                    <a:pt x="405" y="348"/>
                    <a:pt x="399" y="342"/>
                    <a:pt x="389" y="333"/>
                  </a:cubicBezTo>
                  <a:cubicBezTo>
                    <a:pt x="379" y="323"/>
                    <a:pt x="353" y="312"/>
                    <a:pt x="337" y="313"/>
                  </a:cubicBezTo>
                  <a:cubicBezTo>
                    <a:pt x="321" y="315"/>
                    <a:pt x="303" y="305"/>
                    <a:pt x="292" y="299"/>
                  </a:cubicBezTo>
                  <a:cubicBezTo>
                    <a:pt x="282" y="293"/>
                    <a:pt x="287" y="293"/>
                    <a:pt x="291" y="277"/>
                  </a:cubicBezTo>
                  <a:cubicBezTo>
                    <a:pt x="295" y="261"/>
                    <a:pt x="294" y="231"/>
                    <a:pt x="291" y="217"/>
                  </a:cubicBezTo>
                  <a:cubicBezTo>
                    <a:pt x="287" y="204"/>
                    <a:pt x="269" y="200"/>
                    <a:pt x="264" y="192"/>
                  </a:cubicBezTo>
                  <a:cubicBezTo>
                    <a:pt x="258" y="184"/>
                    <a:pt x="251" y="180"/>
                    <a:pt x="261" y="173"/>
                  </a:cubicBezTo>
                  <a:cubicBezTo>
                    <a:pt x="272" y="166"/>
                    <a:pt x="282" y="146"/>
                    <a:pt x="290" y="135"/>
                  </a:cubicBezTo>
                  <a:cubicBezTo>
                    <a:pt x="298" y="123"/>
                    <a:pt x="305" y="117"/>
                    <a:pt x="297" y="107"/>
                  </a:cubicBezTo>
                  <a:cubicBezTo>
                    <a:pt x="289" y="97"/>
                    <a:pt x="283" y="94"/>
                    <a:pt x="281" y="86"/>
                  </a:cubicBezTo>
                  <a:cubicBezTo>
                    <a:pt x="280" y="79"/>
                    <a:pt x="283" y="57"/>
                    <a:pt x="283" y="43"/>
                  </a:cubicBezTo>
                  <a:cubicBezTo>
                    <a:pt x="283" y="29"/>
                    <a:pt x="285" y="30"/>
                    <a:pt x="272" y="15"/>
                  </a:cubicBezTo>
                  <a:cubicBezTo>
                    <a:pt x="260" y="0"/>
                    <a:pt x="248" y="2"/>
                    <a:pt x="241" y="1"/>
                  </a:cubicBezTo>
                  <a:cubicBezTo>
                    <a:pt x="235" y="0"/>
                    <a:pt x="231" y="21"/>
                    <a:pt x="233" y="26"/>
                  </a:cubicBezTo>
                  <a:cubicBezTo>
                    <a:pt x="235" y="31"/>
                    <a:pt x="239" y="31"/>
                    <a:pt x="241" y="35"/>
                  </a:cubicBezTo>
                  <a:cubicBezTo>
                    <a:pt x="242" y="39"/>
                    <a:pt x="239" y="36"/>
                    <a:pt x="243" y="53"/>
                  </a:cubicBezTo>
                  <a:cubicBezTo>
                    <a:pt x="247" y="70"/>
                    <a:pt x="245" y="91"/>
                    <a:pt x="245" y="97"/>
                  </a:cubicBezTo>
                  <a:cubicBezTo>
                    <a:pt x="245" y="103"/>
                    <a:pt x="240" y="107"/>
                    <a:pt x="234" y="114"/>
                  </a:cubicBezTo>
                  <a:cubicBezTo>
                    <a:pt x="228" y="121"/>
                    <a:pt x="206" y="123"/>
                    <a:pt x="194" y="129"/>
                  </a:cubicBezTo>
                  <a:cubicBezTo>
                    <a:pt x="181" y="135"/>
                    <a:pt x="179" y="146"/>
                    <a:pt x="170" y="149"/>
                  </a:cubicBezTo>
                  <a:cubicBezTo>
                    <a:pt x="161" y="151"/>
                    <a:pt x="157" y="138"/>
                    <a:pt x="161" y="121"/>
                  </a:cubicBezTo>
                  <a:cubicBezTo>
                    <a:pt x="164" y="109"/>
                    <a:pt x="168" y="79"/>
                    <a:pt x="168" y="64"/>
                  </a:cubicBezTo>
                  <a:cubicBezTo>
                    <a:pt x="167" y="54"/>
                    <a:pt x="158" y="40"/>
                    <a:pt x="150" y="33"/>
                  </a:cubicBezTo>
                  <a:cubicBezTo>
                    <a:pt x="142" y="25"/>
                    <a:pt x="136" y="30"/>
                    <a:pt x="131" y="32"/>
                  </a:cubicBezTo>
                  <a:cubicBezTo>
                    <a:pt x="126" y="35"/>
                    <a:pt x="120" y="43"/>
                    <a:pt x="122" y="56"/>
                  </a:cubicBezTo>
                  <a:cubicBezTo>
                    <a:pt x="124" y="70"/>
                    <a:pt x="127" y="72"/>
                    <a:pt x="127" y="82"/>
                  </a:cubicBezTo>
                  <a:cubicBezTo>
                    <a:pt x="128" y="92"/>
                    <a:pt x="124" y="113"/>
                    <a:pt x="121" y="133"/>
                  </a:cubicBezTo>
                  <a:cubicBezTo>
                    <a:pt x="117" y="152"/>
                    <a:pt x="104" y="151"/>
                    <a:pt x="90" y="158"/>
                  </a:cubicBezTo>
                  <a:cubicBezTo>
                    <a:pt x="76" y="165"/>
                    <a:pt x="48" y="175"/>
                    <a:pt x="30" y="180"/>
                  </a:cubicBezTo>
                  <a:cubicBezTo>
                    <a:pt x="13" y="184"/>
                    <a:pt x="0" y="191"/>
                    <a:pt x="0" y="200"/>
                  </a:cubicBezTo>
                  <a:cubicBezTo>
                    <a:pt x="0" y="209"/>
                    <a:pt x="9" y="210"/>
                    <a:pt x="22" y="219"/>
                  </a:cubicBezTo>
                  <a:cubicBezTo>
                    <a:pt x="35" y="228"/>
                    <a:pt x="107" y="215"/>
                    <a:pt x="108" y="2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185" name="íŝļïḓè"/>
            <p:cNvSpPr/>
            <p:nvPr/>
          </p:nvSpPr>
          <p:spPr bwMode="auto">
            <a:xfrm>
              <a:off x="6220078" y="4756740"/>
              <a:ext cx="627063" cy="793750"/>
            </a:xfrm>
            <a:custGeom>
              <a:avLst/>
              <a:gdLst>
                <a:gd name="T0" fmla="*/ 194 w 340"/>
                <a:gd name="T1" fmla="*/ 225 h 430"/>
                <a:gd name="T2" fmla="*/ 189 w 340"/>
                <a:gd name="T3" fmla="*/ 204 h 430"/>
                <a:gd name="T4" fmla="*/ 222 w 340"/>
                <a:gd name="T5" fmla="*/ 196 h 430"/>
                <a:gd name="T6" fmla="*/ 234 w 340"/>
                <a:gd name="T7" fmla="*/ 215 h 430"/>
                <a:gd name="T8" fmla="*/ 217 w 340"/>
                <a:gd name="T9" fmla="*/ 231 h 430"/>
                <a:gd name="T10" fmla="*/ 194 w 340"/>
                <a:gd name="T11" fmla="*/ 225 h 430"/>
                <a:gd name="T12" fmla="*/ 33 w 340"/>
                <a:gd name="T13" fmla="*/ 228 h 430"/>
                <a:gd name="T14" fmla="*/ 67 w 340"/>
                <a:gd name="T15" fmla="*/ 224 h 430"/>
                <a:gd name="T16" fmla="*/ 105 w 340"/>
                <a:gd name="T17" fmla="*/ 194 h 430"/>
                <a:gd name="T18" fmla="*/ 164 w 340"/>
                <a:gd name="T19" fmla="*/ 151 h 430"/>
                <a:gd name="T20" fmla="*/ 170 w 340"/>
                <a:gd name="T21" fmla="*/ 163 h 430"/>
                <a:gd name="T22" fmla="*/ 144 w 340"/>
                <a:gd name="T23" fmla="*/ 203 h 430"/>
                <a:gd name="T24" fmla="*/ 142 w 340"/>
                <a:gd name="T25" fmla="*/ 250 h 430"/>
                <a:gd name="T26" fmla="*/ 166 w 340"/>
                <a:gd name="T27" fmla="*/ 278 h 430"/>
                <a:gd name="T28" fmla="*/ 170 w 340"/>
                <a:gd name="T29" fmla="*/ 300 h 430"/>
                <a:gd name="T30" fmla="*/ 132 w 340"/>
                <a:gd name="T31" fmla="*/ 347 h 430"/>
                <a:gd name="T32" fmla="*/ 133 w 340"/>
                <a:gd name="T33" fmla="*/ 397 h 430"/>
                <a:gd name="T34" fmla="*/ 181 w 340"/>
                <a:gd name="T35" fmla="*/ 410 h 430"/>
                <a:gd name="T36" fmla="*/ 184 w 340"/>
                <a:gd name="T37" fmla="*/ 375 h 430"/>
                <a:gd name="T38" fmla="*/ 198 w 340"/>
                <a:gd name="T39" fmla="*/ 374 h 430"/>
                <a:gd name="T40" fmla="*/ 215 w 340"/>
                <a:gd name="T41" fmla="*/ 416 h 430"/>
                <a:gd name="T42" fmla="*/ 240 w 340"/>
                <a:gd name="T43" fmla="*/ 406 h 430"/>
                <a:gd name="T44" fmla="*/ 230 w 340"/>
                <a:gd name="T45" fmla="*/ 341 h 430"/>
                <a:gd name="T46" fmla="*/ 250 w 340"/>
                <a:gd name="T47" fmla="*/ 322 h 430"/>
                <a:gd name="T48" fmla="*/ 268 w 340"/>
                <a:gd name="T49" fmla="*/ 373 h 430"/>
                <a:gd name="T50" fmla="*/ 316 w 340"/>
                <a:gd name="T51" fmla="*/ 385 h 430"/>
                <a:gd name="T52" fmla="*/ 295 w 340"/>
                <a:gd name="T53" fmla="*/ 310 h 430"/>
                <a:gd name="T54" fmla="*/ 263 w 340"/>
                <a:gd name="T55" fmla="*/ 288 h 430"/>
                <a:gd name="T56" fmla="*/ 264 w 340"/>
                <a:gd name="T57" fmla="*/ 259 h 430"/>
                <a:gd name="T58" fmla="*/ 265 w 340"/>
                <a:gd name="T59" fmla="*/ 233 h 430"/>
                <a:gd name="T60" fmla="*/ 300 w 340"/>
                <a:gd name="T61" fmla="*/ 199 h 430"/>
                <a:gd name="T62" fmla="*/ 275 w 340"/>
                <a:gd name="T63" fmla="*/ 161 h 430"/>
                <a:gd name="T64" fmla="*/ 217 w 340"/>
                <a:gd name="T65" fmla="*/ 159 h 430"/>
                <a:gd name="T66" fmla="*/ 270 w 340"/>
                <a:gd name="T67" fmla="*/ 132 h 430"/>
                <a:gd name="T68" fmla="*/ 316 w 340"/>
                <a:gd name="T69" fmla="*/ 126 h 430"/>
                <a:gd name="T70" fmla="*/ 332 w 340"/>
                <a:gd name="T71" fmla="*/ 110 h 430"/>
                <a:gd name="T72" fmla="*/ 321 w 340"/>
                <a:gd name="T73" fmla="*/ 75 h 430"/>
                <a:gd name="T74" fmla="*/ 256 w 340"/>
                <a:gd name="T75" fmla="*/ 74 h 430"/>
                <a:gd name="T76" fmla="*/ 240 w 340"/>
                <a:gd name="T77" fmla="*/ 51 h 430"/>
                <a:gd name="T78" fmla="*/ 212 w 340"/>
                <a:gd name="T79" fmla="*/ 9 h 430"/>
                <a:gd name="T80" fmla="*/ 190 w 340"/>
                <a:gd name="T81" fmla="*/ 6 h 430"/>
                <a:gd name="T82" fmla="*/ 174 w 340"/>
                <a:gd name="T83" fmla="*/ 34 h 430"/>
                <a:gd name="T84" fmla="*/ 183 w 340"/>
                <a:gd name="T85" fmla="*/ 70 h 430"/>
                <a:gd name="T86" fmla="*/ 172 w 340"/>
                <a:gd name="T87" fmla="*/ 98 h 430"/>
                <a:gd name="T88" fmla="*/ 65 w 340"/>
                <a:gd name="T89" fmla="*/ 161 h 430"/>
                <a:gd name="T90" fmla="*/ 21 w 340"/>
                <a:gd name="T91" fmla="*/ 171 h 430"/>
                <a:gd name="T92" fmla="*/ 10 w 340"/>
                <a:gd name="T93" fmla="*/ 198 h 430"/>
                <a:gd name="T94" fmla="*/ 33 w 340"/>
                <a:gd name="T95" fmla="*/ 228 h 4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340" h="430">
                  <a:moveTo>
                    <a:pt x="194" y="225"/>
                  </a:moveTo>
                  <a:cubicBezTo>
                    <a:pt x="194" y="225"/>
                    <a:pt x="178" y="212"/>
                    <a:pt x="189" y="204"/>
                  </a:cubicBezTo>
                  <a:cubicBezTo>
                    <a:pt x="201" y="196"/>
                    <a:pt x="211" y="188"/>
                    <a:pt x="222" y="196"/>
                  </a:cubicBezTo>
                  <a:cubicBezTo>
                    <a:pt x="234" y="203"/>
                    <a:pt x="238" y="207"/>
                    <a:pt x="234" y="215"/>
                  </a:cubicBezTo>
                  <a:cubicBezTo>
                    <a:pt x="230" y="222"/>
                    <a:pt x="228" y="229"/>
                    <a:pt x="217" y="231"/>
                  </a:cubicBezTo>
                  <a:cubicBezTo>
                    <a:pt x="204" y="230"/>
                    <a:pt x="194" y="225"/>
                    <a:pt x="194" y="225"/>
                  </a:cubicBezTo>
                  <a:close/>
                  <a:moveTo>
                    <a:pt x="33" y="228"/>
                  </a:moveTo>
                  <a:cubicBezTo>
                    <a:pt x="40" y="229"/>
                    <a:pt x="52" y="231"/>
                    <a:pt x="67" y="224"/>
                  </a:cubicBezTo>
                  <a:cubicBezTo>
                    <a:pt x="82" y="216"/>
                    <a:pt x="91" y="208"/>
                    <a:pt x="105" y="194"/>
                  </a:cubicBezTo>
                  <a:cubicBezTo>
                    <a:pt x="119" y="180"/>
                    <a:pt x="153" y="155"/>
                    <a:pt x="164" y="151"/>
                  </a:cubicBezTo>
                  <a:cubicBezTo>
                    <a:pt x="176" y="146"/>
                    <a:pt x="176" y="155"/>
                    <a:pt x="170" y="163"/>
                  </a:cubicBezTo>
                  <a:cubicBezTo>
                    <a:pt x="164" y="171"/>
                    <a:pt x="150" y="188"/>
                    <a:pt x="144" y="203"/>
                  </a:cubicBezTo>
                  <a:cubicBezTo>
                    <a:pt x="139" y="218"/>
                    <a:pt x="134" y="224"/>
                    <a:pt x="142" y="250"/>
                  </a:cubicBezTo>
                  <a:cubicBezTo>
                    <a:pt x="149" y="275"/>
                    <a:pt x="160" y="275"/>
                    <a:pt x="166" y="278"/>
                  </a:cubicBezTo>
                  <a:cubicBezTo>
                    <a:pt x="172" y="281"/>
                    <a:pt x="176" y="301"/>
                    <a:pt x="170" y="300"/>
                  </a:cubicBezTo>
                  <a:cubicBezTo>
                    <a:pt x="164" y="299"/>
                    <a:pt x="136" y="327"/>
                    <a:pt x="132" y="347"/>
                  </a:cubicBezTo>
                  <a:cubicBezTo>
                    <a:pt x="127" y="366"/>
                    <a:pt x="123" y="375"/>
                    <a:pt x="133" y="397"/>
                  </a:cubicBezTo>
                  <a:cubicBezTo>
                    <a:pt x="144" y="419"/>
                    <a:pt x="174" y="413"/>
                    <a:pt x="181" y="410"/>
                  </a:cubicBezTo>
                  <a:cubicBezTo>
                    <a:pt x="189" y="407"/>
                    <a:pt x="185" y="395"/>
                    <a:pt x="184" y="375"/>
                  </a:cubicBezTo>
                  <a:cubicBezTo>
                    <a:pt x="182" y="355"/>
                    <a:pt x="192" y="364"/>
                    <a:pt x="198" y="374"/>
                  </a:cubicBezTo>
                  <a:cubicBezTo>
                    <a:pt x="204" y="384"/>
                    <a:pt x="203" y="402"/>
                    <a:pt x="215" y="416"/>
                  </a:cubicBezTo>
                  <a:cubicBezTo>
                    <a:pt x="226" y="430"/>
                    <a:pt x="235" y="419"/>
                    <a:pt x="240" y="406"/>
                  </a:cubicBezTo>
                  <a:cubicBezTo>
                    <a:pt x="245" y="393"/>
                    <a:pt x="232" y="357"/>
                    <a:pt x="230" y="341"/>
                  </a:cubicBezTo>
                  <a:cubicBezTo>
                    <a:pt x="229" y="326"/>
                    <a:pt x="238" y="322"/>
                    <a:pt x="250" y="322"/>
                  </a:cubicBezTo>
                  <a:cubicBezTo>
                    <a:pt x="262" y="322"/>
                    <a:pt x="248" y="347"/>
                    <a:pt x="268" y="373"/>
                  </a:cubicBezTo>
                  <a:cubicBezTo>
                    <a:pt x="287" y="399"/>
                    <a:pt x="292" y="396"/>
                    <a:pt x="316" y="385"/>
                  </a:cubicBezTo>
                  <a:cubicBezTo>
                    <a:pt x="340" y="375"/>
                    <a:pt x="311" y="327"/>
                    <a:pt x="295" y="310"/>
                  </a:cubicBezTo>
                  <a:cubicBezTo>
                    <a:pt x="279" y="294"/>
                    <a:pt x="263" y="294"/>
                    <a:pt x="263" y="288"/>
                  </a:cubicBezTo>
                  <a:cubicBezTo>
                    <a:pt x="263" y="282"/>
                    <a:pt x="266" y="267"/>
                    <a:pt x="264" y="259"/>
                  </a:cubicBezTo>
                  <a:cubicBezTo>
                    <a:pt x="262" y="251"/>
                    <a:pt x="258" y="239"/>
                    <a:pt x="265" y="233"/>
                  </a:cubicBezTo>
                  <a:cubicBezTo>
                    <a:pt x="273" y="226"/>
                    <a:pt x="301" y="222"/>
                    <a:pt x="300" y="199"/>
                  </a:cubicBezTo>
                  <a:cubicBezTo>
                    <a:pt x="299" y="177"/>
                    <a:pt x="294" y="175"/>
                    <a:pt x="275" y="161"/>
                  </a:cubicBezTo>
                  <a:cubicBezTo>
                    <a:pt x="257" y="148"/>
                    <a:pt x="216" y="168"/>
                    <a:pt x="217" y="159"/>
                  </a:cubicBezTo>
                  <a:cubicBezTo>
                    <a:pt x="218" y="150"/>
                    <a:pt x="250" y="138"/>
                    <a:pt x="270" y="132"/>
                  </a:cubicBezTo>
                  <a:cubicBezTo>
                    <a:pt x="290" y="125"/>
                    <a:pt x="306" y="126"/>
                    <a:pt x="316" y="126"/>
                  </a:cubicBezTo>
                  <a:cubicBezTo>
                    <a:pt x="326" y="126"/>
                    <a:pt x="326" y="118"/>
                    <a:pt x="332" y="110"/>
                  </a:cubicBezTo>
                  <a:cubicBezTo>
                    <a:pt x="337" y="102"/>
                    <a:pt x="334" y="88"/>
                    <a:pt x="321" y="75"/>
                  </a:cubicBezTo>
                  <a:cubicBezTo>
                    <a:pt x="308" y="61"/>
                    <a:pt x="263" y="74"/>
                    <a:pt x="256" y="74"/>
                  </a:cubicBezTo>
                  <a:cubicBezTo>
                    <a:pt x="250" y="74"/>
                    <a:pt x="250" y="63"/>
                    <a:pt x="240" y="51"/>
                  </a:cubicBezTo>
                  <a:cubicBezTo>
                    <a:pt x="229" y="38"/>
                    <a:pt x="220" y="18"/>
                    <a:pt x="212" y="9"/>
                  </a:cubicBezTo>
                  <a:cubicBezTo>
                    <a:pt x="205" y="0"/>
                    <a:pt x="203" y="8"/>
                    <a:pt x="190" y="6"/>
                  </a:cubicBezTo>
                  <a:cubicBezTo>
                    <a:pt x="176" y="3"/>
                    <a:pt x="165" y="15"/>
                    <a:pt x="174" y="34"/>
                  </a:cubicBezTo>
                  <a:cubicBezTo>
                    <a:pt x="183" y="53"/>
                    <a:pt x="183" y="56"/>
                    <a:pt x="183" y="70"/>
                  </a:cubicBezTo>
                  <a:cubicBezTo>
                    <a:pt x="183" y="84"/>
                    <a:pt x="197" y="88"/>
                    <a:pt x="172" y="98"/>
                  </a:cubicBezTo>
                  <a:cubicBezTo>
                    <a:pt x="147" y="108"/>
                    <a:pt x="75" y="152"/>
                    <a:pt x="65" y="161"/>
                  </a:cubicBezTo>
                  <a:cubicBezTo>
                    <a:pt x="55" y="170"/>
                    <a:pt x="26" y="169"/>
                    <a:pt x="21" y="171"/>
                  </a:cubicBezTo>
                  <a:cubicBezTo>
                    <a:pt x="15" y="173"/>
                    <a:pt x="0" y="170"/>
                    <a:pt x="10" y="198"/>
                  </a:cubicBezTo>
                  <a:cubicBezTo>
                    <a:pt x="24" y="238"/>
                    <a:pt x="26" y="227"/>
                    <a:pt x="33" y="2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186" name="ïs1îḋè"/>
            <p:cNvSpPr/>
            <p:nvPr/>
          </p:nvSpPr>
          <p:spPr bwMode="auto">
            <a:xfrm>
              <a:off x="7263066" y="4780553"/>
              <a:ext cx="674688" cy="863600"/>
            </a:xfrm>
            <a:custGeom>
              <a:avLst/>
              <a:gdLst>
                <a:gd name="T0" fmla="*/ 258 w 366"/>
                <a:gd name="T1" fmla="*/ 136 h 468"/>
                <a:gd name="T2" fmla="*/ 270 w 366"/>
                <a:gd name="T3" fmla="*/ 115 h 468"/>
                <a:gd name="T4" fmla="*/ 287 w 366"/>
                <a:gd name="T5" fmla="*/ 153 h 468"/>
                <a:gd name="T6" fmla="*/ 200 w 366"/>
                <a:gd name="T7" fmla="*/ 103 h 468"/>
                <a:gd name="T8" fmla="*/ 227 w 366"/>
                <a:gd name="T9" fmla="*/ 122 h 468"/>
                <a:gd name="T10" fmla="*/ 225 w 366"/>
                <a:gd name="T11" fmla="*/ 167 h 468"/>
                <a:gd name="T12" fmla="*/ 215 w 366"/>
                <a:gd name="T13" fmla="*/ 201 h 468"/>
                <a:gd name="T14" fmla="*/ 197 w 366"/>
                <a:gd name="T15" fmla="*/ 167 h 468"/>
                <a:gd name="T16" fmla="*/ 204 w 366"/>
                <a:gd name="T17" fmla="*/ 133 h 468"/>
                <a:gd name="T18" fmla="*/ 200 w 366"/>
                <a:gd name="T19" fmla="*/ 103 h 468"/>
                <a:gd name="T20" fmla="*/ 271 w 366"/>
                <a:gd name="T21" fmla="*/ 175 h 468"/>
                <a:gd name="T22" fmla="*/ 286 w 366"/>
                <a:gd name="T23" fmla="*/ 190 h 468"/>
                <a:gd name="T24" fmla="*/ 146 w 366"/>
                <a:gd name="T25" fmla="*/ 109 h 468"/>
                <a:gd name="T26" fmla="*/ 87 w 366"/>
                <a:gd name="T27" fmla="*/ 173 h 468"/>
                <a:gd name="T28" fmla="*/ 7 w 366"/>
                <a:gd name="T29" fmla="*/ 236 h 468"/>
                <a:gd name="T30" fmla="*/ 111 w 366"/>
                <a:gd name="T31" fmla="*/ 239 h 468"/>
                <a:gd name="T32" fmla="*/ 108 w 366"/>
                <a:gd name="T33" fmla="*/ 279 h 468"/>
                <a:gd name="T34" fmla="*/ 110 w 366"/>
                <a:gd name="T35" fmla="*/ 332 h 468"/>
                <a:gd name="T36" fmla="*/ 139 w 366"/>
                <a:gd name="T37" fmla="*/ 316 h 468"/>
                <a:gd name="T38" fmla="*/ 159 w 366"/>
                <a:gd name="T39" fmla="*/ 326 h 468"/>
                <a:gd name="T40" fmla="*/ 189 w 366"/>
                <a:gd name="T41" fmla="*/ 330 h 468"/>
                <a:gd name="T42" fmla="*/ 217 w 366"/>
                <a:gd name="T43" fmla="*/ 281 h 468"/>
                <a:gd name="T44" fmla="*/ 284 w 366"/>
                <a:gd name="T45" fmla="*/ 237 h 468"/>
                <a:gd name="T46" fmla="*/ 287 w 366"/>
                <a:gd name="T47" fmla="*/ 396 h 468"/>
                <a:gd name="T48" fmla="*/ 284 w 366"/>
                <a:gd name="T49" fmla="*/ 461 h 468"/>
                <a:gd name="T50" fmla="*/ 319 w 366"/>
                <a:gd name="T51" fmla="*/ 393 h 468"/>
                <a:gd name="T52" fmla="*/ 327 w 366"/>
                <a:gd name="T53" fmla="*/ 227 h 468"/>
                <a:gd name="T54" fmla="*/ 363 w 366"/>
                <a:gd name="T55" fmla="*/ 202 h 468"/>
                <a:gd name="T56" fmla="*/ 324 w 366"/>
                <a:gd name="T57" fmla="*/ 162 h 468"/>
                <a:gd name="T58" fmla="*/ 330 w 366"/>
                <a:gd name="T59" fmla="*/ 85 h 468"/>
                <a:gd name="T60" fmla="*/ 324 w 366"/>
                <a:gd name="T61" fmla="*/ 23 h 468"/>
                <a:gd name="T62" fmla="*/ 275 w 366"/>
                <a:gd name="T63" fmla="*/ 29 h 468"/>
                <a:gd name="T64" fmla="*/ 286 w 366"/>
                <a:gd name="T65" fmla="*/ 69 h 468"/>
                <a:gd name="T66" fmla="*/ 253 w 366"/>
                <a:gd name="T67" fmla="*/ 65 h 468"/>
                <a:gd name="T68" fmla="*/ 212 w 366"/>
                <a:gd name="T69" fmla="*/ 52 h 468"/>
                <a:gd name="T70" fmla="*/ 115 w 366"/>
                <a:gd name="T71" fmla="*/ 68 h 468"/>
                <a:gd name="T72" fmla="*/ 30 w 366"/>
                <a:gd name="T73" fmla="*/ 163 h 468"/>
                <a:gd name="T74" fmla="*/ 96 w 366"/>
                <a:gd name="T75" fmla="*/ 132 h 4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366" h="468">
                  <a:moveTo>
                    <a:pt x="270" y="152"/>
                  </a:moveTo>
                  <a:cubicBezTo>
                    <a:pt x="270" y="152"/>
                    <a:pt x="273" y="146"/>
                    <a:pt x="258" y="136"/>
                  </a:cubicBezTo>
                  <a:cubicBezTo>
                    <a:pt x="242" y="126"/>
                    <a:pt x="247" y="126"/>
                    <a:pt x="254" y="122"/>
                  </a:cubicBezTo>
                  <a:cubicBezTo>
                    <a:pt x="261" y="119"/>
                    <a:pt x="262" y="114"/>
                    <a:pt x="270" y="115"/>
                  </a:cubicBezTo>
                  <a:cubicBezTo>
                    <a:pt x="279" y="116"/>
                    <a:pt x="285" y="112"/>
                    <a:pt x="287" y="120"/>
                  </a:cubicBezTo>
                  <a:cubicBezTo>
                    <a:pt x="289" y="128"/>
                    <a:pt x="291" y="151"/>
                    <a:pt x="287" y="153"/>
                  </a:cubicBezTo>
                  <a:cubicBezTo>
                    <a:pt x="284" y="155"/>
                    <a:pt x="271" y="153"/>
                    <a:pt x="270" y="152"/>
                  </a:cubicBezTo>
                  <a:close/>
                  <a:moveTo>
                    <a:pt x="200" y="103"/>
                  </a:moveTo>
                  <a:cubicBezTo>
                    <a:pt x="200" y="99"/>
                    <a:pt x="207" y="96"/>
                    <a:pt x="216" y="102"/>
                  </a:cubicBezTo>
                  <a:cubicBezTo>
                    <a:pt x="225" y="108"/>
                    <a:pt x="228" y="113"/>
                    <a:pt x="227" y="122"/>
                  </a:cubicBezTo>
                  <a:cubicBezTo>
                    <a:pt x="225" y="131"/>
                    <a:pt x="222" y="135"/>
                    <a:pt x="223" y="145"/>
                  </a:cubicBezTo>
                  <a:cubicBezTo>
                    <a:pt x="223" y="156"/>
                    <a:pt x="217" y="162"/>
                    <a:pt x="225" y="167"/>
                  </a:cubicBezTo>
                  <a:cubicBezTo>
                    <a:pt x="232" y="173"/>
                    <a:pt x="235" y="171"/>
                    <a:pt x="233" y="185"/>
                  </a:cubicBezTo>
                  <a:cubicBezTo>
                    <a:pt x="231" y="202"/>
                    <a:pt x="214" y="210"/>
                    <a:pt x="215" y="201"/>
                  </a:cubicBezTo>
                  <a:cubicBezTo>
                    <a:pt x="215" y="192"/>
                    <a:pt x="220" y="185"/>
                    <a:pt x="213" y="176"/>
                  </a:cubicBezTo>
                  <a:cubicBezTo>
                    <a:pt x="205" y="167"/>
                    <a:pt x="204" y="178"/>
                    <a:pt x="197" y="167"/>
                  </a:cubicBezTo>
                  <a:cubicBezTo>
                    <a:pt x="191" y="155"/>
                    <a:pt x="195" y="154"/>
                    <a:pt x="199" y="152"/>
                  </a:cubicBezTo>
                  <a:cubicBezTo>
                    <a:pt x="204" y="149"/>
                    <a:pt x="209" y="147"/>
                    <a:pt x="204" y="133"/>
                  </a:cubicBezTo>
                  <a:cubicBezTo>
                    <a:pt x="199" y="119"/>
                    <a:pt x="198" y="127"/>
                    <a:pt x="197" y="119"/>
                  </a:cubicBezTo>
                  <a:cubicBezTo>
                    <a:pt x="196" y="112"/>
                    <a:pt x="200" y="107"/>
                    <a:pt x="200" y="103"/>
                  </a:cubicBezTo>
                  <a:close/>
                  <a:moveTo>
                    <a:pt x="246" y="206"/>
                  </a:moveTo>
                  <a:cubicBezTo>
                    <a:pt x="243" y="205"/>
                    <a:pt x="264" y="181"/>
                    <a:pt x="271" y="175"/>
                  </a:cubicBezTo>
                  <a:cubicBezTo>
                    <a:pt x="277" y="170"/>
                    <a:pt x="289" y="166"/>
                    <a:pt x="288" y="173"/>
                  </a:cubicBezTo>
                  <a:cubicBezTo>
                    <a:pt x="287" y="180"/>
                    <a:pt x="291" y="185"/>
                    <a:pt x="286" y="190"/>
                  </a:cubicBezTo>
                  <a:cubicBezTo>
                    <a:pt x="282" y="195"/>
                    <a:pt x="250" y="207"/>
                    <a:pt x="246" y="206"/>
                  </a:cubicBezTo>
                  <a:close/>
                  <a:moveTo>
                    <a:pt x="146" y="109"/>
                  </a:moveTo>
                  <a:cubicBezTo>
                    <a:pt x="146" y="114"/>
                    <a:pt x="141" y="124"/>
                    <a:pt x="134" y="134"/>
                  </a:cubicBezTo>
                  <a:cubicBezTo>
                    <a:pt x="127" y="144"/>
                    <a:pt x="103" y="162"/>
                    <a:pt x="87" y="173"/>
                  </a:cubicBezTo>
                  <a:cubicBezTo>
                    <a:pt x="70" y="183"/>
                    <a:pt x="23" y="206"/>
                    <a:pt x="16" y="212"/>
                  </a:cubicBezTo>
                  <a:cubicBezTo>
                    <a:pt x="10" y="218"/>
                    <a:pt x="0" y="213"/>
                    <a:pt x="7" y="236"/>
                  </a:cubicBezTo>
                  <a:cubicBezTo>
                    <a:pt x="13" y="258"/>
                    <a:pt x="24" y="253"/>
                    <a:pt x="55" y="252"/>
                  </a:cubicBezTo>
                  <a:cubicBezTo>
                    <a:pt x="85" y="250"/>
                    <a:pt x="106" y="237"/>
                    <a:pt x="111" y="239"/>
                  </a:cubicBezTo>
                  <a:cubicBezTo>
                    <a:pt x="116" y="242"/>
                    <a:pt x="119" y="251"/>
                    <a:pt x="119" y="259"/>
                  </a:cubicBezTo>
                  <a:cubicBezTo>
                    <a:pt x="120" y="266"/>
                    <a:pt x="116" y="270"/>
                    <a:pt x="108" y="279"/>
                  </a:cubicBezTo>
                  <a:cubicBezTo>
                    <a:pt x="100" y="288"/>
                    <a:pt x="100" y="303"/>
                    <a:pt x="100" y="311"/>
                  </a:cubicBezTo>
                  <a:cubicBezTo>
                    <a:pt x="101" y="318"/>
                    <a:pt x="104" y="325"/>
                    <a:pt x="110" y="332"/>
                  </a:cubicBezTo>
                  <a:cubicBezTo>
                    <a:pt x="117" y="338"/>
                    <a:pt x="119" y="333"/>
                    <a:pt x="127" y="333"/>
                  </a:cubicBezTo>
                  <a:cubicBezTo>
                    <a:pt x="134" y="332"/>
                    <a:pt x="138" y="323"/>
                    <a:pt x="139" y="316"/>
                  </a:cubicBezTo>
                  <a:cubicBezTo>
                    <a:pt x="140" y="308"/>
                    <a:pt x="148" y="313"/>
                    <a:pt x="155" y="314"/>
                  </a:cubicBezTo>
                  <a:cubicBezTo>
                    <a:pt x="161" y="316"/>
                    <a:pt x="158" y="318"/>
                    <a:pt x="159" y="326"/>
                  </a:cubicBezTo>
                  <a:cubicBezTo>
                    <a:pt x="159" y="334"/>
                    <a:pt x="159" y="336"/>
                    <a:pt x="168" y="339"/>
                  </a:cubicBezTo>
                  <a:cubicBezTo>
                    <a:pt x="177" y="343"/>
                    <a:pt x="178" y="342"/>
                    <a:pt x="189" y="330"/>
                  </a:cubicBezTo>
                  <a:cubicBezTo>
                    <a:pt x="199" y="319"/>
                    <a:pt x="187" y="291"/>
                    <a:pt x="193" y="292"/>
                  </a:cubicBezTo>
                  <a:cubicBezTo>
                    <a:pt x="198" y="293"/>
                    <a:pt x="209" y="289"/>
                    <a:pt x="217" y="281"/>
                  </a:cubicBezTo>
                  <a:cubicBezTo>
                    <a:pt x="225" y="273"/>
                    <a:pt x="232" y="272"/>
                    <a:pt x="243" y="263"/>
                  </a:cubicBezTo>
                  <a:cubicBezTo>
                    <a:pt x="253" y="254"/>
                    <a:pt x="278" y="233"/>
                    <a:pt x="284" y="237"/>
                  </a:cubicBezTo>
                  <a:cubicBezTo>
                    <a:pt x="290" y="240"/>
                    <a:pt x="285" y="282"/>
                    <a:pt x="286" y="321"/>
                  </a:cubicBezTo>
                  <a:cubicBezTo>
                    <a:pt x="288" y="361"/>
                    <a:pt x="286" y="379"/>
                    <a:pt x="287" y="396"/>
                  </a:cubicBezTo>
                  <a:cubicBezTo>
                    <a:pt x="289" y="413"/>
                    <a:pt x="278" y="425"/>
                    <a:pt x="278" y="434"/>
                  </a:cubicBezTo>
                  <a:cubicBezTo>
                    <a:pt x="277" y="443"/>
                    <a:pt x="278" y="454"/>
                    <a:pt x="284" y="461"/>
                  </a:cubicBezTo>
                  <a:cubicBezTo>
                    <a:pt x="291" y="468"/>
                    <a:pt x="296" y="458"/>
                    <a:pt x="305" y="449"/>
                  </a:cubicBezTo>
                  <a:cubicBezTo>
                    <a:pt x="314" y="440"/>
                    <a:pt x="315" y="424"/>
                    <a:pt x="319" y="393"/>
                  </a:cubicBezTo>
                  <a:cubicBezTo>
                    <a:pt x="323" y="362"/>
                    <a:pt x="318" y="269"/>
                    <a:pt x="320" y="252"/>
                  </a:cubicBezTo>
                  <a:cubicBezTo>
                    <a:pt x="321" y="236"/>
                    <a:pt x="323" y="232"/>
                    <a:pt x="327" y="227"/>
                  </a:cubicBezTo>
                  <a:cubicBezTo>
                    <a:pt x="332" y="222"/>
                    <a:pt x="332" y="212"/>
                    <a:pt x="340" y="211"/>
                  </a:cubicBezTo>
                  <a:cubicBezTo>
                    <a:pt x="349" y="210"/>
                    <a:pt x="360" y="212"/>
                    <a:pt x="363" y="202"/>
                  </a:cubicBezTo>
                  <a:cubicBezTo>
                    <a:pt x="366" y="192"/>
                    <a:pt x="364" y="182"/>
                    <a:pt x="358" y="177"/>
                  </a:cubicBezTo>
                  <a:cubicBezTo>
                    <a:pt x="352" y="172"/>
                    <a:pt x="326" y="167"/>
                    <a:pt x="324" y="162"/>
                  </a:cubicBezTo>
                  <a:cubicBezTo>
                    <a:pt x="322" y="158"/>
                    <a:pt x="323" y="119"/>
                    <a:pt x="322" y="108"/>
                  </a:cubicBezTo>
                  <a:cubicBezTo>
                    <a:pt x="322" y="96"/>
                    <a:pt x="324" y="98"/>
                    <a:pt x="330" y="85"/>
                  </a:cubicBezTo>
                  <a:cubicBezTo>
                    <a:pt x="336" y="73"/>
                    <a:pt x="333" y="65"/>
                    <a:pt x="334" y="48"/>
                  </a:cubicBezTo>
                  <a:cubicBezTo>
                    <a:pt x="334" y="32"/>
                    <a:pt x="334" y="33"/>
                    <a:pt x="324" y="23"/>
                  </a:cubicBezTo>
                  <a:cubicBezTo>
                    <a:pt x="315" y="14"/>
                    <a:pt x="306" y="6"/>
                    <a:pt x="292" y="3"/>
                  </a:cubicBezTo>
                  <a:cubicBezTo>
                    <a:pt x="278" y="0"/>
                    <a:pt x="274" y="12"/>
                    <a:pt x="275" y="29"/>
                  </a:cubicBezTo>
                  <a:cubicBezTo>
                    <a:pt x="275" y="47"/>
                    <a:pt x="278" y="37"/>
                    <a:pt x="282" y="43"/>
                  </a:cubicBezTo>
                  <a:cubicBezTo>
                    <a:pt x="286" y="49"/>
                    <a:pt x="285" y="62"/>
                    <a:pt x="286" y="69"/>
                  </a:cubicBezTo>
                  <a:cubicBezTo>
                    <a:pt x="287" y="76"/>
                    <a:pt x="283" y="77"/>
                    <a:pt x="274" y="77"/>
                  </a:cubicBezTo>
                  <a:cubicBezTo>
                    <a:pt x="265" y="78"/>
                    <a:pt x="268" y="69"/>
                    <a:pt x="253" y="65"/>
                  </a:cubicBezTo>
                  <a:cubicBezTo>
                    <a:pt x="238" y="60"/>
                    <a:pt x="225" y="74"/>
                    <a:pt x="218" y="72"/>
                  </a:cubicBezTo>
                  <a:cubicBezTo>
                    <a:pt x="212" y="71"/>
                    <a:pt x="215" y="68"/>
                    <a:pt x="212" y="52"/>
                  </a:cubicBezTo>
                  <a:cubicBezTo>
                    <a:pt x="209" y="36"/>
                    <a:pt x="191" y="26"/>
                    <a:pt x="177" y="26"/>
                  </a:cubicBezTo>
                  <a:cubicBezTo>
                    <a:pt x="164" y="26"/>
                    <a:pt x="135" y="52"/>
                    <a:pt x="115" y="68"/>
                  </a:cubicBezTo>
                  <a:cubicBezTo>
                    <a:pt x="96" y="84"/>
                    <a:pt x="55" y="129"/>
                    <a:pt x="47" y="139"/>
                  </a:cubicBezTo>
                  <a:cubicBezTo>
                    <a:pt x="39" y="149"/>
                    <a:pt x="30" y="156"/>
                    <a:pt x="30" y="163"/>
                  </a:cubicBezTo>
                  <a:cubicBezTo>
                    <a:pt x="30" y="170"/>
                    <a:pt x="28" y="170"/>
                    <a:pt x="39" y="172"/>
                  </a:cubicBezTo>
                  <a:cubicBezTo>
                    <a:pt x="49" y="174"/>
                    <a:pt x="64" y="154"/>
                    <a:pt x="96" y="132"/>
                  </a:cubicBezTo>
                  <a:cubicBezTo>
                    <a:pt x="128" y="110"/>
                    <a:pt x="147" y="103"/>
                    <a:pt x="146" y="10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187" name="îš1ïdè"/>
            <p:cNvSpPr/>
            <p:nvPr/>
          </p:nvSpPr>
          <p:spPr bwMode="auto">
            <a:xfrm>
              <a:off x="5180266" y="4845640"/>
              <a:ext cx="635000" cy="660400"/>
            </a:xfrm>
            <a:custGeom>
              <a:avLst/>
              <a:gdLst>
                <a:gd name="T0" fmla="*/ 5 w 344"/>
                <a:gd name="T1" fmla="*/ 147 h 358"/>
                <a:gd name="T2" fmla="*/ 38 w 344"/>
                <a:gd name="T3" fmla="*/ 142 h 358"/>
                <a:gd name="T4" fmla="*/ 53 w 344"/>
                <a:gd name="T5" fmla="*/ 125 h 358"/>
                <a:gd name="T6" fmla="*/ 43 w 344"/>
                <a:gd name="T7" fmla="*/ 70 h 358"/>
                <a:gd name="T8" fmla="*/ 48 w 344"/>
                <a:gd name="T9" fmla="*/ 43 h 358"/>
                <a:gd name="T10" fmla="*/ 76 w 344"/>
                <a:gd name="T11" fmla="*/ 45 h 358"/>
                <a:gd name="T12" fmla="*/ 122 w 344"/>
                <a:gd name="T13" fmla="*/ 89 h 358"/>
                <a:gd name="T14" fmla="*/ 122 w 344"/>
                <a:gd name="T15" fmla="*/ 185 h 358"/>
                <a:gd name="T16" fmla="*/ 141 w 344"/>
                <a:gd name="T17" fmla="*/ 192 h 358"/>
                <a:gd name="T18" fmla="*/ 231 w 344"/>
                <a:gd name="T19" fmla="*/ 135 h 358"/>
                <a:gd name="T20" fmla="*/ 241 w 344"/>
                <a:gd name="T21" fmla="*/ 87 h 358"/>
                <a:gd name="T22" fmla="*/ 234 w 344"/>
                <a:gd name="T23" fmla="*/ 48 h 358"/>
                <a:gd name="T24" fmla="*/ 263 w 344"/>
                <a:gd name="T25" fmla="*/ 17 h 358"/>
                <a:gd name="T26" fmla="*/ 298 w 344"/>
                <a:gd name="T27" fmla="*/ 76 h 358"/>
                <a:gd name="T28" fmla="*/ 292 w 344"/>
                <a:gd name="T29" fmla="*/ 111 h 358"/>
                <a:gd name="T30" fmla="*/ 317 w 344"/>
                <a:gd name="T31" fmla="*/ 138 h 358"/>
                <a:gd name="T32" fmla="*/ 292 w 344"/>
                <a:gd name="T33" fmla="*/ 181 h 358"/>
                <a:gd name="T34" fmla="*/ 270 w 344"/>
                <a:gd name="T35" fmla="*/ 217 h 358"/>
                <a:gd name="T36" fmla="*/ 276 w 344"/>
                <a:gd name="T37" fmla="*/ 252 h 358"/>
                <a:gd name="T38" fmla="*/ 334 w 344"/>
                <a:gd name="T39" fmla="*/ 270 h 358"/>
                <a:gd name="T40" fmla="*/ 333 w 344"/>
                <a:gd name="T41" fmla="*/ 304 h 358"/>
                <a:gd name="T42" fmla="*/ 226 w 344"/>
                <a:gd name="T43" fmla="*/ 338 h 358"/>
                <a:gd name="T44" fmla="*/ 166 w 344"/>
                <a:gd name="T45" fmla="*/ 352 h 358"/>
                <a:gd name="T46" fmla="*/ 191 w 344"/>
                <a:gd name="T47" fmla="*/ 319 h 358"/>
                <a:gd name="T48" fmla="*/ 228 w 344"/>
                <a:gd name="T49" fmla="*/ 287 h 358"/>
                <a:gd name="T50" fmla="*/ 231 w 344"/>
                <a:gd name="T51" fmla="*/ 223 h 358"/>
                <a:gd name="T52" fmla="*/ 194 w 344"/>
                <a:gd name="T53" fmla="*/ 194 h 358"/>
                <a:gd name="T54" fmla="*/ 152 w 344"/>
                <a:gd name="T55" fmla="*/ 228 h 358"/>
                <a:gd name="T56" fmla="*/ 55 w 344"/>
                <a:gd name="T57" fmla="*/ 337 h 358"/>
                <a:gd name="T58" fmla="*/ 21 w 344"/>
                <a:gd name="T59" fmla="*/ 316 h 358"/>
                <a:gd name="T60" fmla="*/ 30 w 344"/>
                <a:gd name="T61" fmla="*/ 260 h 358"/>
                <a:gd name="T62" fmla="*/ 53 w 344"/>
                <a:gd name="T63" fmla="*/ 228 h 358"/>
                <a:gd name="T64" fmla="*/ 37 w 344"/>
                <a:gd name="T65" fmla="*/ 201 h 358"/>
                <a:gd name="T66" fmla="*/ 1 w 344"/>
                <a:gd name="T67" fmla="*/ 170 h 358"/>
                <a:gd name="T68" fmla="*/ 5 w 344"/>
                <a:gd name="T69" fmla="*/ 147 h 3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344" h="358">
                  <a:moveTo>
                    <a:pt x="5" y="147"/>
                  </a:moveTo>
                  <a:cubicBezTo>
                    <a:pt x="6" y="143"/>
                    <a:pt x="22" y="140"/>
                    <a:pt x="38" y="142"/>
                  </a:cubicBezTo>
                  <a:cubicBezTo>
                    <a:pt x="54" y="144"/>
                    <a:pt x="53" y="137"/>
                    <a:pt x="53" y="125"/>
                  </a:cubicBezTo>
                  <a:cubicBezTo>
                    <a:pt x="53" y="112"/>
                    <a:pt x="60" y="89"/>
                    <a:pt x="43" y="70"/>
                  </a:cubicBezTo>
                  <a:cubicBezTo>
                    <a:pt x="25" y="52"/>
                    <a:pt x="48" y="43"/>
                    <a:pt x="48" y="43"/>
                  </a:cubicBezTo>
                  <a:cubicBezTo>
                    <a:pt x="48" y="43"/>
                    <a:pt x="55" y="32"/>
                    <a:pt x="76" y="45"/>
                  </a:cubicBezTo>
                  <a:cubicBezTo>
                    <a:pt x="97" y="58"/>
                    <a:pt x="115" y="74"/>
                    <a:pt x="122" y="89"/>
                  </a:cubicBezTo>
                  <a:cubicBezTo>
                    <a:pt x="129" y="104"/>
                    <a:pt x="118" y="174"/>
                    <a:pt x="122" y="185"/>
                  </a:cubicBezTo>
                  <a:cubicBezTo>
                    <a:pt x="125" y="195"/>
                    <a:pt x="130" y="200"/>
                    <a:pt x="141" y="192"/>
                  </a:cubicBezTo>
                  <a:cubicBezTo>
                    <a:pt x="153" y="183"/>
                    <a:pt x="214" y="138"/>
                    <a:pt x="231" y="135"/>
                  </a:cubicBezTo>
                  <a:cubicBezTo>
                    <a:pt x="249" y="132"/>
                    <a:pt x="241" y="103"/>
                    <a:pt x="241" y="87"/>
                  </a:cubicBezTo>
                  <a:cubicBezTo>
                    <a:pt x="242" y="70"/>
                    <a:pt x="234" y="59"/>
                    <a:pt x="234" y="48"/>
                  </a:cubicBezTo>
                  <a:cubicBezTo>
                    <a:pt x="234" y="36"/>
                    <a:pt x="247" y="0"/>
                    <a:pt x="263" y="17"/>
                  </a:cubicBezTo>
                  <a:cubicBezTo>
                    <a:pt x="279" y="35"/>
                    <a:pt x="303" y="58"/>
                    <a:pt x="298" y="76"/>
                  </a:cubicBezTo>
                  <a:cubicBezTo>
                    <a:pt x="294" y="95"/>
                    <a:pt x="283" y="92"/>
                    <a:pt x="292" y="111"/>
                  </a:cubicBezTo>
                  <a:cubicBezTo>
                    <a:pt x="301" y="129"/>
                    <a:pt x="320" y="117"/>
                    <a:pt x="317" y="138"/>
                  </a:cubicBezTo>
                  <a:cubicBezTo>
                    <a:pt x="315" y="160"/>
                    <a:pt x="321" y="149"/>
                    <a:pt x="292" y="181"/>
                  </a:cubicBezTo>
                  <a:cubicBezTo>
                    <a:pt x="268" y="209"/>
                    <a:pt x="270" y="208"/>
                    <a:pt x="270" y="217"/>
                  </a:cubicBezTo>
                  <a:cubicBezTo>
                    <a:pt x="270" y="226"/>
                    <a:pt x="266" y="249"/>
                    <a:pt x="276" y="252"/>
                  </a:cubicBezTo>
                  <a:cubicBezTo>
                    <a:pt x="287" y="254"/>
                    <a:pt x="325" y="250"/>
                    <a:pt x="334" y="270"/>
                  </a:cubicBezTo>
                  <a:cubicBezTo>
                    <a:pt x="344" y="290"/>
                    <a:pt x="344" y="295"/>
                    <a:pt x="333" y="304"/>
                  </a:cubicBezTo>
                  <a:cubicBezTo>
                    <a:pt x="321" y="312"/>
                    <a:pt x="288" y="320"/>
                    <a:pt x="226" y="338"/>
                  </a:cubicBezTo>
                  <a:cubicBezTo>
                    <a:pt x="180" y="351"/>
                    <a:pt x="168" y="358"/>
                    <a:pt x="166" y="352"/>
                  </a:cubicBezTo>
                  <a:cubicBezTo>
                    <a:pt x="164" y="346"/>
                    <a:pt x="175" y="331"/>
                    <a:pt x="191" y="319"/>
                  </a:cubicBezTo>
                  <a:cubicBezTo>
                    <a:pt x="207" y="307"/>
                    <a:pt x="224" y="304"/>
                    <a:pt x="228" y="287"/>
                  </a:cubicBezTo>
                  <a:cubicBezTo>
                    <a:pt x="232" y="270"/>
                    <a:pt x="235" y="234"/>
                    <a:pt x="231" y="223"/>
                  </a:cubicBezTo>
                  <a:cubicBezTo>
                    <a:pt x="227" y="212"/>
                    <a:pt x="213" y="188"/>
                    <a:pt x="194" y="194"/>
                  </a:cubicBezTo>
                  <a:cubicBezTo>
                    <a:pt x="176" y="200"/>
                    <a:pt x="166" y="210"/>
                    <a:pt x="152" y="228"/>
                  </a:cubicBezTo>
                  <a:cubicBezTo>
                    <a:pt x="138" y="247"/>
                    <a:pt x="66" y="336"/>
                    <a:pt x="55" y="337"/>
                  </a:cubicBezTo>
                  <a:cubicBezTo>
                    <a:pt x="45" y="338"/>
                    <a:pt x="22" y="340"/>
                    <a:pt x="21" y="316"/>
                  </a:cubicBezTo>
                  <a:cubicBezTo>
                    <a:pt x="20" y="292"/>
                    <a:pt x="16" y="285"/>
                    <a:pt x="30" y="260"/>
                  </a:cubicBezTo>
                  <a:cubicBezTo>
                    <a:pt x="44" y="234"/>
                    <a:pt x="53" y="241"/>
                    <a:pt x="53" y="228"/>
                  </a:cubicBezTo>
                  <a:cubicBezTo>
                    <a:pt x="53" y="216"/>
                    <a:pt x="47" y="207"/>
                    <a:pt x="37" y="201"/>
                  </a:cubicBezTo>
                  <a:cubicBezTo>
                    <a:pt x="27" y="195"/>
                    <a:pt x="2" y="182"/>
                    <a:pt x="1" y="170"/>
                  </a:cubicBezTo>
                  <a:cubicBezTo>
                    <a:pt x="0" y="157"/>
                    <a:pt x="4" y="150"/>
                    <a:pt x="5" y="14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188" name="ï$líḋé"/>
            <p:cNvSpPr/>
            <p:nvPr/>
          </p:nvSpPr>
          <p:spPr bwMode="auto">
            <a:xfrm>
              <a:off x="5596191" y="5675903"/>
              <a:ext cx="25400" cy="3016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189" name="işḷíḓè"/>
            <p:cNvSpPr/>
            <p:nvPr/>
          </p:nvSpPr>
          <p:spPr bwMode="auto">
            <a:xfrm>
              <a:off x="5596191" y="5733053"/>
              <a:ext cx="25400" cy="1492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190" name="ïSḷîḋé"/>
            <p:cNvSpPr/>
            <p:nvPr/>
          </p:nvSpPr>
          <p:spPr bwMode="auto">
            <a:xfrm>
              <a:off x="5645403" y="5733053"/>
              <a:ext cx="136525" cy="149225"/>
            </a:xfrm>
            <a:custGeom>
              <a:avLst/>
              <a:gdLst>
                <a:gd name="T0" fmla="*/ 42 w 74"/>
                <a:gd name="T1" fmla="*/ 50 h 81"/>
                <a:gd name="T2" fmla="*/ 37 w 74"/>
                <a:gd name="T3" fmla="*/ 65 h 81"/>
                <a:gd name="T4" fmla="*/ 32 w 74"/>
                <a:gd name="T5" fmla="*/ 49 h 81"/>
                <a:gd name="T6" fmla="*/ 14 w 74"/>
                <a:gd name="T7" fmla="*/ 0 h 81"/>
                <a:gd name="T8" fmla="*/ 0 w 74"/>
                <a:gd name="T9" fmla="*/ 0 h 81"/>
                <a:gd name="T10" fmla="*/ 31 w 74"/>
                <a:gd name="T11" fmla="*/ 81 h 81"/>
                <a:gd name="T12" fmla="*/ 44 w 74"/>
                <a:gd name="T13" fmla="*/ 81 h 81"/>
                <a:gd name="T14" fmla="*/ 74 w 74"/>
                <a:gd name="T15" fmla="*/ 0 h 81"/>
                <a:gd name="T16" fmla="*/ 60 w 74"/>
                <a:gd name="T17" fmla="*/ 0 h 81"/>
                <a:gd name="T18" fmla="*/ 42 w 74"/>
                <a:gd name="T19" fmla="*/ 50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4" h="81">
                  <a:moveTo>
                    <a:pt x="42" y="50"/>
                  </a:moveTo>
                  <a:cubicBezTo>
                    <a:pt x="40" y="56"/>
                    <a:pt x="38" y="61"/>
                    <a:pt x="37" y="65"/>
                  </a:cubicBezTo>
                  <a:cubicBezTo>
                    <a:pt x="35" y="59"/>
                    <a:pt x="34" y="54"/>
                    <a:pt x="32" y="49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44" y="81"/>
                    <a:pt x="44" y="81"/>
                    <a:pt x="44" y="81"/>
                  </a:cubicBezTo>
                  <a:cubicBezTo>
                    <a:pt x="74" y="0"/>
                    <a:pt x="74" y="0"/>
                    <a:pt x="74" y="0"/>
                  </a:cubicBezTo>
                  <a:cubicBezTo>
                    <a:pt x="60" y="0"/>
                    <a:pt x="60" y="0"/>
                    <a:pt x="60" y="0"/>
                  </a:cubicBezTo>
                  <a:lnTo>
                    <a:pt x="42" y="5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191" name="išḷiḓé"/>
            <p:cNvSpPr/>
            <p:nvPr/>
          </p:nvSpPr>
          <p:spPr bwMode="auto">
            <a:xfrm>
              <a:off x="5796216" y="5729878"/>
              <a:ext cx="138113" cy="157163"/>
            </a:xfrm>
            <a:custGeom>
              <a:avLst/>
              <a:gdLst>
                <a:gd name="T0" fmla="*/ 38 w 75"/>
                <a:gd name="T1" fmla="*/ 0 h 85"/>
                <a:gd name="T2" fmla="*/ 10 w 75"/>
                <a:gd name="T3" fmla="*/ 12 h 85"/>
                <a:gd name="T4" fmla="*/ 0 w 75"/>
                <a:gd name="T5" fmla="*/ 43 h 85"/>
                <a:gd name="T6" fmla="*/ 10 w 75"/>
                <a:gd name="T7" fmla="*/ 74 h 85"/>
                <a:gd name="T8" fmla="*/ 39 w 75"/>
                <a:gd name="T9" fmla="*/ 85 h 85"/>
                <a:gd name="T10" fmla="*/ 62 w 75"/>
                <a:gd name="T11" fmla="*/ 78 h 85"/>
                <a:gd name="T12" fmla="*/ 74 w 75"/>
                <a:gd name="T13" fmla="*/ 59 h 85"/>
                <a:gd name="T14" fmla="*/ 60 w 75"/>
                <a:gd name="T15" fmla="*/ 57 h 85"/>
                <a:gd name="T16" fmla="*/ 52 w 75"/>
                <a:gd name="T17" fmla="*/ 70 h 85"/>
                <a:gd name="T18" fmla="*/ 39 w 75"/>
                <a:gd name="T19" fmla="*/ 74 h 85"/>
                <a:gd name="T20" fmla="*/ 22 w 75"/>
                <a:gd name="T21" fmla="*/ 67 h 85"/>
                <a:gd name="T22" fmla="*/ 14 w 75"/>
                <a:gd name="T23" fmla="*/ 46 h 85"/>
                <a:gd name="T24" fmla="*/ 75 w 75"/>
                <a:gd name="T25" fmla="*/ 46 h 85"/>
                <a:gd name="T26" fmla="*/ 75 w 75"/>
                <a:gd name="T27" fmla="*/ 43 h 85"/>
                <a:gd name="T28" fmla="*/ 64 w 75"/>
                <a:gd name="T29" fmla="*/ 11 h 85"/>
                <a:gd name="T30" fmla="*/ 38 w 75"/>
                <a:gd name="T31" fmla="*/ 0 h 85"/>
                <a:gd name="T32" fmla="*/ 15 w 75"/>
                <a:gd name="T33" fmla="*/ 35 h 85"/>
                <a:gd name="T34" fmla="*/ 22 w 75"/>
                <a:gd name="T35" fmla="*/ 18 h 85"/>
                <a:gd name="T36" fmla="*/ 38 w 75"/>
                <a:gd name="T37" fmla="*/ 12 h 85"/>
                <a:gd name="T38" fmla="*/ 55 w 75"/>
                <a:gd name="T39" fmla="*/ 20 h 85"/>
                <a:gd name="T40" fmla="*/ 60 w 75"/>
                <a:gd name="T41" fmla="*/ 35 h 85"/>
                <a:gd name="T42" fmla="*/ 15 w 75"/>
                <a:gd name="T43" fmla="*/ 35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75" h="85">
                  <a:moveTo>
                    <a:pt x="38" y="0"/>
                  </a:moveTo>
                  <a:cubicBezTo>
                    <a:pt x="27" y="0"/>
                    <a:pt x="17" y="4"/>
                    <a:pt x="10" y="12"/>
                  </a:cubicBezTo>
                  <a:cubicBezTo>
                    <a:pt x="3" y="19"/>
                    <a:pt x="0" y="30"/>
                    <a:pt x="0" y="43"/>
                  </a:cubicBezTo>
                  <a:cubicBezTo>
                    <a:pt x="0" y="57"/>
                    <a:pt x="3" y="67"/>
                    <a:pt x="10" y="74"/>
                  </a:cubicBezTo>
                  <a:cubicBezTo>
                    <a:pt x="17" y="81"/>
                    <a:pt x="27" y="85"/>
                    <a:pt x="39" y="85"/>
                  </a:cubicBezTo>
                  <a:cubicBezTo>
                    <a:pt x="48" y="85"/>
                    <a:pt x="56" y="83"/>
                    <a:pt x="62" y="78"/>
                  </a:cubicBezTo>
                  <a:cubicBezTo>
                    <a:pt x="68" y="74"/>
                    <a:pt x="72" y="67"/>
                    <a:pt x="74" y="59"/>
                  </a:cubicBezTo>
                  <a:cubicBezTo>
                    <a:pt x="60" y="57"/>
                    <a:pt x="60" y="57"/>
                    <a:pt x="60" y="57"/>
                  </a:cubicBezTo>
                  <a:cubicBezTo>
                    <a:pt x="58" y="63"/>
                    <a:pt x="55" y="67"/>
                    <a:pt x="52" y="70"/>
                  </a:cubicBezTo>
                  <a:cubicBezTo>
                    <a:pt x="48" y="73"/>
                    <a:pt x="44" y="74"/>
                    <a:pt x="39" y="74"/>
                  </a:cubicBezTo>
                  <a:cubicBezTo>
                    <a:pt x="32" y="74"/>
                    <a:pt x="26" y="71"/>
                    <a:pt x="22" y="67"/>
                  </a:cubicBezTo>
                  <a:cubicBezTo>
                    <a:pt x="17" y="62"/>
                    <a:pt x="15" y="55"/>
                    <a:pt x="14" y="46"/>
                  </a:cubicBezTo>
                  <a:cubicBezTo>
                    <a:pt x="75" y="46"/>
                    <a:pt x="75" y="46"/>
                    <a:pt x="75" y="46"/>
                  </a:cubicBezTo>
                  <a:cubicBezTo>
                    <a:pt x="75" y="45"/>
                    <a:pt x="75" y="43"/>
                    <a:pt x="75" y="43"/>
                  </a:cubicBezTo>
                  <a:cubicBezTo>
                    <a:pt x="75" y="29"/>
                    <a:pt x="71" y="19"/>
                    <a:pt x="64" y="11"/>
                  </a:cubicBezTo>
                  <a:cubicBezTo>
                    <a:pt x="58" y="4"/>
                    <a:pt x="49" y="0"/>
                    <a:pt x="38" y="0"/>
                  </a:cubicBezTo>
                  <a:close/>
                  <a:moveTo>
                    <a:pt x="15" y="35"/>
                  </a:moveTo>
                  <a:cubicBezTo>
                    <a:pt x="15" y="28"/>
                    <a:pt x="18" y="22"/>
                    <a:pt x="22" y="18"/>
                  </a:cubicBezTo>
                  <a:cubicBezTo>
                    <a:pt x="26" y="14"/>
                    <a:pt x="32" y="12"/>
                    <a:pt x="38" y="12"/>
                  </a:cubicBezTo>
                  <a:cubicBezTo>
                    <a:pt x="45" y="12"/>
                    <a:pt x="51" y="14"/>
                    <a:pt x="55" y="20"/>
                  </a:cubicBezTo>
                  <a:cubicBezTo>
                    <a:pt x="58" y="23"/>
                    <a:pt x="60" y="28"/>
                    <a:pt x="60" y="35"/>
                  </a:cubicBezTo>
                  <a:lnTo>
                    <a:pt x="15" y="3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192" name="iṩľidè"/>
            <p:cNvSpPr/>
            <p:nvPr/>
          </p:nvSpPr>
          <p:spPr bwMode="auto">
            <a:xfrm>
              <a:off x="5964491" y="5729878"/>
              <a:ext cx="82550" cy="152400"/>
            </a:xfrm>
            <a:custGeom>
              <a:avLst/>
              <a:gdLst>
                <a:gd name="T0" fmla="*/ 22 w 45"/>
                <a:gd name="T1" fmla="*/ 3 h 83"/>
                <a:gd name="T2" fmla="*/ 13 w 45"/>
                <a:gd name="T3" fmla="*/ 14 h 83"/>
                <a:gd name="T4" fmla="*/ 13 w 45"/>
                <a:gd name="T5" fmla="*/ 2 h 83"/>
                <a:gd name="T6" fmla="*/ 0 w 45"/>
                <a:gd name="T7" fmla="*/ 2 h 83"/>
                <a:gd name="T8" fmla="*/ 0 w 45"/>
                <a:gd name="T9" fmla="*/ 83 h 83"/>
                <a:gd name="T10" fmla="*/ 14 w 45"/>
                <a:gd name="T11" fmla="*/ 83 h 83"/>
                <a:gd name="T12" fmla="*/ 14 w 45"/>
                <a:gd name="T13" fmla="*/ 41 h 83"/>
                <a:gd name="T14" fmla="*/ 17 w 45"/>
                <a:gd name="T15" fmla="*/ 25 h 83"/>
                <a:gd name="T16" fmla="*/ 22 w 45"/>
                <a:gd name="T17" fmla="*/ 17 h 83"/>
                <a:gd name="T18" fmla="*/ 30 w 45"/>
                <a:gd name="T19" fmla="*/ 14 h 83"/>
                <a:gd name="T20" fmla="*/ 40 w 45"/>
                <a:gd name="T21" fmla="*/ 17 h 83"/>
                <a:gd name="T22" fmla="*/ 45 w 45"/>
                <a:gd name="T23" fmla="*/ 5 h 83"/>
                <a:gd name="T24" fmla="*/ 30 w 45"/>
                <a:gd name="T25" fmla="*/ 0 h 83"/>
                <a:gd name="T26" fmla="*/ 22 w 45"/>
                <a:gd name="T27" fmla="*/ 3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5" h="83">
                  <a:moveTo>
                    <a:pt x="22" y="3"/>
                  </a:moveTo>
                  <a:cubicBezTo>
                    <a:pt x="19" y="5"/>
                    <a:pt x="16" y="9"/>
                    <a:pt x="13" y="14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83"/>
                    <a:pt x="0" y="83"/>
                    <a:pt x="0" y="83"/>
                  </a:cubicBezTo>
                  <a:cubicBezTo>
                    <a:pt x="14" y="83"/>
                    <a:pt x="14" y="83"/>
                    <a:pt x="14" y="83"/>
                  </a:cubicBezTo>
                  <a:cubicBezTo>
                    <a:pt x="14" y="41"/>
                    <a:pt x="14" y="41"/>
                    <a:pt x="14" y="41"/>
                  </a:cubicBezTo>
                  <a:cubicBezTo>
                    <a:pt x="14" y="35"/>
                    <a:pt x="15" y="30"/>
                    <a:pt x="17" y="25"/>
                  </a:cubicBezTo>
                  <a:cubicBezTo>
                    <a:pt x="18" y="21"/>
                    <a:pt x="19" y="19"/>
                    <a:pt x="22" y="17"/>
                  </a:cubicBezTo>
                  <a:cubicBezTo>
                    <a:pt x="24" y="15"/>
                    <a:pt x="27" y="14"/>
                    <a:pt x="30" y="14"/>
                  </a:cubicBezTo>
                  <a:cubicBezTo>
                    <a:pt x="33" y="14"/>
                    <a:pt x="37" y="15"/>
                    <a:pt x="40" y="17"/>
                  </a:cubicBezTo>
                  <a:cubicBezTo>
                    <a:pt x="45" y="5"/>
                    <a:pt x="45" y="5"/>
                    <a:pt x="45" y="5"/>
                  </a:cubicBezTo>
                  <a:cubicBezTo>
                    <a:pt x="40" y="2"/>
                    <a:pt x="35" y="0"/>
                    <a:pt x="30" y="0"/>
                  </a:cubicBezTo>
                  <a:cubicBezTo>
                    <a:pt x="27" y="0"/>
                    <a:pt x="24" y="1"/>
                    <a:pt x="22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193" name="îṡļiḑe"/>
            <p:cNvSpPr/>
            <p:nvPr/>
          </p:nvSpPr>
          <p:spPr bwMode="auto">
            <a:xfrm>
              <a:off x="6050216" y="5729878"/>
              <a:ext cx="125413" cy="157163"/>
            </a:xfrm>
            <a:custGeom>
              <a:avLst/>
              <a:gdLst>
                <a:gd name="T0" fmla="*/ 55 w 68"/>
                <a:gd name="T1" fmla="*/ 40 h 85"/>
                <a:gd name="T2" fmla="*/ 35 w 68"/>
                <a:gd name="T3" fmla="*/ 34 h 85"/>
                <a:gd name="T4" fmla="*/ 23 w 68"/>
                <a:gd name="T5" fmla="*/ 31 h 85"/>
                <a:gd name="T6" fmla="*/ 18 w 68"/>
                <a:gd name="T7" fmla="*/ 27 h 85"/>
                <a:gd name="T8" fmla="*/ 16 w 68"/>
                <a:gd name="T9" fmla="*/ 22 h 85"/>
                <a:gd name="T10" fmla="*/ 20 w 68"/>
                <a:gd name="T11" fmla="*/ 15 h 85"/>
                <a:gd name="T12" fmla="*/ 34 w 68"/>
                <a:gd name="T13" fmla="*/ 12 h 85"/>
                <a:gd name="T14" fmla="*/ 46 w 68"/>
                <a:gd name="T15" fmla="*/ 15 h 85"/>
                <a:gd name="T16" fmla="*/ 51 w 68"/>
                <a:gd name="T17" fmla="*/ 25 h 85"/>
                <a:gd name="T18" fmla="*/ 65 w 68"/>
                <a:gd name="T19" fmla="*/ 23 h 85"/>
                <a:gd name="T20" fmla="*/ 60 w 68"/>
                <a:gd name="T21" fmla="*/ 10 h 85"/>
                <a:gd name="T22" fmla="*/ 49 w 68"/>
                <a:gd name="T23" fmla="*/ 3 h 85"/>
                <a:gd name="T24" fmla="*/ 33 w 68"/>
                <a:gd name="T25" fmla="*/ 0 h 85"/>
                <a:gd name="T26" fmla="*/ 21 w 68"/>
                <a:gd name="T27" fmla="*/ 2 h 85"/>
                <a:gd name="T28" fmla="*/ 12 w 68"/>
                <a:gd name="T29" fmla="*/ 6 h 85"/>
                <a:gd name="T30" fmla="*/ 5 w 68"/>
                <a:gd name="T31" fmla="*/ 14 h 85"/>
                <a:gd name="T32" fmla="*/ 3 w 68"/>
                <a:gd name="T33" fmla="*/ 24 h 85"/>
                <a:gd name="T34" fmla="*/ 6 w 68"/>
                <a:gd name="T35" fmla="*/ 35 h 85"/>
                <a:gd name="T36" fmla="*/ 15 w 68"/>
                <a:gd name="T37" fmla="*/ 42 h 85"/>
                <a:gd name="T38" fmla="*/ 36 w 68"/>
                <a:gd name="T39" fmla="*/ 49 h 85"/>
                <a:gd name="T40" fmla="*/ 50 w 68"/>
                <a:gd name="T41" fmla="*/ 54 h 85"/>
                <a:gd name="T42" fmla="*/ 54 w 68"/>
                <a:gd name="T43" fmla="*/ 61 h 85"/>
                <a:gd name="T44" fmla="*/ 49 w 68"/>
                <a:gd name="T45" fmla="*/ 70 h 85"/>
                <a:gd name="T46" fmla="*/ 35 w 68"/>
                <a:gd name="T47" fmla="*/ 74 h 85"/>
                <a:gd name="T48" fmla="*/ 20 w 68"/>
                <a:gd name="T49" fmla="*/ 69 h 85"/>
                <a:gd name="T50" fmla="*/ 14 w 68"/>
                <a:gd name="T51" fmla="*/ 57 h 85"/>
                <a:gd name="T52" fmla="*/ 0 w 68"/>
                <a:gd name="T53" fmla="*/ 59 h 85"/>
                <a:gd name="T54" fmla="*/ 11 w 68"/>
                <a:gd name="T55" fmla="*/ 79 h 85"/>
                <a:gd name="T56" fmla="*/ 35 w 68"/>
                <a:gd name="T57" fmla="*/ 85 h 85"/>
                <a:gd name="T58" fmla="*/ 52 w 68"/>
                <a:gd name="T59" fmla="*/ 82 h 85"/>
                <a:gd name="T60" fmla="*/ 64 w 68"/>
                <a:gd name="T61" fmla="*/ 72 h 85"/>
                <a:gd name="T62" fmla="*/ 68 w 68"/>
                <a:gd name="T63" fmla="*/ 59 h 85"/>
                <a:gd name="T64" fmla="*/ 65 w 68"/>
                <a:gd name="T65" fmla="*/ 48 h 85"/>
                <a:gd name="T66" fmla="*/ 55 w 68"/>
                <a:gd name="T67" fmla="*/ 40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68" h="85">
                  <a:moveTo>
                    <a:pt x="55" y="40"/>
                  </a:moveTo>
                  <a:cubicBezTo>
                    <a:pt x="52" y="39"/>
                    <a:pt x="45" y="37"/>
                    <a:pt x="35" y="34"/>
                  </a:cubicBezTo>
                  <a:cubicBezTo>
                    <a:pt x="28" y="32"/>
                    <a:pt x="24" y="31"/>
                    <a:pt x="23" y="31"/>
                  </a:cubicBezTo>
                  <a:cubicBezTo>
                    <a:pt x="20" y="30"/>
                    <a:pt x="19" y="28"/>
                    <a:pt x="18" y="27"/>
                  </a:cubicBezTo>
                  <a:cubicBezTo>
                    <a:pt x="16" y="25"/>
                    <a:pt x="16" y="24"/>
                    <a:pt x="16" y="22"/>
                  </a:cubicBezTo>
                  <a:cubicBezTo>
                    <a:pt x="16" y="19"/>
                    <a:pt x="17" y="17"/>
                    <a:pt x="20" y="15"/>
                  </a:cubicBezTo>
                  <a:cubicBezTo>
                    <a:pt x="23" y="13"/>
                    <a:pt x="27" y="12"/>
                    <a:pt x="34" y="12"/>
                  </a:cubicBezTo>
                  <a:cubicBezTo>
                    <a:pt x="39" y="12"/>
                    <a:pt x="43" y="13"/>
                    <a:pt x="46" y="15"/>
                  </a:cubicBezTo>
                  <a:cubicBezTo>
                    <a:pt x="49" y="17"/>
                    <a:pt x="51" y="21"/>
                    <a:pt x="51" y="25"/>
                  </a:cubicBezTo>
                  <a:cubicBezTo>
                    <a:pt x="65" y="23"/>
                    <a:pt x="65" y="23"/>
                    <a:pt x="65" y="23"/>
                  </a:cubicBezTo>
                  <a:cubicBezTo>
                    <a:pt x="64" y="18"/>
                    <a:pt x="62" y="14"/>
                    <a:pt x="60" y="10"/>
                  </a:cubicBezTo>
                  <a:cubicBezTo>
                    <a:pt x="58" y="7"/>
                    <a:pt x="54" y="5"/>
                    <a:pt x="49" y="3"/>
                  </a:cubicBezTo>
                  <a:cubicBezTo>
                    <a:pt x="44" y="1"/>
                    <a:pt x="39" y="0"/>
                    <a:pt x="33" y="0"/>
                  </a:cubicBezTo>
                  <a:cubicBezTo>
                    <a:pt x="28" y="0"/>
                    <a:pt x="24" y="1"/>
                    <a:pt x="21" y="2"/>
                  </a:cubicBezTo>
                  <a:cubicBezTo>
                    <a:pt x="17" y="3"/>
                    <a:pt x="14" y="4"/>
                    <a:pt x="12" y="6"/>
                  </a:cubicBezTo>
                  <a:cubicBezTo>
                    <a:pt x="9" y="8"/>
                    <a:pt x="7" y="10"/>
                    <a:pt x="5" y="14"/>
                  </a:cubicBezTo>
                  <a:cubicBezTo>
                    <a:pt x="3" y="17"/>
                    <a:pt x="3" y="20"/>
                    <a:pt x="3" y="24"/>
                  </a:cubicBezTo>
                  <a:cubicBezTo>
                    <a:pt x="3" y="28"/>
                    <a:pt x="4" y="31"/>
                    <a:pt x="6" y="35"/>
                  </a:cubicBezTo>
                  <a:cubicBezTo>
                    <a:pt x="8" y="38"/>
                    <a:pt x="11" y="40"/>
                    <a:pt x="15" y="42"/>
                  </a:cubicBezTo>
                  <a:cubicBezTo>
                    <a:pt x="18" y="44"/>
                    <a:pt x="25" y="46"/>
                    <a:pt x="36" y="49"/>
                  </a:cubicBezTo>
                  <a:cubicBezTo>
                    <a:pt x="43" y="51"/>
                    <a:pt x="48" y="52"/>
                    <a:pt x="50" y="54"/>
                  </a:cubicBezTo>
                  <a:cubicBezTo>
                    <a:pt x="52" y="55"/>
                    <a:pt x="54" y="58"/>
                    <a:pt x="54" y="61"/>
                  </a:cubicBezTo>
                  <a:cubicBezTo>
                    <a:pt x="54" y="64"/>
                    <a:pt x="52" y="67"/>
                    <a:pt x="49" y="70"/>
                  </a:cubicBezTo>
                  <a:cubicBezTo>
                    <a:pt x="46" y="73"/>
                    <a:pt x="41" y="74"/>
                    <a:pt x="35" y="74"/>
                  </a:cubicBezTo>
                  <a:cubicBezTo>
                    <a:pt x="29" y="74"/>
                    <a:pt x="24" y="72"/>
                    <a:pt x="20" y="69"/>
                  </a:cubicBezTo>
                  <a:cubicBezTo>
                    <a:pt x="17" y="67"/>
                    <a:pt x="15" y="62"/>
                    <a:pt x="14" y="57"/>
                  </a:cubicBezTo>
                  <a:cubicBezTo>
                    <a:pt x="0" y="59"/>
                    <a:pt x="0" y="59"/>
                    <a:pt x="0" y="59"/>
                  </a:cubicBezTo>
                  <a:cubicBezTo>
                    <a:pt x="2" y="68"/>
                    <a:pt x="5" y="74"/>
                    <a:pt x="11" y="79"/>
                  </a:cubicBezTo>
                  <a:cubicBezTo>
                    <a:pt x="16" y="83"/>
                    <a:pt x="24" y="85"/>
                    <a:pt x="35" y="85"/>
                  </a:cubicBezTo>
                  <a:cubicBezTo>
                    <a:pt x="41" y="85"/>
                    <a:pt x="47" y="84"/>
                    <a:pt x="52" y="82"/>
                  </a:cubicBezTo>
                  <a:cubicBezTo>
                    <a:pt x="57" y="80"/>
                    <a:pt x="61" y="76"/>
                    <a:pt x="64" y="72"/>
                  </a:cubicBezTo>
                  <a:cubicBezTo>
                    <a:pt x="66" y="68"/>
                    <a:pt x="68" y="64"/>
                    <a:pt x="68" y="59"/>
                  </a:cubicBezTo>
                  <a:cubicBezTo>
                    <a:pt x="68" y="55"/>
                    <a:pt x="67" y="51"/>
                    <a:pt x="65" y="48"/>
                  </a:cubicBezTo>
                  <a:cubicBezTo>
                    <a:pt x="62" y="45"/>
                    <a:pt x="59" y="42"/>
                    <a:pt x="55" y="4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194" name="ïśļíḓe"/>
            <p:cNvSpPr/>
            <p:nvPr/>
          </p:nvSpPr>
          <p:spPr bwMode="auto">
            <a:xfrm>
              <a:off x="6205791" y="5675903"/>
              <a:ext cx="25400" cy="3016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195" name="îṡľîdè"/>
            <p:cNvSpPr/>
            <p:nvPr/>
          </p:nvSpPr>
          <p:spPr bwMode="auto">
            <a:xfrm>
              <a:off x="6205791" y="5733053"/>
              <a:ext cx="25400" cy="1492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196" name="îś1iḋê"/>
            <p:cNvSpPr/>
            <p:nvPr/>
          </p:nvSpPr>
          <p:spPr bwMode="auto">
            <a:xfrm>
              <a:off x="6255003" y="5680665"/>
              <a:ext cx="74613" cy="203200"/>
            </a:xfrm>
            <a:custGeom>
              <a:avLst/>
              <a:gdLst>
                <a:gd name="T0" fmla="*/ 32 w 40"/>
                <a:gd name="T1" fmla="*/ 98 h 110"/>
                <a:gd name="T2" fmla="*/ 27 w 40"/>
                <a:gd name="T3" fmla="*/ 97 h 110"/>
                <a:gd name="T4" fmla="*/ 25 w 40"/>
                <a:gd name="T5" fmla="*/ 94 h 110"/>
                <a:gd name="T6" fmla="*/ 24 w 40"/>
                <a:gd name="T7" fmla="*/ 86 h 110"/>
                <a:gd name="T8" fmla="*/ 24 w 40"/>
                <a:gd name="T9" fmla="*/ 39 h 110"/>
                <a:gd name="T10" fmla="*/ 38 w 40"/>
                <a:gd name="T11" fmla="*/ 39 h 110"/>
                <a:gd name="T12" fmla="*/ 38 w 40"/>
                <a:gd name="T13" fmla="*/ 28 h 110"/>
                <a:gd name="T14" fmla="*/ 24 w 40"/>
                <a:gd name="T15" fmla="*/ 28 h 110"/>
                <a:gd name="T16" fmla="*/ 24 w 40"/>
                <a:gd name="T17" fmla="*/ 0 h 110"/>
                <a:gd name="T18" fmla="*/ 11 w 40"/>
                <a:gd name="T19" fmla="*/ 8 h 110"/>
                <a:gd name="T20" fmla="*/ 11 w 40"/>
                <a:gd name="T21" fmla="*/ 28 h 110"/>
                <a:gd name="T22" fmla="*/ 0 w 40"/>
                <a:gd name="T23" fmla="*/ 28 h 110"/>
                <a:gd name="T24" fmla="*/ 0 w 40"/>
                <a:gd name="T25" fmla="*/ 39 h 110"/>
                <a:gd name="T26" fmla="*/ 11 w 40"/>
                <a:gd name="T27" fmla="*/ 39 h 110"/>
                <a:gd name="T28" fmla="*/ 11 w 40"/>
                <a:gd name="T29" fmla="*/ 86 h 110"/>
                <a:gd name="T30" fmla="*/ 12 w 40"/>
                <a:gd name="T31" fmla="*/ 102 h 110"/>
                <a:gd name="T32" fmla="*/ 18 w 40"/>
                <a:gd name="T33" fmla="*/ 108 h 110"/>
                <a:gd name="T34" fmla="*/ 30 w 40"/>
                <a:gd name="T35" fmla="*/ 110 h 110"/>
                <a:gd name="T36" fmla="*/ 40 w 40"/>
                <a:gd name="T37" fmla="*/ 109 h 110"/>
                <a:gd name="T38" fmla="*/ 38 w 40"/>
                <a:gd name="T39" fmla="*/ 97 h 110"/>
                <a:gd name="T40" fmla="*/ 32 w 40"/>
                <a:gd name="T41" fmla="*/ 98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0" h="110">
                  <a:moveTo>
                    <a:pt x="32" y="98"/>
                  </a:moveTo>
                  <a:cubicBezTo>
                    <a:pt x="30" y="98"/>
                    <a:pt x="28" y="97"/>
                    <a:pt x="27" y="97"/>
                  </a:cubicBezTo>
                  <a:cubicBezTo>
                    <a:pt x="26" y="96"/>
                    <a:pt x="25" y="95"/>
                    <a:pt x="25" y="94"/>
                  </a:cubicBezTo>
                  <a:cubicBezTo>
                    <a:pt x="24" y="93"/>
                    <a:pt x="24" y="90"/>
                    <a:pt x="24" y="86"/>
                  </a:cubicBezTo>
                  <a:cubicBezTo>
                    <a:pt x="24" y="39"/>
                    <a:pt x="24" y="39"/>
                    <a:pt x="24" y="39"/>
                  </a:cubicBezTo>
                  <a:cubicBezTo>
                    <a:pt x="38" y="39"/>
                    <a:pt x="38" y="39"/>
                    <a:pt x="38" y="39"/>
                  </a:cubicBezTo>
                  <a:cubicBezTo>
                    <a:pt x="38" y="28"/>
                    <a:pt x="38" y="28"/>
                    <a:pt x="38" y="28"/>
                  </a:cubicBezTo>
                  <a:cubicBezTo>
                    <a:pt x="24" y="28"/>
                    <a:pt x="24" y="28"/>
                    <a:pt x="24" y="28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11" y="8"/>
                    <a:pt x="11" y="8"/>
                    <a:pt x="11" y="8"/>
                  </a:cubicBezTo>
                  <a:cubicBezTo>
                    <a:pt x="11" y="28"/>
                    <a:pt x="11" y="28"/>
                    <a:pt x="11" y="28"/>
                  </a:cubicBezTo>
                  <a:cubicBezTo>
                    <a:pt x="0" y="28"/>
                    <a:pt x="0" y="28"/>
                    <a:pt x="0" y="28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11" y="39"/>
                    <a:pt x="11" y="39"/>
                    <a:pt x="11" y="39"/>
                  </a:cubicBezTo>
                  <a:cubicBezTo>
                    <a:pt x="11" y="86"/>
                    <a:pt x="11" y="86"/>
                    <a:pt x="11" y="86"/>
                  </a:cubicBezTo>
                  <a:cubicBezTo>
                    <a:pt x="11" y="94"/>
                    <a:pt x="11" y="99"/>
                    <a:pt x="12" y="102"/>
                  </a:cubicBezTo>
                  <a:cubicBezTo>
                    <a:pt x="13" y="104"/>
                    <a:pt x="15" y="106"/>
                    <a:pt x="18" y="108"/>
                  </a:cubicBezTo>
                  <a:cubicBezTo>
                    <a:pt x="21" y="110"/>
                    <a:pt x="25" y="110"/>
                    <a:pt x="30" y="110"/>
                  </a:cubicBezTo>
                  <a:cubicBezTo>
                    <a:pt x="33" y="110"/>
                    <a:pt x="36" y="110"/>
                    <a:pt x="40" y="109"/>
                  </a:cubicBezTo>
                  <a:cubicBezTo>
                    <a:pt x="38" y="97"/>
                    <a:pt x="38" y="97"/>
                    <a:pt x="38" y="97"/>
                  </a:cubicBezTo>
                  <a:cubicBezTo>
                    <a:pt x="36" y="97"/>
                    <a:pt x="34" y="98"/>
                    <a:pt x="32" y="9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197" name="išľîḋê"/>
            <p:cNvSpPr/>
            <p:nvPr/>
          </p:nvSpPr>
          <p:spPr bwMode="auto">
            <a:xfrm>
              <a:off x="6335966" y="5733053"/>
              <a:ext cx="136525" cy="211138"/>
            </a:xfrm>
            <a:custGeom>
              <a:avLst/>
              <a:gdLst>
                <a:gd name="T0" fmla="*/ 43 w 74"/>
                <a:gd name="T1" fmla="*/ 47 h 114"/>
                <a:gd name="T2" fmla="*/ 37 w 74"/>
                <a:gd name="T3" fmla="*/ 66 h 114"/>
                <a:gd name="T4" fmla="*/ 32 w 74"/>
                <a:gd name="T5" fmla="*/ 47 h 114"/>
                <a:gd name="T6" fmla="*/ 15 w 74"/>
                <a:gd name="T7" fmla="*/ 0 h 114"/>
                <a:gd name="T8" fmla="*/ 0 w 74"/>
                <a:gd name="T9" fmla="*/ 0 h 114"/>
                <a:gd name="T10" fmla="*/ 31 w 74"/>
                <a:gd name="T11" fmla="*/ 81 h 114"/>
                <a:gd name="T12" fmla="*/ 29 w 74"/>
                <a:gd name="T13" fmla="*/ 85 h 114"/>
                <a:gd name="T14" fmla="*/ 25 w 74"/>
                <a:gd name="T15" fmla="*/ 95 h 114"/>
                <a:gd name="T16" fmla="*/ 21 w 74"/>
                <a:gd name="T17" fmla="*/ 99 h 114"/>
                <a:gd name="T18" fmla="*/ 13 w 74"/>
                <a:gd name="T19" fmla="*/ 101 h 114"/>
                <a:gd name="T20" fmla="*/ 5 w 74"/>
                <a:gd name="T21" fmla="*/ 100 h 114"/>
                <a:gd name="T22" fmla="*/ 7 w 74"/>
                <a:gd name="T23" fmla="*/ 113 h 114"/>
                <a:gd name="T24" fmla="*/ 16 w 74"/>
                <a:gd name="T25" fmla="*/ 114 h 114"/>
                <a:gd name="T26" fmla="*/ 27 w 74"/>
                <a:gd name="T27" fmla="*/ 111 h 114"/>
                <a:gd name="T28" fmla="*/ 36 w 74"/>
                <a:gd name="T29" fmla="*/ 101 h 114"/>
                <a:gd name="T30" fmla="*/ 43 w 74"/>
                <a:gd name="T31" fmla="*/ 83 h 114"/>
                <a:gd name="T32" fmla="*/ 74 w 74"/>
                <a:gd name="T33" fmla="*/ 0 h 114"/>
                <a:gd name="T34" fmla="*/ 60 w 74"/>
                <a:gd name="T35" fmla="*/ 0 h 114"/>
                <a:gd name="T36" fmla="*/ 43 w 74"/>
                <a:gd name="T37" fmla="*/ 47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74" h="114">
                  <a:moveTo>
                    <a:pt x="43" y="47"/>
                  </a:moveTo>
                  <a:cubicBezTo>
                    <a:pt x="41" y="53"/>
                    <a:pt x="39" y="60"/>
                    <a:pt x="37" y="66"/>
                  </a:cubicBezTo>
                  <a:cubicBezTo>
                    <a:pt x="36" y="59"/>
                    <a:pt x="34" y="53"/>
                    <a:pt x="32" y="47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0" y="83"/>
                    <a:pt x="30" y="84"/>
                    <a:pt x="29" y="85"/>
                  </a:cubicBezTo>
                  <a:cubicBezTo>
                    <a:pt x="27" y="90"/>
                    <a:pt x="26" y="94"/>
                    <a:pt x="25" y="95"/>
                  </a:cubicBezTo>
                  <a:cubicBezTo>
                    <a:pt x="24" y="97"/>
                    <a:pt x="22" y="98"/>
                    <a:pt x="21" y="99"/>
                  </a:cubicBezTo>
                  <a:cubicBezTo>
                    <a:pt x="19" y="100"/>
                    <a:pt x="16" y="101"/>
                    <a:pt x="13" y="101"/>
                  </a:cubicBezTo>
                  <a:cubicBezTo>
                    <a:pt x="11" y="101"/>
                    <a:pt x="8" y="101"/>
                    <a:pt x="5" y="100"/>
                  </a:cubicBezTo>
                  <a:cubicBezTo>
                    <a:pt x="7" y="113"/>
                    <a:pt x="7" y="113"/>
                    <a:pt x="7" y="113"/>
                  </a:cubicBezTo>
                  <a:cubicBezTo>
                    <a:pt x="10" y="114"/>
                    <a:pt x="13" y="114"/>
                    <a:pt x="16" y="114"/>
                  </a:cubicBezTo>
                  <a:cubicBezTo>
                    <a:pt x="20" y="114"/>
                    <a:pt x="24" y="113"/>
                    <a:pt x="27" y="111"/>
                  </a:cubicBezTo>
                  <a:cubicBezTo>
                    <a:pt x="30" y="109"/>
                    <a:pt x="33" y="106"/>
                    <a:pt x="36" y="101"/>
                  </a:cubicBezTo>
                  <a:cubicBezTo>
                    <a:pt x="37" y="98"/>
                    <a:pt x="40" y="92"/>
                    <a:pt x="43" y="83"/>
                  </a:cubicBezTo>
                  <a:cubicBezTo>
                    <a:pt x="74" y="0"/>
                    <a:pt x="74" y="0"/>
                    <a:pt x="74" y="0"/>
                  </a:cubicBezTo>
                  <a:cubicBezTo>
                    <a:pt x="60" y="0"/>
                    <a:pt x="60" y="0"/>
                    <a:pt x="60" y="0"/>
                  </a:cubicBezTo>
                  <a:lnTo>
                    <a:pt x="43" y="4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198" name="íSḷiḑè"/>
            <p:cNvSpPr/>
            <p:nvPr/>
          </p:nvSpPr>
          <p:spPr bwMode="auto">
            <a:xfrm>
              <a:off x="6564566" y="5729878"/>
              <a:ext cx="142875" cy="157163"/>
            </a:xfrm>
            <a:custGeom>
              <a:avLst/>
              <a:gdLst>
                <a:gd name="T0" fmla="*/ 38 w 77"/>
                <a:gd name="T1" fmla="*/ 0 h 85"/>
                <a:gd name="T2" fmla="*/ 13 w 77"/>
                <a:gd name="T3" fmla="*/ 9 h 85"/>
                <a:gd name="T4" fmla="*/ 0 w 77"/>
                <a:gd name="T5" fmla="*/ 43 h 85"/>
                <a:gd name="T6" fmla="*/ 11 w 77"/>
                <a:gd name="T7" fmla="*/ 74 h 85"/>
                <a:gd name="T8" fmla="*/ 38 w 77"/>
                <a:gd name="T9" fmla="*/ 85 h 85"/>
                <a:gd name="T10" fmla="*/ 58 w 77"/>
                <a:gd name="T11" fmla="*/ 80 h 85"/>
                <a:gd name="T12" fmla="*/ 72 w 77"/>
                <a:gd name="T13" fmla="*/ 66 h 85"/>
                <a:gd name="T14" fmla="*/ 77 w 77"/>
                <a:gd name="T15" fmla="*/ 42 h 85"/>
                <a:gd name="T16" fmla="*/ 66 w 77"/>
                <a:gd name="T17" fmla="*/ 11 h 85"/>
                <a:gd name="T18" fmla="*/ 38 w 77"/>
                <a:gd name="T19" fmla="*/ 0 h 85"/>
                <a:gd name="T20" fmla="*/ 56 w 77"/>
                <a:gd name="T21" fmla="*/ 66 h 85"/>
                <a:gd name="T22" fmla="*/ 38 w 77"/>
                <a:gd name="T23" fmla="*/ 74 h 85"/>
                <a:gd name="T24" fmla="*/ 21 w 77"/>
                <a:gd name="T25" fmla="*/ 66 h 85"/>
                <a:gd name="T26" fmla="*/ 15 w 77"/>
                <a:gd name="T27" fmla="*/ 43 h 85"/>
                <a:gd name="T28" fmla="*/ 21 w 77"/>
                <a:gd name="T29" fmla="*/ 19 h 85"/>
                <a:gd name="T30" fmla="*/ 38 w 77"/>
                <a:gd name="T31" fmla="*/ 12 h 85"/>
                <a:gd name="T32" fmla="*/ 56 w 77"/>
                <a:gd name="T33" fmla="*/ 19 h 85"/>
                <a:gd name="T34" fmla="*/ 62 w 77"/>
                <a:gd name="T35" fmla="*/ 42 h 85"/>
                <a:gd name="T36" fmla="*/ 56 w 77"/>
                <a:gd name="T37" fmla="*/ 66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77" h="85">
                  <a:moveTo>
                    <a:pt x="38" y="0"/>
                  </a:moveTo>
                  <a:cubicBezTo>
                    <a:pt x="28" y="0"/>
                    <a:pt x="20" y="3"/>
                    <a:pt x="13" y="9"/>
                  </a:cubicBezTo>
                  <a:cubicBezTo>
                    <a:pt x="5" y="16"/>
                    <a:pt x="0" y="28"/>
                    <a:pt x="0" y="43"/>
                  </a:cubicBezTo>
                  <a:cubicBezTo>
                    <a:pt x="0" y="56"/>
                    <a:pt x="4" y="67"/>
                    <a:pt x="11" y="74"/>
                  </a:cubicBezTo>
                  <a:cubicBezTo>
                    <a:pt x="18" y="82"/>
                    <a:pt x="27" y="85"/>
                    <a:pt x="38" y="85"/>
                  </a:cubicBezTo>
                  <a:cubicBezTo>
                    <a:pt x="46" y="85"/>
                    <a:pt x="52" y="84"/>
                    <a:pt x="58" y="80"/>
                  </a:cubicBezTo>
                  <a:cubicBezTo>
                    <a:pt x="64" y="77"/>
                    <a:pt x="69" y="72"/>
                    <a:pt x="72" y="66"/>
                  </a:cubicBezTo>
                  <a:cubicBezTo>
                    <a:pt x="75" y="60"/>
                    <a:pt x="77" y="52"/>
                    <a:pt x="77" y="42"/>
                  </a:cubicBezTo>
                  <a:cubicBezTo>
                    <a:pt x="77" y="29"/>
                    <a:pt x="73" y="19"/>
                    <a:pt x="66" y="11"/>
                  </a:cubicBezTo>
                  <a:cubicBezTo>
                    <a:pt x="59" y="4"/>
                    <a:pt x="50" y="0"/>
                    <a:pt x="38" y="0"/>
                  </a:cubicBezTo>
                  <a:close/>
                  <a:moveTo>
                    <a:pt x="56" y="66"/>
                  </a:moveTo>
                  <a:cubicBezTo>
                    <a:pt x="51" y="71"/>
                    <a:pt x="45" y="74"/>
                    <a:pt x="38" y="74"/>
                  </a:cubicBezTo>
                  <a:cubicBezTo>
                    <a:pt x="32" y="74"/>
                    <a:pt x="26" y="71"/>
                    <a:pt x="21" y="66"/>
                  </a:cubicBezTo>
                  <a:cubicBezTo>
                    <a:pt x="17" y="61"/>
                    <a:pt x="15" y="53"/>
                    <a:pt x="15" y="43"/>
                  </a:cubicBezTo>
                  <a:cubicBezTo>
                    <a:pt x="15" y="32"/>
                    <a:pt x="17" y="24"/>
                    <a:pt x="21" y="19"/>
                  </a:cubicBezTo>
                  <a:cubicBezTo>
                    <a:pt x="26" y="14"/>
                    <a:pt x="32" y="12"/>
                    <a:pt x="38" y="12"/>
                  </a:cubicBezTo>
                  <a:cubicBezTo>
                    <a:pt x="45" y="12"/>
                    <a:pt x="51" y="14"/>
                    <a:pt x="56" y="19"/>
                  </a:cubicBezTo>
                  <a:cubicBezTo>
                    <a:pt x="60" y="25"/>
                    <a:pt x="62" y="32"/>
                    <a:pt x="62" y="42"/>
                  </a:cubicBezTo>
                  <a:cubicBezTo>
                    <a:pt x="62" y="53"/>
                    <a:pt x="60" y="61"/>
                    <a:pt x="56" y="6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199" name="ïṣľïḑe"/>
            <p:cNvSpPr/>
            <p:nvPr/>
          </p:nvSpPr>
          <p:spPr bwMode="auto">
            <a:xfrm>
              <a:off x="6720141" y="5672728"/>
              <a:ext cx="85725" cy="209550"/>
            </a:xfrm>
            <a:custGeom>
              <a:avLst/>
              <a:gdLst>
                <a:gd name="T0" fmla="*/ 20 w 47"/>
                <a:gd name="T1" fmla="*/ 4 h 114"/>
                <a:gd name="T2" fmla="*/ 13 w 47"/>
                <a:gd name="T3" fmla="*/ 12 h 114"/>
                <a:gd name="T4" fmla="*/ 12 w 47"/>
                <a:gd name="T5" fmla="*/ 24 h 114"/>
                <a:gd name="T6" fmla="*/ 12 w 47"/>
                <a:gd name="T7" fmla="*/ 33 h 114"/>
                <a:gd name="T8" fmla="*/ 0 w 47"/>
                <a:gd name="T9" fmla="*/ 33 h 114"/>
                <a:gd name="T10" fmla="*/ 0 w 47"/>
                <a:gd name="T11" fmla="*/ 44 h 114"/>
                <a:gd name="T12" fmla="*/ 12 w 47"/>
                <a:gd name="T13" fmla="*/ 44 h 114"/>
                <a:gd name="T14" fmla="*/ 12 w 47"/>
                <a:gd name="T15" fmla="*/ 114 h 114"/>
                <a:gd name="T16" fmla="*/ 26 w 47"/>
                <a:gd name="T17" fmla="*/ 114 h 114"/>
                <a:gd name="T18" fmla="*/ 26 w 47"/>
                <a:gd name="T19" fmla="*/ 44 h 114"/>
                <a:gd name="T20" fmla="*/ 41 w 47"/>
                <a:gd name="T21" fmla="*/ 44 h 114"/>
                <a:gd name="T22" fmla="*/ 41 w 47"/>
                <a:gd name="T23" fmla="*/ 33 h 114"/>
                <a:gd name="T24" fmla="*/ 26 w 47"/>
                <a:gd name="T25" fmla="*/ 33 h 114"/>
                <a:gd name="T26" fmla="*/ 26 w 47"/>
                <a:gd name="T27" fmla="*/ 26 h 114"/>
                <a:gd name="T28" fmla="*/ 28 w 47"/>
                <a:gd name="T29" fmla="*/ 16 h 114"/>
                <a:gd name="T30" fmla="*/ 37 w 47"/>
                <a:gd name="T31" fmla="*/ 13 h 114"/>
                <a:gd name="T32" fmla="*/ 45 w 47"/>
                <a:gd name="T33" fmla="*/ 14 h 114"/>
                <a:gd name="T34" fmla="*/ 47 w 47"/>
                <a:gd name="T35" fmla="*/ 2 h 114"/>
                <a:gd name="T36" fmla="*/ 34 w 47"/>
                <a:gd name="T37" fmla="*/ 0 h 114"/>
                <a:gd name="T38" fmla="*/ 20 w 47"/>
                <a:gd name="T39" fmla="*/ 4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47" h="114">
                  <a:moveTo>
                    <a:pt x="20" y="4"/>
                  </a:moveTo>
                  <a:cubicBezTo>
                    <a:pt x="17" y="6"/>
                    <a:pt x="15" y="9"/>
                    <a:pt x="13" y="12"/>
                  </a:cubicBezTo>
                  <a:cubicBezTo>
                    <a:pt x="12" y="15"/>
                    <a:pt x="12" y="19"/>
                    <a:pt x="12" y="24"/>
                  </a:cubicBezTo>
                  <a:cubicBezTo>
                    <a:pt x="12" y="33"/>
                    <a:pt x="12" y="33"/>
                    <a:pt x="12" y="33"/>
                  </a:cubicBezTo>
                  <a:cubicBezTo>
                    <a:pt x="0" y="33"/>
                    <a:pt x="0" y="33"/>
                    <a:pt x="0" y="33"/>
                  </a:cubicBezTo>
                  <a:cubicBezTo>
                    <a:pt x="0" y="44"/>
                    <a:pt x="0" y="44"/>
                    <a:pt x="0" y="44"/>
                  </a:cubicBezTo>
                  <a:cubicBezTo>
                    <a:pt x="12" y="44"/>
                    <a:pt x="12" y="44"/>
                    <a:pt x="12" y="44"/>
                  </a:cubicBezTo>
                  <a:cubicBezTo>
                    <a:pt x="12" y="114"/>
                    <a:pt x="12" y="114"/>
                    <a:pt x="12" y="114"/>
                  </a:cubicBezTo>
                  <a:cubicBezTo>
                    <a:pt x="26" y="114"/>
                    <a:pt x="26" y="114"/>
                    <a:pt x="26" y="114"/>
                  </a:cubicBezTo>
                  <a:cubicBezTo>
                    <a:pt x="26" y="44"/>
                    <a:pt x="26" y="44"/>
                    <a:pt x="26" y="44"/>
                  </a:cubicBezTo>
                  <a:cubicBezTo>
                    <a:pt x="41" y="44"/>
                    <a:pt x="41" y="44"/>
                    <a:pt x="41" y="44"/>
                  </a:cubicBezTo>
                  <a:cubicBezTo>
                    <a:pt x="41" y="33"/>
                    <a:pt x="41" y="33"/>
                    <a:pt x="41" y="33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26" y="26"/>
                    <a:pt x="26" y="26"/>
                    <a:pt x="26" y="26"/>
                  </a:cubicBezTo>
                  <a:cubicBezTo>
                    <a:pt x="26" y="21"/>
                    <a:pt x="27" y="17"/>
                    <a:pt x="28" y="16"/>
                  </a:cubicBezTo>
                  <a:cubicBezTo>
                    <a:pt x="30" y="14"/>
                    <a:pt x="33" y="13"/>
                    <a:pt x="37" y="13"/>
                  </a:cubicBezTo>
                  <a:cubicBezTo>
                    <a:pt x="40" y="13"/>
                    <a:pt x="42" y="13"/>
                    <a:pt x="45" y="14"/>
                  </a:cubicBezTo>
                  <a:cubicBezTo>
                    <a:pt x="47" y="2"/>
                    <a:pt x="47" y="2"/>
                    <a:pt x="47" y="2"/>
                  </a:cubicBezTo>
                  <a:cubicBezTo>
                    <a:pt x="43" y="1"/>
                    <a:pt x="38" y="0"/>
                    <a:pt x="34" y="0"/>
                  </a:cubicBezTo>
                  <a:cubicBezTo>
                    <a:pt x="28" y="0"/>
                    <a:pt x="24" y="1"/>
                    <a:pt x="20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200" name="ïš1îḍè"/>
            <p:cNvSpPr/>
            <p:nvPr/>
          </p:nvSpPr>
          <p:spPr bwMode="auto">
            <a:xfrm>
              <a:off x="6890003" y="5672728"/>
              <a:ext cx="165100" cy="214313"/>
            </a:xfrm>
            <a:custGeom>
              <a:avLst/>
              <a:gdLst>
                <a:gd name="T0" fmla="*/ 71 w 90"/>
                <a:gd name="T1" fmla="*/ 55 h 116"/>
                <a:gd name="T2" fmla="*/ 46 w 90"/>
                <a:gd name="T3" fmla="*/ 48 h 116"/>
                <a:gd name="T4" fmla="*/ 23 w 90"/>
                <a:gd name="T5" fmla="*/ 40 h 116"/>
                <a:gd name="T6" fmla="*/ 19 w 90"/>
                <a:gd name="T7" fmla="*/ 30 h 116"/>
                <a:gd name="T8" fmla="*/ 25 w 90"/>
                <a:gd name="T9" fmla="*/ 18 h 116"/>
                <a:gd name="T10" fmla="*/ 45 w 90"/>
                <a:gd name="T11" fmla="*/ 13 h 116"/>
                <a:gd name="T12" fmla="*/ 64 w 90"/>
                <a:gd name="T13" fmla="*/ 19 h 116"/>
                <a:gd name="T14" fmla="*/ 72 w 90"/>
                <a:gd name="T15" fmla="*/ 35 h 116"/>
                <a:gd name="T16" fmla="*/ 86 w 90"/>
                <a:gd name="T17" fmla="*/ 34 h 116"/>
                <a:gd name="T18" fmla="*/ 81 w 90"/>
                <a:gd name="T19" fmla="*/ 16 h 116"/>
                <a:gd name="T20" fmla="*/ 66 w 90"/>
                <a:gd name="T21" fmla="*/ 4 h 116"/>
                <a:gd name="T22" fmla="*/ 44 w 90"/>
                <a:gd name="T23" fmla="*/ 0 h 116"/>
                <a:gd name="T24" fmla="*/ 24 w 90"/>
                <a:gd name="T25" fmla="*/ 4 h 116"/>
                <a:gd name="T26" fmla="*/ 10 w 90"/>
                <a:gd name="T27" fmla="*/ 15 h 116"/>
                <a:gd name="T28" fmla="*/ 5 w 90"/>
                <a:gd name="T29" fmla="*/ 31 h 116"/>
                <a:gd name="T30" fmla="*/ 9 w 90"/>
                <a:gd name="T31" fmla="*/ 45 h 116"/>
                <a:gd name="T32" fmla="*/ 21 w 90"/>
                <a:gd name="T33" fmla="*/ 56 h 116"/>
                <a:gd name="T34" fmla="*/ 42 w 90"/>
                <a:gd name="T35" fmla="*/ 63 h 116"/>
                <a:gd name="T36" fmla="*/ 62 w 90"/>
                <a:gd name="T37" fmla="*/ 68 h 116"/>
                <a:gd name="T38" fmla="*/ 72 w 90"/>
                <a:gd name="T39" fmla="*/ 75 h 116"/>
                <a:gd name="T40" fmla="*/ 75 w 90"/>
                <a:gd name="T41" fmla="*/ 84 h 116"/>
                <a:gd name="T42" fmla="*/ 72 w 90"/>
                <a:gd name="T43" fmla="*/ 93 h 116"/>
                <a:gd name="T44" fmla="*/ 63 w 90"/>
                <a:gd name="T45" fmla="*/ 100 h 116"/>
                <a:gd name="T46" fmla="*/ 48 w 90"/>
                <a:gd name="T47" fmla="*/ 103 h 116"/>
                <a:gd name="T48" fmla="*/ 30 w 90"/>
                <a:gd name="T49" fmla="*/ 100 h 116"/>
                <a:gd name="T50" fmla="*/ 19 w 90"/>
                <a:gd name="T51" fmla="*/ 91 h 116"/>
                <a:gd name="T52" fmla="*/ 14 w 90"/>
                <a:gd name="T53" fmla="*/ 77 h 116"/>
                <a:gd name="T54" fmla="*/ 0 w 90"/>
                <a:gd name="T55" fmla="*/ 78 h 116"/>
                <a:gd name="T56" fmla="*/ 7 w 90"/>
                <a:gd name="T57" fmla="*/ 98 h 116"/>
                <a:gd name="T58" fmla="*/ 23 w 90"/>
                <a:gd name="T59" fmla="*/ 112 h 116"/>
                <a:gd name="T60" fmla="*/ 48 w 90"/>
                <a:gd name="T61" fmla="*/ 116 h 116"/>
                <a:gd name="T62" fmla="*/ 70 w 90"/>
                <a:gd name="T63" fmla="*/ 112 h 116"/>
                <a:gd name="T64" fmla="*/ 85 w 90"/>
                <a:gd name="T65" fmla="*/ 100 h 116"/>
                <a:gd name="T66" fmla="*/ 90 w 90"/>
                <a:gd name="T67" fmla="*/ 83 h 116"/>
                <a:gd name="T68" fmla="*/ 85 w 90"/>
                <a:gd name="T69" fmla="*/ 67 h 116"/>
                <a:gd name="T70" fmla="*/ 71 w 90"/>
                <a:gd name="T71" fmla="*/ 55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90" h="116">
                  <a:moveTo>
                    <a:pt x="71" y="55"/>
                  </a:moveTo>
                  <a:cubicBezTo>
                    <a:pt x="66" y="53"/>
                    <a:pt x="58" y="51"/>
                    <a:pt x="46" y="48"/>
                  </a:cubicBezTo>
                  <a:cubicBezTo>
                    <a:pt x="34" y="45"/>
                    <a:pt x="26" y="43"/>
                    <a:pt x="23" y="40"/>
                  </a:cubicBezTo>
                  <a:cubicBezTo>
                    <a:pt x="21" y="38"/>
                    <a:pt x="19" y="34"/>
                    <a:pt x="19" y="30"/>
                  </a:cubicBezTo>
                  <a:cubicBezTo>
                    <a:pt x="19" y="26"/>
                    <a:pt x="21" y="22"/>
                    <a:pt x="25" y="18"/>
                  </a:cubicBezTo>
                  <a:cubicBezTo>
                    <a:pt x="29" y="15"/>
                    <a:pt x="36" y="13"/>
                    <a:pt x="45" y="13"/>
                  </a:cubicBezTo>
                  <a:cubicBezTo>
                    <a:pt x="53" y="13"/>
                    <a:pt x="60" y="15"/>
                    <a:pt x="64" y="19"/>
                  </a:cubicBezTo>
                  <a:cubicBezTo>
                    <a:pt x="69" y="22"/>
                    <a:pt x="71" y="28"/>
                    <a:pt x="72" y="35"/>
                  </a:cubicBezTo>
                  <a:cubicBezTo>
                    <a:pt x="86" y="34"/>
                    <a:pt x="86" y="34"/>
                    <a:pt x="86" y="34"/>
                  </a:cubicBezTo>
                  <a:cubicBezTo>
                    <a:pt x="86" y="27"/>
                    <a:pt x="84" y="21"/>
                    <a:pt x="81" y="16"/>
                  </a:cubicBezTo>
                  <a:cubicBezTo>
                    <a:pt x="77" y="11"/>
                    <a:pt x="73" y="7"/>
                    <a:pt x="66" y="4"/>
                  </a:cubicBezTo>
                  <a:cubicBezTo>
                    <a:pt x="60" y="2"/>
                    <a:pt x="53" y="0"/>
                    <a:pt x="44" y="0"/>
                  </a:cubicBezTo>
                  <a:cubicBezTo>
                    <a:pt x="37" y="0"/>
                    <a:pt x="30" y="1"/>
                    <a:pt x="24" y="4"/>
                  </a:cubicBezTo>
                  <a:cubicBezTo>
                    <a:pt x="17" y="7"/>
                    <a:pt x="13" y="10"/>
                    <a:pt x="10" y="15"/>
                  </a:cubicBezTo>
                  <a:cubicBezTo>
                    <a:pt x="6" y="20"/>
                    <a:pt x="5" y="25"/>
                    <a:pt x="5" y="31"/>
                  </a:cubicBezTo>
                  <a:cubicBezTo>
                    <a:pt x="5" y="36"/>
                    <a:pt x="6" y="41"/>
                    <a:pt x="9" y="45"/>
                  </a:cubicBezTo>
                  <a:cubicBezTo>
                    <a:pt x="11" y="49"/>
                    <a:pt x="15" y="53"/>
                    <a:pt x="21" y="56"/>
                  </a:cubicBezTo>
                  <a:cubicBezTo>
                    <a:pt x="25" y="58"/>
                    <a:pt x="32" y="60"/>
                    <a:pt x="42" y="63"/>
                  </a:cubicBezTo>
                  <a:cubicBezTo>
                    <a:pt x="53" y="65"/>
                    <a:pt x="59" y="67"/>
                    <a:pt x="62" y="68"/>
                  </a:cubicBezTo>
                  <a:cubicBezTo>
                    <a:pt x="67" y="70"/>
                    <a:pt x="70" y="72"/>
                    <a:pt x="72" y="75"/>
                  </a:cubicBezTo>
                  <a:cubicBezTo>
                    <a:pt x="74" y="77"/>
                    <a:pt x="75" y="80"/>
                    <a:pt x="75" y="84"/>
                  </a:cubicBezTo>
                  <a:cubicBezTo>
                    <a:pt x="75" y="87"/>
                    <a:pt x="74" y="91"/>
                    <a:pt x="72" y="93"/>
                  </a:cubicBezTo>
                  <a:cubicBezTo>
                    <a:pt x="70" y="96"/>
                    <a:pt x="67" y="99"/>
                    <a:pt x="63" y="100"/>
                  </a:cubicBezTo>
                  <a:cubicBezTo>
                    <a:pt x="58" y="102"/>
                    <a:pt x="53" y="103"/>
                    <a:pt x="48" y="103"/>
                  </a:cubicBezTo>
                  <a:cubicBezTo>
                    <a:pt x="41" y="103"/>
                    <a:pt x="35" y="102"/>
                    <a:pt x="30" y="100"/>
                  </a:cubicBezTo>
                  <a:cubicBezTo>
                    <a:pt x="25" y="97"/>
                    <a:pt x="22" y="94"/>
                    <a:pt x="19" y="91"/>
                  </a:cubicBezTo>
                  <a:cubicBezTo>
                    <a:pt x="17" y="87"/>
                    <a:pt x="15" y="83"/>
                    <a:pt x="14" y="77"/>
                  </a:cubicBezTo>
                  <a:cubicBezTo>
                    <a:pt x="0" y="78"/>
                    <a:pt x="0" y="78"/>
                    <a:pt x="0" y="78"/>
                  </a:cubicBezTo>
                  <a:cubicBezTo>
                    <a:pt x="1" y="86"/>
                    <a:pt x="3" y="93"/>
                    <a:pt x="7" y="98"/>
                  </a:cubicBezTo>
                  <a:cubicBezTo>
                    <a:pt x="11" y="104"/>
                    <a:pt x="16" y="109"/>
                    <a:pt x="23" y="112"/>
                  </a:cubicBezTo>
                  <a:cubicBezTo>
                    <a:pt x="30" y="115"/>
                    <a:pt x="38" y="116"/>
                    <a:pt x="48" y="116"/>
                  </a:cubicBezTo>
                  <a:cubicBezTo>
                    <a:pt x="56" y="116"/>
                    <a:pt x="64" y="115"/>
                    <a:pt x="70" y="112"/>
                  </a:cubicBezTo>
                  <a:cubicBezTo>
                    <a:pt x="76" y="109"/>
                    <a:pt x="81" y="105"/>
                    <a:pt x="85" y="100"/>
                  </a:cubicBezTo>
                  <a:cubicBezTo>
                    <a:pt x="88" y="94"/>
                    <a:pt x="90" y="89"/>
                    <a:pt x="90" y="83"/>
                  </a:cubicBezTo>
                  <a:cubicBezTo>
                    <a:pt x="90" y="77"/>
                    <a:pt x="88" y="71"/>
                    <a:pt x="85" y="67"/>
                  </a:cubicBezTo>
                  <a:cubicBezTo>
                    <a:pt x="82" y="62"/>
                    <a:pt x="77" y="58"/>
                    <a:pt x="71" y="5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201" name="iṥľïḍê"/>
            <p:cNvSpPr/>
            <p:nvPr/>
          </p:nvSpPr>
          <p:spPr bwMode="auto">
            <a:xfrm>
              <a:off x="7080503" y="5729878"/>
              <a:ext cx="131763" cy="157163"/>
            </a:xfrm>
            <a:custGeom>
              <a:avLst/>
              <a:gdLst>
                <a:gd name="T0" fmla="*/ 50 w 71"/>
                <a:gd name="T1" fmla="*/ 69 h 85"/>
                <a:gd name="T2" fmla="*/ 37 w 71"/>
                <a:gd name="T3" fmla="*/ 74 h 85"/>
                <a:gd name="T4" fmla="*/ 21 w 71"/>
                <a:gd name="T5" fmla="*/ 66 h 85"/>
                <a:gd name="T6" fmla="*/ 14 w 71"/>
                <a:gd name="T7" fmla="*/ 43 h 85"/>
                <a:gd name="T8" fmla="*/ 21 w 71"/>
                <a:gd name="T9" fmla="*/ 19 h 85"/>
                <a:gd name="T10" fmla="*/ 38 w 71"/>
                <a:gd name="T11" fmla="*/ 12 h 85"/>
                <a:gd name="T12" fmla="*/ 49 w 71"/>
                <a:gd name="T13" fmla="*/ 16 h 85"/>
                <a:gd name="T14" fmla="*/ 56 w 71"/>
                <a:gd name="T15" fmla="*/ 28 h 85"/>
                <a:gd name="T16" fmla="*/ 70 w 71"/>
                <a:gd name="T17" fmla="*/ 26 h 85"/>
                <a:gd name="T18" fmla="*/ 59 w 71"/>
                <a:gd name="T19" fmla="*/ 7 h 85"/>
                <a:gd name="T20" fmla="*/ 37 w 71"/>
                <a:gd name="T21" fmla="*/ 0 h 85"/>
                <a:gd name="T22" fmla="*/ 18 w 71"/>
                <a:gd name="T23" fmla="*/ 5 h 85"/>
                <a:gd name="T24" fmla="*/ 4 w 71"/>
                <a:gd name="T25" fmla="*/ 20 h 85"/>
                <a:gd name="T26" fmla="*/ 0 w 71"/>
                <a:gd name="T27" fmla="*/ 43 h 85"/>
                <a:gd name="T28" fmla="*/ 10 w 71"/>
                <a:gd name="T29" fmla="*/ 74 h 85"/>
                <a:gd name="T30" fmla="*/ 37 w 71"/>
                <a:gd name="T31" fmla="*/ 85 h 85"/>
                <a:gd name="T32" fmla="*/ 60 w 71"/>
                <a:gd name="T33" fmla="*/ 77 h 85"/>
                <a:gd name="T34" fmla="*/ 71 w 71"/>
                <a:gd name="T35" fmla="*/ 55 h 85"/>
                <a:gd name="T36" fmla="*/ 57 w 71"/>
                <a:gd name="T37" fmla="*/ 54 h 85"/>
                <a:gd name="T38" fmla="*/ 50 w 71"/>
                <a:gd name="T39" fmla="*/ 69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71" h="85">
                  <a:moveTo>
                    <a:pt x="50" y="69"/>
                  </a:moveTo>
                  <a:cubicBezTo>
                    <a:pt x="47" y="72"/>
                    <a:pt x="42" y="74"/>
                    <a:pt x="37" y="74"/>
                  </a:cubicBezTo>
                  <a:cubicBezTo>
                    <a:pt x="30" y="74"/>
                    <a:pt x="25" y="71"/>
                    <a:pt x="21" y="66"/>
                  </a:cubicBezTo>
                  <a:cubicBezTo>
                    <a:pt x="16" y="61"/>
                    <a:pt x="14" y="54"/>
                    <a:pt x="14" y="43"/>
                  </a:cubicBezTo>
                  <a:cubicBezTo>
                    <a:pt x="14" y="32"/>
                    <a:pt x="16" y="24"/>
                    <a:pt x="21" y="19"/>
                  </a:cubicBezTo>
                  <a:cubicBezTo>
                    <a:pt x="25" y="14"/>
                    <a:pt x="31" y="12"/>
                    <a:pt x="38" y="12"/>
                  </a:cubicBezTo>
                  <a:cubicBezTo>
                    <a:pt x="42" y="12"/>
                    <a:pt x="46" y="13"/>
                    <a:pt x="49" y="16"/>
                  </a:cubicBezTo>
                  <a:cubicBezTo>
                    <a:pt x="53" y="18"/>
                    <a:pt x="55" y="23"/>
                    <a:pt x="56" y="28"/>
                  </a:cubicBezTo>
                  <a:cubicBezTo>
                    <a:pt x="70" y="26"/>
                    <a:pt x="70" y="26"/>
                    <a:pt x="70" y="26"/>
                  </a:cubicBezTo>
                  <a:cubicBezTo>
                    <a:pt x="68" y="18"/>
                    <a:pt x="64" y="11"/>
                    <a:pt x="59" y="7"/>
                  </a:cubicBezTo>
                  <a:cubicBezTo>
                    <a:pt x="53" y="2"/>
                    <a:pt x="46" y="0"/>
                    <a:pt x="37" y="0"/>
                  </a:cubicBezTo>
                  <a:cubicBezTo>
                    <a:pt x="30" y="0"/>
                    <a:pt x="24" y="2"/>
                    <a:pt x="18" y="5"/>
                  </a:cubicBezTo>
                  <a:cubicBezTo>
                    <a:pt x="12" y="8"/>
                    <a:pt x="7" y="13"/>
                    <a:pt x="4" y="20"/>
                  </a:cubicBezTo>
                  <a:cubicBezTo>
                    <a:pt x="2" y="27"/>
                    <a:pt x="0" y="34"/>
                    <a:pt x="0" y="43"/>
                  </a:cubicBezTo>
                  <a:cubicBezTo>
                    <a:pt x="0" y="57"/>
                    <a:pt x="3" y="67"/>
                    <a:pt x="10" y="74"/>
                  </a:cubicBezTo>
                  <a:cubicBezTo>
                    <a:pt x="17" y="82"/>
                    <a:pt x="26" y="85"/>
                    <a:pt x="37" y="85"/>
                  </a:cubicBezTo>
                  <a:cubicBezTo>
                    <a:pt x="46" y="85"/>
                    <a:pt x="53" y="83"/>
                    <a:pt x="60" y="77"/>
                  </a:cubicBezTo>
                  <a:cubicBezTo>
                    <a:pt x="66" y="72"/>
                    <a:pt x="69" y="65"/>
                    <a:pt x="71" y="55"/>
                  </a:cubicBezTo>
                  <a:cubicBezTo>
                    <a:pt x="57" y="54"/>
                    <a:pt x="57" y="54"/>
                    <a:pt x="57" y="54"/>
                  </a:cubicBezTo>
                  <a:cubicBezTo>
                    <a:pt x="56" y="60"/>
                    <a:pt x="54" y="66"/>
                    <a:pt x="50" y="6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202" name="íṥ1ïdê"/>
            <p:cNvSpPr/>
            <p:nvPr/>
          </p:nvSpPr>
          <p:spPr bwMode="auto">
            <a:xfrm>
              <a:off x="7234491" y="5675903"/>
              <a:ext cx="25400" cy="3016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203" name="îṡ1îďé"/>
            <p:cNvSpPr/>
            <p:nvPr/>
          </p:nvSpPr>
          <p:spPr bwMode="auto">
            <a:xfrm>
              <a:off x="7234491" y="5733053"/>
              <a:ext cx="25400" cy="1492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204" name="íṩḷïḑé"/>
            <p:cNvSpPr/>
            <p:nvPr/>
          </p:nvSpPr>
          <p:spPr bwMode="auto">
            <a:xfrm>
              <a:off x="7290053" y="5729878"/>
              <a:ext cx="138113" cy="157163"/>
            </a:xfrm>
            <a:custGeom>
              <a:avLst/>
              <a:gdLst>
                <a:gd name="T0" fmla="*/ 38 w 75"/>
                <a:gd name="T1" fmla="*/ 0 h 85"/>
                <a:gd name="T2" fmla="*/ 10 w 75"/>
                <a:gd name="T3" fmla="*/ 12 h 85"/>
                <a:gd name="T4" fmla="*/ 0 w 75"/>
                <a:gd name="T5" fmla="*/ 43 h 85"/>
                <a:gd name="T6" fmla="*/ 10 w 75"/>
                <a:gd name="T7" fmla="*/ 74 h 85"/>
                <a:gd name="T8" fmla="*/ 39 w 75"/>
                <a:gd name="T9" fmla="*/ 85 h 85"/>
                <a:gd name="T10" fmla="*/ 62 w 75"/>
                <a:gd name="T11" fmla="*/ 78 h 85"/>
                <a:gd name="T12" fmla="*/ 74 w 75"/>
                <a:gd name="T13" fmla="*/ 59 h 85"/>
                <a:gd name="T14" fmla="*/ 60 w 75"/>
                <a:gd name="T15" fmla="*/ 57 h 85"/>
                <a:gd name="T16" fmla="*/ 52 w 75"/>
                <a:gd name="T17" fmla="*/ 70 h 85"/>
                <a:gd name="T18" fmla="*/ 39 w 75"/>
                <a:gd name="T19" fmla="*/ 74 h 85"/>
                <a:gd name="T20" fmla="*/ 22 w 75"/>
                <a:gd name="T21" fmla="*/ 67 h 85"/>
                <a:gd name="T22" fmla="*/ 14 w 75"/>
                <a:gd name="T23" fmla="*/ 46 h 85"/>
                <a:gd name="T24" fmla="*/ 75 w 75"/>
                <a:gd name="T25" fmla="*/ 46 h 85"/>
                <a:gd name="T26" fmla="*/ 75 w 75"/>
                <a:gd name="T27" fmla="*/ 43 h 85"/>
                <a:gd name="T28" fmla="*/ 65 w 75"/>
                <a:gd name="T29" fmla="*/ 11 h 85"/>
                <a:gd name="T30" fmla="*/ 38 w 75"/>
                <a:gd name="T31" fmla="*/ 0 h 85"/>
                <a:gd name="T32" fmla="*/ 15 w 75"/>
                <a:gd name="T33" fmla="*/ 35 h 85"/>
                <a:gd name="T34" fmla="*/ 22 w 75"/>
                <a:gd name="T35" fmla="*/ 18 h 85"/>
                <a:gd name="T36" fmla="*/ 38 w 75"/>
                <a:gd name="T37" fmla="*/ 12 h 85"/>
                <a:gd name="T38" fmla="*/ 55 w 75"/>
                <a:gd name="T39" fmla="*/ 20 h 85"/>
                <a:gd name="T40" fmla="*/ 60 w 75"/>
                <a:gd name="T41" fmla="*/ 35 h 85"/>
                <a:gd name="T42" fmla="*/ 15 w 75"/>
                <a:gd name="T43" fmla="*/ 35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75" h="85">
                  <a:moveTo>
                    <a:pt x="38" y="0"/>
                  </a:moveTo>
                  <a:cubicBezTo>
                    <a:pt x="27" y="0"/>
                    <a:pt x="18" y="4"/>
                    <a:pt x="10" y="12"/>
                  </a:cubicBezTo>
                  <a:cubicBezTo>
                    <a:pt x="3" y="19"/>
                    <a:pt x="0" y="30"/>
                    <a:pt x="0" y="43"/>
                  </a:cubicBezTo>
                  <a:cubicBezTo>
                    <a:pt x="0" y="57"/>
                    <a:pt x="3" y="67"/>
                    <a:pt x="10" y="74"/>
                  </a:cubicBezTo>
                  <a:cubicBezTo>
                    <a:pt x="17" y="81"/>
                    <a:pt x="27" y="85"/>
                    <a:pt x="39" y="85"/>
                  </a:cubicBezTo>
                  <a:cubicBezTo>
                    <a:pt x="48" y="85"/>
                    <a:pt x="56" y="83"/>
                    <a:pt x="62" y="78"/>
                  </a:cubicBezTo>
                  <a:cubicBezTo>
                    <a:pt x="68" y="74"/>
                    <a:pt x="72" y="67"/>
                    <a:pt x="74" y="59"/>
                  </a:cubicBezTo>
                  <a:cubicBezTo>
                    <a:pt x="60" y="57"/>
                    <a:pt x="60" y="57"/>
                    <a:pt x="60" y="57"/>
                  </a:cubicBezTo>
                  <a:cubicBezTo>
                    <a:pt x="58" y="63"/>
                    <a:pt x="55" y="67"/>
                    <a:pt x="52" y="70"/>
                  </a:cubicBezTo>
                  <a:cubicBezTo>
                    <a:pt x="48" y="73"/>
                    <a:pt x="44" y="74"/>
                    <a:pt x="39" y="74"/>
                  </a:cubicBezTo>
                  <a:cubicBezTo>
                    <a:pt x="32" y="74"/>
                    <a:pt x="26" y="71"/>
                    <a:pt x="22" y="67"/>
                  </a:cubicBezTo>
                  <a:cubicBezTo>
                    <a:pt x="17" y="62"/>
                    <a:pt x="15" y="55"/>
                    <a:pt x="14" y="46"/>
                  </a:cubicBezTo>
                  <a:cubicBezTo>
                    <a:pt x="75" y="46"/>
                    <a:pt x="75" y="46"/>
                    <a:pt x="75" y="46"/>
                  </a:cubicBezTo>
                  <a:cubicBezTo>
                    <a:pt x="75" y="45"/>
                    <a:pt x="75" y="43"/>
                    <a:pt x="75" y="43"/>
                  </a:cubicBezTo>
                  <a:cubicBezTo>
                    <a:pt x="75" y="29"/>
                    <a:pt x="71" y="19"/>
                    <a:pt x="65" y="11"/>
                  </a:cubicBezTo>
                  <a:cubicBezTo>
                    <a:pt x="58" y="4"/>
                    <a:pt x="49" y="0"/>
                    <a:pt x="38" y="0"/>
                  </a:cubicBezTo>
                  <a:close/>
                  <a:moveTo>
                    <a:pt x="15" y="35"/>
                  </a:moveTo>
                  <a:cubicBezTo>
                    <a:pt x="15" y="28"/>
                    <a:pt x="18" y="22"/>
                    <a:pt x="22" y="18"/>
                  </a:cubicBezTo>
                  <a:cubicBezTo>
                    <a:pt x="26" y="14"/>
                    <a:pt x="32" y="12"/>
                    <a:pt x="38" y="12"/>
                  </a:cubicBezTo>
                  <a:cubicBezTo>
                    <a:pt x="45" y="12"/>
                    <a:pt x="51" y="14"/>
                    <a:pt x="55" y="20"/>
                  </a:cubicBezTo>
                  <a:cubicBezTo>
                    <a:pt x="58" y="23"/>
                    <a:pt x="60" y="28"/>
                    <a:pt x="60" y="35"/>
                  </a:cubicBezTo>
                  <a:lnTo>
                    <a:pt x="15" y="3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205" name="ïşḷiḋè"/>
            <p:cNvSpPr/>
            <p:nvPr/>
          </p:nvSpPr>
          <p:spPr bwMode="auto">
            <a:xfrm>
              <a:off x="7458328" y="5729878"/>
              <a:ext cx="122238" cy="152400"/>
            </a:xfrm>
            <a:custGeom>
              <a:avLst/>
              <a:gdLst>
                <a:gd name="T0" fmla="*/ 61 w 66"/>
                <a:gd name="T1" fmla="*/ 10 h 83"/>
                <a:gd name="T2" fmla="*/ 51 w 66"/>
                <a:gd name="T3" fmla="*/ 3 h 83"/>
                <a:gd name="T4" fmla="*/ 38 w 66"/>
                <a:gd name="T5" fmla="*/ 0 h 83"/>
                <a:gd name="T6" fmla="*/ 12 w 66"/>
                <a:gd name="T7" fmla="*/ 14 h 83"/>
                <a:gd name="T8" fmla="*/ 12 w 66"/>
                <a:gd name="T9" fmla="*/ 2 h 83"/>
                <a:gd name="T10" fmla="*/ 0 w 66"/>
                <a:gd name="T11" fmla="*/ 2 h 83"/>
                <a:gd name="T12" fmla="*/ 0 w 66"/>
                <a:gd name="T13" fmla="*/ 83 h 83"/>
                <a:gd name="T14" fmla="*/ 13 w 66"/>
                <a:gd name="T15" fmla="*/ 83 h 83"/>
                <a:gd name="T16" fmla="*/ 13 w 66"/>
                <a:gd name="T17" fmla="*/ 39 h 83"/>
                <a:gd name="T18" fmla="*/ 20 w 66"/>
                <a:gd name="T19" fmla="*/ 18 h 83"/>
                <a:gd name="T20" fmla="*/ 35 w 66"/>
                <a:gd name="T21" fmla="*/ 12 h 83"/>
                <a:gd name="T22" fmla="*/ 45 w 66"/>
                <a:gd name="T23" fmla="*/ 15 h 83"/>
                <a:gd name="T24" fmla="*/ 50 w 66"/>
                <a:gd name="T25" fmla="*/ 21 h 83"/>
                <a:gd name="T26" fmla="*/ 52 w 66"/>
                <a:gd name="T27" fmla="*/ 34 h 83"/>
                <a:gd name="T28" fmla="*/ 52 w 66"/>
                <a:gd name="T29" fmla="*/ 83 h 83"/>
                <a:gd name="T30" fmla="*/ 66 w 66"/>
                <a:gd name="T31" fmla="*/ 83 h 83"/>
                <a:gd name="T32" fmla="*/ 66 w 66"/>
                <a:gd name="T33" fmla="*/ 33 h 83"/>
                <a:gd name="T34" fmla="*/ 65 w 66"/>
                <a:gd name="T35" fmla="*/ 20 h 83"/>
                <a:gd name="T36" fmla="*/ 61 w 66"/>
                <a:gd name="T37" fmla="*/ 10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6" h="83">
                  <a:moveTo>
                    <a:pt x="61" y="10"/>
                  </a:moveTo>
                  <a:cubicBezTo>
                    <a:pt x="59" y="7"/>
                    <a:pt x="56" y="5"/>
                    <a:pt x="51" y="3"/>
                  </a:cubicBezTo>
                  <a:cubicBezTo>
                    <a:pt x="47" y="1"/>
                    <a:pt x="43" y="0"/>
                    <a:pt x="38" y="0"/>
                  </a:cubicBezTo>
                  <a:cubicBezTo>
                    <a:pt x="27" y="0"/>
                    <a:pt x="18" y="5"/>
                    <a:pt x="12" y="14"/>
                  </a:cubicBezTo>
                  <a:cubicBezTo>
                    <a:pt x="12" y="2"/>
                    <a:pt x="12" y="2"/>
                    <a:pt x="12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83"/>
                    <a:pt x="0" y="83"/>
                    <a:pt x="0" y="83"/>
                  </a:cubicBezTo>
                  <a:cubicBezTo>
                    <a:pt x="13" y="83"/>
                    <a:pt x="13" y="83"/>
                    <a:pt x="13" y="83"/>
                  </a:cubicBezTo>
                  <a:cubicBezTo>
                    <a:pt x="13" y="39"/>
                    <a:pt x="13" y="39"/>
                    <a:pt x="13" y="39"/>
                  </a:cubicBezTo>
                  <a:cubicBezTo>
                    <a:pt x="13" y="29"/>
                    <a:pt x="16" y="21"/>
                    <a:pt x="20" y="18"/>
                  </a:cubicBezTo>
                  <a:cubicBezTo>
                    <a:pt x="24" y="14"/>
                    <a:pt x="29" y="12"/>
                    <a:pt x="35" y="12"/>
                  </a:cubicBezTo>
                  <a:cubicBezTo>
                    <a:pt x="39" y="12"/>
                    <a:pt x="42" y="13"/>
                    <a:pt x="45" y="15"/>
                  </a:cubicBezTo>
                  <a:cubicBezTo>
                    <a:pt x="47" y="16"/>
                    <a:pt x="49" y="19"/>
                    <a:pt x="50" y="21"/>
                  </a:cubicBezTo>
                  <a:cubicBezTo>
                    <a:pt x="51" y="24"/>
                    <a:pt x="52" y="28"/>
                    <a:pt x="52" y="34"/>
                  </a:cubicBezTo>
                  <a:cubicBezTo>
                    <a:pt x="52" y="83"/>
                    <a:pt x="52" y="83"/>
                    <a:pt x="52" y="83"/>
                  </a:cubicBezTo>
                  <a:cubicBezTo>
                    <a:pt x="66" y="83"/>
                    <a:pt x="66" y="83"/>
                    <a:pt x="66" y="83"/>
                  </a:cubicBezTo>
                  <a:cubicBezTo>
                    <a:pt x="66" y="33"/>
                    <a:pt x="66" y="33"/>
                    <a:pt x="66" y="33"/>
                  </a:cubicBezTo>
                  <a:cubicBezTo>
                    <a:pt x="66" y="27"/>
                    <a:pt x="65" y="23"/>
                    <a:pt x="65" y="20"/>
                  </a:cubicBezTo>
                  <a:cubicBezTo>
                    <a:pt x="64" y="16"/>
                    <a:pt x="63" y="13"/>
                    <a:pt x="61" y="1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206" name="îṩľiḍé"/>
            <p:cNvSpPr/>
            <p:nvPr/>
          </p:nvSpPr>
          <p:spPr bwMode="auto">
            <a:xfrm>
              <a:off x="7612316" y="5729878"/>
              <a:ext cx="128588" cy="157163"/>
            </a:xfrm>
            <a:custGeom>
              <a:avLst/>
              <a:gdLst>
                <a:gd name="T0" fmla="*/ 50 w 70"/>
                <a:gd name="T1" fmla="*/ 69 h 85"/>
                <a:gd name="T2" fmla="*/ 36 w 70"/>
                <a:gd name="T3" fmla="*/ 74 h 85"/>
                <a:gd name="T4" fmla="*/ 20 w 70"/>
                <a:gd name="T5" fmla="*/ 66 h 85"/>
                <a:gd name="T6" fmla="*/ 14 w 70"/>
                <a:gd name="T7" fmla="*/ 43 h 85"/>
                <a:gd name="T8" fmla="*/ 20 w 70"/>
                <a:gd name="T9" fmla="*/ 19 h 85"/>
                <a:gd name="T10" fmla="*/ 37 w 70"/>
                <a:gd name="T11" fmla="*/ 12 h 85"/>
                <a:gd name="T12" fmla="*/ 49 w 70"/>
                <a:gd name="T13" fmla="*/ 16 h 85"/>
                <a:gd name="T14" fmla="*/ 56 w 70"/>
                <a:gd name="T15" fmla="*/ 28 h 85"/>
                <a:gd name="T16" fmla="*/ 69 w 70"/>
                <a:gd name="T17" fmla="*/ 26 h 85"/>
                <a:gd name="T18" fmla="*/ 58 w 70"/>
                <a:gd name="T19" fmla="*/ 7 h 85"/>
                <a:gd name="T20" fmla="*/ 37 w 70"/>
                <a:gd name="T21" fmla="*/ 0 h 85"/>
                <a:gd name="T22" fmla="*/ 17 w 70"/>
                <a:gd name="T23" fmla="*/ 5 h 85"/>
                <a:gd name="T24" fmla="*/ 4 w 70"/>
                <a:gd name="T25" fmla="*/ 20 h 85"/>
                <a:gd name="T26" fmla="*/ 0 w 70"/>
                <a:gd name="T27" fmla="*/ 43 h 85"/>
                <a:gd name="T28" fmla="*/ 10 w 70"/>
                <a:gd name="T29" fmla="*/ 74 h 85"/>
                <a:gd name="T30" fmla="*/ 37 w 70"/>
                <a:gd name="T31" fmla="*/ 85 h 85"/>
                <a:gd name="T32" fmla="*/ 59 w 70"/>
                <a:gd name="T33" fmla="*/ 77 h 85"/>
                <a:gd name="T34" fmla="*/ 70 w 70"/>
                <a:gd name="T35" fmla="*/ 55 h 85"/>
                <a:gd name="T36" fmla="*/ 57 w 70"/>
                <a:gd name="T37" fmla="*/ 54 h 85"/>
                <a:gd name="T38" fmla="*/ 50 w 70"/>
                <a:gd name="T39" fmla="*/ 69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70" h="85">
                  <a:moveTo>
                    <a:pt x="50" y="69"/>
                  </a:moveTo>
                  <a:cubicBezTo>
                    <a:pt x="46" y="72"/>
                    <a:pt x="42" y="74"/>
                    <a:pt x="36" y="74"/>
                  </a:cubicBezTo>
                  <a:cubicBezTo>
                    <a:pt x="30" y="74"/>
                    <a:pt x="24" y="71"/>
                    <a:pt x="20" y="66"/>
                  </a:cubicBezTo>
                  <a:cubicBezTo>
                    <a:pt x="16" y="61"/>
                    <a:pt x="14" y="54"/>
                    <a:pt x="14" y="43"/>
                  </a:cubicBezTo>
                  <a:cubicBezTo>
                    <a:pt x="14" y="32"/>
                    <a:pt x="16" y="24"/>
                    <a:pt x="20" y="19"/>
                  </a:cubicBezTo>
                  <a:cubicBezTo>
                    <a:pt x="25" y="14"/>
                    <a:pt x="30" y="12"/>
                    <a:pt x="37" y="12"/>
                  </a:cubicBezTo>
                  <a:cubicBezTo>
                    <a:pt x="42" y="12"/>
                    <a:pt x="46" y="13"/>
                    <a:pt x="49" y="16"/>
                  </a:cubicBezTo>
                  <a:cubicBezTo>
                    <a:pt x="52" y="18"/>
                    <a:pt x="54" y="23"/>
                    <a:pt x="56" y="28"/>
                  </a:cubicBezTo>
                  <a:cubicBezTo>
                    <a:pt x="69" y="26"/>
                    <a:pt x="69" y="26"/>
                    <a:pt x="69" y="26"/>
                  </a:cubicBezTo>
                  <a:cubicBezTo>
                    <a:pt x="68" y="18"/>
                    <a:pt x="64" y="11"/>
                    <a:pt x="58" y="7"/>
                  </a:cubicBezTo>
                  <a:cubicBezTo>
                    <a:pt x="53" y="2"/>
                    <a:pt x="46" y="0"/>
                    <a:pt x="37" y="0"/>
                  </a:cubicBezTo>
                  <a:cubicBezTo>
                    <a:pt x="30" y="0"/>
                    <a:pt x="23" y="2"/>
                    <a:pt x="17" y="5"/>
                  </a:cubicBezTo>
                  <a:cubicBezTo>
                    <a:pt x="11" y="8"/>
                    <a:pt x="7" y="13"/>
                    <a:pt x="4" y="20"/>
                  </a:cubicBezTo>
                  <a:cubicBezTo>
                    <a:pt x="1" y="27"/>
                    <a:pt x="0" y="34"/>
                    <a:pt x="0" y="43"/>
                  </a:cubicBezTo>
                  <a:cubicBezTo>
                    <a:pt x="0" y="57"/>
                    <a:pt x="3" y="67"/>
                    <a:pt x="10" y="74"/>
                  </a:cubicBezTo>
                  <a:cubicBezTo>
                    <a:pt x="17" y="82"/>
                    <a:pt x="26" y="85"/>
                    <a:pt x="37" y="85"/>
                  </a:cubicBezTo>
                  <a:cubicBezTo>
                    <a:pt x="45" y="85"/>
                    <a:pt x="53" y="83"/>
                    <a:pt x="59" y="77"/>
                  </a:cubicBezTo>
                  <a:cubicBezTo>
                    <a:pt x="65" y="72"/>
                    <a:pt x="69" y="65"/>
                    <a:pt x="70" y="55"/>
                  </a:cubicBezTo>
                  <a:cubicBezTo>
                    <a:pt x="57" y="54"/>
                    <a:pt x="57" y="54"/>
                    <a:pt x="57" y="54"/>
                  </a:cubicBezTo>
                  <a:cubicBezTo>
                    <a:pt x="56" y="60"/>
                    <a:pt x="54" y="66"/>
                    <a:pt x="50" y="6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207" name="íṡḷïďe"/>
            <p:cNvSpPr/>
            <p:nvPr/>
          </p:nvSpPr>
          <p:spPr bwMode="auto">
            <a:xfrm>
              <a:off x="7755191" y="5729878"/>
              <a:ext cx="138113" cy="157163"/>
            </a:xfrm>
            <a:custGeom>
              <a:avLst/>
              <a:gdLst>
                <a:gd name="T0" fmla="*/ 38 w 75"/>
                <a:gd name="T1" fmla="*/ 0 h 85"/>
                <a:gd name="T2" fmla="*/ 10 w 75"/>
                <a:gd name="T3" fmla="*/ 12 h 85"/>
                <a:gd name="T4" fmla="*/ 0 w 75"/>
                <a:gd name="T5" fmla="*/ 43 h 85"/>
                <a:gd name="T6" fmla="*/ 10 w 75"/>
                <a:gd name="T7" fmla="*/ 74 h 85"/>
                <a:gd name="T8" fmla="*/ 38 w 75"/>
                <a:gd name="T9" fmla="*/ 85 h 85"/>
                <a:gd name="T10" fmla="*/ 62 w 75"/>
                <a:gd name="T11" fmla="*/ 78 h 85"/>
                <a:gd name="T12" fmla="*/ 74 w 75"/>
                <a:gd name="T13" fmla="*/ 59 h 85"/>
                <a:gd name="T14" fmla="*/ 60 w 75"/>
                <a:gd name="T15" fmla="*/ 57 h 85"/>
                <a:gd name="T16" fmla="*/ 51 w 75"/>
                <a:gd name="T17" fmla="*/ 70 h 85"/>
                <a:gd name="T18" fmla="*/ 38 w 75"/>
                <a:gd name="T19" fmla="*/ 74 h 85"/>
                <a:gd name="T20" fmla="*/ 21 w 75"/>
                <a:gd name="T21" fmla="*/ 67 h 85"/>
                <a:gd name="T22" fmla="*/ 14 w 75"/>
                <a:gd name="T23" fmla="*/ 46 h 85"/>
                <a:gd name="T24" fmla="*/ 75 w 75"/>
                <a:gd name="T25" fmla="*/ 46 h 85"/>
                <a:gd name="T26" fmla="*/ 75 w 75"/>
                <a:gd name="T27" fmla="*/ 43 h 85"/>
                <a:gd name="T28" fmla="*/ 64 w 75"/>
                <a:gd name="T29" fmla="*/ 11 h 85"/>
                <a:gd name="T30" fmla="*/ 38 w 75"/>
                <a:gd name="T31" fmla="*/ 0 h 85"/>
                <a:gd name="T32" fmla="*/ 15 w 75"/>
                <a:gd name="T33" fmla="*/ 35 h 85"/>
                <a:gd name="T34" fmla="*/ 22 w 75"/>
                <a:gd name="T35" fmla="*/ 18 h 85"/>
                <a:gd name="T36" fmla="*/ 38 w 75"/>
                <a:gd name="T37" fmla="*/ 12 h 85"/>
                <a:gd name="T38" fmla="*/ 55 w 75"/>
                <a:gd name="T39" fmla="*/ 20 h 85"/>
                <a:gd name="T40" fmla="*/ 60 w 75"/>
                <a:gd name="T41" fmla="*/ 35 h 85"/>
                <a:gd name="T42" fmla="*/ 15 w 75"/>
                <a:gd name="T43" fmla="*/ 35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75" h="85">
                  <a:moveTo>
                    <a:pt x="38" y="0"/>
                  </a:moveTo>
                  <a:cubicBezTo>
                    <a:pt x="26" y="0"/>
                    <a:pt x="17" y="4"/>
                    <a:pt x="10" y="12"/>
                  </a:cubicBezTo>
                  <a:cubicBezTo>
                    <a:pt x="3" y="19"/>
                    <a:pt x="0" y="30"/>
                    <a:pt x="0" y="43"/>
                  </a:cubicBezTo>
                  <a:cubicBezTo>
                    <a:pt x="0" y="57"/>
                    <a:pt x="3" y="67"/>
                    <a:pt x="10" y="74"/>
                  </a:cubicBezTo>
                  <a:cubicBezTo>
                    <a:pt x="17" y="81"/>
                    <a:pt x="26" y="85"/>
                    <a:pt x="38" y="85"/>
                  </a:cubicBezTo>
                  <a:cubicBezTo>
                    <a:pt x="48" y="85"/>
                    <a:pt x="56" y="83"/>
                    <a:pt x="62" y="78"/>
                  </a:cubicBezTo>
                  <a:cubicBezTo>
                    <a:pt x="68" y="74"/>
                    <a:pt x="72" y="67"/>
                    <a:pt x="74" y="59"/>
                  </a:cubicBezTo>
                  <a:cubicBezTo>
                    <a:pt x="60" y="57"/>
                    <a:pt x="60" y="57"/>
                    <a:pt x="60" y="57"/>
                  </a:cubicBezTo>
                  <a:cubicBezTo>
                    <a:pt x="58" y="63"/>
                    <a:pt x="55" y="67"/>
                    <a:pt x="51" y="70"/>
                  </a:cubicBezTo>
                  <a:cubicBezTo>
                    <a:pt x="48" y="73"/>
                    <a:pt x="43" y="74"/>
                    <a:pt x="38" y="74"/>
                  </a:cubicBezTo>
                  <a:cubicBezTo>
                    <a:pt x="32" y="74"/>
                    <a:pt x="26" y="71"/>
                    <a:pt x="21" y="67"/>
                  </a:cubicBezTo>
                  <a:cubicBezTo>
                    <a:pt x="17" y="62"/>
                    <a:pt x="14" y="55"/>
                    <a:pt x="14" y="46"/>
                  </a:cubicBezTo>
                  <a:cubicBezTo>
                    <a:pt x="75" y="46"/>
                    <a:pt x="75" y="46"/>
                    <a:pt x="75" y="46"/>
                  </a:cubicBezTo>
                  <a:cubicBezTo>
                    <a:pt x="75" y="45"/>
                    <a:pt x="75" y="43"/>
                    <a:pt x="75" y="43"/>
                  </a:cubicBezTo>
                  <a:cubicBezTo>
                    <a:pt x="75" y="29"/>
                    <a:pt x="71" y="19"/>
                    <a:pt x="64" y="11"/>
                  </a:cubicBezTo>
                  <a:cubicBezTo>
                    <a:pt x="57" y="4"/>
                    <a:pt x="48" y="0"/>
                    <a:pt x="38" y="0"/>
                  </a:cubicBezTo>
                  <a:close/>
                  <a:moveTo>
                    <a:pt x="15" y="35"/>
                  </a:moveTo>
                  <a:cubicBezTo>
                    <a:pt x="15" y="28"/>
                    <a:pt x="17" y="22"/>
                    <a:pt x="22" y="18"/>
                  </a:cubicBezTo>
                  <a:cubicBezTo>
                    <a:pt x="26" y="14"/>
                    <a:pt x="31" y="12"/>
                    <a:pt x="38" y="12"/>
                  </a:cubicBezTo>
                  <a:cubicBezTo>
                    <a:pt x="45" y="12"/>
                    <a:pt x="50" y="14"/>
                    <a:pt x="55" y="20"/>
                  </a:cubicBezTo>
                  <a:cubicBezTo>
                    <a:pt x="58" y="23"/>
                    <a:pt x="59" y="28"/>
                    <a:pt x="60" y="35"/>
                  </a:cubicBezTo>
                  <a:lnTo>
                    <a:pt x="15" y="3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208" name="í$ľîde"/>
            <p:cNvSpPr/>
            <p:nvPr/>
          </p:nvSpPr>
          <p:spPr bwMode="auto">
            <a:xfrm>
              <a:off x="7994903" y="5729878"/>
              <a:ext cx="138113" cy="157163"/>
            </a:xfrm>
            <a:custGeom>
              <a:avLst/>
              <a:gdLst>
                <a:gd name="T0" fmla="*/ 71 w 75"/>
                <a:gd name="T1" fmla="*/ 49 h 85"/>
                <a:gd name="T2" fmla="*/ 71 w 75"/>
                <a:gd name="T3" fmla="*/ 31 h 85"/>
                <a:gd name="T4" fmla="*/ 70 w 75"/>
                <a:gd name="T5" fmla="*/ 18 h 85"/>
                <a:gd name="T6" fmla="*/ 66 w 75"/>
                <a:gd name="T7" fmla="*/ 9 h 85"/>
                <a:gd name="T8" fmla="*/ 56 w 75"/>
                <a:gd name="T9" fmla="*/ 3 h 85"/>
                <a:gd name="T10" fmla="*/ 39 w 75"/>
                <a:gd name="T11" fmla="*/ 0 h 85"/>
                <a:gd name="T12" fmla="*/ 21 w 75"/>
                <a:gd name="T13" fmla="*/ 3 h 85"/>
                <a:gd name="T14" fmla="*/ 9 w 75"/>
                <a:gd name="T15" fmla="*/ 11 h 85"/>
                <a:gd name="T16" fmla="*/ 3 w 75"/>
                <a:gd name="T17" fmla="*/ 25 h 85"/>
                <a:gd name="T18" fmla="*/ 16 w 75"/>
                <a:gd name="T19" fmla="*/ 27 h 85"/>
                <a:gd name="T20" fmla="*/ 23 w 75"/>
                <a:gd name="T21" fmla="*/ 15 h 85"/>
                <a:gd name="T22" fmla="*/ 37 w 75"/>
                <a:gd name="T23" fmla="*/ 12 h 85"/>
                <a:gd name="T24" fmla="*/ 53 w 75"/>
                <a:gd name="T25" fmla="*/ 16 h 85"/>
                <a:gd name="T26" fmla="*/ 57 w 75"/>
                <a:gd name="T27" fmla="*/ 28 h 85"/>
                <a:gd name="T28" fmla="*/ 57 w 75"/>
                <a:gd name="T29" fmla="*/ 32 h 85"/>
                <a:gd name="T30" fmla="*/ 32 w 75"/>
                <a:gd name="T31" fmla="*/ 36 h 85"/>
                <a:gd name="T32" fmla="*/ 20 w 75"/>
                <a:gd name="T33" fmla="*/ 39 h 85"/>
                <a:gd name="T34" fmla="*/ 10 w 75"/>
                <a:gd name="T35" fmla="*/ 43 h 85"/>
                <a:gd name="T36" fmla="*/ 3 w 75"/>
                <a:gd name="T37" fmla="*/ 51 h 85"/>
                <a:gd name="T38" fmla="*/ 0 w 75"/>
                <a:gd name="T39" fmla="*/ 62 h 85"/>
                <a:gd name="T40" fmla="*/ 7 w 75"/>
                <a:gd name="T41" fmla="*/ 79 h 85"/>
                <a:gd name="T42" fmla="*/ 28 w 75"/>
                <a:gd name="T43" fmla="*/ 85 h 85"/>
                <a:gd name="T44" fmla="*/ 43 w 75"/>
                <a:gd name="T45" fmla="*/ 82 h 85"/>
                <a:gd name="T46" fmla="*/ 58 w 75"/>
                <a:gd name="T47" fmla="*/ 73 h 85"/>
                <a:gd name="T48" fmla="*/ 61 w 75"/>
                <a:gd name="T49" fmla="*/ 83 h 85"/>
                <a:gd name="T50" fmla="*/ 75 w 75"/>
                <a:gd name="T51" fmla="*/ 83 h 85"/>
                <a:gd name="T52" fmla="*/ 72 w 75"/>
                <a:gd name="T53" fmla="*/ 74 h 85"/>
                <a:gd name="T54" fmla="*/ 71 w 75"/>
                <a:gd name="T55" fmla="*/ 49 h 85"/>
                <a:gd name="T56" fmla="*/ 57 w 75"/>
                <a:gd name="T57" fmla="*/ 48 h 85"/>
                <a:gd name="T58" fmla="*/ 55 w 75"/>
                <a:gd name="T59" fmla="*/ 61 h 85"/>
                <a:gd name="T60" fmla="*/ 46 w 75"/>
                <a:gd name="T61" fmla="*/ 71 h 85"/>
                <a:gd name="T62" fmla="*/ 31 w 75"/>
                <a:gd name="T63" fmla="*/ 74 h 85"/>
                <a:gd name="T64" fmla="*/ 19 w 75"/>
                <a:gd name="T65" fmla="*/ 71 h 85"/>
                <a:gd name="T66" fmla="*/ 15 w 75"/>
                <a:gd name="T67" fmla="*/ 62 h 85"/>
                <a:gd name="T68" fmla="*/ 17 w 75"/>
                <a:gd name="T69" fmla="*/ 55 h 85"/>
                <a:gd name="T70" fmla="*/ 22 w 75"/>
                <a:gd name="T71" fmla="*/ 50 h 85"/>
                <a:gd name="T72" fmla="*/ 34 w 75"/>
                <a:gd name="T73" fmla="*/ 48 h 85"/>
                <a:gd name="T74" fmla="*/ 57 w 75"/>
                <a:gd name="T75" fmla="*/ 43 h 85"/>
                <a:gd name="T76" fmla="*/ 57 w 75"/>
                <a:gd name="T77" fmla="*/ 48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75" h="85">
                  <a:moveTo>
                    <a:pt x="71" y="49"/>
                  </a:moveTo>
                  <a:cubicBezTo>
                    <a:pt x="71" y="31"/>
                    <a:pt x="71" y="31"/>
                    <a:pt x="71" y="31"/>
                  </a:cubicBezTo>
                  <a:cubicBezTo>
                    <a:pt x="71" y="25"/>
                    <a:pt x="71" y="21"/>
                    <a:pt x="70" y="18"/>
                  </a:cubicBezTo>
                  <a:cubicBezTo>
                    <a:pt x="69" y="14"/>
                    <a:pt x="68" y="11"/>
                    <a:pt x="66" y="9"/>
                  </a:cubicBezTo>
                  <a:cubicBezTo>
                    <a:pt x="64" y="6"/>
                    <a:pt x="61" y="4"/>
                    <a:pt x="56" y="3"/>
                  </a:cubicBezTo>
                  <a:cubicBezTo>
                    <a:pt x="52" y="1"/>
                    <a:pt x="46" y="0"/>
                    <a:pt x="39" y="0"/>
                  </a:cubicBezTo>
                  <a:cubicBezTo>
                    <a:pt x="32" y="0"/>
                    <a:pt x="26" y="1"/>
                    <a:pt x="21" y="3"/>
                  </a:cubicBezTo>
                  <a:cubicBezTo>
                    <a:pt x="16" y="5"/>
                    <a:pt x="12" y="8"/>
                    <a:pt x="9" y="11"/>
                  </a:cubicBezTo>
                  <a:cubicBezTo>
                    <a:pt x="6" y="15"/>
                    <a:pt x="4" y="19"/>
                    <a:pt x="3" y="25"/>
                  </a:cubicBezTo>
                  <a:cubicBezTo>
                    <a:pt x="16" y="27"/>
                    <a:pt x="16" y="27"/>
                    <a:pt x="16" y="27"/>
                  </a:cubicBezTo>
                  <a:cubicBezTo>
                    <a:pt x="18" y="21"/>
                    <a:pt x="20" y="17"/>
                    <a:pt x="23" y="15"/>
                  </a:cubicBezTo>
                  <a:cubicBezTo>
                    <a:pt x="26" y="13"/>
                    <a:pt x="31" y="12"/>
                    <a:pt x="37" y="12"/>
                  </a:cubicBezTo>
                  <a:cubicBezTo>
                    <a:pt x="44" y="12"/>
                    <a:pt x="50" y="13"/>
                    <a:pt x="53" y="16"/>
                  </a:cubicBezTo>
                  <a:cubicBezTo>
                    <a:pt x="56" y="19"/>
                    <a:pt x="57" y="23"/>
                    <a:pt x="57" y="28"/>
                  </a:cubicBezTo>
                  <a:cubicBezTo>
                    <a:pt x="57" y="29"/>
                    <a:pt x="57" y="30"/>
                    <a:pt x="57" y="32"/>
                  </a:cubicBezTo>
                  <a:cubicBezTo>
                    <a:pt x="52" y="34"/>
                    <a:pt x="43" y="35"/>
                    <a:pt x="32" y="36"/>
                  </a:cubicBezTo>
                  <a:cubicBezTo>
                    <a:pt x="27" y="37"/>
                    <a:pt x="23" y="38"/>
                    <a:pt x="20" y="39"/>
                  </a:cubicBezTo>
                  <a:cubicBezTo>
                    <a:pt x="16" y="40"/>
                    <a:pt x="13" y="41"/>
                    <a:pt x="10" y="43"/>
                  </a:cubicBezTo>
                  <a:cubicBezTo>
                    <a:pt x="7" y="45"/>
                    <a:pt x="5" y="48"/>
                    <a:pt x="3" y="51"/>
                  </a:cubicBezTo>
                  <a:cubicBezTo>
                    <a:pt x="1" y="54"/>
                    <a:pt x="0" y="58"/>
                    <a:pt x="0" y="62"/>
                  </a:cubicBezTo>
                  <a:cubicBezTo>
                    <a:pt x="0" y="69"/>
                    <a:pt x="3" y="74"/>
                    <a:pt x="7" y="79"/>
                  </a:cubicBezTo>
                  <a:cubicBezTo>
                    <a:pt x="12" y="83"/>
                    <a:pt x="19" y="85"/>
                    <a:pt x="28" y="85"/>
                  </a:cubicBezTo>
                  <a:cubicBezTo>
                    <a:pt x="33" y="85"/>
                    <a:pt x="39" y="84"/>
                    <a:pt x="43" y="82"/>
                  </a:cubicBezTo>
                  <a:cubicBezTo>
                    <a:pt x="48" y="81"/>
                    <a:pt x="53" y="78"/>
                    <a:pt x="58" y="73"/>
                  </a:cubicBezTo>
                  <a:cubicBezTo>
                    <a:pt x="58" y="77"/>
                    <a:pt x="59" y="80"/>
                    <a:pt x="61" y="83"/>
                  </a:cubicBezTo>
                  <a:cubicBezTo>
                    <a:pt x="75" y="83"/>
                    <a:pt x="75" y="83"/>
                    <a:pt x="75" y="83"/>
                  </a:cubicBezTo>
                  <a:cubicBezTo>
                    <a:pt x="73" y="80"/>
                    <a:pt x="72" y="77"/>
                    <a:pt x="72" y="74"/>
                  </a:cubicBezTo>
                  <a:cubicBezTo>
                    <a:pt x="71" y="70"/>
                    <a:pt x="71" y="62"/>
                    <a:pt x="71" y="49"/>
                  </a:cubicBezTo>
                  <a:close/>
                  <a:moveTo>
                    <a:pt x="57" y="48"/>
                  </a:moveTo>
                  <a:cubicBezTo>
                    <a:pt x="57" y="54"/>
                    <a:pt x="56" y="58"/>
                    <a:pt x="55" y="61"/>
                  </a:cubicBezTo>
                  <a:cubicBezTo>
                    <a:pt x="53" y="65"/>
                    <a:pt x="50" y="69"/>
                    <a:pt x="46" y="71"/>
                  </a:cubicBezTo>
                  <a:cubicBezTo>
                    <a:pt x="41" y="73"/>
                    <a:pt x="37" y="74"/>
                    <a:pt x="31" y="74"/>
                  </a:cubicBezTo>
                  <a:cubicBezTo>
                    <a:pt x="26" y="74"/>
                    <a:pt x="22" y="73"/>
                    <a:pt x="19" y="71"/>
                  </a:cubicBezTo>
                  <a:cubicBezTo>
                    <a:pt x="16" y="68"/>
                    <a:pt x="15" y="65"/>
                    <a:pt x="15" y="62"/>
                  </a:cubicBezTo>
                  <a:cubicBezTo>
                    <a:pt x="15" y="59"/>
                    <a:pt x="16" y="57"/>
                    <a:pt x="17" y="55"/>
                  </a:cubicBezTo>
                  <a:cubicBezTo>
                    <a:pt x="18" y="53"/>
                    <a:pt x="20" y="52"/>
                    <a:pt x="22" y="50"/>
                  </a:cubicBezTo>
                  <a:cubicBezTo>
                    <a:pt x="25" y="49"/>
                    <a:pt x="29" y="49"/>
                    <a:pt x="34" y="48"/>
                  </a:cubicBezTo>
                  <a:cubicBezTo>
                    <a:pt x="44" y="46"/>
                    <a:pt x="52" y="45"/>
                    <a:pt x="57" y="43"/>
                  </a:cubicBezTo>
                  <a:lnTo>
                    <a:pt x="57" y="4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209" name="ï$ḻíḋê"/>
            <p:cNvSpPr/>
            <p:nvPr/>
          </p:nvSpPr>
          <p:spPr bwMode="auto">
            <a:xfrm>
              <a:off x="8164766" y="5729878"/>
              <a:ext cx="122238" cy="152400"/>
            </a:xfrm>
            <a:custGeom>
              <a:avLst/>
              <a:gdLst>
                <a:gd name="T0" fmla="*/ 61 w 66"/>
                <a:gd name="T1" fmla="*/ 10 h 83"/>
                <a:gd name="T2" fmla="*/ 52 w 66"/>
                <a:gd name="T3" fmla="*/ 3 h 83"/>
                <a:gd name="T4" fmla="*/ 38 w 66"/>
                <a:gd name="T5" fmla="*/ 0 h 83"/>
                <a:gd name="T6" fmla="*/ 13 w 66"/>
                <a:gd name="T7" fmla="*/ 14 h 83"/>
                <a:gd name="T8" fmla="*/ 13 w 66"/>
                <a:gd name="T9" fmla="*/ 2 h 83"/>
                <a:gd name="T10" fmla="*/ 0 w 66"/>
                <a:gd name="T11" fmla="*/ 2 h 83"/>
                <a:gd name="T12" fmla="*/ 0 w 66"/>
                <a:gd name="T13" fmla="*/ 83 h 83"/>
                <a:gd name="T14" fmla="*/ 14 w 66"/>
                <a:gd name="T15" fmla="*/ 83 h 83"/>
                <a:gd name="T16" fmla="*/ 14 w 66"/>
                <a:gd name="T17" fmla="*/ 39 h 83"/>
                <a:gd name="T18" fmla="*/ 20 w 66"/>
                <a:gd name="T19" fmla="*/ 18 h 83"/>
                <a:gd name="T20" fmla="*/ 36 w 66"/>
                <a:gd name="T21" fmla="*/ 12 h 83"/>
                <a:gd name="T22" fmla="*/ 45 w 66"/>
                <a:gd name="T23" fmla="*/ 15 h 83"/>
                <a:gd name="T24" fmla="*/ 51 w 66"/>
                <a:gd name="T25" fmla="*/ 21 h 83"/>
                <a:gd name="T26" fmla="*/ 52 w 66"/>
                <a:gd name="T27" fmla="*/ 34 h 83"/>
                <a:gd name="T28" fmla="*/ 52 w 66"/>
                <a:gd name="T29" fmla="*/ 83 h 83"/>
                <a:gd name="T30" fmla="*/ 66 w 66"/>
                <a:gd name="T31" fmla="*/ 83 h 83"/>
                <a:gd name="T32" fmla="*/ 66 w 66"/>
                <a:gd name="T33" fmla="*/ 33 h 83"/>
                <a:gd name="T34" fmla="*/ 65 w 66"/>
                <a:gd name="T35" fmla="*/ 20 h 83"/>
                <a:gd name="T36" fmla="*/ 61 w 66"/>
                <a:gd name="T37" fmla="*/ 10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6" h="83">
                  <a:moveTo>
                    <a:pt x="61" y="10"/>
                  </a:moveTo>
                  <a:cubicBezTo>
                    <a:pt x="59" y="7"/>
                    <a:pt x="56" y="5"/>
                    <a:pt x="52" y="3"/>
                  </a:cubicBezTo>
                  <a:cubicBezTo>
                    <a:pt x="48" y="1"/>
                    <a:pt x="43" y="0"/>
                    <a:pt x="38" y="0"/>
                  </a:cubicBezTo>
                  <a:cubicBezTo>
                    <a:pt x="27" y="0"/>
                    <a:pt x="19" y="5"/>
                    <a:pt x="13" y="14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83"/>
                    <a:pt x="0" y="83"/>
                    <a:pt x="0" y="83"/>
                  </a:cubicBezTo>
                  <a:cubicBezTo>
                    <a:pt x="14" y="83"/>
                    <a:pt x="14" y="83"/>
                    <a:pt x="14" y="83"/>
                  </a:cubicBezTo>
                  <a:cubicBezTo>
                    <a:pt x="14" y="39"/>
                    <a:pt x="14" y="39"/>
                    <a:pt x="14" y="39"/>
                  </a:cubicBezTo>
                  <a:cubicBezTo>
                    <a:pt x="14" y="29"/>
                    <a:pt x="16" y="21"/>
                    <a:pt x="20" y="18"/>
                  </a:cubicBezTo>
                  <a:cubicBezTo>
                    <a:pt x="25" y="14"/>
                    <a:pt x="30" y="12"/>
                    <a:pt x="36" y="12"/>
                  </a:cubicBezTo>
                  <a:cubicBezTo>
                    <a:pt x="39" y="12"/>
                    <a:pt x="42" y="13"/>
                    <a:pt x="45" y="15"/>
                  </a:cubicBezTo>
                  <a:cubicBezTo>
                    <a:pt x="48" y="16"/>
                    <a:pt x="50" y="19"/>
                    <a:pt x="51" y="21"/>
                  </a:cubicBezTo>
                  <a:cubicBezTo>
                    <a:pt x="52" y="24"/>
                    <a:pt x="52" y="28"/>
                    <a:pt x="52" y="34"/>
                  </a:cubicBezTo>
                  <a:cubicBezTo>
                    <a:pt x="52" y="83"/>
                    <a:pt x="52" y="83"/>
                    <a:pt x="52" y="83"/>
                  </a:cubicBezTo>
                  <a:cubicBezTo>
                    <a:pt x="66" y="83"/>
                    <a:pt x="66" y="83"/>
                    <a:pt x="66" y="83"/>
                  </a:cubicBezTo>
                  <a:cubicBezTo>
                    <a:pt x="66" y="33"/>
                    <a:pt x="66" y="33"/>
                    <a:pt x="66" y="33"/>
                  </a:cubicBezTo>
                  <a:cubicBezTo>
                    <a:pt x="66" y="27"/>
                    <a:pt x="66" y="23"/>
                    <a:pt x="65" y="20"/>
                  </a:cubicBezTo>
                  <a:cubicBezTo>
                    <a:pt x="65" y="16"/>
                    <a:pt x="63" y="13"/>
                    <a:pt x="61" y="1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210" name="îśḻïďè"/>
            <p:cNvSpPr/>
            <p:nvPr/>
          </p:nvSpPr>
          <p:spPr bwMode="auto">
            <a:xfrm>
              <a:off x="8315578" y="5675903"/>
              <a:ext cx="131763" cy="211138"/>
            </a:xfrm>
            <a:custGeom>
              <a:avLst/>
              <a:gdLst>
                <a:gd name="T0" fmla="*/ 57 w 71"/>
                <a:gd name="T1" fmla="*/ 40 h 114"/>
                <a:gd name="T2" fmla="*/ 48 w 71"/>
                <a:gd name="T3" fmla="*/ 32 h 114"/>
                <a:gd name="T4" fmla="*/ 35 w 71"/>
                <a:gd name="T5" fmla="*/ 29 h 114"/>
                <a:gd name="T6" fmla="*/ 17 w 71"/>
                <a:gd name="T7" fmla="*/ 35 h 114"/>
                <a:gd name="T8" fmla="*/ 4 w 71"/>
                <a:gd name="T9" fmla="*/ 50 h 114"/>
                <a:gd name="T10" fmla="*/ 0 w 71"/>
                <a:gd name="T11" fmla="*/ 72 h 114"/>
                <a:gd name="T12" fmla="*/ 5 w 71"/>
                <a:gd name="T13" fmla="*/ 94 h 114"/>
                <a:gd name="T14" fmla="*/ 17 w 71"/>
                <a:gd name="T15" fmla="*/ 109 h 114"/>
                <a:gd name="T16" fmla="*/ 35 w 71"/>
                <a:gd name="T17" fmla="*/ 114 h 114"/>
                <a:gd name="T18" fmla="*/ 58 w 71"/>
                <a:gd name="T19" fmla="*/ 102 h 114"/>
                <a:gd name="T20" fmla="*/ 58 w 71"/>
                <a:gd name="T21" fmla="*/ 112 h 114"/>
                <a:gd name="T22" fmla="*/ 71 w 71"/>
                <a:gd name="T23" fmla="*/ 112 h 114"/>
                <a:gd name="T24" fmla="*/ 71 w 71"/>
                <a:gd name="T25" fmla="*/ 0 h 114"/>
                <a:gd name="T26" fmla="*/ 57 w 71"/>
                <a:gd name="T27" fmla="*/ 0 h 114"/>
                <a:gd name="T28" fmla="*/ 57 w 71"/>
                <a:gd name="T29" fmla="*/ 40 h 114"/>
                <a:gd name="T30" fmla="*/ 52 w 71"/>
                <a:gd name="T31" fmla="*/ 95 h 114"/>
                <a:gd name="T32" fmla="*/ 37 w 71"/>
                <a:gd name="T33" fmla="*/ 103 h 114"/>
                <a:gd name="T34" fmla="*/ 21 w 71"/>
                <a:gd name="T35" fmla="*/ 95 h 114"/>
                <a:gd name="T36" fmla="*/ 15 w 71"/>
                <a:gd name="T37" fmla="*/ 72 h 114"/>
                <a:gd name="T38" fmla="*/ 21 w 71"/>
                <a:gd name="T39" fmla="*/ 48 h 114"/>
                <a:gd name="T40" fmla="*/ 36 w 71"/>
                <a:gd name="T41" fmla="*/ 41 h 114"/>
                <a:gd name="T42" fmla="*/ 52 w 71"/>
                <a:gd name="T43" fmla="*/ 48 h 114"/>
                <a:gd name="T44" fmla="*/ 58 w 71"/>
                <a:gd name="T45" fmla="*/ 73 h 114"/>
                <a:gd name="T46" fmla="*/ 52 w 71"/>
                <a:gd name="T47" fmla="*/ 95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71" h="114">
                  <a:moveTo>
                    <a:pt x="57" y="40"/>
                  </a:moveTo>
                  <a:cubicBezTo>
                    <a:pt x="55" y="37"/>
                    <a:pt x="52" y="34"/>
                    <a:pt x="48" y="32"/>
                  </a:cubicBezTo>
                  <a:cubicBezTo>
                    <a:pt x="44" y="30"/>
                    <a:pt x="40" y="29"/>
                    <a:pt x="35" y="29"/>
                  </a:cubicBezTo>
                  <a:cubicBezTo>
                    <a:pt x="28" y="29"/>
                    <a:pt x="22" y="31"/>
                    <a:pt x="17" y="35"/>
                  </a:cubicBezTo>
                  <a:cubicBezTo>
                    <a:pt x="11" y="38"/>
                    <a:pt x="7" y="43"/>
                    <a:pt x="4" y="50"/>
                  </a:cubicBezTo>
                  <a:cubicBezTo>
                    <a:pt x="2" y="56"/>
                    <a:pt x="0" y="64"/>
                    <a:pt x="0" y="72"/>
                  </a:cubicBezTo>
                  <a:cubicBezTo>
                    <a:pt x="0" y="80"/>
                    <a:pt x="2" y="87"/>
                    <a:pt x="5" y="94"/>
                  </a:cubicBezTo>
                  <a:cubicBezTo>
                    <a:pt x="8" y="100"/>
                    <a:pt x="12" y="105"/>
                    <a:pt x="17" y="109"/>
                  </a:cubicBezTo>
                  <a:cubicBezTo>
                    <a:pt x="23" y="112"/>
                    <a:pt x="29" y="114"/>
                    <a:pt x="35" y="114"/>
                  </a:cubicBezTo>
                  <a:cubicBezTo>
                    <a:pt x="45" y="114"/>
                    <a:pt x="53" y="110"/>
                    <a:pt x="58" y="102"/>
                  </a:cubicBezTo>
                  <a:cubicBezTo>
                    <a:pt x="58" y="112"/>
                    <a:pt x="58" y="112"/>
                    <a:pt x="58" y="112"/>
                  </a:cubicBezTo>
                  <a:cubicBezTo>
                    <a:pt x="71" y="112"/>
                    <a:pt x="71" y="112"/>
                    <a:pt x="71" y="112"/>
                  </a:cubicBezTo>
                  <a:cubicBezTo>
                    <a:pt x="71" y="0"/>
                    <a:pt x="71" y="0"/>
                    <a:pt x="71" y="0"/>
                  </a:cubicBezTo>
                  <a:cubicBezTo>
                    <a:pt x="57" y="0"/>
                    <a:pt x="57" y="0"/>
                    <a:pt x="57" y="0"/>
                  </a:cubicBezTo>
                  <a:lnTo>
                    <a:pt x="57" y="40"/>
                  </a:lnTo>
                  <a:close/>
                  <a:moveTo>
                    <a:pt x="52" y="95"/>
                  </a:moveTo>
                  <a:cubicBezTo>
                    <a:pt x="48" y="100"/>
                    <a:pt x="43" y="103"/>
                    <a:pt x="37" y="103"/>
                  </a:cubicBezTo>
                  <a:cubicBezTo>
                    <a:pt x="31" y="103"/>
                    <a:pt x="25" y="100"/>
                    <a:pt x="21" y="95"/>
                  </a:cubicBezTo>
                  <a:cubicBezTo>
                    <a:pt x="17" y="90"/>
                    <a:pt x="15" y="82"/>
                    <a:pt x="15" y="72"/>
                  </a:cubicBezTo>
                  <a:cubicBezTo>
                    <a:pt x="15" y="61"/>
                    <a:pt x="17" y="53"/>
                    <a:pt x="21" y="48"/>
                  </a:cubicBezTo>
                  <a:cubicBezTo>
                    <a:pt x="25" y="43"/>
                    <a:pt x="30" y="41"/>
                    <a:pt x="36" y="41"/>
                  </a:cubicBezTo>
                  <a:cubicBezTo>
                    <a:pt x="42" y="41"/>
                    <a:pt x="48" y="43"/>
                    <a:pt x="52" y="48"/>
                  </a:cubicBezTo>
                  <a:cubicBezTo>
                    <a:pt x="56" y="54"/>
                    <a:pt x="58" y="62"/>
                    <a:pt x="58" y="73"/>
                  </a:cubicBezTo>
                  <a:cubicBezTo>
                    <a:pt x="58" y="83"/>
                    <a:pt x="56" y="91"/>
                    <a:pt x="52" y="9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211" name="iṡľîdé"/>
            <p:cNvSpPr/>
            <p:nvPr/>
          </p:nvSpPr>
          <p:spPr bwMode="auto">
            <a:xfrm>
              <a:off x="8550528" y="5675903"/>
              <a:ext cx="163513" cy="206375"/>
            </a:xfrm>
            <a:custGeom>
              <a:avLst/>
              <a:gdLst>
                <a:gd name="T0" fmla="*/ 103 w 103"/>
                <a:gd name="T1" fmla="*/ 0 h 130"/>
                <a:gd name="T2" fmla="*/ 0 w 103"/>
                <a:gd name="T3" fmla="*/ 0 h 130"/>
                <a:gd name="T4" fmla="*/ 0 w 103"/>
                <a:gd name="T5" fmla="*/ 15 h 130"/>
                <a:gd name="T6" fmla="*/ 43 w 103"/>
                <a:gd name="T7" fmla="*/ 15 h 130"/>
                <a:gd name="T8" fmla="*/ 43 w 103"/>
                <a:gd name="T9" fmla="*/ 130 h 130"/>
                <a:gd name="T10" fmla="*/ 59 w 103"/>
                <a:gd name="T11" fmla="*/ 130 h 130"/>
                <a:gd name="T12" fmla="*/ 59 w 103"/>
                <a:gd name="T13" fmla="*/ 15 h 130"/>
                <a:gd name="T14" fmla="*/ 103 w 103"/>
                <a:gd name="T15" fmla="*/ 15 h 130"/>
                <a:gd name="T16" fmla="*/ 103 w 103"/>
                <a:gd name="T17" fmla="*/ 0 h 1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3" h="130">
                  <a:moveTo>
                    <a:pt x="103" y="0"/>
                  </a:moveTo>
                  <a:lnTo>
                    <a:pt x="0" y="0"/>
                  </a:lnTo>
                  <a:lnTo>
                    <a:pt x="0" y="15"/>
                  </a:lnTo>
                  <a:lnTo>
                    <a:pt x="43" y="15"/>
                  </a:lnTo>
                  <a:lnTo>
                    <a:pt x="43" y="130"/>
                  </a:lnTo>
                  <a:lnTo>
                    <a:pt x="59" y="130"/>
                  </a:lnTo>
                  <a:lnTo>
                    <a:pt x="59" y="15"/>
                  </a:lnTo>
                  <a:lnTo>
                    <a:pt x="103" y="15"/>
                  </a:lnTo>
                  <a:lnTo>
                    <a:pt x="103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212" name="íṥḻíḋé"/>
            <p:cNvSpPr/>
            <p:nvPr/>
          </p:nvSpPr>
          <p:spPr bwMode="auto">
            <a:xfrm>
              <a:off x="8698166" y="5729878"/>
              <a:ext cx="138113" cy="157163"/>
            </a:xfrm>
            <a:custGeom>
              <a:avLst/>
              <a:gdLst>
                <a:gd name="T0" fmla="*/ 38 w 75"/>
                <a:gd name="T1" fmla="*/ 0 h 85"/>
                <a:gd name="T2" fmla="*/ 11 w 75"/>
                <a:gd name="T3" fmla="*/ 12 h 85"/>
                <a:gd name="T4" fmla="*/ 0 w 75"/>
                <a:gd name="T5" fmla="*/ 43 h 85"/>
                <a:gd name="T6" fmla="*/ 10 w 75"/>
                <a:gd name="T7" fmla="*/ 74 h 85"/>
                <a:gd name="T8" fmla="*/ 39 w 75"/>
                <a:gd name="T9" fmla="*/ 85 h 85"/>
                <a:gd name="T10" fmla="*/ 62 w 75"/>
                <a:gd name="T11" fmla="*/ 78 h 85"/>
                <a:gd name="T12" fmla="*/ 74 w 75"/>
                <a:gd name="T13" fmla="*/ 59 h 85"/>
                <a:gd name="T14" fmla="*/ 60 w 75"/>
                <a:gd name="T15" fmla="*/ 57 h 85"/>
                <a:gd name="T16" fmla="*/ 52 w 75"/>
                <a:gd name="T17" fmla="*/ 70 h 85"/>
                <a:gd name="T18" fmla="*/ 39 w 75"/>
                <a:gd name="T19" fmla="*/ 74 h 85"/>
                <a:gd name="T20" fmla="*/ 22 w 75"/>
                <a:gd name="T21" fmla="*/ 67 h 85"/>
                <a:gd name="T22" fmla="*/ 14 w 75"/>
                <a:gd name="T23" fmla="*/ 46 h 85"/>
                <a:gd name="T24" fmla="*/ 75 w 75"/>
                <a:gd name="T25" fmla="*/ 46 h 85"/>
                <a:gd name="T26" fmla="*/ 75 w 75"/>
                <a:gd name="T27" fmla="*/ 43 h 85"/>
                <a:gd name="T28" fmla="*/ 65 w 75"/>
                <a:gd name="T29" fmla="*/ 11 h 85"/>
                <a:gd name="T30" fmla="*/ 38 w 75"/>
                <a:gd name="T31" fmla="*/ 0 h 85"/>
                <a:gd name="T32" fmla="*/ 15 w 75"/>
                <a:gd name="T33" fmla="*/ 35 h 85"/>
                <a:gd name="T34" fmla="*/ 22 w 75"/>
                <a:gd name="T35" fmla="*/ 18 h 85"/>
                <a:gd name="T36" fmla="*/ 38 w 75"/>
                <a:gd name="T37" fmla="*/ 12 h 85"/>
                <a:gd name="T38" fmla="*/ 55 w 75"/>
                <a:gd name="T39" fmla="*/ 20 h 85"/>
                <a:gd name="T40" fmla="*/ 60 w 75"/>
                <a:gd name="T41" fmla="*/ 35 h 85"/>
                <a:gd name="T42" fmla="*/ 15 w 75"/>
                <a:gd name="T43" fmla="*/ 35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75" h="85">
                  <a:moveTo>
                    <a:pt x="38" y="0"/>
                  </a:moveTo>
                  <a:cubicBezTo>
                    <a:pt x="27" y="0"/>
                    <a:pt x="18" y="4"/>
                    <a:pt x="11" y="12"/>
                  </a:cubicBezTo>
                  <a:cubicBezTo>
                    <a:pt x="4" y="19"/>
                    <a:pt x="0" y="30"/>
                    <a:pt x="0" y="43"/>
                  </a:cubicBezTo>
                  <a:cubicBezTo>
                    <a:pt x="0" y="57"/>
                    <a:pt x="3" y="67"/>
                    <a:pt x="10" y="74"/>
                  </a:cubicBezTo>
                  <a:cubicBezTo>
                    <a:pt x="17" y="81"/>
                    <a:pt x="27" y="85"/>
                    <a:pt x="39" y="85"/>
                  </a:cubicBezTo>
                  <a:cubicBezTo>
                    <a:pt x="48" y="85"/>
                    <a:pt x="56" y="83"/>
                    <a:pt x="62" y="78"/>
                  </a:cubicBezTo>
                  <a:cubicBezTo>
                    <a:pt x="68" y="74"/>
                    <a:pt x="72" y="67"/>
                    <a:pt x="74" y="59"/>
                  </a:cubicBezTo>
                  <a:cubicBezTo>
                    <a:pt x="60" y="57"/>
                    <a:pt x="60" y="57"/>
                    <a:pt x="60" y="57"/>
                  </a:cubicBezTo>
                  <a:cubicBezTo>
                    <a:pt x="58" y="63"/>
                    <a:pt x="55" y="67"/>
                    <a:pt x="52" y="70"/>
                  </a:cubicBezTo>
                  <a:cubicBezTo>
                    <a:pt x="48" y="73"/>
                    <a:pt x="44" y="74"/>
                    <a:pt x="39" y="74"/>
                  </a:cubicBezTo>
                  <a:cubicBezTo>
                    <a:pt x="32" y="74"/>
                    <a:pt x="26" y="71"/>
                    <a:pt x="22" y="67"/>
                  </a:cubicBezTo>
                  <a:cubicBezTo>
                    <a:pt x="17" y="62"/>
                    <a:pt x="15" y="55"/>
                    <a:pt x="14" y="46"/>
                  </a:cubicBezTo>
                  <a:cubicBezTo>
                    <a:pt x="75" y="46"/>
                    <a:pt x="75" y="46"/>
                    <a:pt x="75" y="46"/>
                  </a:cubicBezTo>
                  <a:cubicBezTo>
                    <a:pt x="75" y="45"/>
                    <a:pt x="75" y="43"/>
                    <a:pt x="75" y="43"/>
                  </a:cubicBezTo>
                  <a:cubicBezTo>
                    <a:pt x="75" y="29"/>
                    <a:pt x="72" y="19"/>
                    <a:pt x="65" y="11"/>
                  </a:cubicBezTo>
                  <a:cubicBezTo>
                    <a:pt x="58" y="4"/>
                    <a:pt x="49" y="0"/>
                    <a:pt x="38" y="0"/>
                  </a:cubicBezTo>
                  <a:close/>
                  <a:moveTo>
                    <a:pt x="15" y="35"/>
                  </a:moveTo>
                  <a:cubicBezTo>
                    <a:pt x="15" y="28"/>
                    <a:pt x="18" y="22"/>
                    <a:pt x="22" y="18"/>
                  </a:cubicBezTo>
                  <a:cubicBezTo>
                    <a:pt x="26" y="14"/>
                    <a:pt x="32" y="12"/>
                    <a:pt x="38" y="12"/>
                  </a:cubicBezTo>
                  <a:cubicBezTo>
                    <a:pt x="45" y="12"/>
                    <a:pt x="51" y="14"/>
                    <a:pt x="55" y="20"/>
                  </a:cubicBezTo>
                  <a:cubicBezTo>
                    <a:pt x="58" y="23"/>
                    <a:pt x="60" y="28"/>
                    <a:pt x="60" y="35"/>
                  </a:cubicBezTo>
                  <a:lnTo>
                    <a:pt x="15" y="3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213" name="ïṡļïḍè"/>
            <p:cNvSpPr/>
            <p:nvPr/>
          </p:nvSpPr>
          <p:spPr bwMode="auto">
            <a:xfrm>
              <a:off x="8860091" y="5729878"/>
              <a:ext cx="128588" cy="157163"/>
            </a:xfrm>
            <a:custGeom>
              <a:avLst/>
              <a:gdLst>
                <a:gd name="T0" fmla="*/ 50 w 70"/>
                <a:gd name="T1" fmla="*/ 69 h 85"/>
                <a:gd name="T2" fmla="*/ 36 w 70"/>
                <a:gd name="T3" fmla="*/ 74 h 85"/>
                <a:gd name="T4" fmla="*/ 20 w 70"/>
                <a:gd name="T5" fmla="*/ 66 h 85"/>
                <a:gd name="T6" fmla="*/ 14 w 70"/>
                <a:gd name="T7" fmla="*/ 43 h 85"/>
                <a:gd name="T8" fmla="*/ 20 w 70"/>
                <a:gd name="T9" fmla="*/ 19 h 85"/>
                <a:gd name="T10" fmla="*/ 37 w 70"/>
                <a:gd name="T11" fmla="*/ 12 h 85"/>
                <a:gd name="T12" fmla="*/ 49 w 70"/>
                <a:gd name="T13" fmla="*/ 16 h 85"/>
                <a:gd name="T14" fmla="*/ 56 w 70"/>
                <a:gd name="T15" fmla="*/ 28 h 85"/>
                <a:gd name="T16" fmla="*/ 69 w 70"/>
                <a:gd name="T17" fmla="*/ 26 h 85"/>
                <a:gd name="T18" fmla="*/ 58 w 70"/>
                <a:gd name="T19" fmla="*/ 7 h 85"/>
                <a:gd name="T20" fmla="*/ 37 w 70"/>
                <a:gd name="T21" fmla="*/ 0 h 85"/>
                <a:gd name="T22" fmla="*/ 17 w 70"/>
                <a:gd name="T23" fmla="*/ 5 h 85"/>
                <a:gd name="T24" fmla="*/ 4 w 70"/>
                <a:gd name="T25" fmla="*/ 20 h 85"/>
                <a:gd name="T26" fmla="*/ 0 w 70"/>
                <a:gd name="T27" fmla="*/ 43 h 85"/>
                <a:gd name="T28" fmla="*/ 10 w 70"/>
                <a:gd name="T29" fmla="*/ 74 h 85"/>
                <a:gd name="T30" fmla="*/ 37 w 70"/>
                <a:gd name="T31" fmla="*/ 85 h 85"/>
                <a:gd name="T32" fmla="*/ 59 w 70"/>
                <a:gd name="T33" fmla="*/ 77 h 85"/>
                <a:gd name="T34" fmla="*/ 70 w 70"/>
                <a:gd name="T35" fmla="*/ 55 h 85"/>
                <a:gd name="T36" fmla="*/ 57 w 70"/>
                <a:gd name="T37" fmla="*/ 54 h 85"/>
                <a:gd name="T38" fmla="*/ 50 w 70"/>
                <a:gd name="T39" fmla="*/ 69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70" h="85">
                  <a:moveTo>
                    <a:pt x="50" y="69"/>
                  </a:moveTo>
                  <a:cubicBezTo>
                    <a:pt x="46" y="72"/>
                    <a:pt x="42" y="74"/>
                    <a:pt x="36" y="74"/>
                  </a:cubicBezTo>
                  <a:cubicBezTo>
                    <a:pt x="30" y="74"/>
                    <a:pt x="24" y="71"/>
                    <a:pt x="20" y="66"/>
                  </a:cubicBezTo>
                  <a:cubicBezTo>
                    <a:pt x="16" y="61"/>
                    <a:pt x="14" y="54"/>
                    <a:pt x="14" y="43"/>
                  </a:cubicBezTo>
                  <a:cubicBezTo>
                    <a:pt x="14" y="32"/>
                    <a:pt x="16" y="24"/>
                    <a:pt x="20" y="19"/>
                  </a:cubicBezTo>
                  <a:cubicBezTo>
                    <a:pt x="25" y="14"/>
                    <a:pt x="30" y="12"/>
                    <a:pt x="37" y="12"/>
                  </a:cubicBezTo>
                  <a:cubicBezTo>
                    <a:pt x="42" y="12"/>
                    <a:pt x="46" y="13"/>
                    <a:pt x="49" y="16"/>
                  </a:cubicBezTo>
                  <a:cubicBezTo>
                    <a:pt x="52" y="18"/>
                    <a:pt x="54" y="23"/>
                    <a:pt x="56" y="28"/>
                  </a:cubicBezTo>
                  <a:cubicBezTo>
                    <a:pt x="69" y="26"/>
                    <a:pt x="69" y="26"/>
                    <a:pt x="69" y="26"/>
                  </a:cubicBezTo>
                  <a:cubicBezTo>
                    <a:pt x="67" y="18"/>
                    <a:pt x="64" y="11"/>
                    <a:pt x="58" y="7"/>
                  </a:cubicBezTo>
                  <a:cubicBezTo>
                    <a:pt x="53" y="2"/>
                    <a:pt x="45" y="0"/>
                    <a:pt x="37" y="0"/>
                  </a:cubicBezTo>
                  <a:cubicBezTo>
                    <a:pt x="30" y="0"/>
                    <a:pt x="23" y="2"/>
                    <a:pt x="17" y="5"/>
                  </a:cubicBezTo>
                  <a:cubicBezTo>
                    <a:pt x="11" y="8"/>
                    <a:pt x="7" y="13"/>
                    <a:pt x="4" y="20"/>
                  </a:cubicBezTo>
                  <a:cubicBezTo>
                    <a:pt x="1" y="27"/>
                    <a:pt x="0" y="34"/>
                    <a:pt x="0" y="43"/>
                  </a:cubicBezTo>
                  <a:cubicBezTo>
                    <a:pt x="0" y="57"/>
                    <a:pt x="3" y="67"/>
                    <a:pt x="10" y="74"/>
                  </a:cubicBezTo>
                  <a:cubicBezTo>
                    <a:pt x="16" y="82"/>
                    <a:pt x="25" y="85"/>
                    <a:pt x="37" y="85"/>
                  </a:cubicBezTo>
                  <a:cubicBezTo>
                    <a:pt x="45" y="85"/>
                    <a:pt x="53" y="83"/>
                    <a:pt x="59" y="77"/>
                  </a:cubicBezTo>
                  <a:cubicBezTo>
                    <a:pt x="65" y="72"/>
                    <a:pt x="69" y="65"/>
                    <a:pt x="70" y="55"/>
                  </a:cubicBezTo>
                  <a:cubicBezTo>
                    <a:pt x="57" y="54"/>
                    <a:pt x="57" y="54"/>
                    <a:pt x="57" y="54"/>
                  </a:cubicBezTo>
                  <a:cubicBezTo>
                    <a:pt x="56" y="60"/>
                    <a:pt x="54" y="66"/>
                    <a:pt x="50" y="6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214" name="iṩḷídê"/>
            <p:cNvSpPr/>
            <p:nvPr/>
          </p:nvSpPr>
          <p:spPr bwMode="auto">
            <a:xfrm>
              <a:off x="9010903" y="5675903"/>
              <a:ext cx="122238" cy="206375"/>
            </a:xfrm>
            <a:custGeom>
              <a:avLst/>
              <a:gdLst>
                <a:gd name="T0" fmla="*/ 54 w 66"/>
                <a:gd name="T1" fmla="*/ 33 h 112"/>
                <a:gd name="T2" fmla="*/ 38 w 66"/>
                <a:gd name="T3" fmla="*/ 29 h 112"/>
                <a:gd name="T4" fmla="*/ 14 w 66"/>
                <a:gd name="T5" fmla="*/ 40 h 112"/>
                <a:gd name="T6" fmla="*/ 14 w 66"/>
                <a:gd name="T7" fmla="*/ 0 h 112"/>
                <a:gd name="T8" fmla="*/ 0 w 66"/>
                <a:gd name="T9" fmla="*/ 0 h 112"/>
                <a:gd name="T10" fmla="*/ 0 w 66"/>
                <a:gd name="T11" fmla="*/ 112 h 112"/>
                <a:gd name="T12" fmla="*/ 14 w 66"/>
                <a:gd name="T13" fmla="*/ 112 h 112"/>
                <a:gd name="T14" fmla="*/ 14 w 66"/>
                <a:gd name="T15" fmla="*/ 68 h 112"/>
                <a:gd name="T16" fmla="*/ 16 w 66"/>
                <a:gd name="T17" fmla="*/ 53 h 112"/>
                <a:gd name="T18" fmla="*/ 24 w 66"/>
                <a:gd name="T19" fmla="*/ 44 h 112"/>
                <a:gd name="T20" fmla="*/ 35 w 66"/>
                <a:gd name="T21" fmla="*/ 41 h 112"/>
                <a:gd name="T22" fmla="*/ 48 w 66"/>
                <a:gd name="T23" fmla="*/ 46 h 112"/>
                <a:gd name="T24" fmla="*/ 53 w 66"/>
                <a:gd name="T25" fmla="*/ 61 h 112"/>
                <a:gd name="T26" fmla="*/ 53 w 66"/>
                <a:gd name="T27" fmla="*/ 112 h 112"/>
                <a:gd name="T28" fmla="*/ 66 w 66"/>
                <a:gd name="T29" fmla="*/ 112 h 112"/>
                <a:gd name="T30" fmla="*/ 66 w 66"/>
                <a:gd name="T31" fmla="*/ 61 h 112"/>
                <a:gd name="T32" fmla="*/ 63 w 66"/>
                <a:gd name="T33" fmla="*/ 43 h 112"/>
                <a:gd name="T34" fmla="*/ 54 w 66"/>
                <a:gd name="T35" fmla="*/ 33 h 1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66" h="112">
                  <a:moveTo>
                    <a:pt x="54" y="33"/>
                  </a:moveTo>
                  <a:cubicBezTo>
                    <a:pt x="50" y="30"/>
                    <a:pt x="44" y="29"/>
                    <a:pt x="38" y="29"/>
                  </a:cubicBezTo>
                  <a:cubicBezTo>
                    <a:pt x="28" y="29"/>
                    <a:pt x="20" y="33"/>
                    <a:pt x="14" y="40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12"/>
                    <a:pt x="0" y="112"/>
                    <a:pt x="0" y="112"/>
                  </a:cubicBezTo>
                  <a:cubicBezTo>
                    <a:pt x="14" y="112"/>
                    <a:pt x="14" y="112"/>
                    <a:pt x="14" y="112"/>
                  </a:cubicBezTo>
                  <a:cubicBezTo>
                    <a:pt x="14" y="68"/>
                    <a:pt x="14" y="68"/>
                    <a:pt x="14" y="68"/>
                  </a:cubicBezTo>
                  <a:cubicBezTo>
                    <a:pt x="14" y="61"/>
                    <a:pt x="15" y="56"/>
                    <a:pt x="16" y="53"/>
                  </a:cubicBezTo>
                  <a:cubicBezTo>
                    <a:pt x="18" y="49"/>
                    <a:pt x="20" y="46"/>
                    <a:pt x="24" y="44"/>
                  </a:cubicBezTo>
                  <a:cubicBezTo>
                    <a:pt x="28" y="42"/>
                    <a:pt x="31" y="41"/>
                    <a:pt x="35" y="41"/>
                  </a:cubicBezTo>
                  <a:cubicBezTo>
                    <a:pt x="41" y="41"/>
                    <a:pt x="45" y="43"/>
                    <a:pt x="48" y="46"/>
                  </a:cubicBezTo>
                  <a:cubicBezTo>
                    <a:pt x="51" y="49"/>
                    <a:pt x="53" y="54"/>
                    <a:pt x="53" y="61"/>
                  </a:cubicBezTo>
                  <a:cubicBezTo>
                    <a:pt x="53" y="112"/>
                    <a:pt x="53" y="112"/>
                    <a:pt x="53" y="112"/>
                  </a:cubicBezTo>
                  <a:cubicBezTo>
                    <a:pt x="66" y="112"/>
                    <a:pt x="66" y="112"/>
                    <a:pt x="66" y="112"/>
                  </a:cubicBezTo>
                  <a:cubicBezTo>
                    <a:pt x="66" y="61"/>
                    <a:pt x="66" y="61"/>
                    <a:pt x="66" y="61"/>
                  </a:cubicBezTo>
                  <a:cubicBezTo>
                    <a:pt x="66" y="53"/>
                    <a:pt x="65" y="47"/>
                    <a:pt x="63" y="43"/>
                  </a:cubicBezTo>
                  <a:cubicBezTo>
                    <a:pt x="62" y="38"/>
                    <a:pt x="58" y="35"/>
                    <a:pt x="54" y="3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215" name="íslîḍe"/>
            <p:cNvSpPr/>
            <p:nvPr/>
          </p:nvSpPr>
          <p:spPr bwMode="auto">
            <a:xfrm>
              <a:off x="9171241" y="5729878"/>
              <a:ext cx="122238" cy="152400"/>
            </a:xfrm>
            <a:custGeom>
              <a:avLst/>
              <a:gdLst>
                <a:gd name="T0" fmla="*/ 61 w 66"/>
                <a:gd name="T1" fmla="*/ 10 h 83"/>
                <a:gd name="T2" fmla="*/ 52 w 66"/>
                <a:gd name="T3" fmla="*/ 3 h 83"/>
                <a:gd name="T4" fmla="*/ 39 w 66"/>
                <a:gd name="T5" fmla="*/ 0 h 83"/>
                <a:gd name="T6" fmla="*/ 13 w 66"/>
                <a:gd name="T7" fmla="*/ 14 h 83"/>
                <a:gd name="T8" fmla="*/ 13 w 66"/>
                <a:gd name="T9" fmla="*/ 2 h 83"/>
                <a:gd name="T10" fmla="*/ 0 w 66"/>
                <a:gd name="T11" fmla="*/ 2 h 83"/>
                <a:gd name="T12" fmla="*/ 0 w 66"/>
                <a:gd name="T13" fmla="*/ 83 h 83"/>
                <a:gd name="T14" fmla="*/ 14 w 66"/>
                <a:gd name="T15" fmla="*/ 83 h 83"/>
                <a:gd name="T16" fmla="*/ 14 w 66"/>
                <a:gd name="T17" fmla="*/ 39 h 83"/>
                <a:gd name="T18" fmla="*/ 20 w 66"/>
                <a:gd name="T19" fmla="*/ 18 h 83"/>
                <a:gd name="T20" fmla="*/ 36 w 66"/>
                <a:gd name="T21" fmla="*/ 12 h 83"/>
                <a:gd name="T22" fmla="*/ 45 w 66"/>
                <a:gd name="T23" fmla="*/ 15 h 83"/>
                <a:gd name="T24" fmla="*/ 51 w 66"/>
                <a:gd name="T25" fmla="*/ 21 h 83"/>
                <a:gd name="T26" fmla="*/ 53 w 66"/>
                <a:gd name="T27" fmla="*/ 34 h 83"/>
                <a:gd name="T28" fmla="*/ 53 w 66"/>
                <a:gd name="T29" fmla="*/ 83 h 83"/>
                <a:gd name="T30" fmla="*/ 66 w 66"/>
                <a:gd name="T31" fmla="*/ 83 h 83"/>
                <a:gd name="T32" fmla="*/ 66 w 66"/>
                <a:gd name="T33" fmla="*/ 33 h 83"/>
                <a:gd name="T34" fmla="*/ 66 w 66"/>
                <a:gd name="T35" fmla="*/ 20 h 83"/>
                <a:gd name="T36" fmla="*/ 61 w 66"/>
                <a:gd name="T37" fmla="*/ 10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6" h="83">
                  <a:moveTo>
                    <a:pt x="61" y="10"/>
                  </a:moveTo>
                  <a:cubicBezTo>
                    <a:pt x="59" y="7"/>
                    <a:pt x="56" y="5"/>
                    <a:pt x="52" y="3"/>
                  </a:cubicBezTo>
                  <a:cubicBezTo>
                    <a:pt x="48" y="1"/>
                    <a:pt x="43" y="0"/>
                    <a:pt x="39" y="0"/>
                  </a:cubicBezTo>
                  <a:cubicBezTo>
                    <a:pt x="27" y="0"/>
                    <a:pt x="19" y="5"/>
                    <a:pt x="13" y="14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83"/>
                    <a:pt x="0" y="83"/>
                    <a:pt x="0" y="83"/>
                  </a:cubicBezTo>
                  <a:cubicBezTo>
                    <a:pt x="14" y="83"/>
                    <a:pt x="14" y="83"/>
                    <a:pt x="14" y="83"/>
                  </a:cubicBezTo>
                  <a:cubicBezTo>
                    <a:pt x="14" y="39"/>
                    <a:pt x="14" y="39"/>
                    <a:pt x="14" y="39"/>
                  </a:cubicBezTo>
                  <a:cubicBezTo>
                    <a:pt x="14" y="29"/>
                    <a:pt x="16" y="21"/>
                    <a:pt x="20" y="18"/>
                  </a:cubicBezTo>
                  <a:cubicBezTo>
                    <a:pt x="25" y="14"/>
                    <a:pt x="30" y="12"/>
                    <a:pt x="36" y="12"/>
                  </a:cubicBezTo>
                  <a:cubicBezTo>
                    <a:pt x="39" y="12"/>
                    <a:pt x="43" y="13"/>
                    <a:pt x="45" y="15"/>
                  </a:cubicBezTo>
                  <a:cubicBezTo>
                    <a:pt x="48" y="16"/>
                    <a:pt x="50" y="19"/>
                    <a:pt x="51" y="21"/>
                  </a:cubicBezTo>
                  <a:cubicBezTo>
                    <a:pt x="52" y="24"/>
                    <a:pt x="53" y="28"/>
                    <a:pt x="53" y="34"/>
                  </a:cubicBezTo>
                  <a:cubicBezTo>
                    <a:pt x="53" y="83"/>
                    <a:pt x="53" y="83"/>
                    <a:pt x="53" y="83"/>
                  </a:cubicBezTo>
                  <a:cubicBezTo>
                    <a:pt x="66" y="83"/>
                    <a:pt x="66" y="83"/>
                    <a:pt x="66" y="83"/>
                  </a:cubicBezTo>
                  <a:cubicBezTo>
                    <a:pt x="66" y="33"/>
                    <a:pt x="66" y="33"/>
                    <a:pt x="66" y="33"/>
                  </a:cubicBezTo>
                  <a:cubicBezTo>
                    <a:pt x="66" y="27"/>
                    <a:pt x="66" y="23"/>
                    <a:pt x="66" y="20"/>
                  </a:cubicBezTo>
                  <a:cubicBezTo>
                    <a:pt x="65" y="16"/>
                    <a:pt x="63" y="13"/>
                    <a:pt x="61" y="1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216" name="ïṣľíḓè"/>
            <p:cNvSpPr/>
            <p:nvPr/>
          </p:nvSpPr>
          <p:spPr bwMode="auto">
            <a:xfrm>
              <a:off x="9322053" y="5729878"/>
              <a:ext cx="142875" cy="157163"/>
            </a:xfrm>
            <a:custGeom>
              <a:avLst/>
              <a:gdLst>
                <a:gd name="T0" fmla="*/ 38 w 77"/>
                <a:gd name="T1" fmla="*/ 0 h 85"/>
                <a:gd name="T2" fmla="*/ 13 w 77"/>
                <a:gd name="T3" fmla="*/ 9 h 85"/>
                <a:gd name="T4" fmla="*/ 0 w 77"/>
                <a:gd name="T5" fmla="*/ 43 h 85"/>
                <a:gd name="T6" fmla="*/ 11 w 77"/>
                <a:gd name="T7" fmla="*/ 74 h 85"/>
                <a:gd name="T8" fmla="*/ 38 w 77"/>
                <a:gd name="T9" fmla="*/ 85 h 85"/>
                <a:gd name="T10" fmla="*/ 58 w 77"/>
                <a:gd name="T11" fmla="*/ 80 h 85"/>
                <a:gd name="T12" fmla="*/ 72 w 77"/>
                <a:gd name="T13" fmla="*/ 66 h 85"/>
                <a:gd name="T14" fmla="*/ 77 w 77"/>
                <a:gd name="T15" fmla="*/ 42 h 85"/>
                <a:gd name="T16" fmla="*/ 66 w 77"/>
                <a:gd name="T17" fmla="*/ 11 h 85"/>
                <a:gd name="T18" fmla="*/ 38 w 77"/>
                <a:gd name="T19" fmla="*/ 0 h 85"/>
                <a:gd name="T20" fmla="*/ 56 w 77"/>
                <a:gd name="T21" fmla="*/ 66 h 85"/>
                <a:gd name="T22" fmla="*/ 38 w 77"/>
                <a:gd name="T23" fmla="*/ 74 h 85"/>
                <a:gd name="T24" fmla="*/ 21 w 77"/>
                <a:gd name="T25" fmla="*/ 66 h 85"/>
                <a:gd name="T26" fmla="*/ 15 w 77"/>
                <a:gd name="T27" fmla="*/ 43 h 85"/>
                <a:gd name="T28" fmla="*/ 21 w 77"/>
                <a:gd name="T29" fmla="*/ 19 h 85"/>
                <a:gd name="T30" fmla="*/ 38 w 77"/>
                <a:gd name="T31" fmla="*/ 12 h 85"/>
                <a:gd name="T32" fmla="*/ 56 w 77"/>
                <a:gd name="T33" fmla="*/ 19 h 85"/>
                <a:gd name="T34" fmla="*/ 62 w 77"/>
                <a:gd name="T35" fmla="*/ 42 h 85"/>
                <a:gd name="T36" fmla="*/ 56 w 77"/>
                <a:gd name="T37" fmla="*/ 66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77" h="85">
                  <a:moveTo>
                    <a:pt x="38" y="0"/>
                  </a:moveTo>
                  <a:cubicBezTo>
                    <a:pt x="28" y="0"/>
                    <a:pt x="20" y="3"/>
                    <a:pt x="13" y="9"/>
                  </a:cubicBezTo>
                  <a:cubicBezTo>
                    <a:pt x="5" y="16"/>
                    <a:pt x="0" y="28"/>
                    <a:pt x="0" y="43"/>
                  </a:cubicBezTo>
                  <a:cubicBezTo>
                    <a:pt x="0" y="56"/>
                    <a:pt x="4" y="67"/>
                    <a:pt x="11" y="74"/>
                  </a:cubicBezTo>
                  <a:cubicBezTo>
                    <a:pt x="18" y="82"/>
                    <a:pt x="27" y="85"/>
                    <a:pt x="38" y="85"/>
                  </a:cubicBezTo>
                  <a:cubicBezTo>
                    <a:pt x="46" y="85"/>
                    <a:pt x="52" y="84"/>
                    <a:pt x="58" y="80"/>
                  </a:cubicBezTo>
                  <a:cubicBezTo>
                    <a:pt x="64" y="77"/>
                    <a:pt x="69" y="72"/>
                    <a:pt x="72" y="66"/>
                  </a:cubicBezTo>
                  <a:cubicBezTo>
                    <a:pt x="75" y="60"/>
                    <a:pt x="77" y="52"/>
                    <a:pt x="77" y="42"/>
                  </a:cubicBezTo>
                  <a:cubicBezTo>
                    <a:pt x="77" y="29"/>
                    <a:pt x="73" y="19"/>
                    <a:pt x="66" y="11"/>
                  </a:cubicBezTo>
                  <a:cubicBezTo>
                    <a:pt x="59" y="4"/>
                    <a:pt x="50" y="0"/>
                    <a:pt x="38" y="0"/>
                  </a:cubicBezTo>
                  <a:close/>
                  <a:moveTo>
                    <a:pt x="56" y="66"/>
                  </a:moveTo>
                  <a:cubicBezTo>
                    <a:pt x="51" y="71"/>
                    <a:pt x="45" y="74"/>
                    <a:pt x="38" y="74"/>
                  </a:cubicBezTo>
                  <a:cubicBezTo>
                    <a:pt x="32" y="74"/>
                    <a:pt x="26" y="71"/>
                    <a:pt x="21" y="66"/>
                  </a:cubicBezTo>
                  <a:cubicBezTo>
                    <a:pt x="17" y="61"/>
                    <a:pt x="15" y="53"/>
                    <a:pt x="15" y="43"/>
                  </a:cubicBezTo>
                  <a:cubicBezTo>
                    <a:pt x="15" y="32"/>
                    <a:pt x="17" y="24"/>
                    <a:pt x="21" y="19"/>
                  </a:cubicBezTo>
                  <a:cubicBezTo>
                    <a:pt x="26" y="14"/>
                    <a:pt x="32" y="12"/>
                    <a:pt x="38" y="12"/>
                  </a:cubicBezTo>
                  <a:cubicBezTo>
                    <a:pt x="45" y="12"/>
                    <a:pt x="51" y="14"/>
                    <a:pt x="56" y="19"/>
                  </a:cubicBezTo>
                  <a:cubicBezTo>
                    <a:pt x="60" y="25"/>
                    <a:pt x="62" y="32"/>
                    <a:pt x="62" y="42"/>
                  </a:cubicBezTo>
                  <a:cubicBezTo>
                    <a:pt x="62" y="53"/>
                    <a:pt x="60" y="61"/>
                    <a:pt x="56" y="6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217" name="îš1ïḋé"/>
            <p:cNvSpPr/>
            <p:nvPr/>
          </p:nvSpPr>
          <p:spPr bwMode="auto">
            <a:xfrm>
              <a:off x="9491916" y="5675903"/>
              <a:ext cx="25400" cy="2063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218" name="íŝḻíḍê"/>
            <p:cNvSpPr/>
            <p:nvPr/>
          </p:nvSpPr>
          <p:spPr bwMode="auto">
            <a:xfrm>
              <a:off x="9547478" y="5729878"/>
              <a:ext cx="141288" cy="157163"/>
            </a:xfrm>
            <a:custGeom>
              <a:avLst/>
              <a:gdLst>
                <a:gd name="T0" fmla="*/ 38 w 77"/>
                <a:gd name="T1" fmla="*/ 0 h 85"/>
                <a:gd name="T2" fmla="*/ 13 w 77"/>
                <a:gd name="T3" fmla="*/ 9 h 85"/>
                <a:gd name="T4" fmla="*/ 0 w 77"/>
                <a:gd name="T5" fmla="*/ 43 h 85"/>
                <a:gd name="T6" fmla="*/ 11 w 77"/>
                <a:gd name="T7" fmla="*/ 74 h 85"/>
                <a:gd name="T8" fmla="*/ 38 w 77"/>
                <a:gd name="T9" fmla="*/ 85 h 85"/>
                <a:gd name="T10" fmla="*/ 58 w 77"/>
                <a:gd name="T11" fmla="*/ 80 h 85"/>
                <a:gd name="T12" fmla="*/ 72 w 77"/>
                <a:gd name="T13" fmla="*/ 66 h 85"/>
                <a:gd name="T14" fmla="*/ 77 w 77"/>
                <a:gd name="T15" fmla="*/ 42 h 85"/>
                <a:gd name="T16" fmla="*/ 66 w 77"/>
                <a:gd name="T17" fmla="*/ 11 h 85"/>
                <a:gd name="T18" fmla="*/ 38 w 77"/>
                <a:gd name="T19" fmla="*/ 0 h 85"/>
                <a:gd name="T20" fmla="*/ 56 w 77"/>
                <a:gd name="T21" fmla="*/ 66 h 85"/>
                <a:gd name="T22" fmla="*/ 38 w 77"/>
                <a:gd name="T23" fmla="*/ 74 h 85"/>
                <a:gd name="T24" fmla="*/ 21 w 77"/>
                <a:gd name="T25" fmla="*/ 66 h 85"/>
                <a:gd name="T26" fmla="*/ 15 w 77"/>
                <a:gd name="T27" fmla="*/ 43 h 85"/>
                <a:gd name="T28" fmla="*/ 21 w 77"/>
                <a:gd name="T29" fmla="*/ 19 h 85"/>
                <a:gd name="T30" fmla="*/ 38 w 77"/>
                <a:gd name="T31" fmla="*/ 12 h 85"/>
                <a:gd name="T32" fmla="*/ 56 w 77"/>
                <a:gd name="T33" fmla="*/ 19 h 85"/>
                <a:gd name="T34" fmla="*/ 62 w 77"/>
                <a:gd name="T35" fmla="*/ 42 h 85"/>
                <a:gd name="T36" fmla="*/ 56 w 77"/>
                <a:gd name="T37" fmla="*/ 66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77" h="85">
                  <a:moveTo>
                    <a:pt x="38" y="0"/>
                  </a:moveTo>
                  <a:cubicBezTo>
                    <a:pt x="28" y="0"/>
                    <a:pt x="20" y="3"/>
                    <a:pt x="13" y="9"/>
                  </a:cubicBezTo>
                  <a:cubicBezTo>
                    <a:pt x="5" y="16"/>
                    <a:pt x="0" y="28"/>
                    <a:pt x="0" y="43"/>
                  </a:cubicBezTo>
                  <a:cubicBezTo>
                    <a:pt x="0" y="56"/>
                    <a:pt x="4" y="67"/>
                    <a:pt x="11" y="74"/>
                  </a:cubicBezTo>
                  <a:cubicBezTo>
                    <a:pt x="18" y="82"/>
                    <a:pt x="27" y="85"/>
                    <a:pt x="38" y="85"/>
                  </a:cubicBezTo>
                  <a:cubicBezTo>
                    <a:pt x="46" y="85"/>
                    <a:pt x="52" y="84"/>
                    <a:pt x="58" y="80"/>
                  </a:cubicBezTo>
                  <a:cubicBezTo>
                    <a:pt x="64" y="77"/>
                    <a:pt x="69" y="72"/>
                    <a:pt x="72" y="66"/>
                  </a:cubicBezTo>
                  <a:cubicBezTo>
                    <a:pt x="75" y="60"/>
                    <a:pt x="77" y="52"/>
                    <a:pt x="77" y="42"/>
                  </a:cubicBezTo>
                  <a:cubicBezTo>
                    <a:pt x="77" y="29"/>
                    <a:pt x="73" y="19"/>
                    <a:pt x="66" y="11"/>
                  </a:cubicBezTo>
                  <a:cubicBezTo>
                    <a:pt x="59" y="4"/>
                    <a:pt x="50" y="0"/>
                    <a:pt x="38" y="0"/>
                  </a:cubicBezTo>
                  <a:close/>
                  <a:moveTo>
                    <a:pt x="56" y="66"/>
                  </a:moveTo>
                  <a:cubicBezTo>
                    <a:pt x="51" y="71"/>
                    <a:pt x="45" y="74"/>
                    <a:pt x="38" y="74"/>
                  </a:cubicBezTo>
                  <a:cubicBezTo>
                    <a:pt x="32" y="74"/>
                    <a:pt x="26" y="71"/>
                    <a:pt x="21" y="66"/>
                  </a:cubicBezTo>
                  <a:cubicBezTo>
                    <a:pt x="17" y="61"/>
                    <a:pt x="15" y="53"/>
                    <a:pt x="15" y="43"/>
                  </a:cubicBezTo>
                  <a:cubicBezTo>
                    <a:pt x="15" y="32"/>
                    <a:pt x="17" y="24"/>
                    <a:pt x="21" y="19"/>
                  </a:cubicBezTo>
                  <a:cubicBezTo>
                    <a:pt x="26" y="14"/>
                    <a:pt x="32" y="12"/>
                    <a:pt x="38" y="12"/>
                  </a:cubicBezTo>
                  <a:cubicBezTo>
                    <a:pt x="45" y="12"/>
                    <a:pt x="51" y="14"/>
                    <a:pt x="56" y="19"/>
                  </a:cubicBezTo>
                  <a:cubicBezTo>
                    <a:pt x="60" y="25"/>
                    <a:pt x="62" y="32"/>
                    <a:pt x="62" y="42"/>
                  </a:cubicBezTo>
                  <a:cubicBezTo>
                    <a:pt x="62" y="53"/>
                    <a:pt x="60" y="61"/>
                    <a:pt x="56" y="6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219" name="íṧḷíḓé"/>
            <p:cNvSpPr/>
            <p:nvPr/>
          </p:nvSpPr>
          <p:spPr bwMode="auto">
            <a:xfrm>
              <a:off x="9707816" y="5729878"/>
              <a:ext cx="131763" cy="214313"/>
            </a:xfrm>
            <a:custGeom>
              <a:avLst/>
              <a:gdLst>
                <a:gd name="T0" fmla="*/ 59 w 72"/>
                <a:gd name="T1" fmla="*/ 12 h 116"/>
                <a:gd name="T2" fmla="*/ 36 w 72"/>
                <a:gd name="T3" fmla="*/ 0 h 116"/>
                <a:gd name="T4" fmla="*/ 17 w 72"/>
                <a:gd name="T5" fmla="*/ 6 h 116"/>
                <a:gd name="T6" fmla="*/ 5 w 72"/>
                <a:gd name="T7" fmla="*/ 21 h 116"/>
                <a:gd name="T8" fmla="*/ 0 w 72"/>
                <a:gd name="T9" fmla="*/ 42 h 116"/>
                <a:gd name="T10" fmla="*/ 10 w 72"/>
                <a:gd name="T11" fmla="*/ 71 h 116"/>
                <a:gd name="T12" fmla="*/ 36 w 72"/>
                <a:gd name="T13" fmla="*/ 83 h 116"/>
                <a:gd name="T14" fmla="*/ 58 w 72"/>
                <a:gd name="T15" fmla="*/ 73 h 116"/>
                <a:gd name="T16" fmla="*/ 57 w 72"/>
                <a:gd name="T17" fmla="*/ 90 h 116"/>
                <a:gd name="T18" fmla="*/ 50 w 72"/>
                <a:gd name="T19" fmla="*/ 101 h 116"/>
                <a:gd name="T20" fmla="*/ 35 w 72"/>
                <a:gd name="T21" fmla="*/ 105 h 116"/>
                <a:gd name="T22" fmla="*/ 21 w 72"/>
                <a:gd name="T23" fmla="*/ 101 h 116"/>
                <a:gd name="T24" fmla="*/ 17 w 72"/>
                <a:gd name="T25" fmla="*/ 92 h 116"/>
                <a:gd name="T26" fmla="*/ 3 w 72"/>
                <a:gd name="T27" fmla="*/ 90 h 116"/>
                <a:gd name="T28" fmla="*/ 12 w 72"/>
                <a:gd name="T29" fmla="*/ 110 h 116"/>
                <a:gd name="T30" fmla="*/ 35 w 72"/>
                <a:gd name="T31" fmla="*/ 116 h 116"/>
                <a:gd name="T32" fmla="*/ 56 w 72"/>
                <a:gd name="T33" fmla="*/ 112 h 116"/>
                <a:gd name="T34" fmla="*/ 68 w 72"/>
                <a:gd name="T35" fmla="*/ 99 h 116"/>
                <a:gd name="T36" fmla="*/ 72 w 72"/>
                <a:gd name="T37" fmla="*/ 72 h 116"/>
                <a:gd name="T38" fmla="*/ 72 w 72"/>
                <a:gd name="T39" fmla="*/ 2 h 116"/>
                <a:gd name="T40" fmla="*/ 59 w 72"/>
                <a:gd name="T41" fmla="*/ 2 h 116"/>
                <a:gd name="T42" fmla="*/ 59 w 72"/>
                <a:gd name="T43" fmla="*/ 12 h 116"/>
                <a:gd name="T44" fmla="*/ 53 w 72"/>
                <a:gd name="T45" fmla="*/ 65 h 116"/>
                <a:gd name="T46" fmla="*/ 37 w 72"/>
                <a:gd name="T47" fmla="*/ 72 h 116"/>
                <a:gd name="T48" fmla="*/ 21 w 72"/>
                <a:gd name="T49" fmla="*/ 65 h 116"/>
                <a:gd name="T50" fmla="*/ 15 w 72"/>
                <a:gd name="T51" fmla="*/ 41 h 116"/>
                <a:gd name="T52" fmla="*/ 21 w 72"/>
                <a:gd name="T53" fmla="*/ 19 h 116"/>
                <a:gd name="T54" fmla="*/ 37 w 72"/>
                <a:gd name="T55" fmla="*/ 12 h 116"/>
                <a:gd name="T56" fmla="*/ 53 w 72"/>
                <a:gd name="T57" fmla="*/ 19 h 116"/>
                <a:gd name="T58" fmla="*/ 59 w 72"/>
                <a:gd name="T59" fmla="*/ 42 h 116"/>
                <a:gd name="T60" fmla="*/ 53 w 72"/>
                <a:gd name="T61" fmla="*/ 65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72" h="116">
                  <a:moveTo>
                    <a:pt x="59" y="12"/>
                  </a:moveTo>
                  <a:cubicBezTo>
                    <a:pt x="53" y="4"/>
                    <a:pt x="45" y="0"/>
                    <a:pt x="36" y="0"/>
                  </a:cubicBezTo>
                  <a:cubicBezTo>
                    <a:pt x="28" y="0"/>
                    <a:pt x="22" y="2"/>
                    <a:pt x="17" y="6"/>
                  </a:cubicBezTo>
                  <a:cubicBezTo>
                    <a:pt x="11" y="9"/>
                    <a:pt x="7" y="14"/>
                    <a:pt x="5" y="21"/>
                  </a:cubicBezTo>
                  <a:cubicBezTo>
                    <a:pt x="2" y="27"/>
                    <a:pt x="0" y="34"/>
                    <a:pt x="0" y="42"/>
                  </a:cubicBezTo>
                  <a:cubicBezTo>
                    <a:pt x="0" y="53"/>
                    <a:pt x="3" y="63"/>
                    <a:pt x="10" y="71"/>
                  </a:cubicBezTo>
                  <a:cubicBezTo>
                    <a:pt x="16" y="79"/>
                    <a:pt x="24" y="83"/>
                    <a:pt x="36" y="83"/>
                  </a:cubicBezTo>
                  <a:cubicBezTo>
                    <a:pt x="45" y="83"/>
                    <a:pt x="52" y="80"/>
                    <a:pt x="58" y="73"/>
                  </a:cubicBezTo>
                  <a:cubicBezTo>
                    <a:pt x="58" y="82"/>
                    <a:pt x="58" y="88"/>
                    <a:pt x="57" y="90"/>
                  </a:cubicBezTo>
                  <a:cubicBezTo>
                    <a:pt x="56" y="95"/>
                    <a:pt x="53" y="99"/>
                    <a:pt x="50" y="101"/>
                  </a:cubicBezTo>
                  <a:cubicBezTo>
                    <a:pt x="47" y="104"/>
                    <a:pt x="42" y="105"/>
                    <a:pt x="35" y="105"/>
                  </a:cubicBezTo>
                  <a:cubicBezTo>
                    <a:pt x="29" y="105"/>
                    <a:pt x="25" y="104"/>
                    <a:pt x="21" y="101"/>
                  </a:cubicBezTo>
                  <a:cubicBezTo>
                    <a:pt x="19" y="99"/>
                    <a:pt x="17" y="96"/>
                    <a:pt x="17" y="92"/>
                  </a:cubicBezTo>
                  <a:cubicBezTo>
                    <a:pt x="3" y="90"/>
                    <a:pt x="3" y="90"/>
                    <a:pt x="3" y="90"/>
                  </a:cubicBezTo>
                  <a:cubicBezTo>
                    <a:pt x="3" y="99"/>
                    <a:pt x="6" y="105"/>
                    <a:pt x="12" y="110"/>
                  </a:cubicBezTo>
                  <a:cubicBezTo>
                    <a:pt x="18" y="114"/>
                    <a:pt x="26" y="116"/>
                    <a:pt x="35" y="116"/>
                  </a:cubicBezTo>
                  <a:cubicBezTo>
                    <a:pt x="43" y="116"/>
                    <a:pt x="50" y="115"/>
                    <a:pt x="56" y="112"/>
                  </a:cubicBezTo>
                  <a:cubicBezTo>
                    <a:pt x="62" y="109"/>
                    <a:pt x="66" y="104"/>
                    <a:pt x="68" y="99"/>
                  </a:cubicBezTo>
                  <a:cubicBezTo>
                    <a:pt x="71" y="94"/>
                    <a:pt x="72" y="85"/>
                    <a:pt x="72" y="72"/>
                  </a:cubicBezTo>
                  <a:cubicBezTo>
                    <a:pt x="72" y="2"/>
                    <a:pt x="72" y="2"/>
                    <a:pt x="72" y="2"/>
                  </a:cubicBezTo>
                  <a:cubicBezTo>
                    <a:pt x="59" y="2"/>
                    <a:pt x="59" y="2"/>
                    <a:pt x="59" y="2"/>
                  </a:cubicBezTo>
                  <a:lnTo>
                    <a:pt x="59" y="12"/>
                  </a:lnTo>
                  <a:close/>
                  <a:moveTo>
                    <a:pt x="53" y="65"/>
                  </a:moveTo>
                  <a:cubicBezTo>
                    <a:pt x="48" y="69"/>
                    <a:pt x="43" y="72"/>
                    <a:pt x="37" y="72"/>
                  </a:cubicBezTo>
                  <a:cubicBezTo>
                    <a:pt x="30" y="72"/>
                    <a:pt x="25" y="69"/>
                    <a:pt x="21" y="65"/>
                  </a:cubicBezTo>
                  <a:cubicBezTo>
                    <a:pt x="17" y="60"/>
                    <a:pt x="15" y="52"/>
                    <a:pt x="15" y="41"/>
                  </a:cubicBezTo>
                  <a:cubicBezTo>
                    <a:pt x="15" y="31"/>
                    <a:pt x="17" y="24"/>
                    <a:pt x="21" y="19"/>
                  </a:cubicBezTo>
                  <a:cubicBezTo>
                    <a:pt x="25" y="14"/>
                    <a:pt x="30" y="12"/>
                    <a:pt x="37" y="12"/>
                  </a:cubicBezTo>
                  <a:cubicBezTo>
                    <a:pt x="43" y="12"/>
                    <a:pt x="48" y="14"/>
                    <a:pt x="53" y="19"/>
                  </a:cubicBezTo>
                  <a:cubicBezTo>
                    <a:pt x="57" y="24"/>
                    <a:pt x="59" y="32"/>
                    <a:pt x="59" y="42"/>
                  </a:cubicBezTo>
                  <a:cubicBezTo>
                    <a:pt x="59" y="52"/>
                    <a:pt x="57" y="60"/>
                    <a:pt x="53" y="6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220" name="îŝlíde"/>
            <p:cNvSpPr/>
            <p:nvPr/>
          </p:nvSpPr>
          <p:spPr bwMode="auto">
            <a:xfrm>
              <a:off x="9864978" y="5733053"/>
              <a:ext cx="138113" cy="211138"/>
            </a:xfrm>
            <a:custGeom>
              <a:avLst/>
              <a:gdLst>
                <a:gd name="T0" fmla="*/ 43 w 75"/>
                <a:gd name="T1" fmla="*/ 47 h 114"/>
                <a:gd name="T2" fmla="*/ 38 w 75"/>
                <a:gd name="T3" fmla="*/ 66 h 114"/>
                <a:gd name="T4" fmla="*/ 32 w 75"/>
                <a:gd name="T5" fmla="*/ 47 h 114"/>
                <a:gd name="T6" fmla="*/ 15 w 75"/>
                <a:gd name="T7" fmla="*/ 0 h 114"/>
                <a:gd name="T8" fmla="*/ 0 w 75"/>
                <a:gd name="T9" fmla="*/ 0 h 114"/>
                <a:gd name="T10" fmla="*/ 31 w 75"/>
                <a:gd name="T11" fmla="*/ 81 h 114"/>
                <a:gd name="T12" fmla="*/ 30 w 75"/>
                <a:gd name="T13" fmla="*/ 85 h 114"/>
                <a:gd name="T14" fmla="*/ 25 w 75"/>
                <a:gd name="T15" fmla="*/ 95 h 114"/>
                <a:gd name="T16" fmla="*/ 21 w 75"/>
                <a:gd name="T17" fmla="*/ 99 h 114"/>
                <a:gd name="T18" fmla="*/ 14 w 75"/>
                <a:gd name="T19" fmla="*/ 101 h 114"/>
                <a:gd name="T20" fmla="*/ 6 w 75"/>
                <a:gd name="T21" fmla="*/ 100 h 114"/>
                <a:gd name="T22" fmla="*/ 7 w 75"/>
                <a:gd name="T23" fmla="*/ 113 h 114"/>
                <a:gd name="T24" fmla="*/ 16 w 75"/>
                <a:gd name="T25" fmla="*/ 114 h 114"/>
                <a:gd name="T26" fmla="*/ 27 w 75"/>
                <a:gd name="T27" fmla="*/ 111 h 114"/>
                <a:gd name="T28" fmla="*/ 36 w 75"/>
                <a:gd name="T29" fmla="*/ 101 h 114"/>
                <a:gd name="T30" fmla="*/ 44 w 75"/>
                <a:gd name="T31" fmla="*/ 83 h 114"/>
                <a:gd name="T32" fmla="*/ 75 w 75"/>
                <a:gd name="T33" fmla="*/ 0 h 114"/>
                <a:gd name="T34" fmla="*/ 61 w 75"/>
                <a:gd name="T35" fmla="*/ 0 h 114"/>
                <a:gd name="T36" fmla="*/ 43 w 75"/>
                <a:gd name="T37" fmla="*/ 47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75" h="114">
                  <a:moveTo>
                    <a:pt x="43" y="47"/>
                  </a:moveTo>
                  <a:cubicBezTo>
                    <a:pt x="41" y="53"/>
                    <a:pt x="39" y="60"/>
                    <a:pt x="38" y="66"/>
                  </a:cubicBezTo>
                  <a:cubicBezTo>
                    <a:pt x="36" y="59"/>
                    <a:pt x="34" y="53"/>
                    <a:pt x="32" y="47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0" y="83"/>
                    <a:pt x="30" y="84"/>
                    <a:pt x="30" y="85"/>
                  </a:cubicBezTo>
                  <a:cubicBezTo>
                    <a:pt x="28" y="90"/>
                    <a:pt x="26" y="94"/>
                    <a:pt x="25" y="95"/>
                  </a:cubicBezTo>
                  <a:cubicBezTo>
                    <a:pt x="24" y="97"/>
                    <a:pt x="23" y="98"/>
                    <a:pt x="21" y="99"/>
                  </a:cubicBezTo>
                  <a:cubicBezTo>
                    <a:pt x="19" y="100"/>
                    <a:pt x="17" y="101"/>
                    <a:pt x="14" y="101"/>
                  </a:cubicBezTo>
                  <a:cubicBezTo>
                    <a:pt x="11" y="101"/>
                    <a:pt x="9" y="101"/>
                    <a:pt x="6" y="100"/>
                  </a:cubicBezTo>
                  <a:cubicBezTo>
                    <a:pt x="7" y="113"/>
                    <a:pt x="7" y="113"/>
                    <a:pt x="7" y="113"/>
                  </a:cubicBezTo>
                  <a:cubicBezTo>
                    <a:pt x="11" y="114"/>
                    <a:pt x="13" y="114"/>
                    <a:pt x="16" y="114"/>
                  </a:cubicBezTo>
                  <a:cubicBezTo>
                    <a:pt x="21" y="114"/>
                    <a:pt x="24" y="113"/>
                    <a:pt x="27" y="111"/>
                  </a:cubicBezTo>
                  <a:cubicBezTo>
                    <a:pt x="31" y="109"/>
                    <a:pt x="33" y="106"/>
                    <a:pt x="36" y="101"/>
                  </a:cubicBezTo>
                  <a:cubicBezTo>
                    <a:pt x="38" y="98"/>
                    <a:pt x="40" y="92"/>
                    <a:pt x="44" y="83"/>
                  </a:cubicBezTo>
                  <a:cubicBezTo>
                    <a:pt x="75" y="0"/>
                    <a:pt x="75" y="0"/>
                    <a:pt x="75" y="0"/>
                  </a:cubicBezTo>
                  <a:cubicBezTo>
                    <a:pt x="61" y="0"/>
                    <a:pt x="61" y="0"/>
                    <a:pt x="61" y="0"/>
                  </a:cubicBezTo>
                  <a:lnTo>
                    <a:pt x="43" y="4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221" name="íṧ1ïḍé"/>
            <p:cNvSpPr/>
            <p:nvPr/>
          </p:nvSpPr>
          <p:spPr bwMode="auto">
            <a:xfrm>
              <a:off x="10106278" y="5675903"/>
              <a:ext cx="155575" cy="206375"/>
            </a:xfrm>
            <a:custGeom>
              <a:avLst/>
              <a:gdLst>
                <a:gd name="T0" fmla="*/ 64 w 85"/>
                <a:gd name="T1" fmla="*/ 53 h 112"/>
                <a:gd name="T2" fmla="*/ 75 w 85"/>
                <a:gd name="T3" fmla="*/ 42 h 112"/>
                <a:gd name="T4" fmla="*/ 79 w 85"/>
                <a:gd name="T5" fmla="*/ 29 h 112"/>
                <a:gd name="T6" fmla="*/ 75 w 85"/>
                <a:gd name="T7" fmla="*/ 14 h 112"/>
                <a:gd name="T8" fmla="*/ 63 w 85"/>
                <a:gd name="T9" fmla="*/ 4 h 112"/>
                <a:gd name="T10" fmla="*/ 42 w 85"/>
                <a:gd name="T11" fmla="*/ 0 h 112"/>
                <a:gd name="T12" fmla="*/ 0 w 85"/>
                <a:gd name="T13" fmla="*/ 0 h 112"/>
                <a:gd name="T14" fmla="*/ 0 w 85"/>
                <a:gd name="T15" fmla="*/ 112 h 112"/>
                <a:gd name="T16" fmla="*/ 43 w 85"/>
                <a:gd name="T17" fmla="*/ 112 h 112"/>
                <a:gd name="T18" fmla="*/ 61 w 85"/>
                <a:gd name="T19" fmla="*/ 110 h 112"/>
                <a:gd name="T20" fmla="*/ 73 w 85"/>
                <a:gd name="T21" fmla="*/ 105 h 112"/>
                <a:gd name="T22" fmla="*/ 81 w 85"/>
                <a:gd name="T23" fmla="*/ 94 h 112"/>
                <a:gd name="T24" fmla="*/ 85 w 85"/>
                <a:gd name="T25" fmla="*/ 80 h 112"/>
                <a:gd name="T26" fmla="*/ 79 w 85"/>
                <a:gd name="T27" fmla="*/ 63 h 112"/>
                <a:gd name="T28" fmla="*/ 64 w 85"/>
                <a:gd name="T29" fmla="*/ 53 h 112"/>
                <a:gd name="T30" fmla="*/ 15 w 85"/>
                <a:gd name="T31" fmla="*/ 13 h 112"/>
                <a:gd name="T32" fmla="*/ 37 w 85"/>
                <a:gd name="T33" fmla="*/ 13 h 112"/>
                <a:gd name="T34" fmla="*/ 54 w 85"/>
                <a:gd name="T35" fmla="*/ 15 h 112"/>
                <a:gd name="T36" fmla="*/ 62 w 85"/>
                <a:gd name="T37" fmla="*/ 21 h 112"/>
                <a:gd name="T38" fmla="*/ 65 w 85"/>
                <a:gd name="T39" fmla="*/ 31 h 112"/>
                <a:gd name="T40" fmla="*/ 62 w 85"/>
                <a:gd name="T41" fmla="*/ 40 h 112"/>
                <a:gd name="T42" fmla="*/ 53 w 85"/>
                <a:gd name="T43" fmla="*/ 46 h 112"/>
                <a:gd name="T44" fmla="*/ 39 w 85"/>
                <a:gd name="T45" fmla="*/ 47 h 112"/>
                <a:gd name="T46" fmla="*/ 15 w 85"/>
                <a:gd name="T47" fmla="*/ 47 h 112"/>
                <a:gd name="T48" fmla="*/ 15 w 85"/>
                <a:gd name="T49" fmla="*/ 13 h 112"/>
                <a:gd name="T50" fmla="*/ 67 w 85"/>
                <a:gd name="T51" fmla="*/ 89 h 112"/>
                <a:gd name="T52" fmla="*/ 61 w 85"/>
                <a:gd name="T53" fmla="*/ 95 h 112"/>
                <a:gd name="T54" fmla="*/ 53 w 85"/>
                <a:gd name="T55" fmla="*/ 99 h 112"/>
                <a:gd name="T56" fmla="*/ 43 w 85"/>
                <a:gd name="T57" fmla="*/ 99 h 112"/>
                <a:gd name="T58" fmla="*/ 15 w 85"/>
                <a:gd name="T59" fmla="*/ 99 h 112"/>
                <a:gd name="T60" fmla="*/ 15 w 85"/>
                <a:gd name="T61" fmla="*/ 61 h 112"/>
                <a:gd name="T62" fmla="*/ 41 w 85"/>
                <a:gd name="T63" fmla="*/ 61 h 112"/>
                <a:gd name="T64" fmla="*/ 57 w 85"/>
                <a:gd name="T65" fmla="*/ 62 h 112"/>
                <a:gd name="T66" fmla="*/ 66 w 85"/>
                <a:gd name="T67" fmla="*/ 69 h 112"/>
                <a:gd name="T68" fmla="*/ 69 w 85"/>
                <a:gd name="T69" fmla="*/ 80 h 112"/>
                <a:gd name="T70" fmla="*/ 67 w 85"/>
                <a:gd name="T71" fmla="*/ 89 h 1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85" h="112">
                  <a:moveTo>
                    <a:pt x="64" y="53"/>
                  </a:moveTo>
                  <a:cubicBezTo>
                    <a:pt x="69" y="50"/>
                    <a:pt x="73" y="47"/>
                    <a:pt x="75" y="42"/>
                  </a:cubicBezTo>
                  <a:cubicBezTo>
                    <a:pt x="78" y="38"/>
                    <a:pt x="79" y="34"/>
                    <a:pt x="79" y="29"/>
                  </a:cubicBezTo>
                  <a:cubicBezTo>
                    <a:pt x="79" y="24"/>
                    <a:pt x="78" y="19"/>
                    <a:pt x="75" y="14"/>
                  </a:cubicBezTo>
                  <a:cubicBezTo>
                    <a:pt x="72" y="9"/>
                    <a:pt x="68" y="6"/>
                    <a:pt x="63" y="4"/>
                  </a:cubicBezTo>
                  <a:cubicBezTo>
                    <a:pt x="57" y="1"/>
                    <a:pt x="51" y="0"/>
                    <a:pt x="42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12"/>
                    <a:pt x="0" y="112"/>
                    <a:pt x="0" y="112"/>
                  </a:cubicBezTo>
                  <a:cubicBezTo>
                    <a:pt x="43" y="112"/>
                    <a:pt x="43" y="112"/>
                    <a:pt x="43" y="112"/>
                  </a:cubicBezTo>
                  <a:cubicBezTo>
                    <a:pt x="50" y="112"/>
                    <a:pt x="56" y="112"/>
                    <a:pt x="61" y="110"/>
                  </a:cubicBezTo>
                  <a:cubicBezTo>
                    <a:pt x="66" y="109"/>
                    <a:pt x="70" y="107"/>
                    <a:pt x="73" y="105"/>
                  </a:cubicBezTo>
                  <a:cubicBezTo>
                    <a:pt x="76" y="102"/>
                    <a:pt x="79" y="99"/>
                    <a:pt x="81" y="94"/>
                  </a:cubicBezTo>
                  <a:cubicBezTo>
                    <a:pt x="84" y="90"/>
                    <a:pt x="85" y="85"/>
                    <a:pt x="85" y="80"/>
                  </a:cubicBezTo>
                  <a:cubicBezTo>
                    <a:pt x="85" y="73"/>
                    <a:pt x="83" y="68"/>
                    <a:pt x="79" y="63"/>
                  </a:cubicBezTo>
                  <a:cubicBezTo>
                    <a:pt x="76" y="58"/>
                    <a:pt x="70" y="55"/>
                    <a:pt x="64" y="53"/>
                  </a:cubicBezTo>
                  <a:close/>
                  <a:moveTo>
                    <a:pt x="15" y="13"/>
                  </a:moveTo>
                  <a:cubicBezTo>
                    <a:pt x="37" y="13"/>
                    <a:pt x="37" y="13"/>
                    <a:pt x="37" y="13"/>
                  </a:cubicBezTo>
                  <a:cubicBezTo>
                    <a:pt x="45" y="13"/>
                    <a:pt x="51" y="14"/>
                    <a:pt x="54" y="15"/>
                  </a:cubicBezTo>
                  <a:cubicBezTo>
                    <a:pt x="58" y="16"/>
                    <a:pt x="60" y="18"/>
                    <a:pt x="62" y="21"/>
                  </a:cubicBezTo>
                  <a:cubicBezTo>
                    <a:pt x="64" y="24"/>
                    <a:pt x="65" y="27"/>
                    <a:pt x="65" y="31"/>
                  </a:cubicBezTo>
                  <a:cubicBezTo>
                    <a:pt x="65" y="35"/>
                    <a:pt x="64" y="38"/>
                    <a:pt x="62" y="40"/>
                  </a:cubicBezTo>
                  <a:cubicBezTo>
                    <a:pt x="60" y="43"/>
                    <a:pt x="57" y="45"/>
                    <a:pt x="53" y="46"/>
                  </a:cubicBezTo>
                  <a:cubicBezTo>
                    <a:pt x="50" y="47"/>
                    <a:pt x="46" y="47"/>
                    <a:pt x="39" y="47"/>
                  </a:cubicBezTo>
                  <a:cubicBezTo>
                    <a:pt x="15" y="47"/>
                    <a:pt x="15" y="47"/>
                    <a:pt x="15" y="47"/>
                  </a:cubicBezTo>
                  <a:lnTo>
                    <a:pt x="15" y="13"/>
                  </a:lnTo>
                  <a:close/>
                  <a:moveTo>
                    <a:pt x="67" y="89"/>
                  </a:moveTo>
                  <a:cubicBezTo>
                    <a:pt x="66" y="92"/>
                    <a:pt x="64" y="94"/>
                    <a:pt x="61" y="95"/>
                  </a:cubicBezTo>
                  <a:cubicBezTo>
                    <a:pt x="59" y="97"/>
                    <a:pt x="56" y="98"/>
                    <a:pt x="53" y="99"/>
                  </a:cubicBezTo>
                  <a:cubicBezTo>
                    <a:pt x="51" y="99"/>
                    <a:pt x="48" y="99"/>
                    <a:pt x="43" y="99"/>
                  </a:cubicBezTo>
                  <a:cubicBezTo>
                    <a:pt x="15" y="99"/>
                    <a:pt x="15" y="99"/>
                    <a:pt x="15" y="99"/>
                  </a:cubicBezTo>
                  <a:cubicBezTo>
                    <a:pt x="15" y="61"/>
                    <a:pt x="15" y="61"/>
                    <a:pt x="15" y="61"/>
                  </a:cubicBezTo>
                  <a:cubicBezTo>
                    <a:pt x="41" y="61"/>
                    <a:pt x="41" y="61"/>
                    <a:pt x="41" y="61"/>
                  </a:cubicBezTo>
                  <a:cubicBezTo>
                    <a:pt x="48" y="61"/>
                    <a:pt x="53" y="61"/>
                    <a:pt x="57" y="62"/>
                  </a:cubicBezTo>
                  <a:cubicBezTo>
                    <a:pt x="61" y="64"/>
                    <a:pt x="64" y="66"/>
                    <a:pt x="66" y="69"/>
                  </a:cubicBezTo>
                  <a:cubicBezTo>
                    <a:pt x="68" y="72"/>
                    <a:pt x="69" y="76"/>
                    <a:pt x="69" y="80"/>
                  </a:cubicBezTo>
                  <a:cubicBezTo>
                    <a:pt x="69" y="83"/>
                    <a:pt x="69" y="87"/>
                    <a:pt x="67" y="8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222" name="iŝļidé"/>
            <p:cNvSpPr/>
            <p:nvPr/>
          </p:nvSpPr>
          <p:spPr bwMode="auto">
            <a:xfrm>
              <a:off x="10288841" y="5729878"/>
              <a:ext cx="138113" cy="157163"/>
            </a:xfrm>
            <a:custGeom>
              <a:avLst/>
              <a:gdLst>
                <a:gd name="T0" fmla="*/ 38 w 75"/>
                <a:gd name="T1" fmla="*/ 0 h 85"/>
                <a:gd name="T2" fmla="*/ 10 w 75"/>
                <a:gd name="T3" fmla="*/ 12 h 85"/>
                <a:gd name="T4" fmla="*/ 0 w 75"/>
                <a:gd name="T5" fmla="*/ 43 h 85"/>
                <a:gd name="T6" fmla="*/ 10 w 75"/>
                <a:gd name="T7" fmla="*/ 74 h 85"/>
                <a:gd name="T8" fmla="*/ 38 w 75"/>
                <a:gd name="T9" fmla="*/ 85 h 85"/>
                <a:gd name="T10" fmla="*/ 62 w 75"/>
                <a:gd name="T11" fmla="*/ 78 h 85"/>
                <a:gd name="T12" fmla="*/ 74 w 75"/>
                <a:gd name="T13" fmla="*/ 59 h 85"/>
                <a:gd name="T14" fmla="*/ 60 w 75"/>
                <a:gd name="T15" fmla="*/ 57 h 85"/>
                <a:gd name="T16" fmla="*/ 51 w 75"/>
                <a:gd name="T17" fmla="*/ 70 h 85"/>
                <a:gd name="T18" fmla="*/ 39 w 75"/>
                <a:gd name="T19" fmla="*/ 74 h 85"/>
                <a:gd name="T20" fmla="*/ 22 w 75"/>
                <a:gd name="T21" fmla="*/ 67 h 85"/>
                <a:gd name="T22" fmla="*/ 14 w 75"/>
                <a:gd name="T23" fmla="*/ 46 h 85"/>
                <a:gd name="T24" fmla="*/ 75 w 75"/>
                <a:gd name="T25" fmla="*/ 46 h 85"/>
                <a:gd name="T26" fmla="*/ 75 w 75"/>
                <a:gd name="T27" fmla="*/ 43 h 85"/>
                <a:gd name="T28" fmla="*/ 64 w 75"/>
                <a:gd name="T29" fmla="*/ 11 h 85"/>
                <a:gd name="T30" fmla="*/ 38 w 75"/>
                <a:gd name="T31" fmla="*/ 0 h 85"/>
                <a:gd name="T32" fmla="*/ 15 w 75"/>
                <a:gd name="T33" fmla="*/ 35 h 85"/>
                <a:gd name="T34" fmla="*/ 22 w 75"/>
                <a:gd name="T35" fmla="*/ 18 h 85"/>
                <a:gd name="T36" fmla="*/ 38 w 75"/>
                <a:gd name="T37" fmla="*/ 12 h 85"/>
                <a:gd name="T38" fmla="*/ 55 w 75"/>
                <a:gd name="T39" fmla="*/ 20 h 85"/>
                <a:gd name="T40" fmla="*/ 60 w 75"/>
                <a:gd name="T41" fmla="*/ 35 h 85"/>
                <a:gd name="T42" fmla="*/ 15 w 75"/>
                <a:gd name="T43" fmla="*/ 35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75" h="85">
                  <a:moveTo>
                    <a:pt x="38" y="0"/>
                  </a:moveTo>
                  <a:cubicBezTo>
                    <a:pt x="26" y="0"/>
                    <a:pt x="17" y="4"/>
                    <a:pt x="10" y="12"/>
                  </a:cubicBezTo>
                  <a:cubicBezTo>
                    <a:pt x="3" y="19"/>
                    <a:pt x="0" y="30"/>
                    <a:pt x="0" y="43"/>
                  </a:cubicBezTo>
                  <a:cubicBezTo>
                    <a:pt x="0" y="57"/>
                    <a:pt x="3" y="67"/>
                    <a:pt x="10" y="74"/>
                  </a:cubicBezTo>
                  <a:cubicBezTo>
                    <a:pt x="17" y="81"/>
                    <a:pt x="27" y="85"/>
                    <a:pt x="38" y="85"/>
                  </a:cubicBezTo>
                  <a:cubicBezTo>
                    <a:pt x="48" y="85"/>
                    <a:pt x="56" y="83"/>
                    <a:pt x="62" y="78"/>
                  </a:cubicBezTo>
                  <a:cubicBezTo>
                    <a:pt x="68" y="74"/>
                    <a:pt x="72" y="67"/>
                    <a:pt x="74" y="59"/>
                  </a:cubicBezTo>
                  <a:cubicBezTo>
                    <a:pt x="60" y="57"/>
                    <a:pt x="60" y="57"/>
                    <a:pt x="60" y="57"/>
                  </a:cubicBezTo>
                  <a:cubicBezTo>
                    <a:pt x="58" y="63"/>
                    <a:pt x="55" y="67"/>
                    <a:pt x="51" y="70"/>
                  </a:cubicBezTo>
                  <a:cubicBezTo>
                    <a:pt x="48" y="73"/>
                    <a:pt x="44" y="74"/>
                    <a:pt x="39" y="74"/>
                  </a:cubicBezTo>
                  <a:cubicBezTo>
                    <a:pt x="32" y="74"/>
                    <a:pt x="26" y="71"/>
                    <a:pt x="22" y="67"/>
                  </a:cubicBezTo>
                  <a:cubicBezTo>
                    <a:pt x="17" y="62"/>
                    <a:pt x="14" y="55"/>
                    <a:pt x="14" y="46"/>
                  </a:cubicBezTo>
                  <a:cubicBezTo>
                    <a:pt x="75" y="46"/>
                    <a:pt x="75" y="46"/>
                    <a:pt x="75" y="46"/>
                  </a:cubicBezTo>
                  <a:cubicBezTo>
                    <a:pt x="75" y="45"/>
                    <a:pt x="75" y="43"/>
                    <a:pt x="75" y="43"/>
                  </a:cubicBezTo>
                  <a:cubicBezTo>
                    <a:pt x="75" y="29"/>
                    <a:pt x="71" y="19"/>
                    <a:pt x="64" y="11"/>
                  </a:cubicBezTo>
                  <a:cubicBezTo>
                    <a:pt x="57" y="4"/>
                    <a:pt x="49" y="0"/>
                    <a:pt x="38" y="0"/>
                  </a:cubicBezTo>
                  <a:close/>
                  <a:moveTo>
                    <a:pt x="15" y="35"/>
                  </a:moveTo>
                  <a:cubicBezTo>
                    <a:pt x="15" y="28"/>
                    <a:pt x="18" y="22"/>
                    <a:pt x="22" y="18"/>
                  </a:cubicBezTo>
                  <a:cubicBezTo>
                    <a:pt x="26" y="14"/>
                    <a:pt x="32" y="12"/>
                    <a:pt x="38" y="12"/>
                  </a:cubicBezTo>
                  <a:cubicBezTo>
                    <a:pt x="45" y="12"/>
                    <a:pt x="51" y="14"/>
                    <a:pt x="55" y="20"/>
                  </a:cubicBezTo>
                  <a:cubicBezTo>
                    <a:pt x="58" y="23"/>
                    <a:pt x="60" y="28"/>
                    <a:pt x="60" y="35"/>
                  </a:cubicBezTo>
                  <a:lnTo>
                    <a:pt x="15" y="3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223" name="í$lidè"/>
            <p:cNvSpPr/>
            <p:nvPr/>
          </p:nvSpPr>
          <p:spPr bwMode="auto">
            <a:xfrm>
              <a:off x="10457116" y="5675903"/>
              <a:ext cx="25400" cy="3016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224" name="iSļiḋé"/>
            <p:cNvSpPr/>
            <p:nvPr/>
          </p:nvSpPr>
          <p:spPr bwMode="auto">
            <a:xfrm>
              <a:off x="10457116" y="5733053"/>
              <a:ext cx="25400" cy="1492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225" name="íṩḷïḑe"/>
            <p:cNvSpPr/>
            <p:nvPr/>
          </p:nvSpPr>
          <p:spPr bwMode="auto">
            <a:xfrm>
              <a:off x="10520616" y="5675903"/>
              <a:ext cx="25400" cy="3016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226" name="i$ḷïḍè"/>
            <p:cNvSpPr/>
            <p:nvPr/>
          </p:nvSpPr>
          <p:spPr bwMode="auto">
            <a:xfrm>
              <a:off x="10488866" y="5733053"/>
              <a:ext cx="57150" cy="211138"/>
            </a:xfrm>
            <a:custGeom>
              <a:avLst/>
              <a:gdLst>
                <a:gd name="T0" fmla="*/ 17 w 31"/>
                <a:gd name="T1" fmla="*/ 85 h 114"/>
                <a:gd name="T2" fmla="*/ 15 w 31"/>
                <a:gd name="T3" fmla="*/ 99 h 114"/>
                <a:gd name="T4" fmla="*/ 9 w 31"/>
                <a:gd name="T5" fmla="*/ 102 h 114"/>
                <a:gd name="T6" fmla="*/ 2 w 31"/>
                <a:gd name="T7" fmla="*/ 101 h 114"/>
                <a:gd name="T8" fmla="*/ 0 w 31"/>
                <a:gd name="T9" fmla="*/ 113 h 114"/>
                <a:gd name="T10" fmla="*/ 11 w 31"/>
                <a:gd name="T11" fmla="*/ 114 h 114"/>
                <a:gd name="T12" fmla="*/ 27 w 31"/>
                <a:gd name="T13" fmla="*/ 107 h 114"/>
                <a:gd name="T14" fmla="*/ 31 w 31"/>
                <a:gd name="T15" fmla="*/ 86 h 114"/>
                <a:gd name="T16" fmla="*/ 31 w 31"/>
                <a:gd name="T17" fmla="*/ 0 h 114"/>
                <a:gd name="T18" fmla="*/ 17 w 31"/>
                <a:gd name="T19" fmla="*/ 0 h 114"/>
                <a:gd name="T20" fmla="*/ 17 w 31"/>
                <a:gd name="T21" fmla="*/ 85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1" h="114">
                  <a:moveTo>
                    <a:pt x="17" y="85"/>
                  </a:moveTo>
                  <a:cubicBezTo>
                    <a:pt x="17" y="93"/>
                    <a:pt x="17" y="98"/>
                    <a:pt x="15" y="99"/>
                  </a:cubicBezTo>
                  <a:cubicBezTo>
                    <a:pt x="14" y="101"/>
                    <a:pt x="12" y="102"/>
                    <a:pt x="9" y="102"/>
                  </a:cubicBezTo>
                  <a:cubicBezTo>
                    <a:pt x="7" y="102"/>
                    <a:pt x="5" y="102"/>
                    <a:pt x="2" y="101"/>
                  </a:cubicBezTo>
                  <a:cubicBezTo>
                    <a:pt x="0" y="113"/>
                    <a:pt x="0" y="113"/>
                    <a:pt x="0" y="113"/>
                  </a:cubicBezTo>
                  <a:cubicBezTo>
                    <a:pt x="3" y="114"/>
                    <a:pt x="7" y="114"/>
                    <a:pt x="11" y="114"/>
                  </a:cubicBezTo>
                  <a:cubicBezTo>
                    <a:pt x="18" y="114"/>
                    <a:pt x="24" y="112"/>
                    <a:pt x="27" y="107"/>
                  </a:cubicBezTo>
                  <a:cubicBezTo>
                    <a:pt x="30" y="103"/>
                    <a:pt x="31" y="96"/>
                    <a:pt x="31" y="86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17" y="0"/>
                    <a:pt x="17" y="0"/>
                    <a:pt x="17" y="0"/>
                  </a:cubicBezTo>
                  <a:lnTo>
                    <a:pt x="17" y="8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227" name="íṩliḋé"/>
            <p:cNvSpPr/>
            <p:nvPr/>
          </p:nvSpPr>
          <p:spPr bwMode="auto">
            <a:xfrm>
              <a:off x="10585703" y="5675903"/>
              <a:ext cx="25400" cy="3016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228" name="ísḷiďé"/>
            <p:cNvSpPr/>
            <p:nvPr/>
          </p:nvSpPr>
          <p:spPr bwMode="auto">
            <a:xfrm>
              <a:off x="10585703" y="5733053"/>
              <a:ext cx="25400" cy="1492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229" name="íṩļïḍe"/>
            <p:cNvSpPr/>
            <p:nvPr/>
          </p:nvSpPr>
          <p:spPr bwMode="auto">
            <a:xfrm>
              <a:off x="10649203" y="5729878"/>
              <a:ext cx="122238" cy="152400"/>
            </a:xfrm>
            <a:custGeom>
              <a:avLst/>
              <a:gdLst>
                <a:gd name="T0" fmla="*/ 65 w 66"/>
                <a:gd name="T1" fmla="*/ 20 h 83"/>
                <a:gd name="T2" fmla="*/ 61 w 66"/>
                <a:gd name="T3" fmla="*/ 10 h 83"/>
                <a:gd name="T4" fmla="*/ 52 w 66"/>
                <a:gd name="T5" fmla="*/ 3 h 83"/>
                <a:gd name="T6" fmla="*/ 38 w 66"/>
                <a:gd name="T7" fmla="*/ 0 h 83"/>
                <a:gd name="T8" fmla="*/ 12 w 66"/>
                <a:gd name="T9" fmla="*/ 14 h 83"/>
                <a:gd name="T10" fmla="*/ 12 w 66"/>
                <a:gd name="T11" fmla="*/ 2 h 83"/>
                <a:gd name="T12" fmla="*/ 0 w 66"/>
                <a:gd name="T13" fmla="*/ 2 h 83"/>
                <a:gd name="T14" fmla="*/ 0 w 66"/>
                <a:gd name="T15" fmla="*/ 83 h 83"/>
                <a:gd name="T16" fmla="*/ 14 w 66"/>
                <a:gd name="T17" fmla="*/ 83 h 83"/>
                <a:gd name="T18" fmla="*/ 14 w 66"/>
                <a:gd name="T19" fmla="*/ 39 h 83"/>
                <a:gd name="T20" fmla="*/ 20 w 66"/>
                <a:gd name="T21" fmla="*/ 18 h 83"/>
                <a:gd name="T22" fmla="*/ 35 w 66"/>
                <a:gd name="T23" fmla="*/ 12 h 83"/>
                <a:gd name="T24" fmla="*/ 45 w 66"/>
                <a:gd name="T25" fmla="*/ 15 h 83"/>
                <a:gd name="T26" fmla="*/ 51 w 66"/>
                <a:gd name="T27" fmla="*/ 21 h 83"/>
                <a:gd name="T28" fmla="*/ 52 w 66"/>
                <a:gd name="T29" fmla="*/ 34 h 83"/>
                <a:gd name="T30" fmla="*/ 52 w 66"/>
                <a:gd name="T31" fmla="*/ 83 h 83"/>
                <a:gd name="T32" fmla="*/ 66 w 66"/>
                <a:gd name="T33" fmla="*/ 83 h 83"/>
                <a:gd name="T34" fmla="*/ 66 w 66"/>
                <a:gd name="T35" fmla="*/ 33 h 83"/>
                <a:gd name="T36" fmla="*/ 65 w 66"/>
                <a:gd name="T37" fmla="*/ 20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6" h="83">
                  <a:moveTo>
                    <a:pt x="65" y="20"/>
                  </a:moveTo>
                  <a:cubicBezTo>
                    <a:pt x="64" y="16"/>
                    <a:pt x="63" y="13"/>
                    <a:pt x="61" y="10"/>
                  </a:cubicBezTo>
                  <a:cubicBezTo>
                    <a:pt x="59" y="7"/>
                    <a:pt x="56" y="5"/>
                    <a:pt x="52" y="3"/>
                  </a:cubicBezTo>
                  <a:cubicBezTo>
                    <a:pt x="48" y="1"/>
                    <a:pt x="43" y="0"/>
                    <a:pt x="38" y="0"/>
                  </a:cubicBezTo>
                  <a:cubicBezTo>
                    <a:pt x="27" y="0"/>
                    <a:pt x="18" y="5"/>
                    <a:pt x="12" y="14"/>
                  </a:cubicBezTo>
                  <a:cubicBezTo>
                    <a:pt x="12" y="2"/>
                    <a:pt x="12" y="2"/>
                    <a:pt x="12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83"/>
                    <a:pt x="0" y="83"/>
                    <a:pt x="0" y="83"/>
                  </a:cubicBezTo>
                  <a:cubicBezTo>
                    <a:pt x="14" y="83"/>
                    <a:pt x="14" y="83"/>
                    <a:pt x="14" y="83"/>
                  </a:cubicBezTo>
                  <a:cubicBezTo>
                    <a:pt x="14" y="39"/>
                    <a:pt x="14" y="39"/>
                    <a:pt x="14" y="39"/>
                  </a:cubicBezTo>
                  <a:cubicBezTo>
                    <a:pt x="14" y="29"/>
                    <a:pt x="16" y="21"/>
                    <a:pt x="20" y="18"/>
                  </a:cubicBezTo>
                  <a:cubicBezTo>
                    <a:pt x="24" y="14"/>
                    <a:pt x="29" y="12"/>
                    <a:pt x="35" y="12"/>
                  </a:cubicBezTo>
                  <a:cubicBezTo>
                    <a:pt x="39" y="12"/>
                    <a:pt x="42" y="13"/>
                    <a:pt x="45" y="15"/>
                  </a:cubicBezTo>
                  <a:cubicBezTo>
                    <a:pt x="48" y="16"/>
                    <a:pt x="50" y="19"/>
                    <a:pt x="51" y="21"/>
                  </a:cubicBezTo>
                  <a:cubicBezTo>
                    <a:pt x="52" y="24"/>
                    <a:pt x="52" y="28"/>
                    <a:pt x="52" y="34"/>
                  </a:cubicBezTo>
                  <a:cubicBezTo>
                    <a:pt x="52" y="83"/>
                    <a:pt x="52" y="83"/>
                    <a:pt x="52" y="83"/>
                  </a:cubicBezTo>
                  <a:cubicBezTo>
                    <a:pt x="66" y="83"/>
                    <a:pt x="66" y="83"/>
                    <a:pt x="66" y="83"/>
                  </a:cubicBezTo>
                  <a:cubicBezTo>
                    <a:pt x="66" y="33"/>
                    <a:pt x="66" y="33"/>
                    <a:pt x="66" y="33"/>
                  </a:cubicBezTo>
                  <a:cubicBezTo>
                    <a:pt x="66" y="27"/>
                    <a:pt x="66" y="23"/>
                    <a:pt x="65" y="2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230" name="í$ľíḍê"/>
            <p:cNvSpPr/>
            <p:nvPr/>
          </p:nvSpPr>
          <p:spPr bwMode="auto">
            <a:xfrm>
              <a:off x="10800016" y="5729878"/>
              <a:ext cx="133350" cy="214313"/>
            </a:xfrm>
            <a:custGeom>
              <a:avLst/>
              <a:gdLst>
                <a:gd name="T0" fmla="*/ 59 w 72"/>
                <a:gd name="T1" fmla="*/ 2 h 116"/>
                <a:gd name="T2" fmla="*/ 59 w 72"/>
                <a:gd name="T3" fmla="*/ 12 h 116"/>
                <a:gd name="T4" fmla="*/ 35 w 72"/>
                <a:gd name="T5" fmla="*/ 0 h 116"/>
                <a:gd name="T6" fmla="*/ 16 w 72"/>
                <a:gd name="T7" fmla="*/ 6 h 116"/>
                <a:gd name="T8" fmla="*/ 4 w 72"/>
                <a:gd name="T9" fmla="*/ 21 h 116"/>
                <a:gd name="T10" fmla="*/ 0 w 72"/>
                <a:gd name="T11" fmla="*/ 42 h 116"/>
                <a:gd name="T12" fmla="*/ 9 w 72"/>
                <a:gd name="T13" fmla="*/ 71 h 116"/>
                <a:gd name="T14" fmla="*/ 35 w 72"/>
                <a:gd name="T15" fmla="*/ 83 h 116"/>
                <a:gd name="T16" fmla="*/ 58 w 72"/>
                <a:gd name="T17" fmla="*/ 73 h 116"/>
                <a:gd name="T18" fmla="*/ 57 w 72"/>
                <a:gd name="T19" fmla="*/ 90 h 116"/>
                <a:gd name="T20" fmla="*/ 49 w 72"/>
                <a:gd name="T21" fmla="*/ 101 h 116"/>
                <a:gd name="T22" fmla="*/ 35 w 72"/>
                <a:gd name="T23" fmla="*/ 105 h 116"/>
                <a:gd name="T24" fmla="*/ 21 w 72"/>
                <a:gd name="T25" fmla="*/ 101 h 116"/>
                <a:gd name="T26" fmla="*/ 16 w 72"/>
                <a:gd name="T27" fmla="*/ 92 h 116"/>
                <a:gd name="T28" fmla="*/ 3 w 72"/>
                <a:gd name="T29" fmla="*/ 90 h 116"/>
                <a:gd name="T30" fmla="*/ 11 w 72"/>
                <a:gd name="T31" fmla="*/ 110 h 116"/>
                <a:gd name="T32" fmla="*/ 35 w 72"/>
                <a:gd name="T33" fmla="*/ 116 h 116"/>
                <a:gd name="T34" fmla="*/ 55 w 72"/>
                <a:gd name="T35" fmla="*/ 112 h 116"/>
                <a:gd name="T36" fmla="*/ 68 w 72"/>
                <a:gd name="T37" fmla="*/ 99 h 116"/>
                <a:gd name="T38" fmla="*/ 72 w 72"/>
                <a:gd name="T39" fmla="*/ 72 h 116"/>
                <a:gd name="T40" fmla="*/ 72 w 72"/>
                <a:gd name="T41" fmla="*/ 2 h 116"/>
                <a:gd name="T42" fmla="*/ 59 w 72"/>
                <a:gd name="T43" fmla="*/ 2 h 116"/>
                <a:gd name="T44" fmla="*/ 52 w 72"/>
                <a:gd name="T45" fmla="*/ 65 h 116"/>
                <a:gd name="T46" fmla="*/ 36 w 72"/>
                <a:gd name="T47" fmla="*/ 72 h 116"/>
                <a:gd name="T48" fmla="*/ 20 w 72"/>
                <a:gd name="T49" fmla="*/ 65 h 116"/>
                <a:gd name="T50" fmla="*/ 14 w 72"/>
                <a:gd name="T51" fmla="*/ 41 h 116"/>
                <a:gd name="T52" fmla="*/ 20 w 72"/>
                <a:gd name="T53" fmla="*/ 19 h 116"/>
                <a:gd name="T54" fmla="*/ 36 w 72"/>
                <a:gd name="T55" fmla="*/ 12 h 116"/>
                <a:gd name="T56" fmla="*/ 52 w 72"/>
                <a:gd name="T57" fmla="*/ 19 h 116"/>
                <a:gd name="T58" fmla="*/ 59 w 72"/>
                <a:gd name="T59" fmla="*/ 42 h 116"/>
                <a:gd name="T60" fmla="*/ 52 w 72"/>
                <a:gd name="T61" fmla="*/ 65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72" h="116">
                  <a:moveTo>
                    <a:pt x="59" y="2"/>
                  </a:moveTo>
                  <a:cubicBezTo>
                    <a:pt x="59" y="12"/>
                    <a:pt x="59" y="12"/>
                    <a:pt x="59" y="12"/>
                  </a:cubicBezTo>
                  <a:cubicBezTo>
                    <a:pt x="53" y="4"/>
                    <a:pt x="45" y="0"/>
                    <a:pt x="35" y="0"/>
                  </a:cubicBezTo>
                  <a:cubicBezTo>
                    <a:pt x="28" y="0"/>
                    <a:pt x="22" y="2"/>
                    <a:pt x="16" y="6"/>
                  </a:cubicBezTo>
                  <a:cubicBezTo>
                    <a:pt x="11" y="9"/>
                    <a:pt x="7" y="14"/>
                    <a:pt x="4" y="21"/>
                  </a:cubicBezTo>
                  <a:cubicBezTo>
                    <a:pt x="1" y="27"/>
                    <a:pt x="0" y="34"/>
                    <a:pt x="0" y="42"/>
                  </a:cubicBezTo>
                  <a:cubicBezTo>
                    <a:pt x="0" y="53"/>
                    <a:pt x="3" y="63"/>
                    <a:pt x="9" y="71"/>
                  </a:cubicBezTo>
                  <a:cubicBezTo>
                    <a:pt x="15" y="79"/>
                    <a:pt x="24" y="83"/>
                    <a:pt x="35" y="83"/>
                  </a:cubicBezTo>
                  <a:cubicBezTo>
                    <a:pt x="44" y="83"/>
                    <a:pt x="51" y="80"/>
                    <a:pt x="58" y="73"/>
                  </a:cubicBezTo>
                  <a:cubicBezTo>
                    <a:pt x="58" y="82"/>
                    <a:pt x="57" y="88"/>
                    <a:pt x="57" y="90"/>
                  </a:cubicBezTo>
                  <a:cubicBezTo>
                    <a:pt x="55" y="95"/>
                    <a:pt x="53" y="99"/>
                    <a:pt x="49" y="101"/>
                  </a:cubicBezTo>
                  <a:cubicBezTo>
                    <a:pt x="46" y="104"/>
                    <a:pt x="41" y="105"/>
                    <a:pt x="35" y="105"/>
                  </a:cubicBezTo>
                  <a:cubicBezTo>
                    <a:pt x="29" y="105"/>
                    <a:pt x="24" y="104"/>
                    <a:pt x="21" y="101"/>
                  </a:cubicBezTo>
                  <a:cubicBezTo>
                    <a:pt x="18" y="99"/>
                    <a:pt x="17" y="96"/>
                    <a:pt x="16" y="92"/>
                  </a:cubicBezTo>
                  <a:cubicBezTo>
                    <a:pt x="3" y="90"/>
                    <a:pt x="3" y="90"/>
                    <a:pt x="3" y="90"/>
                  </a:cubicBezTo>
                  <a:cubicBezTo>
                    <a:pt x="2" y="99"/>
                    <a:pt x="5" y="105"/>
                    <a:pt x="11" y="110"/>
                  </a:cubicBezTo>
                  <a:cubicBezTo>
                    <a:pt x="17" y="114"/>
                    <a:pt x="25" y="116"/>
                    <a:pt x="35" y="116"/>
                  </a:cubicBezTo>
                  <a:cubicBezTo>
                    <a:pt x="43" y="116"/>
                    <a:pt x="50" y="115"/>
                    <a:pt x="55" y="112"/>
                  </a:cubicBezTo>
                  <a:cubicBezTo>
                    <a:pt x="61" y="109"/>
                    <a:pt x="65" y="104"/>
                    <a:pt x="68" y="99"/>
                  </a:cubicBezTo>
                  <a:cubicBezTo>
                    <a:pt x="70" y="94"/>
                    <a:pt x="72" y="85"/>
                    <a:pt x="72" y="72"/>
                  </a:cubicBezTo>
                  <a:cubicBezTo>
                    <a:pt x="72" y="2"/>
                    <a:pt x="72" y="2"/>
                    <a:pt x="72" y="2"/>
                  </a:cubicBezTo>
                  <a:lnTo>
                    <a:pt x="59" y="2"/>
                  </a:lnTo>
                  <a:close/>
                  <a:moveTo>
                    <a:pt x="52" y="65"/>
                  </a:moveTo>
                  <a:cubicBezTo>
                    <a:pt x="48" y="69"/>
                    <a:pt x="43" y="72"/>
                    <a:pt x="36" y="72"/>
                  </a:cubicBezTo>
                  <a:cubicBezTo>
                    <a:pt x="30" y="72"/>
                    <a:pt x="25" y="69"/>
                    <a:pt x="20" y="65"/>
                  </a:cubicBezTo>
                  <a:cubicBezTo>
                    <a:pt x="16" y="60"/>
                    <a:pt x="14" y="52"/>
                    <a:pt x="14" y="41"/>
                  </a:cubicBezTo>
                  <a:cubicBezTo>
                    <a:pt x="14" y="31"/>
                    <a:pt x="16" y="24"/>
                    <a:pt x="20" y="19"/>
                  </a:cubicBezTo>
                  <a:cubicBezTo>
                    <a:pt x="25" y="14"/>
                    <a:pt x="30" y="12"/>
                    <a:pt x="36" y="12"/>
                  </a:cubicBezTo>
                  <a:cubicBezTo>
                    <a:pt x="42" y="12"/>
                    <a:pt x="48" y="14"/>
                    <a:pt x="52" y="19"/>
                  </a:cubicBezTo>
                  <a:cubicBezTo>
                    <a:pt x="56" y="24"/>
                    <a:pt x="59" y="32"/>
                    <a:pt x="59" y="42"/>
                  </a:cubicBezTo>
                  <a:cubicBezTo>
                    <a:pt x="59" y="52"/>
                    <a:pt x="57" y="60"/>
                    <a:pt x="52" y="6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231" name="î$1ïḍè"/>
            <p:cNvSpPr/>
            <p:nvPr/>
          </p:nvSpPr>
          <p:spPr bwMode="auto">
            <a:xfrm>
              <a:off x="5231066" y="5675903"/>
              <a:ext cx="161925" cy="211138"/>
            </a:xfrm>
            <a:custGeom>
              <a:avLst/>
              <a:gdLst>
                <a:gd name="T0" fmla="*/ 73 w 88"/>
                <a:gd name="T1" fmla="*/ 65 h 114"/>
                <a:gd name="T2" fmla="*/ 66 w 88"/>
                <a:gd name="T3" fmla="*/ 93 h 114"/>
                <a:gd name="T4" fmla="*/ 43 w 88"/>
                <a:gd name="T5" fmla="*/ 101 h 114"/>
                <a:gd name="T6" fmla="*/ 27 w 88"/>
                <a:gd name="T7" fmla="*/ 97 h 114"/>
                <a:gd name="T8" fmla="*/ 17 w 88"/>
                <a:gd name="T9" fmla="*/ 86 h 114"/>
                <a:gd name="T10" fmla="*/ 15 w 88"/>
                <a:gd name="T11" fmla="*/ 65 h 114"/>
                <a:gd name="T12" fmla="*/ 15 w 88"/>
                <a:gd name="T13" fmla="*/ 0 h 114"/>
                <a:gd name="T14" fmla="*/ 0 w 88"/>
                <a:gd name="T15" fmla="*/ 0 h 114"/>
                <a:gd name="T16" fmla="*/ 0 w 88"/>
                <a:gd name="T17" fmla="*/ 65 h 114"/>
                <a:gd name="T18" fmla="*/ 4 w 88"/>
                <a:gd name="T19" fmla="*/ 93 h 114"/>
                <a:gd name="T20" fmla="*/ 18 w 88"/>
                <a:gd name="T21" fmla="*/ 109 h 114"/>
                <a:gd name="T22" fmla="*/ 44 w 88"/>
                <a:gd name="T23" fmla="*/ 114 h 114"/>
                <a:gd name="T24" fmla="*/ 70 w 88"/>
                <a:gd name="T25" fmla="*/ 108 h 114"/>
                <a:gd name="T26" fmla="*/ 84 w 88"/>
                <a:gd name="T27" fmla="*/ 92 h 114"/>
                <a:gd name="T28" fmla="*/ 88 w 88"/>
                <a:gd name="T29" fmla="*/ 65 h 114"/>
                <a:gd name="T30" fmla="*/ 88 w 88"/>
                <a:gd name="T31" fmla="*/ 0 h 114"/>
                <a:gd name="T32" fmla="*/ 73 w 88"/>
                <a:gd name="T33" fmla="*/ 0 h 114"/>
                <a:gd name="T34" fmla="*/ 73 w 88"/>
                <a:gd name="T35" fmla="*/ 65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88" h="114">
                  <a:moveTo>
                    <a:pt x="73" y="65"/>
                  </a:moveTo>
                  <a:cubicBezTo>
                    <a:pt x="73" y="79"/>
                    <a:pt x="71" y="88"/>
                    <a:pt x="66" y="93"/>
                  </a:cubicBezTo>
                  <a:cubicBezTo>
                    <a:pt x="62" y="98"/>
                    <a:pt x="54" y="101"/>
                    <a:pt x="43" y="101"/>
                  </a:cubicBezTo>
                  <a:cubicBezTo>
                    <a:pt x="37" y="101"/>
                    <a:pt x="31" y="100"/>
                    <a:pt x="27" y="97"/>
                  </a:cubicBezTo>
                  <a:cubicBezTo>
                    <a:pt x="22" y="95"/>
                    <a:pt x="19" y="91"/>
                    <a:pt x="17" y="86"/>
                  </a:cubicBezTo>
                  <a:cubicBezTo>
                    <a:pt x="16" y="82"/>
                    <a:pt x="15" y="75"/>
                    <a:pt x="15" y="65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65"/>
                    <a:pt x="0" y="65"/>
                    <a:pt x="0" y="65"/>
                  </a:cubicBezTo>
                  <a:cubicBezTo>
                    <a:pt x="0" y="77"/>
                    <a:pt x="1" y="86"/>
                    <a:pt x="4" y="93"/>
                  </a:cubicBezTo>
                  <a:cubicBezTo>
                    <a:pt x="7" y="100"/>
                    <a:pt x="12" y="105"/>
                    <a:pt x="18" y="109"/>
                  </a:cubicBezTo>
                  <a:cubicBezTo>
                    <a:pt x="25" y="112"/>
                    <a:pt x="34" y="114"/>
                    <a:pt x="44" y="114"/>
                  </a:cubicBezTo>
                  <a:cubicBezTo>
                    <a:pt x="55" y="114"/>
                    <a:pt x="64" y="112"/>
                    <a:pt x="70" y="108"/>
                  </a:cubicBezTo>
                  <a:cubicBezTo>
                    <a:pt x="77" y="104"/>
                    <a:pt x="82" y="98"/>
                    <a:pt x="84" y="92"/>
                  </a:cubicBezTo>
                  <a:cubicBezTo>
                    <a:pt x="87" y="85"/>
                    <a:pt x="88" y="76"/>
                    <a:pt x="88" y="65"/>
                  </a:cubicBezTo>
                  <a:cubicBezTo>
                    <a:pt x="88" y="0"/>
                    <a:pt x="88" y="0"/>
                    <a:pt x="88" y="0"/>
                  </a:cubicBezTo>
                  <a:cubicBezTo>
                    <a:pt x="73" y="0"/>
                    <a:pt x="73" y="0"/>
                    <a:pt x="73" y="0"/>
                  </a:cubicBezTo>
                  <a:lnTo>
                    <a:pt x="73" y="6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232" name="ïṡļîḑê"/>
            <p:cNvSpPr/>
            <p:nvPr/>
          </p:nvSpPr>
          <p:spPr bwMode="auto">
            <a:xfrm>
              <a:off x="5435853" y="5729878"/>
              <a:ext cx="120650" cy="152400"/>
            </a:xfrm>
            <a:custGeom>
              <a:avLst/>
              <a:gdLst>
                <a:gd name="T0" fmla="*/ 61 w 66"/>
                <a:gd name="T1" fmla="*/ 10 h 83"/>
                <a:gd name="T2" fmla="*/ 52 w 66"/>
                <a:gd name="T3" fmla="*/ 3 h 83"/>
                <a:gd name="T4" fmla="*/ 38 w 66"/>
                <a:gd name="T5" fmla="*/ 0 h 83"/>
                <a:gd name="T6" fmla="*/ 12 w 66"/>
                <a:gd name="T7" fmla="*/ 14 h 83"/>
                <a:gd name="T8" fmla="*/ 12 w 66"/>
                <a:gd name="T9" fmla="*/ 2 h 83"/>
                <a:gd name="T10" fmla="*/ 0 w 66"/>
                <a:gd name="T11" fmla="*/ 2 h 83"/>
                <a:gd name="T12" fmla="*/ 0 w 66"/>
                <a:gd name="T13" fmla="*/ 83 h 83"/>
                <a:gd name="T14" fmla="*/ 14 w 66"/>
                <a:gd name="T15" fmla="*/ 83 h 83"/>
                <a:gd name="T16" fmla="*/ 14 w 66"/>
                <a:gd name="T17" fmla="*/ 39 h 83"/>
                <a:gd name="T18" fmla="*/ 20 w 66"/>
                <a:gd name="T19" fmla="*/ 18 h 83"/>
                <a:gd name="T20" fmla="*/ 35 w 66"/>
                <a:gd name="T21" fmla="*/ 12 h 83"/>
                <a:gd name="T22" fmla="*/ 45 w 66"/>
                <a:gd name="T23" fmla="*/ 15 h 83"/>
                <a:gd name="T24" fmla="*/ 51 w 66"/>
                <a:gd name="T25" fmla="*/ 21 h 83"/>
                <a:gd name="T26" fmla="*/ 52 w 66"/>
                <a:gd name="T27" fmla="*/ 34 h 83"/>
                <a:gd name="T28" fmla="*/ 52 w 66"/>
                <a:gd name="T29" fmla="*/ 83 h 83"/>
                <a:gd name="T30" fmla="*/ 66 w 66"/>
                <a:gd name="T31" fmla="*/ 83 h 83"/>
                <a:gd name="T32" fmla="*/ 66 w 66"/>
                <a:gd name="T33" fmla="*/ 33 h 83"/>
                <a:gd name="T34" fmla="*/ 65 w 66"/>
                <a:gd name="T35" fmla="*/ 20 h 83"/>
                <a:gd name="T36" fmla="*/ 61 w 66"/>
                <a:gd name="T37" fmla="*/ 10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6" h="83">
                  <a:moveTo>
                    <a:pt x="61" y="10"/>
                  </a:moveTo>
                  <a:cubicBezTo>
                    <a:pt x="59" y="7"/>
                    <a:pt x="56" y="5"/>
                    <a:pt x="52" y="3"/>
                  </a:cubicBezTo>
                  <a:cubicBezTo>
                    <a:pt x="48" y="1"/>
                    <a:pt x="43" y="0"/>
                    <a:pt x="38" y="0"/>
                  </a:cubicBezTo>
                  <a:cubicBezTo>
                    <a:pt x="27" y="0"/>
                    <a:pt x="18" y="5"/>
                    <a:pt x="12" y="14"/>
                  </a:cubicBezTo>
                  <a:cubicBezTo>
                    <a:pt x="12" y="2"/>
                    <a:pt x="12" y="2"/>
                    <a:pt x="12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83"/>
                    <a:pt x="0" y="83"/>
                    <a:pt x="0" y="83"/>
                  </a:cubicBezTo>
                  <a:cubicBezTo>
                    <a:pt x="14" y="83"/>
                    <a:pt x="14" y="83"/>
                    <a:pt x="14" y="83"/>
                  </a:cubicBezTo>
                  <a:cubicBezTo>
                    <a:pt x="14" y="39"/>
                    <a:pt x="14" y="39"/>
                    <a:pt x="14" y="39"/>
                  </a:cubicBezTo>
                  <a:cubicBezTo>
                    <a:pt x="14" y="29"/>
                    <a:pt x="16" y="21"/>
                    <a:pt x="20" y="18"/>
                  </a:cubicBezTo>
                  <a:cubicBezTo>
                    <a:pt x="25" y="14"/>
                    <a:pt x="30" y="12"/>
                    <a:pt x="35" y="12"/>
                  </a:cubicBezTo>
                  <a:cubicBezTo>
                    <a:pt x="39" y="12"/>
                    <a:pt x="42" y="13"/>
                    <a:pt x="45" y="15"/>
                  </a:cubicBezTo>
                  <a:cubicBezTo>
                    <a:pt x="48" y="16"/>
                    <a:pt x="50" y="19"/>
                    <a:pt x="51" y="21"/>
                  </a:cubicBezTo>
                  <a:cubicBezTo>
                    <a:pt x="52" y="24"/>
                    <a:pt x="52" y="28"/>
                    <a:pt x="52" y="34"/>
                  </a:cubicBezTo>
                  <a:cubicBezTo>
                    <a:pt x="52" y="83"/>
                    <a:pt x="52" y="83"/>
                    <a:pt x="52" y="83"/>
                  </a:cubicBezTo>
                  <a:cubicBezTo>
                    <a:pt x="66" y="83"/>
                    <a:pt x="66" y="83"/>
                    <a:pt x="66" y="83"/>
                  </a:cubicBezTo>
                  <a:cubicBezTo>
                    <a:pt x="66" y="33"/>
                    <a:pt x="66" y="33"/>
                    <a:pt x="66" y="33"/>
                  </a:cubicBezTo>
                  <a:cubicBezTo>
                    <a:pt x="66" y="27"/>
                    <a:pt x="66" y="23"/>
                    <a:pt x="65" y="20"/>
                  </a:cubicBezTo>
                  <a:cubicBezTo>
                    <a:pt x="65" y="16"/>
                    <a:pt x="63" y="13"/>
                    <a:pt x="61" y="1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 sz="1350"/>
            </a:p>
          </p:txBody>
        </p:sp>
      </p:grpSp>
      <p:sp>
        <p:nvSpPr>
          <p:cNvPr id="118" name="文本框 117"/>
          <p:cNvSpPr txBox="1"/>
          <p:nvPr userDrawn="1"/>
        </p:nvSpPr>
        <p:spPr>
          <a:xfrm>
            <a:off x="4107180" y="6441440"/>
            <a:ext cx="929640" cy="2527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zh-CN" altLang="en-US" sz="1050" spc="300" dirty="0">
                <a:gradFill>
                  <a:gsLst>
                    <a:gs pos="0">
                      <a:srgbClr val="A22B17">
                        <a:lumMod val="90000"/>
                        <a:lumOff val="10000"/>
                      </a:srgbClr>
                    </a:gs>
                    <a:gs pos="100000">
                      <a:srgbClr val="A22B17">
                        <a:alpha val="92000"/>
                        <a:lumMod val="75000"/>
                        <a:lumOff val="25000"/>
                      </a:srgbClr>
                    </a:gs>
                  </a:gsLst>
                  <a:lin ang="0" scaled="1"/>
                </a:gradFill>
                <a:latin typeface="优设标题黑" panose="00000500000000000000" pitchFamily="2" charset="-122"/>
                <a:ea typeface="优设标题黑" panose="00000500000000000000" pitchFamily="2" charset="-122"/>
              </a:rPr>
              <a:t>求实鼎新</a:t>
            </a:r>
            <a:endParaRPr lang="zh-CN" altLang="en-US" sz="1050" spc="300" dirty="0">
              <a:gradFill>
                <a:gsLst>
                  <a:gs pos="0">
                    <a:srgbClr val="A22B17">
                      <a:lumMod val="90000"/>
                      <a:lumOff val="10000"/>
                    </a:srgbClr>
                  </a:gs>
                  <a:gs pos="100000">
                    <a:srgbClr val="A22B17">
                      <a:alpha val="92000"/>
                      <a:lumMod val="75000"/>
                      <a:lumOff val="25000"/>
                    </a:srgbClr>
                  </a:gs>
                </a:gsLst>
                <a:lin ang="0" scaled="1"/>
              </a:gradFill>
              <a:latin typeface="优设标题黑" panose="00000500000000000000" pitchFamily="2" charset="-122"/>
              <a:ea typeface="优设标题黑" panose="00000500000000000000" pitchFamily="2" charset="-122"/>
            </a:endParaRPr>
          </a:p>
        </p:txBody>
      </p:sp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A-图片 14"/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0" y="1"/>
            <a:ext cx="9144000" cy="3429000"/>
          </a:xfrm>
          <a:custGeom>
            <a:avLst/>
            <a:gdLst>
              <a:gd name="connsiteX0" fmla="*/ 0 w 12192000"/>
              <a:gd name="connsiteY0" fmla="*/ 0 h 3429001"/>
              <a:gd name="connsiteX1" fmla="*/ 12192000 w 12192000"/>
              <a:gd name="connsiteY1" fmla="*/ 0 h 3429001"/>
              <a:gd name="connsiteX2" fmla="*/ 12192000 w 12192000"/>
              <a:gd name="connsiteY2" fmla="*/ 2925589 h 3429001"/>
              <a:gd name="connsiteX3" fmla="*/ 12119571 w 12192000"/>
              <a:gd name="connsiteY3" fmla="*/ 2939984 h 3429001"/>
              <a:gd name="connsiteX4" fmla="*/ 6096001 w 12192000"/>
              <a:gd name="connsiteY4" fmla="*/ 3429001 h 3429001"/>
              <a:gd name="connsiteX5" fmla="*/ 72430 w 12192000"/>
              <a:gd name="connsiteY5" fmla="*/ 2939984 h 3429001"/>
              <a:gd name="connsiteX6" fmla="*/ 0 w 12192000"/>
              <a:gd name="connsiteY6" fmla="*/ 2925589 h 3429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3429001">
                <a:moveTo>
                  <a:pt x="0" y="0"/>
                </a:moveTo>
                <a:lnTo>
                  <a:pt x="12192000" y="0"/>
                </a:lnTo>
                <a:lnTo>
                  <a:pt x="12192000" y="2925589"/>
                </a:lnTo>
                <a:lnTo>
                  <a:pt x="12119571" y="2939984"/>
                </a:lnTo>
                <a:cubicBezTo>
                  <a:pt x="10400109" y="3248724"/>
                  <a:pt x="8327268" y="3429001"/>
                  <a:pt x="6096001" y="3429001"/>
                </a:cubicBezTo>
                <a:cubicBezTo>
                  <a:pt x="3864735" y="3429001"/>
                  <a:pt x="1791894" y="3248724"/>
                  <a:pt x="72430" y="2939984"/>
                </a:cubicBezTo>
                <a:lnTo>
                  <a:pt x="0" y="2925589"/>
                </a:lnTo>
                <a:close/>
              </a:path>
            </a:pathLst>
          </a:custGeom>
        </p:spPr>
      </p:pic>
      <p:sp>
        <p:nvSpPr>
          <p:cNvPr id="4" name="PA-椭圆 7"/>
          <p:cNvSpPr/>
          <p:nvPr userDrawn="1">
            <p:custDataLst>
              <p:tags r:id="rId4"/>
            </p:custDataLst>
          </p:nvPr>
        </p:nvSpPr>
        <p:spPr>
          <a:xfrm>
            <a:off x="-3508130" y="-2297723"/>
            <a:ext cx="16160261" cy="5726723"/>
          </a:xfrm>
          <a:prstGeom prst="ellipse">
            <a:avLst/>
          </a:prstGeom>
          <a:gradFill flip="none" rotWithShape="1">
            <a:gsLst>
              <a:gs pos="0">
                <a:srgbClr val="A22B17">
                  <a:lumMod val="94000"/>
                  <a:lumOff val="6000"/>
                </a:srgbClr>
              </a:gs>
              <a:gs pos="100000">
                <a:srgbClr val="A22B17">
                  <a:alpha val="72000"/>
                  <a:lumMod val="85000"/>
                  <a:lumOff val="15000"/>
                </a:srgb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zh-CN" altLang="en-US" sz="1350" dirty="0"/>
          </a:p>
        </p:txBody>
      </p:sp>
      <p:grpSp>
        <p:nvGrpSpPr>
          <p:cNvPr id="119" name="组合 118"/>
          <p:cNvGrpSpPr/>
          <p:nvPr userDrawn="1"/>
        </p:nvGrpSpPr>
        <p:grpSpPr>
          <a:xfrm>
            <a:off x="4331279" y="636936"/>
            <a:ext cx="481443" cy="642498"/>
            <a:chOff x="5775038" y="636936"/>
            <a:chExt cx="641924" cy="642498"/>
          </a:xfrm>
        </p:grpSpPr>
        <p:grpSp>
          <p:nvGrpSpPr>
            <p:cNvPr id="120" name="组合 119"/>
            <p:cNvGrpSpPr/>
            <p:nvPr/>
          </p:nvGrpSpPr>
          <p:grpSpPr>
            <a:xfrm>
              <a:off x="5775038" y="636936"/>
              <a:ext cx="641924" cy="642498"/>
              <a:chOff x="1560409" y="2069897"/>
              <a:chExt cx="1776413" cy="1778000"/>
            </a:xfrm>
          </p:grpSpPr>
          <p:sp>
            <p:nvSpPr>
              <p:cNvPr id="179" name="îS1îḋé"/>
              <p:cNvSpPr/>
              <p:nvPr/>
            </p:nvSpPr>
            <p:spPr bwMode="auto">
              <a:xfrm>
                <a:off x="1560409" y="2069897"/>
                <a:ext cx="1776413" cy="1778000"/>
              </a:xfrm>
              <a:prstGeom prst="ellipse">
                <a:avLst/>
              </a:prstGeom>
              <a:noFill/>
              <a:ln w="15875" cap="flat">
                <a:solidFill>
                  <a:srgbClr val="F2C68E"/>
                </a:solidFill>
                <a:prstDash val="solid"/>
                <a:miter lim="800000"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180" name="îṣḷïďé"/>
              <p:cNvSpPr/>
              <p:nvPr/>
            </p:nvSpPr>
            <p:spPr bwMode="auto">
              <a:xfrm>
                <a:off x="1779484" y="2288972"/>
                <a:ext cx="1336675" cy="1338263"/>
              </a:xfrm>
              <a:prstGeom prst="ellipse">
                <a:avLst/>
              </a:prstGeom>
              <a:noFill/>
              <a:ln w="9525" cap="flat">
                <a:solidFill>
                  <a:srgbClr val="F2C68E"/>
                </a:solidFill>
                <a:prstDash val="solid"/>
                <a:miter lim="800000"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</p:grpSp>
        <p:grpSp>
          <p:nvGrpSpPr>
            <p:cNvPr id="121" name="组合 120"/>
            <p:cNvGrpSpPr/>
            <p:nvPr/>
          </p:nvGrpSpPr>
          <p:grpSpPr>
            <a:xfrm>
              <a:off x="5804581" y="657875"/>
              <a:ext cx="582837" cy="600621"/>
              <a:chOff x="1641372" y="4491628"/>
              <a:chExt cx="1612900" cy="1662113"/>
            </a:xfrm>
            <a:solidFill>
              <a:srgbClr val="F2C68E"/>
            </a:solidFill>
          </p:grpSpPr>
          <p:sp>
            <p:nvSpPr>
              <p:cNvPr id="122" name="ïś1íďê"/>
              <p:cNvSpPr/>
              <p:nvPr/>
            </p:nvSpPr>
            <p:spPr bwMode="auto">
              <a:xfrm>
                <a:off x="2889147" y="4701178"/>
                <a:ext cx="153988" cy="138113"/>
              </a:xfrm>
              <a:custGeom>
                <a:avLst/>
                <a:gdLst>
                  <a:gd name="T0" fmla="*/ 62 w 83"/>
                  <a:gd name="T1" fmla="*/ 8 h 75"/>
                  <a:gd name="T2" fmla="*/ 53 w 83"/>
                  <a:gd name="T3" fmla="*/ 10 h 75"/>
                  <a:gd name="T4" fmla="*/ 57 w 83"/>
                  <a:gd name="T5" fmla="*/ 0 h 75"/>
                  <a:gd name="T6" fmla="*/ 44 w 83"/>
                  <a:gd name="T7" fmla="*/ 21 h 75"/>
                  <a:gd name="T8" fmla="*/ 58 w 83"/>
                  <a:gd name="T9" fmla="*/ 11 h 75"/>
                  <a:gd name="T10" fmla="*/ 54 w 83"/>
                  <a:gd name="T11" fmla="*/ 18 h 75"/>
                  <a:gd name="T12" fmla="*/ 28 w 83"/>
                  <a:gd name="T13" fmla="*/ 18 h 75"/>
                  <a:gd name="T14" fmla="*/ 19 w 83"/>
                  <a:gd name="T15" fmla="*/ 17 h 75"/>
                  <a:gd name="T16" fmla="*/ 25 w 83"/>
                  <a:gd name="T17" fmla="*/ 12 h 75"/>
                  <a:gd name="T18" fmla="*/ 1 w 83"/>
                  <a:gd name="T19" fmla="*/ 30 h 75"/>
                  <a:gd name="T20" fmla="*/ 13 w 83"/>
                  <a:gd name="T21" fmla="*/ 24 h 75"/>
                  <a:gd name="T22" fmla="*/ 36 w 83"/>
                  <a:gd name="T23" fmla="*/ 28 h 75"/>
                  <a:gd name="T24" fmla="*/ 22 w 83"/>
                  <a:gd name="T25" fmla="*/ 35 h 75"/>
                  <a:gd name="T26" fmla="*/ 45 w 83"/>
                  <a:gd name="T27" fmla="*/ 41 h 75"/>
                  <a:gd name="T28" fmla="*/ 42 w 83"/>
                  <a:gd name="T29" fmla="*/ 41 h 75"/>
                  <a:gd name="T30" fmla="*/ 35 w 83"/>
                  <a:gd name="T31" fmla="*/ 40 h 75"/>
                  <a:gd name="T32" fmla="*/ 37 w 83"/>
                  <a:gd name="T33" fmla="*/ 45 h 75"/>
                  <a:gd name="T34" fmla="*/ 12 w 83"/>
                  <a:gd name="T35" fmla="*/ 34 h 75"/>
                  <a:gd name="T36" fmla="*/ 9 w 83"/>
                  <a:gd name="T37" fmla="*/ 35 h 75"/>
                  <a:gd name="T38" fmla="*/ 20 w 83"/>
                  <a:gd name="T39" fmla="*/ 64 h 75"/>
                  <a:gd name="T40" fmla="*/ 0 w 83"/>
                  <a:gd name="T41" fmla="*/ 57 h 75"/>
                  <a:gd name="T42" fmla="*/ 35 w 83"/>
                  <a:gd name="T43" fmla="*/ 58 h 75"/>
                  <a:gd name="T44" fmla="*/ 46 w 83"/>
                  <a:gd name="T45" fmla="*/ 57 h 75"/>
                  <a:gd name="T46" fmla="*/ 42 w 83"/>
                  <a:gd name="T47" fmla="*/ 48 h 75"/>
                  <a:gd name="T48" fmla="*/ 62 w 83"/>
                  <a:gd name="T49" fmla="*/ 57 h 75"/>
                  <a:gd name="T50" fmla="*/ 61 w 83"/>
                  <a:gd name="T51" fmla="*/ 35 h 75"/>
                  <a:gd name="T52" fmla="*/ 62 w 83"/>
                  <a:gd name="T53" fmla="*/ 34 h 75"/>
                  <a:gd name="T54" fmla="*/ 66 w 83"/>
                  <a:gd name="T55" fmla="*/ 16 h 75"/>
                  <a:gd name="T56" fmla="*/ 63 w 83"/>
                  <a:gd name="T57" fmla="*/ 44 h 75"/>
                  <a:gd name="T58" fmla="*/ 54 w 83"/>
                  <a:gd name="T59" fmla="*/ 32 h 75"/>
                  <a:gd name="T60" fmla="*/ 60 w 83"/>
                  <a:gd name="T61" fmla="*/ 27 h 75"/>
                  <a:gd name="T62" fmla="*/ 67 w 83"/>
                  <a:gd name="T63" fmla="*/ 18 h 75"/>
                  <a:gd name="T64" fmla="*/ 77 w 83"/>
                  <a:gd name="T65" fmla="*/ 23 h 75"/>
                  <a:gd name="T66" fmla="*/ 60 w 83"/>
                  <a:gd name="T67" fmla="*/ 27 h 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83" h="75">
                    <a:moveTo>
                      <a:pt x="66" y="16"/>
                    </a:moveTo>
                    <a:cubicBezTo>
                      <a:pt x="65" y="13"/>
                      <a:pt x="63" y="11"/>
                      <a:pt x="62" y="8"/>
                    </a:cubicBezTo>
                    <a:cubicBezTo>
                      <a:pt x="59" y="9"/>
                      <a:pt x="57" y="9"/>
                      <a:pt x="54" y="10"/>
                    </a:cubicBezTo>
                    <a:cubicBezTo>
                      <a:pt x="54" y="10"/>
                      <a:pt x="53" y="10"/>
                      <a:pt x="53" y="10"/>
                    </a:cubicBezTo>
                    <a:cubicBezTo>
                      <a:pt x="54" y="7"/>
                      <a:pt x="57" y="6"/>
                      <a:pt x="59" y="3"/>
                    </a:cubicBezTo>
                    <a:cubicBezTo>
                      <a:pt x="58" y="2"/>
                      <a:pt x="58" y="1"/>
                      <a:pt x="57" y="0"/>
                    </a:cubicBezTo>
                    <a:cubicBezTo>
                      <a:pt x="48" y="1"/>
                      <a:pt x="37" y="9"/>
                      <a:pt x="42" y="19"/>
                    </a:cubicBezTo>
                    <a:cubicBezTo>
                      <a:pt x="42" y="19"/>
                      <a:pt x="43" y="20"/>
                      <a:pt x="44" y="21"/>
                    </a:cubicBezTo>
                    <a:cubicBezTo>
                      <a:pt x="47" y="19"/>
                      <a:pt x="48" y="15"/>
                      <a:pt x="51" y="14"/>
                    </a:cubicBezTo>
                    <a:cubicBezTo>
                      <a:pt x="53" y="13"/>
                      <a:pt x="55" y="13"/>
                      <a:pt x="58" y="11"/>
                    </a:cubicBezTo>
                    <a:cubicBezTo>
                      <a:pt x="58" y="11"/>
                      <a:pt x="59" y="11"/>
                      <a:pt x="59" y="11"/>
                    </a:cubicBezTo>
                    <a:cubicBezTo>
                      <a:pt x="57" y="14"/>
                      <a:pt x="56" y="16"/>
                      <a:pt x="54" y="18"/>
                    </a:cubicBezTo>
                    <a:cubicBezTo>
                      <a:pt x="54" y="21"/>
                      <a:pt x="55" y="24"/>
                      <a:pt x="54" y="27"/>
                    </a:cubicBezTo>
                    <a:cubicBezTo>
                      <a:pt x="54" y="27"/>
                      <a:pt x="30" y="18"/>
                      <a:pt x="28" y="18"/>
                    </a:cubicBezTo>
                    <a:cubicBezTo>
                      <a:pt x="25" y="17"/>
                      <a:pt x="22" y="17"/>
                      <a:pt x="20" y="17"/>
                    </a:cubicBezTo>
                    <a:cubicBezTo>
                      <a:pt x="19" y="17"/>
                      <a:pt x="19" y="17"/>
                      <a:pt x="19" y="17"/>
                    </a:cubicBezTo>
                    <a:cubicBezTo>
                      <a:pt x="22" y="15"/>
                      <a:pt x="23" y="15"/>
                      <a:pt x="25" y="13"/>
                    </a:cubicBezTo>
                    <a:cubicBezTo>
                      <a:pt x="25" y="12"/>
                      <a:pt x="25" y="12"/>
                      <a:pt x="25" y="12"/>
                    </a:cubicBezTo>
                    <a:cubicBezTo>
                      <a:pt x="18" y="12"/>
                      <a:pt x="11" y="16"/>
                      <a:pt x="4" y="18"/>
                    </a:cubicBezTo>
                    <a:cubicBezTo>
                      <a:pt x="0" y="22"/>
                      <a:pt x="0" y="25"/>
                      <a:pt x="1" y="30"/>
                    </a:cubicBezTo>
                    <a:cubicBezTo>
                      <a:pt x="3" y="31"/>
                      <a:pt x="3" y="31"/>
                      <a:pt x="3" y="31"/>
                    </a:cubicBezTo>
                    <a:cubicBezTo>
                      <a:pt x="6" y="29"/>
                      <a:pt x="9" y="26"/>
                      <a:pt x="13" y="24"/>
                    </a:cubicBezTo>
                    <a:cubicBezTo>
                      <a:pt x="19" y="20"/>
                      <a:pt x="30" y="22"/>
                      <a:pt x="37" y="27"/>
                    </a:cubicBezTo>
                    <a:cubicBezTo>
                      <a:pt x="37" y="28"/>
                      <a:pt x="36" y="28"/>
                      <a:pt x="36" y="28"/>
                    </a:cubicBezTo>
                    <a:cubicBezTo>
                      <a:pt x="31" y="29"/>
                      <a:pt x="28" y="28"/>
                      <a:pt x="22" y="32"/>
                    </a:cubicBezTo>
                    <a:cubicBezTo>
                      <a:pt x="22" y="33"/>
                      <a:pt x="22" y="34"/>
                      <a:pt x="22" y="35"/>
                    </a:cubicBezTo>
                    <a:cubicBezTo>
                      <a:pt x="22" y="37"/>
                      <a:pt x="22" y="37"/>
                      <a:pt x="24" y="39"/>
                    </a:cubicBezTo>
                    <a:cubicBezTo>
                      <a:pt x="31" y="37"/>
                      <a:pt x="37" y="36"/>
                      <a:pt x="45" y="41"/>
                    </a:cubicBezTo>
                    <a:cubicBezTo>
                      <a:pt x="44" y="41"/>
                      <a:pt x="44" y="41"/>
                      <a:pt x="44" y="41"/>
                    </a:cubicBezTo>
                    <a:cubicBezTo>
                      <a:pt x="43" y="41"/>
                      <a:pt x="42" y="41"/>
                      <a:pt x="42" y="41"/>
                    </a:cubicBezTo>
                    <a:cubicBezTo>
                      <a:pt x="41" y="40"/>
                      <a:pt x="40" y="39"/>
                      <a:pt x="39" y="39"/>
                    </a:cubicBezTo>
                    <a:cubicBezTo>
                      <a:pt x="37" y="41"/>
                      <a:pt x="37" y="41"/>
                      <a:pt x="35" y="40"/>
                    </a:cubicBezTo>
                    <a:cubicBezTo>
                      <a:pt x="35" y="40"/>
                      <a:pt x="34" y="41"/>
                      <a:pt x="34" y="41"/>
                    </a:cubicBezTo>
                    <a:cubicBezTo>
                      <a:pt x="35" y="43"/>
                      <a:pt x="35" y="43"/>
                      <a:pt x="37" y="45"/>
                    </a:cubicBezTo>
                    <a:cubicBezTo>
                      <a:pt x="36" y="46"/>
                      <a:pt x="36" y="47"/>
                      <a:pt x="35" y="48"/>
                    </a:cubicBezTo>
                    <a:cubicBezTo>
                      <a:pt x="27" y="44"/>
                      <a:pt x="20" y="40"/>
                      <a:pt x="12" y="34"/>
                    </a:cubicBezTo>
                    <a:cubicBezTo>
                      <a:pt x="11" y="34"/>
                      <a:pt x="11" y="34"/>
                      <a:pt x="10" y="34"/>
                    </a:cubicBezTo>
                    <a:cubicBezTo>
                      <a:pt x="9" y="34"/>
                      <a:pt x="9" y="35"/>
                      <a:pt x="9" y="35"/>
                    </a:cubicBezTo>
                    <a:cubicBezTo>
                      <a:pt x="11" y="55"/>
                      <a:pt x="20" y="44"/>
                      <a:pt x="31" y="54"/>
                    </a:cubicBezTo>
                    <a:cubicBezTo>
                      <a:pt x="27" y="58"/>
                      <a:pt x="23" y="61"/>
                      <a:pt x="20" y="64"/>
                    </a:cubicBezTo>
                    <a:cubicBezTo>
                      <a:pt x="15" y="63"/>
                      <a:pt x="6" y="55"/>
                      <a:pt x="1" y="56"/>
                    </a:cubicBezTo>
                    <a:cubicBezTo>
                      <a:pt x="1" y="56"/>
                      <a:pt x="1" y="56"/>
                      <a:pt x="0" y="57"/>
                    </a:cubicBezTo>
                    <a:cubicBezTo>
                      <a:pt x="2" y="62"/>
                      <a:pt x="7" y="67"/>
                      <a:pt x="9" y="72"/>
                    </a:cubicBezTo>
                    <a:cubicBezTo>
                      <a:pt x="17" y="75"/>
                      <a:pt x="26" y="66"/>
                      <a:pt x="35" y="58"/>
                    </a:cubicBezTo>
                    <a:cubicBezTo>
                      <a:pt x="37" y="60"/>
                      <a:pt x="39" y="63"/>
                      <a:pt x="42" y="65"/>
                    </a:cubicBezTo>
                    <a:cubicBezTo>
                      <a:pt x="46" y="63"/>
                      <a:pt x="46" y="60"/>
                      <a:pt x="46" y="57"/>
                    </a:cubicBezTo>
                    <a:cubicBezTo>
                      <a:pt x="45" y="54"/>
                      <a:pt x="43" y="53"/>
                      <a:pt x="40" y="50"/>
                    </a:cubicBezTo>
                    <a:cubicBezTo>
                      <a:pt x="41" y="49"/>
                      <a:pt x="42" y="48"/>
                      <a:pt x="42" y="48"/>
                    </a:cubicBezTo>
                    <a:cubicBezTo>
                      <a:pt x="46" y="48"/>
                      <a:pt x="49" y="48"/>
                      <a:pt x="53" y="46"/>
                    </a:cubicBezTo>
                    <a:cubicBezTo>
                      <a:pt x="56" y="49"/>
                      <a:pt x="59" y="53"/>
                      <a:pt x="62" y="57"/>
                    </a:cubicBezTo>
                    <a:cubicBezTo>
                      <a:pt x="65" y="56"/>
                      <a:pt x="68" y="55"/>
                      <a:pt x="70" y="52"/>
                    </a:cubicBezTo>
                    <a:cubicBezTo>
                      <a:pt x="72" y="47"/>
                      <a:pt x="66" y="40"/>
                      <a:pt x="61" y="35"/>
                    </a:cubicBezTo>
                    <a:cubicBezTo>
                      <a:pt x="61" y="35"/>
                      <a:pt x="61" y="35"/>
                      <a:pt x="61" y="35"/>
                    </a:cubicBezTo>
                    <a:cubicBezTo>
                      <a:pt x="62" y="34"/>
                      <a:pt x="62" y="34"/>
                      <a:pt x="62" y="34"/>
                    </a:cubicBezTo>
                    <a:cubicBezTo>
                      <a:pt x="69" y="34"/>
                      <a:pt x="72" y="37"/>
                      <a:pt x="79" y="32"/>
                    </a:cubicBezTo>
                    <a:cubicBezTo>
                      <a:pt x="83" y="17"/>
                      <a:pt x="74" y="21"/>
                      <a:pt x="66" y="16"/>
                    </a:cubicBezTo>
                    <a:close/>
                    <a:moveTo>
                      <a:pt x="63" y="44"/>
                    </a:moveTo>
                    <a:cubicBezTo>
                      <a:pt x="63" y="44"/>
                      <a:pt x="63" y="44"/>
                      <a:pt x="63" y="44"/>
                    </a:cubicBezTo>
                    <a:cubicBezTo>
                      <a:pt x="55" y="42"/>
                      <a:pt x="46" y="34"/>
                      <a:pt x="38" y="32"/>
                    </a:cubicBezTo>
                    <a:cubicBezTo>
                      <a:pt x="43" y="28"/>
                      <a:pt x="48" y="31"/>
                      <a:pt x="54" y="32"/>
                    </a:cubicBezTo>
                    <a:cubicBezTo>
                      <a:pt x="57" y="36"/>
                      <a:pt x="60" y="40"/>
                      <a:pt x="63" y="44"/>
                    </a:cubicBezTo>
                    <a:close/>
                    <a:moveTo>
                      <a:pt x="60" y="27"/>
                    </a:moveTo>
                    <a:cubicBezTo>
                      <a:pt x="60" y="27"/>
                      <a:pt x="60" y="26"/>
                      <a:pt x="59" y="26"/>
                    </a:cubicBezTo>
                    <a:cubicBezTo>
                      <a:pt x="61" y="23"/>
                      <a:pt x="63" y="20"/>
                      <a:pt x="67" y="18"/>
                    </a:cubicBezTo>
                    <a:cubicBezTo>
                      <a:pt x="69" y="19"/>
                      <a:pt x="71" y="19"/>
                      <a:pt x="74" y="20"/>
                    </a:cubicBezTo>
                    <a:cubicBezTo>
                      <a:pt x="75" y="21"/>
                      <a:pt x="76" y="22"/>
                      <a:pt x="77" y="23"/>
                    </a:cubicBezTo>
                    <a:cubicBezTo>
                      <a:pt x="77" y="24"/>
                      <a:pt x="77" y="24"/>
                      <a:pt x="77" y="25"/>
                    </a:cubicBezTo>
                    <a:cubicBezTo>
                      <a:pt x="72" y="29"/>
                      <a:pt x="66" y="27"/>
                      <a:pt x="60" y="2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123" name="ïṩḻîḓé"/>
              <p:cNvSpPr/>
              <p:nvPr/>
            </p:nvSpPr>
            <p:spPr bwMode="auto">
              <a:xfrm>
                <a:off x="2728809" y="4582115"/>
                <a:ext cx="101600" cy="147638"/>
              </a:xfrm>
              <a:custGeom>
                <a:avLst/>
                <a:gdLst>
                  <a:gd name="T0" fmla="*/ 47 w 55"/>
                  <a:gd name="T1" fmla="*/ 0 h 80"/>
                  <a:gd name="T2" fmla="*/ 49 w 55"/>
                  <a:gd name="T3" fmla="*/ 20 h 80"/>
                  <a:gd name="T4" fmla="*/ 51 w 55"/>
                  <a:gd name="T5" fmla="*/ 34 h 80"/>
                  <a:gd name="T6" fmla="*/ 28 w 55"/>
                  <a:gd name="T7" fmla="*/ 38 h 80"/>
                  <a:gd name="T8" fmla="*/ 41 w 55"/>
                  <a:gd name="T9" fmla="*/ 68 h 80"/>
                  <a:gd name="T10" fmla="*/ 25 w 55"/>
                  <a:gd name="T11" fmla="*/ 74 h 80"/>
                  <a:gd name="T12" fmla="*/ 26 w 55"/>
                  <a:gd name="T13" fmla="*/ 39 h 80"/>
                  <a:gd name="T14" fmla="*/ 23 w 55"/>
                  <a:gd name="T15" fmla="*/ 40 h 80"/>
                  <a:gd name="T16" fmla="*/ 7 w 55"/>
                  <a:gd name="T17" fmla="*/ 54 h 80"/>
                  <a:gd name="T18" fmla="*/ 0 w 55"/>
                  <a:gd name="T19" fmla="*/ 43 h 80"/>
                  <a:gd name="T20" fmla="*/ 14 w 55"/>
                  <a:gd name="T21" fmla="*/ 28 h 80"/>
                  <a:gd name="T22" fmla="*/ 6 w 55"/>
                  <a:gd name="T23" fmla="*/ 15 h 80"/>
                  <a:gd name="T24" fmla="*/ 7 w 55"/>
                  <a:gd name="T25" fmla="*/ 15 h 80"/>
                  <a:gd name="T26" fmla="*/ 26 w 55"/>
                  <a:gd name="T27" fmla="*/ 18 h 80"/>
                  <a:gd name="T28" fmla="*/ 47 w 55"/>
                  <a:gd name="T29" fmla="*/ 0 h 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55" h="80">
                    <a:moveTo>
                      <a:pt x="47" y="0"/>
                    </a:moveTo>
                    <a:cubicBezTo>
                      <a:pt x="55" y="7"/>
                      <a:pt x="49" y="11"/>
                      <a:pt x="49" y="20"/>
                    </a:cubicBezTo>
                    <a:cubicBezTo>
                      <a:pt x="49" y="25"/>
                      <a:pt x="55" y="25"/>
                      <a:pt x="51" y="34"/>
                    </a:cubicBezTo>
                    <a:cubicBezTo>
                      <a:pt x="44" y="37"/>
                      <a:pt x="34" y="32"/>
                      <a:pt x="28" y="38"/>
                    </a:cubicBezTo>
                    <a:cubicBezTo>
                      <a:pt x="38" y="44"/>
                      <a:pt x="45" y="59"/>
                      <a:pt x="41" y="68"/>
                    </a:cubicBezTo>
                    <a:cubicBezTo>
                      <a:pt x="39" y="74"/>
                      <a:pt x="28" y="80"/>
                      <a:pt x="25" y="74"/>
                    </a:cubicBezTo>
                    <a:cubicBezTo>
                      <a:pt x="19" y="62"/>
                      <a:pt x="39" y="55"/>
                      <a:pt x="26" y="39"/>
                    </a:cubicBezTo>
                    <a:cubicBezTo>
                      <a:pt x="25" y="39"/>
                      <a:pt x="25" y="39"/>
                      <a:pt x="23" y="40"/>
                    </a:cubicBezTo>
                    <a:cubicBezTo>
                      <a:pt x="17" y="44"/>
                      <a:pt x="14" y="52"/>
                      <a:pt x="7" y="54"/>
                    </a:cubicBezTo>
                    <a:cubicBezTo>
                      <a:pt x="2" y="51"/>
                      <a:pt x="2" y="48"/>
                      <a:pt x="0" y="43"/>
                    </a:cubicBezTo>
                    <a:cubicBezTo>
                      <a:pt x="3" y="39"/>
                      <a:pt x="14" y="30"/>
                      <a:pt x="14" y="28"/>
                    </a:cubicBezTo>
                    <a:cubicBezTo>
                      <a:pt x="14" y="25"/>
                      <a:pt x="7" y="19"/>
                      <a:pt x="6" y="15"/>
                    </a:cubicBezTo>
                    <a:cubicBezTo>
                      <a:pt x="6" y="15"/>
                      <a:pt x="7" y="15"/>
                      <a:pt x="7" y="15"/>
                    </a:cubicBezTo>
                    <a:cubicBezTo>
                      <a:pt x="13" y="15"/>
                      <a:pt x="20" y="18"/>
                      <a:pt x="26" y="18"/>
                    </a:cubicBezTo>
                    <a:cubicBezTo>
                      <a:pt x="34" y="17"/>
                      <a:pt x="41" y="5"/>
                      <a:pt x="47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124" name="išḷïḓe"/>
              <p:cNvSpPr/>
              <p:nvPr/>
            </p:nvSpPr>
            <p:spPr bwMode="auto">
              <a:xfrm>
                <a:off x="2490684" y="4510678"/>
                <a:ext cx="144463" cy="160338"/>
              </a:xfrm>
              <a:custGeom>
                <a:avLst/>
                <a:gdLst>
                  <a:gd name="T0" fmla="*/ 55 w 78"/>
                  <a:gd name="T1" fmla="*/ 64 h 87"/>
                  <a:gd name="T2" fmla="*/ 62 w 78"/>
                  <a:gd name="T3" fmla="*/ 50 h 87"/>
                  <a:gd name="T4" fmla="*/ 54 w 78"/>
                  <a:gd name="T5" fmla="*/ 43 h 87"/>
                  <a:gd name="T6" fmla="*/ 69 w 78"/>
                  <a:gd name="T7" fmla="*/ 29 h 87"/>
                  <a:gd name="T8" fmla="*/ 67 w 78"/>
                  <a:gd name="T9" fmla="*/ 21 h 87"/>
                  <a:gd name="T10" fmla="*/ 70 w 78"/>
                  <a:gd name="T11" fmla="*/ 11 h 87"/>
                  <a:gd name="T12" fmla="*/ 69 w 78"/>
                  <a:gd name="T13" fmla="*/ 3 h 87"/>
                  <a:gd name="T14" fmla="*/ 64 w 78"/>
                  <a:gd name="T15" fmla="*/ 0 h 87"/>
                  <a:gd name="T16" fmla="*/ 63 w 78"/>
                  <a:gd name="T17" fmla="*/ 0 h 87"/>
                  <a:gd name="T18" fmla="*/ 63 w 78"/>
                  <a:gd name="T19" fmla="*/ 12 h 87"/>
                  <a:gd name="T20" fmla="*/ 42 w 78"/>
                  <a:gd name="T21" fmla="*/ 25 h 87"/>
                  <a:gd name="T22" fmla="*/ 42 w 78"/>
                  <a:gd name="T23" fmla="*/ 33 h 87"/>
                  <a:gd name="T24" fmla="*/ 33 w 78"/>
                  <a:gd name="T25" fmla="*/ 36 h 87"/>
                  <a:gd name="T26" fmla="*/ 39 w 78"/>
                  <a:gd name="T27" fmla="*/ 33 h 87"/>
                  <a:gd name="T28" fmla="*/ 39 w 78"/>
                  <a:gd name="T29" fmla="*/ 23 h 87"/>
                  <a:gd name="T30" fmla="*/ 36 w 78"/>
                  <a:gd name="T31" fmla="*/ 0 h 87"/>
                  <a:gd name="T32" fmla="*/ 36 w 78"/>
                  <a:gd name="T33" fmla="*/ 0 h 87"/>
                  <a:gd name="T34" fmla="*/ 36 w 78"/>
                  <a:gd name="T35" fmla="*/ 8 h 87"/>
                  <a:gd name="T36" fmla="*/ 30 w 78"/>
                  <a:gd name="T37" fmla="*/ 24 h 87"/>
                  <a:gd name="T38" fmla="*/ 1 w 78"/>
                  <a:gd name="T39" fmla="*/ 29 h 87"/>
                  <a:gd name="T40" fmla="*/ 0 w 78"/>
                  <a:gd name="T41" fmla="*/ 31 h 87"/>
                  <a:gd name="T42" fmla="*/ 18 w 78"/>
                  <a:gd name="T43" fmla="*/ 39 h 87"/>
                  <a:gd name="T44" fmla="*/ 25 w 78"/>
                  <a:gd name="T45" fmla="*/ 36 h 87"/>
                  <a:gd name="T46" fmla="*/ 25 w 78"/>
                  <a:gd name="T47" fmla="*/ 36 h 87"/>
                  <a:gd name="T48" fmla="*/ 3 w 78"/>
                  <a:gd name="T49" fmla="*/ 62 h 87"/>
                  <a:gd name="T50" fmla="*/ 5 w 78"/>
                  <a:gd name="T51" fmla="*/ 67 h 87"/>
                  <a:gd name="T52" fmla="*/ 12 w 78"/>
                  <a:gd name="T53" fmla="*/ 66 h 87"/>
                  <a:gd name="T54" fmla="*/ 22 w 78"/>
                  <a:gd name="T55" fmla="*/ 74 h 87"/>
                  <a:gd name="T56" fmla="*/ 25 w 78"/>
                  <a:gd name="T57" fmla="*/ 61 h 87"/>
                  <a:gd name="T58" fmla="*/ 30 w 78"/>
                  <a:gd name="T59" fmla="*/ 49 h 87"/>
                  <a:gd name="T60" fmla="*/ 48 w 78"/>
                  <a:gd name="T61" fmla="*/ 63 h 87"/>
                  <a:gd name="T62" fmla="*/ 24 w 78"/>
                  <a:gd name="T63" fmla="*/ 71 h 87"/>
                  <a:gd name="T64" fmla="*/ 48 w 78"/>
                  <a:gd name="T65" fmla="*/ 71 h 87"/>
                  <a:gd name="T66" fmla="*/ 51 w 78"/>
                  <a:gd name="T67" fmla="*/ 69 h 87"/>
                  <a:gd name="T68" fmla="*/ 77 w 78"/>
                  <a:gd name="T69" fmla="*/ 87 h 87"/>
                  <a:gd name="T70" fmla="*/ 78 w 78"/>
                  <a:gd name="T71" fmla="*/ 86 h 87"/>
                  <a:gd name="T72" fmla="*/ 55 w 78"/>
                  <a:gd name="T73" fmla="*/ 64 h 87"/>
                  <a:gd name="T74" fmla="*/ 15 w 78"/>
                  <a:gd name="T75" fmla="*/ 64 h 87"/>
                  <a:gd name="T76" fmla="*/ 15 w 78"/>
                  <a:gd name="T77" fmla="*/ 65 h 87"/>
                  <a:gd name="T78" fmla="*/ 11 w 78"/>
                  <a:gd name="T79" fmla="*/ 63 h 87"/>
                  <a:gd name="T80" fmla="*/ 12 w 78"/>
                  <a:gd name="T81" fmla="*/ 60 h 87"/>
                  <a:gd name="T82" fmla="*/ 15 w 78"/>
                  <a:gd name="T83" fmla="*/ 57 h 87"/>
                  <a:gd name="T84" fmla="*/ 17 w 78"/>
                  <a:gd name="T85" fmla="*/ 58 h 87"/>
                  <a:gd name="T86" fmla="*/ 15 w 78"/>
                  <a:gd name="T87" fmla="*/ 64 h 87"/>
                  <a:gd name="T88" fmla="*/ 32 w 78"/>
                  <a:gd name="T89" fmla="*/ 46 h 87"/>
                  <a:gd name="T90" fmla="*/ 44 w 78"/>
                  <a:gd name="T91" fmla="*/ 34 h 87"/>
                  <a:gd name="T92" fmla="*/ 52 w 78"/>
                  <a:gd name="T93" fmla="*/ 35 h 87"/>
                  <a:gd name="T94" fmla="*/ 46 w 78"/>
                  <a:gd name="T95" fmla="*/ 50 h 87"/>
                  <a:gd name="T96" fmla="*/ 48 w 78"/>
                  <a:gd name="T97" fmla="*/ 52 h 87"/>
                  <a:gd name="T98" fmla="*/ 56 w 78"/>
                  <a:gd name="T99" fmla="*/ 50 h 87"/>
                  <a:gd name="T100" fmla="*/ 52 w 78"/>
                  <a:gd name="T101" fmla="*/ 61 h 87"/>
                  <a:gd name="T102" fmla="*/ 32 w 78"/>
                  <a:gd name="T103" fmla="*/ 46 h 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78" h="87">
                    <a:moveTo>
                      <a:pt x="55" y="64"/>
                    </a:moveTo>
                    <a:cubicBezTo>
                      <a:pt x="58" y="60"/>
                      <a:pt x="60" y="55"/>
                      <a:pt x="62" y="50"/>
                    </a:cubicBezTo>
                    <a:cubicBezTo>
                      <a:pt x="61" y="47"/>
                      <a:pt x="58" y="44"/>
                      <a:pt x="54" y="43"/>
                    </a:cubicBezTo>
                    <a:cubicBezTo>
                      <a:pt x="57" y="36"/>
                      <a:pt x="64" y="33"/>
                      <a:pt x="69" y="29"/>
                    </a:cubicBezTo>
                    <a:cubicBezTo>
                      <a:pt x="69" y="25"/>
                      <a:pt x="67" y="24"/>
                      <a:pt x="67" y="21"/>
                    </a:cubicBezTo>
                    <a:cubicBezTo>
                      <a:pt x="68" y="18"/>
                      <a:pt x="69" y="15"/>
                      <a:pt x="70" y="11"/>
                    </a:cubicBezTo>
                    <a:cubicBezTo>
                      <a:pt x="70" y="9"/>
                      <a:pt x="69" y="6"/>
                      <a:pt x="69" y="3"/>
                    </a:cubicBezTo>
                    <a:cubicBezTo>
                      <a:pt x="68" y="2"/>
                      <a:pt x="67" y="1"/>
                      <a:pt x="64" y="0"/>
                    </a:cubicBezTo>
                    <a:cubicBezTo>
                      <a:pt x="64" y="0"/>
                      <a:pt x="63" y="0"/>
                      <a:pt x="63" y="0"/>
                    </a:cubicBezTo>
                    <a:cubicBezTo>
                      <a:pt x="61" y="5"/>
                      <a:pt x="63" y="8"/>
                      <a:pt x="63" y="12"/>
                    </a:cubicBezTo>
                    <a:cubicBezTo>
                      <a:pt x="63" y="24"/>
                      <a:pt x="52" y="26"/>
                      <a:pt x="42" y="25"/>
                    </a:cubicBezTo>
                    <a:cubicBezTo>
                      <a:pt x="41" y="28"/>
                      <a:pt x="41" y="31"/>
                      <a:pt x="42" y="33"/>
                    </a:cubicBezTo>
                    <a:cubicBezTo>
                      <a:pt x="39" y="34"/>
                      <a:pt x="36" y="35"/>
                      <a:pt x="33" y="36"/>
                    </a:cubicBezTo>
                    <a:cubicBezTo>
                      <a:pt x="34" y="32"/>
                      <a:pt x="36" y="32"/>
                      <a:pt x="39" y="33"/>
                    </a:cubicBezTo>
                    <a:cubicBezTo>
                      <a:pt x="41" y="29"/>
                      <a:pt x="38" y="27"/>
                      <a:pt x="39" y="23"/>
                    </a:cubicBezTo>
                    <a:cubicBezTo>
                      <a:pt x="39" y="14"/>
                      <a:pt x="53" y="6"/>
                      <a:pt x="36" y="0"/>
                    </a:cubicBezTo>
                    <a:cubicBezTo>
                      <a:pt x="36" y="0"/>
                      <a:pt x="36" y="0"/>
                      <a:pt x="36" y="0"/>
                    </a:cubicBezTo>
                    <a:cubicBezTo>
                      <a:pt x="35" y="3"/>
                      <a:pt x="36" y="5"/>
                      <a:pt x="36" y="8"/>
                    </a:cubicBezTo>
                    <a:cubicBezTo>
                      <a:pt x="34" y="14"/>
                      <a:pt x="32" y="19"/>
                      <a:pt x="30" y="24"/>
                    </a:cubicBezTo>
                    <a:cubicBezTo>
                      <a:pt x="22" y="26"/>
                      <a:pt x="9" y="26"/>
                      <a:pt x="1" y="29"/>
                    </a:cubicBezTo>
                    <a:cubicBezTo>
                      <a:pt x="1" y="30"/>
                      <a:pt x="1" y="30"/>
                      <a:pt x="0" y="31"/>
                    </a:cubicBezTo>
                    <a:cubicBezTo>
                      <a:pt x="1" y="35"/>
                      <a:pt x="12" y="39"/>
                      <a:pt x="18" y="39"/>
                    </a:cubicBezTo>
                    <a:cubicBezTo>
                      <a:pt x="20" y="38"/>
                      <a:pt x="22" y="37"/>
                      <a:pt x="25" y="36"/>
                    </a:cubicBezTo>
                    <a:cubicBezTo>
                      <a:pt x="25" y="36"/>
                      <a:pt x="25" y="36"/>
                      <a:pt x="25" y="36"/>
                    </a:cubicBezTo>
                    <a:cubicBezTo>
                      <a:pt x="21" y="52"/>
                      <a:pt x="9" y="50"/>
                      <a:pt x="3" y="62"/>
                    </a:cubicBezTo>
                    <a:cubicBezTo>
                      <a:pt x="4" y="63"/>
                      <a:pt x="4" y="65"/>
                      <a:pt x="5" y="67"/>
                    </a:cubicBezTo>
                    <a:cubicBezTo>
                      <a:pt x="7" y="67"/>
                      <a:pt x="10" y="67"/>
                      <a:pt x="12" y="66"/>
                    </a:cubicBezTo>
                    <a:cubicBezTo>
                      <a:pt x="17" y="68"/>
                      <a:pt x="17" y="72"/>
                      <a:pt x="22" y="74"/>
                    </a:cubicBezTo>
                    <a:cubicBezTo>
                      <a:pt x="25" y="71"/>
                      <a:pt x="24" y="66"/>
                      <a:pt x="25" y="61"/>
                    </a:cubicBezTo>
                    <a:cubicBezTo>
                      <a:pt x="25" y="56"/>
                      <a:pt x="28" y="52"/>
                      <a:pt x="30" y="49"/>
                    </a:cubicBezTo>
                    <a:cubicBezTo>
                      <a:pt x="40" y="53"/>
                      <a:pt x="42" y="58"/>
                      <a:pt x="48" y="63"/>
                    </a:cubicBezTo>
                    <a:cubicBezTo>
                      <a:pt x="44" y="74"/>
                      <a:pt x="29" y="63"/>
                      <a:pt x="24" y="71"/>
                    </a:cubicBezTo>
                    <a:cubicBezTo>
                      <a:pt x="39" y="78"/>
                      <a:pt x="36" y="74"/>
                      <a:pt x="48" y="71"/>
                    </a:cubicBezTo>
                    <a:cubicBezTo>
                      <a:pt x="49" y="70"/>
                      <a:pt x="50" y="70"/>
                      <a:pt x="51" y="69"/>
                    </a:cubicBezTo>
                    <a:cubicBezTo>
                      <a:pt x="58" y="79"/>
                      <a:pt x="58" y="87"/>
                      <a:pt x="77" y="87"/>
                    </a:cubicBezTo>
                    <a:cubicBezTo>
                      <a:pt x="77" y="87"/>
                      <a:pt x="78" y="86"/>
                      <a:pt x="78" y="86"/>
                    </a:cubicBezTo>
                    <a:cubicBezTo>
                      <a:pt x="74" y="76"/>
                      <a:pt x="60" y="73"/>
                      <a:pt x="55" y="64"/>
                    </a:cubicBezTo>
                    <a:close/>
                    <a:moveTo>
                      <a:pt x="15" y="64"/>
                    </a:moveTo>
                    <a:cubicBezTo>
                      <a:pt x="15" y="65"/>
                      <a:pt x="15" y="65"/>
                      <a:pt x="15" y="65"/>
                    </a:cubicBezTo>
                    <a:cubicBezTo>
                      <a:pt x="14" y="64"/>
                      <a:pt x="13" y="64"/>
                      <a:pt x="11" y="63"/>
                    </a:cubicBezTo>
                    <a:cubicBezTo>
                      <a:pt x="11" y="62"/>
                      <a:pt x="12" y="61"/>
                      <a:pt x="12" y="60"/>
                    </a:cubicBezTo>
                    <a:cubicBezTo>
                      <a:pt x="13" y="59"/>
                      <a:pt x="14" y="58"/>
                      <a:pt x="15" y="57"/>
                    </a:cubicBezTo>
                    <a:cubicBezTo>
                      <a:pt x="16" y="57"/>
                      <a:pt x="16" y="58"/>
                      <a:pt x="17" y="58"/>
                    </a:cubicBezTo>
                    <a:cubicBezTo>
                      <a:pt x="16" y="60"/>
                      <a:pt x="16" y="62"/>
                      <a:pt x="15" y="64"/>
                    </a:cubicBezTo>
                    <a:close/>
                    <a:moveTo>
                      <a:pt x="32" y="46"/>
                    </a:moveTo>
                    <a:cubicBezTo>
                      <a:pt x="35" y="43"/>
                      <a:pt x="44" y="37"/>
                      <a:pt x="44" y="34"/>
                    </a:cubicBezTo>
                    <a:cubicBezTo>
                      <a:pt x="47" y="34"/>
                      <a:pt x="49" y="35"/>
                      <a:pt x="52" y="35"/>
                    </a:cubicBezTo>
                    <a:cubicBezTo>
                      <a:pt x="50" y="40"/>
                      <a:pt x="45" y="44"/>
                      <a:pt x="46" y="50"/>
                    </a:cubicBezTo>
                    <a:cubicBezTo>
                      <a:pt x="46" y="51"/>
                      <a:pt x="47" y="51"/>
                      <a:pt x="48" y="52"/>
                    </a:cubicBezTo>
                    <a:cubicBezTo>
                      <a:pt x="50" y="51"/>
                      <a:pt x="53" y="49"/>
                      <a:pt x="56" y="50"/>
                    </a:cubicBezTo>
                    <a:cubicBezTo>
                      <a:pt x="55" y="54"/>
                      <a:pt x="53" y="57"/>
                      <a:pt x="52" y="61"/>
                    </a:cubicBezTo>
                    <a:cubicBezTo>
                      <a:pt x="45" y="56"/>
                      <a:pt x="44" y="49"/>
                      <a:pt x="32" y="4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125" name="ï$ľíḍe"/>
              <p:cNvSpPr/>
              <p:nvPr/>
            </p:nvSpPr>
            <p:spPr bwMode="auto">
              <a:xfrm>
                <a:off x="2255734" y="4491628"/>
                <a:ext cx="136525" cy="174625"/>
              </a:xfrm>
              <a:custGeom>
                <a:avLst/>
                <a:gdLst>
                  <a:gd name="T0" fmla="*/ 74 w 74"/>
                  <a:gd name="T1" fmla="*/ 41 h 94"/>
                  <a:gd name="T2" fmla="*/ 64 w 74"/>
                  <a:gd name="T3" fmla="*/ 35 h 94"/>
                  <a:gd name="T4" fmla="*/ 51 w 74"/>
                  <a:gd name="T5" fmla="*/ 5 h 94"/>
                  <a:gd name="T6" fmla="*/ 58 w 74"/>
                  <a:gd name="T7" fmla="*/ 39 h 94"/>
                  <a:gd name="T8" fmla="*/ 47 w 74"/>
                  <a:gd name="T9" fmla="*/ 47 h 94"/>
                  <a:gd name="T10" fmla="*/ 55 w 74"/>
                  <a:gd name="T11" fmla="*/ 34 h 94"/>
                  <a:gd name="T12" fmla="*/ 47 w 74"/>
                  <a:gd name="T13" fmla="*/ 29 h 94"/>
                  <a:gd name="T14" fmla="*/ 54 w 74"/>
                  <a:gd name="T15" fmla="*/ 22 h 94"/>
                  <a:gd name="T16" fmla="*/ 54 w 74"/>
                  <a:gd name="T17" fmla="*/ 20 h 94"/>
                  <a:gd name="T18" fmla="*/ 54 w 74"/>
                  <a:gd name="T19" fmla="*/ 19 h 94"/>
                  <a:gd name="T20" fmla="*/ 41 w 74"/>
                  <a:gd name="T21" fmla="*/ 19 h 94"/>
                  <a:gd name="T22" fmla="*/ 44 w 74"/>
                  <a:gd name="T23" fmla="*/ 22 h 94"/>
                  <a:gd name="T24" fmla="*/ 44 w 74"/>
                  <a:gd name="T25" fmla="*/ 32 h 94"/>
                  <a:gd name="T26" fmla="*/ 48 w 74"/>
                  <a:gd name="T27" fmla="*/ 37 h 94"/>
                  <a:gd name="T28" fmla="*/ 40 w 74"/>
                  <a:gd name="T29" fmla="*/ 58 h 94"/>
                  <a:gd name="T30" fmla="*/ 44 w 74"/>
                  <a:gd name="T31" fmla="*/ 61 h 94"/>
                  <a:gd name="T32" fmla="*/ 59 w 74"/>
                  <a:gd name="T33" fmla="*/ 46 h 94"/>
                  <a:gd name="T34" fmla="*/ 59 w 74"/>
                  <a:gd name="T35" fmla="*/ 46 h 94"/>
                  <a:gd name="T36" fmla="*/ 66 w 74"/>
                  <a:gd name="T37" fmla="*/ 93 h 94"/>
                  <a:gd name="T38" fmla="*/ 68 w 74"/>
                  <a:gd name="T39" fmla="*/ 93 h 94"/>
                  <a:gd name="T40" fmla="*/ 65 w 74"/>
                  <a:gd name="T41" fmla="*/ 42 h 94"/>
                  <a:gd name="T42" fmla="*/ 73 w 74"/>
                  <a:gd name="T43" fmla="*/ 41 h 94"/>
                  <a:gd name="T44" fmla="*/ 74 w 74"/>
                  <a:gd name="T45" fmla="*/ 41 h 94"/>
                  <a:gd name="T46" fmla="*/ 43 w 74"/>
                  <a:gd name="T47" fmla="*/ 42 h 94"/>
                  <a:gd name="T48" fmla="*/ 35 w 74"/>
                  <a:gd name="T49" fmla="*/ 48 h 94"/>
                  <a:gd name="T50" fmla="*/ 39 w 74"/>
                  <a:gd name="T51" fmla="*/ 38 h 94"/>
                  <a:gd name="T52" fmla="*/ 37 w 74"/>
                  <a:gd name="T53" fmla="*/ 29 h 94"/>
                  <a:gd name="T54" fmla="*/ 40 w 74"/>
                  <a:gd name="T55" fmla="*/ 27 h 94"/>
                  <a:gd name="T56" fmla="*/ 34 w 74"/>
                  <a:gd name="T57" fmla="*/ 16 h 94"/>
                  <a:gd name="T58" fmla="*/ 32 w 74"/>
                  <a:gd name="T59" fmla="*/ 15 h 94"/>
                  <a:gd name="T60" fmla="*/ 4 w 74"/>
                  <a:gd name="T61" fmla="*/ 46 h 94"/>
                  <a:gd name="T62" fmla="*/ 30 w 74"/>
                  <a:gd name="T63" fmla="*/ 29 h 94"/>
                  <a:gd name="T64" fmla="*/ 8 w 74"/>
                  <a:gd name="T65" fmla="*/ 52 h 94"/>
                  <a:gd name="T66" fmla="*/ 0 w 74"/>
                  <a:gd name="T67" fmla="*/ 56 h 94"/>
                  <a:gd name="T68" fmla="*/ 3 w 74"/>
                  <a:gd name="T69" fmla="*/ 61 h 94"/>
                  <a:gd name="T70" fmla="*/ 23 w 74"/>
                  <a:gd name="T71" fmla="*/ 54 h 94"/>
                  <a:gd name="T72" fmla="*/ 25 w 74"/>
                  <a:gd name="T73" fmla="*/ 53 h 94"/>
                  <a:gd name="T74" fmla="*/ 25 w 74"/>
                  <a:gd name="T75" fmla="*/ 53 h 94"/>
                  <a:gd name="T76" fmla="*/ 20 w 74"/>
                  <a:gd name="T77" fmla="*/ 72 h 94"/>
                  <a:gd name="T78" fmla="*/ 25 w 74"/>
                  <a:gd name="T79" fmla="*/ 76 h 94"/>
                  <a:gd name="T80" fmla="*/ 26 w 74"/>
                  <a:gd name="T81" fmla="*/ 76 h 94"/>
                  <a:gd name="T82" fmla="*/ 30 w 74"/>
                  <a:gd name="T83" fmla="*/ 67 h 94"/>
                  <a:gd name="T84" fmla="*/ 31 w 74"/>
                  <a:gd name="T85" fmla="*/ 66 h 94"/>
                  <a:gd name="T86" fmla="*/ 32 w 74"/>
                  <a:gd name="T87" fmla="*/ 75 h 94"/>
                  <a:gd name="T88" fmla="*/ 35 w 74"/>
                  <a:gd name="T89" fmla="*/ 76 h 94"/>
                  <a:gd name="T90" fmla="*/ 38 w 74"/>
                  <a:gd name="T91" fmla="*/ 76 h 94"/>
                  <a:gd name="T92" fmla="*/ 35 w 74"/>
                  <a:gd name="T93" fmla="*/ 61 h 94"/>
                  <a:gd name="T94" fmla="*/ 43 w 74"/>
                  <a:gd name="T95" fmla="*/ 42 h 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74" h="94">
                    <a:moveTo>
                      <a:pt x="74" y="41"/>
                    </a:moveTo>
                    <a:cubicBezTo>
                      <a:pt x="73" y="36"/>
                      <a:pt x="70" y="34"/>
                      <a:pt x="64" y="35"/>
                    </a:cubicBezTo>
                    <a:cubicBezTo>
                      <a:pt x="63" y="24"/>
                      <a:pt x="67" y="0"/>
                      <a:pt x="51" y="5"/>
                    </a:cubicBezTo>
                    <a:cubicBezTo>
                      <a:pt x="50" y="9"/>
                      <a:pt x="61" y="31"/>
                      <a:pt x="58" y="39"/>
                    </a:cubicBezTo>
                    <a:cubicBezTo>
                      <a:pt x="58" y="39"/>
                      <a:pt x="47" y="47"/>
                      <a:pt x="47" y="47"/>
                    </a:cubicBezTo>
                    <a:cubicBezTo>
                      <a:pt x="48" y="41"/>
                      <a:pt x="53" y="39"/>
                      <a:pt x="55" y="34"/>
                    </a:cubicBezTo>
                    <a:cubicBezTo>
                      <a:pt x="56" y="30"/>
                      <a:pt x="49" y="31"/>
                      <a:pt x="47" y="29"/>
                    </a:cubicBezTo>
                    <a:cubicBezTo>
                      <a:pt x="48" y="26"/>
                      <a:pt x="51" y="23"/>
                      <a:pt x="54" y="22"/>
                    </a:cubicBezTo>
                    <a:cubicBezTo>
                      <a:pt x="54" y="21"/>
                      <a:pt x="54" y="21"/>
                      <a:pt x="54" y="20"/>
                    </a:cubicBezTo>
                    <a:cubicBezTo>
                      <a:pt x="54" y="20"/>
                      <a:pt x="54" y="19"/>
                      <a:pt x="54" y="19"/>
                    </a:cubicBezTo>
                    <a:cubicBezTo>
                      <a:pt x="50" y="17"/>
                      <a:pt x="45" y="17"/>
                      <a:pt x="41" y="19"/>
                    </a:cubicBezTo>
                    <a:cubicBezTo>
                      <a:pt x="41" y="22"/>
                      <a:pt x="42" y="22"/>
                      <a:pt x="44" y="22"/>
                    </a:cubicBezTo>
                    <a:cubicBezTo>
                      <a:pt x="44" y="26"/>
                      <a:pt x="44" y="29"/>
                      <a:pt x="44" y="32"/>
                    </a:cubicBezTo>
                    <a:cubicBezTo>
                      <a:pt x="45" y="34"/>
                      <a:pt x="47" y="35"/>
                      <a:pt x="48" y="37"/>
                    </a:cubicBezTo>
                    <a:cubicBezTo>
                      <a:pt x="46" y="41"/>
                      <a:pt x="35" y="51"/>
                      <a:pt x="40" y="58"/>
                    </a:cubicBezTo>
                    <a:cubicBezTo>
                      <a:pt x="41" y="60"/>
                      <a:pt x="42" y="60"/>
                      <a:pt x="44" y="61"/>
                    </a:cubicBezTo>
                    <a:cubicBezTo>
                      <a:pt x="49" y="55"/>
                      <a:pt x="51" y="50"/>
                      <a:pt x="59" y="46"/>
                    </a:cubicBezTo>
                    <a:cubicBezTo>
                      <a:pt x="59" y="46"/>
                      <a:pt x="59" y="46"/>
                      <a:pt x="59" y="46"/>
                    </a:cubicBezTo>
                    <a:cubicBezTo>
                      <a:pt x="61" y="60"/>
                      <a:pt x="59" y="83"/>
                      <a:pt x="66" y="93"/>
                    </a:cubicBezTo>
                    <a:cubicBezTo>
                      <a:pt x="67" y="94"/>
                      <a:pt x="67" y="93"/>
                      <a:pt x="68" y="93"/>
                    </a:cubicBezTo>
                    <a:cubicBezTo>
                      <a:pt x="68" y="78"/>
                      <a:pt x="67" y="60"/>
                      <a:pt x="65" y="42"/>
                    </a:cubicBezTo>
                    <a:cubicBezTo>
                      <a:pt x="68" y="42"/>
                      <a:pt x="72" y="42"/>
                      <a:pt x="73" y="41"/>
                    </a:cubicBezTo>
                    <a:cubicBezTo>
                      <a:pt x="74" y="41"/>
                      <a:pt x="74" y="41"/>
                      <a:pt x="74" y="41"/>
                    </a:cubicBezTo>
                    <a:close/>
                    <a:moveTo>
                      <a:pt x="43" y="42"/>
                    </a:moveTo>
                    <a:cubicBezTo>
                      <a:pt x="39" y="44"/>
                      <a:pt x="38" y="46"/>
                      <a:pt x="35" y="48"/>
                    </a:cubicBezTo>
                    <a:cubicBezTo>
                      <a:pt x="35" y="42"/>
                      <a:pt x="39" y="42"/>
                      <a:pt x="39" y="38"/>
                    </a:cubicBezTo>
                    <a:cubicBezTo>
                      <a:pt x="40" y="35"/>
                      <a:pt x="37" y="33"/>
                      <a:pt x="37" y="29"/>
                    </a:cubicBezTo>
                    <a:cubicBezTo>
                      <a:pt x="38" y="28"/>
                      <a:pt x="39" y="28"/>
                      <a:pt x="40" y="27"/>
                    </a:cubicBezTo>
                    <a:cubicBezTo>
                      <a:pt x="41" y="24"/>
                      <a:pt x="36" y="16"/>
                      <a:pt x="34" y="16"/>
                    </a:cubicBezTo>
                    <a:cubicBezTo>
                      <a:pt x="33" y="16"/>
                      <a:pt x="32" y="15"/>
                      <a:pt x="32" y="15"/>
                    </a:cubicBezTo>
                    <a:cubicBezTo>
                      <a:pt x="22" y="28"/>
                      <a:pt x="10" y="30"/>
                      <a:pt x="4" y="46"/>
                    </a:cubicBezTo>
                    <a:cubicBezTo>
                      <a:pt x="13" y="41"/>
                      <a:pt x="17" y="31"/>
                      <a:pt x="30" y="29"/>
                    </a:cubicBezTo>
                    <a:cubicBezTo>
                      <a:pt x="29" y="39"/>
                      <a:pt x="16" y="48"/>
                      <a:pt x="8" y="52"/>
                    </a:cubicBezTo>
                    <a:cubicBezTo>
                      <a:pt x="4" y="54"/>
                      <a:pt x="2" y="52"/>
                      <a:pt x="0" y="56"/>
                    </a:cubicBezTo>
                    <a:cubicBezTo>
                      <a:pt x="0" y="59"/>
                      <a:pt x="1" y="60"/>
                      <a:pt x="3" y="61"/>
                    </a:cubicBezTo>
                    <a:cubicBezTo>
                      <a:pt x="10" y="63"/>
                      <a:pt x="22" y="58"/>
                      <a:pt x="23" y="54"/>
                    </a:cubicBezTo>
                    <a:cubicBezTo>
                      <a:pt x="24" y="54"/>
                      <a:pt x="24" y="53"/>
                      <a:pt x="25" y="53"/>
                    </a:cubicBezTo>
                    <a:cubicBezTo>
                      <a:pt x="25" y="53"/>
                      <a:pt x="25" y="53"/>
                      <a:pt x="25" y="53"/>
                    </a:cubicBezTo>
                    <a:cubicBezTo>
                      <a:pt x="23" y="59"/>
                      <a:pt x="22" y="66"/>
                      <a:pt x="20" y="72"/>
                    </a:cubicBezTo>
                    <a:cubicBezTo>
                      <a:pt x="21" y="74"/>
                      <a:pt x="23" y="75"/>
                      <a:pt x="25" y="76"/>
                    </a:cubicBezTo>
                    <a:cubicBezTo>
                      <a:pt x="25" y="76"/>
                      <a:pt x="26" y="76"/>
                      <a:pt x="26" y="76"/>
                    </a:cubicBezTo>
                    <a:cubicBezTo>
                      <a:pt x="28" y="73"/>
                      <a:pt x="29" y="70"/>
                      <a:pt x="30" y="67"/>
                    </a:cubicBezTo>
                    <a:cubicBezTo>
                      <a:pt x="31" y="67"/>
                      <a:pt x="31" y="67"/>
                      <a:pt x="31" y="66"/>
                    </a:cubicBezTo>
                    <a:cubicBezTo>
                      <a:pt x="32" y="69"/>
                      <a:pt x="32" y="72"/>
                      <a:pt x="32" y="75"/>
                    </a:cubicBezTo>
                    <a:cubicBezTo>
                      <a:pt x="33" y="75"/>
                      <a:pt x="34" y="76"/>
                      <a:pt x="35" y="76"/>
                    </a:cubicBezTo>
                    <a:cubicBezTo>
                      <a:pt x="36" y="76"/>
                      <a:pt x="37" y="76"/>
                      <a:pt x="38" y="76"/>
                    </a:cubicBezTo>
                    <a:cubicBezTo>
                      <a:pt x="37" y="71"/>
                      <a:pt x="36" y="66"/>
                      <a:pt x="35" y="61"/>
                    </a:cubicBezTo>
                    <a:cubicBezTo>
                      <a:pt x="38" y="54"/>
                      <a:pt x="40" y="48"/>
                      <a:pt x="43" y="4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126" name="î$ḻîḑe"/>
              <p:cNvSpPr/>
              <p:nvPr/>
            </p:nvSpPr>
            <p:spPr bwMode="auto">
              <a:xfrm>
                <a:off x="2055709" y="4566240"/>
                <a:ext cx="136525" cy="150813"/>
              </a:xfrm>
              <a:custGeom>
                <a:avLst/>
                <a:gdLst>
                  <a:gd name="T0" fmla="*/ 55 w 74"/>
                  <a:gd name="T1" fmla="*/ 53 h 82"/>
                  <a:gd name="T2" fmla="*/ 54 w 74"/>
                  <a:gd name="T3" fmla="*/ 51 h 82"/>
                  <a:gd name="T4" fmla="*/ 57 w 74"/>
                  <a:gd name="T5" fmla="*/ 49 h 82"/>
                  <a:gd name="T6" fmla="*/ 56 w 74"/>
                  <a:gd name="T7" fmla="*/ 45 h 82"/>
                  <a:gd name="T8" fmla="*/ 52 w 74"/>
                  <a:gd name="T9" fmla="*/ 45 h 82"/>
                  <a:gd name="T10" fmla="*/ 51 w 74"/>
                  <a:gd name="T11" fmla="*/ 44 h 82"/>
                  <a:gd name="T12" fmla="*/ 60 w 74"/>
                  <a:gd name="T13" fmla="*/ 32 h 82"/>
                  <a:gd name="T14" fmla="*/ 60 w 74"/>
                  <a:gd name="T15" fmla="*/ 30 h 82"/>
                  <a:gd name="T16" fmla="*/ 34 w 74"/>
                  <a:gd name="T17" fmla="*/ 38 h 82"/>
                  <a:gd name="T18" fmla="*/ 33 w 74"/>
                  <a:gd name="T19" fmla="*/ 38 h 82"/>
                  <a:gd name="T20" fmla="*/ 60 w 74"/>
                  <a:gd name="T21" fmla="*/ 16 h 82"/>
                  <a:gd name="T22" fmla="*/ 61 w 74"/>
                  <a:gd name="T23" fmla="*/ 10 h 82"/>
                  <a:gd name="T24" fmla="*/ 42 w 74"/>
                  <a:gd name="T25" fmla="*/ 11 h 82"/>
                  <a:gd name="T26" fmla="*/ 27 w 74"/>
                  <a:gd name="T27" fmla="*/ 0 h 82"/>
                  <a:gd name="T28" fmla="*/ 24 w 74"/>
                  <a:gd name="T29" fmla="*/ 0 h 82"/>
                  <a:gd name="T30" fmla="*/ 29 w 74"/>
                  <a:gd name="T31" fmla="*/ 21 h 82"/>
                  <a:gd name="T32" fmla="*/ 11 w 74"/>
                  <a:gd name="T33" fmla="*/ 39 h 82"/>
                  <a:gd name="T34" fmla="*/ 1 w 74"/>
                  <a:gd name="T35" fmla="*/ 44 h 82"/>
                  <a:gd name="T36" fmla="*/ 0 w 74"/>
                  <a:gd name="T37" fmla="*/ 47 h 82"/>
                  <a:gd name="T38" fmla="*/ 35 w 74"/>
                  <a:gd name="T39" fmla="*/ 26 h 82"/>
                  <a:gd name="T40" fmla="*/ 35 w 74"/>
                  <a:gd name="T41" fmla="*/ 26 h 82"/>
                  <a:gd name="T42" fmla="*/ 30 w 74"/>
                  <a:gd name="T43" fmla="*/ 48 h 82"/>
                  <a:gd name="T44" fmla="*/ 40 w 74"/>
                  <a:gd name="T45" fmla="*/ 57 h 82"/>
                  <a:gd name="T46" fmla="*/ 35 w 74"/>
                  <a:gd name="T47" fmla="*/ 78 h 82"/>
                  <a:gd name="T48" fmla="*/ 45 w 74"/>
                  <a:gd name="T49" fmla="*/ 82 h 82"/>
                  <a:gd name="T50" fmla="*/ 47 w 74"/>
                  <a:gd name="T51" fmla="*/ 80 h 82"/>
                  <a:gd name="T52" fmla="*/ 46 w 74"/>
                  <a:gd name="T53" fmla="*/ 67 h 82"/>
                  <a:gd name="T54" fmla="*/ 47 w 74"/>
                  <a:gd name="T55" fmla="*/ 66 h 82"/>
                  <a:gd name="T56" fmla="*/ 50 w 74"/>
                  <a:gd name="T57" fmla="*/ 73 h 82"/>
                  <a:gd name="T58" fmla="*/ 58 w 74"/>
                  <a:gd name="T59" fmla="*/ 79 h 82"/>
                  <a:gd name="T60" fmla="*/ 59 w 74"/>
                  <a:gd name="T61" fmla="*/ 79 h 82"/>
                  <a:gd name="T62" fmla="*/ 53 w 74"/>
                  <a:gd name="T63" fmla="*/ 57 h 82"/>
                  <a:gd name="T64" fmla="*/ 56 w 74"/>
                  <a:gd name="T65" fmla="*/ 55 h 82"/>
                  <a:gd name="T66" fmla="*/ 56 w 74"/>
                  <a:gd name="T67" fmla="*/ 55 h 82"/>
                  <a:gd name="T68" fmla="*/ 69 w 74"/>
                  <a:gd name="T69" fmla="*/ 69 h 82"/>
                  <a:gd name="T70" fmla="*/ 74 w 74"/>
                  <a:gd name="T71" fmla="*/ 64 h 82"/>
                  <a:gd name="T72" fmla="*/ 55 w 74"/>
                  <a:gd name="T73" fmla="*/ 53 h 82"/>
                  <a:gd name="T74" fmla="*/ 40 w 74"/>
                  <a:gd name="T75" fmla="*/ 46 h 82"/>
                  <a:gd name="T76" fmla="*/ 39 w 74"/>
                  <a:gd name="T77" fmla="*/ 46 h 82"/>
                  <a:gd name="T78" fmla="*/ 38 w 74"/>
                  <a:gd name="T79" fmla="*/ 46 h 82"/>
                  <a:gd name="T80" fmla="*/ 37 w 74"/>
                  <a:gd name="T81" fmla="*/ 44 h 82"/>
                  <a:gd name="T82" fmla="*/ 44 w 74"/>
                  <a:gd name="T83" fmla="*/ 36 h 82"/>
                  <a:gd name="T84" fmla="*/ 46 w 74"/>
                  <a:gd name="T85" fmla="*/ 35 h 82"/>
                  <a:gd name="T86" fmla="*/ 46 w 74"/>
                  <a:gd name="T87" fmla="*/ 35 h 82"/>
                  <a:gd name="T88" fmla="*/ 40 w 74"/>
                  <a:gd name="T89" fmla="*/ 46 h 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74" h="82">
                    <a:moveTo>
                      <a:pt x="55" y="53"/>
                    </a:moveTo>
                    <a:cubicBezTo>
                      <a:pt x="55" y="53"/>
                      <a:pt x="54" y="52"/>
                      <a:pt x="54" y="51"/>
                    </a:cubicBezTo>
                    <a:cubicBezTo>
                      <a:pt x="55" y="51"/>
                      <a:pt x="56" y="50"/>
                      <a:pt x="57" y="49"/>
                    </a:cubicBezTo>
                    <a:cubicBezTo>
                      <a:pt x="57" y="48"/>
                      <a:pt x="56" y="47"/>
                      <a:pt x="56" y="45"/>
                    </a:cubicBezTo>
                    <a:cubicBezTo>
                      <a:pt x="54" y="45"/>
                      <a:pt x="53" y="45"/>
                      <a:pt x="52" y="45"/>
                    </a:cubicBezTo>
                    <a:cubicBezTo>
                      <a:pt x="51" y="45"/>
                      <a:pt x="51" y="44"/>
                      <a:pt x="51" y="44"/>
                    </a:cubicBezTo>
                    <a:cubicBezTo>
                      <a:pt x="53" y="40"/>
                      <a:pt x="59" y="36"/>
                      <a:pt x="60" y="32"/>
                    </a:cubicBezTo>
                    <a:cubicBezTo>
                      <a:pt x="60" y="31"/>
                      <a:pt x="60" y="31"/>
                      <a:pt x="60" y="30"/>
                    </a:cubicBezTo>
                    <a:cubicBezTo>
                      <a:pt x="50" y="21"/>
                      <a:pt x="41" y="31"/>
                      <a:pt x="34" y="38"/>
                    </a:cubicBezTo>
                    <a:cubicBezTo>
                      <a:pt x="33" y="38"/>
                      <a:pt x="33" y="38"/>
                      <a:pt x="33" y="38"/>
                    </a:cubicBezTo>
                    <a:cubicBezTo>
                      <a:pt x="34" y="30"/>
                      <a:pt x="48" y="16"/>
                      <a:pt x="60" y="16"/>
                    </a:cubicBezTo>
                    <a:cubicBezTo>
                      <a:pt x="61" y="14"/>
                      <a:pt x="61" y="12"/>
                      <a:pt x="61" y="10"/>
                    </a:cubicBezTo>
                    <a:cubicBezTo>
                      <a:pt x="50" y="3"/>
                      <a:pt x="52" y="11"/>
                      <a:pt x="42" y="11"/>
                    </a:cubicBezTo>
                    <a:cubicBezTo>
                      <a:pt x="38" y="10"/>
                      <a:pt x="32" y="1"/>
                      <a:pt x="27" y="0"/>
                    </a:cubicBezTo>
                    <a:cubicBezTo>
                      <a:pt x="26" y="0"/>
                      <a:pt x="25" y="0"/>
                      <a:pt x="24" y="0"/>
                    </a:cubicBezTo>
                    <a:cubicBezTo>
                      <a:pt x="21" y="5"/>
                      <a:pt x="30" y="14"/>
                      <a:pt x="29" y="21"/>
                    </a:cubicBezTo>
                    <a:cubicBezTo>
                      <a:pt x="19" y="27"/>
                      <a:pt x="17" y="33"/>
                      <a:pt x="11" y="39"/>
                    </a:cubicBezTo>
                    <a:cubicBezTo>
                      <a:pt x="8" y="42"/>
                      <a:pt x="4" y="42"/>
                      <a:pt x="1" y="44"/>
                    </a:cubicBezTo>
                    <a:cubicBezTo>
                      <a:pt x="1" y="45"/>
                      <a:pt x="0" y="46"/>
                      <a:pt x="0" y="47"/>
                    </a:cubicBezTo>
                    <a:cubicBezTo>
                      <a:pt x="11" y="69"/>
                      <a:pt x="23" y="30"/>
                      <a:pt x="35" y="26"/>
                    </a:cubicBezTo>
                    <a:cubicBezTo>
                      <a:pt x="35" y="26"/>
                      <a:pt x="35" y="26"/>
                      <a:pt x="35" y="26"/>
                    </a:cubicBezTo>
                    <a:cubicBezTo>
                      <a:pt x="33" y="33"/>
                      <a:pt x="28" y="39"/>
                      <a:pt x="30" y="48"/>
                    </a:cubicBezTo>
                    <a:cubicBezTo>
                      <a:pt x="30" y="51"/>
                      <a:pt x="37" y="56"/>
                      <a:pt x="40" y="57"/>
                    </a:cubicBezTo>
                    <a:cubicBezTo>
                      <a:pt x="37" y="64"/>
                      <a:pt x="32" y="69"/>
                      <a:pt x="35" y="78"/>
                    </a:cubicBezTo>
                    <a:cubicBezTo>
                      <a:pt x="39" y="79"/>
                      <a:pt x="42" y="80"/>
                      <a:pt x="45" y="82"/>
                    </a:cubicBezTo>
                    <a:cubicBezTo>
                      <a:pt x="46" y="81"/>
                      <a:pt x="46" y="81"/>
                      <a:pt x="47" y="80"/>
                    </a:cubicBezTo>
                    <a:cubicBezTo>
                      <a:pt x="49" y="77"/>
                      <a:pt x="45" y="70"/>
                      <a:pt x="46" y="67"/>
                    </a:cubicBezTo>
                    <a:cubicBezTo>
                      <a:pt x="46" y="66"/>
                      <a:pt x="46" y="66"/>
                      <a:pt x="47" y="66"/>
                    </a:cubicBezTo>
                    <a:cubicBezTo>
                      <a:pt x="48" y="67"/>
                      <a:pt x="49" y="71"/>
                      <a:pt x="50" y="73"/>
                    </a:cubicBezTo>
                    <a:cubicBezTo>
                      <a:pt x="52" y="76"/>
                      <a:pt x="55" y="77"/>
                      <a:pt x="58" y="79"/>
                    </a:cubicBezTo>
                    <a:cubicBezTo>
                      <a:pt x="58" y="79"/>
                      <a:pt x="58" y="79"/>
                      <a:pt x="59" y="79"/>
                    </a:cubicBezTo>
                    <a:cubicBezTo>
                      <a:pt x="60" y="72"/>
                      <a:pt x="53" y="64"/>
                      <a:pt x="53" y="57"/>
                    </a:cubicBezTo>
                    <a:cubicBezTo>
                      <a:pt x="54" y="56"/>
                      <a:pt x="55" y="56"/>
                      <a:pt x="56" y="55"/>
                    </a:cubicBezTo>
                    <a:cubicBezTo>
                      <a:pt x="56" y="55"/>
                      <a:pt x="56" y="55"/>
                      <a:pt x="56" y="55"/>
                    </a:cubicBezTo>
                    <a:cubicBezTo>
                      <a:pt x="63" y="60"/>
                      <a:pt x="59" y="67"/>
                      <a:pt x="69" y="69"/>
                    </a:cubicBezTo>
                    <a:cubicBezTo>
                      <a:pt x="71" y="67"/>
                      <a:pt x="72" y="66"/>
                      <a:pt x="74" y="64"/>
                    </a:cubicBezTo>
                    <a:cubicBezTo>
                      <a:pt x="71" y="56"/>
                      <a:pt x="63" y="51"/>
                      <a:pt x="55" y="53"/>
                    </a:cubicBezTo>
                    <a:close/>
                    <a:moveTo>
                      <a:pt x="40" y="46"/>
                    </a:moveTo>
                    <a:cubicBezTo>
                      <a:pt x="40" y="46"/>
                      <a:pt x="39" y="46"/>
                      <a:pt x="39" y="46"/>
                    </a:cubicBezTo>
                    <a:cubicBezTo>
                      <a:pt x="38" y="46"/>
                      <a:pt x="38" y="46"/>
                      <a:pt x="38" y="46"/>
                    </a:cubicBezTo>
                    <a:cubicBezTo>
                      <a:pt x="38" y="45"/>
                      <a:pt x="37" y="45"/>
                      <a:pt x="37" y="44"/>
                    </a:cubicBezTo>
                    <a:cubicBezTo>
                      <a:pt x="39" y="41"/>
                      <a:pt x="42" y="39"/>
                      <a:pt x="44" y="36"/>
                    </a:cubicBezTo>
                    <a:cubicBezTo>
                      <a:pt x="45" y="36"/>
                      <a:pt x="45" y="35"/>
                      <a:pt x="46" y="35"/>
                    </a:cubicBezTo>
                    <a:cubicBezTo>
                      <a:pt x="46" y="35"/>
                      <a:pt x="46" y="35"/>
                      <a:pt x="46" y="35"/>
                    </a:cubicBezTo>
                    <a:cubicBezTo>
                      <a:pt x="44" y="39"/>
                      <a:pt x="42" y="42"/>
                      <a:pt x="40" y="4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127" name="ïşḻíḍe"/>
              <p:cNvSpPr/>
              <p:nvPr/>
            </p:nvSpPr>
            <p:spPr bwMode="auto">
              <a:xfrm>
                <a:off x="1882672" y="4669428"/>
                <a:ext cx="160338" cy="169863"/>
              </a:xfrm>
              <a:custGeom>
                <a:avLst/>
                <a:gdLst>
                  <a:gd name="T0" fmla="*/ 29 w 87"/>
                  <a:gd name="T1" fmla="*/ 8 h 92"/>
                  <a:gd name="T2" fmla="*/ 52 w 87"/>
                  <a:gd name="T3" fmla="*/ 17 h 92"/>
                  <a:gd name="T4" fmla="*/ 61 w 87"/>
                  <a:gd name="T5" fmla="*/ 16 h 92"/>
                  <a:gd name="T6" fmla="*/ 62 w 87"/>
                  <a:gd name="T7" fmla="*/ 17 h 92"/>
                  <a:gd name="T8" fmla="*/ 69 w 87"/>
                  <a:gd name="T9" fmla="*/ 42 h 92"/>
                  <a:gd name="T10" fmla="*/ 86 w 87"/>
                  <a:gd name="T11" fmla="*/ 35 h 92"/>
                  <a:gd name="T12" fmla="*/ 87 w 87"/>
                  <a:gd name="T13" fmla="*/ 39 h 92"/>
                  <a:gd name="T14" fmla="*/ 76 w 87"/>
                  <a:gd name="T15" fmla="*/ 55 h 92"/>
                  <a:gd name="T16" fmla="*/ 67 w 87"/>
                  <a:gd name="T17" fmla="*/ 76 h 92"/>
                  <a:gd name="T18" fmla="*/ 65 w 87"/>
                  <a:gd name="T19" fmla="*/ 74 h 92"/>
                  <a:gd name="T20" fmla="*/ 69 w 87"/>
                  <a:gd name="T21" fmla="*/ 53 h 92"/>
                  <a:gd name="T22" fmla="*/ 55 w 87"/>
                  <a:gd name="T23" fmla="*/ 40 h 92"/>
                  <a:gd name="T24" fmla="*/ 45 w 87"/>
                  <a:gd name="T25" fmla="*/ 44 h 92"/>
                  <a:gd name="T26" fmla="*/ 46 w 87"/>
                  <a:gd name="T27" fmla="*/ 89 h 92"/>
                  <a:gd name="T28" fmla="*/ 38 w 87"/>
                  <a:gd name="T29" fmla="*/ 92 h 92"/>
                  <a:gd name="T30" fmla="*/ 27 w 87"/>
                  <a:gd name="T31" fmla="*/ 68 h 92"/>
                  <a:gd name="T32" fmla="*/ 14 w 87"/>
                  <a:gd name="T33" fmla="*/ 70 h 92"/>
                  <a:gd name="T34" fmla="*/ 12 w 87"/>
                  <a:gd name="T35" fmla="*/ 65 h 92"/>
                  <a:gd name="T36" fmla="*/ 18 w 87"/>
                  <a:gd name="T37" fmla="*/ 58 h 92"/>
                  <a:gd name="T38" fmla="*/ 0 w 87"/>
                  <a:gd name="T39" fmla="*/ 42 h 92"/>
                  <a:gd name="T40" fmla="*/ 0 w 87"/>
                  <a:gd name="T41" fmla="*/ 42 h 92"/>
                  <a:gd name="T42" fmla="*/ 21 w 87"/>
                  <a:gd name="T43" fmla="*/ 39 h 92"/>
                  <a:gd name="T44" fmla="*/ 27 w 87"/>
                  <a:gd name="T45" fmla="*/ 48 h 92"/>
                  <a:gd name="T46" fmla="*/ 34 w 87"/>
                  <a:gd name="T47" fmla="*/ 52 h 92"/>
                  <a:gd name="T48" fmla="*/ 36 w 87"/>
                  <a:gd name="T49" fmla="*/ 62 h 92"/>
                  <a:gd name="T50" fmla="*/ 39 w 87"/>
                  <a:gd name="T51" fmla="*/ 44 h 92"/>
                  <a:gd name="T52" fmla="*/ 46 w 87"/>
                  <a:gd name="T53" fmla="*/ 28 h 92"/>
                  <a:gd name="T54" fmla="*/ 29 w 87"/>
                  <a:gd name="T55" fmla="*/ 8 h 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87" h="92">
                    <a:moveTo>
                      <a:pt x="29" y="8"/>
                    </a:moveTo>
                    <a:cubicBezTo>
                      <a:pt x="42" y="0"/>
                      <a:pt x="43" y="12"/>
                      <a:pt x="52" y="17"/>
                    </a:cubicBezTo>
                    <a:cubicBezTo>
                      <a:pt x="55" y="15"/>
                      <a:pt x="58" y="15"/>
                      <a:pt x="61" y="16"/>
                    </a:cubicBezTo>
                    <a:cubicBezTo>
                      <a:pt x="61" y="16"/>
                      <a:pt x="62" y="17"/>
                      <a:pt x="62" y="17"/>
                    </a:cubicBezTo>
                    <a:cubicBezTo>
                      <a:pt x="62" y="26"/>
                      <a:pt x="58" y="33"/>
                      <a:pt x="69" y="42"/>
                    </a:cubicBezTo>
                    <a:cubicBezTo>
                      <a:pt x="75" y="35"/>
                      <a:pt x="80" y="33"/>
                      <a:pt x="86" y="35"/>
                    </a:cubicBezTo>
                    <a:cubicBezTo>
                      <a:pt x="87" y="36"/>
                      <a:pt x="87" y="38"/>
                      <a:pt x="87" y="39"/>
                    </a:cubicBezTo>
                    <a:cubicBezTo>
                      <a:pt x="83" y="45"/>
                      <a:pt x="80" y="50"/>
                      <a:pt x="76" y="55"/>
                    </a:cubicBezTo>
                    <a:cubicBezTo>
                      <a:pt x="71" y="62"/>
                      <a:pt x="71" y="70"/>
                      <a:pt x="67" y="76"/>
                    </a:cubicBezTo>
                    <a:cubicBezTo>
                      <a:pt x="66" y="75"/>
                      <a:pt x="66" y="75"/>
                      <a:pt x="65" y="74"/>
                    </a:cubicBezTo>
                    <a:cubicBezTo>
                      <a:pt x="63" y="66"/>
                      <a:pt x="67" y="60"/>
                      <a:pt x="69" y="53"/>
                    </a:cubicBezTo>
                    <a:cubicBezTo>
                      <a:pt x="64" y="51"/>
                      <a:pt x="60" y="46"/>
                      <a:pt x="55" y="40"/>
                    </a:cubicBezTo>
                    <a:cubicBezTo>
                      <a:pt x="52" y="42"/>
                      <a:pt x="49" y="41"/>
                      <a:pt x="45" y="44"/>
                    </a:cubicBezTo>
                    <a:cubicBezTo>
                      <a:pt x="40" y="59"/>
                      <a:pt x="48" y="75"/>
                      <a:pt x="46" y="89"/>
                    </a:cubicBezTo>
                    <a:cubicBezTo>
                      <a:pt x="43" y="92"/>
                      <a:pt x="41" y="91"/>
                      <a:pt x="38" y="92"/>
                    </a:cubicBezTo>
                    <a:cubicBezTo>
                      <a:pt x="31" y="83"/>
                      <a:pt x="33" y="76"/>
                      <a:pt x="27" y="68"/>
                    </a:cubicBezTo>
                    <a:cubicBezTo>
                      <a:pt x="23" y="71"/>
                      <a:pt x="18" y="71"/>
                      <a:pt x="14" y="70"/>
                    </a:cubicBezTo>
                    <a:cubicBezTo>
                      <a:pt x="12" y="68"/>
                      <a:pt x="12" y="67"/>
                      <a:pt x="12" y="65"/>
                    </a:cubicBezTo>
                    <a:cubicBezTo>
                      <a:pt x="14" y="63"/>
                      <a:pt x="16" y="60"/>
                      <a:pt x="18" y="58"/>
                    </a:cubicBezTo>
                    <a:cubicBezTo>
                      <a:pt x="13" y="49"/>
                      <a:pt x="3" y="48"/>
                      <a:pt x="0" y="42"/>
                    </a:cubicBezTo>
                    <a:cubicBezTo>
                      <a:pt x="0" y="42"/>
                      <a:pt x="0" y="42"/>
                      <a:pt x="0" y="42"/>
                    </a:cubicBezTo>
                    <a:cubicBezTo>
                      <a:pt x="6" y="39"/>
                      <a:pt x="15" y="35"/>
                      <a:pt x="21" y="39"/>
                    </a:cubicBezTo>
                    <a:cubicBezTo>
                      <a:pt x="23" y="42"/>
                      <a:pt x="25" y="45"/>
                      <a:pt x="27" y="48"/>
                    </a:cubicBezTo>
                    <a:cubicBezTo>
                      <a:pt x="29" y="50"/>
                      <a:pt x="31" y="51"/>
                      <a:pt x="34" y="52"/>
                    </a:cubicBezTo>
                    <a:cubicBezTo>
                      <a:pt x="34" y="55"/>
                      <a:pt x="35" y="58"/>
                      <a:pt x="36" y="62"/>
                    </a:cubicBezTo>
                    <a:cubicBezTo>
                      <a:pt x="39" y="56"/>
                      <a:pt x="38" y="50"/>
                      <a:pt x="39" y="44"/>
                    </a:cubicBezTo>
                    <a:cubicBezTo>
                      <a:pt x="42" y="39"/>
                      <a:pt x="44" y="34"/>
                      <a:pt x="46" y="28"/>
                    </a:cubicBezTo>
                    <a:cubicBezTo>
                      <a:pt x="42" y="22"/>
                      <a:pt x="31" y="15"/>
                      <a:pt x="29" y="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128" name="íṩľíḑè"/>
              <p:cNvSpPr/>
              <p:nvPr/>
            </p:nvSpPr>
            <p:spPr bwMode="auto">
              <a:xfrm>
                <a:off x="2243034" y="6066428"/>
                <a:ext cx="22225" cy="25400"/>
              </a:xfrm>
              <a:custGeom>
                <a:avLst/>
                <a:gdLst>
                  <a:gd name="T0" fmla="*/ 0 w 14"/>
                  <a:gd name="T1" fmla="*/ 12 h 16"/>
                  <a:gd name="T2" fmla="*/ 2 w 14"/>
                  <a:gd name="T3" fmla="*/ 0 h 16"/>
                  <a:gd name="T4" fmla="*/ 14 w 14"/>
                  <a:gd name="T5" fmla="*/ 4 h 16"/>
                  <a:gd name="T6" fmla="*/ 11 w 14"/>
                  <a:gd name="T7" fmla="*/ 16 h 16"/>
                  <a:gd name="T8" fmla="*/ 0 w 14"/>
                  <a:gd name="T9" fmla="*/ 12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4" h="16">
                    <a:moveTo>
                      <a:pt x="0" y="12"/>
                    </a:moveTo>
                    <a:lnTo>
                      <a:pt x="2" y="0"/>
                    </a:lnTo>
                    <a:lnTo>
                      <a:pt x="14" y="4"/>
                    </a:lnTo>
                    <a:lnTo>
                      <a:pt x="11" y="16"/>
                    </a:lnTo>
                    <a:lnTo>
                      <a:pt x="0" y="1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129" name="îṣḷïḓê"/>
              <p:cNvSpPr/>
              <p:nvPr/>
            </p:nvSpPr>
            <p:spPr bwMode="auto">
              <a:xfrm>
                <a:off x="2292247" y="6042615"/>
                <a:ext cx="49213" cy="100013"/>
              </a:xfrm>
              <a:custGeom>
                <a:avLst/>
                <a:gdLst>
                  <a:gd name="T0" fmla="*/ 17 w 27"/>
                  <a:gd name="T1" fmla="*/ 54 h 54"/>
                  <a:gd name="T2" fmla="*/ 7 w 27"/>
                  <a:gd name="T3" fmla="*/ 52 h 54"/>
                  <a:gd name="T4" fmla="*/ 14 w 27"/>
                  <a:gd name="T5" fmla="*/ 15 h 54"/>
                  <a:gd name="T6" fmla="*/ 0 w 27"/>
                  <a:gd name="T7" fmla="*/ 20 h 54"/>
                  <a:gd name="T8" fmla="*/ 1 w 27"/>
                  <a:gd name="T9" fmla="*/ 11 h 54"/>
                  <a:gd name="T10" fmla="*/ 11 w 27"/>
                  <a:gd name="T11" fmla="*/ 7 h 54"/>
                  <a:gd name="T12" fmla="*/ 18 w 27"/>
                  <a:gd name="T13" fmla="*/ 0 h 54"/>
                  <a:gd name="T14" fmla="*/ 27 w 27"/>
                  <a:gd name="T15" fmla="*/ 2 h 54"/>
                  <a:gd name="T16" fmla="*/ 17 w 27"/>
                  <a:gd name="T17" fmla="*/ 54 h 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7" h="54">
                    <a:moveTo>
                      <a:pt x="17" y="54"/>
                    </a:moveTo>
                    <a:cubicBezTo>
                      <a:pt x="7" y="52"/>
                      <a:pt x="7" y="52"/>
                      <a:pt x="7" y="52"/>
                    </a:cubicBezTo>
                    <a:cubicBezTo>
                      <a:pt x="14" y="15"/>
                      <a:pt x="14" y="15"/>
                      <a:pt x="14" y="15"/>
                    </a:cubicBezTo>
                    <a:cubicBezTo>
                      <a:pt x="10" y="17"/>
                      <a:pt x="5" y="19"/>
                      <a:pt x="0" y="20"/>
                    </a:cubicBezTo>
                    <a:cubicBezTo>
                      <a:pt x="1" y="11"/>
                      <a:pt x="1" y="11"/>
                      <a:pt x="1" y="11"/>
                    </a:cubicBezTo>
                    <a:cubicBezTo>
                      <a:pt x="4" y="10"/>
                      <a:pt x="7" y="9"/>
                      <a:pt x="11" y="7"/>
                    </a:cubicBezTo>
                    <a:cubicBezTo>
                      <a:pt x="14" y="6"/>
                      <a:pt x="17" y="3"/>
                      <a:pt x="18" y="0"/>
                    </a:cubicBezTo>
                    <a:cubicBezTo>
                      <a:pt x="27" y="2"/>
                      <a:pt x="27" y="2"/>
                      <a:pt x="27" y="2"/>
                    </a:cubicBezTo>
                    <a:lnTo>
                      <a:pt x="17" y="5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130" name="i$ḻîḓé"/>
              <p:cNvSpPr/>
              <p:nvPr/>
            </p:nvSpPr>
            <p:spPr bwMode="auto">
              <a:xfrm>
                <a:off x="2363684" y="6052140"/>
                <a:ext cx="66675" cy="100013"/>
              </a:xfrm>
              <a:custGeom>
                <a:avLst/>
                <a:gdLst>
                  <a:gd name="T0" fmla="*/ 0 w 36"/>
                  <a:gd name="T1" fmla="*/ 40 h 54"/>
                  <a:gd name="T2" fmla="*/ 10 w 36"/>
                  <a:gd name="T3" fmla="*/ 39 h 54"/>
                  <a:gd name="T4" fmla="*/ 11 w 36"/>
                  <a:gd name="T5" fmla="*/ 44 h 54"/>
                  <a:gd name="T6" fmla="*/ 15 w 36"/>
                  <a:gd name="T7" fmla="*/ 46 h 54"/>
                  <a:gd name="T8" fmla="*/ 21 w 36"/>
                  <a:gd name="T9" fmla="*/ 43 h 54"/>
                  <a:gd name="T10" fmla="*/ 24 w 36"/>
                  <a:gd name="T11" fmla="*/ 31 h 54"/>
                  <a:gd name="T12" fmla="*/ 15 w 36"/>
                  <a:gd name="T13" fmla="*/ 35 h 54"/>
                  <a:gd name="T14" fmla="*/ 4 w 36"/>
                  <a:gd name="T15" fmla="*/ 30 h 54"/>
                  <a:gd name="T16" fmla="*/ 0 w 36"/>
                  <a:gd name="T17" fmla="*/ 17 h 54"/>
                  <a:gd name="T18" fmla="*/ 6 w 36"/>
                  <a:gd name="T19" fmla="*/ 4 h 54"/>
                  <a:gd name="T20" fmla="*/ 19 w 36"/>
                  <a:gd name="T21" fmla="*/ 0 h 54"/>
                  <a:gd name="T22" fmla="*/ 31 w 36"/>
                  <a:gd name="T23" fmla="*/ 7 h 54"/>
                  <a:gd name="T24" fmla="*/ 35 w 36"/>
                  <a:gd name="T25" fmla="*/ 28 h 54"/>
                  <a:gd name="T26" fmla="*/ 28 w 36"/>
                  <a:gd name="T27" fmla="*/ 49 h 54"/>
                  <a:gd name="T28" fmla="*/ 14 w 36"/>
                  <a:gd name="T29" fmla="*/ 54 h 54"/>
                  <a:gd name="T30" fmla="*/ 4 w 36"/>
                  <a:gd name="T31" fmla="*/ 50 h 54"/>
                  <a:gd name="T32" fmla="*/ 0 w 36"/>
                  <a:gd name="T33" fmla="*/ 40 h 54"/>
                  <a:gd name="T34" fmla="*/ 24 w 36"/>
                  <a:gd name="T35" fmla="*/ 19 h 54"/>
                  <a:gd name="T36" fmla="*/ 23 w 36"/>
                  <a:gd name="T37" fmla="*/ 11 h 54"/>
                  <a:gd name="T38" fmla="*/ 18 w 36"/>
                  <a:gd name="T39" fmla="*/ 8 h 54"/>
                  <a:gd name="T40" fmla="*/ 13 w 36"/>
                  <a:gd name="T41" fmla="*/ 10 h 54"/>
                  <a:gd name="T42" fmla="*/ 10 w 36"/>
                  <a:gd name="T43" fmla="*/ 17 h 54"/>
                  <a:gd name="T44" fmla="*/ 12 w 36"/>
                  <a:gd name="T45" fmla="*/ 25 h 54"/>
                  <a:gd name="T46" fmla="*/ 17 w 36"/>
                  <a:gd name="T47" fmla="*/ 28 h 54"/>
                  <a:gd name="T48" fmla="*/ 22 w 36"/>
                  <a:gd name="T49" fmla="*/ 26 h 54"/>
                  <a:gd name="T50" fmla="*/ 24 w 36"/>
                  <a:gd name="T51" fmla="*/ 19 h 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6" h="54">
                    <a:moveTo>
                      <a:pt x="0" y="40"/>
                    </a:moveTo>
                    <a:cubicBezTo>
                      <a:pt x="10" y="39"/>
                      <a:pt x="10" y="39"/>
                      <a:pt x="10" y="39"/>
                    </a:cubicBezTo>
                    <a:cubicBezTo>
                      <a:pt x="10" y="41"/>
                      <a:pt x="10" y="43"/>
                      <a:pt x="11" y="44"/>
                    </a:cubicBezTo>
                    <a:cubicBezTo>
                      <a:pt x="12" y="45"/>
                      <a:pt x="14" y="46"/>
                      <a:pt x="15" y="46"/>
                    </a:cubicBezTo>
                    <a:cubicBezTo>
                      <a:pt x="17" y="46"/>
                      <a:pt x="19" y="45"/>
                      <a:pt x="21" y="43"/>
                    </a:cubicBezTo>
                    <a:cubicBezTo>
                      <a:pt x="22" y="41"/>
                      <a:pt x="24" y="37"/>
                      <a:pt x="24" y="31"/>
                    </a:cubicBezTo>
                    <a:cubicBezTo>
                      <a:pt x="22" y="34"/>
                      <a:pt x="18" y="35"/>
                      <a:pt x="15" y="35"/>
                    </a:cubicBezTo>
                    <a:cubicBezTo>
                      <a:pt x="10" y="35"/>
                      <a:pt x="7" y="33"/>
                      <a:pt x="4" y="30"/>
                    </a:cubicBezTo>
                    <a:cubicBezTo>
                      <a:pt x="1" y="26"/>
                      <a:pt x="0" y="22"/>
                      <a:pt x="0" y="17"/>
                    </a:cubicBezTo>
                    <a:cubicBezTo>
                      <a:pt x="1" y="11"/>
                      <a:pt x="3" y="7"/>
                      <a:pt x="6" y="4"/>
                    </a:cubicBezTo>
                    <a:cubicBezTo>
                      <a:pt x="10" y="1"/>
                      <a:pt x="14" y="0"/>
                      <a:pt x="19" y="0"/>
                    </a:cubicBezTo>
                    <a:cubicBezTo>
                      <a:pt x="24" y="0"/>
                      <a:pt x="28" y="3"/>
                      <a:pt x="31" y="7"/>
                    </a:cubicBezTo>
                    <a:cubicBezTo>
                      <a:pt x="35" y="12"/>
                      <a:pt x="36" y="19"/>
                      <a:pt x="35" y="28"/>
                    </a:cubicBezTo>
                    <a:cubicBezTo>
                      <a:pt x="34" y="38"/>
                      <a:pt x="32" y="44"/>
                      <a:pt x="28" y="49"/>
                    </a:cubicBezTo>
                    <a:cubicBezTo>
                      <a:pt x="24" y="53"/>
                      <a:pt x="20" y="54"/>
                      <a:pt x="14" y="54"/>
                    </a:cubicBezTo>
                    <a:cubicBezTo>
                      <a:pt x="10" y="54"/>
                      <a:pt x="7" y="52"/>
                      <a:pt x="4" y="50"/>
                    </a:cubicBezTo>
                    <a:cubicBezTo>
                      <a:pt x="2" y="48"/>
                      <a:pt x="0" y="44"/>
                      <a:pt x="0" y="40"/>
                    </a:cubicBezTo>
                    <a:close/>
                    <a:moveTo>
                      <a:pt x="24" y="19"/>
                    </a:moveTo>
                    <a:cubicBezTo>
                      <a:pt x="25" y="16"/>
                      <a:pt x="24" y="13"/>
                      <a:pt x="23" y="11"/>
                    </a:cubicBezTo>
                    <a:cubicBezTo>
                      <a:pt x="21" y="10"/>
                      <a:pt x="20" y="9"/>
                      <a:pt x="18" y="8"/>
                    </a:cubicBezTo>
                    <a:cubicBezTo>
                      <a:pt x="16" y="8"/>
                      <a:pt x="14" y="9"/>
                      <a:pt x="13" y="10"/>
                    </a:cubicBezTo>
                    <a:cubicBezTo>
                      <a:pt x="11" y="12"/>
                      <a:pt x="11" y="14"/>
                      <a:pt x="10" y="17"/>
                    </a:cubicBezTo>
                    <a:cubicBezTo>
                      <a:pt x="10" y="21"/>
                      <a:pt x="11" y="23"/>
                      <a:pt x="12" y="25"/>
                    </a:cubicBezTo>
                    <a:cubicBezTo>
                      <a:pt x="13" y="27"/>
                      <a:pt x="15" y="28"/>
                      <a:pt x="17" y="28"/>
                    </a:cubicBezTo>
                    <a:cubicBezTo>
                      <a:pt x="19" y="28"/>
                      <a:pt x="20" y="27"/>
                      <a:pt x="22" y="26"/>
                    </a:cubicBezTo>
                    <a:cubicBezTo>
                      <a:pt x="23" y="24"/>
                      <a:pt x="24" y="22"/>
                      <a:pt x="24" y="1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131" name="îṧľîḋé"/>
              <p:cNvSpPr/>
              <p:nvPr/>
            </p:nvSpPr>
            <p:spPr bwMode="auto">
              <a:xfrm>
                <a:off x="2446234" y="6053728"/>
                <a:ext cx="66675" cy="100013"/>
              </a:xfrm>
              <a:custGeom>
                <a:avLst/>
                <a:gdLst>
                  <a:gd name="T0" fmla="*/ 0 w 36"/>
                  <a:gd name="T1" fmla="*/ 40 h 54"/>
                  <a:gd name="T2" fmla="*/ 10 w 36"/>
                  <a:gd name="T3" fmla="*/ 39 h 54"/>
                  <a:gd name="T4" fmla="*/ 13 w 36"/>
                  <a:gd name="T5" fmla="*/ 44 h 54"/>
                  <a:gd name="T6" fmla="*/ 18 w 36"/>
                  <a:gd name="T7" fmla="*/ 46 h 54"/>
                  <a:gd name="T8" fmla="*/ 23 w 36"/>
                  <a:gd name="T9" fmla="*/ 43 h 54"/>
                  <a:gd name="T10" fmla="*/ 25 w 36"/>
                  <a:gd name="T11" fmla="*/ 35 h 54"/>
                  <a:gd name="T12" fmla="*/ 23 w 36"/>
                  <a:gd name="T13" fmla="*/ 28 h 54"/>
                  <a:gd name="T14" fmla="*/ 17 w 36"/>
                  <a:gd name="T15" fmla="*/ 26 h 54"/>
                  <a:gd name="T16" fmla="*/ 9 w 36"/>
                  <a:gd name="T17" fmla="*/ 30 h 54"/>
                  <a:gd name="T18" fmla="*/ 1 w 36"/>
                  <a:gd name="T19" fmla="*/ 29 h 54"/>
                  <a:gd name="T20" fmla="*/ 5 w 36"/>
                  <a:gd name="T21" fmla="*/ 1 h 54"/>
                  <a:gd name="T22" fmla="*/ 32 w 36"/>
                  <a:gd name="T23" fmla="*/ 0 h 54"/>
                  <a:gd name="T24" fmla="*/ 32 w 36"/>
                  <a:gd name="T25" fmla="*/ 10 h 54"/>
                  <a:gd name="T26" fmla="*/ 13 w 36"/>
                  <a:gd name="T27" fmla="*/ 10 h 54"/>
                  <a:gd name="T28" fmla="*/ 12 w 36"/>
                  <a:gd name="T29" fmla="*/ 19 h 54"/>
                  <a:gd name="T30" fmla="*/ 19 w 36"/>
                  <a:gd name="T31" fmla="*/ 17 h 54"/>
                  <a:gd name="T32" fmla="*/ 30 w 36"/>
                  <a:gd name="T33" fmla="*/ 22 h 54"/>
                  <a:gd name="T34" fmla="*/ 36 w 36"/>
                  <a:gd name="T35" fmla="*/ 34 h 54"/>
                  <a:gd name="T36" fmla="*/ 32 w 36"/>
                  <a:gd name="T37" fmla="*/ 46 h 54"/>
                  <a:gd name="T38" fmla="*/ 18 w 36"/>
                  <a:gd name="T39" fmla="*/ 54 h 54"/>
                  <a:gd name="T40" fmla="*/ 6 w 36"/>
                  <a:gd name="T41" fmla="*/ 50 h 54"/>
                  <a:gd name="T42" fmla="*/ 0 w 36"/>
                  <a:gd name="T43" fmla="*/ 40 h 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36" h="54">
                    <a:moveTo>
                      <a:pt x="0" y="40"/>
                    </a:moveTo>
                    <a:cubicBezTo>
                      <a:pt x="10" y="39"/>
                      <a:pt x="10" y="39"/>
                      <a:pt x="10" y="39"/>
                    </a:cubicBezTo>
                    <a:cubicBezTo>
                      <a:pt x="11" y="41"/>
                      <a:pt x="11" y="43"/>
                      <a:pt x="13" y="44"/>
                    </a:cubicBezTo>
                    <a:cubicBezTo>
                      <a:pt x="14" y="45"/>
                      <a:pt x="16" y="46"/>
                      <a:pt x="18" y="46"/>
                    </a:cubicBezTo>
                    <a:cubicBezTo>
                      <a:pt x="20" y="46"/>
                      <a:pt x="22" y="45"/>
                      <a:pt x="23" y="43"/>
                    </a:cubicBezTo>
                    <a:cubicBezTo>
                      <a:pt x="25" y="41"/>
                      <a:pt x="25" y="38"/>
                      <a:pt x="25" y="35"/>
                    </a:cubicBezTo>
                    <a:cubicBezTo>
                      <a:pt x="25" y="32"/>
                      <a:pt x="24" y="29"/>
                      <a:pt x="23" y="28"/>
                    </a:cubicBezTo>
                    <a:cubicBezTo>
                      <a:pt x="21" y="26"/>
                      <a:pt x="19" y="25"/>
                      <a:pt x="17" y="26"/>
                    </a:cubicBezTo>
                    <a:cubicBezTo>
                      <a:pt x="14" y="26"/>
                      <a:pt x="11" y="27"/>
                      <a:pt x="9" y="30"/>
                    </a:cubicBezTo>
                    <a:cubicBezTo>
                      <a:pt x="1" y="29"/>
                      <a:pt x="1" y="29"/>
                      <a:pt x="1" y="29"/>
                    </a:cubicBezTo>
                    <a:cubicBezTo>
                      <a:pt x="5" y="1"/>
                      <a:pt x="5" y="1"/>
                      <a:pt x="5" y="1"/>
                    </a:cubicBezTo>
                    <a:cubicBezTo>
                      <a:pt x="32" y="0"/>
                      <a:pt x="32" y="0"/>
                      <a:pt x="32" y="0"/>
                    </a:cubicBezTo>
                    <a:cubicBezTo>
                      <a:pt x="32" y="10"/>
                      <a:pt x="32" y="10"/>
                      <a:pt x="32" y="10"/>
                    </a:cubicBezTo>
                    <a:cubicBezTo>
                      <a:pt x="13" y="10"/>
                      <a:pt x="13" y="10"/>
                      <a:pt x="13" y="10"/>
                    </a:cubicBezTo>
                    <a:cubicBezTo>
                      <a:pt x="12" y="19"/>
                      <a:pt x="12" y="19"/>
                      <a:pt x="12" y="19"/>
                    </a:cubicBezTo>
                    <a:cubicBezTo>
                      <a:pt x="14" y="18"/>
                      <a:pt x="16" y="17"/>
                      <a:pt x="19" y="17"/>
                    </a:cubicBezTo>
                    <a:cubicBezTo>
                      <a:pt x="23" y="17"/>
                      <a:pt x="27" y="19"/>
                      <a:pt x="30" y="22"/>
                    </a:cubicBezTo>
                    <a:cubicBezTo>
                      <a:pt x="34" y="25"/>
                      <a:pt x="35" y="29"/>
                      <a:pt x="36" y="34"/>
                    </a:cubicBezTo>
                    <a:cubicBezTo>
                      <a:pt x="36" y="39"/>
                      <a:pt x="35" y="43"/>
                      <a:pt x="32" y="46"/>
                    </a:cubicBezTo>
                    <a:cubicBezTo>
                      <a:pt x="29" y="51"/>
                      <a:pt x="24" y="54"/>
                      <a:pt x="18" y="54"/>
                    </a:cubicBezTo>
                    <a:cubicBezTo>
                      <a:pt x="13" y="54"/>
                      <a:pt x="9" y="53"/>
                      <a:pt x="6" y="50"/>
                    </a:cubicBezTo>
                    <a:cubicBezTo>
                      <a:pt x="3" y="48"/>
                      <a:pt x="1" y="44"/>
                      <a:pt x="0" y="4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132" name="i$ḻïḑê"/>
              <p:cNvSpPr/>
              <p:nvPr/>
            </p:nvSpPr>
            <p:spPr bwMode="auto">
              <a:xfrm>
                <a:off x="2522434" y="6045790"/>
                <a:ext cx="74613" cy="103188"/>
              </a:xfrm>
              <a:custGeom>
                <a:avLst/>
                <a:gdLst>
                  <a:gd name="T0" fmla="*/ 39 w 40"/>
                  <a:gd name="T1" fmla="*/ 42 h 56"/>
                  <a:gd name="T2" fmla="*/ 40 w 40"/>
                  <a:gd name="T3" fmla="*/ 51 h 56"/>
                  <a:gd name="T4" fmla="*/ 5 w 40"/>
                  <a:gd name="T5" fmla="*/ 56 h 56"/>
                  <a:gd name="T6" fmla="*/ 7 w 40"/>
                  <a:gd name="T7" fmla="*/ 46 h 56"/>
                  <a:gd name="T8" fmla="*/ 16 w 40"/>
                  <a:gd name="T9" fmla="*/ 32 h 56"/>
                  <a:gd name="T10" fmla="*/ 23 w 40"/>
                  <a:gd name="T11" fmla="*/ 22 h 56"/>
                  <a:gd name="T12" fmla="*/ 24 w 40"/>
                  <a:gd name="T13" fmla="*/ 15 h 56"/>
                  <a:gd name="T14" fmla="*/ 22 w 40"/>
                  <a:gd name="T15" fmla="*/ 10 h 56"/>
                  <a:gd name="T16" fmla="*/ 17 w 40"/>
                  <a:gd name="T17" fmla="*/ 9 h 56"/>
                  <a:gd name="T18" fmla="*/ 12 w 40"/>
                  <a:gd name="T19" fmla="*/ 12 h 56"/>
                  <a:gd name="T20" fmla="*/ 11 w 40"/>
                  <a:gd name="T21" fmla="*/ 19 h 56"/>
                  <a:gd name="T22" fmla="*/ 1 w 40"/>
                  <a:gd name="T23" fmla="*/ 19 h 56"/>
                  <a:gd name="T24" fmla="*/ 4 w 40"/>
                  <a:gd name="T25" fmla="*/ 6 h 56"/>
                  <a:gd name="T26" fmla="*/ 16 w 40"/>
                  <a:gd name="T27" fmla="*/ 1 h 56"/>
                  <a:gd name="T28" fmla="*/ 28 w 40"/>
                  <a:gd name="T29" fmla="*/ 3 h 56"/>
                  <a:gd name="T30" fmla="*/ 34 w 40"/>
                  <a:gd name="T31" fmla="*/ 13 h 56"/>
                  <a:gd name="T32" fmla="*/ 34 w 40"/>
                  <a:gd name="T33" fmla="*/ 20 h 56"/>
                  <a:gd name="T34" fmla="*/ 31 w 40"/>
                  <a:gd name="T35" fmla="*/ 27 h 56"/>
                  <a:gd name="T36" fmla="*/ 26 w 40"/>
                  <a:gd name="T37" fmla="*/ 35 h 56"/>
                  <a:gd name="T38" fmla="*/ 20 w 40"/>
                  <a:gd name="T39" fmla="*/ 42 h 56"/>
                  <a:gd name="T40" fmla="*/ 19 w 40"/>
                  <a:gd name="T41" fmla="*/ 45 h 56"/>
                  <a:gd name="T42" fmla="*/ 39 w 40"/>
                  <a:gd name="T43" fmla="*/ 42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40" h="56">
                    <a:moveTo>
                      <a:pt x="39" y="42"/>
                    </a:moveTo>
                    <a:cubicBezTo>
                      <a:pt x="40" y="51"/>
                      <a:pt x="40" y="51"/>
                      <a:pt x="40" y="51"/>
                    </a:cubicBezTo>
                    <a:cubicBezTo>
                      <a:pt x="5" y="56"/>
                      <a:pt x="5" y="56"/>
                      <a:pt x="5" y="56"/>
                    </a:cubicBezTo>
                    <a:cubicBezTo>
                      <a:pt x="5" y="53"/>
                      <a:pt x="5" y="49"/>
                      <a:pt x="7" y="46"/>
                    </a:cubicBezTo>
                    <a:cubicBezTo>
                      <a:pt x="8" y="42"/>
                      <a:pt x="11" y="38"/>
                      <a:pt x="16" y="32"/>
                    </a:cubicBezTo>
                    <a:cubicBezTo>
                      <a:pt x="20" y="27"/>
                      <a:pt x="22" y="23"/>
                      <a:pt x="23" y="22"/>
                    </a:cubicBezTo>
                    <a:cubicBezTo>
                      <a:pt x="24" y="19"/>
                      <a:pt x="25" y="17"/>
                      <a:pt x="24" y="15"/>
                    </a:cubicBezTo>
                    <a:cubicBezTo>
                      <a:pt x="24" y="13"/>
                      <a:pt x="23" y="11"/>
                      <a:pt x="22" y="10"/>
                    </a:cubicBezTo>
                    <a:cubicBezTo>
                      <a:pt x="21" y="9"/>
                      <a:pt x="19" y="9"/>
                      <a:pt x="17" y="9"/>
                    </a:cubicBezTo>
                    <a:cubicBezTo>
                      <a:pt x="15" y="10"/>
                      <a:pt x="13" y="11"/>
                      <a:pt x="12" y="12"/>
                    </a:cubicBezTo>
                    <a:cubicBezTo>
                      <a:pt x="11" y="13"/>
                      <a:pt x="10" y="16"/>
                      <a:pt x="11" y="19"/>
                    </a:cubicBezTo>
                    <a:cubicBezTo>
                      <a:pt x="1" y="19"/>
                      <a:pt x="1" y="19"/>
                      <a:pt x="1" y="19"/>
                    </a:cubicBezTo>
                    <a:cubicBezTo>
                      <a:pt x="0" y="13"/>
                      <a:pt x="2" y="9"/>
                      <a:pt x="4" y="6"/>
                    </a:cubicBezTo>
                    <a:cubicBezTo>
                      <a:pt x="7" y="3"/>
                      <a:pt x="11" y="2"/>
                      <a:pt x="16" y="1"/>
                    </a:cubicBezTo>
                    <a:cubicBezTo>
                      <a:pt x="21" y="0"/>
                      <a:pt x="25" y="1"/>
                      <a:pt x="28" y="3"/>
                    </a:cubicBezTo>
                    <a:cubicBezTo>
                      <a:pt x="32" y="6"/>
                      <a:pt x="34" y="9"/>
                      <a:pt x="34" y="13"/>
                    </a:cubicBezTo>
                    <a:cubicBezTo>
                      <a:pt x="35" y="15"/>
                      <a:pt x="35" y="18"/>
                      <a:pt x="34" y="20"/>
                    </a:cubicBezTo>
                    <a:cubicBezTo>
                      <a:pt x="34" y="22"/>
                      <a:pt x="33" y="25"/>
                      <a:pt x="31" y="27"/>
                    </a:cubicBezTo>
                    <a:cubicBezTo>
                      <a:pt x="30" y="29"/>
                      <a:pt x="28" y="32"/>
                      <a:pt x="26" y="35"/>
                    </a:cubicBezTo>
                    <a:cubicBezTo>
                      <a:pt x="23" y="38"/>
                      <a:pt x="21" y="41"/>
                      <a:pt x="20" y="42"/>
                    </a:cubicBezTo>
                    <a:cubicBezTo>
                      <a:pt x="20" y="43"/>
                      <a:pt x="19" y="44"/>
                      <a:pt x="19" y="45"/>
                    </a:cubicBezTo>
                    <a:lnTo>
                      <a:pt x="39" y="4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133" name="íṧlíḍe"/>
              <p:cNvSpPr/>
              <p:nvPr/>
            </p:nvSpPr>
            <p:spPr bwMode="auto">
              <a:xfrm>
                <a:off x="2611334" y="6072778"/>
                <a:ext cx="22225" cy="23813"/>
              </a:xfrm>
              <a:custGeom>
                <a:avLst/>
                <a:gdLst>
                  <a:gd name="T0" fmla="*/ 3 w 14"/>
                  <a:gd name="T1" fmla="*/ 15 h 15"/>
                  <a:gd name="T2" fmla="*/ 0 w 14"/>
                  <a:gd name="T3" fmla="*/ 3 h 15"/>
                  <a:gd name="T4" fmla="*/ 11 w 14"/>
                  <a:gd name="T5" fmla="*/ 0 h 15"/>
                  <a:gd name="T6" fmla="*/ 14 w 14"/>
                  <a:gd name="T7" fmla="*/ 12 h 15"/>
                  <a:gd name="T8" fmla="*/ 3 w 14"/>
                  <a:gd name="T9" fmla="*/ 15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4" h="15">
                    <a:moveTo>
                      <a:pt x="3" y="15"/>
                    </a:moveTo>
                    <a:lnTo>
                      <a:pt x="0" y="3"/>
                    </a:lnTo>
                    <a:lnTo>
                      <a:pt x="11" y="0"/>
                    </a:lnTo>
                    <a:lnTo>
                      <a:pt x="14" y="12"/>
                    </a:lnTo>
                    <a:lnTo>
                      <a:pt x="3" y="1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134" name="îŝľîḓê"/>
              <p:cNvSpPr/>
              <p:nvPr/>
            </p:nvSpPr>
            <p:spPr bwMode="auto">
              <a:xfrm>
                <a:off x="2108097" y="5261565"/>
                <a:ext cx="141288" cy="257175"/>
              </a:xfrm>
              <a:custGeom>
                <a:avLst/>
                <a:gdLst>
                  <a:gd name="T0" fmla="*/ 12 w 77"/>
                  <a:gd name="T1" fmla="*/ 25 h 139"/>
                  <a:gd name="T2" fmla="*/ 9 w 77"/>
                  <a:gd name="T3" fmla="*/ 21 h 139"/>
                  <a:gd name="T4" fmla="*/ 12 w 77"/>
                  <a:gd name="T5" fmla="*/ 17 h 139"/>
                  <a:gd name="T6" fmla="*/ 39 w 77"/>
                  <a:gd name="T7" fmla="*/ 21 h 139"/>
                  <a:gd name="T8" fmla="*/ 46 w 77"/>
                  <a:gd name="T9" fmla="*/ 36 h 139"/>
                  <a:gd name="T10" fmla="*/ 46 w 77"/>
                  <a:gd name="T11" fmla="*/ 39 h 139"/>
                  <a:gd name="T12" fmla="*/ 61 w 77"/>
                  <a:gd name="T13" fmla="*/ 33 h 139"/>
                  <a:gd name="T14" fmla="*/ 57 w 77"/>
                  <a:gd name="T15" fmla="*/ 16 h 139"/>
                  <a:gd name="T16" fmla="*/ 35 w 77"/>
                  <a:gd name="T17" fmla="*/ 9 h 139"/>
                  <a:gd name="T18" fmla="*/ 27 w 77"/>
                  <a:gd name="T19" fmla="*/ 3 h 139"/>
                  <a:gd name="T20" fmla="*/ 32 w 77"/>
                  <a:gd name="T21" fmla="*/ 0 h 139"/>
                  <a:gd name="T22" fmla="*/ 61 w 77"/>
                  <a:gd name="T23" fmla="*/ 9 h 139"/>
                  <a:gd name="T24" fmla="*/ 72 w 77"/>
                  <a:gd name="T25" fmla="*/ 30 h 139"/>
                  <a:gd name="T26" fmla="*/ 48 w 77"/>
                  <a:gd name="T27" fmla="*/ 45 h 139"/>
                  <a:gd name="T28" fmla="*/ 45 w 77"/>
                  <a:gd name="T29" fmla="*/ 46 h 139"/>
                  <a:gd name="T30" fmla="*/ 45 w 77"/>
                  <a:gd name="T31" fmla="*/ 54 h 139"/>
                  <a:gd name="T32" fmla="*/ 59 w 77"/>
                  <a:gd name="T33" fmla="*/ 61 h 139"/>
                  <a:gd name="T34" fmla="*/ 77 w 77"/>
                  <a:gd name="T35" fmla="*/ 80 h 139"/>
                  <a:gd name="T36" fmla="*/ 75 w 77"/>
                  <a:gd name="T37" fmla="*/ 84 h 139"/>
                  <a:gd name="T38" fmla="*/ 71 w 77"/>
                  <a:gd name="T39" fmla="*/ 83 h 139"/>
                  <a:gd name="T40" fmla="*/ 59 w 77"/>
                  <a:gd name="T41" fmla="*/ 70 h 139"/>
                  <a:gd name="T42" fmla="*/ 45 w 77"/>
                  <a:gd name="T43" fmla="*/ 63 h 139"/>
                  <a:gd name="T44" fmla="*/ 45 w 77"/>
                  <a:gd name="T45" fmla="*/ 77 h 139"/>
                  <a:gd name="T46" fmla="*/ 53 w 77"/>
                  <a:gd name="T47" fmla="*/ 83 h 139"/>
                  <a:gd name="T48" fmla="*/ 66 w 77"/>
                  <a:gd name="T49" fmla="*/ 102 h 139"/>
                  <a:gd name="T50" fmla="*/ 72 w 77"/>
                  <a:gd name="T51" fmla="*/ 121 h 139"/>
                  <a:gd name="T52" fmla="*/ 70 w 77"/>
                  <a:gd name="T53" fmla="*/ 124 h 139"/>
                  <a:gd name="T54" fmla="*/ 67 w 77"/>
                  <a:gd name="T55" fmla="*/ 122 h 139"/>
                  <a:gd name="T56" fmla="*/ 64 w 77"/>
                  <a:gd name="T57" fmla="*/ 115 h 139"/>
                  <a:gd name="T58" fmla="*/ 55 w 77"/>
                  <a:gd name="T59" fmla="*/ 97 h 139"/>
                  <a:gd name="T60" fmla="*/ 45 w 77"/>
                  <a:gd name="T61" fmla="*/ 87 h 139"/>
                  <a:gd name="T62" fmla="*/ 45 w 77"/>
                  <a:gd name="T63" fmla="*/ 102 h 139"/>
                  <a:gd name="T64" fmla="*/ 44 w 77"/>
                  <a:gd name="T65" fmla="*/ 136 h 139"/>
                  <a:gd name="T66" fmla="*/ 41 w 77"/>
                  <a:gd name="T67" fmla="*/ 139 h 139"/>
                  <a:gd name="T68" fmla="*/ 38 w 77"/>
                  <a:gd name="T69" fmla="*/ 137 h 139"/>
                  <a:gd name="T70" fmla="*/ 37 w 77"/>
                  <a:gd name="T71" fmla="*/ 103 h 139"/>
                  <a:gd name="T72" fmla="*/ 37 w 77"/>
                  <a:gd name="T73" fmla="*/ 86 h 139"/>
                  <a:gd name="T74" fmla="*/ 28 w 77"/>
                  <a:gd name="T75" fmla="*/ 92 h 139"/>
                  <a:gd name="T76" fmla="*/ 19 w 77"/>
                  <a:gd name="T77" fmla="*/ 109 h 139"/>
                  <a:gd name="T78" fmla="*/ 12 w 77"/>
                  <a:gd name="T79" fmla="*/ 121 h 139"/>
                  <a:gd name="T80" fmla="*/ 8 w 77"/>
                  <a:gd name="T81" fmla="*/ 122 h 139"/>
                  <a:gd name="T82" fmla="*/ 7 w 77"/>
                  <a:gd name="T83" fmla="*/ 120 h 139"/>
                  <a:gd name="T84" fmla="*/ 8 w 77"/>
                  <a:gd name="T85" fmla="*/ 117 h 139"/>
                  <a:gd name="T86" fmla="*/ 11 w 77"/>
                  <a:gd name="T87" fmla="*/ 106 h 139"/>
                  <a:gd name="T88" fmla="*/ 22 w 77"/>
                  <a:gd name="T89" fmla="*/ 86 h 139"/>
                  <a:gd name="T90" fmla="*/ 37 w 77"/>
                  <a:gd name="T91" fmla="*/ 76 h 139"/>
                  <a:gd name="T92" fmla="*/ 37 w 77"/>
                  <a:gd name="T93" fmla="*/ 68 h 139"/>
                  <a:gd name="T94" fmla="*/ 37 w 77"/>
                  <a:gd name="T95" fmla="*/ 63 h 139"/>
                  <a:gd name="T96" fmla="*/ 24 w 77"/>
                  <a:gd name="T97" fmla="*/ 69 h 139"/>
                  <a:gd name="T98" fmla="*/ 16 w 77"/>
                  <a:gd name="T99" fmla="*/ 77 h 139"/>
                  <a:gd name="T100" fmla="*/ 9 w 77"/>
                  <a:gd name="T101" fmla="*/ 85 h 139"/>
                  <a:gd name="T102" fmla="*/ 6 w 77"/>
                  <a:gd name="T103" fmla="*/ 86 h 139"/>
                  <a:gd name="T104" fmla="*/ 5 w 77"/>
                  <a:gd name="T105" fmla="*/ 82 h 139"/>
                  <a:gd name="T106" fmla="*/ 22 w 77"/>
                  <a:gd name="T107" fmla="*/ 60 h 139"/>
                  <a:gd name="T108" fmla="*/ 37 w 77"/>
                  <a:gd name="T109" fmla="*/ 54 h 139"/>
                  <a:gd name="T110" fmla="*/ 37 w 77"/>
                  <a:gd name="T111" fmla="*/ 47 h 139"/>
                  <a:gd name="T112" fmla="*/ 3 w 77"/>
                  <a:gd name="T113" fmla="*/ 45 h 139"/>
                  <a:gd name="T114" fmla="*/ 0 w 77"/>
                  <a:gd name="T115" fmla="*/ 40 h 139"/>
                  <a:gd name="T116" fmla="*/ 5 w 77"/>
                  <a:gd name="T117" fmla="*/ 38 h 139"/>
                  <a:gd name="T118" fmla="*/ 37 w 77"/>
                  <a:gd name="T119" fmla="*/ 39 h 139"/>
                  <a:gd name="T120" fmla="*/ 37 w 77"/>
                  <a:gd name="T121" fmla="*/ 39 h 139"/>
                  <a:gd name="T122" fmla="*/ 33 w 77"/>
                  <a:gd name="T123" fmla="*/ 28 h 139"/>
                  <a:gd name="T124" fmla="*/ 12 w 77"/>
                  <a:gd name="T125" fmla="*/ 25 h 1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77" h="139">
                    <a:moveTo>
                      <a:pt x="12" y="25"/>
                    </a:moveTo>
                    <a:cubicBezTo>
                      <a:pt x="10" y="25"/>
                      <a:pt x="9" y="24"/>
                      <a:pt x="9" y="21"/>
                    </a:cubicBezTo>
                    <a:cubicBezTo>
                      <a:pt x="9" y="18"/>
                      <a:pt x="10" y="17"/>
                      <a:pt x="12" y="17"/>
                    </a:cubicBezTo>
                    <a:cubicBezTo>
                      <a:pt x="24" y="17"/>
                      <a:pt x="33" y="18"/>
                      <a:pt x="39" y="21"/>
                    </a:cubicBezTo>
                    <a:cubicBezTo>
                      <a:pt x="45" y="24"/>
                      <a:pt x="47" y="28"/>
                      <a:pt x="46" y="36"/>
                    </a:cubicBezTo>
                    <a:cubicBezTo>
                      <a:pt x="46" y="37"/>
                      <a:pt x="46" y="38"/>
                      <a:pt x="46" y="39"/>
                    </a:cubicBezTo>
                    <a:cubicBezTo>
                      <a:pt x="53" y="38"/>
                      <a:pt x="58" y="35"/>
                      <a:pt x="61" y="33"/>
                    </a:cubicBezTo>
                    <a:cubicBezTo>
                      <a:pt x="65" y="27"/>
                      <a:pt x="64" y="22"/>
                      <a:pt x="57" y="16"/>
                    </a:cubicBezTo>
                    <a:cubicBezTo>
                      <a:pt x="52" y="12"/>
                      <a:pt x="44" y="9"/>
                      <a:pt x="35" y="9"/>
                    </a:cubicBezTo>
                    <a:cubicBezTo>
                      <a:pt x="30" y="8"/>
                      <a:pt x="28" y="6"/>
                      <a:pt x="27" y="3"/>
                    </a:cubicBezTo>
                    <a:cubicBezTo>
                      <a:pt x="27" y="1"/>
                      <a:pt x="29" y="0"/>
                      <a:pt x="32" y="0"/>
                    </a:cubicBezTo>
                    <a:cubicBezTo>
                      <a:pt x="44" y="0"/>
                      <a:pt x="53" y="3"/>
                      <a:pt x="61" y="9"/>
                    </a:cubicBezTo>
                    <a:cubicBezTo>
                      <a:pt x="69" y="16"/>
                      <a:pt x="73" y="23"/>
                      <a:pt x="72" y="30"/>
                    </a:cubicBezTo>
                    <a:cubicBezTo>
                      <a:pt x="68" y="37"/>
                      <a:pt x="60" y="43"/>
                      <a:pt x="48" y="45"/>
                    </a:cubicBezTo>
                    <a:cubicBezTo>
                      <a:pt x="47" y="46"/>
                      <a:pt x="46" y="46"/>
                      <a:pt x="45" y="46"/>
                    </a:cubicBezTo>
                    <a:cubicBezTo>
                      <a:pt x="45" y="48"/>
                      <a:pt x="45" y="51"/>
                      <a:pt x="45" y="54"/>
                    </a:cubicBezTo>
                    <a:cubicBezTo>
                      <a:pt x="49" y="54"/>
                      <a:pt x="54" y="57"/>
                      <a:pt x="59" y="61"/>
                    </a:cubicBezTo>
                    <a:cubicBezTo>
                      <a:pt x="66" y="66"/>
                      <a:pt x="72" y="72"/>
                      <a:pt x="77" y="80"/>
                    </a:cubicBezTo>
                    <a:cubicBezTo>
                      <a:pt x="77" y="82"/>
                      <a:pt x="77" y="83"/>
                      <a:pt x="75" y="84"/>
                    </a:cubicBezTo>
                    <a:cubicBezTo>
                      <a:pt x="74" y="85"/>
                      <a:pt x="72" y="85"/>
                      <a:pt x="71" y="83"/>
                    </a:cubicBezTo>
                    <a:cubicBezTo>
                      <a:pt x="69" y="80"/>
                      <a:pt x="65" y="76"/>
                      <a:pt x="59" y="70"/>
                    </a:cubicBezTo>
                    <a:cubicBezTo>
                      <a:pt x="54" y="66"/>
                      <a:pt x="49" y="64"/>
                      <a:pt x="45" y="63"/>
                    </a:cubicBezTo>
                    <a:cubicBezTo>
                      <a:pt x="45" y="77"/>
                      <a:pt x="45" y="77"/>
                      <a:pt x="45" y="77"/>
                    </a:cubicBezTo>
                    <a:cubicBezTo>
                      <a:pt x="48" y="78"/>
                      <a:pt x="51" y="80"/>
                      <a:pt x="53" y="83"/>
                    </a:cubicBezTo>
                    <a:cubicBezTo>
                      <a:pt x="59" y="88"/>
                      <a:pt x="63" y="94"/>
                      <a:pt x="66" y="102"/>
                    </a:cubicBezTo>
                    <a:cubicBezTo>
                      <a:pt x="71" y="109"/>
                      <a:pt x="73" y="116"/>
                      <a:pt x="72" y="121"/>
                    </a:cubicBezTo>
                    <a:cubicBezTo>
                      <a:pt x="72" y="122"/>
                      <a:pt x="72" y="123"/>
                      <a:pt x="70" y="124"/>
                    </a:cubicBezTo>
                    <a:cubicBezTo>
                      <a:pt x="69" y="124"/>
                      <a:pt x="68" y="124"/>
                      <a:pt x="67" y="122"/>
                    </a:cubicBezTo>
                    <a:cubicBezTo>
                      <a:pt x="67" y="121"/>
                      <a:pt x="66" y="118"/>
                      <a:pt x="64" y="115"/>
                    </a:cubicBezTo>
                    <a:cubicBezTo>
                      <a:pt x="60" y="107"/>
                      <a:pt x="57" y="102"/>
                      <a:pt x="55" y="97"/>
                    </a:cubicBezTo>
                    <a:cubicBezTo>
                      <a:pt x="51" y="91"/>
                      <a:pt x="48" y="88"/>
                      <a:pt x="45" y="87"/>
                    </a:cubicBezTo>
                    <a:cubicBezTo>
                      <a:pt x="45" y="102"/>
                      <a:pt x="45" y="102"/>
                      <a:pt x="45" y="102"/>
                    </a:cubicBezTo>
                    <a:cubicBezTo>
                      <a:pt x="45" y="117"/>
                      <a:pt x="45" y="128"/>
                      <a:pt x="44" y="136"/>
                    </a:cubicBezTo>
                    <a:cubicBezTo>
                      <a:pt x="43" y="137"/>
                      <a:pt x="42" y="138"/>
                      <a:pt x="41" y="139"/>
                    </a:cubicBezTo>
                    <a:cubicBezTo>
                      <a:pt x="40" y="139"/>
                      <a:pt x="39" y="139"/>
                      <a:pt x="38" y="137"/>
                    </a:cubicBezTo>
                    <a:cubicBezTo>
                      <a:pt x="37" y="135"/>
                      <a:pt x="37" y="123"/>
                      <a:pt x="37" y="103"/>
                    </a:cubicBezTo>
                    <a:cubicBezTo>
                      <a:pt x="37" y="97"/>
                      <a:pt x="37" y="92"/>
                      <a:pt x="37" y="86"/>
                    </a:cubicBezTo>
                    <a:cubicBezTo>
                      <a:pt x="34" y="87"/>
                      <a:pt x="31" y="89"/>
                      <a:pt x="28" y="92"/>
                    </a:cubicBezTo>
                    <a:cubicBezTo>
                      <a:pt x="24" y="98"/>
                      <a:pt x="21" y="103"/>
                      <a:pt x="19" y="109"/>
                    </a:cubicBezTo>
                    <a:cubicBezTo>
                      <a:pt x="17" y="113"/>
                      <a:pt x="15" y="117"/>
                      <a:pt x="12" y="121"/>
                    </a:cubicBezTo>
                    <a:cubicBezTo>
                      <a:pt x="11" y="122"/>
                      <a:pt x="9" y="122"/>
                      <a:pt x="8" y="122"/>
                    </a:cubicBezTo>
                    <a:cubicBezTo>
                      <a:pt x="7" y="122"/>
                      <a:pt x="7" y="121"/>
                      <a:pt x="7" y="120"/>
                    </a:cubicBezTo>
                    <a:cubicBezTo>
                      <a:pt x="7" y="119"/>
                      <a:pt x="7" y="118"/>
                      <a:pt x="8" y="117"/>
                    </a:cubicBezTo>
                    <a:cubicBezTo>
                      <a:pt x="9" y="112"/>
                      <a:pt x="10" y="108"/>
                      <a:pt x="11" y="106"/>
                    </a:cubicBezTo>
                    <a:cubicBezTo>
                      <a:pt x="13" y="101"/>
                      <a:pt x="17" y="94"/>
                      <a:pt x="22" y="86"/>
                    </a:cubicBezTo>
                    <a:cubicBezTo>
                      <a:pt x="27" y="80"/>
                      <a:pt x="32" y="77"/>
                      <a:pt x="37" y="76"/>
                    </a:cubicBezTo>
                    <a:cubicBezTo>
                      <a:pt x="37" y="68"/>
                      <a:pt x="37" y="68"/>
                      <a:pt x="37" y="68"/>
                    </a:cubicBezTo>
                    <a:cubicBezTo>
                      <a:pt x="37" y="63"/>
                      <a:pt x="37" y="63"/>
                      <a:pt x="37" y="63"/>
                    </a:cubicBezTo>
                    <a:cubicBezTo>
                      <a:pt x="33" y="64"/>
                      <a:pt x="29" y="66"/>
                      <a:pt x="24" y="69"/>
                    </a:cubicBezTo>
                    <a:cubicBezTo>
                      <a:pt x="23" y="70"/>
                      <a:pt x="20" y="72"/>
                      <a:pt x="16" y="77"/>
                    </a:cubicBezTo>
                    <a:cubicBezTo>
                      <a:pt x="13" y="81"/>
                      <a:pt x="11" y="83"/>
                      <a:pt x="9" y="85"/>
                    </a:cubicBezTo>
                    <a:cubicBezTo>
                      <a:pt x="8" y="86"/>
                      <a:pt x="7" y="87"/>
                      <a:pt x="6" y="86"/>
                    </a:cubicBezTo>
                    <a:cubicBezTo>
                      <a:pt x="5" y="86"/>
                      <a:pt x="5" y="84"/>
                      <a:pt x="5" y="82"/>
                    </a:cubicBezTo>
                    <a:cubicBezTo>
                      <a:pt x="10" y="73"/>
                      <a:pt x="15" y="65"/>
                      <a:pt x="22" y="60"/>
                    </a:cubicBezTo>
                    <a:cubicBezTo>
                      <a:pt x="27" y="56"/>
                      <a:pt x="32" y="54"/>
                      <a:pt x="37" y="54"/>
                    </a:cubicBezTo>
                    <a:cubicBezTo>
                      <a:pt x="37" y="47"/>
                      <a:pt x="37" y="47"/>
                      <a:pt x="37" y="47"/>
                    </a:cubicBezTo>
                    <a:cubicBezTo>
                      <a:pt x="22" y="49"/>
                      <a:pt x="10" y="48"/>
                      <a:pt x="3" y="45"/>
                    </a:cubicBezTo>
                    <a:cubicBezTo>
                      <a:pt x="1" y="44"/>
                      <a:pt x="0" y="42"/>
                      <a:pt x="0" y="40"/>
                    </a:cubicBezTo>
                    <a:cubicBezTo>
                      <a:pt x="1" y="38"/>
                      <a:pt x="3" y="38"/>
                      <a:pt x="5" y="38"/>
                    </a:cubicBezTo>
                    <a:cubicBezTo>
                      <a:pt x="12" y="40"/>
                      <a:pt x="22" y="40"/>
                      <a:pt x="37" y="39"/>
                    </a:cubicBezTo>
                    <a:cubicBezTo>
                      <a:pt x="37" y="39"/>
                      <a:pt x="37" y="39"/>
                      <a:pt x="37" y="39"/>
                    </a:cubicBezTo>
                    <a:cubicBezTo>
                      <a:pt x="38" y="32"/>
                      <a:pt x="36" y="29"/>
                      <a:pt x="33" y="28"/>
                    </a:cubicBezTo>
                    <a:cubicBezTo>
                      <a:pt x="26" y="25"/>
                      <a:pt x="19" y="24"/>
                      <a:pt x="12" y="2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135" name="íṣlíḑe"/>
              <p:cNvSpPr/>
              <p:nvPr/>
            </p:nvSpPr>
            <p:spPr bwMode="auto">
              <a:xfrm>
                <a:off x="2273197" y="5255215"/>
                <a:ext cx="163513" cy="263525"/>
              </a:xfrm>
              <a:custGeom>
                <a:avLst/>
                <a:gdLst>
                  <a:gd name="T0" fmla="*/ 47 w 88"/>
                  <a:gd name="T1" fmla="*/ 8 h 143"/>
                  <a:gd name="T2" fmla="*/ 74 w 88"/>
                  <a:gd name="T3" fmla="*/ 14 h 143"/>
                  <a:gd name="T4" fmla="*/ 82 w 88"/>
                  <a:gd name="T5" fmla="*/ 26 h 143"/>
                  <a:gd name="T6" fmla="*/ 79 w 88"/>
                  <a:gd name="T7" fmla="*/ 75 h 143"/>
                  <a:gd name="T8" fmla="*/ 86 w 88"/>
                  <a:gd name="T9" fmla="*/ 136 h 143"/>
                  <a:gd name="T10" fmla="*/ 73 w 88"/>
                  <a:gd name="T11" fmla="*/ 45 h 143"/>
                  <a:gd name="T12" fmla="*/ 67 w 88"/>
                  <a:gd name="T13" fmla="*/ 44 h 143"/>
                  <a:gd name="T14" fmla="*/ 54 w 88"/>
                  <a:gd name="T15" fmla="*/ 58 h 143"/>
                  <a:gd name="T16" fmla="*/ 22 w 88"/>
                  <a:gd name="T17" fmla="*/ 54 h 143"/>
                  <a:gd name="T18" fmla="*/ 15 w 88"/>
                  <a:gd name="T19" fmla="*/ 45 h 143"/>
                  <a:gd name="T20" fmla="*/ 11 w 88"/>
                  <a:gd name="T21" fmla="*/ 91 h 143"/>
                  <a:gd name="T22" fmla="*/ 9 w 88"/>
                  <a:gd name="T23" fmla="*/ 118 h 143"/>
                  <a:gd name="T24" fmla="*/ 2 w 88"/>
                  <a:gd name="T25" fmla="*/ 139 h 143"/>
                  <a:gd name="T26" fmla="*/ 6 w 88"/>
                  <a:gd name="T27" fmla="*/ 80 h 143"/>
                  <a:gd name="T28" fmla="*/ 2 w 88"/>
                  <a:gd name="T29" fmla="*/ 26 h 143"/>
                  <a:gd name="T30" fmla="*/ 32 w 88"/>
                  <a:gd name="T31" fmla="*/ 10 h 143"/>
                  <a:gd name="T32" fmla="*/ 39 w 88"/>
                  <a:gd name="T33" fmla="*/ 0 h 143"/>
                  <a:gd name="T34" fmla="*/ 24 w 88"/>
                  <a:gd name="T35" fmla="*/ 23 h 143"/>
                  <a:gd name="T36" fmla="*/ 66 w 88"/>
                  <a:gd name="T37" fmla="*/ 29 h 143"/>
                  <a:gd name="T38" fmla="*/ 67 w 88"/>
                  <a:gd name="T39" fmla="*/ 37 h 143"/>
                  <a:gd name="T40" fmla="*/ 73 w 88"/>
                  <a:gd name="T41" fmla="*/ 34 h 143"/>
                  <a:gd name="T42" fmla="*/ 66 w 88"/>
                  <a:gd name="T43" fmla="*/ 20 h 143"/>
                  <a:gd name="T44" fmla="*/ 13 w 88"/>
                  <a:gd name="T45" fmla="*/ 21 h 143"/>
                  <a:gd name="T46" fmla="*/ 12 w 88"/>
                  <a:gd name="T47" fmla="*/ 32 h 143"/>
                  <a:gd name="T48" fmla="*/ 17 w 88"/>
                  <a:gd name="T49" fmla="*/ 38 h 143"/>
                  <a:gd name="T50" fmla="*/ 24 w 88"/>
                  <a:gd name="T51" fmla="*/ 23 h 143"/>
                  <a:gd name="T52" fmla="*/ 61 w 88"/>
                  <a:gd name="T53" fmla="*/ 64 h 143"/>
                  <a:gd name="T54" fmla="*/ 66 w 88"/>
                  <a:gd name="T55" fmla="*/ 96 h 143"/>
                  <a:gd name="T56" fmla="*/ 61 w 88"/>
                  <a:gd name="T57" fmla="*/ 136 h 143"/>
                  <a:gd name="T58" fmla="*/ 59 w 88"/>
                  <a:gd name="T59" fmla="*/ 143 h 143"/>
                  <a:gd name="T60" fmla="*/ 46 w 88"/>
                  <a:gd name="T61" fmla="*/ 105 h 143"/>
                  <a:gd name="T62" fmla="*/ 30 w 88"/>
                  <a:gd name="T63" fmla="*/ 140 h 143"/>
                  <a:gd name="T64" fmla="*/ 26 w 88"/>
                  <a:gd name="T65" fmla="*/ 137 h 143"/>
                  <a:gd name="T66" fmla="*/ 32 w 88"/>
                  <a:gd name="T67" fmla="*/ 121 h 143"/>
                  <a:gd name="T68" fmla="*/ 35 w 88"/>
                  <a:gd name="T69" fmla="*/ 105 h 143"/>
                  <a:gd name="T70" fmla="*/ 18 w 88"/>
                  <a:gd name="T71" fmla="*/ 75 h 143"/>
                  <a:gd name="T72" fmla="*/ 24 w 88"/>
                  <a:gd name="T73" fmla="*/ 35 h 143"/>
                  <a:gd name="T74" fmla="*/ 39 w 88"/>
                  <a:gd name="T75" fmla="*/ 37 h 143"/>
                  <a:gd name="T76" fmla="*/ 34 w 88"/>
                  <a:gd name="T77" fmla="*/ 29 h 143"/>
                  <a:gd name="T78" fmla="*/ 24 w 88"/>
                  <a:gd name="T79" fmla="*/ 35 h 143"/>
                  <a:gd name="T80" fmla="*/ 62 w 88"/>
                  <a:gd name="T81" fmla="*/ 84 h 143"/>
                  <a:gd name="T82" fmla="*/ 43 w 88"/>
                  <a:gd name="T83" fmla="*/ 81 h 143"/>
                  <a:gd name="T84" fmla="*/ 25 w 88"/>
                  <a:gd name="T85" fmla="*/ 87 h 143"/>
                  <a:gd name="T86" fmla="*/ 26 w 88"/>
                  <a:gd name="T87" fmla="*/ 48 h 143"/>
                  <a:gd name="T88" fmla="*/ 38 w 88"/>
                  <a:gd name="T89" fmla="*/ 52 h 143"/>
                  <a:gd name="T90" fmla="*/ 25 w 88"/>
                  <a:gd name="T91" fmla="*/ 44 h 143"/>
                  <a:gd name="T92" fmla="*/ 32 w 88"/>
                  <a:gd name="T93" fmla="*/ 69 h 143"/>
                  <a:gd name="T94" fmla="*/ 41 w 88"/>
                  <a:gd name="T95" fmla="*/ 75 h 143"/>
                  <a:gd name="T96" fmla="*/ 57 w 88"/>
                  <a:gd name="T97" fmla="*/ 70 h 143"/>
                  <a:gd name="T98" fmla="*/ 56 w 88"/>
                  <a:gd name="T99" fmla="*/ 98 h 143"/>
                  <a:gd name="T100" fmla="*/ 54 w 88"/>
                  <a:gd name="T101" fmla="*/ 93 h 143"/>
                  <a:gd name="T102" fmla="*/ 36 w 88"/>
                  <a:gd name="T103" fmla="*/ 93 h 143"/>
                  <a:gd name="T104" fmla="*/ 32 w 88"/>
                  <a:gd name="T105" fmla="*/ 98 h 143"/>
                  <a:gd name="T106" fmla="*/ 56 w 88"/>
                  <a:gd name="T107" fmla="*/ 29 h 143"/>
                  <a:gd name="T108" fmla="*/ 46 w 88"/>
                  <a:gd name="T109" fmla="*/ 29 h 143"/>
                  <a:gd name="T110" fmla="*/ 60 w 88"/>
                  <a:gd name="T111" fmla="*/ 37 h 143"/>
                  <a:gd name="T112" fmla="*/ 56 w 88"/>
                  <a:gd name="T113" fmla="*/ 29 h 143"/>
                  <a:gd name="T114" fmla="*/ 60 w 88"/>
                  <a:gd name="T115" fmla="*/ 43 h 143"/>
                  <a:gd name="T116" fmla="*/ 46 w 88"/>
                  <a:gd name="T117" fmla="*/ 52 h 143"/>
                  <a:gd name="T118" fmla="*/ 59 w 88"/>
                  <a:gd name="T119" fmla="*/ 48 h 1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88" h="143">
                    <a:moveTo>
                      <a:pt x="43" y="2"/>
                    </a:moveTo>
                    <a:cubicBezTo>
                      <a:pt x="45" y="3"/>
                      <a:pt x="47" y="6"/>
                      <a:pt x="47" y="8"/>
                    </a:cubicBezTo>
                    <a:cubicBezTo>
                      <a:pt x="47" y="9"/>
                      <a:pt x="48" y="10"/>
                      <a:pt x="49" y="10"/>
                    </a:cubicBezTo>
                    <a:cubicBezTo>
                      <a:pt x="57" y="10"/>
                      <a:pt x="66" y="12"/>
                      <a:pt x="74" y="14"/>
                    </a:cubicBezTo>
                    <a:cubicBezTo>
                      <a:pt x="78" y="16"/>
                      <a:pt x="81" y="18"/>
                      <a:pt x="81" y="19"/>
                    </a:cubicBezTo>
                    <a:cubicBezTo>
                      <a:pt x="82" y="21"/>
                      <a:pt x="82" y="24"/>
                      <a:pt x="82" y="26"/>
                    </a:cubicBezTo>
                    <a:cubicBezTo>
                      <a:pt x="82" y="27"/>
                      <a:pt x="82" y="27"/>
                      <a:pt x="82" y="28"/>
                    </a:cubicBezTo>
                    <a:cubicBezTo>
                      <a:pt x="79" y="39"/>
                      <a:pt x="78" y="55"/>
                      <a:pt x="79" y="75"/>
                    </a:cubicBezTo>
                    <a:cubicBezTo>
                      <a:pt x="80" y="87"/>
                      <a:pt x="83" y="106"/>
                      <a:pt x="87" y="131"/>
                    </a:cubicBezTo>
                    <a:cubicBezTo>
                      <a:pt x="88" y="134"/>
                      <a:pt x="87" y="135"/>
                      <a:pt x="86" y="136"/>
                    </a:cubicBezTo>
                    <a:cubicBezTo>
                      <a:pt x="84" y="137"/>
                      <a:pt x="82" y="136"/>
                      <a:pt x="82" y="133"/>
                    </a:cubicBezTo>
                    <a:cubicBezTo>
                      <a:pt x="74" y="106"/>
                      <a:pt x="71" y="76"/>
                      <a:pt x="73" y="45"/>
                    </a:cubicBezTo>
                    <a:cubicBezTo>
                      <a:pt x="72" y="45"/>
                      <a:pt x="71" y="44"/>
                      <a:pt x="70" y="44"/>
                    </a:cubicBezTo>
                    <a:cubicBezTo>
                      <a:pt x="69" y="44"/>
                      <a:pt x="68" y="44"/>
                      <a:pt x="67" y="44"/>
                    </a:cubicBezTo>
                    <a:cubicBezTo>
                      <a:pt x="67" y="48"/>
                      <a:pt x="66" y="51"/>
                      <a:pt x="64" y="54"/>
                    </a:cubicBezTo>
                    <a:cubicBezTo>
                      <a:pt x="62" y="57"/>
                      <a:pt x="59" y="59"/>
                      <a:pt x="54" y="58"/>
                    </a:cubicBezTo>
                    <a:cubicBezTo>
                      <a:pt x="47" y="58"/>
                      <a:pt x="39" y="58"/>
                      <a:pt x="32" y="58"/>
                    </a:cubicBezTo>
                    <a:cubicBezTo>
                      <a:pt x="28" y="59"/>
                      <a:pt x="25" y="58"/>
                      <a:pt x="22" y="54"/>
                    </a:cubicBezTo>
                    <a:cubicBezTo>
                      <a:pt x="20" y="51"/>
                      <a:pt x="19" y="48"/>
                      <a:pt x="18" y="45"/>
                    </a:cubicBezTo>
                    <a:cubicBezTo>
                      <a:pt x="17" y="45"/>
                      <a:pt x="16" y="45"/>
                      <a:pt x="15" y="45"/>
                    </a:cubicBezTo>
                    <a:cubicBezTo>
                      <a:pt x="14" y="45"/>
                      <a:pt x="13" y="45"/>
                      <a:pt x="13" y="45"/>
                    </a:cubicBezTo>
                    <a:cubicBezTo>
                      <a:pt x="13" y="60"/>
                      <a:pt x="13" y="75"/>
                      <a:pt x="11" y="91"/>
                    </a:cubicBezTo>
                    <a:cubicBezTo>
                      <a:pt x="11" y="95"/>
                      <a:pt x="11" y="102"/>
                      <a:pt x="10" y="111"/>
                    </a:cubicBezTo>
                    <a:cubicBezTo>
                      <a:pt x="10" y="108"/>
                      <a:pt x="10" y="111"/>
                      <a:pt x="9" y="118"/>
                    </a:cubicBezTo>
                    <a:cubicBezTo>
                      <a:pt x="9" y="124"/>
                      <a:pt x="8" y="130"/>
                      <a:pt x="6" y="134"/>
                    </a:cubicBezTo>
                    <a:cubicBezTo>
                      <a:pt x="5" y="138"/>
                      <a:pt x="3" y="139"/>
                      <a:pt x="2" y="139"/>
                    </a:cubicBezTo>
                    <a:cubicBezTo>
                      <a:pt x="0" y="139"/>
                      <a:pt x="0" y="137"/>
                      <a:pt x="0" y="133"/>
                    </a:cubicBezTo>
                    <a:cubicBezTo>
                      <a:pt x="3" y="112"/>
                      <a:pt x="5" y="94"/>
                      <a:pt x="6" y="80"/>
                    </a:cubicBezTo>
                    <a:cubicBezTo>
                      <a:pt x="8" y="64"/>
                      <a:pt x="7" y="51"/>
                      <a:pt x="6" y="38"/>
                    </a:cubicBezTo>
                    <a:cubicBezTo>
                      <a:pt x="5" y="34"/>
                      <a:pt x="4" y="30"/>
                      <a:pt x="2" y="26"/>
                    </a:cubicBezTo>
                    <a:cubicBezTo>
                      <a:pt x="0" y="21"/>
                      <a:pt x="1" y="17"/>
                      <a:pt x="6" y="16"/>
                    </a:cubicBezTo>
                    <a:cubicBezTo>
                      <a:pt x="14" y="12"/>
                      <a:pt x="23" y="11"/>
                      <a:pt x="32" y="10"/>
                    </a:cubicBezTo>
                    <a:cubicBezTo>
                      <a:pt x="36" y="9"/>
                      <a:pt x="38" y="7"/>
                      <a:pt x="38" y="4"/>
                    </a:cubicBezTo>
                    <a:cubicBezTo>
                      <a:pt x="38" y="2"/>
                      <a:pt x="38" y="1"/>
                      <a:pt x="39" y="0"/>
                    </a:cubicBezTo>
                    <a:cubicBezTo>
                      <a:pt x="41" y="0"/>
                      <a:pt x="42" y="0"/>
                      <a:pt x="43" y="2"/>
                    </a:cubicBezTo>
                    <a:close/>
                    <a:moveTo>
                      <a:pt x="24" y="23"/>
                    </a:moveTo>
                    <a:cubicBezTo>
                      <a:pt x="33" y="22"/>
                      <a:pt x="44" y="22"/>
                      <a:pt x="58" y="23"/>
                    </a:cubicBezTo>
                    <a:cubicBezTo>
                      <a:pt x="63" y="24"/>
                      <a:pt x="66" y="26"/>
                      <a:pt x="66" y="29"/>
                    </a:cubicBezTo>
                    <a:cubicBezTo>
                      <a:pt x="66" y="30"/>
                      <a:pt x="66" y="30"/>
                      <a:pt x="67" y="31"/>
                    </a:cubicBezTo>
                    <a:cubicBezTo>
                      <a:pt x="67" y="33"/>
                      <a:pt x="67" y="35"/>
                      <a:pt x="67" y="37"/>
                    </a:cubicBezTo>
                    <a:cubicBezTo>
                      <a:pt x="69" y="38"/>
                      <a:pt x="71" y="38"/>
                      <a:pt x="73" y="38"/>
                    </a:cubicBezTo>
                    <a:cubicBezTo>
                      <a:pt x="73" y="37"/>
                      <a:pt x="73" y="36"/>
                      <a:pt x="73" y="34"/>
                    </a:cubicBezTo>
                    <a:cubicBezTo>
                      <a:pt x="73" y="32"/>
                      <a:pt x="73" y="30"/>
                      <a:pt x="74" y="29"/>
                    </a:cubicBezTo>
                    <a:cubicBezTo>
                      <a:pt x="75" y="25"/>
                      <a:pt x="72" y="21"/>
                      <a:pt x="66" y="20"/>
                    </a:cubicBezTo>
                    <a:cubicBezTo>
                      <a:pt x="58" y="17"/>
                      <a:pt x="50" y="16"/>
                      <a:pt x="40" y="16"/>
                    </a:cubicBezTo>
                    <a:cubicBezTo>
                      <a:pt x="29" y="16"/>
                      <a:pt x="20" y="18"/>
                      <a:pt x="13" y="21"/>
                    </a:cubicBezTo>
                    <a:cubicBezTo>
                      <a:pt x="11" y="22"/>
                      <a:pt x="11" y="24"/>
                      <a:pt x="11" y="26"/>
                    </a:cubicBezTo>
                    <a:cubicBezTo>
                      <a:pt x="11" y="28"/>
                      <a:pt x="12" y="30"/>
                      <a:pt x="12" y="32"/>
                    </a:cubicBezTo>
                    <a:cubicBezTo>
                      <a:pt x="12" y="35"/>
                      <a:pt x="12" y="37"/>
                      <a:pt x="12" y="38"/>
                    </a:cubicBezTo>
                    <a:cubicBezTo>
                      <a:pt x="14" y="38"/>
                      <a:pt x="15" y="38"/>
                      <a:pt x="17" y="38"/>
                    </a:cubicBezTo>
                    <a:cubicBezTo>
                      <a:pt x="17" y="35"/>
                      <a:pt x="17" y="32"/>
                      <a:pt x="17" y="30"/>
                    </a:cubicBezTo>
                    <a:cubicBezTo>
                      <a:pt x="18" y="26"/>
                      <a:pt x="20" y="24"/>
                      <a:pt x="24" y="23"/>
                    </a:cubicBezTo>
                    <a:close/>
                    <a:moveTo>
                      <a:pt x="28" y="64"/>
                    </a:moveTo>
                    <a:cubicBezTo>
                      <a:pt x="39" y="62"/>
                      <a:pt x="50" y="62"/>
                      <a:pt x="61" y="64"/>
                    </a:cubicBezTo>
                    <a:cubicBezTo>
                      <a:pt x="65" y="65"/>
                      <a:pt x="67" y="67"/>
                      <a:pt x="67" y="71"/>
                    </a:cubicBezTo>
                    <a:cubicBezTo>
                      <a:pt x="69" y="79"/>
                      <a:pt x="68" y="88"/>
                      <a:pt x="66" y="96"/>
                    </a:cubicBezTo>
                    <a:cubicBezTo>
                      <a:pt x="65" y="102"/>
                      <a:pt x="61" y="105"/>
                      <a:pt x="54" y="105"/>
                    </a:cubicBezTo>
                    <a:cubicBezTo>
                      <a:pt x="55" y="115"/>
                      <a:pt x="57" y="125"/>
                      <a:pt x="61" y="136"/>
                    </a:cubicBezTo>
                    <a:cubicBezTo>
                      <a:pt x="63" y="138"/>
                      <a:pt x="63" y="140"/>
                      <a:pt x="61" y="142"/>
                    </a:cubicBezTo>
                    <a:cubicBezTo>
                      <a:pt x="60" y="142"/>
                      <a:pt x="59" y="143"/>
                      <a:pt x="59" y="143"/>
                    </a:cubicBezTo>
                    <a:cubicBezTo>
                      <a:pt x="58" y="143"/>
                      <a:pt x="57" y="142"/>
                      <a:pt x="57" y="141"/>
                    </a:cubicBezTo>
                    <a:cubicBezTo>
                      <a:pt x="52" y="131"/>
                      <a:pt x="48" y="120"/>
                      <a:pt x="46" y="105"/>
                    </a:cubicBezTo>
                    <a:cubicBezTo>
                      <a:pt x="41" y="105"/>
                      <a:pt x="41" y="105"/>
                      <a:pt x="41" y="105"/>
                    </a:cubicBezTo>
                    <a:cubicBezTo>
                      <a:pt x="40" y="120"/>
                      <a:pt x="37" y="131"/>
                      <a:pt x="30" y="140"/>
                    </a:cubicBezTo>
                    <a:cubicBezTo>
                      <a:pt x="29" y="141"/>
                      <a:pt x="27" y="142"/>
                      <a:pt x="26" y="142"/>
                    </a:cubicBezTo>
                    <a:cubicBezTo>
                      <a:pt x="25" y="141"/>
                      <a:pt x="25" y="139"/>
                      <a:pt x="26" y="137"/>
                    </a:cubicBezTo>
                    <a:cubicBezTo>
                      <a:pt x="26" y="137"/>
                      <a:pt x="26" y="135"/>
                      <a:pt x="28" y="132"/>
                    </a:cubicBezTo>
                    <a:cubicBezTo>
                      <a:pt x="30" y="127"/>
                      <a:pt x="32" y="123"/>
                      <a:pt x="32" y="121"/>
                    </a:cubicBezTo>
                    <a:cubicBezTo>
                      <a:pt x="33" y="118"/>
                      <a:pt x="34" y="113"/>
                      <a:pt x="35" y="107"/>
                    </a:cubicBezTo>
                    <a:cubicBezTo>
                      <a:pt x="35" y="106"/>
                      <a:pt x="35" y="106"/>
                      <a:pt x="35" y="105"/>
                    </a:cubicBezTo>
                    <a:cubicBezTo>
                      <a:pt x="29" y="105"/>
                      <a:pt x="25" y="103"/>
                      <a:pt x="22" y="98"/>
                    </a:cubicBezTo>
                    <a:cubicBezTo>
                      <a:pt x="19" y="93"/>
                      <a:pt x="17" y="85"/>
                      <a:pt x="18" y="75"/>
                    </a:cubicBezTo>
                    <a:cubicBezTo>
                      <a:pt x="19" y="68"/>
                      <a:pt x="22" y="65"/>
                      <a:pt x="28" y="64"/>
                    </a:cubicBezTo>
                    <a:close/>
                    <a:moveTo>
                      <a:pt x="24" y="35"/>
                    </a:moveTo>
                    <a:cubicBezTo>
                      <a:pt x="24" y="36"/>
                      <a:pt x="24" y="36"/>
                      <a:pt x="24" y="37"/>
                    </a:cubicBezTo>
                    <a:cubicBezTo>
                      <a:pt x="29" y="37"/>
                      <a:pt x="34" y="37"/>
                      <a:pt x="39" y="37"/>
                    </a:cubicBezTo>
                    <a:cubicBezTo>
                      <a:pt x="39" y="34"/>
                      <a:pt x="38" y="31"/>
                      <a:pt x="38" y="29"/>
                    </a:cubicBezTo>
                    <a:cubicBezTo>
                      <a:pt x="37" y="29"/>
                      <a:pt x="36" y="29"/>
                      <a:pt x="34" y="29"/>
                    </a:cubicBezTo>
                    <a:cubicBezTo>
                      <a:pt x="31" y="29"/>
                      <a:pt x="30" y="29"/>
                      <a:pt x="28" y="29"/>
                    </a:cubicBezTo>
                    <a:cubicBezTo>
                      <a:pt x="25" y="31"/>
                      <a:pt x="24" y="32"/>
                      <a:pt x="24" y="35"/>
                    </a:cubicBezTo>
                    <a:close/>
                    <a:moveTo>
                      <a:pt x="61" y="87"/>
                    </a:moveTo>
                    <a:cubicBezTo>
                      <a:pt x="61" y="86"/>
                      <a:pt x="62" y="85"/>
                      <a:pt x="62" y="84"/>
                    </a:cubicBezTo>
                    <a:cubicBezTo>
                      <a:pt x="62" y="83"/>
                      <a:pt x="62" y="82"/>
                      <a:pt x="62" y="82"/>
                    </a:cubicBezTo>
                    <a:cubicBezTo>
                      <a:pt x="56" y="81"/>
                      <a:pt x="50" y="80"/>
                      <a:pt x="43" y="81"/>
                    </a:cubicBezTo>
                    <a:cubicBezTo>
                      <a:pt x="37" y="81"/>
                      <a:pt x="31" y="82"/>
                      <a:pt x="24" y="83"/>
                    </a:cubicBezTo>
                    <a:cubicBezTo>
                      <a:pt x="25" y="87"/>
                      <a:pt x="25" y="87"/>
                      <a:pt x="25" y="87"/>
                    </a:cubicBezTo>
                    <a:cubicBezTo>
                      <a:pt x="35" y="86"/>
                      <a:pt x="48" y="86"/>
                      <a:pt x="61" y="87"/>
                    </a:cubicBezTo>
                    <a:close/>
                    <a:moveTo>
                      <a:pt x="26" y="48"/>
                    </a:moveTo>
                    <a:cubicBezTo>
                      <a:pt x="28" y="51"/>
                      <a:pt x="30" y="52"/>
                      <a:pt x="35" y="52"/>
                    </a:cubicBezTo>
                    <a:cubicBezTo>
                      <a:pt x="38" y="52"/>
                      <a:pt x="38" y="52"/>
                      <a:pt x="38" y="52"/>
                    </a:cubicBezTo>
                    <a:cubicBezTo>
                      <a:pt x="38" y="49"/>
                      <a:pt x="39" y="46"/>
                      <a:pt x="39" y="44"/>
                    </a:cubicBezTo>
                    <a:cubicBezTo>
                      <a:pt x="34" y="44"/>
                      <a:pt x="30" y="44"/>
                      <a:pt x="25" y="44"/>
                    </a:cubicBezTo>
                    <a:cubicBezTo>
                      <a:pt x="25" y="46"/>
                      <a:pt x="25" y="47"/>
                      <a:pt x="26" y="48"/>
                    </a:cubicBezTo>
                    <a:close/>
                    <a:moveTo>
                      <a:pt x="32" y="69"/>
                    </a:moveTo>
                    <a:cubicBezTo>
                      <a:pt x="28" y="70"/>
                      <a:pt x="25" y="72"/>
                      <a:pt x="25" y="76"/>
                    </a:cubicBezTo>
                    <a:cubicBezTo>
                      <a:pt x="30" y="75"/>
                      <a:pt x="35" y="75"/>
                      <a:pt x="41" y="75"/>
                    </a:cubicBezTo>
                    <a:cubicBezTo>
                      <a:pt x="46" y="74"/>
                      <a:pt x="53" y="74"/>
                      <a:pt x="61" y="75"/>
                    </a:cubicBezTo>
                    <a:cubicBezTo>
                      <a:pt x="61" y="72"/>
                      <a:pt x="59" y="71"/>
                      <a:pt x="57" y="70"/>
                    </a:cubicBezTo>
                    <a:cubicBezTo>
                      <a:pt x="49" y="68"/>
                      <a:pt x="40" y="68"/>
                      <a:pt x="32" y="69"/>
                    </a:cubicBezTo>
                    <a:close/>
                    <a:moveTo>
                      <a:pt x="56" y="98"/>
                    </a:moveTo>
                    <a:cubicBezTo>
                      <a:pt x="59" y="97"/>
                      <a:pt x="60" y="96"/>
                      <a:pt x="61" y="93"/>
                    </a:cubicBezTo>
                    <a:cubicBezTo>
                      <a:pt x="60" y="93"/>
                      <a:pt x="57" y="93"/>
                      <a:pt x="54" y="93"/>
                    </a:cubicBezTo>
                    <a:cubicBezTo>
                      <a:pt x="48" y="92"/>
                      <a:pt x="44" y="92"/>
                      <a:pt x="41" y="92"/>
                    </a:cubicBezTo>
                    <a:cubicBezTo>
                      <a:pt x="40" y="92"/>
                      <a:pt x="38" y="92"/>
                      <a:pt x="36" y="93"/>
                    </a:cubicBezTo>
                    <a:cubicBezTo>
                      <a:pt x="31" y="93"/>
                      <a:pt x="28" y="94"/>
                      <a:pt x="26" y="94"/>
                    </a:cubicBezTo>
                    <a:cubicBezTo>
                      <a:pt x="27" y="96"/>
                      <a:pt x="29" y="98"/>
                      <a:pt x="32" y="98"/>
                    </a:cubicBezTo>
                    <a:cubicBezTo>
                      <a:pt x="39" y="99"/>
                      <a:pt x="47" y="99"/>
                      <a:pt x="56" y="98"/>
                    </a:cubicBezTo>
                    <a:close/>
                    <a:moveTo>
                      <a:pt x="56" y="29"/>
                    </a:moveTo>
                    <a:cubicBezTo>
                      <a:pt x="55" y="29"/>
                      <a:pt x="53" y="29"/>
                      <a:pt x="51" y="29"/>
                    </a:cubicBezTo>
                    <a:cubicBezTo>
                      <a:pt x="49" y="29"/>
                      <a:pt x="47" y="29"/>
                      <a:pt x="46" y="29"/>
                    </a:cubicBezTo>
                    <a:cubicBezTo>
                      <a:pt x="46" y="31"/>
                      <a:pt x="46" y="34"/>
                      <a:pt x="46" y="37"/>
                    </a:cubicBezTo>
                    <a:cubicBezTo>
                      <a:pt x="50" y="37"/>
                      <a:pt x="55" y="37"/>
                      <a:pt x="60" y="37"/>
                    </a:cubicBezTo>
                    <a:cubicBezTo>
                      <a:pt x="60" y="35"/>
                      <a:pt x="60" y="35"/>
                      <a:pt x="60" y="35"/>
                    </a:cubicBezTo>
                    <a:cubicBezTo>
                      <a:pt x="60" y="32"/>
                      <a:pt x="58" y="30"/>
                      <a:pt x="56" y="29"/>
                    </a:cubicBezTo>
                    <a:close/>
                    <a:moveTo>
                      <a:pt x="59" y="48"/>
                    </a:moveTo>
                    <a:cubicBezTo>
                      <a:pt x="59" y="47"/>
                      <a:pt x="59" y="45"/>
                      <a:pt x="60" y="43"/>
                    </a:cubicBezTo>
                    <a:cubicBezTo>
                      <a:pt x="55" y="43"/>
                      <a:pt x="51" y="43"/>
                      <a:pt x="46" y="43"/>
                    </a:cubicBezTo>
                    <a:cubicBezTo>
                      <a:pt x="46" y="52"/>
                      <a:pt x="46" y="52"/>
                      <a:pt x="46" y="52"/>
                    </a:cubicBezTo>
                    <a:cubicBezTo>
                      <a:pt x="48" y="52"/>
                      <a:pt x="51" y="52"/>
                      <a:pt x="54" y="52"/>
                    </a:cubicBezTo>
                    <a:cubicBezTo>
                      <a:pt x="57" y="51"/>
                      <a:pt x="59" y="49"/>
                      <a:pt x="59" y="4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136" name="îSḻide"/>
              <p:cNvSpPr/>
              <p:nvPr/>
            </p:nvSpPr>
            <p:spPr bwMode="auto">
              <a:xfrm>
                <a:off x="2449409" y="5256803"/>
                <a:ext cx="139700" cy="265113"/>
              </a:xfrm>
              <a:custGeom>
                <a:avLst/>
                <a:gdLst>
                  <a:gd name="T0" fmla="*/ 56 w 76"/>
                  <a:gd name="T1" fmla="*/ 3 h 144"/>
                  <a:gd name="T2" fmla="*/ 61 w 76"/>
                  <a:gd name="T3" fmla="*/ 45 h 144"/>
                  <a:gd name="T4" fmla="*/ 50 w 76"/>
                  <a:gd name="T5" fmla="*/ 74 h 144"/>
                  <a:gd name="T6" fmla="*/ 68 w 76"/>
                  <a:gd name="T7" fmla="*/ 65 h 144"/>
                  <a:gd name="T8" fmla="*/ 70 w 76"/>
                  <a:gd name="T9" fmla="*/ 31 h 144"/>
                  <a:gd name="T10" fmla="*/ 74 w 76"/>
                  <a:gd name="T11" fmla="*/ 31 h 144"/>
                  <a:gd name="T12" fmla="*/ 74 w 76"/>
                  <a:gd name="T13" fmla="*/ 64 h 144"/>
                  <a:gd name="T14" fmla="*/ 50 w 76"/>
                  <a:gd name="T15" fmla="*/ 81 h 144"/>
                  <a:gd name="T16" fmla="*/ 69 w 76"/>
                  <a:gd name="T17" fmla="*/ 103 h 144"/>
                  <a:gd name="T18" fmla="*/ 74 w 76"/>
                  <a:gd name="T19" fmla="*/ 140 h 144"/>
                  <a:gd name="T20" fmla="*/ 63 w 76"/>
                  <a:gd name="T21" fmla="*/ 105 h 144"/>
                  <a:gd name="T22" fmla="*/ 52 w 76"/>
                  <a:gd name="T23" fmla="*/ 138 h 144"/>
                  <a:gd name="T24" fmla="*/ 46 w 76"/>
                  <a:gd name="T25" fmla="*/ 139 h 144"/>
                  <a:gd name="T26" fmla="*/ 42 w 76"/>
                  <a:gd name="T27" fmla="*/ 57 h 144"/>
                  <a:gd name="T28" fmla="*/ 35 w 76"/>
                  <a:gd name="T29" fmla="*/ 132 h 144"/>
                  <a:gd name="T30" fmla="*/ 27 w 76"/>
                  <a:gd name="T31" fmla="*/ 136 h 144"/>
                  <a:gd name="T32" fmla="*/ 29 w 76"/>
                  <a:gd name="T33" fmla="*/ 95 h 144"/>
                  <a:gd name="T34" fmla="*/ 5 w 76"/>
                  <a:gd name="T35" fmla="*/ 135 h 144"/>
                  <a:gd name="T36" fmla="*/ 0 w 76"/>
                  <a:gd name="T37" fmla="*/ 135 h 144"/>
                  <a:gd name="T38" fmla="*/ 30 w 76"/>
                  <a:gd name="T39" fmla="*/ 86 h 144"/>
                  <a:gd name="T40" fmla="*/ 26 w 76"/>
                  <a:gd name="T41" fmla="*/ 80 h 144"/>
                  <a:gd name="T42" fmla="*/ 5 w 76"/>
                  <a:gd name="T43" fmla="*/ 66 h 144"/>
                  <a:gd name="T44" fmla="*/ 3 w 76"/>
                  <a:gd name="T45" fmla="*/ 29 h 144"/>
                  <a:gd name="T46" fmla="*/ 9 w 76"/>
                  <a:gd name="T47" fmla="*/ 59 h 144"/>
                  <a:gd name="T48" fmla="*/ 31 w 76"/>
                  <a:gd name="T49" fmla="*/ 74 h 144"/>
                  <a:gd name="T50" fmla="*/ 32 w 76"/>
                  <a:gd name="T51" fmla="*/ 57 h 144"/>
                  <a:gd name="T52" fmla="*/ 16 w 76"/>
                  <a:gd name="T53" fmla="*/ 14 h 144"/>
                  <a:gd name="T54" fmla="*/ 22 w 76"/>
                  <a:gd name="T55" fmla="*/ 19 h 144"/>
                  <a:gd name="T56" fmla="*/ 57 w 76"/>
                  <a:gd name="T57" fmla="*/ 19 h 144"/>
                  <a:gd name="T58" fmla="*/ 50 w 76"/>
                  <a:gd name="T59" fmla="*/ 9 h 144"/>
                  <a:gd name="T60" fmla="*/ 22 w 76"/>
                  <a:gd name="T61" fmla="*/ 19 h 144"/>
                  <a:gd name="T62" fmla="*/ 23 w 76"/>
                  <a:gd name="T63" fmla="*/ 31 h 144"/>
                  <a:gd name="T64" fmla="*/ 57 w 76"/>
                  <a:gd name="T65" fmla="*/ 34 h 144"/>
                  <a:gd name="T66" fmla="*/ 22 w 76"/>
                  <a:gd name="T67" fmla="*/ 27 h 144"/>
                  <a:gd name="T68" fmla="*/ 48 w 76"/>
                  <a:gd name="T69" fmla="*/ 50 h 144"/>
                  <a:gd name="T70" fmla="*/ 57 w 76"/>
                  <a:gd name="T71" fmla="*/ 41 h 144"/>
                  <a:gd name="T72" fmla="*/ 25 w 76"/>
                  <a:gd name="T73" fmla="*/ 44 h 1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76" h="144">
                    <a:moveTo>
                      <a:pt x="27" y="2"/>
                    </a:moveTo>
                    <a:cubicBezTo>
                      <a:pt x="37" y="0"/>
                      <a:pt x="47" y="0"/>
                      <a:pt x="56" y="3"/>
                    </a:cubicBezTo>
                    <a:cubicBezTo>
                      <a:pt x="60" y="3"/>
                      <a:pt x="62" y="7"/>
                      <a:pt x="63" y="15"/>
                    </a:cubicBezTo>
                    <a:cubicBezTo>
                      <a:pt x="65" y="25"/>
                      <a:pt x="64" y="35"/>
                      <a:pt x="61" y="45"/>
                    </a:cubicBezTo>
                    <a:cubicBezTo>
                      <a:pt x="60" y="53"/>
                      <a:pt x="55" y="56"/>
                      <a:pt x="49" y="57"/>
                    </a:cubicBezTo>
                    <a:cubicBezTo>
                      <a:pt x="49" y="62"/>
                      <a:pt x="50" y="68"/>
                      <a:pt x="50" y="74"/>
                    </a:cubicBezTo>
                    <a:cubicBezTo>
                      <a:pt x="53" y="74"/>
                      <a:pt x="56" y="74"/>
                      <a:pt x="58" y="74"/>
                    </a:cubicBezTo>
                    <a:cubicBezTo>
                      <a:pt x="62" y="75"/>
                      <a:pt x="66" y="72"/>
                      <a:pt x="68" y="65"/>
                    </a:cubicBezTo>
                    <a:cubicBezTo>
                      <a:pt x="69" y="62"/>
                      <a:pt x="70" y="53"/>
                      <a:pt x="70" y="39"/>
                    </a:cubicBezTo>
                    <a:cubicBezTo>
                      <a:pt x="70" y="35"/>
                      <a:pt x="70" y="32"/>
                      <a:pt x="70" y="31"/>
                    </a:cubicBezTo>
                    <a:cubicBezTo>
                      <a:pt x="71" y="31"/>
                      <a:pt x="71" y="30"/>
                      <a:pt x="72" y="30"/>
                    </a:cubicBezTo>
                    <a:cubicBezTo>
                      <a:pt x="73" y="30"/>
                      <a:pt x="74" y="30"/>
                      <a:pt x="74" y="31"/>
                    </a:cubicBezTo>
                    <a:cubicBezTo>
                      <a:pt x="75" y="33"/>
                      <a:pt x="76" y="36"/>
                      <a:pt x="76" y="41"/>
                    </a:cubicBezTo>
                    <a:cubicBezTo>
                      <a:pt x="76" y="49"/>
                      <a:pt x="75" y="56"/>
                      <a:pt x="74" y="64"/>
                    </a:cubicBezTo>
                    <a:cubicBezTo>
                      <a:pt x="72" y="75"/>
                      <a:pt x="67" y="81"/>
                      <a:pt x="58" y="81"/>
                    </a:cubicBezTo>
                    <a:cubicBezTo>
                      <a:pt x="50" y="81"/>
                      <a:pt x="50" y="81"/>
                      <a:pt x="50" y="81"/>
                    </a:cubicBezTo>
                    <a:cubicBezTo>
                      <a:pt x="50" y="87"/>
                      <a:pt x="50" y="87"/>
                      <a:pt x="50" y="87"/>
                    </a:cubicBezTo>
                    <a:cubicBezTo>
                      <a:pt x="60" y="87"/>
                      <a:pt x="66" y="92"/>
                      <a:pt x="69" y="103"/>
                    </a:cubicBezTo>
                    <a:cubicBezTo>
                      <a:pt x="72" y="112"/>
                      <a:pt x="74" y="122"/>
                      <a:pt x="76" y="134"/>
                    </a:cubicBezTo>
                    <a:cubicBezTo>
                      <a:pt x="76" y="138"/>
                      <a:pt x="75" y="140"/>
                      <a:pt x="74" y="140"/>
                    </a:cubicBezTo>
                    <a:cubicBezTo>
                      <a:pt x="72" y="141"/>
                      <a:pt x="71" y="139"/>
                      <a:pt x="70" y="136"/>
                    </a:cubicBezTo>
                    <a:cubicBezTo>
                      <a:pt x="68" y="126"/>
                      <a:pt x="66" y="116"/>
                      <a:pt x="63" y="105"/>
                    </a:cubicBezTo>
                    <a:cubicBezTo>
                      <a:pt x="61" y="98"/>
                      <a:pt x="57" y="95"/>
                      <a:pt x="50" y="95"/>
                    </a:cubicBezTo>
                    <a:cubicBezTo>
                      <a:pt x="50" y="109"/>
                      <a:pt x="51" y="123"/>
                      <a:pt x="52" y="138"/>
                    </a:cubicBezTo>
                    <a:cubicBezTo>
                      <a:pt x="52" y="141"/>
                      <a:pt x="51" y="143"/>
                      <a:pt x="49" y="144"/>
                    </a:cubicBezTo>
                    <a:cubicBezTo>
                      <a:pt x="47" y="144"/>
                      <a:pt x="46" y="142"/>
                      <a:pt x="46" y="139"/>
                    </a:cubicBezTo>
                    <a:cubicBezTo>
                      <a:pt x="44" y="134"/>
                      <a:pt x="43" y="118"/>
                      <a:pt x="43" y="92"/>
                    </a:cubicBezTo>
                    <a:cubicBezTo>
                      <a:pt x="43" y="76"/>
                      <a:pt x="43" y="64"/>
                      <a:pt x="42" y="57"/>
                    </a:cubicBezTo>
                    <a:cubicBezTo>
                      <a:pt x="38" y="57"/>
                      <a:pt x="38" y="57"/>
                      <a:pt x="38" y="57"/>
                    </a:cubicBezTo>
                    <a:cubicBezTo>
                      <a:pt x="36" y="88"/>
                      <a:pt x="35" y="113"/>
                      <a:pt x="35" y="132"/>
                    </a:cubicBezTo>
                    <a:cubicBezTo>
                      <a:pt x="35" y="138"/>
                      <a:pt x="33" y="142"/>
                      <a:pt x="31" y="142"/>
                    </a:cubicBezTo>
                    <a:cubicBezTo>
                      <a:pt x="29" y="142"/>
                      <a:pt x="27" y="140"/>
                      <a:pt x="27" y="136"/>
                    </a:cubicBezTo>
                    <a:cubicBezTo>
                      <a:pt x="27" y="136"/>
                      <a:pt x="27" y="134"/>
                      <a:pt x="27" y="132"/>
                    </a:cubicBezTo>
                    <a:cubicBezTo>
                      <a:pt x="28" y="118"/>
                      <a:pt x="29" y="105"/>
                      <a:pt x="29" y="95"/>
                    </a:cubicBezTo>
                    <a:cubicBezTo>
                      <a:pt x="19" y="95"/>
                      <a:pt x="14" y="98"/>
                      <a:pt x="13" y="105"/>
                    </a:cubicBezTo>
                    <a:cubicBezTo>
                      <a:pt x="10" y="114"/>
                      <a:pt x="7" y="124"/>
                      <a:pt x="5" y="135"/>
                    </a:cubicBezTo>
                    <a:cubicBezTo>
                      <a:pt x="4" y="137"/>
                      <a:pt x="3" y="139"/>
                      <a:pt x="2" y="139"/>
                    </a:cubicBezTo>
                    <a:cubicBezTo>
                      <a:pt x="1" y="140"/>
                      <a:pt x="0" y="138"/>
                      <a:pt x="0" y="135"/>
                    </a:cubicBezTo>
                    <a:cubicBezTo>
                      <a:pt x="0" y="125"/>
                      <a:pt x="2" y="115"/>
                      <a:pt x="7" y="104"/>
                    </a:cubicBezTo>
                    <a:cubicBezTo>
                      <a:pt x="11" y="92"/>
                      <a:pt x="18" y="86"/>
                      <a:pt x="30" y="86"/>
                    </a:cubicBezTo>
                    <a:cubicBezTo>
                      <a:pt x="30" y="85"/>
                      <a:pt x="30" y="83"/>
                      <a:pt x="31" y="80"/>
                    </a:cubicBezTo>
                    <a:cubicBezTo>
                      <a:pt x="29" y="81"/>
                      <a:pt x="28" y="81"/>
                      <a:pt x="26" y="80"/>
                    </a:cubicBezTo>
                    <a:cubicBezTo>
                      <a:pt x="24" y="80"/>
                      <a:pt x="23" y="80"/>
                      <a:pt x="22" y="80"/>
                    </a:cubicBezTo>
                    <a:cubicBezTo>
                      <a:pt x="14" y="81"/>
                      <a:pt x="8" y="76"/>
                      <a:pt x="5" y="66"/>
                    </a:cubicBezTo>
                    <a:cubicBezTo>
                      <a:pt x="2" y="59"/>
                      <a:pt x="0" y="49"/>
                      <a:pt x="0" y="37"/>
                    </a:cubicBezTo>
                    <a:cubicBezTo>
                      <a:pt x="0" y="32"/>
                      <a:pt x="1" y="29"/>
                      <a:pt x="3" y="29"/>
                    </a:cubicBezTo>
                    <a:cubicBezTo>
                      <a:pt x="6" y="31"/>
                      <a:pt x="8" y="35"/>
                      <a:pt x="8" y="39"/>
                    </a:cubicBezTo>
                    <a:cubicBezTo>
                      <a:pt x="7" y="45"/>
                      <a:pt x="7" y="52"/>
                      <a:pt x="9" y="59"/>
                    </a:cubicBezTo>
                    <a:cubicBezTo>
                      <a:pt x="10" y="68"/>
                      <a:pt x="16" y="73"/>
                      <a:pt x="24" y="74"/>
                    </a:cubicBezTo>
                    <a:cubicBezTo>
                      <a:pt x="26" y="74"/>
                      <a:pt x="29" y="74"/>
                      <a:pt x="31" y="74"/>
                    </a:cubicBezTo>
                    <a:cubicBezTo>
                      <a:pt x="31" y="72"/>
                      <a:pt x="31" y="69"/>
                      <a:pt x="31" y="65"/>
                    </a:cubicBezTo>
                    <a:cubicBezTo>
                      <a:pt x="31" y="61"/>
                      <a:pt x="32" y="58"/>
                      <a:pt x="32" y="57"/>
                    </a:cubicBezTo>
                    <a:cubicBezTo>
                      <a:pt x="25" y="56"/>
                      <a:pt x="20" y="53"/>
                      <a:pt x="19" y="48"/>
                    </a:cubicBezTo>
                    <a:cubicBezTo>
                      <a:pt x="15" y="36"/>
                      <a:pt x="14" y="25"/>
                      <a:pt x="16" y="14"/>
                    </a:cubicBezTo>
                    <a:cubicBezTo>
                      <a:pt x="17" y="6"/>
                      <a:pt x="21" y="2"/>
                      <a:pt x="27" y="2"/>
                    </a:cubicBezTo>
                    <a:close/>
                    <a:moveTo>
                      <a:pt x="22" y="19"/>
                    </a:moveTo>
                    <a:cubicBezTo>
                      <a:pt x="22" y="20"/>
                      <a:pt x="22" y="20"/>
                      <a:pt x="22" y="20"/>
                    </a:cubicBezTo>
                    <a:cubicBezTo>
                      <a:pt x="30" y="20"/>
                      <a:pt x="42" y="19"/>
                      <a:pt x="57" y="19"/>
                    </a:cubicBezTo>
                    <a:cubicBezTo>
                      <a:pt x="57" y="18"/>
                      <a:pt x="57" y="17"/>
                      <a:pt x="57" y="16"/>
                    </a:cubicBezTo>
                    <a:cubicBezTo>
                      <a:pt x="56" y="13"/>
                      <a:pt x="54" y="10"/>
                      <a:pt x="50" y="9"/>
                    </a:cubicBezTo>
                    <a:cubicBezTo>
                      <a:pt x="44" y="8"/>
                      <a:pt x="37" y="7"/>
                      <a:pt x="31" y="9"/>
                    </a:cubicBezTo>
                    <a:cubicBezTo>
                      <a:pt x="25" y="11"/>
                      <a:pt x="22" y="14"/>
                      <a:pt x="22" y="19"/>
                    </a:cubicBezTo>
                    <a:close/>
                    <a:moveTo>
                      <a:pt x="22" y="27"/>
                    </a:moveTo>
                    <a:cubicBezTo>
                      <a:pt x="22" y="28"/>
                      <a:pt x="22" y="29"/>
                      <a:pt x="23" y="31"/>
                    </a:cubicBezTo>
                    <a:cubicBezTo>
                      <a:pt x="23" y="32"/>
                      <a:pt x="23" y="33"/>
                      <a:pt x="23" y="34"/>
                    </a:cubicBezTo>
                    <a:cubicBezTo>
                      <a:pt x="57" y="34"/>
                      <a:pt x="57" y="34"/>
                      <a:pt x="57" y="34"/>
                    </a:cubicBezTo>
                    <a:cubicBezTo>
                      <a:pt x="57" y="27"/>
                      <a:pt x="57" y="27"/>
                      <a:pt x="57" y="27"/>
                    </a:cubicBezTo>
                    <a:cubicBezTo>
                      <a:pt x="45" y="26"/>
                      <a:pt x="33" y="26"/>
                      <a:pt x="22" y="27"/>
                    </a:cubicBezTo>
                    <a:close/>
                    <a:moveTo>
                      <a:pt x="35" y="50"/>
                    </a:moveTo>
                    <a:cubicBezTo>
                      <a:pt x="48" y="50"/>
                      <a:pt x="48" y="50"/>
                      <a:pt x="48" y="50"/>
                    </a:cubicBezTo>
                    <a:cubicBezTo>
                      <a:pt x="53" y="50"/>
                      <a:pt x="55" y="47"/>
                      <a:pt x="57" y="42"/>
                    </a:cubicBezTo>
                    <a:cubicBezTo>
                      <a:pt x="57" y="41"/>
                      <a:pt x="57" y="41"/>
                      <a:pt x="57" y="41"/>
                    </a:cubicBezTo>
                    <a:cubicBezTo>
                      <a:pt x="43" y="41"/>
                      <a:pt x="32" y="41"/>
                      <a:pt x="24" y="42"/>
                    </a:cubicBezTo>
                    <a:cubicBezTo>
                      <a:pt x="24" y="43"/>
                      <a:pt x="24" y="43"/>
                      <a:pt x="25" y="44"/>
                    </a:cubicBezTo>
                    <a:cubicBezTo>
                      <a:pt x="27" y="48"/>
                      <a:pt x="30" y="50"/>
                      <a:pt x="35" y="5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137" name="iṣlîḋè"/>
              <p:cNvSpPr/>
              <p:nvPr/>
            </p:nvSpPr>
            <p:spPr bwMode="auto">
              <a:xfrm>
                <a:off x="2604984" y="5259978"/>
                <a:ext cx="177800" cy="255588"/>
              </a:xfrm>
              <a:custGeom>
                <a:avLst/>
                <a:gdLst>
                  <a:gd name="T0" fmla="*/ 5 w 96"/>
                  <a:gd name="T1" fmla="*/ 37 h 138"/>
                  <a:gd name="T2" fmla="*/ 24 w 96"/>
                  <a:gd name="T3" fmla="*/ 49 h 138"/>
                  <a:gd name="T4" fmla="*/ 7 w 96"/>
                  <a:gd name="T5" fmla="*/ 26 h 138"/>
                  <a:gd name="T6" fmla="*/ 0 w 96"/>
                  <a:gd name="T7" fmla="*/ 22 h 138"/>
                  <a:gd name="T8" fmla="*/ 44 w 96"/>
                  <a:gd name="T9" fmla="*/ 19 h 138"/>
                  <a:gd name="T10" fmla="*/ 40 w 96"/>
                  <a:gd name="T11" fmla="*/ 26 h 138"/>
                  <a:gd name="T12" fmla="*/ 29 w 96"/>
                  <a:gd name="T13" fmla="*/ 49 h 138"/>
                  <a:gd name="T14" fmla="*/ 42 w 96"/>
                  <a:gd name="T15" fmla="*/ 39 h 138"/>
                  <a:gd name="T16" fmla="*/ 36 w 96"/>
                  <a:gd name="T17" fmla="*/ 64 h 138"/>
                  <a:gd name="T18" fmla="*/ 44 w 96"/>
                  <a:gd name="T19" fmla="*/ 70 h 138"/>
                  <a:gd name="T20" fmla="*/ 30 w 96"/>
                  <a:gd name="T21" fmla="*/ 78 h 138"/>
                  <a:gd name="T22" fmla="*/ 48 w 96"/>
                  <a:gd name="T23" fmla="*/ 111 h 138"/>
                  <a:gd name="T24" fmla="*/ 42 w 96"/>
                  <a:gd name="T25" fmla="*/ 124 h 138"/>
                  <a:gd name="T26" fmla="*/ 33 w 96"/>
                  <a:gd name="T27" fmla="*/ 93 h 138"/>
                  <a:gd name="T28" fmla="*/ 30 w 96"/>
                  <a:gd name="T29" fmla="*/ 116 h 138"/>
                  <a:gd name="T30" fmla="*/ 24 w 96"/>
                  <a:gd name="T31" fmla="*/ 133 h 138"/>
                  <a:gd name="T32" fmla="*/ 20 w 96"/>
                  <a:gd name="T33" fmla="*/ 93 h 138"/>
                  <a:gd name="T34" fmla="*/ 11 w 96"/>
                  <a:gd name="T35" fmla="*/ 122 h 138"/>
                  <a:gd name="T36" fmla="*/ 8 w 96"/>
                  <a:gd name="T37" fmla="*/ 102 h 138"/>
                  <a:gd name="T38" fmla="*/ 24 w 96"/>
                  <a:gd name="T39" fmla="*/ 81 h 138"/>
                  <a:gd name="T40" fmla="*/ 3 w 96"/>
                  <a:gd name="T41" fmla="*/ 77 h 138"/>
                  <a:gd name="T42" fmla="*/ 14 w 96"/>
                  <a:gd name="T43" fmla="*/ 70 h 138"/>
                  <a:gd name="T44" fmla="*/ 20 w 96"/>
                  <a:gd name="T45" fmla="*/ 65 h 138"/>
                  <a:gd name="T46" fmla="*/ 2 w 96"/>
                  <a:gd name="T47" fmla="*/ 37 h 138"/>
                  <a:gd name="T48" fmla="*/ 40 w 96"/>
                  <a:gd name="T49" fmla="*/ 3 h 138"/>
                  <a:gd name="T50" fmla="*/ 14 w 96"/>
                  <a:gd name="T51" fmla="*/ 11 h 138"/>
                  <a:gd name="T52" fmla="*/ 5 w 96"/>
                  <a:gd name="T53" fmla="*/ 6 h 138"/>
                  <a:gd name="T54" fmla="*/ 33 w 96"/>
                  <a:gd name="T55" fmla="*/ 26 h 138"/>
                  <a:gd name="T56" fmla="*/ 27 w 96"/>
                  <a:gd name="T57" fmla="*/ 45 h 138"/>
                  <a:gd name="T58" fmla="*/ 54 w 96"/>
                  <a:gd name="T59" fmla="*/ 2 h 138"/>
                  <a:gd name="T60" fmla="*/ 58 w 96"/>
                  <a:gd name="T61" fmla="*/ 10 h 138"/>
                  <a:gd name="T62" fmla="*/ 88 w 96"/>
                  <a:gd name="T63" fmla="*/ 22 h 138"/>
                  <a:gd name="T64" fmla="*/ 74 w 96"/>
                  <a:gd name="T65" fmla="*/ 37 h 138"/>
                  <a:gd name="T66" fmla="*/ 62 w 96"/>
                  <a:gd name="T67" fmla="*/ 66 h 138"/>
                  <a:gd name="T68" fmla="*/ 53 w 96"/>
                  <a:gd name="T69" fmla="*/ 136 h 138"/>
                  <a:gd name="T70" fmla="*/ 48 w 96"/>
                  <a:gd name="T71" fmla="*/ 130 h 138"/>
                  <a:gd name="T72" fmla="*/ 55 w 96"/>
                  <a:gd name="T73" fmla="*/ 48 h 138"/>
                  <a:gd name="T74" fmla="*/ 76 w 96"/>
                  <a:gd name="T75" fmla="*/ 31 h 138"/>
                  <a:gd name="T76" fmla="*/ 65 w 96"/>
                  <a:gd name="T77" fmla="*/ 18 h 138"/>
                  <a:gd name="T78" fmla="*/ 52 w 96"/>
                  <a:gd name="T79" fmla="*/ 13 h 138"/>
                  <a:gd name="T80" fmla="*/ 94 w 96"/>
                  <a:gd name="T81" fmla="*/ 74 h 138"/>
                  <a:gd name="T82" fmla="*/ 76 w 96"/>
                  <a:gd name="T83" fmla="*/ 54 h 138"/>
                  <a:gd name="T84" fmla="*/ 83 w 96"/>
                  <a:gd name="T85" fmla="*/ 119 h 138"/>
                  <a:gd name="T86" fmla="*/ 88 w 96"/>
                  <a:gd name="T87" fmla="*/ 133 h 138"/>
                  <a:gd name="T88" fmla="*/ 70 w 96"/>
                  <a:gd name="T89" fmla="*/ 93 h 138"/>
                  <a:gd name="T90" fmla="*/ 70 w 96"/>
                  <a:gd name="T91" fmla="*/ 42 h 138"/>
                  <a:gd name="T92" fmla="*/ 95 w 96"/>
                  <a:gd name="T93" fmla="*/ 70 h 1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96" h="138">
                    <a:moveTo>
                      <a:pt x="2" y="37"/>
                    </a:moveTo>
                    <a:cubicBezTo>
                      <a:pt x="2" y="36"/>
                      <a:pt x="2" y="35"/>
                      <a:pt x="3" y="35"/>
                    </a:cubicBezTo>
                    <a:cubicBezTo>
                      <a:pt x="4" y="35"/>
                      <a:pt x="5" y="36"/>
                      <a:pt x="5" y="37"/>
                    </a:cubicBezTo>
                    <a:cubicBezTo>
                      <a:pt x="9" y="49"/>
                      <a:pt x="14" y="56"/>
                      <a:pt x="21" y="59"/>
                    </a:cubicBezTo>
                    <a:cubicBezTo>
                      <a:pt x="21" y="59"/>
                      <a:pt x="22" y="60"/>
                      <a:pt x="24" y="60"/>
                    </a:cubicBezTo>
                    <a:cubicBezTo>
                      <a:pt x="24" y="56"/>
                      <a:pt x="24" y="53"/>
                      <a:pt x="24" y="49"/>
                    </a:cubicBezTo>
                    <a:cubicBezTo>
                      <a:pt x="21" y="48"/>
                      <a:pt x="18" y="46"/>
                      <a:pt x="16" y="42"/>
                    </a:cubicBezTo>
                    <a:cubicBezTo>
                      <a:pt x="13" y="38"/>
                      <a:pt x="12" y="33"/>
                      <a:pt x="12" y="26"/>
                    </a:cubicBezTo>
                    <a:cubicBezTo>
                      <a:pt x="9" y="26"/>
                      <a:pt x="8" y="26"/>
                      <a:pt x="7" y="26"/>
                    </a:cubicBezTo>
                    <a:cubicBezTo>
                      <a:pt x="4" y="27"/>
                      <a:pt x="2" y="27"/>
                      <a:pt x="1" y="25"/>
                    </a:cubicBezTo>
                    <a:cubicBezTo>
                      <a:pt x="0" y="24"/>
                      <a:pt x="0" y="23"/>
                      <a:pt x="0" y="22"/>
                    </a:cubicBezTo>
                    <a:cubicBezTo>
                      <a:pt x="0" y="22"/>
                      <a:pt x="0" y="22"/>
                      <a:pt x="0" y="22"/>
                    </a:cubicBezTo>
                    <a:cubicBezTo>
                      <a:pt x="1" y="19"/>
                      <a:pt x="2" y="18"/>
                      <a:pt x="4" y="19"/>
                    </a:cubicBezTo>
                    <a:cubicBezTo>
                      <a:pt x="6" y="19"/>
                      <a:pt x="8" y="19"/>
                      <a:pt x="11" y="19"/>
                    </a:cubicBezTo>
                    <a:cubicBezTo>
                      <a:pt x="44" y="19"/>
                      <a:pt x="44" y="19"/>
                      <a:pt x="44" y="19"/>
                    </a:cubicBezTo>
                    <a:cubicBezTo>
                      <a:pt x="46" y="19"/>
                      <a:pt x="48" y="20"/>
                      <a:pt x="48" y="23"/>
                    </a:cubicBezTo>
                    <a:cubicBezTo>
                      <a:pt x="47" y="25"/>
                      <a:pt x="45" y="26"/>
                      <a:pt x="42" y="26"/>
                    </a:cubicBezTo>
                    <a:cubicBezTo>
                      <a:pt x="42" y="26"/>
                      <a:pt x="41" y="26"/>
                      <a:pt x="40" y="26"/>
                    </a:cubicBezTo>
                    <a:cubicBezTo>
                      <a:pt x="40" y="26"/>
                      <a:pt x="40" y="26"/>
                      <a:pt x="40" y="26"/>
                    </a:cubicBezTo>
                    <a:cubicBezTo>
                      <a:pt x="39" y="34"/>
                      <a:pt x="38" y="39"/>
                      <a:pt x="37" y="42"/>
                    </a:cubicBezTo>
                    <a:cubicBezTo>
                      <a:pt x="34" y="46"/>
                      <a:pt x="32" y="49"/>
                      <a:pt x="29" y="49"/>
                    </a:cubicBezTo>
                    <a:cubicBezTo>
                      <a:pt x="30" y="53"/>
                      <a:pt x="30" y="56"/>
                      <a:pt x="30" y="60"/>
                    </a:cubicBezTo>
                    <a:cubicBezTo>
                      <a:pt x="31" y="60"/>
                      <a:pt x="32" y="59"/>
                      <a:pt x="33" y="58"/>
                    </a:cubicBezTo>
                    <a:cubicBezTo>
                      <a:pt x="39" y="56"/>
                      <a:pt x="42" y="49"/>
                      <a:pt x="42" y="39"/>
                    </a:cubicBezTo>
                    <a:cubicBezTo>
                      <a:pt x="43" y="37"/>
                      <a:pt x="44" y="36"/>
                      <a:pt x="46" y="36"/>
                    </a:cubicBezTo>
                    <a:cubicBezTo>
                      <a:pt x="47" y="36"/>
                      <a:pt x="48" y="37"/>
                      <a:pt x="48" y="39"/>
                    </a:cubicBezTo>
                    <a:cubicBezTo>
                      <a:pt x="49" y="49"/>
                      <a:pt x="45" y="57"/>
                      <a:pt x="36" y="64"/>
                    </a:cubicBezTo>
                    <a:cubicBezTo>
                      <a:pt x="34" y="65"/>
                      <a:pt x="32" y="66"/>
                      <a:pt x="30" y="66"/>
                    </a:cubicBezTo>
                    <a:cubicBezTo>
                      <a:pt x="30" y="70"/>
                      <a:pt x="30" y="70"/>
                      <a:pt x="30" y="70"/>
                    </a:cubicBezTo>
                    <a:cubicBezTo>
                      <a:pt x="44" y="70"/>
                      <a:pt x="44" y="70"/>
                      <a:pt x="44" y="70"/>
                    </a:cubicBezTo>
                    <a:cubicBezTo>
                      <a:pt x="47" y="70"/>
                      <a:pt x="49" y="71"/>
                      <a:pt x="49" y="73"/>
                    </a:cubicBezTo>
                    <a:cubicBezTo>
                      <a:pt x="49" y="76"/>
                      <a:pt x="47" y="77"/>
                      <a:pt x="43" y="77"/>
                    </a:cubicBezTo>
                    <a:cubicBezTo>
                      <a:pt x="37" y="77"/>
                      <a:pt x="33" y="77"/>
                      <a:pt x="30" y="78"/>
                    </a:cubicBezTo>
                    <a:cubicBezTo>
                      <a:pt x="30" y="80"/>
                      <a:pt x="30" y="82"/>
                      <a:pt x="30" y="84"/>
                    </a:cubicBezTo>
                    <a:cubicBezTo>
                      <a:pt x="34" y="84"/>
                      <a:pt x="37" y="87"/>
                      <a:pt x="40" y="91"/>
                    </a:cubicBezTo>
                    <a:cubicBezTo>
                      <a:pt x="44" y="96"/>
                      <a:pt x="46" y="103"/>
                      <a:pt x="48" y="111"/>
                    </a:cubicBezTo>
                    <a:cubicBezTo>
                      <a:pt x="49" y="116"/>
                      <a:pt x="49" y="120"/>
                      <a:pt x="48" y="124"/>
                    </a:cubicBezTo>
                    <a:cubicBezTo>
                      <a:pt x="47" y="125"/>
                      <a:pt x="46" y="125"/>
                      <a:pt x="45" y="125"/>
                    </a:cubicBezTo>
                    <a:cubicBezTo>
                      <a:pt x="44" y="125"/>
                      <a:pt x="43" y="125"/>
                      <a:pt x="42" y="124"/>
                    </a:cubicBezTo>
                    <a:cubicBezTo>
                      <a:pt x="42" y="123"/>
                      <a:pt x="42" y="121"/>
                      <a:pt x="42" y="118"/>
                    </a:cubicBezTo>
                    <a:cubicBezTo>
                      <a:pt x="41" y="116"/>
                      <a:pt x="41" y="114"/>
                      <a:pt x="41" y="113"/>
                    </a:cubicBezTo>
                    <a:cubicBezTo>
                      <a:pt x="40" y="104"/>
                      <a:pt x="37" y="97"/>
                      <a:pt x="33" y="93"/>
                    </a:cubicBezTo>
                    <a:cubicBezTo>
                      <a:pt x="33" y="92"/>
                      <a:pt x="32" y="91"/>
                      <a:pt x="30" y="91"/>
                    </a:cubicBezTo>
                    <a:cubicBezTo>
                      <a:pt x="31" y="97"/>
                      <a:pt x="31" y="101"/>
                      <a:pt x="31" y="105"/>
                    </a:cubicBezTo>
                    <a:cubicBezTo>
                      <a:pt x="31" y="107"/>
                      <a:pt x="31" y="111"/>
                      <a:pt x="30" y="116"/>
                    </a:cubicBezTo>
                    <a:cubicBezTo>
                      <a:pt x="30" y="124"/>
                      <a:pt x="30" y="129"/>
                      <a:pt x="29" y="133"/>
                    </a:cubicBezTo>
                    <a:cubicBezTo>
                      <a:pt x="29" y="136"/>
                      <a:pt x="28" y="137"/>
                      <a:pt x="27" y="137"/>
                    </a:cubicBezTo>
                    <a:cubicBezTo>
                      <a:pt x="26" y="137"/>
                      <a:pt x="25" y="136"/>
                      <a:pt x="24" y="133"/>
                    </a:cubicBezTo>
                    <a:cubicBezTo>
                      <a:pt x="24" y="120"/>
                      <a:pt x="24" y="111"/>
                      <a:pt x="24" y="105"/>
                    </a:cubicBezTo>
                    <a:cubicBezTo>
                      <a:pt x="24" y="100"/>
                      <a:pt x="24" y="95"/>
                      <a:pt x="24" y="90"/>
                    </a:cubicBezTo>
                    <a:cubicBezTo>
                      <a:pt x="22" y="91"/>
                      <a:pt x="21" y="92"/>
                      <a:pt x="20" y="93"/>
                    </a:cubicBezTo>
                    <a:cubicBezTo>
                      <a:pt x="18" y="94"/>
                      <a:pt x="16" y="98"/>
                      <a:pt x="14" y="102"/>
                    </a:cubicBezTo>
                    <a:cubicBezTo>
                      <a:pt x="13" y="104"/>
                      <a:pt x="13" y="104"/>
                      <a:pt x="13" y="104"/>
                    </a:cubicBezTo>
                    <a:cubicBezTo>
                      <a:pt x="12" y="108"/>
                      <a:pt x="11" y="114"/>
                      <a:pt x="11" y="122"/>
                    </a:cubicBezTo>
                    <a:cubicBezTo>
                      <a:pt x="10" y="124"/>
                      <a:pt x="9" y="125"/>
                      <a:pt x="7" y="125"/>
                    </a:cubicBezTo>
                    <a:cubicBezTo>
                      <a:pt x="6" y="125"/>
                      <a:pt x="5" y="124"/>
                      <a:pt x="5" y="122"/>
                    </a:cubicBezTo>
                    <a:cubicBezTo>
                      <a:pt x="6" y="115"/>
                      <a:pt x="7" y="108"/>
                      <a:pt x="8" y="102"/>
                    </a:cubicBezTo>
                    <a:cubicBezTo>
                      <a:pt x="9" y="97"/>
                      <a:pt x="11" y="92"/>
                      <a:pt x="14" y="89"/>
                    </a:cubicBezTo>
                    <a:cubicBezTo>
                      <a:pt x="17" y="86"/>
                      <a:pt x="20" y="84"/>
                      <a:pt x="24" y="84"/>
                    </a:cubicBezTo>
                    <a:cubicBezTo>
                      <a:pt x="24" y="81"/>
                      <a:pt x="24" y="81"/>
                      <a:pt x="24" y="81"/>
                    </a:cubicBezTo>
                    <a:cubicBezTo>
                      <a:pt x="24" y="80"/>
                      <a:pt x="24" y="79"/>
                      <a:pt x="24" y="78"/>
                    </a:cubicBezTo>
                    <a:cubicBezTo>
                      <a:pt x="14" y="78"/>
                      <a:pt x="9" y="78"/>
                      <a:pt x="9" y="78"/>
                    </a:cubicBezTo>
                    <a:cubicBezTo>
                      <a:pt x="6" y="79"/>
                      <a:pt x="4" y="79"/>
                      <a:pt x="3" y="77"/>
                    </a:cubicBezTo>
                    <a:cubicBezTo>
                      <a:pt x="2" y="76"/>
                      <a:pt x="2" y="74"/>
                      <a:pt x="3" y="72"/>
                    </a:cubicBezTo>
                    <a:cubicBezTo>
                      <a:pt x="3" y="70"/>
                      <a:pt x="4" y="70"/>
                      <a:pt x="7" y="70"/>
                    </a:cubicBezTo>
                    <a:cubicBezTo>
                      <a:pt x="8" y="70"/>
                      <a:pt x="10" y="70"/>
                      <a:pt x="14" y="70"/>
                    </a:cubicBezTo>
                    <a:cubicBezTo>
                      <a:pt x="24" y="70"/>
                      <a:pt x="24" y="70"/>
                      <a:pt x="24" y="70"/>
                    </a:cubicBezTo>
                    <a:cubicBezTo>
                      <a:pt x="24" y="66"/>
                      <a:pt x="24" y="66"/>
                      <a:pt x="24" y="66"/>
                    </a:cubicBezTo>
                    <a:cubicBezTo>
                      <a:pt x="22" y="66"/>
                      <a:pt x="21" y="66"/>
                      <a:pt x="20" y="65"/>
                    </a:cubicBezTo>
                    <a:cubicBezTo>
                      <a:pt x="12" y="62"/>
                      <a:pt x="6" y="56"/>
                      <a:pt x="2" y="46"/>
                    </a:cubicBezTo>
                    <a:cubicBezTo>
                      <a:pt x="2" y="46"/>
                      <a:pt x="2" y="43"/>
                      <a:pt x="2" y="40"/>
                    </a:cubicBezTo>
                    <a:cubicBezTo>
                      <a:pt x="2" y="39"/>
                      <a:pt x="2" y="38"/>
                      <a:pt x="2" y="37"/>
                    </a:cubicBezTo>
                    <a:close/>
                    <a:moveTo>
                      <a:pt x="9" y="3"/>
                    </a:moveTo>
                    <a:cubicBezTo>
                      <a:pt x="11" y="3"/>
                      <a:pt x="15" y="3"/>
                      <a:pt x="19" y="3"/>
                    </a:cubicBezTo>
                    <a:cubicBezTo>
                      <a:pt x="40" y="3"/>
                      <a:pt x="40" y="3"/>
                      <a:pt x="40" y="3"/>
                    </a:cubicBezTo>
                    <a:cubicBezTo>
                      <a:pt x="43" y="3"/>
                      <a:pt x="44" y="5"/>
                      <a:pt x="44" y="7"/>
                    </a:cubicBezTo>
                    <a:cubicBezTo>
                      <a:pt x="44" y="9"/>
                      <a:pt x="42" y="10"/>
                      <a:pt x="39" y="10"/>
                    </a:cubicBezTo>
                    <a:cubicBezTo>
                      <a:pt x="34" y="10"/>
                      <a:pt x="25" y="10"/>
                      <a:pt x="14" y="11"/>
                    </a:cubicBezTo>
                    <a:cubicBezTo>
                      <a:pt x="13" y="11"/>
                      <a:pt x="12" y="11"/>
                      <a:pt x="11" y="11"/>
                    </a:cubicBezTo>
                    <a:cubicBezTo>
                      <a:pt x="7" y="11"/>
                      <a:pt x="5" y="11"/>
                      <a:pt x="5" y="9"/>
                    </a:cubicBezTo>
                    <a:cubicBezTo>
                      <a:pt x="5" y="9"/>
                      <a:pt x="4" y="8"/>
                      <a:pt x="5" y="6"/>
                    </a:cubicBezTo>
                    <a:cubicBezTo>
                      <a:pt x="5" y="5"/>
                      <a:pt x="5" y="5"/>
                      <a:pt x="5" y="5"/>
                    </a:cubicBezTo>
                    <a:cubicBezTo>
                      <a:pt x="5" y="3"/>
                      <a:pt x="6" y="3"/>
                      <a:pt x="9" y="3"/>
                    </a:cubicBezTo>
                    <a:close/>
                    <a:moveTo>
                      <a:pt x="33" y="26"/>
                    </a:moveTo>
                    <a:cubicBezTo>
                      <a:pt x="28" y="26"/>
                      <a:pt x="23" y="26"/>
                      <a:pt x="17" y="26"/>
                    </a:cubicBezTo>
                    <a:cubicBezTo>
                      <a:pt x="18" y="32"/>
                      <a:pt x="20" y="38"/>
                      <a:pt x="24" y="42"/>
                    </a:cubicBezTo>
                    <a:cubicBezTo>
                      <a:pt x="25" y="44"/>
                      <a:pt x="26" y="45"/>
                      <a:pt x="27" y="45"/>
                    </a:cubicBezTo>
                    <a:cubicBezTo>
                      <a:pt x="28" y="45"/>
                      <a:pt x="29" y="44"/>
                      <a:pt x="29" y="42"/>
                    </a:cubicBezTo>
                    <a:cubicBezTo>
                      <a:pt x="32" y="38"/>
                      <a:pt x="33" y="33"/>
                      <a:pt x="33" y="26"/>
                    </a:cubicBezTo>
                    <a:close/>
                    <a:moveTo>
                      <a:pt x="54" y="2"/>
                    </a:moveTo>
                    <a:cubicBezTo>
                      <a:pt x="55" y="0"/>
                      <a:pt x="57" y="0"/>
                      <a:pt x="58" y="1"/>
                    </a:cubicBezTo>
                    <a:cubicBezTo>
                      <a:pt x="59" y="2"/>
                      <a:pt x="60" y="4"/>
                      <a:pt x="59" y="6"/>
                    </a:cubicBezTo>
                    <a:cubicBezTo>
                      <a:pt x="57" y="8"/>
                      <a:pt x="57" y="9"/>
                      <a:pt x="58" y="10"/>
                    </a:cubicBezTo>
                    <a:cubicBezTo>
                      <a:pt x="59" y="11"/>
                      <a:pt x="61" y="12"/>
                      <a:pt x="63" y="11"/>
                    </a:cubicBezTo>
                    <a:cubicBezTo>
                      <a:pt x="67" y="9"/>
                      <a:pt x="73" y="9"/>
                      <a:pt x="80" y="11"/>
                    </a:cubicBezTo>
                    <a:cubicBezTo>
                      <a:pt x="84" y="13"/>
                      <a:pt x="87" y="16"/>
                      <a:pt x="88" y="22"/>
                    </a:cubicBezTo>
                    <a:cubicBezTo>
                      <a:pt x="89" y="27"/>
                      <a:pt x="88" y="32"/>
                      <a:pt x="85" y="35"/>
                    </a:cubicBezTo>
                    <a:cubicBezTo>
                      <a:pt x="84" y="38"/>
                      <a:pt x="81" y="39"/>
                      <a:pt x="75" y="37"/>
                    </a:cubicBezTo>
                    <a:cubicBezTo>
                      <a:pt x="75" y="37"/>
                      <a:pt x="74" y="37"/>
                      <a:pt x="74" y="37"/>
                    </a:cubicBezTo>
                    <a:cubicBezTo>
                      <a:pt x="69" y="37"/>
                      <a:pt x="66" y="37"/>
                      <a:pt x="63" y="38"/>
                    </a:cubicBezTo>
                    <a:cubicBezTo>
                      <a:pt x="62" y="38"/>
                      <a:pt x="61" y="40"/>
                      <a:pt x="61" y="43"/>
                    </a:cubicBezTo>
                    <a:cubicBezTo>
                      <a:pt x="62" y="48"/>
                      <a:pt x="62" y="56"/>
                      <a:pt x="62" y="66"/>
                    </a:cubicBezTo>
                    <a:cubicBezTo>
                      <a:pt x="62" y="70"/>
                      <a:pt x="61" y="76"/>
                      <a:pt x="61" y="84"/>
                    </a:cubicBezTo>
                    <a:cubicBezTo>
                      <a:pt x="59" y="99"/>
                      <a:pt x="58" y="110"/>
                      <a:pt x="57" y="116"/>
                    </a:cubicBezTo>
                    <a:cubicBezTo>
                      <a:pt x="57" y="122"/>
                      <a:pt x="55" y="128"/>
                      <a:pt x="53" y="136"/>
                    </a:cubicBezTo>
                    <a:cubicBezTo>
                      <a:pt x="52" y="137"/>
                      <a:pt x="51" y="138"/>
                      <a:pt x="50" y="138"/>
                    </a:cubicBezTo>
                    <a:cubicBezTo>
                      <a:pt x="48" y="138"/>
                      <a:pt x="48" y="137"/>
                      <a:pt x="48" y="136"/>
                    </a:cubicBezTo>
                    <a:cubicBezTo>
                      <a:pt x="48" y="135"/>
                      <a:pt x="48" y="133"/>
                      <a:pt x="48" y="130"/>
                    </a:cubicBezTo>
                    <a:cubicBezTo>
                      <a:pt x="49" y="127"/>
                      <a:pt x="49" y="126"/>
                      <a:pt x="49" y="125"/>
                    </a:cubicBezTo>
                    <a:cubicBezTo>
                      <a:pt x="53" y="104"/>
                      <a:pt x="55" y="85"/>
                      <a:pt x="55" y="68"/>
                    </a:cubicBezTo>
                    <a:cubicBezTo>
                      <a:pt x="56" y="60"/>
                      <a:pt x="56" y="54"/>
                      <a:pt x="55" y="48"/>
                    </a:cubicBezTo>
                    <a:cubicBezTo>
                      <a:pt x="54" y="45"/>
                      <a:pt x="53" y="42"/>
                      <a:pt x="52" y="40"/>
                    </a:cubicBezTo>
                    <a:cubicBezTo>
                      <a:pt x="50" y="38"/>
                      <a:pt x="51" y="36"/>
                      <a:pt x="54" y="34"/>
                    </a:cubicBezTo>
                    <a:cubicBezTo>
                      <a:pt x="58" y="30"/>
                      <a:pt x="66" y="29"/>
                      <a:pt x="76" y="31"/>
                    </a:cubicBezTo>
                    <a:cubicBezTo>
                      <a:pt x="81" y="32"/>
                      <a:pt x="83" y="30"/>
                      <a:pt x="83" y="25"/>
                    </a:cubicBezTo>
                    <a:cubicBezTo>
                      <a:pt x="83" y="21"/>
                      <a:pt x="81" y="18"/>
                      <a:pt x="77" y="18"/>
                    </a:cubicBezTo>
                    <a:cubicBezTo>
                      <a:pt x="70" y="17"/>
                      <a:pt x="66" y="17"/>
                      <a:pt x="65" y="18"/>
                    </a:cubicBezTo>
                    <a:cubicBezTo>
                      <a:pt x="63" y="19"/>
                      <a:pt x="60" y="19"/>
                      <a:pt x="57" y="19"/>
                    </a:cubicBezTo>
                    <a:cubicBezTo>
                      <a:pt x="57" y="18"/>
                      <a:pt x="55" y="17"/>
                      <a:pt x="53" y="15"/>
                    </a:cubicBezTo>
                    <a:cubicBezTo>
                      <a:pt x="53" y="14"/>
                      <a:pt x="52" y="14"/>
                      <a:pt x="52" y="13"/>
                    </a:cubicBezTo>
                    <a:cubicBezTo>
                      <a:pt x="50" y="10"/>
                      <a:pt x="51" y="6"/>
                      <a:pt x="54" y="2"/>
                    </a:cubicBezTo>
                    <a:close/>
                    <a:moveTo>
                      <a:pt x="95" y="70"/>
                    </a:moveTo>
                    <a:cubicBezTo>
                      <a:pt x="96" y="72"/>
                      <a:pt x="95" y="73"/>
                      <a:pt x="94" y="74"/>
                    </a:cubicBezTo>
                    <a:cubicBezTo>
                      <a:pt x="92" y="74"/>
                      <a:pt x="91" y="74"/>
                      <a:pt x="90" y="72"/>
                    </a:cubicBezTo>
                    <a:cubicBezTo>
                      <a:pt x="88" y="67"/>
                      <a:pt x="84" y="62"/>
                      <a:pt x="78" y="56"/>
                    </a:cubicBezTo>
                    <a:cubicBezTo>
                      <a:pt x="77" y="55"/>
                      <a:pt x="76" y="54"/>
                      <a:pt x="76" y="54"/>
                    </a:cubicBezTo>
                    <a:cubicBezTo>
                      <a:pt x="75" y="56"/>
                      <a:pt x="75" y="56"/>
                      <a:pt x="75" y="56"/>
                    </a:cubicBezTo>
                    <a:cubicBezTo>
                      <a:pt x="75" y="61"/>
                      <a:pt x="75" y="73"/>
                      <a:pt x="77" y="93"/>
                    </a:cubicBezTo>
                    <a:cubicBezTo>
                      <a:pt x="78" y="99"/>
                      <a:pt x="80" y="107"/>
                      <a:pt x="83" y="119"/>
                    </a:cubicBezTo>
                    <a:cubicBezTo>
                      <a:pt x="84" y="122"/>
                      <a:pt x="85" y="124"/>
                      <a:pt x="85" y="124"/>
                    </a:cubicBezTo>
                    <a:cubicBezTo>
                      <a:pt x="86" y="126"/>
                      <a:pt x="86" y="128"/>
                      <a:pt x="87" y="131"/>
                    </a:cubicBezTo>
                    <a:cubicBezTo>
                      <a:pt x="88" y="132"/>
                      <a:pt x="88" y="133"/>
                      <a:pt x="88" y="133"/>
                    </a:cubicBezTo>
                    <a:cubicBezTo>
                      <a:pt x="88" y="135"/>
                      <a:pt x="88" y="136"/>
                      <a:pt x="86" y="136"/>
                    </a:cubicBezTo>
                    <a:cubicBezTo>
                      <a:pt x="84" y="136"/>
                      <a:pt x="83" y="135"/>
                      <a:pt x="82" y="133"/>
                    </a:cubicBezTo>
                    <a:cubicBezTo>
                      <a:pt x="77" y="123"/>
                      <a:pt x="73" y="110"/>
                      <a:pt x="70" y="93"/>
                    </a:cubicBezTo>
                    <a:cubicBezTo>
                      <a:pt x="69" y="79"/>
                      <a:pt x="68" y="68"/>
                      <a:pt x="68" y="58"/>
                    </a:cubicBezTo>
                    <a:cubicBezTo>
                      <a:pt x="68" y="51"/>
                      <a:pt x="68" y="46"/>
                      <a:pt x="68" y="44"/>
                    </a:cubicBezTo>
                    <a:cubicBezTo>
                      <a:pt x="68" y="43"/>
                      <a:pt x="69" y="42"/>
                      <a:pt x="70" y="42"/>
                    </a:cubicBezTo>
                    <a:cubicBezTo>
                      <a:pt x="71" y="41"/>
                      <a:pt x="71" y="41"/>
                      <a:pt x="72" y="42"/>
                    </a:cubicBezTo>
                    <a:cubicBezTo>
                      <a:pt x="76" y="45"/>
                      <a:pt x="78" y="48"/>
                      <a:pt x="80" y="49"/>
                    </a:cubicBezTo>
                    <a:cubicBezTo>
                      <a:pt x="86" y="54"/>
                      <a:pt x="91" y="61"/>
                      <a:pt x="95" y="7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138" name="íṣ1ïḑe"/>
              <p:cNvSpPr/>
              <p:nvPr/>
            </p:nvSpPr>
            <p:spPr bwMode="auto">
              <a:xfrm>
                <a:off x="1750909" y="4905965"/>
                <a:ext cx="93663" cy="87313"/>
              </a:xfrm>
              <a:custGeom>
                <a:avLst/>
                <a:gdLst>
                  <a:gd name="T0" fmla="*/ 51 w 51"/>
                  <a:gd name="T1" fmla="*/ 17 h 47"/>
                  <a:gd name="T2" fmla="*/ 46 w 51"/>
                  <a:gd name="T3" fmla="*/ 25 h 47"/>
                  <a:gd name="T4" fmla="*/ 26 w 51"/>
                  <a:gd name="T5" fmla="*/ 13 h 47"/>
                  <a:gd name="T6" fmla="*/ 20 w 51"/>
                  <a:gd name="T7" fmla="*/ 9 h 47"/>
                  <a:gd name="T8" fmla="*/ 14 w 51"/>
                  <a:gd name="T9" fmla="*/ 9 h 47"/>
                  <a:gd name="T10" fmla="*/ 10 w 51"/>
                  <a:gd name="T11" fmla="*/ 13 h 47"/>
                  <a:gd name="T12" fmla="*/ 8 w 51"/>
                  <a:gd name="T13" fmla="*/ 19 h 47"/>
                  <a:gd name="T14" fmla="*/ 10 w 51"/>
                  <a:gd name="T15" fmla="*/ 23 h 47"/>
                  <a:gd name="T16" fmla="*/ 17 w 51"/>
                  <a:gd name="T17" fmla="*/ 27 h 47"/>
                  <a:gd name="T18" fmla="*/ 37 w 51"/>
                  <a:gd name="T19" fmla="*/ 40 h 47"/>
                  <a:gd name="T20" fmla="*/ 33 w 51"/>
                  <a:gd name="T21" fmla="*/ 47 h 47"/>
                  <a:gd name="T22" fmla="*/ 13 w 51"/>
                  <a:gd name="T23" fmla="*/ 35 h 47"/>
                  <a:gd name="T24" fmla="*/ 4 w 51"/>
                  <a:gd name="T25" fmla="*/ 29 h 47"/>
                  <a:gd name="T26" fmla="*/ 1 w 51"/>
                  <a:gd name="T27" fmla="*/ 24 h 47"/>
                  <a:gd name="T28" fmla="*/ 0 w 51"/>
                  <a:gd name="T29" fmla="*/ 18 h 47"/>
                  <a:gd name="T30" fmla="*/ 3 w 51"/>
                  <a:gd name="T31" fmla="*/ 10 h 47"/>
                  <a:gd name="T32" fmla="*/ 10 w 51"/>
                  <a:gd name="T33" fmla="*/ 2 h 47"/>
                  <a:gd name="T34" fmla="*/ 15 w 51"/>
                  <a:gd name="T35" fmla="*/ 0 h 47"/>
                  <a:gd name="T36" fmla="*/ 21 w 51"/>
                  <a:gd name="T37" fmla="*/ 0 h 47"/>
                  <a:gd name="T38" fmla="*/ 31 w 51"/>
                  <a:gd name="T39" fmla="*/ 5 h 47"/>
                  <a:gd name="T40" fmla="*/ 51 w 51"/>
                  <a:gd name="T41" fmla="*/ 17 h 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51" h="47">
                    <a:moveTo>
                      <a:pt x="51" y="17"/>
                    </a:moveTo>
                    <a:cubicBezTo>
                      <a:pt x="46" y="25"/>
                      <a:pt x="46" y="25"/>
                      <a:pt x="46" y="25"/>
                    </a:cubicBezTo>
                    <a:cubicBezTo>
                      <a:pt x="26" y="13"/>
                      <a:pt x="26" y="13"/>
                      <a:pt x="26" y="13"/>
                    </a:cubicBezTo>
                    <a:cubicBezTo>
                      <a:pt x="23" y="11"/>
                      <a:pt x="21" y="10"/>
                      <a:pt x="20" y="9"/>
                    </a:cubicBezTo>
                    <a:cubicBezTo>
                      <a:pt x="18" y="9"/>
                      <a:pt x="16" y="9"/>
                      <a:pt x="14" y="9"/>
                    </a:cubicBezTo>
                    <a:cubicBezTo>
                      <a:pt x="13" y="10"/>
                      <a:pt x="11" y="11"/>
                      <a:pt x="10" y="13"/>
                    </a:cubicBezTo>
                    <a:cubicBezTo>
                      <a:pt x="9" y="16"/>
                      <a:pt x="8" y="17"/>
                      <a:pt x="8" y="19"/>
                    </a:cubicBezTo>
                    <a:cubicBezTo>
                      <a:pt x="9" y="21"/>
                      <a:pt x="9" y="22"/>
                      <a:pt x="10" y="23"/>
                    </a:cubicBezTo>
                    <a:cubicBezTo>
                      <a:pt x="12" y="24"/>
                      <a:pt x="14" y="25"/>
                      <a:pt x="17" y="27"/>
                    </a:cubicBezTo>
                    <a:cubicBezTo>
                      <a:pt x="37" y="40"/>
                      <a:pt x="37" y="40"/>
                      <a:pt x="37" y="40"/>
                    </a:cubicBezTo>
                    <a:cubicBezTo>
                      <a:pt x="33" y="47"/>
                      <a:pt x="33" y="47"/>
                      <a:pt x="33" y="47"/>
                    </a:cubicBezTo>
                    <a:cubicBezTo>
                      <a:pt x="13" y="35"/>
                      <a:pt x="13" y="35"/>
                      <a:pt x="13" y="35"/>
                    </a:cubicBezTo>
                    <a:cubicBezTo>
                      <a:pt x="9" y="33"/>
                      <a:pt x="6" y="31"/>
                      <a:pt x="4" y="29"/>
                    </a:cubicBezTo>
                    <a:cubicBezTo>
                      <a:pt x="2" y="28"/>
                      <a:pt x="1" y="26"/>
                      <a:pt x="1" y="24"/>
                    </a:cubicBezTo>
                    <a:cubicBezTo>
                      <a:pt x="0" y="22"/>
                      <a:pt x="0" y="20"/>
                      <a:pt x="0" y="18"/>
                    </a:cubicBezTo>
                    <a:cubicBezTo>
                      <a:pt x="0" y="15"/>
                      <a:pt x="2" y="13"/>
                      <a:pt x="3" y="10"/>
                    </a:cubicBezTo>
                    <a:cubicBezTo>
                      <a:pt x="6" y="6"/>
                      <a:pt x="8" y="4"/>
                      <a:pt x="10" y="2"/>
                    </a:cubicBezTo>
                    <a:cubicBezTo>
                      <a:pt x="11" y="1"/>
                      <a:pt x="13" y="0"/>
                      <a:pt x="15" y="0"/>
                    </a:cubicBezTo>
                    <a:cubicBezTo>
                      <a:pt x="17" y="0"/>
                      <a:pt x="19" y="0"/>
                      <a:pt x="21" y="0"/>
                    </a:cubicBezTo>
                    <a:cubicBezTo>
                      <a:pt x="23" y="1"/>
                      <a:pt x="27" y="3"/>
                      <a:pt x="31" y="5"/>
                    </a:cubicBezTo>
                    <a:lnTo>
                      <a:pt x="51" y="1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139" name="íṧḷîde"/>
              <p:cNvSpPr/>
              <p:nvPr/>
            </p:nvSpPr>
            <p:spPr bwMode="auto">
              <a:xfrm>
                <a:off x="1704872" y="4971053"/>
                <a:ext cx="100013" cy="92075"/>
              </a:xfrm>
              <a:custGeom>
                <a:avLst/>
                <a:gdLst>
                  <a:gd name="T0" fmla="*/ 17 w 63"/>
                  <a:gd name="T1" fmla="*/ 0 h 58"/>
                  <a:gd name="T2" fmla="*/ 63 w 63"/>
                  <a:gd name="T3" fmla="*/ 21 h 58"/>
                  <a:gd name="T4" fmla="*/ 59 w 63"/>
                  <a:gd name="T5" fmla="*/ 30 h 58"/>
                  <a:gd name="T6" fmla="*/ 19 w 63"/>
                  <a:gd name="T7" fmla="*/ 35 h 58"/>
                  <a:gd name="T8" fmla="*/ 50 w 63"/>
                  <a:gd name="T9" fmla="*/ 50 h 58"/>
                  <a:gd name="T10" fmla="*/ 46 w 63"/>
                  <a:gd name="T11" fmla="*/ 58 h 58"/>
                  <a:gd name="T12" fmla="*/ 0 w 63"/>
                  <a:gd name="T13" fmla="*/ 37 h 58"/>
                  <a:gd name="T14" fmla="*/ 4 w 63"/>
                  <a:gd name="T15" fmla="*/ 26 h 58"/>
                  <a:gd name="T16" fmla="*/ 43 w 63"/>
                  <a:gd name="T17" fmla="*/ 22 h 58"/>
                  <a:gd name="T18" fmla="*/ 12 w 63"/>
                  <a:gd name="T19" fmla="*/ 8 h 58"/>
                  <a:gd name="T20" fmla="*/ 17 w 63"/>
                  <a:gd name="T21" fmla="*/ 0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63" h="58">
                    <a:moveTo>
                      <a:pt x="17" y="0"/>
                    </a:moveTo>
                    <a:lnTo>
                      <a:pt x="63" y="21"/>
                    </a:lnTo>
                    <a:lnTo>
                      <a:pt x="59" y="30"/>
                    </a:lnTo>
                    <a:lnTo>
                      <a:pt x="19" y="35"/>
                    </a:lnTo>
                    <a:lnTo>
                      <a:pt x="50" y="50"/>
                    </a:lnTo>
                    <a:lnTo>
                      <a:pt x="46" y="58"/>
                    </a:lnTo>
                    <a:lnTo>
                      <a:pt x="0" y="37"/>
                    </a:lnTo>
                    <a:lnTo>
                      <a:pt x="4" y="26"/>
                    </a:lnTo>
                    <a:lnTo>
                      <a:pt x="43" y="22"/>
                    </a:lnTo>
                    <a:lnTo>
                      <a:pt x="12" y="8"/>
                    </a:lnTo>
                    <a:lnTo>
                      <a:pt x="17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140" name="íS1îḍé"/>
              <p:cNvSpPr/>
              <p:nvPr/>
            </p:nvSpPr>
            <p:spPr bwMode="auto">
              <a:xfrm>
                <a:off x="1690584" y="5045665"/>
                <a:ext cx="84138" cy="44450"/>
              </a:xfrm>
              <a:custGeom>
                <a:avLst/>
                <a:gdLst>
                  <a:gd name="T0" fmla="*/ 5 w 53"/>
                  <a:gd name="T1" fmla="*/ 0 h 28"/>
                  <a:gd name="T2" fmla="*/ 53 w 53"/>
                  <a:gd name="T3" fmla="*/ 19 h 28"/>
                  <a:gd name="T4" fmla="*/ 49 w 53"/>
                  <a:gd name="T5" fmla="*/ 28 h 28"/>
                  <a:gd name="T6" fmla="*/ 0 w 53"/>
                  <a:gd name="T7" fmla="*/ 10 h 28"/>
                  <a:gd name="T8" fmla="*/ 5 w 53"/>
                  <a:gd name="T9" fmla="*/ 0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3" h="28">
                    <a:moveTo>
                      <a:pt x="5" y="0"/>
                    </a:moveTo>
                    <a:lnTo>
                      <a:pt x="53" y="19"/>
                    </a:lnTo>
                    <a:lnTo>
                      <a:pt x="49" y="28"/>
                    </a:lnTo>
                    <a:lnTo>
                      <a:pt x="0" y="10"/>
                    </a:lnTo>
                    <a:lnTo>
                      <a:pt x="5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141" name="íṧļïḋè"/>
              <p:cNvSpPr/>
              <p:nvPr/>
            </p:nvSpPr>
            <p:spPr bwMode="auto">
              <a:xfrm>
                <a:off x="1674709" y="5091703"/>
                <a:ext cx="92075" cy="73025"/>
              </a:xfrm>
              <a:custGeom>
                <a:avLst/>
                <a:gdLst>
                  <a:gd name="T0" fmla="*/ 4 w 58"/>
                  <a:gd name="T1" fmla="*/ 3 h 46"/>
                  <a:gd name="T2" fmla="*/ 58 w 58"/>
                  <a:gd name="T3" fmla="*/ 0 h 46"/>
                  <a:gd name="T4" fmla="*/ 55 w 58"/>
                  <a:gd name="T5" fmla="*/ 11 h 46"/>
                  <a:gd name="T6" fmla="*/ 14 w 58"/>
                  <a:gd name="T7" fmla="*/ 13 h 46"/>
                  <a:gd name="T8" fmla="*/ 46 w 58"/>
                  <a:gd name="T9" fmla="*/ 35 h 46"/>
                  <a:gd name="T10" fmla="*/ 44 w 58"/>
                  <a:gd name="T11" fmla="*/ 46 h 46"/>
                  <a:gd name="T12" fmla="*/ 0 w 58"/>
                  <a:gd name="T13" fmla="*/ 14 h 46"/>
                  <a:gd name="T14" fmla="*/ 4 w 58"/>
                  <a:gd name="T15" fmla="*/ 3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58" h="46">
                    <a:moveTo>
                      <a:pt x="4" y="3"/>
                    </a:moveTo>
                    <a:lnTo>
                      <a:pt x="58" y="0"/>
                    </a:lnTo>
                    <a:lnTo>
                      <a:pt x="55" y="11"/>
                    </a:lnTo>
                    <a:lnTo>
                      <a:pt x="14" y="13"/>
                    </a:lnTo>
                    <a:lnTo>
                      <a:pt x="46" y="35"/>
                    </a:lnTo>
                    <a:lnTo>
                      <a:pt x="44" y="46"/>
                    </a:lnTo>
                    <a:lnTo>
                      <a:pt x="0" y="14"/>
                    </a:lnTo>
                    <a:lnTo>
                      <a:pt x="4" y="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142" name="ïṡḷiḋé"/>
              <p:cNvSpPr/>
              <p:nvPr/>
            </p:nvSpPr>
            <p:spPr bwMode="auto">
              <a:xfrm>
                <a:off x="1652484" y="5153615"/>
                <a:ext cx="90488" cy="73025"/>
              </a:xfrm>
              <a:custGeom>
                <a:avLst/>
                <a:gdLst>
                  <a:gd name="T0" fmla="*/ 7 w 57"/>
                  <a:gd name="T1" fmla="*/ 0 h 46"/>
                  <a:gd name="T2" fmla="*/ 57 w 57"/>
                  <a:gd name="T3" fmla="*/ 10 h 46"/>
                  <a:gd name="T4" fmla="*/ 50 w 57"/>
                  <a:gd name="T5" fmla="*/ 46 h 46"/>
                  <a:gd name="T6" fmla="*/ 42 w 57"/>
                  <a:gd name="T7" fmla="*/ 45 h 46"/>
                  <a:gd name="T8" fmla="*/ 47 w 57"/>
                  <a:gd name="T9" fmla="*/ 18 h 46"/>
                  <a:gd name="T10" fmla="*/ 36 w 57"/>
                  <a:gd name="T11" fmla="*/ 16 h 46"/>
                  <a:gd name="T12" fmla="*/ 30 w 57"/>
                  <a:gd name="T13" fmla="*/ 40 h 46"/>
                  <a:gd name="T14" fmla="*/ 22 w 57"/>
                  <a:gd name="T15" fmla="*/ 39 h 46"/>
                  <a:gd name="T16" fmla="*/ 27 w 57"/>
                  <a:gd name="T17" fmla="*/ 14 h 46"/>
                  <a:gd name="T18" fmla="*/ 14 w 57"/>
                  <a:gd name="T19" fmla="*/ 11 h 46"/>
                  <a:gd name="T20" fmla="*/ 8 w 57"/>
                  <a:gd name="T21" fmla="*/ 39 h 46"/>
                  <a:gd name="T22" fmla="*/ 0 w 57"/>
                  <a:gd name="T23" fmla="*/ 38 h 46"/>
                  <a:gd name="T24" fmla="*/ 7 w 57"/>
                  <a:gd name="T25" fmla="*/ 0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57" h="46">
                    <a:moveTo>
                      <a:pt x="7" y="0"/>
                    </a:moveTo>
                    <a:lnTo>
                      <a:pt x="57" y="10"/>
                    </a:lnTo>
                    <a:lnTo>
                      <a:pt x="50" y="46"/>
                    </a:lnTo>
                    <a:lnTo>
                      <a:pt x="42" y="45"/>
                    </a:lnTo>
                    <a:lnTo>
                      <a:pt x="47" y="18"/>
                    </a:lnTo>
                    <a:lnTo>
                      <a:pt x="36" y="16"/>
                    </a:lnTo>
                    <a:lnTo>
                      <a:pt x="30" y="40"/>
                    </a:lnTo>
                    <a:lnTo>
                      <a:pt x="22" y="39"/>
                    </a:lnTo>
                    <a:lnTo>
                      <a:pt x="27" y="14"/>
                    </a:lnTo>
                    <a:lnTo>
                      <a:pt x="14" y="11"/>
                    </a:lnTo>
                    <a:lnTo>
                      <a:pt x="8" y="39"/>
                    </a:lnTo>
                    <a:lnTo>
                      <a:pt x="0" y="38"/>
                    </a:lnTo>
                    <a:lnTo>
                      <a:pt x="7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143" name="ïşļiḋe"/>
              <p:cNvSpPr/>
              <p:nvPr/>
            </p:nvSpPr>
            <p:spPr bwMode="auto">
              <a:xfrm>
                <a:off x="1641372" y="5231403"/>
                <a:ext cx="88900" cy="71438"/>
              </a:xfrm>
              <a:custGeom>
                <a:avLst/>
                <a:gdLst>
                  <a:gd name="T0" fmla="*/ 4 w 48"/>
                  <a:gd name="T1" fmla="*/ 0 h 39"/>
                  <a:gd name="T2" fmla="*/ 48 w 48"/>
                  <a:gd name="T3" fmla="*/ 4 h 39"/>
                  <a:gd name="T4" fmla="*/ 46 w 48"/>
                  <a:gd name="T5" fmla="*/ 23 h 39"/>
                  <a:gd name="T6" fmla="*/ 44 w 48"/>
                  <a:gd name="T7" fmla="*/ 33 h 39"/>
                  <a:gd name="T8" fmla="*/ 39 w 48"/>
                  <a:gd name="T9" fmla="*/ 38 h 39"/>
                  <a:gd name="T10" fmla="*/ 32 w 48"/>
                  <a:gd name="T11" fmla="*/ 39 h 39"/>
                  <a:gd name="T12" fmla="*/ 24 w 48"/>
                  <a:gd name="T13" fmla="*/ 35 h 39"/>
                  <a:gd name="T14" fmla="*/ 21 w 48"/>
                  <a:gd name="T15" fmla="*/ 26 h 39"/>
                  <a:gd name="T16" fmla="*/ 17 w 48"/>
                  <a:gd name="T17" fmla="*/ 30 h 39"/>
                  <a:gd name="T18" fmla="*/ 9 w 48"/>
                  <a:gd name="T19" fmla="*/ 35 h 39"/>
                  <a:gd name="T20" fmla="*/ 0 w 48"/>
                  <a:gd name="T21" fmla="*/ 39 h 39"/>
                  <a:gd name="T22" fmla="*/ 1 w 48"/>
                  <a:gd name="T23" fmla="*/ 29 h 39"/>
                  <a:gd name="T24" fmla="*/ 12 w 48"/>
                  <a:gd name="T25" fmla="*/ 23 h 39"/>
                  <a:gd name="T26" fmla="*/ 18 w 48"/>
                  <a:gd name="T27" fmla="*/ 19 h 39"/>
                  <a:gd name="T28" fmla="*/ 20 w 48"/>
                  <a:gd name="T29" fmla="*/ 17 h 39"/>
                  <a:gd name="T30" fmla="*/ 21 w 48"/>
                  <a:gd name="T31" fmla="*/ 12 h 39"/>
                  <a:gd name="T32" fmla="*/ 22 w 48"/>
                  <a:gd name="T33" fmla="*/ 11 h 39"/>
                  <a:gd name="T34" fmla="*/ 3 w 48"/>
                  <a:gd name="T35" fmla="*/ 9 h 39"/>
                  <a:gd name="T36" fmla="*/ 4 w 48"/>
                  <a:gd name="T37" fmla="*/ 0 h 39"/>
                  <a:gd name="T38" fmla="*/ 29 w 48"/>
                  <a:gd name="T39" fmla="*/ 11 h 39"/>
                  <a:gd name="T40" fmla="*/ 28 w 48"/>
                  <a:gd name="T41" fmla="*/ 18 h 39"/>
                  <a:gd name="T42" fmla="*/ 28 w 48"/>
                  <a:gd name="T43" fmla="*/ 26 h 39"/>
                  <a:gd name="T44" fmla="*/ 29 w 48"/>
                  <a:gd name="T45" fmla="*/ 28 h 39"/>
                  <a:gd name="T46" fmla="*/ 32 w 48"/>
                  <a:gd name="T47" fmla="*/ 30 h 39"/>
                  <a:gd name="T48" fmla="*/ 36 w 48"/>
                  <a:gd name="T49" fmla="*/ 29 h 39"/>
                  <a:gd name="T50" fmla="*/ 38 w 48"/>
                  <a:gd name="T51" fmla="*/ 26 h 39"/>
                  <a:gd name="T52" fmla="*/ 39 w 48"/>
                  <a:gd name="T53" fmla="*/ 19 h 39"/>
                  <a:gd name="T54" fmla="*/ 40 w 48"/>
                  <a:gd name="T55" fmla="*/ 12 h 39"/>
                  <a:gd name="T56" fmla="*/ 29 w 48"/>
                  <a:gd name="T57" fmla="*/ 11 h 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48" h="39">
                    <a:moveTo>
                      <a:pt x="4" y="0"/>
                    </a:moveTo>
                    <a:cubicBezTo>
                      <a:pt x="48" y="4"/>
                      <a:pt x="48" y="4"/>
                      <a:pt x="48" y="4"/>
                    </a:cubicBezTo>
                    <a:cubicBezTo>
                      <a:pt x="46" y="23"/>
                      <a:pt x="46" y="23"/>
                      <a:pt x="46" y="23"/>
                    </a:cubicBezTo>
                    <a:cubicBezTo>
                      <a:pt x="46" y="27"/>
                      <a:pt x="45" y="31"/>
                      <a:pt x="44" y="33"/>
                    </a:cubicBezTo>
                    <a:cubicBezTo>
                      <a:pt x="43" y="35"/>
                      <a:pt x="41" y="36"/>
                      <a:pt x="39" y="38"/>
                    </a:cubicBezTo>
                    <a:cubicBezTo>
                      <a:pt x="37" y="39"/>
                      <a:pt x="35" y="39"/>
                      <a:pt x="32" y="39"/>
                    </a:cubicBezTo>
                    <a:cubicBezTo>
                      <a:pt x="29" y="38"/>
                      <a:pt x="26" y="37"/>
                      <a:pt x="24" y="35"/>
                    </a:cubicBezTo>
                    <a:cubicBezTo>
                      <a:pt x="22" y="33"/>
                      <a:pt x="21" y="30"/>
                      <a:pt x="21" y="26"/>
                    </a:cubicBezTo>
                    <a:cubicBezTo>
                      <a:pt x="20" y="28"/>
                      <a:pt x="18" y="29"/>
                      <a:pt x="17" y="30"/>
                    </a:cubicBezTo>
                    <a:cubicBezTo>
                      <a:pt x="16" y="32"/>
                      <a:pt x="13" y="33"/>
                      <a:pt x="9" y="35"/>
                    </a:cubicBezTo>
                    <a:cubicBezTo>
                      <a:pt x="0" y="39"/>
                      <a:pt x="0" y="39"/>
                      <a:pt x="0" y="39"/>
                    </a:cubicBezTo>
                    <a:cubicBezTo>
                      <a:pt x="1" y="29"/>
                      <a:pt x="1" y="29"/>
                      <a:pt x="1" y="29"/>
                    </a:cubicBezTo>
                    <a:cubicBezTo>
                      <a:pt x="12" y="23"/>
                      <a:pt x="12" y="23"/>
                      <a:pt x="12" y="23"/>
                    </a:cubicBezTo>
                    <a:cubicBezTo>
                      <a:pt x="15" y="21"/>
                      <a:pt x="17" y="20"/>
                      <a:pt x="18" y="19"/>
                    </a:cubicBezTo>
                    <a:cubicBezTo>
                      <a:pt x="19" y="18"/>
                      <a:pt x="20" y="18"/>
                      <a:pt x="20" y="17"/>
                    </a:cubicBezTo>
                    <a:cubicBezTo>
                      <a:pt x="21" y="16"/>
                      <a:pt x="21" y="14"/>
                      <a:pt x="21" y="12"/>
                    </a:cubicBezTo>
                    <a:cubicBezTo>
                      <a:pt x="22" y="11"/>
                      <a:pt x="22" y="11"/>
                      <a:pt x="22" y="11"/>
                    </a:cubicBezTo>
                    <a:cubicBezTo>
                      <a:pt x="3" y="9"/>
                      <a:pt x="3" y="9"/>
                      <a:pt x="3" y="9"/>
                    </a:cubicBezTo>
                    <a:lnTo>
                      <a:pt x="4" y="0"/>
                    </a:lnTo>
                    <a:close/>
                    <a:moveTo>
                      <a:pt x="29" y="11"/>
                    </a:moveTo>
                    <a:cubicBezTo>
                      <a:pt x="28" y="18"/>
                      <a:pt x="28" y="18"/>
                      <a:pt x="28" y="18"/>
                    </a:cubicBezTo>
                    <a:cubicBezTo>
                      <a:pt x="28" y="22"/>
                      <a:pt x="27" y="25"/>
                      <a:pt x="28" y="26"/>
                    </a:cubicBezTo>
                    <a:cubicBezTo>
                      <a:pt x="28" y="27"/>
                      <a:pt x="28" y="28"/>
                      <a:pt x="29" y="28"/>
                    </a:cubicBezTo>
                    <a:cubicBezTo>
                      <a:pt x="30" y="29"/>
                      <a:pt x="31" y="30"/>
                      <a:pt x="32" y="30"/>
                    </a:cubicBezTo>
                    <a:cubicBezTo>
                      <a:pt x="34" y="30"/>
                      <a:pt x="35" y="30"/>
                      <a:pt x="36" y="29"/>
                    </a:cubicBezTo>
                    <a:cubicBezTo>
                      <a:pt x="37" y="28"/>
                      <a:pt x="38" y="27"/>
                      <a:pt x="38" y="26"/>
                    </a:cubicBezTo>
                    <a:cubicBezTo>
                      <a:pt x="38" y="25"/>
                      <a:pt x="39" y="23"/>
                      <a:pt x="39" y="19"/>
                    </a:cubicBezTo>
                    <a:cubicBezTo>
                      <a:pt x="40" y="12"/>
                      <a:pt x="40" y="12"/>
                      <a:pt x="40" y="12"/>
                    </a:cubicBezTo>
                    <a:lnTo>
                      <a:pt x="29" y="1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144" name="îś1iḓê"/>
              <p:cNvSpPr/>
              <p:nvPr/>
            </p:nvSpPr>
            <p:spPr bwMode="auto">
              <a:xfrm>
                <a:off x="1641372" y="5312365"/>
                <a:ext cx="82550" cy="66675"/>
              </a:xfrm>
              <a:custGeom>
                <a:avLst/>
                <a:gdLst>
                  <a:gd name="T0" fmla="*/ 15 w 45"/>
                  <a:gd name="T1" fmla="*/ 0 h 36"/>
                  <a:gd name="T2" fmla="*/ 16 w 45"/>
                  <a:gd name="T3" fmla="*/ 8 h 36"/>
                  <a:gd name="T4" fmla="*/ 9 w 45"/>
                  <a:gd name="T5" fmla="*/ 12 h 36"/>
                  <a:gd name="T6" fmla="*/ 7 w 45"/>
                  <a:gd name="T7" fmla="*/ 18 h 36"/>
                  <a:gd name="T8" fmla="*/ 9 w 45"/>
                  <a:gd name="T9" fmla="*/ 25 h 36"/>
                  <a:gd name="T10" fmla="*/ 13 w 45"/>
                  <a:gd name="T11" fmla="*/ 27 h 36"/>
                  <a:gd name="T12" fmla="*/ 16 w 45"/>
                  <a:gd name="T13" fmla="*/ 26 h 36"/>
                  <a:gd name="T14" fmla="*/ 18 w 45"/>
                  <a:gd name="T15" fmla="*/ 23 h 36"/>
                  <a:gd name="T16" fmla="*/ 20 w 45"/>
                  <a:gd name="T17" fmla="*/ 15 h 36"/>
                  <a:gd name="T18" fmla="*/ 24 w 45"/>
                  <a:gd name="T19" fmla="*/ 5 h 36"/>
                  <a:gd name="T20" fmla="*/ 33 w 45"/>
                  <a:gd name="T21" fmla="*/ 1 h 36"/>
                  <a:gd name="T22" fmla="*/ 39 w 45"/>
                  <a:gd name="T23" fmla="*/ 3 h 36"/>
                  <a:gd name="T24" fmla="*/ 44 w 45"/>
                  <a:gd name="T25" fmla="*/ 9 h 36"/>
                  <a:gd name="T26" fmla="*/ 45 w 45"/>
                  <a:gd name="T27" fmla="*/ 17 h 36"/>
                  <a:gd name="T28" fmla="*/ 42 w 45"/>
                  <a:gd name="T29" fmla="*/ 30 h 36"/>
                  <a:gd name="T30" fmla="*/ 32 w 45"/>
                  <a:gd name="T31" fmla="*/ 34 h 36"/>
                  <a:gd name="T32" fmla="*/ 31 w 45"/>
                  <a:gd name="T33" fmla="*/ 25 h 36"/>
                  <a:gd name="T34" fmla="*/ 36 w 45"/>
                  <a:gd name="T35" fmla="*/ 23 h 36"/>
                  <a:gd name="T36" fmla="*/ 38 w 45"/>
                  <a:gd name="T37" fmla="*/ 17 h 36"/>
                  <a:gd name="T38" fmla="*/ 36 w 45"/>
                  <a:gd name="T39" fmla="*/ 11 h 36"/>
                  <a:gd name="T40" fmla="*/ 33 w 45"/>
                  <a:gd name="T41" fmla="*/ 10 h 36"/>
                  <a:gd name="T42" fmla="*/ 31 w 45"/>
                  <a:gd name="T43" fmla="*/ 11 h 36"/>
                  <a:gd name="T44" fmla="*/ 28 w 45"/>
                  <a:gd name="T45" fmla="*/ 19 h 36"/>
                  <a:gd name="T46" fmla="*/ 25 w 45"/>
                  <a:gd name="T47" fmla="*/ 29 h 36"/>
                  <a:gd name="T48" fmla="*/ 20 w 45"/>
                  <a:gd name="T49" fmla="*/ 34 h 36"/>
                  <a:gd name="T50" fmla="*/ 13 w 45"/>
                  <a:gd name="T51" fmla="*/ 36 h 36"/>
                  <a:gd name="T52" fmla="*/ 6 w 45"/>
                  <a:gd name="T53" fmla="*/ 33 h 36"/>
                  <a:gd name="T54" fmla="*/ 1 w 45"/>
                  <a:gd name="T55" fmla="*/ 28 h 36"/>
                  <a:gd name="T56" fmla="*/ 0 w 45"/>
                  <a:gd name="T57" fmla="*/ 18 h 36"/>
                  <a:gd name="T58" fmla="*/ 3 w 45"/>
                  <a:gd name="T59" fmla="*/ 5 h 36"/>
                  <a:gd name="T60" fmla="*/ 15 w 45"/>
                  <a:gd name="T61" fmla="*/ 0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45" h="36">
                    <a:moveTo>
                      <a:pt x="15" y="0"/>
                    </a:moveTo>
                    <a:cubicBezTo>
                      <a:pt x="16" y="8"/>
                      <a:pt x="16" y="8"/>
                      <a:pt x="16" y="8"/>
                    </a:cubicBezTo>
                    <a:cubicBezTo>
                      <a:pt x="13" y="9"/>
                      <a:pt x="10" y="10"/>
                      <a:pt x="9" y="12"/>
                    </a:cubicBezTo>
                    <a:cubicBezTo>
                      <a:pt x="8" y="13"/>
                      <a:pt x="7" y="15"/>
                      <a:pt x="7" y="18"/>
                    </a:cubicBezTo>
                    <a:cubicBezTo>
                      <a:pt x="7" y="21"/>
                      <a:pt x="8" y="23"/>
                      <a:pt x="9" y="25"/>
                    </a:cubicBezTo>
                    <a:cubicBezTo>
                      <a:pt x="10" y="26"/>
                      <a:pt x="12" y="27"/>
                      <a:pt x="13" y="27"/>
                    </a:cubicBezTo>
                    <a:cubicBezTo>
                      <a:pt x="14" y="27"/>
                      <a:pt x="15" y="26"/>
                      <a:pt x="16" y="26"/>
                    </a:cubicBezTo>
                    <a:cubicBezTo>
                      <a:pt x="17" y="25"/>
                      <a:pt x="17" y="24"/>
                      <a:pt x="18" y="23"/>
                    </a:cubicBezTo>
                    <a:cubicBezTo>
                      <a:pt x="18" y="22"/>
                      <a:pt x="19" y="19"/>
                      <a:pt x="20" y="15"/>
                    </a:cubicBezTo>
                    <a:cubicBezTo>
                      <a:pt x="21" y="11"/>
                      <a:pt x="22" y="7"/>
                      <a:pt x="24" y="5"/>
                    </a:cubicBezTo>
                    <a:cubicBezTo>
                      <a:pt x="26" y="3"/>
                      <a:pt x="29" y="1"/>
                      <a:pt x="33" y="1"/>
                    </a:cubicBezTo>
                    <a:cubicBezTo>
                      <a:pt x="35" y="1"/>
                      <a:pt x="37" y="2"/>
                      <a:pt x="39" y="3"/>
                    </a:cubicBezTo>
                    <a:cubicBezTo>
                      <a:pt x="41" y="4"/>
                      <a:pt x="43" y="6"/>
                      <a:pt x="44" y="9"/>
                    </a:cubicBezTo>
                    <a:cubicBezTo>
                      <a:pt x="45" y="11"/>
                      <a:pt x="45" y="14"/>
                      <a:pt x="45" y="17"/>
                    </a:cubicBezTo>
                    <a:cubicBezTo>
                      <a:pt x="45" y="23"/>
                      <a:pt x="44" y="27"/>
                      <a:pt x="42" y="30"/>
                    </a:cubicBezTo>
                    <a:cubicBezTo>
                      <a:pt x="39" y="33"/>
                      <a:pt x="36" y="34"/>
                      <a:pt x="32" y="34"/>
                    </a:cubicBezTo>
                    <a:cubicBezTo>
                      <a:pt x="31" y="25"/>
                      <a:pt x="31" y="25"/>
                      <a:pt x="31" y="25"/>
                    </a:cubicBezTo>
                    <a:cubicBezTo>
                      <a:pt x="34" y="25"/>
                      <a:pt x="35" y="24"/>
                      <a:pt x="36" y="23"/>
                    </a:cubicBezTo>
                    <a:cubicBezTo>
                      <a:pt x="37" y="22"/>
                      <a:pt x="38" y="20"/>
                      <a:pt x="38" y="17"/>
                    </a:cubicBezTo>
                    <a:cubicBezTo>
                      <a:pt x="38" y="15"/>
                      <a:pt x="37" y="13"/>
                      <a:pt x="36" y="11"/>
                    </a:cubicBezTo>
                    <a:cubicBezTo>
                      <a:pt x="35" y="10"/>
                      <a:pt x="35" y="10"/>
                      <a:pt x="33" y="10"/>
                    </a:cubicBezTo>
                    <a:cubicBezTo>
                      <a:pt x="32" y="10"/>
                      <a:pt x="31" y="10"/>
                      <a:pt x="31" y="11"/>
                    </a:cubicBezTo>
                    <a:cubicBezTo>
                      <a:pt x="30" y="12"/>
                      <a:pt x="29" y="15"/>
                      <a:pt x="28" y="19"/>
                    </a:cubicBezTo>
                    <a:cubicBezTo>
                      <a:pt x="27" y="24"/>
                      <a:pt x="26" y="27"/>
                      <a:pt x="25" y="29"/>
                    </a:cubicBezTo>
                    <a:cubicBezTo>
                      <a:pt x="24" y="31"/>
                      <a:pt x="22" y="33"/>
                      <a:pt x="20" y="34"/>
                    </a:cubicBezTo>
                    <a:cubicBezTo>
                      <a:pt x="18" y="35"/>
                      <a:pt x="16" y="36"/>
                      <a:pt x="13" y="36"/>
                    </a:cubicBezTo>
                    <a:cubicBezTo>
                      <a:pt x="11" y="36"/>
                      <a:pt x="8" y="35"/>
                      <a:pt x="6" y="33"/>
                    </a:cubicBezTo>
                    <a:cubicBezTo>
                      <a:pt x="4" y="32"/>
                      <a:pt x="2" y="30"/>
                      <a:pt x="1" y="28"/>
                    </a:cubicBezTo>
                    <a:cubicBezTo>
                      <a:pt x="0" y="25"/>
                      <a:pt x="0" y="22"/>
                      <a:pt x="0" y="18"/>
                    </a:cubicBezTo>
                    <a:cubicBezTo>
                      <a:pt x="0" y="12"/>
                      <a:pt x="1" y="8"/>
                      <a:pt x="3" y="5"/>
                    </a:cubicBezTo>
                    <a:cubicBezTo>
                      <a:pt x="6" y="2"/>
                      <a:pt x="10" y="0"/>
                      <a:pt x="15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145" name="íş1ïḓe"/>
              <p:cNvSpPr/>
              <p:nvPr/>
            </p:nvSpPr>
            <p:spPr bwMode="auto">
              <a:xfrm>
                <a:off x="1642959" y="5385390"/>
                <a:ext cx="84138" cy="22225"/>
              </a:xfrm>
              <a:custGeom>
                <a:avLst/>
                <a:gdLst>
                  <a:gd name="T0" fmla="*/ 0 w 53"/>
                  <a:gd name="T1" fmla="*/ 5 h 14"/>
                  <a:gd name="T2" fmla="*/ 51 w 53"/>
                  <a:gd name="T3" fmla="*/ 0 h 14"/>
                  <a:gd name="T4" fmla="*/ 53 w 53"/>
                  <a:gd name="T5" fmla="*/ 11 h 14"/>
                  <a:gd name="T6" fmla="*/ 1 w 53"/>
                  <a:gd name="T7" fmla="*/ 14 h 14"/>
                  <a:gd name="T8" fmla="*/ 0 w 53"/>
                  <a:gd name="T9" fmla="*/ 5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3" h="14">
                    <a:moveTo>
                      <a:pt x="0" y="5"/>
                    </a:moveTo>
                    <a:lnTo>
                      <a:pt x="51" y="0"/>
                    </a:lnTo>
                    <a:lnTo>
                      <a:pt x="53" y="11"/>
                    </a:lnTo>
                    <a:lnTo>
                      <a:pt x="1" y="14"/>
                    </a:lnTo>
                    <a:lnTo>
                      <a:pt x="0" y="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146" name="ïṩlîḋè"/>
              <p:cNvSpPr/>
              <p:nvPr/>
            </p:nvSpPr>
            <p:spPr bwMode="auto">
              <a:xfrm>
                <a:off x="1649309" y="5407615"/>
                <a:ext cx="84138" cy="66675"/>
              </a:xfrm>
              <a:custGeom>
                <a:avLst/>
                <a:gdLst>
                  <a:gd name="T0" fmla="*/ 0 w 53"/>
                  <a:gd name="T1" fmla="*/ 22 h 42"/>
                  <a:gd name="T2" fmla="*/ 42 w 53"/>
                  <a:gd name="T3" fmla="*/ 17 h 42"/>
                  <a:gd name="T4" fmla="*/ 39 w 53"/>
                  <a:gd name="T5" fmla="*/ 1 h 42"/>
                  <a:gd name="T6" fmla="*/ 49 w 53"/>
                  <a:gd name="T7" fmla="*/ 0 h 42"/>
                  <a:gd name="T8" fmla="*/ 53 w 53"/>
                  <a:gd name="T9" fmla="*/ 41 h 42"/>
                  <a:gd name="T10" fmla="*/ 45 w 53"/>
                  <a:gd name="T11" fmla="*/ 42 h 42"/>
                  <a:gd name="T12" fmla="*/ 43 w 53"/>
                  <a:gd name="T13" fmla="*/ 27 h 42"/>
                  <a:gd name="T14" fmla="*/ 1 w 53"/>
                  <a:gd name="T15" fmla="*/ 33 h 42"/>
                  <a:gd name="T16" fmla="*/ 0 w 53"/>
                  <a:gd name="T17" fmla="*/ 22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3" h="42">
                    <a:moveTo>
                      <a:pt x="0" y="22"/>
                    </a:moveTo>
                    <a:lnTo>
                      <a:pt x="42" y="17"/>
                    </a:lnTo>
                    <a:lnTo>
                      <a:pt x="39" y="1"/>
                    </a:lnTo>
                    <a:lnTo>
                      <a:pt x="49" y="0"/>
                    </a:lnTo>
                    <a:lnTo>
                      <a:pt x="53" y="41"/>
                    </a:lnTo>
                    <a:lnTo>
                      <a:pt x="45" y="42"/>
                    </a:lnTo>
                    <a:lnTo>
                      <a:pt x="43" y="27"/>
                    </a:lnTo>
                    <a:lnTo>
                      <a:pt x="1" y="33"/>
                    </a:lnTo>
                    <a:lnTo>
                      <a:pt x="0" y="2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147" name="ïṣľîďe"/>
              <p:cNvSpPr/>
              <p:nvPr/>
            </p:nvSpPr>
            <p:spPr bwMode="auto">
              <a:xfrm>
                <a:off x="1662009" y="5471115"/>
                <a:ext cx="90488" cy="73025"/>
              </a:xfrm>
              <a:custGeom>
                <a:avLst/>
                <a:gdLst>
                  <a:gd name="T0" fmla="*/ 0 w 57"/>
                  <a:gd name="T1" fmla="*/ 29 h 46"/>
                  <a:gd name="T2" fmla="*/ 21 w 57"/>
                  <a:gd name="T3" fmla="*/ 24 h 46"/>
                  <a:gd name="T4" fmla="*/ 45 w 57"/>
                  <a:gd name="T5" fmla="*/ 0 h 46"/>
                  <a:gd name="T6" fmla="*/ 49 w 57"/>
                  <a:gd name="T7" fmla="*/ 11 h 46"/>
                  <a:gd name="T8" fmla="*/ 31 w 57"/>
                  <a:gd name="T9" fmla="*/ 28 h 46"/>
                  <a:gd name="T10" fmla="*/ 53 w 57"/>
                  <a:gd name="T11" fmla="*/ 35 h 46"/>
                  <a:gd name="T12" fmla="*/ 57 w 57"/>
                  <a:gd name="T13" fmla="*/ 46 h 46"/>
                  <a:gd name="T14" fmla="*/ 23 w 57"/>
                  <a:gd name="T15" fmla="*/ 35 h 46"/>
                  <a:gd name="T16" fmla="*/ 2 w 57"/>
                  <a:gd name="T17" fmla="*/ 39 h 46"/>
                  <a:gd name="T18" fmla="*/ 0 w 57"/>
                  <a:gd name="T19" fmla="*/ 29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57" h="46">
                    <a:moveTo>
                      <a:pt x="0" y="29"/>
                    </a:moveTo>
                    <a:lnTo>
                      <a:pt x="21" y="24"/>
                    </a:lnTo>
                    <a:lnTo>
                      <a:pt x="45" y="0"/>
                    </a:lnTo>
                    <a:lnTo>
                      <a:pt x="49" y="11"/>
                    </a:lnTo>
                    <a:lnTo>
                      <a:pt x="31" y="28"/>
                    </a:lnTo>
                    <a:lnTo>
                      <a:pt x="53" y="35"/>
                    </a:lnTo>
                    <a:lnTo>
                      <a:pt x="57" y="46"/>
                    </a:lnTo>
                    <a:lnTo>
                      <a:pt x="23" y="35"/>
                    </a:lnTo>
                    <a:lnTo>
                      <a:pt x="2" y="39"/>
                    </a:lnTo>
                    <a:lnTo>
                      <a:pt x="0" y="2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148" name="íśļiḓe"/>
              <p:cNvSpPr/>
              <p:nvPr/>
            </p:nvSpPr>
            <p:spPr bwMode="auto">
              <a:xfrm>
                <a:off x="1704872" y="5609228"/>
                <a:ext cx="85725" cy="80963"/>
              </a:xfrm>
              <a:custGeom>
                <a:avLst/>
                <a:gdLst>
                  <a:gd name="T0" fmla="*/ 15 w 47"/>
                  <a:gd name="T1" fmla="*/ 2 h 44"/>
                  <a:gd name="T2" fmla="*/ 26 w 47"/>
                  <a:gd name="T3" fmla="*/ 0 h 44"/>
                  <a:gd name="T4" fmla="*/ 33 w 47"/>
                  <a:gd name="T5" fmla="*/ 1 h 44"/>
                  <a:gd name="T6" fmla="*/ 39 w 47"/>
                  <a:gd name="T7" fmla="*/ 4 h 44"/>
                  <a:gd name="T8" fmla="*/ 44 w 47"/>
                  <a:gd name="T9" fmla="*/ 12 h 44"/>
                  <a:gd name="T10" fmla="*/ 45 w 47"/>
                  <a:gd name="T11" fmla="*/ 29 h 44"/>
                  <a:gd name="T12" fmla="*/ 32 w 47"/>
                  <a:gd name="T13" fmla="*/ 41 h 44"/>
                  <a:gd name="T14" fmla="*/ 15 w 47"/>
                  <a:gd name="T15" fmla="*/ 43 h 44"/>
                  <a:gd name="T16" fmla="*/ 3 w 47"/>
                  <a:gd name="T17" fmla="*/ 31 h 44"/>
                  <a:gd name="T18" fmla="*/ 2 w 47"/>
                  <a:gd name="T19" fmla="*/ 14 h 44"/>
                  <a:gd name="T20" fmla="*/ 15 w 47"/>
                  <a:gd name="T21" fmla="*/ 2 h 44"/>
                  <a:gd name="T22" fmla="*/ 19 w 47"/>
                  <a:gd name="T23" fmla="*/ 10 h 44"/>
                  <a:gd name="T24" fmla="*/ 10 w 47"/>
                  <a:gd name="T25" fmla="*/ 18 h 44"/>
                  <a:gd name="T26" fmla="*/ 10 w 47"/>
                  <a:gd name="T27" fmla="*/ 28 h 44"/>
                  <a:gd name="T28" fmla="*/ 17 w 47"/>
                  <a:gd name="T29" fmla="*/ 34 h 44"/>
                  <a:gd name="T30" fmla="*/ 29 w 47"/>
                  <a:gd name="T31" fmla="*/ 33 h 44"/>
                  <a:gd name="T32" fmla="*/ 38 w 47"/>
                  <a:gd name="T33" fmla="*/ 25 h 44"/>
                  <a:gd name="T34" fmla="*/ 37 w 47"/>
                  <a:gd name="T35" fmla="*/ 16 h 44"/>
                  <a:gd name="T36" fmla="*/ 30 w 47"/>
                  <a:gd name="T37" fmla="*/ 9 h 44"/>
                  <a:gd name="T38" fmla="*/ 19 w 47"/>
                  <a:gd name="T39" fmla="*/ 10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47" h="44">
                    <a:moveTo>
                      <a:pt x="15" y="2"/>
                    </a:moveTo>
                    <a:cubicBezTo>
                      <a:pt x="19" y="0"/>
                      <a:pt x="23" y="0"/>
                      <a:pt x="26" y="0"/>
                    </a:cubicBezTo>
                    <a:cubicBezTo>
                      <a:pt x="28" y="0"/>
                      <a:pt x="31" y="0"/>
                      <a:pt x="33" y="1"/>
                    </a:cubicBezTo>
                    <a:cubicBezTo>
                      <a:pt x="35" y="2"/>
                      <a:pt x="37" y="3"/>
                      <a:pt x="39" y="4"/>
                    </a:cubicBezTo>
                    <a:cubicBezTo>
                      <a:pt x="41" y="6"/>
                      <a:pt x="43" y="9"/>
                      <a:pt x="44" y="12"/>
                    </a:cubicBezTo>
                    <a:cubicBezTo>
                      <a:pt x="47" y="18"/>
                      <a:pt x="47" y="24"/>
                      <a:pt x="45" y="29"/>
                    </a:cubicBezTo>
                    <a:cubicBezTo>
                      <a:pt x="43" y="34"/>
                      <a:pt x="39" y="38"/>
                      <a:pt x="32" y="41"/>
                    </a:cubicBezTo>
                    <a:cubicBezTo>
                      <a:pt x="26" y="44"/>
                      <a:pt x="20" y="44"/>
                      <a:pt x="15" y="43"/>
                    </a:cubicBezTo>
                    <a:cubicBezTo>
                      <a:pt x="9" y="41"/>
                      <a:pt x="5" y="37"/>
                      <a:pt x="3" y="31"/>
                    </a:cubicBezTo>
                    <a:cubicBezTo>
                      <a:pt x="0" y="25"/>
                      <a:pt x="0" y="19"/>
                      <a:pt x="2" y="14"/>
                    </a:cubicBezTo>
                    <a:cubicBezTo>
                      <a:pt x="4" y="9"/>
                      <a:pt x="8" y="5"/>
                      <a:pt x="15" y="2"/>
                    </a:cubicBezTo>
                    <a:close/>
                    <a:moveTo>
                      <a:pt x="19" y="10"/>
                    </a:moveTo>
                    <a:cubicBezTo>
                      <a:pt x="14" y="12"/>
                      <a:pt x="11" y="15"/>
                      <a:pt x="10" y="18"/>
                    </a:cubicBezTo>
                    <a:cubicBezTo>
                      <a:pt x="8" y="21"/>
                      <a:pt x="8" y="24"/>
                      <a:pt x="10" y="28"/>
                    </a:cubicBezTo>
                    <a:cubicBezTo>
                      <a:pt x="11" y="31"/>
                      <a:pt x="13" y="33"/>
                      <a:pt x="17" y="34"/>
                    </a:cubicBezTo>
                    <a:cubicBezTo>
                      <a:pt x="20" y="35"/>
                      <a:pt x="24" y="35"/>
                      <a:pt x="29" y="33"/>
                    </a:cubicBezTo>
                    <a:cubicBezTo>
                      <a:pt x="33" y="31"/>
                      <a:pt x="36" y="28"/>
                      <a:pt x="38" y="25"/>
                    </a:cubicBezTo>
                    <a:cubicBezTo>
                      <a:pt x="39" y="22"/>
                      <a:pt x="39" y="19"/>
                      <a:pt x="37" y="16"/>
                    </a:cubicBezTo>
                    <a:cubicBezTo>
                      <a:pt x="36" y="12"/>
                      <a:pt x="34" y="10"/>
                      <a:pt x="30" y="9"/>
                    </a:cubicBezTo>
                    <a:cubicBezTo>
                      <a:pt x="27" y="8"/>
                      <a:pt x="23" y="8"/>
                      <a:pt x="19" y="1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149" name="î$ḷïďe"/>
              <p:cNvSpPr/>
              <p:nvPr/>
            </p:nvSpPr>
            <p:spPr bwMode="auto">
              <a:xfrm>
                <a:off x="1733447" y="5675903"/>
                <a:ext cx="98425" cy="66675"/>
              </a:xfrm>
              <a:custGeom>
                <a:avLst/>
                <a:gdLst>
                  <a:gd name="T0" fmla="*/ 0 w 62"/>
                  <a:gd name="T1" fmla="*/ 26 h 42"/>
                  <a:gd name="T2" fmla="*/ 45 w 62"/>
                  <a:gd name="T3" fmla="*/ 0 h 42"/>
                  <a:gd name="T4" fmla="*/ 62 w 62"/>
                  <a:gd name="T5" fmla="*/ 30 h 42"/>
                  <a:gd name="T6" fmla="*/ 55 w 62"/>
                  <a:gd name="T7" fmla="*/ 35 h 42"/>
                  <a:gd name="T8" fmla="*/ 43 w 62"/>
                  <a:gd name="T9" fmla="*/ 14 h 42"/>
                  <a:gd name="T10" fmla="*/ 32 w 62"/>
                  <a:gd name="T11" fmla="*/ 20 h 42"/>
                  <a:gd name="T12" fmla="*/ 43 w 62"/>
                  <a:gd name="T13" fmla="*/ 38 h 42"/>
                  <a:gd name="T14" fmla="*/ 35 w 62"/>
                  <a:gd name="T15" fmla="*/ 42 h 42"/>
                  <a:gd name="T16" fmla="*/ 25 w 62"/>
                  <a:gd name="T17" fmla="*/ 23 h 42"/>
                  <a:gd name="T18" fmla="*/ 6 w 62"/>
                  <a:gd name="T19" fmla="*/ 35 h 42"/>
                  <a:gd name="T20" fmla="*/ 0 w 62"/>
                  <a:gd name="T21" fmla="*/ 26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62" h="42">
                    <a:moveTo>
                      <a:pt x="0" y="26"/>
                    </a:moveTo>
                    <a:lnTo>
                      <a:pt x="45" y="0"/>
                    </a:lnTo>
                    <a:lnTo>
                      <a:pt x="62" y="30"/>
                    </a:lnTo>
                    <a:lnTo>
                      <a:pt x="55" y="35"/>
                    </a:lnTo>
                    <a:lnTo>
                      <a:pt x="43" y="14"/>
                    </a:lnTo>
                    <a:lnTo>
                      <a:pt x="32" y="20"/>
                    </a:lnTo>
                    <a:lnTo>
                      <a:pt x="43" y="38"/>
                    </a:lnTo>
                    <a:lnTo>
                      <a:pt x="35" y="42"/>
                    </a:lnTo>
                    <a:lnTo>
                      <a:pt x="25" y="23"/>
                    </a:lnTo>
                    <a:lnTo>
                      <a:pt x="6" y="35"/>
                    </a:lnTo>
                    <a:lnTo>
                      <a:pt x="0" y="26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150" name="îśḻîḍe"/>
              <p:cNvSpPr/>
              <p:nvPr/>
            </p:nvSpPr>
            <p:spPr bwMode="auto">
              <a:xfrm>
                <a:off x="1812822" y="5785440"/>
                <a:ext cx="85725" cy="82550"/>
              </a:xfrm>
              <a:custGeom>
                <a:avLst/>
                <a:gdLst>
                  <a:gd name="T0" fmla="*/ 6 w 46"/>
                  <a:gd name="T1" fmla="*/ 13 h 45"/>
                  <a:gd name="T2" fmla="*/ 12 w 46"/>
                  <a:gd name="T3" fmla="*/ 19 h 45"/>
                  <a:gd name="T4" fmla="*/ 9 w 46"/>
                  <a:gd name="T5" fmla="*/ 26 h 45"/>
                  <a:gd name="T6" fmla="*/ 11 w 46"/>
                  <a:gd name="T7" fmla="*/ 32 h 45"/>
                  <a:gd name="T8" fmla="*/ 17 w 46"/>
                  <a:gd name="T9" fmla="*/ 36 h 45"/>
                  <a:gd name="T10" fmla="*/ 22 w 46"/>
                  <a:gd name="T11" fmla="*/ 35 h 45"/>
                  <a:gd name="T12" fmla="*/ 23 w 46"/>
                  <a:gd name="T13" fmla="*/ 32 h 45"/>
                  <a:gd name="T14" fmla="*/ 22 w 46"/>
                  <a:gd name="T15" fmla="*/ 29 h 45"/>
                  <a:gd name="T16" fmla="*/ 19 w 46"/>
                  <a:gd name="T17" fmla="*/ 22 h 45"/>
                  <a:gd name="T18" fmla="*/ 16 w 46"/>
                  <a:gd name="T19" fmla="*/ 12 h 45"/>
                  <a:gd name="T20" fmla="*/ 21 w 46"/>
                  <a:gd name="T21" fmla="*/ 3 h 45"/>
                  <a:gd name="T22" fmla="*/ 27 w 46"/>
                  <a:gd name="T23" fmla="*/ 0 h 45"/>
                  <a:gd name="T24" fmla="*/ 34 w 46"/>
                  <a:gd name="T25" fmla="*/ 2 h 45"/>
                  <a:gd name="T26" fmla="*/ 40 w 46"/>
                  <a:gd name="T27" fmla="*/ 8 h 45"/>
                  <a:gd name="T28" fmla="*/ 45 w 46"/>
                  <a:gd name="T29" fmla="*/ 19 h 45"/>
                  <a:gd name="T30" fmla="*/ 41 w 46"/>
                  <a:gd name="T31" fmla="*/ 29 h 45"/>
                  <a:gd name="T32" fmla="*/ 35 w 46"/>
                  <a:gd name="T33" fmla="*/ 22 h 45"/>
                  <a:gd name="T34" fmla="*/ 37 w 46"/>
                  <a:gd name="T35" fmla="*/ 17 h 45"/>
                  <a:gd name="T36" fmla="*/ 35 w 46"/>
                  <a:gd name="T37" fmla="*/ 12 h 45"/>
                  <a:gd name="T38" fmla="*/ 30 w 46"/>
                  <a:gd name="T39" fmla="*/ 8 h 45"/>
                  <a:gd name="T40" fmla="*/ 27 w 46"/>
                  <a:gd name="T41" fmla="*/ 9 h 45"/>
                  <a:gd name="T42" fmla="*/ 25 w 46"/>
                  <a:gd name="T43" fmla="*/ 12 h 45"/>
                  <a:gd name="T44" fmla="*/ 28 w 46"/>
                  <a:gd name="T45" fmla="*/ 20 h 45"/>
                  <a:gd name="T46" fmla="*/ 32 w 46"/>
                  <a:gd name="T47" fmla="*/ 29 h 45"/>
                  <a:gd name="T48" fmla="*/ 31 w 46"/>
                  <a:gd name="T49" fmla="*/ 36 h 45"/>
                  <a:gd name="T50" fmla="*/ 27 w 46"/>
                  <a:gd name="T51" fmla="*/ 42 h 45"/>
                  <a:gd name="T52" fmla="*/ 20 w 46"/>
                  <a:gd name="T53" fmla="*/ 45 h 45"/>
                  <a:gd name="T54" fmla="*/ 13 w 46"/>
                  <a:gd name="T55" fmla="*/ 43 h 45"/>
                  <a:gd name="T56" fmla="*/ 6 w 46"/>
                  <a:gd name="T57" fmla="*/ 37 h 45"/>
                  <a:gd name="T58" fmla="*/ 0 w 46"/>
                  <a:gd name="T59" fmla="*/ 24 h 45"/>
                  <a:gd name="T60" fmla="*/ 6 w 46"/>
                  <a:gd name="T61" fmla="*/ 13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46" h="45">
                    <a:moveTo>
                      <a:pt x="6" y="13"/>
                    </a:moveTo>
                    <a:cubicBezTo>
                      <a:pt x="12" y="19"/>
                      <a:pt x="12" y="19"/>
                      <a:pt x="12" y="19"/>
                    </a:cubicBezTo>
                    <a:cubicBezTo>
                      <a:pt x="10" y="21"/>
                      <a:pt x="9" y="24"/>
                      <a:pt x="9" y="26"/>
                    </a:cubicBezTo>
                    <a:cubicBezTo>
                      <a:pt x="9" y="28"/>
                      <a:pt x="10" y="30"/>
                      <a:pt x="11" y="32"/>
                    </a:cubicBezTo>
                    <a:cubicBezTo>
                      <a:pt x="13" y="34"/>
                      <a:pt x="15" y="35"/>
                      <a:pt x="17" y="36"/>
                    </a:cubicBezTo>
                    <a:cubicBezTo>
                      <a:pt x="19" y="36"/>
                      <a:pt x="20" y="36"/>
                      <a:pt x="22" y="35"/>
                    </a:cubicBezTo>
                    <a:cubicBezTo>
                      <a:pt x="22" y="34"/>
                      <a:pt x="23" y="33"/>
                      <a:pt x="23" y="32"/>
                    </a:cubicBezTo>
                    <a:cubicBezTo>
                      <a:pt x="23" y="32"/>
                      <a:pt x="23" y="30"/>
                      <a:pt x="22" y="29"/>
                    </a:cubicBezTo>
                    <a:cubicBezTo>
                      <a:pt x="22" y="28"/>
                      <a:pt x="21" y="26"/>
                      <a:pt x="19" y="22"/>
                    </a:cubicBezTo>
                    <a:cubicBezTo>
                      <a:pt x="17" y="18"/>
                      <a:pt x="16" y="14"/>
                      <a:pt x="16" y="12"/>
                    </a:cubicBezTo>
                    <a:cubicBezTo>
                      <a:pt x="17" y="8"/>
                      <a:pt x="18" y="5"/>
                      <a:pt x="21" y="3"/>
                    </a:cubicBezTo>
                    <a:cubicBezTo>
                      <a:pt x="23" y="1"/>
                      <a:pt x="25" y="1"/>
                      <a:pt x="27" y="0"/>
                    </a:cubicBezTo>
                    <a:cubicBezTo>
                      <a:pt x="29" y="0"/>
                      <a:pt x="31" y="1"/>
                      <a:pt x="34" y="2"/>
                    </a:cubicBezTo>
                    <a:cubicBezTo>
                      <a:pt x="36" y="3"/>
                      <a:pt x="38" y="5"/>
                      <a:pt x="40" y="8"/>
                    </a:cubicBezTo>
                    <a:cubicBezTo>
                      <a:pt x="44" y="12"/>
                      <a:pt x="46" y="16"/>
                      <a:pt x="45" y="19"/>
                    </a:cubicBezTo>
                    <a:cubicBezTo>
                      <a:pt x="45" y="23"/>
                      <a:pt x="44" y="26"/>
                      <a:pt x="41" y="29"/>
                    </a:cubicBezTo>
                    <a:cubicBezTo>
                      <a:pt x="35" y="22"/>
                      <a:pt x="35" y="22"/>
                      <a:pt x="35" y="22"/>
                    </a:cubicBezTo>
                    <a:cubicBezTo>
                      <a:pt x="36" y="21"/>
                      <a:pt x="37" y="19"/>
                      <a:pt x="37" y="17"/>
                    </a:cubicBezTo>
                    <a:cubicBezTo>
                      <a:pt x="37" y="16"/>
                      <a:pt x="36" y="14"/>
                      <a:pt x="35" y="12"/>
                    </a:cubicBezTo>
                    <a:cubicBezTo>
                      <a:pt x="33" y="10"/>
                      <a:pt x="31" y="9"/>
                      <a:pt x="30" y="8"/>
                    </a:cubicBezTo>
                    <a:cubicBezTo>
                      <a:pt x="28" y="8"/>
                      <a:pt x="27" y="8"/>
                      <a:pt x="27" y="9"/>
                    </a:cubicBezTo>
                    <a:cubicBezTo>
                      <a:pt x="26" y="10"/>
                      <a:pt x="25" y="11"/>
                      <a:pt x="25" y="12"/>
                    </a:cubicBezTo>
                    <a:cubicBezTo>
                      <a:pt x="25" y="13"/>
                      <a:pt x="26" y="16"/>
                      <a:pt x="28" y="20"/>
                    </a:cubicBezTo>
                    <a:cubicBezTo>
                      <a:pt x="30" y="24"/>
                      <a:pt x="31" y="27"/>
                      <a:pt x="32" y="29"/>
                    </a:cubicBezTo>
                    <a:cubicBezTo>
                      <a:pt x="32" y="32"/>
                      <a:pt x="32" y="34"/>
                      <a:pt x="31" y="36"/>
                    </a:cubicBezTo>
                    <a:cubicBezTo>
                      <a:pt x="31" y="38"/>
                      <a:pt x="29" y="40"/>
                      <a:pt x="27" y="42"/>
                    </a:cubicBezTo>
                    <a:cubicBezTo>
                      <a:pt x="25" y="43"/>
                      <a:pt x="23" y="44"/>
                      <a:pt x="20" y="45"/>
                    </a:cubicBezTo>
                    <a:cubicBezTo>
                      <a:pt x="18" y="45"/>
                      <a:pt x="15" y="44"/>
                      <a:pt x="13" y="43"/>
                    </a:cubicBezTo>
                    <a:cubicBezTo>
                      <a:pt x="10" y="42"/>
                      <a:pt x="8" y="40"/>
                      <a:pt x="6" y="37"/>
                    </a:cubicBezTo>
                    <a:cubicBezTo>
                      <a:pt x="2" y="32"/>
                      <a:pt x="0" y="28"/>
                      <a:pt x="0" y="24"/>
                    </a:cubicBezTo>
                    <a:cubicBezTo>
                      <a:pt x="1" y="20"/>
                      <a:pt x="2" y="17"/>
                      <a:pt x="6" y="1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151" name="í$ļîḋê"/>
              <p:cNvSpPr/>
              <p:nvPr/>
            </p:nvSpPr>
            <p:spPr bwMode="auto">
              <a:xfrm>
                <a:off x="1868384" y="5844178"/>
                <a:ext cx="82550" cy="82550"/>
              </a:xfrm>
              <a:custGeom>
                <a:avLst/>
                <a:gdLst>
                  <a:gd name="T0" fmla="*/ 25 w 45"/>
                  <a:gd name="T1" fmla="*/ 33 h 45"/>
                  <a:gd name="T2" fmla="*/ 29 w 45"/>
                  <a:gd name="T3" fmla="*/ 41 h 45"/>
                  <a:gd name="T4" fmla="*/ 17 w 45"/>
                  <a:gd name="T5" fmla="*/ 44 h 45"/>
                  <a:gd name="T6" fmla="*/ 6 w 45"/>
                  <a:gd name="T7" fmla="*/ 38 h 45"/>
                  <a:gd name="T8" fmla="*/ 0 w 45"/>
                  <a:gd name="T9" fmla="*/ 24 h 45"/>
                  <a:gd name="T10" fmla="*/ 8 w 45"/>
                  <a:gd name="T11" fmla="*/ 8 h 45"/>
                  <a:gd name="T12" fmla="*/ 24 w 45"/>
                  <a:gd name="T13" fmla="*/ 0 h 45"/>
                  <a:gd name="T14" fmla="*/ 39 w 45"/>
                  <a:gd name="T15" fmla="*/ 7 h 45"/>
                  <a:gd name="T16" fmla="*/ 45 w 45"/>
                  <a:gd name="T17" fmla="*/ 19 h 45"/>
                  <a:gd name="T18" fmla="*/ 42 w 45"/>
                  <a:gd name="T19" fmla="*/ 28 h 45"/>
                  <a:gd name="T20" fmla="*/ 34 w 45"/>
                  <a:gd name="T21" fmla="*/ 23 h 45"/>
                  <a:gd name="T22" fmla="*/ 36 w 45"/>
                  <a:gd name="T23" fmla="*/ 17 h 45"/>
                  <a:gd name="T24" fmla="*/ 33 w 45"/>
                  <a:gd name="T25" fmla="*/ 12 h 45"/>
                  <a:gd name="T26" fmla="*/ 25 w 45"/>
                  <a:gd name="T27" fmla="*/ 9 h 45"/>
                  <a:gd name="T28" fmla="*/ 15 w 45"/>
                  <a:gd name="T29" fmla="*/ 14 h 45"/>
                  <a:gd name="T30" fmla="*/ 8 w 45"/>
                  <a:gd name="T31" fmla="*/ 25 h 45"/>
                  <a:gd name="T32" fmla="*/ 11 w 45"/>
                  <a:gd name="T33" fmla="*/ 33 h 45"/>
                  <a:gd name="T34" fmla="*/ 17 w 45"/>
                  <a:gd name="T35" fmla="*/ 36 h 45"/>
                  <a:gd name="T36" fmla="*/ 25 w 45"/>
                  <a:gd name="T37" fmla="*/ 33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45" h="45">
                    <a:moveTo>
                      <a:pt x="25" y="33"/>
                    </a:moveTo>
                    <a:cubicBezTo>
                      <a:pt x="29" y="41"/>
                      <a:pt x="29" y="41"/>
                      <a:pt x="29" y="41"/>
                    </a:cubicBezTo>
                    <a:cubicBezTo>
                      <a:pt x="25" y="44"/>
                      <a:pt x="21" y="45"/>
                      <a:pt x="17" y="44"/>
                    </a:cubicBezTo>
                    <a:cubicBezTo>
                      <a:pt x="13" y="44"/>
                      <a:pt x="9" y="42"/>
                      <a:pt x="6" y="38"/>
                    </a:cubicBezTo>
                    <a:cubicBezTo>
                      <a:pt x="2" y="34"/>
                      <a:pt x="0" y="29"/>
                      <a:pt x="0" y="24"/>
                    </a:cubicBezTo>
                    <a:cubicBezTo>
                      <a:pt x="0" y="19"/>
                      <a:pt x="3" y="13"/>
                      <a:pt x="8" y="8"/>
                    </a:cubicBezTo>
                    <a:cubicBezTo>
                      <a:pt x="13" y="3"/>
                      <a:pt x="18" y="1"/>
                      <a:pt x="24" y="0"/>
                    </a:cubicBezTo>
                    <a:cubicBezTo>
                      <a:pt x="29" y="0"/>
                      <a:pt x="34" y="2"/>
                      <a:pt x="39" y="7"/>
                    </a:cubicBezTo>
                    <a:cubicBezTo>
                      <a:pt x="42" y="10"/>
                      <a:pt x="44" y="15"/>
                      <a:pt x="45" y="19"/>
                    </a:cubicBezTo>
                    <a:cubicBezTo>
                      <a:pt x="45" y="22"/>
                      <a:pt x="44" y="25"/>
                      <a:pt x="42" y="28"/>
                    </a:cubicBezTo>
                    <a:cubicBezTo>
                      <a:pt x="34" y="23"/>
                      <a:pt x="34" y="23"/>
                      <a:pt x="34" y="23"/>
                    </a:cubicBezTo>
                    <a:cubicBezTo>
                      <a:pt x="36" y="21"/>
                      <a:pt x="36" y="19"/>
                      <a:pt x="36" y="17"/>
                    </a:cubicBezTo>
                    <a:cubicBezTo>
                      <a:pt x="36" y="15"/>
                      <a:pt x="35" y="13"/>
                      <a:pt x="33" y="12"/>
                    </a:cubicBezTo>
                    <a:cubicBezTo>
                      <a:pt x="31" y="9"/>
                      <a:pt x="28" y="8"/>
                      <a:pt x="25" y="9"/>
                    </a:cubicBezTo>
                    <a:cubicBezTo>
                      <a:pt x="22" y="9"/>
                      <a:pt x="18" y="11"/>
                      <a:pt x="15" y="14"/>
                    </a:cubicBezTo>
                    <a:cubicBezTo>
                      <a:pt x="11" y="18"/>
                      <a:pt x="9" y="22"/>
                      <a:pt x="8" y="25"/>
                    </a:cubicBezTo>
                    <a:cubicBezTo>
                      <a:pt x="8" y="28"/>
                      <a:pt x="9" y="31"/>
                      <a:pt x="11" y="33"/>
                    </a:cubicBezTo>
                    <a:cubicBezTo>
                      <a:pt x="13" y="35"/>
                      <a:pt x="15" y="36"/>
                      <a:pt x="17" y="36"/>
                    </a:cubicBezTo>
                    <a:cubicBezTo>
                      <a:pt x="20" y="36"/>
                      <a:pt x="22" y="35"/>
                      <a:pt x="25" y="3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152" name="íṩḷiḋé"/>
              <p:cNvSpPr/>
              <p:nvPr/>
            </p:nvSpPr>
            <p:spPr bwMode="auto">
              <a:xfrm>
                <a:off x="1916009" y="5887040"/>
                <a:ext cx="65088" cy="71438"/>
              </a:xfrm>
              <a:custGeom>
                <a:avLst/>
                <a:gdLst>
                  <a:gd name="T0" fmla="*/ 0 w 41"/>
                  <a:gd name="T1" fmla="*/ 38 h 45"/>
                  <a:gd name="T2" fmla="*/ 34 w 41"/>
                  <a:gd name="T3" fmla="*/ 0 h 45"/>
                  <a:gd name="T4" fmla="*/ 41 w 41"/>
                  <a:gd name="T5" fmla="*/ 6 h 45"/>
                  <a:gd name="T6" fmla="*/ 8 w 41"/>
                  <a:gd name="T7" fmla="*/ 45 h 45"/>
                  <a:gd name="T8" fmla="*/ 0 w 41"/>
                  <a:gd name="T9" fmla="*/ 38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1" h="45">
                    <a:moveTo>
                      <a:pt x="0" y="38"/>
                    </a:moveTo>
                    <a:lnTo>
                      <a:pt x="34" y="0"/>
                    </a:lnTo>
                    <a:lnTo>
                      <a:pt x="41" y="6"/>
                    </a:lnTo>
                    <a:lnTo>
                      <a:pt x="8" y="45"/>
                    </a:lnTo>
                    <a:lnTo>
                      <a:pt x="0" y="3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153" name="îsľïďé"/>
              <p:cNvSpPr/>
              <p:nvPr/>
            </p:nvSpPr>
            <p:spPr bwMode="auto">
              <a:xfrm>
                <a:off x="1941409" y="5904503"/>
                <a:ext cx="96838" cy="101600"/>
              </a:xfrm>
              <a:custGeom>
                <a:avLst/>
                <a:gdLst>
                  <a:gd name="T0" fmla="*/ 0 w 61"/>
                  <a:gd name="T1" fmla="*/ 41 h 64"/>
                  <a:gd name="T2" fmla="*/ 31 w 61"/>
                  <a:gd name="T3" fmla="*/ 0 h 64"/>
                  <a:gd name="T4" fmla="*/ 61 w 61"/>
                  <a:gd name="T5" fmla="*/ 22 h 64"/>
                  <a:gd name="T6" fmla="*/ 56 w 61"/>
                  <a:gd name="T7" fmla="*/ 29 h 64"/>
                  <a:gd name="T8" fmla="*/ 34 w 61"/>
                  <a:gd name="T9" fmla="*/ 13 h 64"/>
                  <a:gd name="T10" fmla="*/ 27 w 61"/>
                  <a:gd name="T11" fmla="*/ 22 h 64"/>
                  <a:gd name="T12" fmla="*/ 47 w 61"/>
                  <a:gd name="T13" fmla="*/ 37 h 64"/>
                  <a:gd name="T14" fmla="*/ 42 w 61"/>
                  <a:gd name="T15" fmla="*/ 44 h 64"/>
                  <a:gd name="T16" fmla="*/ 21 w 61"/>
                  <a:gd name="T17" fmla="*/ 29 h 64"/>
                  <a:gd name="T18" fmla="*/ 13 w 61"/>
                  <a:gd name="T19" fmla="*/ 40 h 64"/>
                  <a:gd name="T20" fmla="*/ 36 w 61"/>
                  <a:gd name="T21" fmla="*/ 57 h 64"/>
                  <a:gd name="T22" fmla="*/ 31 w 61"/>
                  <a:gd name="T23" fmla="*/ 64 h 64"/>
                  <a:gd name="T24" fmla="*/ 0 w 61"/>
                  <a:gd name="T25" fmla="*/ 41 h 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1" h="64">
                    <a:moveTo>
                      <a:pt x="0" y="41"/>
                    </a:moveTo>
                    <a:lnTo>
                      <a:pt x="31" y="0"/>
                    </a:lnTo>
                    <a:lnTo>
                      <a:pt x="61" y="22"/>
                    </a:lnTo>
                    <a:lnTo>
                      <a:pt x="56" y="29"/>
                    </a:lnTo>
                    <a:lnTo>
                      <a:pt x="34" y="13"/>
                    </a:lnTo>
                    <a:lnTo>
                      <a:pt x="27" y="22"/>
                    </a:lnTo>
                    <a:lnTo>
                      <a:pt x="47" y="37"/>
                    </a:lnTo>
                    <a:lnTo>
                      <a:pt x="42" y="44"/>
                    </a:lnTo>
                    <a:lnTo>
                      <a:pt x="21" y="29"/>
                    </a:lnTo>
                    <a:lnTo>
                      <a:pt x="13" y="40"/>
                    </a:lnTo>
                    <a:lnTo>
                      <a:pt x="36" y="57"/>
                    </a:lnTo>
                    <a:lnTo>
                      <a:pt x="31" y="64"/>
                    </a:lnTo>
                    <a:lnTo>
                      <a:pt x="0" y="4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154" name="íśliḋé"/>
              <p:cNvSpPr/>
              <p:nvPr/>
            </p:nvSpPr>
            <p:spPr bwMode="auto">
              <a:xfrm>
                <a:off x="2004909" y="5947365"/>
                <a:ext cx="96838" cy="101600"/>
              </a:xfrm>
              <a:custGeom>
                <a:avLst/>
                <a:gdLst>
                  <a:gd name="T0" fmla="*/ 0 w 61"/>
                  <a:gd name="T1" fmla="*/ 43 h 64"/>
                  <a:gd name="T2" fmla="*/ 27 w 61"/>
                  <a:gd name="T3" fmla="*/ 0 h 64"/>
                  <a:gd name="T4" fmla="*/ 35 w 61"/>
                  <a:gd name="T5" fmla="*/ 5 h 64"/>
                  <a:gd name="T6" fmla="*/ 36 w 61"/>
                  <a:gd name="T7" fmla="*/ 45 h 64"/>
                  <a:gd name="T8" fmla="*/ 53 w 61"/>
                  <a:gd name="T9" fmla="*/ 15 h 64"/>
                  <a:gd name="T10" fmla="*/ 61 w 61"/>
                  <a:gd name="T11" fmla="*/ 21 h 64"/>
                  <a:gd name="T12" fmla="*/ 35 w 61"/>
                  <a:gd name="T13" fmla="*/ 64 h 64"/>
                  <a:gd name="T14" fmla="*/ 27 w 61"/>
                  <a:gd name="T15" fmla="*/ 59 h 64"/>
                  <a:gd name="T16" fmla="*/ 25 w 61"/>
                  <a:gd name="T17" fmla="*/ 20 h 64"/>
                  <a:gd name="T18" fmla="*/ 8 w 61"/>
                  <a:gd name="T19" fmla="*/ 49 h 64"/>
                  <a:gd name="T20" fmla="*/ 0 w 61"/>
                  <a:gd name="T21" fmla="*/ 43 h 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61" h="64">
                    <a:moveTo>
                      <a:pt x="0" y="43"/>
                    </a:moveTo>
                    <a:lnTo>
                      <a:pt x="27" y="0"/>
                    </a:lnTo>
                    <a:lnTo>
                      <a:pt x="35" y="5"/>
                    </a:lnTo>
                    <a:lnTo>
                      <a:pt x="36" y="45"/>
                    </a:lnTo>
                    <a:lnTo>
                      <a:pt x="53" y="15"/>
                    </a:lnTo>
                    <a:lnTo>
                      <a:pt x="61" y="21"/>
                    </a:lnTo>
                    <a:lnTo>
                      <a:pt x="35" y="64"/>
                    </a:lnTo>
                    <a:lnTo>
                      <a:pt x="27" y="59"/>
                    </a:lnTo>
                    <a:lnTo>
                      <a:pt x="25" y="20"/>
                    </a:lnTo>
                    <a:lnTo>
                      <a:pt x="8" y="49"/>
                    </a:lnTo>
                    <a:lnTo>
                      <a:pt x="0" y="4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155" name="iSļiďê"/>
              <p:cNvSpPr/>
              <p:nvPr/>
            </p:nvSpPr>
            <p:spPr bwMode="auto">
              <a:xfrm>
                <a:off x="2087459" y="5993403"/>
                <a:ext cx="79375" cy="87313"/>
              </a:xfrm>
              <a:custGeom>
                <a:avLst/>
                <a:gdLst>
                  <a:gd name="T0" fmla="*/ 28 w 43"/>
                  <a:gd name="T1" fmla="*/ 33 h 47"/>
                  <a:gd name="T2" fmla="*/ 34 w 43"/>
                  <a:gd name="T3" fmla="*/ 39 h 47"/>
                  <a:gd name="T4" fmla="*/ 24 w 43"/>
                  <a:gd name="T5" fmla="*/ 46 h 47"/>
                  <a:gd name="T6" fmla="*/ 12 w 43"/>
                  <a:gd name="T7" fmla="*/ 44 h 47"/>
                  <a:gd name="T8" fmla="*/ 1 w 43"/>
                  <a:gd name="T9" fmla="*/ 33 h 47"/>
                  <a:gd name="T10" fmla="*/ 3 w 43"/>
                  <a:gd name="T11" fmla="*/ 15 h 47"/>
                  <a:gd name="T12" fmla="*/ 15 w 43"/>
                  <a:gd name="T13" fmla="*/ 2 h 47"/>
                  <a:gd name="T14" fmla="*/ 32 w 43"/>
                  <a:gd name="T15" fmla="*/ 3 h 47"/>
                  <a:gd name="T16" fmla="*/ 41 w 43"/>
                  <a:gd name="T17" fmla="*/ 13 h 47"/>
                  <a:gd name="T18" fmla="*/ 42 w 43"/>
                  <a:gd name="T19" fmla="*/ 22 h 47"/>
                  <a:gd name="T20" fmla="*/ 33 w 43"/>
                  <a:gd name="T21" fmla="*/ 20 h 47"/>
                  <a:gd name="T22" fmla="*/ 33 w 43"/>
                  <a:gd name="T23" fmla="*/ 14 h 47"/>
                  <a:gd name="T24" fmla="*/ 28 w 43"/>
                  <a:gd name="T25" fmla="*/ 10 h 47"/>
                  <a:gd name="T26" fmla="*/ 19 w 43"/>
                  <a:gd name="T27" fmla="*/ 10 h 47"/>
                  <a:gd name="T28" fmla="*/ 12 w 43"/>
                  <a:gd name="T29" fmla="*/ 19 h 47"/>
                  <a:gd name="T30" fmla="*/ 9 w 43"/>
                  <a:gd name="T31" fmla="*/ 31 h 47"/>
                  <a:gd name="T32" fmla="*/ 15 w 43"/>
                  <a:gd name="T33" fmla="*/ 37 h 47"/>
                  <a:gd name="T34" fmla="*/ 22 w 43"/>
                  <a:gd name="T35" fmla="*/ 38 h 47"/>
                  <a:gd name="T36" fmla="*/ 28 w 43"/>
                  <a:gd name="T37" fmla="*/ 33 h 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43" h="47">
                    <a:moveTo>
                      <a:pt x="28" y="33"/>
                    </a:moveTo>
                    <a:cubicBezTo>
                      <a:pt x="34" y="39"/>
                      <a:pt x="34" y="39"/>
                      <a:pt x="34" y="39"/>
                    </a:cubicBezTo>
                    <a:cubicBezTo>
                      <a:pt x="31" y="43"/>
                      <a:pt x="28" y="45"/>
                      <a:pt x="24" y="46"/>
                    </a:cubicBezTo>
                    <a:cubicBezTo>
                      <a:pt x="20" y="47"/>
                      <a:pt x="16" y="46"/>
                      <a:pt x="12" y="44"/>
                    </a:cubicBezTo>
                    <a:cubicBezTo>
                      <a:pt x="7" y="42"/>
                      <a:pt x="3" y="38"/>
                      <a:pt x="1" y="33"/>
                    </a:cubicBezTo>
                    <a:cubicBezTo>
                      <a:pt x="0" y="27"/>
                      <a:pt x="0" y="22"/>
                      <a:pt x="3" y="15"/>
                    </a:cubicBezTo>
                    <a:cubicBezTo>
                      <a:pt x="6" y="9"/>
                      <a:pt x="10" y="4"/>
                      <a:pt x="15" y="2"/>
                    </a:cubicBezTo>
                    <a:cubicBezTo>
                      <a:pt x="21" y="0"/>
                      <a:pt x="26" y="1"/>
                      <a:pt x="32" y="3"/>
                    </a:cubicBezTo>
                    <a:cubicBezTo>
                      <a:pt x="36" y="5"/>
                      <a:pt x="40" y="9"/>
                      <a:pt x="41" y="13"/>
                    </a:cubicBezTo>
                    <a:cubicBezTo>
                      <a:pt x="42" y="16"/>
                      <a:pt x="43" y="19"/>
                      <a:pt x="42" y="22"/>
                    </a:cubicBezTo>
                    <a:cubicBezTo>
                      <a:pt x="33" y="20"/>
                      <a:pt x="33" y="20"/>
                      <a:pt x="33" y="20"/>
                    </a:cubicBezTo>
                    <a:cubicBezTo>
                      <a:pt x="34" y="18"/>
                      <a:pt x="34" y="16"/>
                      <a:pt x="33" y="14"/>
                    </a:cubicBezTo>
                    <a:cubicBezTo>
                      <a:pt x="32" y="12"/>
                      <a:pt x="30" y="11"/>
                      <a:pt x="28" y="10"/>
                    </a:cubicBezTo>
                    <a:cubicBezTo>
                      <a:pt x="25" y="8"/>
                      <a:pt x="22" y="8"/>
                      <a:pt x="19" y="10"/>
                    </a:cubicBezTo>
                    <a:cubicBezTo>
                      <a:pt x="16" y="11"/>
                      <a:pt x="14" y="14"/>
                      <a:pt x="12" y="19"/>
                    </a:cubicBezTo>
                    <a:cubicBezTo>
                      <a:pt x="9" y="24"/>
                      <a:pt x="9" y="28"/>
                      <a:pt x="9" y="31"/>
                    </a:cubicBezTo>
                    <a:cubicBezTo>
                      <a:pt x="10" y="34"/>
                      <a:pt x="12" y="36"/>
                      <a:pt x="15" y="37"/>
                    </a:cubicBezTo>
                    <a:cubicBezTo>
                      <a:pt x="17" y="38"/>
                      <a:pt x="19" y="38"/>
                      <a:pt x="22" y="38"/>
                    </a:cubicBezTo>
                    <a:cubicBezTo>
                      <a:pt x="24" y="37"/>
                      <a:pt x="26" y="35"/>
                      <a:pt x="28" y="3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156" name="íSliḋé"/>
              <p:cNvSpPr/>
              <p:nvPr/>
            </p:nvSpPr>
            <p:spPr bwMode="auto">
              <a:xfrm>
                <a:off x="2157309" y="6017215"/>
                <a:ext cx="82550" cy="96838"/>
              </a:xfrm>
              <a:custGeom>
                <a:avLst/>
                <a:gdLst>
                  <a:gd name="T0" fmla="*/ 0 w 52"/>
                  <a:gd name="T1" fmla="*/ 49 h 61"/>
                  <a:gd name="T2" fmla="*/ 16 w 52"/>
                  <a:gd name="T3" fmla="*/ 0 h 61"/>
                  <a:gd name="T4" fmla="*/ 52 w 52"/>
                  <a:gd name="T5" fmla="*/ 13 h 61"/>
                  <a:gd name="T6" fmla="*/ 50 w 52"/>
                  <a:gd name="T7" fmla="*/ 21 h 61"/>
                  <a:gd name="T8" fmla="*/ 23 w 52"/>
                  <a:gd name="T9" fmla="*/ 12 h 61"/>
                  <a:gd name="T10" fmla="*/ 20 w 52"/>
                  <a:gd name="T11" fmla="*/ 22 h 61"/>
                  <a:gd name="T12" fmla="*/ 44 w 52"/>
                  <a:gd name="T13" fmla="*/ 30 h 61"/>
                  <a:gd name="T14" fmla="*/ 41 w 52"/>
                  <a:gd name="T15" fmla="*/ 38 h 61"/>
                  <a:gd name="T16" fmla="*/ 18 w 52"/>
                  <a:gd name="T17" fmla="*/ 30 h 61"/>
                  <a:gd name="T18" fmla="*/ 13 w 52"/>
                  <a:gd name="T19" fmla="*/ 43 h 61"/>
                  <a:gd name="T20" fmla="*/ 40 w 52"/>
                  <a:gd name="T21" fmla="*/ 52 h 61"/>
                  <a:gd name="T22" fmla="*/ 36 w 52"/>
                  <a:gd name="T23" fmla="*/ 61 h 61"/>
                  <a:gd name="T24" fmla="*/ 0 w 52"/>
                  <a:gd name="T25" fmla="*/ 49 h 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52" h="61">
                    <a:moveTo>
                      <a:pt x="0" y="49"/>
                    </a:moveTo>
                    <a:lnTo>
                      <a:pt x="16" y="0"/>
                    </a:lnTo>
                    <a:lnTo>
                      <a:pt x="52" y="13"/>
                    </a:lnTo>
                    <a:lnTo>
                      <a:pt x="50" y="21"/>
                    </a:lnTo>
                    <a:lnTo>
                      <a:pt x="23" y="12"/>
                    </a:lnTo>
                    <a:lnTo>
                      <a:pt x="20" y="22"/>
                    </a:lnTo>
                    <a:lnTo>
                      <a:pt x="44" y="30"/>
                    </a:lnTo>
                    <a:lnTo>
                      <a:pt x="41" y="38"/>
                    </a:lnTo>
                    <a:lnTo>
                      <a:pt x="18" y="30"/>
                    </a:lnTo>
                    <a:lnTo>
                      <a:pt x="13" y="43"/>
                    </a:lnTo>
                    <a:lnTo>
                      <a:pt x="40" y="52"/>
                    </a:lnTo>
                    <a:lnTo>
                      <a:pt x="36" y="61"/>
                    </a:lnTo>
                    <a:lnTo>
                      <a:pt x="0" y="4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157" name="îŝ1îḑè"/>
              <p:cNvSpPr/>
              <p:nvPr/>
            </p:nvSpPr>
            <p:spPr bwMode="auto">
              <a:xfrm>
                <a:off x="2663722" y="6026740"/>
                <a:ext cx="77788" cy="92075"/>
              </a:xfrm>
              <a:custGeom>
                <a:avLst/>
                <a:gdLst>
                  <a:gd name="T0" fmla="*/ 49 w 49"/>
                  <a:gd name="T1" fmla="*/ 42 h 58"/>
                  <a:gd name="T2" fmla="*/ 39 w 49"/>
                  <a:gd name="T3" fmla="*/ 45 h 58"/>
                  <a:gd name="T4" fmla="*/ 31 w 49"/>
                  <a:gd name="T5" fmla="*/ 36 h 58"/>
                  <a:gd name="T6" fmla="*/ 11 w 49"/>
                  <a:gd name="T7" fmla="*/ 43 h 58"/>
                  <a:gd name="T8" fmla="*/ 11 w 49"/>
                  <a:gd name="T9" fmla="*/ 55 h 58"/>
                  <a:gd name="T10" fmla="*/ 0 w 49"/>
                  <a:gd name="T11" fmla="*/ 58 h 58"/>
                  <a:gd name="T12" fmla="*/ 3 w 49"/>
                  <a:gd name="T13" fmla="*/ 3 h 58"/>
                  <a:gd name="T14" fmla="*/ 13 w 49"/>
                  <a:gd name="T15" fmla="*/ 0 h 58"/>
                  <a:gd name="T16" fmla="*/ 49 w 49"/>
                  <a:gd name="T17" fmla="*/ 42 h 58"/>
                  <a:gd name="T18" fmla="*/ 25 w 49"/>
                  <a:gd name="T19" fmla="*/ 29 h 58"/>
                  <a:gd name="T20" fmla="*/ 12 w 49"/>
                  <a:gd name="T21" fmla="*/ 14 h 58"/>
                  <a:gd name="T22" fmla="*/ 11 w 49"/>
                  <a:gd name="T23" fmla="*/ 34 h 58"/>
                  <a:gd name="T24" fmla="*/ 25 w 49"/>
                  <a:gd name="T25" fmla="*/ 29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49" h="58">
                    <a:moveTo>
                      <a:pt x="49" y="42"/>
                    </a:moveTo>
                    <a:lnTo>
                      <a:pt x="39" y="45"/>
                    </a:lnTo>
                    <a:lnTo>
                      <a:pt x="31" y="36"/>
                    </a:lnTo>
                    <a:lnTo>
                      <a:pt x="11" y="43"/>
                    </a:lnTo>
                    <a:lnTo>
                      <a:pt x="11" y="55"/>
                    </a:lnTo>
                    <a:lnTo>
                      <a:pt x="0" y="58"/>
                    </a:lnTo>
                    <a:lnTo>
                      <a:pt x="3" y="3"/>
                    </a:lnTo>
                    <a:lnTo>
                      <a:pt x="13" y="0"/>
                    </a:lnTo>
                    <a:lnTo>
                      <a:pt x="49" y="42"/>
                    </a:lnTo>
                    <a:close/>
                    <a:moveTo>
                      <a:pt x="25" y="29"/>
                    </a:moveTo>
                    <a:lnTo>
                      <a:pt x="12" y="14"/>
                    </a:lnTo>
                    <a:lnTo>
                      <a:pt x="11" y="34"/>
                    </a:lnTo>
                    <a:lnTo>
                      <a:pt x="25" y="2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158" name="íṩḻiḋê"/>
              <p:cNvSpPr/>
              <p:nvPr/>
            </p:nvSpPr>
            <p:spPr bwMode="auto">
              <a:xfrm>
                <a:off x="2714522" y="5990228"/>
                <a:ext cx="92075" cy="101600"/>
              </a:xfrm>
              <a:custGeom>
                <a:avLst/>
                <a:gdLst>
                  <a:gd name="T0" fmla="*/ 21 w 58"/>
                  <a:gd name="T1" fmla="*/ 64 h 64"/>
                  <a:gd name="T2" fmla="*/ 0 w 58"/>
                  <a:gd name="T3" fmla="*/ 17 h 64"/>
                  <a:gd name="T4" fmla="*/ 9 w 58"/>
                  <a:gd name="T5" fmla="*/ 12 h 64"/>
                  <a:gd name="T6" fmla="*/ 43 w 58"/>
                  <a:gd name="T7" fmla="*/ 36 h 64"/>
                  <a:gd name="T8" fmla="*/ 29 w 58"/>
                  <a:gd name="T9" fmla="*/ 4 h 64"/>
                  <a:gd name="T10" fmla="*/ 37 w 58"/>
                  <a:gd name="T11" fmla="*/ 0 h 64"/>
                  <a:gd name="T12" fmla="*/ 58 w 58"/>
                  <a:gd name="T13" fmla="*/ 46 h 64"/>
                  <a:gd name="T14" fmla="*/ 49 w 58"/>
                  <a:gd name="T15" fmla="*/ 51 h 64"/>
                  <a:gd name="T16" fmla="*/ 16 w 58"/>
                  <a:gd name="T17" fmla="*/ 29 h 64"/>
                  <a:gd name="T18" fmla="*/ 30 w 58"/>
                  <a:gd name="T19" fmla="*/ 59 h 64"/>
                  <a:gd name="T20" fmla="*/ 21 w 58"/>
                  <a:gd name="T21" fmla="*/ 64 h 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58" h="64">
                    <a:moveTo>
                      <a:pt x="21" y="64"/>
                    </a:moveTo>
                    <a:lnTo>
                      <a:pt x="0" y="17"/>
                    </a:lnTo>
                    <a:lnTo>
                      <a:pt x="9" y="12"/>
                    </a:lnTo>
                    <a:lnTo>
                      <a:pt x="43" y="36"/>
                    </a:lnTo>
                    <a:lnTo>
                      <a:pt x="29" y="4"/>
                    </a:lnTo>
                    <a:lnTo>
                      <a:pt x="37" y="0"/>
                    </a:lnTo>
                    <a:lnTo>
                      <a:pt x="58" y="46"/>
                    </a:lnTo>
                    <a:lnTo>
                      <a:pt x="49" y="51"/>
                    </a:lnTo>
                    <a:lnTo>
                      <a:pt x="16" y="29"/>
                    </a:lnTo>
                    <a:lnTo>
                      <a:pt x="30" y="59"/>
                    </a:lnTo>
                    <a:lnTo>
                      <a:pt x="21" y="6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159" name="îṧľíḍe"/>
              <p:cNvSpPr/>
              <p:nvPr/>
            </p:nvSpPr>
            <p:spPr bwMode="auto">
              <a:xfrm>
                <a:off x="2781197" y="5963240"/>
                <a:ext cx="85725" cy="95250"/>
              </a:xfrm>
              <a:custGeom>
                <a:avLst/>
                <a:gdLst>
                  <a:gd name="T0" fmla="*/ 0 w 47"/>
                  <a:gd name="T1" fmla="*/ 13 h 51"/>
                  <a:gd name="T2" fmla="*/ 14 w 47"/>
                  <a:gd name="T3" fmla="*/ 4 h 51"/>
                  <a:gd name="T4" fmla="*/ 22 w 47"/>
                  <a:gd name="T5" fmla="*/ 1 h 51"/>
                  <a:gd name="T6" fmla="*/ 29 w 47"/>
                  <a:gd name="T7" fmla="*/ 1 h 51"/>
                  <a:gd name="T8" fmla="*/ 37 w 47"/>
                  <a:gd name="T9" fmla="*/ 5 h 51"/>
                  <a:gd name="T10" fmla="*/ 43 w 47"/>
                  <a:gd name="T11" fmla="*/ 14 h 51"/>
                  <a:gd name="T12" fmla="*/ 47 w 47"/>
                  <a:gd name="T13" fmla="*/ 22 h 51"/>
                  <a:gd name="T14" fmla="*/ 46 w 47"/>
                  <a:gd name="T15" fmla="*/ 31 h 51"/>
                  <a:gd name="T16" fmla="*/ 43 w 47"/>
                  <a:gd name="T17" fmla="*/ 38 h 51"/>
                  <a:gd name="T18" fmla="*/ 36 w 47"/>
                  <a:gd name="T19" fmla="*/ 42 h 51"/>
                  <a:gd name="T20" fmla="*/ 22 w 47"/>
                  <a:gd name="T21" fmla="*/ 51 h 51"/>
                  <a:gd name="T22" fmla="*/ 0 w 47"/>
                  <a:gd name="T23" fmla="*/ 13 h 51"/>
                  <a:gd name="T24" fmla="*/ 11 w 47"/>
                  <a:gd name="T25" fmla="*/ 15 h 51"/>
                  <a:gd name="T26" fmla="*/ 26 w 47"/>
                  <a:gd name="T27" fmla="*/ 40 h 51"/>
                  <a:gd name="T28" fmla="*/ 32 w 47"/>
                  <a:gd name="T29" fmla="*/ 37 h 51"/>
                  <a:gd name="T30" fmla="*/ 36 w 47"/>
                  <a:gd name="T31" fmla="*/ 33 h 51"/>
                  <a:gd name="T32" fmla="*/ 38 w 47"/>
                  <a:gd name="T33" fmla="*/ 30 h 51"/>
                  <a:gd name="T34" fmla="*/ 38 w 47"/>
                  <a:gd name="T35" fmla="*/ 25 h 51"/>
                  <a:gd name="T36" fmla="*/ 35 w 47"/>
                  <a:gd name="T37" fmla="*/ 18 h 51"/>
                  <a:gd name="T38" fmla="*/ 30 w 47"/>
                  <a:gd name="T39" fmla="*/ 11 h 51"/>
                  <a:gd name="T40" fmla="*/ 26 w 47"/>
                  <a:gd name="T41" fmla="*/ 9 h 51"/>
                  <a:gd name="T42" fmla="*/ 21 w 47"/>
                  <a:gd name="T43" fmla="*/ 9 h 51"/>
                  <a:gd name="T44" fmla="*/ 15 w 47"/>
                  <a:gd name="T45" fmla="*/ 13 h 51"/>
                  <a:gd name="T46" fmla="*/ 11 w 47"/>
                  <a:gd name="T47" fmla="*/ 15 h 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47" h="51">
                    <a:moveTo>
                      <a:pt x="0" y="13"/>
                    </a:moveTo>
                    <a:cubicBezTo>
                      <a:pt x="14" y="4"/>
                      <a:pt x="14" y="4"/>
                      <a:pt x="14" y="4"/>
                    </a:cubicBezTo>
                    <a:cubicBezTo>
                      <a:pt x="17" y="3"/>
                      <a:pt x="20" y="1"/>
                      <a:pt x="22" y="1"/>
                    </a:cubicBezTo>
                    <a:cubicBezTo>
                      <a:pt x="24" y="0"/>
                      <a:pt x="27" y="0"/>
                      <a:pt x="29" y="1"/>
                    </a:cubicBezTo>
                    <a:cubicBezTo>
                      <a:pt x="32" y="2"/>
                      <a:pt x="34" y="3"/>
                      <a:pt x="37" y="5"/>
                    </a:cubicBezTo>
                    <a:cubicBezTo>
                      <a:pt x="39" y="7"/>
                      <a:pt x="41" y="10"/>
                      <a:pt x="43" y="14"/>
                    </a:cubicBezTo>
                    <a:cubicBezTo>
                      <a:pt x="45" y="17"/>
                      <a:pt x="46" y="20"/>
                      <a:pt x="47" y="22"/>
                    </a:cubicBezTo>
                    <a:cubicBezTo>
                      <a:pt x="47" y="26"/>
                      <a:pt x="47" y="29"/>
                      <a:pt x="46" y="31"/>
                    </a:cubicBezTo>
                    <a:cubicBezTo>
                      <a:pt x="46" y="34"/>
                      <a:pt x="45" y="36"/>
                      <a:pt x="43" y="38"/>
                    </a:cubicBezTo>
                    <a:cubicBezTo>
                      <a:pt x="41" y="39"/>
                      <a:pt x="39" y="41"/>
                      <a:pt x="36" y="42"/>
                    </a:cubicBezTo>
                    <a:cubicBezTo>
                      <a:pt x="22" y="51"/>
                      <a:pt x="22" y="51"/>
                      <a:pt x="22" y="51"/>
                    </a:cubicBezTo>
                    <a:lnTo>
                      <a:pt x="0" y="13"/>
                    </a:lnTo>
                    <a:close/>
                    <a:moveTo>
                      <a:pt x="11" y="15"/>
                    </a:moveTo>
                    <a:cubicBezTo>
                      <a:pt x="26" y="40"/>
                      <a:pt x="26" y="40"/>
                      <a:pt x="26" y="40"/>
                    </a:cubicBezTo>
                    <a:cubicBezTo>
                      <a:pt x="32" y="37"/>
                      <a:pt x="32" y="37"/>
                      <a:pt x="32" y="37"/>
                    </a:cubicBezTo>
                    <a:cubicBezTo>
                      <a:pt x="34" y="35"/>
                      <a:pt x="35" y="34"/>
                      <a:pt x="36" y="33"/>
                    </a:cubicBezTo>
                    <a:cubicBezTo>
                      <a:pt x="37" y="32"/>
                      <a:pt x="38" y="31"/>
                      <a:pt x="38" y="30"/>
                    </a:cubicBezTo>
                    <a:cubicBezTo>
                      <a:pt x="39" y="29"/>
                      <a:pt x="39" y="27"/>
                      <a:pt x="38" y="25"/>
                    </a:cubicBezTo>
                    <a:cubicBezTo>
                      <a:pt x="38" y="23"/>
                      <a:pt x="37" y="21"/>
                      <a:pt x="35" y="18"/>
                    </a:cubicBezTo>
                    <a:cubicBezTo>
                      <a:pt x="33" y="15"/>
                      <a:pt x="32" y="13"/>
                      <a:pt x="30" y="11"/>
                    </a:cubicBezTo>
                    <a:cubicBezTo>
                      <a:pt x="29" y="10"/>
                      <a:pt x="27" y="9"/>
                      <a:pt x="26" y="9"/>
                    </a:cubicBezTo>
                    <a:cubicBezTo>
                      <a:pt x="25" y="9"/>
                      <a:pt x="23" y="9"/>
                      <a:pt x="21" y="9"/>
                    </a:cubicBezTo>
                    <a:cubicBezTo>
                      <a:pt x="20" y="10"/>
                      <a:pt x="18" y="11"/>
                      <a:pt x="15" y="13"/>
                    </a:cubicBezTo>
                    <a:lnTo>
                      <a:pt x="11" y="1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160" name="ïṩḻiḍe"/>
              <p:cNvSpPr/>
              <p:nvPr/>
            </p:nvSpPr>
            <p:spPr bwMode="auto">
              <a:xfrm>
                <a:off x="2876447" y="5888628"/>
                <a:ext cx="80963" cy="88900"/>
              </a:xfrm>
              <a:custGeom>
                <a:avLst/>
                <a:gdLst>
                  <a:gd name="T0" fmla="*/ 43 w 51"/>
                  <a:gd name="T1" fmla="*/ 56 h 56"/>
                  <a:gd name="T2" fmla="*/ 16 w 51"/>
                  <a:gd name="T3" fmla="*/ 22 h 56"/>
                  <a:gd name="T4" fmla="*/ 5 w 51"/>
                  <a:gd name="T5" fmla="*/ 31 h 56"/>
                  <a:gd name="T6" fmla="*/ 0 w 51"/>
                  <a:gd name="T7" fmla="*/ 25 h 56"/>
                  <a:gd name="T8" fmla="*/ 31 w 51"/>
                  <a:gd name="T9" fmla="*/ 0 h 56"/>
                  <a:gd name="T10" fmla="*/ 37 w 51"/>
                  <a:gd name="T11" fmla="*/ 7 h 56"/>
                  <a:gd name="T12" fmla="*/ 24 w 51"/>
                  <a:gd name="T13" fmla="*/ 16 h 56"/>
                  <a:gd name="T14" fmla="*/ 51 w 51"/>
                  <a:gd name="T15" fmla="*/ 49 h 56"/>
                  <a:gd name="T16" fmla="*/ 43 w 51"/>
                  <a:gd name="T17" fmla="*/ 56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1" h="56">
                    <a:moveTo>
                      <a:pt x="43" y="56"/>
                    </a:moveTo>
                    <a:lnTo>
                      <a:pt x="16" y="22"/>
                    </a:lnTo>
                    <a:lnTo>
                      <a:pt x="5" y="31"/>
                    </a:lnTo>
                    <a:lnTo>
                      <a:pt x="0" y="25"/>
                    </a:lnTo>
                    <a:lnTo>
                      <a:pt x="31" y="0"/>
                    </a:lnTo>
                    <a:lnTo>
                      <a:pt x="37" y="7"/>
                    </a:lnTo>
                    <a:lnTo>
                      <a:pt x="24" y="16"/>
                    </a:lnTo>
                    <a:lnTo>
                      <a:pt x="51" y="49"/>
                    </a:lnTo>
                    <a:lnTo>
                      <a:pt x="43" y="56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161" name="íśļïḓè"/>
              <p:cNvSpPr/>
              <p:nvPr/>
            </p:nvSpPr>
            <p:spPr bwMode="auto">
              <a:xfrm>
                <a:off x="2925659" y="5845765"/>
                <a:ext cx="101600" cy="100013"/>
              </a:xfrm>
              <a:custGeom>
                <a:avLst/>
                <a:gdLst>
                  <a:gd name="T0" fmla="*/ 36 w 64"/>
                  <a:gd name="T1" fmla="*/ 63 h 63"/>
                  <a:gd name="T2" fmla="*/ 0 w 64"/>
                  <a:gd name="T3" fmla="*/ 26 h 63"/>
                  <a:gd name="T4" fmla="*/ 28 w 64"/>
                  <a:gd name="T5" fmla="*/ 0 h 63"/>
                  <a:gd name="T6" fmla="*/ 34 w 64"/>
                  <a:gd name="T7" fmla="*/ 6 h 63"/>
                  <a:gd name="T8" fmla="*/ 14 w 64"/>
                  <a:gd name="T9" fmla="*/ 26 h 63"/>
                  <a:gd name="T10" fmla="*/ 22 w 64"/>
                  <a:gd name="T11" fmla="*/ 34 h 63"/>
                  <a:gd name="T12" fmla="*/ 41 w 64"/>
                  <a:gd name="T13" fmla="*/ 16 h 63"/>
                  <a:gd name="T14" fmla="*/ 47 w 64"/>
                  <a:gd name="T15" fmla="*/ 22 h 63"/>
                  <a:gd name="T16" fmla="*/ 28 w 64"/>
                  <a:gd name="T17" fmla="*/ 39 h 63"/>
                  <a:gd name="T18" fmla="*/ 38 w 64"/>
                  <a:gd name="T19" fmla="*/ 50 h 63"/>
                  <a:gd name="T20" fmla="*/ 58 w 64"/>
                  <a:gd name="T21" fmla="*/ 30 h 63"/>
                  <a:gd name="T22" fmla="*/ 64 w 64"/>
                  <a:gd name="T23" fmla="*/ 36 h 63"/>
                  <a:gd name="T24" fmla="*/ 36 w 64"/>
                  <a:gd name="T25" fmla="*/ 63 h 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4" h="63">
                    <a:moveTo>
                      <a:pt x="36" y="63"/>
                    </a:moveTo>
                    <a:lnTo>
                      <a:pt x="0" y="26"/>
                    </a:lnTo>
                    <a:lnTo>
                      <a:pt x="28" y="0"/>
                    </a:lnTo>
                    <a:lnTo>
                      <a:pt x="34" y="6"/>
                    </a:lnTo>
                    <a:lnTo>
                      <a:pt x="14" y="26"/>
                    </a:lnTo>
                    <a:lnTo>
                      <a:pt x="22" y="34"/>
                    </a:lnTo>
                    <a:lnTo>
                      <a:pt x="41" y="16"/>
                    </a:lnTo>
                    <a:lnTo>
                      <a:pt x="47" y="22"/>
                    </a:lnTo>
                    <a:lnTo>
                      <a:pt x="28" y="39"/>
                    </a:lnTo>
                    <a:lnTo>
                      <a:pt x="38" y="50"/>
                    </a:lnTo>
                    <a:lnTo>
                      <a:pt x="58" y="30"/>
                    </a:lnTo>
                    <a:lnTo>
                      <a:pt x="64" y="36"/>
                    </a:lnTo>
                    <a:lnTo>
                      <a:pt x="36" y="6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162" name="íṩḻîde"/>
              <p:cNvSpPr/>
              <p:nvPr/>
            </p:nvSpPr>
            <p:spPr bwMode="auto">
              <a:xfrm>
                <a:off x="2985984" y="5801315"/>
                <a:ext cx="82550" cy="80963"/>
              </a:xfrm>
              <a:custGeom>
                <a:avLst/>
                <a:gdLst>
                  <a:gd name="T0" fmla="*/ 34 w 45"/>
                  <a:gd name="T1" fmla="*/ 19 h 44"/>
                  <a:gd name="T2" fmla="*/ 41 w 45"/>
                  <a:gd name="T3" fmla="*/ 14 h 44"/>
                  <a:gd name="T4" fmla="*/ 45 w 45"/>
                  <a:gd name="T5" fmla="*/ 26 h 44"/>
                  <a:gd name="T6" fmla="*/ 40 w 45"/>
                  <a:gd name="T7" fmla="*/ 37 h 44"/>
                  <a:gd name="T8" fmla="*/ 26 w 45"/>
                  <a:gd name="T9" fmla="*/ 44 h 44"/>
                  <a:gd name="T10" fmla="*/ 10 w 45"/>
                  <a:gd name="T11" fmla="*/ 38 h 44"/>
                  <a:gd name="T12" fmla="*/ 1 w 45"/>
                  <a:gd name="T13" fmla="*/ 22 h 44"/>
                  <a:gd name="T14" fmla="*/ 6 w 45"/>
                  <a:gd name="T15" fmla="*/ 7 h 44"/>
                  <a:gd name="T16" fmla="*/ 18 w 45"/>
                  <a:gd name="T17" fmla="*/ 0 h 44"/>
                  <a:gd name="T18" fmla="*/ 27 w 45"/>
                  <a:gd name="T19" fmla="*/ 2 h 44"/>
                  <a:gd name="T20" fmla="*/ 23 w 45"/>
                  <a:gd name="T21" fmla="*/ 10 h 44"/>
                  <a:gd name="T22" fmla="*/ 17 w 45"/>
                  <a:gd name="T23" fmla="*/ 9 h 44"/>
                  <a:gd name="T24" fmla="*/ 11 w 45"/>
                  <a:gd name="T25" fmla="*/ 12 h 44"/>
                  <a:gd name="T26" fmla="*/ 9 w 45"/>
                  <a:gd name="T27" fmla="*/ 21 h 44"/>
                  <a:gd name="T28" fmla="*/ 15 w 45"/>
                  <a:gd name="T29" fmla="*/ 30 h 44"/>
                  <a:gd name="T30" fmla="*/ 26 w 45"/>
                  <a:gd name="T31" fmla="*/ 36 h 44"/>
                  <a:gd name="T32" fmla="*/ 34 w 45"/>
                  <a:gd name="T33" fmla="*/ 32 h 44"/>
                  <a:gd name="T34" fmla="*/ 36 w 45"/>
                  <a:gd name="T35" fmla="*/ 26 h 44"/>
                  <a:gd name="T36" fmla="*/ 34 w 45"/>
                  <a:gd name="T37" fmla="*/ 19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45" h="44">
                    <a:moveTo>
                      <a:pt x="34" y="19"/>
                    </a:moveTo>
                    <a:cubicBezTo>
                      <a:pt x="41" y="14"/>
                      <a:pt x="41" y="14"/>
                      <a:pt x="41" y="14"/>
                    </a:cubicBezTo>
                    <a:cubicBezTo>
                      <a:pt x="44" y="18"/>
                      <a:pt x="45" y="22"/>
                      <a:pt x="45" y="26"/>
                    </a:cubicBezTo>
                    <a:cubicBezTo>
                      <a:pt x="45" y="30"/>
                      <a:pt x="43" y="34"/>
                      <a:pt x="40" y="37"/>
                    </a:cubicBezTo>
                    <a:cubicBezTo>
                      <a:pt x="36" y="42"/>
                      <a:pt x="31" y="44"/>
                      <a:pt x="26" y="44"/>
                    </a:cubicBezTo>
                    <a:cubicBezTo>
                      <a:pt x="21" y="44"/>
                      <a:pt x="15" y="42"/>
                      <a:pt x="10" y="38"/>
                    </a:cubicBezTo>
                    <a:cubicBezTo>
                      <a:pt x="4" y="33"/>
                      <a:pt x="1" y="28"/>
                      <a:pt x="1" y="22"/>
                    </a:cubicBezTo>
                    <a:cubicBezTo>
                      <a:pt x="0" y="17"/>
                      <a:pt x="2" y="12"/>
                      <a:pt x="6" y="7"/>
                    </a:cubicBezTo>
                    <a:cubicBezTo>
                      <a:pt x="10" y="3"/>
                      <a:pt x="14" y="1"/>
                      <a:pt x="18" y="0"/>
                    </a:cubicBezTo>
                    <a:cubicBezTo>
                      <a:pt x="21" y="0"/>
                      <a:pt x="24" y="1"/>
                      <a:pt x="27" y="2"/>
                    </a:cubicBezTo>
                    <a:cubicBezTo>
                      <a:pt x="23" y="10"/>
                      <a:pt x="23" y="10"/>
                      <a:pt x="23" y="10"/>
                    </a:cubicBezTo>
                    <a:cubicBezTo>
                      <a:pt x="21" y="9"/>
                      <a:pt x="19" y="9"/>
                      <a:pt x="17" y="9"/>
                    </a:cubicBezTo>
                    <a:cubicBezTo>
                      <a:pt x="15" y="9"/>
                      <a:pt x="13" y="11"/>
                      <a:pt x="11" y="12"/>
                    </a:cubicBezTo>
                    <a:cubicBezTo>
                      <a:pt x="9" y="15"/>
                      <a:pt x="8" y="18"/>
                      <a:pt x="9" y="21"/>
                    </a:cubicBezTo>
                    <a:cubicBezTo>
                      <a:pt x="9" y="24"/>
                      <a:pt x="12" y="27"/>
                      <a:pt x="15" y="30"/>
                    </a:cubicBezTo>
                    <a:cubicBezTo>
                      <a:pt x="20" y="34"/>
                      <a:pt x="23" y="36"/>
                      <a:pt x="26" y="36"/>
                    </a:cubicBezTo>
                    <a:cubicBezTo>
                      <a:pt x="29" y="36"/>
                      <a:pt x="32" y="35"/>
                      <a:pt x="34" y="32"/>
                    </a:cubicBezTo>
                    <a:cubicBezTo>
                      <a:pt x="36" y="31"/>
                      <a:pt x="36" y="29"/>
                      <a:pt x="36" y="26"/>
                    </a:cubicBezTo>
                    <a:cubicBezTo>
                      <a:pt x="36" y="24"/>
                      <a:pt x="35" y="22"/>
                      <a:pt x="34" y="1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163" name="îŝḷïḓê"/>
              <p:cNvSpPr/>
              <p:nvPr/>
            </p:nvSpPr>
            <p:spPr bwMode="auto">
              <a:xfrm>
                <a:off x="3022497" y="5733053"/>
                <a:ext cx="103188" cy="101600"/>
              </a:xfrm>
              <a:custGeom>
                <a:avLst/>
                <a:gdLst>
                  <a:gd name="T0" fmla="*/ 42 w 65"/>
                  <a:gd name="T1" fmla="*/ 64 h 64"/>
                  <a:gd name="T2" fmla="*/ 0 w 65"/>
                  <a:gd name="T3" fmla="*/ 34 h 64"/>
                  <a:gd name="T4" fmla="*/ 6 w 65"/>
                  <a:gd name="T5" fmla="*/ 26 h 64"/>
                  <a:gd name="T6" fmla="*/ 22 w 65"/>
                  <a:gd name="T7" fmla="*/ 37 h 64"/>
                  <a:gd name="T8" fmla="*/ 33 w 65"/>
                  <a:gd name="T9" fmla="*/ 21 h 64"/>
                  <a:gd name="T10" fmla="*/ 17 w 65"/>
                  <a:gd name="T11" fmla="*/ 9 h 64"/>
                  <a:gd name="T12" fmla="*/ 23 w 65"/>
                  <a:gd name="T13" fmla="*/ 0 h 64"/>
                  <a:gd name="T14" fmla="*/ 65 w 65"/>
                  <a:gd name="T15" fmla="*/ 30 h 64"/>
                  <a:gd name="T16" fmla="*/ 59 w 65"/>
                  <a:gd name="T17" fmla="*/ 38 h 64"/>
                  <a:gd name="T18" fmla="*/ 40 w 65"/>
                  <a:gd name="T19" fmla="*/ 26 h 64"/>
                  <a:gd name="T20" fmla="*/ 29 w 65"/>
                  <a:gd name="T21" fmla="*/ 42 h 64"/>
                  <a:gd name="T22" fmla="*/ 47 w 65"/>
                  <a:gd name="T23" fmla="*/ 55 h 64"/>
                  <a:gd name="T24" fmla="*/ 42 w 65"/>
                  <a:gd name="T25" fmla="*/ 64 h 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5" h="64">
                    <a:moveTo>
                      <a:pt x="42" y="64"/>
                    </a:moveTo>
                    <a:lnTo>
                      <a:pt x="0" y="34"/>
                    </a:lnTo>
                    <a:lnTo>
                      <a:pt x="6" y="26"/>
                    </a:lnTo>
                    <a:lnTo>
                      <a:pt x="22" y="37"/>
                    </a:lnTo>
                    <a:lnTo>
                      <a:pt x="33" y="21"/>
                    </a:lnTo>
                    <a:lnTo>
                      <a:pt x="17" y="9"/>
                    </a:lnTo>
                    <a:lnTo>
                      <a:pt x="23" y="0"/>
                    </a:lnTo>
                    <a:lnTo>
                      <a:pt x="65" y="30"/>
                    </a:lnTo>
                    <a:lnTo>
                      <a:pt x="59" y="38"/>
                    </a:lnTo>
                    <a:lnTo>
                      <a:pt x="40" y="26"/>
                    </a:lnTo>
                    <a:lnTo>
                      <a:pt x="29" y="42"/>
                    </a:lnTo>
                    <a:lnTo>
                      <a:pt x="47" y="55"/>
                    </a:lnTo>
                    <a:lnTo>
                      <a:pt x="42" y="6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164" name="îşḷîḑe"/>
              <p:cNvSpPr/>
              <p:nvPr/>
            </p:nvSpPr>
            <p:spPr bwMode="auto">
              <a:xfrm>
                <a:off x="3062184" y="5672728"/>
                <a:ext cx="103188" cy="95250"/>
              </a:xfrm>
              <a:custGeom>
                <a:avLst/>
                <a:gdLst>
                  <a:gd name="T0" fmla="*/ 44 w 65"/>
                  <a:gd name="T1" fmla="*/ 60 h 60"/>
                  <a:gd name="T2" fmla="*/ 0 w 65"/>
                  <a:gd name="T3" fmla="*/ 34 h 60"/>
                  <a:gd name="T4" fmla="*/ 5 w 65"/>
                  <a:gd name="T5" fmla="*/ 26 h 60"/>
                  <a:gd name="T6" fmla="*/ 46 w 65"/>
                  <a:gd name="T7" fmla="*/ 24 h 60"/>
                  <a:gd name="T8" fmla="*/ 15 w 65"/>
                  <a:gd name="T9" fmla="*/ 8 h 60"/>
                  <a:gd name="T10" fmla="*/ 20 w 65"/>
                  <a:gd name="T11" fmla="*/ 0 h 60"/>
                  <a:gd name="T12" fmla="*/ 65 w 65"/>
                  <a:gd name="T13" fmla="*/ 24 h 60"/>
                  <a:gd name="T14" fmla="*/ 59 w 65"/>
                  <a:gd name="T15" fmla="*/ 33 h 60"/>
                  <a:gd name="T16" fmla="*/ 20 w 65"/>
                  <a:gd name="T17" fmla="*/ 34 h 60"/>
                  <a:gd name="T18" fmla="*/ 49 w 65"/>
                  <a:gd name="T19" fmla="*/ 52 h 60"/>
                  <a:gd name="T20" fmla="*/ 44 w 65"/>
                  <a:gd name="T21" fmla="*/ 60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65" h="60">
                    <a:moveTo>
                      <a:pt x="44" y="60"/>
                    </a:moveTo>
                    <a:lnTo>
                      <a:pt x="0" y="34"/>
                    </a:lnTo>
                    <a:lnTo>
                      <a:pt x="5" y="26"/>
                    </a:lnTo>
                    <a:lnTo>
                      <a:pt x="46" y="24"/>
                    </a:lnTo>
                    <a:lnTo>
                      <a:pt x="15" y="8"/>
                    </a:lnTo>
                    <a:lnTo>
                      <a:pt x="20" y="0"/>
                    </a:lnTo>
                    <a:lnTo>
                      <a:pt x="65" y="24"/>
                    </a:lnTo>
                    <a:lnTo>
                      <a:pt x="59" y="33"/>
                    </a:lnTo>
                    <a:lnTo>
                      <a:pt x="20" y="34"/>
                    </a:lnTo>
                    <a:lnTo>
                      <a:pt x="49" y="52"/>
                    </a:lnTo>
                    <a:lnTo>
                      <a:pt x="44" y="6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165" name="îşḷïḋê"/>
              <p:cNvSpPr/>
              <p:nvPr/>
            </p:nvSpPr>
            <p:spPr bwMode="auto">
              <a:xfrm>
                <a:off x="3106634" y="5606053"/>
                <a:ext cx="87313" cy="84138"/>
              </a:xfrm>
              <a:custGeom>
                <a:avLst/>
                <a:gdLst>
                  <a:gd name="T0" fmla="*/ 15 w 47"/>
                  <a:gd name="T1" fmla="*/ 43 h 46"/>
                  <a:gd name="T2" fmla="*/ 5 w 47"/>
                  <a:gd name="T3" fmla="*/ 36 h 46"/>
                  <a:gd name="T4" fmla="*/ 2 w 47"/>
                  <a:gd name="T5" fmla="*/ 30 h 46"/>
                  <a:gd name="T6" fmla="*/ 0 w 47"/>
                  <a:gd name="T7" fmla="*/ 23 h 46"/>
                  <a:gd name="T8" fmla="*/ 2 w 47"/>
                  <a:gd name="T9" fmla="*/ 14 h 46"/>
                  <a:gd name="T10" fmla="*/ 14 w 47"/>
                  <a:gd name="T11" fmla="*/ 2 h 46"/>
                  <a:gd name="T12" fmla="*/ 32 w 47"/>
                  <a:gd name="T13" fmla="*/ 3 h 46"/>
                  <a:gd name="T14" fmla="*/ 45 w 47"/>
                  <a:gd name="T15" fmla="*/ 15 h 46"/>
                  <a:gd name="T16" fmla="*/ 44 w 47"/>
                  <a:gd name="T17" fmla="*/ 32 h 46"/>
                  <a:gd name="T18" fmla="*/ 32 w 47"/>
                  <a:gd name="T19" fmla="*/ 44 h 46"/>
                  <a:gd name="T20" fmla="*/ 15 w 47"/>
                  <a:gd name="T21" fmla="*/ 43 h 46"/>
                  <a:gd name="T22" fmla="*/ 18 w 47"/>
                  <a:gd name="T23" fmla="*/ 34 h 46"/>
                  <a:gd name="T24" fmla="*/ 30 w 47"/>
                  <a:gd name="T25" fmla="*/ 35 h 46"/>
                  <a:gd name="T26" fmla="*/ 37 w 47"/>
                  <a:gd name="T27" fmla="*/ 29 h 46"/>
                  <a:gd name="T28" fmla="*/ 37 w 47"/>
                  <a:gd name="T29" fmla="*/ 19 h 46"/>
                  <a:gd name="T30" fmla="*/ 28 w 47"/>
                  <a:gd name="T31" fmla="*/ 12 h 46"/>
                  <a:gd name="T32" fmla="*/ 16 w 47"/>
                  <a:gd name="T33" fmla="*/ 10 h 46"/>
                  <a:gd name="T34" fmla="*/ 9 w 47"/>
                  <a:gd name="T35" fmla="*/ 17 h 46"/>
                  <a:gd name="T36" fmla="*/ 9 w 47"/>
                  <a:gd name="T37" fmla="*/ 27 h 46"/>
                  <a:gd name="T38" fmla="*/ 18 w 47"/>
                  <a:gd name="T39" fmla="*/ 34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47" h="46">
                    <a:moveTo>
                      <a:pt x="15" y="43"/>
                    </a:moveTo>
                    <a:cubicBezTo>
                      <a:pt x="11" y="41"/>
                      <a:pt x="8" y="39"/>
                      <a:pt x="5" y="36"/>
                    </a:cubicBezTo>
                    <a:cubicBezTo>
                      <a:pt x="4" y="34"/>
                      <a:pt x="2" y="32"/>
                      <a:pt x="2" y="30"/>
                    </a:cubicBezTo>
                    <a:cubicBezTo>
                      <a:pt x="1" y="28"/>
                      <a:pt x="0" y="26"/>
                      <a:pt x="0" y="23"/>
                    </a:cubicBezTo>
                    <a:cubicBezTo>
                      <a:pt x="0" y="20"/>
                      <a:pt x="1" y="17"/>
                      <a:pt x="2" y="14"/>
                    </a:cubicBezTo>
                    <a:cubicBezTo>
                      <a:pt x="5" y="8"/>
                      <a:pt x="9" y="4"/>
                      <a:pt x="14" y="2"/>
                    </a:cubicBezTo>
                    <a:cubicBezTo>
                      <a:pt x="19" y="0"/>
                      <a:pt x="25" y="1"/>
                      <a:pt x="32" y="3"/>
                    </a:cubicBezTo>
                    <a:cubicBezTo>
                      <a:pt x="38" y="6"/>
                      <a:pt x="43" y="10"/>
                      <a:pt x="45" y="15"/>
                    </a:cubicBezTo>
                    <a:cubicBezTo>
                      <a:pt x="47" y="21"/>
                      <a:pt x="47" y="26"/>
                      <a:pt x="44" y="32"/>
                    </a:cubicBezTo>
                    <a:cubicBezTo>
                      <a:pt x="41" y="38"/>
                      <a:pt x="38" y="42"/>
                      <a:pt x="32" y="44"/>
                    </a:cubicBezTo>
                    <a:cubicBezTo>
                      <a:pt x="27" y="46"/>
                      <a:pt x="21" y="45"/>
                      <a:pt x="15" y="43"/>
                    </a:cubicBezTo>
                    <a:close/>
                    <a:moveTo>
                      <a:pt x="18" y="34"/>
                    </a:moveTo>
                    <a:cubicBezTo>
                      <a:pt x="23" y="36"/>
                      <a:pt x="27" y="37"/>
                      <a:pt x="30" y="35"/>
                    </a:cubicBezTo>
                    <a:cubicBezTo>
                      <a:pt x="33" y="34"/>
                      <a:pt x="36" y="32"/>
                      <a:pt x="37" y="29"/>
                    </a:cubicBezTo>
                    <a:cubicBezTo>
                      <a:pt x="39" y="26"/>
                      <a:pt x="39" y="23"/>
                      <a:pt x="37" y="19"/>
                    </a:cubicBezTo>
                    <a:cubicBezTo>
                      <a:pt x="36" y="16"/>
                      <a:pt x="33" y="14"/>
                      <a:pt x="28" y="12"/>
                    </a:cubicBezTo>
                    <a:cubicBezTo>
                      <a:pt x="23" y="10"/>
                      <a:pt x="19" y="9"/>
                      <a:pt x="16" y="10"/>
                    </a:cubicBezTo>
                    <a:cubicBezTo>
                      <a:pt x="13" y="11"/>
                      <a:pt x="11" y="14"/>
                      <a:pt x="9" y="17"/>
                    </a:cubicBezTo>
                    <a:cubicBezTo>
                      <a:pt x="8" y="20"/>
                      <a:pt x="8" y="23"/>
                      <a:pt x="9" y="27"/>
                    </a:cubicBezTo>
                    <a:cubicBezTo>
                      <a:pt x="11" y="30"/>
                      <a:pt x="14" y="32"/>
                      <a:pt x="18" y="3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166" name="îṣlïḍè"/>
              <p:cNvSpPr/>
              <p:nvPr/>
            </p:nvSpPr>
            <p:spPr bwMode="auto">
              <a:xfrm>
                <a:off x="3128859" y="5560015"/>
                <a:ext cx="93663" cy="57150"/>
              </a:xfrm>
              <a:custGeom>
                <a:avLst/>
                <a:gdLst>
                  <a:gd name="T0" fmla="*/ 49 w 59"/>
                  <a:gd name="T1" fmla="*/ 36 h 36"/>
                  <a:gd name="T2" fmla="*/ 0 w 59"/>
                  <a:gd name="T3" fmla="*/ 21 h 36"/>
                  <a:gd name="T4" fmla="*/ 4 w 59"/>
                  <a:gd name="T5" fmla="*/ 10 h 36"/>
                  <a:gd name="T6" fmla="*/ 43 w 59"/>
                  <a:gd name="T7" fmla="*/ 24 h 36"/>
                  <a:gd name="T8" fmla="*/ 51 w 59"/>
                  <a:gd name="T9" fmla="*/ 0 h 36"/>
                  <a:gd name="T10" fmla="*/ 59 w 59"/>
                  <a:gd name="T11" fmla="*/ 2 h 36"/>
                  <a:gd name="T12" fmla="*/ 49 w 59"/>
                  <a:gd name="T13" fmla="*/ 36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59" h="36">
                    <a:moveTo>
                      <a:pt x="49" y="36"/>
                    </a:moveTo>
                    <a:lnTo>
                      <a:pt x="0" y="21"/>
                    </a:lnTo>
                    <a:lnTo>
                      <a:pt x="4" y="10"/>
                    </a:lnTo>
                    <a:lnTo>
                      <a:pt x="43" y="24"/>
                    </a:lnTo>
                    <a:lnTo>
                      <a:pt x="51" y="0"/>
                    </a:lnTo>
                    <a:lnTo>
                      <a:pt x="59" y="2"/>
                    </a:lnTo>
                    <a:lnTo>
                      <a:pt x="49" y="36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167" name="ïṩḷîḓê"/>
              <p:cNvSpPr/>
              <p:nvPr/>
            </p:nvSpPr>
            <p:spPr bwMode="auto">
              <a:xfrm>
                <a:off x="3152672" y="5469528"/>
                <a:ext cx="85725" cy="80963"/>
              </a:xfrm>
              <a:custGeom>
                <a:avLst/>
                <a:gdLst>
                  <a:gd name="T0" fmla="*/ 18 w 46"/>
                  <a:gd name="T1" fmla="*/ 43 h 44"/>
                  <a:gd name="T2" fmla="*/ 8 w 46"/>
                  <a:gd name="T3" fmla="*/ 38 h 44"/>
                  <a:gd name="T4" fmla="*/ 3 w 46"/>
                  <a:gd name="T5" fmla="*/ 33 h 44"/>
                  <a:gd name="T6" fmla="*/ 0 w 46"/>
                  <a:gd name="T7" fmla="*/ 27 h 44"/>
                  <a:gd name="T8" fmla="*/ 1 w 46"/>
                  <a:gd name="T9" fmla="*/ 17 h 44"/>
                  <a:gd name="T10" fmla="*/ 10 w 46"/>
                  <a:gd name="T11" fmla="*/ 3 h 44"/>
                  <a:gd name="T12" fmla="*/ 28 w 46"/>
                  <a:gd name="T13" fmla="*/ 1 h 44"/>
                  <a:gd name="T14" fmla="*/ 43 w 46"/>
                  <a:gd name="T15" fmla="*/ 11 h 44"/>
                  <a:gd name="T16" fmla="*/ 45 w 46"/>
                  <a:gd name="T17" fmla="*/ 27 h 44"/>
                  <a:gd name="T18" fmla="*/ 36 w 46"/>
                  <a:gd name="T19" fmla="*/ 41 h 44"/>
                  <a:gd name="T20" fmla="*/ 18 w 46"/>
                  <a:gd name="T21" fmla="*/ 43 h 44"/>
                  <a:gd name="T22" fmla="*/ 20 w 46"/>
                  <a:gd name="T23" fmla="*/ 34 h 44"/>
                  <a:gd name="T24" fmla="*/ 32 w 46"/>
                  <a:gd name="T25" fmla="*/ 33 h 44"/>
                  <a:gd name="T26" fmla="*/ 38 w 46"/>
                  <a:gd name="T27" fmla="*/ 25 h 44"/>
                  <a:gd name="T28" fmla="*/ 36 w 46"/>
                  <a:gd name="T29" fmla="*/ 16 h 44"/>
                  <a:gd name="T30" fmla="*/ 25 w 46"/>
                  <a:gd name="T31" fmla="*/ 10 h 44"/>
                  <a:gd name="T32" fmla="*/ 14 w 46"/>
                  <a:gd name="T33" fmla="*/ 11 h 44"/>
                  <a:gd name="T34" fmla="*/ 8 w 46"/>
                  <a:gd name="T35" fmla="*/ 19 h 44"/>
                  <a:gd name="T36" fmla="*/ 10 w 46"/>
                  <a:gd name="T37" fmla="*/ 28 h 44"/>
                  <a:gd name="T38" fmla="*/ 20 w 46"/>
                  <a:gd name="T39" fmla="*/ 34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46" h="44">
                    <a:moveTo>
                      <a:pt x="18" y="43"/>
                    </a:moveTo>
                    <a:cubicBezTo>
                      <a:pt x="14" y="42"/>
                      <a:pt x="10" y="40"/>
                      <a:pt x="8" y="38"/>
                    </a:cubicBezTo>
                    <a:cubicBezTo>
                      <a:pt x="6" y="37"/>
                      <a:pt x="4" y="35"/>
                      <a:pt x="3" y="33"/>
                    </a:cubicBezTo>
                    <a:cubicBezTo>
                      <a:pt x="1" y="31"/>
                      <a:pt x="1" y="29"/>
                      <a:pt x="0" y="27"/>
                    </a:cubicBezTo>
                    <a:cubicBezTo>
                      <a:pt x="0" y="24"/>
                      <a:pt x="0" y="21"/>
                      <a:pt x="1" y="17"/>
                    </a:cubicBezTo>
                    <a:cubicBezTo>
                      <a:pt x="2" y="11"/>
                      <a:pt x="5" y="6"/>
                      <a:pt x="10" y="3"/>
                    </a:cubicBezTo>
                    <a:cubicBezTo>
                      <a:pt x="15" y="0"/>
                      <a:pt x="21" y="0"/>
                      <a:pt x="28" y="1"/>
                    </a:cubicBezTo>
                    <a:cubicBezTo>
                      <a:pt x="34" y="3"/>
                      <a:pt x="39" y="6"/>
                      <a:pt x="43" y="11"/>
                    </a:cubicBezTo>
                    <a:cubicBezTo>
                      <a:pt x="46" y="15"/>
                      <a:pt x="46" y="21"/>
                      <a:pt x="45" y="27"/>
                    </a:cubicBezTo>
                    <a:cubicBezTo>
                      <a:pt x="44" y="33"/>
                      <a:pt x="40" y="38"/>
                      <a:pt x="36" y="41"/>
                    </a:cubicBezTo>
                    <a:cubicBezTo>
                      <a:pt x="31" y="44"/>
                      <a:pt x="25" y="44"/>
                      <a:pt x="18" y="43"/>
                    </a:cubicBezTo>
                    <a:close/>
                    <a:moveTo>
                      <a:pt x="20" y="34"/>
                    </a:moveTo>
                    <a:cubicBezTo>
                      <a:pt x="25" y="35"/>
                      <a:pt x="29" y="35"/>
                      <a:pt x="32" y="33"/>
                    </a:cubicBezTo>
                    <a:cubicBezTo>
                      <a:pt x="35" y="31"/>
                      <a:pt x="37" y="29"/>
                      <a:pt x="38" y="25"/>
                    </a:cubicBezTo>
                    <a:cubicBezTo>
                      <a:pt x="38" y="22"/>
                      <a:pt x="38" y="19"/>
                      <a:pt x="36" y="16"/>
                    </a:cubicBezTo>
                    <a:cubicBezTo>
                      <a:pt x="34" y="13"/>
                      <a:pt x="30" y="11"/>
                      <a:pt x="25" y="10"/>
                    </a:cubicBezTo>
                    <a:cubicBezTo>
                      <a:pt x="20" y="9"/>
                      <a:pt x="16" y="9"/>
                      <a:pt x="14" y="11"/>
                    </a:cubicBezTo>
                    <a:cubicBezTo>
                      <a:pt x="11" y="13"/>
                      <a:pt x="9" y="15"/>
                      <a:pt x="8" y="19"/>
                    </a:cubicBezTo>
                    <a:cubicBezTo>
                      <a:pt x="7" y="22"/>
                      <a:pt x="8" y="25"/>
                      <a:pt x="10" y="28"/>
                    </a:cubicBezTo>
                    <a:cubicBezTo>
                      <a:pt x="12" y="31"/>
                      <a:pt x="15" y="33"/>
                      <a:pt x="20" y="3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168" name="ïSļiďé"/>
              <p:cNvSpPr/>
              <p:nvPr/>
            </p:nvSpPr>
            <p:spPr bwMode="auto">
              <a:xfrm>
                <a:off x="3165372" y="5390153"/>
                <a:ext cx="85725" cy="77788"/>
              </a:xfrm>
              <a:custGeom>
                <a:avLst/>
                <a:gdLst>
                  <a:gd name="T0" fmla="*/ 29 w 46"/>
                  <a:gd name="T1" fmla="*/ 21 h 42"/>
                  <a:gd name="T2" fmla="*/ 22 w 46"/>
                  <a:gd name="T3" fmla="*/ 20 h 42"/>
                  <a:gd name="T4" fmla="*/ 24 w 46"/>
                  <a:gd name="T5" fmla="*/ 1 h 42"/>
                  <a:gd name="T6" fmla="*/ 41 w 46"/>
                  <a:gd name="T7" fmla="*/ 3 h 42"/>
                  <a:gd name="T8" fmla="*/ 45 w 46"/>
                  <a:gd name="T9" fmla="*/ 11 h 42"/>
                  <a:gd name="T10" fmla="*/ 46 w 46"/>
                  <a:gd name="T11" fmla="*/ 22 h 42"/>
                  <a:gd name="T12" fmla="*/ 42 w 46"/>
                  <a:gd name="T13" fmla="*/ 34 h 42"/>
                  <a:gd name="T14" fmla="*/ 33 w 46"/>
                  <a:gd name="T15" fmla="*/ 41 h 42"/>
                  <a:gd name="T16" fmla="*/ 21 w 46"/>
                  <a:gd name="T17" fmla="*/ 42 h 42"/>
                  <a:gd name="T18" fmla="*/ 9 w 46"/>
                  <a:gd name="T19" fmla="*/ 38 h 42"/>
                  <a:gd name="T20" fmla="*/ 2 w 46"/>
                  <a:gd name="T21" fmla="*/ 28 h 42"/>
                  <a:gd name="T22" fmla="*/ 1 w 46"/>
                  <a:gd name="T23" fmla="*/ 18 h 42"/>
                  <a:gd name="T24" fmla="*/ 6 w 46"/>
                  <a:gd name="T25" fmla="*/ 5 h 42"/>
                  <a:gd name="T26" fmla="*/ 16 w 46"/>
                  <a:gd name="T27" fmla="*/ 0 h 42"/>
                  <a:gd name="T28" fmla="*/ 16 w 46"/>
                  <a:gd name="T29" fmla="*/ 9 h 42"/>
                  <a:gd name="T30" fmla="*/ 11 w 46"/>
                  <a:gd name="T31" fmla="*/ 12 h 42"/>
                  <a:gd name="T32" fmla="*/ 8 w 46"/>
                  <a:gd name="T33" fmla="*/ 18 h 42"/>
                  <a:gd name="T34" fmla="*/ 11 w 46"/>
                  <a:gd name="T35" fmla="*/ 28 h 42"/>
                  <a:gd name="T36" fmla="*/ 21 w 46"/>
                  <a:gd name="T37" fmla="*/ 33 h 42"/>
                  <a:gd name="T38" fmla="*/ 34 w 46"/>
                  <a:gd name="T39" fmla="*/ 31 h 42"/>
                  <a:gd name="T40" fmla="*/ 38 w 46"/>
                  <a:gd name="T41" fmla="*/ 22 h 42"/>
                  <a:gd name="T42" fmla="*/ 38 w 46"/>
                  <a:gd name="T43" fmla="*/ 16 h 42"/>
                  <a:gd name="T44" fmla="*/ 36 w 46"/>
                  <a:gd name="T45" fmla="*/ 11 h 42"/>
                  <a:gd name="T46" fmla="*/ 30 w 46"/>
                  <a:gd name="T47" fmla="*/ 11 h 42"/>
                  <a:gd name="T48" fmla="*/ 29 w 46"/>
                  <a:gd name="T49" fmla="*/ 21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46" h="42">
                    <a:moveTo>
                      <a:pt x="29" y="21"/>
                    </a:moveTo>
                    <a:cubicBezTo>
                      <a:pt x="22" y="20"/>
                      <a:pt x="22" y="20"/>
                      <a:pt x="22" y="20"/>
                    </a:cubicBezTo>
                    <a:cubicBezTo>
                      <a:pt x="24" y="1"/>
                      <a:pt x="24" y="1"/>
                      <a:pt x="24" y="1"/>
                    </a:cubicBezTo>
                    <a:cubicBezTo>
                      <a:pt x="41" y="3"/>
                      <a:pt x="41" y="3"/>
                      <a:pt x="41" y="3"/>
                    </a:cubicBezTo>
                    <a:cubicBezTo>
                      <a:pt x="43" y="5"/>
                      <a:pt x="44" y="8"/>
                      <a:pt x="45" y="11"/>
                    </a:cubicBezTo>
                    <a:cubicBezTo>
                      <a:pt x="46" y="15"/>
                      <a:pt x="46" y="19"/>
                      <a:pt x="46" y="22"/>
                    </a:cubicBezTo>
                    <a:cubicBezTo>
                      <a:pt x="46" y="27"/>
                      <a:pt x="44" y="31"/>
                      <a:pt x="42" y="34"/>
                    </a:cubicBezTo>
                    <a:cubicBezTo>
                      <a:pt x="39" y="37"/>
                      <a:pt x="36" y="39"/>
                      <a:pt x="33" y="41"/>
                    </a:cubicBezTo>
                    <a:cubicBezTo>
                      <a:pt x="29" y="42"/>
                      <a:pt x="25" y="42"/>
                      <a:pt x="21" y="42"/>
                    </a:cubicBezTo>
                    <a:cubicBezTo>
                      <a:pt x="16" y="41"/>
                      <a:pt x="12" y="40"/>
                      <a:pt x="9" y="38"/>
                    </a:cubicBezTo>
                    <a:cubicBezTo>
                      <a:pt x="6" y="35"/>
                      <a:pt x="3" y="32"/>
                      <a:pt x="2" y="28"/>
                    </a:cubicBezTo>
                    <a:cubicBezTo>
                      <a:pt x="1" y="25"/>
                      <a:pt x="0" y="22"/>
                      <a:pt x="1" y="18"/>
                    </a:cubicBezTo>
                    <a:cubicBezTo>
                      <a:pt x="1" y="12"/>
                      <a:pt x="3" y="8"/>
                      <a:pt x="6" y="5"/>
                    </a:cubicBezTo>
                    <a:cubicBezTo>
                      <a:pt x="8" y="2"/>
                      <a:pt x="12" y="1"/>
                      <a:pt x="16" y="0"/>
                    </a:cubicBezTo>
                    <a:cubicBezTo>
                      <a:pt x="16" y="9"/>
                      <a:pt x="16" y="9"/>
                      <a:pt x="16" y="9"/>
                    </a:cubicBezTo>
                    <a:cubicBezTo>
                      <a:pt x="14" y="10"/>
                      <a:pt x="12" y="11"/>
                      <a:pt x="11" y="12"/>
                    </a:cubicBezTo>
                    <a:cubicBezTo>
                      <a:pt x="10" y="14"/>
                      <a:pt x="9" y="16"/>
                      <a:pt x="8" y="18"/>
                    </a:cubicBezTo>
                    <a:cubicBezTo>
                      <a:pt x="8" y="22"/>
                      <a:pt x="9" y="25"/>
                      <a:pt x="11" y="28"/>
                    </a:cubicBezTo>
                    <a:cubicBezTo>
                      <a:pt x="13" y="31"/>
                      <a:pt x="17" y="32"/>
                      <a:pt x="21" y="33"/>
                    </a:cubicBezTo>
                    <a:cubicBezTo>
                      <a:pt x="27" y="33"/>
                      <a:pt x="31" y="33"/>
                      <a:pt x="34" y="31"/>
                    </a:cubicBezTo>
                    <a:cubicBezTo>
                      <a:pt x="36" y="29"/>
                      <a:pt x="38" y="26"/>
                      <a:pt x="38" y="22"/>
                    </a:cubicBezTo>
                    <a:cubicBezTo>
                      <a:pt x="39" y="20"/>
                      <a:pt x="39" y="18"/>
                      <a:pt x="38" y="16"/>
                    </a:cubicBezTo>
                    <a:cubicBezTo>
                      <a:pt x="37" y="14"/>
                      <a:pt x="37" y="13"/>
                      <a:pt x="36" y="11"/>
                    </a:cubicBezTo>
                    <a:cubicBezTo>
                      <a:pt x="30" y="11"/>
                      <a:pt x="30" y="11"/>
                      <a:pt x="30" y="11"/>
                    </a:cubicBezTo>
                    <a:lnTo>
                      <a:pt x="29" y="2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169" name="îSḷiḋè"/>
              <p:cNvSpPr/>
              <p:nvPr/>
            </p:nvSpPr>
            <p:spPr bwMode="auto">
              <a:xfrm>
                <a:off x="3173309" y="5313953"/>
                <a:ext cx="80963" cy="76200"/>
              </a:xfrm>
              <a:custGeom>
                <a:avLst/>
                <a:gdLst>
                  <a:gd name="T0" fmla="*/ 51 w 51"/>
                  <a:gd name="T1" fmla="*/ 30 h 48"/>
                  <a:gd name="T2" fmla="*/ 29 w 51"/>
                  <a:gd name="T3" fmla="*/ 29 h 48"/>
                  <a:gd name="T4" fmla="*/ 0 w 51"/>
                  <a:gd name="T5" fmla="*/ 48 h 48"/>
                  <a:gd name="T6" fmla="*/ 0 w 51"/>
                  <a:gd name="T7" fmla="*/ 36 h 48"/>
                  <a:gd name="T8" fmla="*/ 20 w 51"/>
                  <a:gd name="T9" fmla="*/ 24 h 48"/>
                  <a:gd name="T10" fmla="*/ 0 w 51"/>
                  <a:gd name="T11" fmla="*/ 12 h 48"/>
                  <a:gd name="T12" fmla="*/ 0 w 51"/>
                  <a:gd name="T13" fmla="*/ 0 h 48"/>
                  <a:gd name="T14" fmla="*/ 30 w 51"/>
                  <a:gd name="T15" fmla="*/ 20 h 48"/>
                  <a:gd name="T16" fmla="*/ 51 w 51"/>
                  <a:gd name="T17" fmla="*/ 20 h 48"/>
                  <a:gd name="T18" fmla="*/ 51 w 51"/>
                  <a:gd name="T19" fmla="*/ 30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51" h="48">
                    <a:moveTo>
                      <a:pt x="51" y="30"/>
                    </a:moveTo>
                    <a:lnTo>
                      <a:pt x="29" y="29"/>
                    </a:lnTo>
                    <a:lnTo>
                      <a:pt x="0" y="48"/>
                    </a:lnTo>
                    <a:lnTo>
                      <a:pt x="0" y="36"/>
                    </a:lnTo>
                    <a:lnTo>
                      <a:pt x="20" y="24"/>
                    </a:lnTo>
                    <a:lnTo>
                      <a:pt x="0" y="12"/>
                    </a:lnTo>
                    <a:lnTo>
                      <a:pt x="0" y="0"/>
                    </a:lnTo>
                    <a:lnTo>
                      <a:pt x="30" y="20"/>
                    </a:lnTo>
                    <a:lnTo>
                      <a:pt x="51" y="20"/>
                    </a:lnTo>
                    <a:lnTo>
                      <a:pt x="51" y="3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170" name="îṣḷíḋé"/>
              <p:cNvSpPr/>
              <p:nvPr/>
            </p:nvSpPr>
            <p:spPr bwMode="auto">
              <a:xfrm>
                <a:off x="3163784" y="5193303"/>
                <a:ext cx="87313" cy="76200"/>
              </a:xfrm>
              <a:custGeom>
                <a:avLst/>
                <a:gdLst>
                  <a:gd name="T0" fmla="*/ 4 w 47"/>
                  <a:gd name="T1" fmla="*/ 41 h 41"/>
                  <a:gd name="T2" fmla="*/ 1 w 47"/>
                  <a:gd name="T3" fmla="*/ 24 h 41"/>
                  <a:gd name="T4" fmla="*/ 0 w 47"/>
                  <a:gd name="T5" fmla="*/ 16 h 41"/>
                  <a:gd name="T6" fmla="*/ 2 w 47"/>
                  <a:gd name="T7" fmla="*/ 11 h 41"/>
                  <a:gd name="T8" fmla="*/ 5 w 47"/>
                  <a:gd name="T9" fmla="*/ 7 h 41"/>
                  <a:gd name="T10" fmla="*/ 10 w 47"/>
                  <a:gd name="T11" fmla="*/ 5 h 41"/>
                  <a:gd name="T12" fmla="*/ 16 w 47"/>
                  <a:gd name="T13" fmla="*/ 6 h 41"/>
                  <a:gd name="T14" fmla="*/ 20 w 47"/>
                  <a:gd name="T15" fmla="*/ 10 h 41"/>
                  <a:gd name="T16" fmla="*/ 23 w 47"/>
                  <a:gd name="T17" fmla="*/ 3 h 41"/>
                  <a:gd name="T18" fmla="*/ 29 w 47"/>
                  <a:gd name="T19" fmla="*/ 0 h 41"/>
                  <a:gd name="T20" fmla="*/ 35 w 47"/>
                  <a:gd name="T21" fmla="*/ 1 h 41"/>
                  <a:gd name="T22" fmla="*/ 40 w 47"/>
                  <a:gd name="T23" fmla="*/ 4 h 41"/>
                  <a:gd name="T24" fmla="*/ 43 w 47"/>
                  <a:gd name="T25" fmla="*/ 10 h 41"/>
                  <a:gd name="T26" fmla="*/ 45 w 47"/>
                  <a:gd name="T27" fmla="*/ 20 h 41"/>
                  <a:gd name="T28" fmla="*/ 47 w 47"/>
                  <a:gd name="T29" fmla="*/ 35 h 41"/>
                  <a:gd name="T30" fmla="*/ 4 w 47"/>
                  <a:gd name="T31" fmla="*/ 41 h 41"/>
                  <a:gd name="T32" fmla="*/ 10 w 47"/>
                  <a:gd name="T33" fmla="*/ 31 h 41"/>
                  <a:gd name="T34" fmla="*/ 20 w 47"/>
                  <a:gd name="T35" fmla="*/ 30 h 41"/>
                  <a:gd name="T36" fmla="*/ 19 w 47"/>
                  <a:gd name="T37" fmla="*/ 24 h 41"/>
                  <a:gd name="T38" fmla="*/ 18 w 47"/>
                  <a:gd name="T39" fmla="*/ 18 h 41"/>
                  <a:gd name="T40" fmla="*/ 16 w 47"/>
                  <a:gd name="T41" fmla="*/ 15 h 41"/>
                  <a:gd name="T42" fmla="*/ 12 w 47"/>
                  <a:gd name="T43" fmla="*/ 14 h 41"/>
                  <a:gd name="T44" fmla="*/ 9 w 47"/>
                  <a:gd name="T45" fmla="*/ 15 h 41"/>
                  <a:gd name="T46" fmla="*/ 8 w 47"/>
                  <a:gd name="T47" fmla="*/ 19 h 41"/>
                  <a:gd name="T48" fmla="*/ 9 w 47"/>
                  <a:gd name="T49" fmla="*/ 26 h 41"/>
                  <a:gd name="T50" fmla="*/ 10 w 47"/>
                  <a:gd name="T51" fmla="*/ 31 h 41"/>
                  <a:gd name="T52" fmla="*/ 27 w 47"/>
                  <a:gd name="T53" fmla="*/ 29 h 41"/>
                  <a:gd name="T54" fmla="*/ 39 w 47"/>
                  <a:gd name="T55" fmla="*/ 27 h 41"/>
                  <a:gd name="T56" fmla="*/ 37 w 47"/>
                  <a:gd name="T57" fmla="*/ 19 h 41"/>
                  <a:gd name="T58" fmla="*/ 36 w 47"/>
                  <a:gd name="T59" fmla="*/ 13 h 41"/>
                  <a:gd name="T60" fmla="*/ 34 w 47"/>
                  <a:gd name="T61" fmla="*/ 10 h 41"/>
                  <a:gd name="T62" fmla="*/ 30 w 47"/>
                  <a:gd name="T63" fmla="*/ 10 h 41"/>
                  <a:gd name="T64" fmla="*/ 27 w 47"/>
                  <a:gd name="T65" fmla="*/ 11 h 41"/>
                  <a:gd name="T66" fmla="*/ 25 w 47"/>
                  <a:gd name="T67" fmla="*/ 14 h 41"/>
                  <a:gd name="T68" fmla="*/ 26 w 47"/>
                  <a:gd name="T69" fmla="*/ 22 h 41"/>
                  <a:gd name="T70" fmla="*/ 27 w 47"/>
                  <a:gd name="T71" fmla="*/ 29 h 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47" h="41">
                    <a:moveTo>
                      <a:pt x="4" y="41"/>
                    </a:moveTo>
                    <a:cubicBezTo>
                      <a:pt x="1" y="24"/>
                      <a:pt x="1" y="24"/>
                      <a:pt x="1" y="24"/>
                    </a:cubicBezTo>
                    <a:cubicBezTo>
                      <a:pt x="1" y="20"/>
                      <a:pt x="0" y="18"/>
                      <a:pt x="0" y="16"/>
                    </a:cubicBezTo>
                    <a:cubicBezTo>
                      <a:pt x="1" y="14"/>
                      <a:pt x="1" y="13"/>
                      <a:pt x="2" y="11"/>
                    </a:cubicBezTo>
                    <a:cubicBezTo>
                      <a:pt x="2" y="10"/>
                      <a:pt x="3" y="9"/>
                      <a:pt x="5" y="7"/>
                    </a:cubicBezTo>
                    <a:cubicBezTo>
                      <a:pt x="6" y="6"/>
                      <a:pt x="8" y="6"/>
                      <a:pt x="10" y="5"/>
                    </a:cubicBezTo>
                    <a:cubicBezTo>
                      <a:pt x="12" y="5"/>
                      <a:pt x="14" y="5"/>
                      <a:pt x="16" y="6"/>
                    </a:cubicBezTo>
                    <a:cubicBezTo>
                      <a:pt x="17" y="7"/>
                      <a:pt x="19" y="8"/>
                      <a:pt x="20" y="10"/>
                    </a:cubicBezTo>
                    <a:cubicBezTo>
                      <a:pt x="20" y="7"/>
                      <a:pt x="21" y="5"/>
                      <a:pt x="23" y="3"/>
                    </a:cubicBezTo>
                    <a:cubicBezTo>
                      <a:pt x="25" y="2"/>
                      <a:pt x="27" y="1"/>
                      <a:pt x="29" y="0"/>
                    </a:cubicBezTo>
                    <a:cubicBezTo>
                      <a:pt x="31" y="0"/>
                      <a:pt x="33" y="0"/>
                      <a:pt x="35" y="1"/>
                    </a:cubicBezTo>
                    <a:cubicBezTo>
                      <a:pt x="37" y="2"/>
                      <a:pt x="39" y="3"/>
                      <a:pt x="40" y="4"/>
                    </a:cubicBezTo>
                    <a:cubicBezTo>
                      <a:pt x="42" y="5"/>
                      <a:pt x="43" y="7"/>
                      <a:pt x="43" y="10"/>
                    </a:cubicBezTo>
                    <a:cubicBezTo>
                      <a:pt x="44" y="11"/>
                      <a:pt x="44" y="15"/>
                      <a:pt x="45" y="20"/>
                    </a:cubicBezTo>
                    <a:cubicBezTo>
                      <a:pt x="47" y="35"/>
                      <a:pt x="47" y="35"/>
                      <a:pt x="47" y="35"/>
                    </a:cubicBezTo>
                    <a:lnTo>
                      <a:pt x="4" y="41"/>
                    </a:lnTo>
                    <a:close/>
                    <a:moveTo>
                      <a:pt x="10" y="31"/>
                    </a:moveTo>
                    <a:cubicBezTo>
                      <a:pt x="20" y="30"/>
                      <a:pt x="20" y="30"/>
                      <a:pt x="20" y="30"/>
                    </a:cubicBezTo>
                    <a:cubicBezTo>
                      <a:pt x="19" y="24"/>
                      <a:pt x="19" y="24"/>
                      <a:pt x="19" y="24"/>
                    </a:cubicBezTo>
                    <a:cubicBezTo>
                      <a:pt x="18" y="21"/>
                      <a:pt x="18" y="19"/>
                      <a:pt x="18" y="18"/>
                    </a:cubicBezTo>
                    <a:cubicBezTo>
                      <a:pt x="17" y="16"/>
                      <a:pt x="17" y="15"/>
                      <a:pt x="16" y="15"/>
                    </a:cubicBezTo>
                    <a:cubicBezTo>
                      <a:pt x="15" y="14"/>
                      <a:pt x="14" y="14"/>
                      <a:pt x="12" y="14"/>
                    </a:cubicBezTo>
                    <a:cubicBezTo>
                      <a:pt x="11" y="14"/>
                      <a:pt x="10" y="14"/>
                      <a:pt x="9" y="15"/>
                    </a:cubicBezTo>
                    <a:cubicBezTo>
                      <a:pt x="8" y="16"/>
                      <a:pt x="8" y="17"/>
                      <a:pt x="8" y="19"/>
                    </a:cubicBezTo>
                    <a:cubicBezTo>
                      <a:pt x="8" y="20"/>
                      <a:pt x="8" y="22"/>
                      <a:pt x="9" y="26"/>
                    </a:cubicBezTo>
                    <a:lnTo>
                      <a:pt x="10" y="31"/>
                    </a:lnTo>
                    <a:close/>
                    <a:moveTo>
                      <a:pt x="27" y="29"/>
                    </a:moveTo>
                    <a:cubicBezTo>
                      <a:pt x="39" y="27"/>
                      <a:pt x="39" y="27"/>
                      <a:pt x="39" y="27"/>
                    </a:cubicBezTo>
                    <a:cubicBezTo>
                      <a:pt x="37" y="19"/>
                      <a:pt x="37" y="19"/>
                      <a:pt x="37" y="19"/>
                    </a:cubicBezTo>
                    <a:cubicBezTo>
                      <a:pt x="37" y="16"/>
                      <a:pt x="37" y="14"/>
                      <a:pt x="36" y="13"/>
                    </a:cubicBezTo>
                    <a:cubicBezTo>
                      <a:pt x="36" y="12"/>
                      <a:pt x="35" y="11"/>
                      <a:pt x="34" y="10"/>
                    </a:cubicBezTo>
                    <a:cubicBezTo>
                      <a:pt x="33" y="10"/>
                      <a:pt x="32" y="9"/>
                      <a:pt x="30" y="10"/>
                    </a:cubicBezTo>
                    <a:cubicBezTo>
                      <a:pt x="29" y="10"/>
                      <a:pt x="28" y="10"/>
                      <a:pt x="27" y="11"/>
                    </a:cubicBezTo>
                    <a:cubicBezTo>
                      <a:pt x="26" y="12"/>
                      <a:pt x="26" y="13"/>
                      <a:pt x="25" y="14"/>
                    </a:cubicBezTo>
                    <a:cubicBezTo>
                      <a:pt x="25" y="15"/>
                      <a:pt x="25" y="18"/>
                      <a:pt x="26" y="22"/>
                    </a:cubicBezTo>
                    <a:lnTo>
                      <a:pt x="27" y="2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171" name="îṩliďè"/>
              <p:cNvSpPr/>
              <p:nvPr/>
            </p:nvSpPr>
            <p:spPr bwMode="auto">
              <a:xfrm>
                <a:off x="3146322" y="5120278"/>
                <a:ext cx="93663" cy="79375"/>
              </a:xfrm>
              <a:custGeom>
                <a:avLst/>
                <a:gdLst>
                  <a:gd name="T0" fmla="*/ 59 w 59"/>
                  <a:gd name="T1" fmla="*/ 37 h 50"/>
                  <a:gd name="T2" fmla="*/ 9 w 59"/>
                  <a:gd name="T3" fmla="*/ 50 h 50"/>
                  <a:gd name="T4" fmla="*/ 0 w 59"/>
                  <a:gd name="T5" fmla="*/ 13 h 50"/>
                  <a:gd name="T6" fmla="*/ 8 w 59"/>
                  <a:gd name="T7" fmla="*/ 10 h 50"/>
                  <a:gd name="T8" fmla="*/ 15 w 59"/>
                  <a:gd name="T9" fmla="*/ 37 h 50"/>
                  <a:gd name="T10" fmla="*/ 25 w 59"/>
                  <a:gd name="T11" fmla="*/ 35 h 50"/>
                  <a:gd name="T12" fmla="*/ 19 w 59"/>
                  <a:gd name="T13" fmla="*/ 9 h 50"/>
                  <a:gd name="T14" fmla="*/ 27 w 59"/>
                  <a:gd name="T15" fmla="*/ 8 h 50"/>
                  <a:gd name="T16" fmla="*/ 34 w 59"/>
                  <a:gd name="T17" fmla="*/ 32 h 50"/>
                  <a:gd name="T18" fmla="*/ 47 w 59"/>
                  <a:gd name="T19" fmla="*/ 29 h 50"/>
                  <a:gd name="T20" fmla="*/ 40 w 59"/>
                  <a:gd name="T21" fmla="*/ 1 h 50"/>
                  <a:gd name="T22" fmla="*/ 49 w 59"/>
                  <a:gd name="T23" fmla="*/ 0 h 50"/>
                  <a:gd name="T24" fmla="*/ 59 w 59"/>
                  <a:gd name="T25" fmla="*/ 37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59" h="50">
                    <a:moveTo>
                      <a:pt x="59" y="37"/>
                    </a:moveTo>
                    <a:lnTo>
                      <a:pt x="9" y="50"/>
                    </a:lnTo>
                    <a:lnTo>
                      <a:pt x="0" y="13"/>
                    </a:lnTo>
                    <a:lnTo>
                      <a:pt x="8" y="10"/>
                    </a:lnTo>
                    <a:lnTo>
                      <a:pt x="15" y="37"/>
                    </a:lnTo>
                    <a:lnTo>
                      <a:pt x="25" y="35"/>
                    </a:lnTo>
                    <a:lnTo>
                      <a:pt x="19" y="9"/>
                    </a:lnTo>
                    <a:lnTo>
                      <a:pt x="27" y="8"/>
                    </a:lnTo>
                    <a:lnTo>
                      <a:pt x="34" y="32"/>
                    </a:lnTo>
                    <a:lnTo>
                      <a:pt x="47" y="29"/>
                    </a:lnTo>
                    <a:lnTo>
                      <a:pt x="40" y="1"/>
                    </a:lnTo>
                    <a:lnTo>
                      <a:pt x="49" y="0"/>
                    </a:lnTo>
                    <a:lnTo>
                      <a:pt x="59" y="3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172" name="iṧlíḋè"/>
              <p:cNvSpPr/>
              <p:nvPr/>
            </p:nvSpPr>
            <p:spPr bwMode="auto">
              <a:xfrm>
                <a:off x="3138384" y="5096465"/>
                <a:ext cx="82550" cy="38100"/>
              </a:xfrm>
              <a:custGeom>
                <a:avLst/>
                <a:gdLst>
                  <a:gd name="T0" fmla="*/ 52 w 52"/>
                  <a:gd name="T1" fmla="*/ 9 h 24"/>
                  <a:gd name="T2" fmla="*/ 3 w 52"/>
                  <a:gd name="T3" fmla="*/ 24 h 24"/>
                  <a:gd name="T4" fmla="*/ 0 w 52"/>
                  <a:gd name="T5" fmla="*/ 15 h 24"/>
                  <a:gd name="T6" fmla="*/ 49 w 52"/>
                  <a:gd name="T7" fmla="*/ 0 h 24"/>
                  <a:gd name="T8" fmla="*/ 52 w 52"/>
                  <a:gd name="T9" fmla="*/ 9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2" h="24">
                    <a:moveTo>
                      <a:pt x="52" y="9"/>
                    </a:moveTo>
                    <a:lnTo>
                      <a:pt x="3" y="24"/>
                    </a:lnTo>
                    <a:lnTo>
                      <a:pt x="0" y="15"/>
                    </a:lnTo>
                    <a:lnTo>
                      <a:pt x="49" y="0"/>
                    </a:lnTo>
                    <a:lnTo>
                      <a:pt x="52" y="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173" name="islïḓè"/>
              <p:cNvSpPr/>
              <p:nvPr/>
            </p:nvSpPr>
            <p:spPr bwMode="auto">
              <a:xfrm>
                <a:off x="3120922" y="5047253"/>
                <a:ext cx="88900" cy="52388"/>
              </a:xfrm>
              <a:custGeom>
                <a:avLst/>
                <a:gdLst>
                  <a:gd name="T0" fmla="*/ 3 w 48"/>
                  <a:gd name="T1" fmla="*/ 20 h 28"/>
                  <a:gd name="T2" fmla="*/ 0 w 48"/>
                  <a:gd name="T3" fmla="*/ 12 h 28"/>
                  <a:gd name="T4" fmla="*/ 26 w 48"/>
                  <a:gd name="T5" fmla="*/ 2 h 28"/>
                  <a:gd name="T6" fmla="*/ 34 w 48"/>
                  <a:gd name="T7" fmla="*/ 0 h 28"/>
                  <a:gd name="T8" fmla="*/ 42 w 48"/>
                  <a:gd name="T9" fmla="*/ 3 h 28"/>
                  <a:gd name="T10" fmla="*/ 47 w 48"/>
                  <a:gd name="T11" fmla="*/ 10 h 28"/>
                  <a:gd name="T12" fmla="*/ 47 w 48"/>
                  <a:gd name="T13" fmla="*/ 21 h 28"/>
                  <a:gd name="T14" fmla="*/ 38 w 48"/>
                  <a:gd name="T15" fmla="*/ 28 h 28"/>
                  <a:gd name="T16" fmla="*/ 34 w 48"/>
                  <a:gd name="T17" fmla="*/ 20 h 28"/>
                  <a:gd name="T18" fmla="*/ 39 w 48"/>
                  <a:gd name="T19" fmla="*/ 17 h 28"/>
                  <a:gd name="T20" fmla="*/ 40 w 48"/>
                  <a:gd name="T21" fmla="*/ 13 h 28"/>
                  <a:gd name="T22" fmla="*/ 37 w 48"/>
                  <a:gd name="T23" fmla="*/ 9 h 28"/>
                  <a:gd name="T24" fmla="*/ 30 w 48"/>
                  <a:gd name="T25" fmla="*/ 10 h 28"/>
                  <a:gd name="T26" fmla="*/ 3 w 48"/>
                  <a:gd name="T27" fmla="*/ 20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48" h="28">
                    <a:moveTo>
                      <a:pt x="3" y="20"/>
                    </a:moveTo>
                    <a:cubicBezTo>
                      <a:pt x="0" y="12"/>
                      <a:pt x="0" y="12"/>
                      <a:pt x="0" y="12"/>
                    </a:cubicBezTo>
                    <a:cubicBezTo>
                      <a:pt x="26" y="2"/>
                      <a:pt x="26" y="2"/>
                      <a:pt x="26" y="2"/>
                    </a:cubicBezTo>
                    <a:cubicBezTo>
                      <a:pt x="29" y="1"/>
                      <a:pt x="32" y="0"/>
                      <a:pt x="34" y="0"/>
                    </a:cubicBezTo>
                    <a:cubicBezTo>
                      <a:pt x="37" y="0"/>
                      <a:pt x="39" y="1"/>
                      <a:pt x="42" y="3"/>
                    </a:cubicBezTo>
                    <a:cubicBezTo>
                      <a:pt x="44" y="4"/>
                      <a:pt x="46" y="7"/>
                      <a:pt x="47" y="10"/>
                    </a:cubicBezTo>
                    <a:cubicBezTo>
                      <a:pt x="48" y="14"/>
                      <a:pt x="48" y="18"/>
                      <a:pt x="47" y="21"/>
                    </a:cubicBezTo>
                    <a:cubicBezTo>
                      <a:pt x="45" y="24"/>
                      <a:pt x="42" y="26"/>
                      <a:pt x="38" y="28"/>
                    </a:cubicBezTo>
                    <a:cubicBezTo>
                      <a:pt x="34" y="20"/>
                      <a:pt x="34" y="20"/>
                      <a:pt x="34" y="20"/>
                    </a:cubicBezTo>
                    <a:cubicBezTo>
                      <a:pt x="37" y="19"/>
                      <a:pt x="38" y="18"/>
                      <a:pt x="39" y="17"/>
                    </a:cubicBezTo>
                    <a:cubicBezTo>
                      <a:pt x="40" y="16"/>
                      <a:pt x="40" y="14"/>
                      <a:pt x="40" y="13"/>
                    </a:cubicBezTo>
                    <a:cubicBezTo>
                      <a:pt x="39" y="11"/>
                      <a:pt x="38" y="10"/>
                      <a:pt x="37" y="9"/>
                    </a:cubicBezTo>
                    <a:cubicBezTo>
                      <a:pt x="35" y="9"/>
                      <a:pt x="33" y="9"/>
                      <a:pt x="30" y="10"/>
                    </a:cubicBezTo>
                    <a:lnTo>
                      <a:pt x="3" y="2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174" name="íṥ1iḍe"/>
              <p:cNvSpPr/>
              <p:nvPr/>
            </p:nvSpPr>
            <p:spPr bwMode="auto">
              <a:xfrm>
                <a:off x="3112984" y="5017090"/>
                <a:ext cx="80963" cy="46038"/>
              </a:xfrm>
              <a:custGeom>
                <a:avLst/>
                <a:gdLst>
                  <a:gd name="T0" fmla="*/ 51 w 51"/>
                  <a:gd name="T1" fmla="*/ 9 h 29"/>
                  <a:gd name="T2" fmla="*/ 3 w 51"/>
                  <a:gd name="T3" fmla="*/ 29 h 29"/>
                  <a:gd name="T4" fmla="*/ 0 w 51"/>
                  <a:gd name="T5" fmla="*/ 19 h 29"/>
                  <a:gd name="T6" fmla="*/ 46 w 51"/>
                  <a:gd name="T7" fmla="*/ 0 h 29"/>
                  <a:gd name="T8" fmla="*/ 51 w 51"/>
                  <a:gd name="T9" fmla="*/ 9 h 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1" h="29">
                    <a:moveTo>
                      <a:pt x="51" y="9"/>
                    </a:moveTo>
                    <a:lnTo>
                      <a:pt x="3" y="29"/>
                    </a:lnTo>
                    <a:lnTo>
                      <a:pt x="0" y="19"/>
                    </a:lnTo>
                    <a:lnTo>
                      <a:pt x="46" y="0"/>
                    </a:lnTo>
                    <a:lnTo>
                      <a:pt x="51" y="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175" name="iṥľîḋé"/>
              <p:cNvSpPr/>
              <p:nvPr/>
            </p:nvSpPr>
            <p:spPr bwMode="auto">
              <a:xfrm>
                <a:off x="3081234" y="4948828"/>
                <a:ext cx="101600" cy="93663"/>
              </a:xfrm>
              <a:custGeom>
                <a:avLst/>
                <a:gdLst>
                  <a:gd name="T0" fmla="*/ 64 w 64"/>
                  <a:gd name="T1" fmla="*/ 36 h 59"/>
                  <a:gd name="T2" fmla="*/ 18 w 64"/>
                  <a:gd name="T3" fmla="*/ 59 h 59"/>
                  <a:gd name="T4" fmla="*/ 14 w 64"/>
                  <a:gd name="T5" fmla="*/ 50 h 59"/>
                  <a:gd name="T6" fmla="*/ 35 w 64"/>
                  <a:gd name="T7" fmla="*/ 16 h 59"/>
                  <a:gd name="T8" fmla="*/ 3 w 64"/>
                  <a:gd name="T9" fmla="*/ 31 h 59"/>
                  <a:gd name="T10" fmla="*/ 0 w 64"/>
                  <a:gd name="T11" fmla="*/ 22 h 59"/>
                  <a:gd name="T12" fmla="*/ 45 w 64"/>
                  <a:gd name="T13" fmla="*/ 0 h 59"/>
                  <a:gd name="T14" fmla="*/ 50 w 64"/>
                  <a:gd name="T15" fmla="*/ 8 h 59"/>
                  <a:gd name="T16" fmla="*/ 29 w 64"/>
                  <a:gd name="T17" fmla="*/ 42 h 59"/>
                  <a:gd name="T18" fmla="*/ 59 w 64"/>
                  <a:gd name="T19" fmla="*/ 26 h 59"/>
                  <a:gd name="T20" fmla="*/ 64 w 64"/>
                  <a:gd name="T21" fmla="*/ 36 h 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64" h="59">
                    <a:moveTo>
                      <a:pt x="64" y="36"/>
                    </a:moveTo>
                    <a:lnTo>
                      <a:pt x="18" y="59"/>
                    </a:lnTo>
                    <a:lnTo>
                      <a:pt x="14" y="50"/>
                    </a:lnTo>
                    <a:lnTo>
                      <a:pt x="35" y="16"/>
                    </a:lnTo>
                    <a:lnTo>
                      <a:pt x="3" y="31"/>
                    </a:lnTo>
                    <a:lnTo>
                      <a:pt x="0" y="22"/>
                    </a:lnTo>
                    <a:lnTo>
                      <a:pt x="45" y="0"/>
                    </a:lnTo>
                    <a:lnTo>
                      <a:pt x="50" y="8"/>
                    </a:lnTo>
                    <a:lnTo>
                      <a:pt x="29" y="42"/>
                    </a:lnTo>
                    <a:lnTo>
                      <a:pt x="59" y="26"/>
                    </a:lnTo>
                    <a:lnTo>
                      <a:pt x="64" y="36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176" name="îślidè"/>
              <p:cNvSpPr/>
              <p:nvPr/>
            </p:nvSpPr>
            <p:spPr bwMode="auto">
              <a:xfrm>
                <a:off x="3047897" y="4877390"/>
                <a:ext cx="84138" cy="88900"/>
              </a:xfrm>
              <a:custGeom>
                <a:avLst/>
                <a:gdLst>
                  <a:gd name="T0" fmla="*/ 28 w 46"/>
                  <a:gd name="T1" fmla="*/ 21 h 48"/>
                  <a:gd name="T2" fmla="*/ 22 w 46"/>
                  <a:gd name="T3" fmla="*/ 25 h 48"/>
                  <a:gd name="T4" fmla="*/ 11 w 46"/>
                  <a:gd name="T5" fmla="*/ 9 h 48"/>
                  <a:gd name="T6" fmla="*/ 26 w 46"/>
                  <a:gd name="T7" fmla="*/ 0 h 48"/>
                  <a:gd name="T8" fmla="*/ 35 w 46"/>
                  <a:gd name="T9" fmla="*/ 4 h 48"/>
                  <a:gd name="T10" fmla="*/ 42 w 46"/>
                  <a:gd name="T11" fmla="*/ 12 h 48"/>
                  <a:gd name="T12" fmla="*/ 46 w 46"/>
                  <a:gd name="T13" fmla="*/ 24 h 48"/>
                  <a:gd name="T14" fmla="*/ 43 w 46"/>
                  <a:gd name="T15" fmla="*/ 35 h 48"/>
                  <a:gd name="T16" fmla="*/ 35 w 46"/>
                  <a:gd name="T17" fmla="*/ 43 h 48"/>
                  <a:gd name="T18" fmla="*/ 23 w 46"/>
                  <a:gd name="T19" fmla="*/ 47 h 48"/>
                  <a:gd name="T20" fmla="*/ 12 w 46"/>
                  <a:gd name="T21" fmla="*/ 45 h 48"/>
                  <a:gd name="T22" fmla="*/ 4 w 46"/>
                  <a:gd name="T23" fmla="*/ 37 h 48"/>
                  <a:gd name="T24" fmla="*/ 0 w 46"/>
                  <a:gd name="T25" fmla="*/ 24 h 48"/>
                  <a:gd name="T26" fmla="*/ 5 w 46"/>
                  <a:gd name="T27" fmla="*/ 14 h 48"/>
                  <a:gd name="T28" fmla="*/ 11 w 46"/>
                  <a:gd name="T29" fmla="*/ 21 h 48"/>
                  <a:gd name="T30" fmla="*/ 9 w 46"/>
                  <a:gd name="T31" fmla="*/ 27 h 48"/>
                  <a:gd name="T32" fmla="*/ 11 w 46"/>
                  <a:gd name="T33" fmla="*/ 33 h 48"/>
                  <a:gd name="T34" fmla="*/ 19 w 46"/>
                  <a:gd name="T35" fmla="*/ 39 h 48"/>
                  <a:gd name="T36" fmla="*/ 30 w 46"/>
                  <a:gd name="T37" fmla="*/ 36 h 48"/>
                  <a:gd name="T38" fmla="*/ 38 w 46"/>
                  <a:gd name="T39" fmla="*/ 26 h 48"/>
                  <a:gd name="T40" fmla="*/ 36 w 46"/>
                  <a:gd name="T41" fmla="*/ 17 h 48"/>
                  <a:gd name="T42" fmla="*/ 32 w 46"/>
                  <a:gd name="T43" fmla="*/ 13 h 48"/>
                  <a:gd name="T44" fmla="*/ 27 w 46"/>
                  <a:gd name="T45" fmla="*/ 10 h 48"/>
                  <a:gd name="T46" fmla="*/ 23 w 46"/>
                  <a:gd name="T47" fmla="*/ 13 h 48"/>
                  <a:gd name="T48" fmla="*/ 28 w 46"/>
                  <a:gd name="T49" fmla="*/ 21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46" h="48">
                    <a:moveTo>
                      <a:pt x="28" y="21"/>
                    </a:moveTo>
                    <a:cubicBezTo>
                      <a:pt x="22" y="25"/>
                      <a:pt x="22" y="25"/>
                      <a:pt x="22" y="25"/>
                    </a:cubicBezTo>
                    <a:cubicBezTo>
                      <a:pt x="11" y="9"/>
                      <a:pt x="11" y="9"/>
                      <a:pt x="11" y="9"/>
                    </a:cubicBezTo>
                    <a:cubicBezTo>
                      <a:pt x="26" y="0"/>
                      <a:pt x="26" y="0"/>
                      <a:pt x="26" y="0"/>
                    </a:cubicBezTo>
                    <a:cubicBezTo>
                      <a:pt x="29" y="1"/>
                      <a:pt x="31" y="2"/>
                      <a:pt x="35" y="4"/>
                    </a:cubicBezTo>
                    <a:cubicBezTo>
                      <a:pt x="38" y="6"/>
                      <a:pt x="40" y="9"/>
                      <a:pt x="42" y="12"/>
                    </a:cubicBezTo>
                    <a:cubicBezTo>
                      <a:pt x="45" y="16"/>
                      <a:pt x="46" y="20"/>
                      <a:pt x="46" y="24"/>
                    </a:cubicBezTo>
                    <a:cubicBezTo>
                      <a:pt x="46" y="28"/>
                      <a:pt x="45" y="31"/>
                      <a:pt x="43" y="35"/>
                    </a:cubicBezTo>
                    <a:cubicBezTo>
                      <a:pt x="41" y="38"/>
                      <a:pt x="38" y="41"/>
                      <a:pt x="35" y="43"/>
                    </a:cubicBezTo>
                    <a:cubicBezTo>
                      <a:pt x="31" y="46"/>
                      <a:pt x="27" y="47"/>
                      <a:pt x="23" y="47"/>
                    </a:cubicBezTo>
                    <a:cubicBezTo>
                      <a:pt x="19" y="48"/>
                      <a:pt x="15" y="47"/>
                      <a:pt x="12" y="45"/>
                    </a:cubicBezTo>
                    <a:cubicBezTo>
                      <a:pt x="9" y="43"/>
                      <a:pt x="6" y="41"/>
                      <a:pt x="4" y="37"/>
                    </a:cubicBezTo>
                    <a:cubicBezTo>
                      <a:pt x="1" y="32"/>
                      <a:pt x="0" y="28"/>
                      <a:pt x="0" y="24"/>
                    </a:cubicBezTo>
                    <a:cubicBezTo>
                      <a:pt x="0" y="21"/>
                      <a:pt x="2" y="17"/>
                      <a:pt x="5" y="14"/>
                    </a:cubicBezTo>
                    <a:cubicBezTo>
                      <a:pt x="11" y="21"/>
                      <a:pt x="11" y="21"/>
                      <a:pt x="11" y="21"/>
                    </a:cubicBezTo>
                    <a:cubicBezTo>
                      <a:pt x="10" y="23"/>
                      <a:pt x="9" y="24"/>
                      <a:pt x="9" y="27"/>
                    </a:cubicBezTo>
                    <a:cubicBezTo>
                      <a:pt x="8" y="29"/>
                      <a:pt x="9" y="31"/>
                      <a:pt x="11" y="33"/>
                    </a:cubicBezTo>
                    <a:cubicBezTo>
                      <a:pt x="13" y="36"/>
                      <a:pt x="15" y="38"/>
                      <a:pt x="19" y="39"/>
                    </a:cubicBezTo>
                    <a:cubicBezTo>
                      <a:pt x="22" y="39"/>
                      <a:pt x="26" y="38"/>
                      <a:pt x="30" y="36"/>
                    </a:cubicBezTo>
                    <a:cubicBezTo>
                      <a:pt x="34" y="33"/>
                      <a:pt x="37" y="30"/>
                      <a:pt x="38" y="26"/>
                    </a:cubicBezTo>
                    <a:cubicBezTo>
                      <a:pt x="39" y="23"/>
                      <a:pt x="38" y="20"/>
                      <a:pt x="36" y="17"/>
                    </a:cubicBezTo>
                    <a:cubicBezTo>
                      <a:pt x="35" y="15"/>
                      <a:pt x="34" y="14"/>
                      <a:pt x="32" y="13"/>
                    </a:cubicBezTo>
                    <a:cubicBezTo>
                      <a:pt x="30" y="11"/>
                      <a:pt x="29" y="10"/>
                      <a:pt x="27" y="10"/>
                    </a:cubicBezTo>
                    <a:cubicBezTo>
                      <a:pt x="23" y="13"/>
                      <a:pt x="23" y="13"/>
                      <a:pt x="23" y="13"/>
                    </a:cubicBezTo>
                    <a:lnTo>
                      <a:pt x="28" y="2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177" name="îŝ1ide"/>
              <p:cNvSpPr/>
              <p:nvPr/>
            </p:nvSpPr>
            <p:spPr bwMode="auto">
              <a:xfrm>
                <a:off x="1981097" y="4907553"/>
                <a:ext cx="931863" cy="969963"/>
              </a:xfrm>
              <a:custGeom>
                <a:avLst/>
                <a:gdLst>
                  <a:gd name="T0" fmla="*/ 488 w 506"/>
                  <a:gd name="T1" fmla="*/ 144 h 525"/>
                  <a:gd name="T2" fmla="*/ 449 w 506"/>
                  <a:gd name="T3" fmla="*/ 161 h 525"/>
                  <a:gd name="T4" fmla="*/ 473 w 506"/>
                  <a:gd name="T5" fmla="*/ 361 h 525"/>
                  <a:gd name="T6" fmla="*/ 434 w 506"/>
                  <a:gd name="T7" fmla="*/ 382 h 525"/>
                  <a:gd name="T8" fmla="*/ 463 w 506"/>
                  <a:gd name="T9" fmla="*/ 392 h 525"/>
                  <a:gd name="T10" fmla="*/ 434 w 506"/>
                  <a:gd name="T11" fmla="*/ 455 h 525"/>
                  <a:gd name="T12" fmla="*/ 418 w 506"/>
                  <a:gd name="T13" fmla="*/ 525 h 525"/>
                  <a:gd name="T14" fmla="*/ 328 w 506"/>
                  <a:gd name="T15" fmla="*/ 392 h 525"/>
                  <a:gd name="T16" fmla="*/ 200 w 506"/>
                  <a:gd name="T17" fmla="*/ 376 h 525"/>
                  <a:gd name="T18" fmla="*/ 179 w 506"/>
                  <a:gd name="T19" fmla="*/ 525 h 525"/>
                  <a:gd name="T20" fmla="*/ 72 w 506"/>
                  <a:gd name="T21" fmla="*/ 510 h 525"/>
                  <a:gd name="T22" fmla="*/ 44 w 506"/>
                  <a:gd name="T23" fmla="*/ 439 h 525"/>
                  <a:gd name="T24" fmla="*/ 72 w 506"/>
                  <a:gd name="T25" fmla="*/ 392 h 525"/>
                  <a:gd name="T26" fmla="*/ 57 w 506"/>
                  <a:gd name="T27" fmla="*/ 382 h 525"/>
                  <a:gd name="T28" fmla="*/ 18 w 506"/>
                  <a:gd name="T29" fmla="*/ 161 h 525"/>
                  <a:gd name="T30" fmla="*/ 56 w 506"/>
                  <a:gd name="T31" fmla="*/ 144 h 525"/>
                  <a:gd name="T32" fmla="*/ 0 w 506"/>
                  <a:gd name="T33" fmla="*/ 21 h 525"/>
                  <a:gd name="T34" fmla="*/ 92 w 506"/>
                  <a:gd name="T35" fmla="*/ 21 h 525"/>
                  <a:gd name="T36" fmla="*/ 403 w 506"/>
                  <a:gd name="T37" fmla="*/ 82 h 525"/>
                  <a:gd name="T38" fmla="*/ 457 w 506"/>
                  <a:gd name="T39" fmla="*/ 0 h 525"/>
                  <a:gd name="T40" fmla="*/ 461 w 506"/>
                  <a:gd name="T41" fmla="*/ 82 h 525"/>
                  <a:gd name="T42" fmla="*/ 455 w 506"/>
                  <a:gd name="T43" fmla="*/ 24 h 525"/>
                  <a:gd name="T44" fmla="*/ 435 w 506"/>
                  <a:gd name="T45" fmla="*/ 82 h 525"/>
                  <a:gd name="T46" fmla="*/ 454 w 506"/>
                  <a:gd name="T47" fmla="*/ 127 h 525"/>
                  <a:gd name="T48" fmla="*/ 49 w 506"/>
                  <a:gd name="T49" fmla="*/ 112 h 525"/>
                  <a:gd name="T50" fmla="*/ 78 w 506"/>
                  <a:gd name="T51" fmla="*/ 127 h 525"/>
                  <a:gd name="T52" fmla="*/ 81 w 506"/>
                  <a:gd name="T53" fmla="*/ 161 h 525"/>
                  <a:gd name="T54" fmla="*/ 426 w 506"/>
                  <a:gd name="T55" fmla="*/ 145 h 525"/>
                  <a:gd name="T56" fmla="*/ 454 w 506"/>
                  <a:gd name="T57" fmla="*/ 127 h 525"/>
                  <a:gd name="T58" fmla="*/ 450 w 506"/>
                  <a:gd name="T59" fmla="*/ 178 h 525"/>
                  <a:gd name="T60" fmla="*/ 65 w 506"/>
                  <a:gd name="T61" fmla="*/ 335 h 525"/>
                  <a:gd name="T62" fmla="*/ 421 w 506"/>
                  <a:gd name="T63" fmla="*/ 349 h 525"/>
                  <a:gd name="T64" fmla="*/ 398 w 506"/>
                  <a:gd name="T65" fmla="*/ 490 h 525"/>
                  <a:gd name="T66" fmla="*/ 356 w 506"/>
                  <a:gd name="T67" fmla="*/ 371 h 525"/>
                  <a:gd name="T68" fmla="*/ 389 w 506"/>
                  <a:gd name="T69" fmla="*/ 496 h 525"/>
                  <a:gd name="T70" fmla="*/ 150 w 506"/>
                  <a:gd name="T71" fmla="*/ 496 h 525"/>
                  <a:gd name="T72" fmla="*/ 108 w 506"/>
                  <a:gd name="T73" fmla="*/ 371 h 525"/>
                  <a:gd name="T74" fmla="*/ 117 w 506"/>
                  <a:gd name="T75" fmla="*/ 496 h 525"/>
                  <a:gd name="T76" fmla="*/ 71 w 506"/>
                  <a:gd name="T77" fmla="*/ 82 h 525"/>
                  <a:gd name="T78" fmla="*/ 51 w 506"/>
                  <a:gd name="T79" fmla="*/ 24 h 525"/>
                  <a:gd name="T80" fmla="*/ 45 w 506"/>
                  <a:gd name="T81" fmla="*/ 82 h 5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506" h="525">
                    <a:moveTo>
                      <a:pt x="506" y="21"/>
                    </a:moveTo>
                    <a:cubicBezTo>
                      <a:pt x="488" y="144"/>
                      <a:pt x="488" y="144"/>
                      <a:pt x="488" y="144"/>
                    </a:cubicBezTo>
                    <a:cubicBezTo>
                      <a:pt x="450" y="144"/>
                      <a:pt x="450" y="144"/>
                      <a:pt x="450" y="144"/>
                    </a:cubicBezTo>
                    <a:cubicBezTo>
                      <a:pt x="449" y="161"/>
                      <a:pt x="449" y="161"/>
                      <a:pt x="449" y="161"/>
                    </a:cubicBezTo>
                    <a:cubicBezTo>
                      <a:pt x="488" y="161"/>
                      <a:pt x="488" y="161"/>
                      <a:pt x="488" y="161"/>
                    </a:cubicBezTo>
                    <a:cubicBezTo>
                      <a:pt x="473" y="361"/>
                      <a:pt x="473" y="361"/>
                      <a:pt x="473" y="361"/>
                    </a:cubicBezTo>
                    <a:cubicBezTo>
                      <a:pt x="473" y="372"/>
                      <a:pt x="462" y="382"/>
                      <a:pt x="450" y="382"/>
                    </a:cubicBezTo>
                    <a:cubicBezTo>
                      <a:pt x="434" y="382"/>
                      <a:pt x="434" y="382"/>
                      <a:pt x="434" y="382"/>
                    </a:cubicBezTo>
                    <a:cubicBezTo>
                      <a:pt x="434" y="392"/>
                      <a:pt x="434" y="392"/>
                      <a:pt x="434" y="392"/>
                    </a:cubicBezTo>
                    <a:cubicBezTo>
                      <a:pt x="463" y="392"/>
                      <a:pt x="463" y="392"/>
                      <a:pt x="463" y="392"/>
                    </a:cubicBezTo>
                    <a:cubicBezTo>
                      <a:pt x="463" y="439"/>
                      <a:pt x="463" y="439"/>
                      <a:pt x="463" y="439"/>
                    </a:cubicBezTo>
                    <a:cubicBezTo>
                      <a:pt x="463" y="448"/>
                      <a:pt x="450" y="455"/>
                      <a:pt x="434" y="455"/>
                    </a:cubicBezTo>
                    <a:cubicBezTo>
                      <a:pt x="434" y="510"/>
                      <a:pt x="434" y="510"/>
                      <a:pt x="434" y="510"/>
                    </a:cubicBezTo>
                    <a:cubicBezTo>
                      <a:pt x="434" y="518"/>
                      <a:pt x="427" y="525"/>
                      <a:pt x="418" y="525"/>
                    </a:cubicBezTo>
                    <a:cubicBezTo>
                      <a:pt x="328" y="525"/>
                      <a:pt x="328" y="525"/>
                      <a:pt x="328" y="525"/>
                    </a:cubicBezTo>
                    <a:cubicBezTo>
                      <a:pt x="328" y="392"/>
                      <a:pt x="328" y="392"/>
                      <a:pt x="328" y="392"/>
                    </a:cubicBezTo>
                    <a:cubicBezTo>
                      <a:pt x="328" y="383"/>
                      <a:pt x="318" y="376"/>
                      <a:pt x="307" y="376"/>
                    </a:cubicBezTo>
                    <a:cubicBezTo>
                      <a:pt x="200" y="376"/>
                      <a:pt x="200" y="376"/>
                      <a:pt x="200" y="376"/>
                    </a:cubicBezTo>
                    <a:cubicBezTo>
                      <a:pt x="188" y="376"/>
                      <a:pt x="179" y="383"/>
                      <a:pt x="179" y="392"/>
                    </a:cubicBezTo>
                    <a:cubicBezTo>
                      <a:pt x="179" y="525"/>
                      <a:pt x="179" y="525"/>
                      <a:pt x="179" y="525"/>
                    </a:cubicBezTo>
                    <a:cubicBezTo>
                      <a:pt x="89" y="525"/>
                      <a:pt x="89" y="525"/>
                      <a:pt x="89" y="525"/>
                    </a:cubicBezTo>
                    <a:cubicBezTo>
                      <a:pt x="80" y="525"/>
                      <a:pt x="72" y="518"/>
                      <a:pt x="72" y="510"/>
                    </a:cubicBezTo>
                    <a:cubicBezTo>
                      <a:pt x="72" y="455"/>
                      <a:pt x="72" y="455"/>
                      <a:pt x="72" y="455"/>
                    </a:cubicBezTo>
                    <a:cubicBezTo>
                      <a:pt x="56" y="455"/>
                      <a:pt x="44" y="448"/>
                      <a:pt x="44" y="439"/>
                    </a:cubicBezTo>
                    <a:cubicBezTo>
                      <a:pt x="44" y="392"/>
                      <a:pt x="44" y="392"/>
                      <a:pt x="44" y="392"/>
                    </a:cubicBezTo>
                    <a:cubicBezTo>
                      <a:pt x="72" y="392"/>
                      <a:pt x="72" y="392"/>
                      <a:pt x="72" y="392"/>
                    </a:cubicBezTo>
                    <a:cubicBezTo>
                      <a:pt x="72" y="382"/>
                      <a:pt x="72" y="382"/>
                      <a:pt x="72" y="382"/>
                    </a:cubicBezTo>
                    <a:cubicBezTo>
                      <a:pt x="57" y="382"/>
                      <a:pt x="57" y="382"/>
                      <a:pt x="57" y="382"/>
                    </a:cubicBezTo>
                    <a:cubicBezTo>
                      <a:pt x="44" y="382"/>
                      <a:pt x="34" y="372"/>
                      <a:pt x="34" y="361"/>
                    </a:cubicBezTo>
                    <a:cubicBezTo>
                      <a:pt x="18" y="161"/>
                      <a:pt x="18" y="161"/>
                      <a:pt x="18" y="161"/>
                    </a:cubicBezTo>
                    <a:cubicBezTo>
                      <a:pt x="58" y="161"/>
                      <a:pt x="58" y="161"/>
                      <a:pt x="58" y="161"/>
                    </a:cubicBezTo>
                    <a:cubicBezTo>
                      <a:pt x="56" y="144"/>
                      <a:pt x="56" y="144"/>
                      <a:pt x="56" y="144"/>
                    </a:cubicBezTo>
                    <a:cubicBezTo>
                      <a:pt x="18" y="144"/>
                      <a:pt x="18" y="144"/>
                      <a:pt x="18" y="144"/>
                    </a:cubicBezTo>
                    <a:cubicBezTo>
                      <a:pt x="0" y="21"/>
                      <a:pt x="0" y="21"/>
                      <a:pt x="0" y="21"/>
                    </a:cubicBezTo>
                    <a:cubicBezTo>
                      <a:pt x="2" y="7"/>
                      <a:pt x="31" y="0"/>
                      <a:pt x="49" y="0"/>
                    </a:cubicBezTo>
                    <a:cubicBezTo>
                      <a:pt x="73" y="0"/>
                      <a:pt x="80" y="3"/>
                      <a:pt x="92" y="21"/>
                    </a:cubicBezTo>
                    <a:cubicBezTo>
                      <a:pt x="103" y="82"/>
                      <a:pt x="103" y="82"/>
                      <a:pt x="103" y="82"/>
                    </a:cubicBezTo>
                    <a:cubicBezTo>
                      <a:pt x="403" y="82"/>
                      <a:pt x="403" y="82"/>
                      <a:pt x="403" y="82"/>
                    </a:cubicBezTo>
                    <a:cubicBezTo>
                      <a:pt x="415" y="21"/>
                      <a:pt x="415" y="21"/>
                      <a:pt x="415" y="21"/>
                    </a:cubicBezTo>
                    <a:cubicBezTo>
                      <a:pt x="426" y="3"/>
                      <a:pt x="433" y="0"/>
                      <a:pt x="457" y="0"/>
                    </a:cubicBezTo>
                    <a:cubicBezTo>
                      <a:pt x="475" y="0"/>
                      <a:pt x="504" y="7"/>
                      <a:pt x="506" y="21"/>
                    </a:cubicBezTo>
                    <a:close/>
                    <a:moveTo>
                      <a:pt x="461" y="82"/>
                    </a:moveTo>
                    <a:cubicBezTo>
                      <a:pt x="469" y="32"/>
                      <a:pt x="469" y="32"/>
                      <a:pt x="469" y="32"/>
                    </a:cubicBezTo>
                    <a:cubicBezTo>
                      <a:pt x="469" y="24"/>
                      <a:pt x="463" y="24"/>
                      <a:pt x="455" y="24"/>
                    </a:cubicBezTo>
                    <a:cubicBezTo>
                      <a:pt x="450" y="24"/>
                      <a:pt x="447" y="26"/>
                      <a:pt x="445" y="32"/>
                    </a:cubicBezTo>
                    <a:cubicBezTo>
                      <a:pt x="435" y="82"/>
                      <a:pt x="435" y="82"/>
                      <a:pt x="435" y="82"/>
                    </a:cubicBezTo>
                    <a:lnTo>
                      <a:pt x="461" y="82"/>
                    </a:lnTo>
                    <a:close/>
                    <a:moveTo>
                      <a:pt x="454" y="127"/>
                    </a:moveTo>
                    <a:cubicBezTo>
                      <a:pt x="457" y="112"/>
                      <a:pt x="457" y="112"/>
                      <a:pt x="457" y="112"/>
                    </a:cubicBezTo>
                    <a:cubicBezTo>
                      <a:pt x="49" y="112"/>
                      <a:pt x="49" y="112"/>
                      <a:pt x="49" y="112"/>
                    </a:cubicBezTo>
                    <a:cubicBezTo>
                      <a:pt x="52" y="127"/>
                      <a:pt x="52" y="127"/>
                      <a:pt x="52" y="127"/>
                    </a:cubicBezTo>
                    <a:cubicBezTo>
                      <a:pt x="78" y="127"/>
                      <a:pt x="78" y="127"/>
                      <a:pt x="78" y="127"/>
                    </a:cubicBezTo>
                    <a:cubicBezTo>
                      <a:pt x="80" y="145"/>
                      <a:pt x="80" y="145"/>
                      <a:pt x="80" y="145"/>
                    </a:cubicBezTo>
                    <a:cubicBezTo>
                      <a:pt x="81" y="161"/>
                      <a:pt x="81" y="161"/>
                      <a:pt x="81" y="161"/>
                    </a:cubicBezTo>
                    <a:cubicBezTo>
                      <a:pt x="425" y="161"/>
                      <a:pt x="425" y="161"/>
                      <a:pt x="425" y="161"/>
                    </a:cubicBezTo>
                    <a:cubicBezTo>
                      <a:pt x="426" y="145"/>
                      <a:pt x="426" y="145"/>
                      <a:pt x="426" y="145"/>
                    </a:cubicBezTo>
                    <a:cubicBezTo>
                      <a:pt x="428" y="127"/>
                      <a:pt x="428" y="127"/>
                      <a:pt x="428" y="127"/>
                    </a:cubicBezTo>
                    <a:lnTo>
                      <a:pt x="454" y="127"/>
                    </a:lnTo>
                    <a:close/>
                    <a:moveTo>
                      <a:pt x="441" y="335"/>
                    </a:moveTo>
                    <a:cubicBezTo>
                      <a:pt x="450" y="178"/>
                      <a:pt x="450" y="178"/>
                      <a:pt x="450" y="178"/>
                    </a:cubicBezTo>
                    <a:cubicBezTo>
                      <a:pt x="56" y="178"/>
                      <a:pt x="56" y="178"/>
                      <a:pt x="56" y="178"/>
                    </a:cubicBezTo>
                    <a:cubicBezTo>
                      <a:pt x="65" y="335"/>
                      <a:pt x="65" y="335"/>
                      <a:pt x="65" y="335"/>
                    </a:cubicBezTo>
                    <a:cubicBezTo>
                      <a:pt x="65" y="343"/>
                      <a:pt x="74" y="349"/>
                      <a:pt x="85" y="349"/>
                    </a:cubicBezTo>
                    <a:cubicBezTo>
                      <a:pt x="421" y="349"/>
                      <a:pt x="421" y="349"/>
                      <a:pt x="421" y="349"/>
                    </a:cubicBezTo>
                    <a:cubicBezTo>
                      <a:pt x="432" y="349"/>
                      <a:pt x="441" y="343"/>
                      <a:pt x="441" y="335"/>
                    </a:cubicBezTo>
                    <a:close/>
                    <a:moveTo>
                      <a:pt x="398" y="490"/>
                    </a:moveTo>
                    <a:cubicBezTo>
                      <a:pt x="398" y="371"/>
                      <a:pt x="398" y="371"/>
                      <a:pt x="398" y="371"/>
                    </a:cubicBezTo>
                    <a:cubicBezTo>
                      <a:pt x="356" y="371"/>
                      <a:pt x="356" y="371"/>
                      <a:pt x="356" y="371"/>
                    </a:cubicBezTo>
                    <a:cubicBezTo>
                      <a:pt x="356" y="496"/>
                      <a:pt x="356" y="496"/>
                      <a:pt x="356" y="496"/>
                    </a:cubicBezTo>
                    <a:cubicBezTo>
                      <a:pt x="389" y="496"/>
                      <a:pt x="389" y="496"/>
                      <a:pt x="389" y="496"/>
                    </a:cubicBezTo>
                    <a:cubicBezTo>
                      <a:pt x="394" y="496"/>
                      <a:pt x="398" y="496"/>
                      <a:pt x="398" y="490"/>
                    </a:cubicBezTo>
                    <a:close/>
                    <a:moveTo>
                      <a:pt x="150" y="496"/>
                    </a:moveTo>
                    <a:cubicBezTo>
                      <a:pt x="150" y="371"/>
                      <a:pt x="150" y="371"/>
                      <a:pt x="150" y="371"/>
                    </a:cubicBezTo>
                    <a:cubicBezTo>
                      <a:pt x="108" y="371"/>
                      <a:pt x="108" y="371"/>
                      <a:pt x="108" y="371"/>
                    </a:cubicBezTo>
                    <a:cubicBezTo>
                      <a:pt x="108" y="490"/>
                      <a:pt x="108" y="490"/>
                      <a:pt x="108" y="490"/>
                    </a:cubicBezTo>
                    <a:cubicBezTo>
                      <a:pt x="108" y="496"/>
                      <a:pt x="112" y="496"/>
                      <a:pt x="117" y="496"/>
                    </a:cubicBezTo>
                    <a:lnTo>
                      <a:pt x="150" y="496"/>
                    </a:lnTo>
                    <a:close/>
                    <a:moveTo>
                      <a:pt x="71" y="82"/>
                    </a:moveTo>
                    <a:cubicBezTo>
                      <a:pt x="61" y="32"/>
                      <a:pt x="61" y="32"/>
                      <a:pt x="61" y="32"/>
                    </a:cubicBezTo>
                    <a:cubicBezTo>
                      <a:pt x="60" y="26"/>
                      <a:pt x="57" y="24"/>
                      <a:pt x="51" y="24"/>
                    </a:cubicBezTo>
                    <a:cubicBezTo>
                      <a:pt x="43" y="24"/>
                      <a:pt x="37" y="24"/>
                      <a:pt x="37" y="32"/>
                    </a:cubicBezTo>
                    <a:cubicBezTo>
                      <a:pt x="45" y="82"/>
                      <a:pt x="45" y="82"/>
                      <a:pt x="45" y="82"/>
                    </a:cubicBezTo>
                    <a:lnTo>
                      <a:pt x="71" y="8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178" name="í$ḻíde"/>
              <p:cNvSpPr/>
              <p:nvPr/>
            </p:nvSpPr>
            <p:spPr bwMode="auto">
              <a:xfrm>
                <a:off x="2144609" y="5142503"/>
                <a:ext cx="604838" cy="31750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</p:grpSp>
      </p:grpSp>
      <p:grpSp>
        <p:nvGrpSpPr>
          <p:cNvPr id="181" name="组合 180"/>
          <p:cNvGrpSpPr/>
          <p:nvPr userDrawn="1"/>
        </p:nvGrpSpPr>
        <p:grpSpPr>
          <a:xfrm>
            <a:off x="3989822" y="1457555"/>
            <a:ext cx="1164357" cy="320434"/>
            <a:chOff x="5180266" y="4756740"/>
            <a:chExt cx="5753100" cy="1187451"/>
          </a:xfrm>
          <a:solidFill>
            <a:srgbClr val="F2C68E"/>
          </a:solidFill>
        </p:grpSpPr>
        <p:sp>
          <p:nvSpPr>
            <p:cNvPr id="182" name="ïṩļîḑê"/>
            <p:cNvSpPr/>
            <p:nvPr/>
          </p:nvSpPr>
          <p:spPr bwMode="auto">
            <a:xfrm>
              <a:off x="10319003" y="4805953"/>
              <a:ext cx="600075" cy="771525"/>
            </a:xfrm>
            <a:custGeom>
              <a:avLst/>
              <a:gdLst>
                <a:gd name="T0" fmla="*/ 210 w 325"/>
                <a:gd name="T1" fmla="*/ 140 h 418"/>
                <a:gd name="T2" fmla="*/ 237 w 325"/>
                <a:gd name="T3" fmla="*/ 155 h 418"/>
                <a:gd name="T4" fmla="*/ 161 w 325"/>
                <a:gd name="T5" fmla="*/ 179 h 418"/>
                <a:gd name="T6" fmla="*/ 187 w 325"/>
                <a:gd name="T7" fmla="*/ 68 h 418"/>
                <a:gd name="T8" fmla="*/ 230 w 325"/>
                <a:gd name="T9" fmla="*/ 40 h 418"/>
                <a:gd name="T10" fmla="*/ 199 w 325"/>
                <a:gd name="T11" fmla="*/ 85 h 418"/>
                <a:gd name="T12" fmla="*/ 99 w 325"/>
                <a:gd name="T13" fmla="*/ 132 h 418"/>
                <a:gd name="T14" fmla="*/ 132 w 325"/>
                <a:gd name="T15" fmla="*/ 83 h 418"/>
                <a:gd name="T16" fmla="*/ 174 w 325"/>
                <a:gd name="T17" fmla="*/ 116 h 418"/>
                <a:gd name="T18" fmla="*/ 59 w 325"/>
                <a:gd name="T19" fmla="*/ 198 h 418"/>
                <a:gd name="T20" fmla="*/ 16 w 325"/>
                <a:gd name="T21" fmla="*/ 224 h 418"/>
                <a:gd name="T22" fmla="*/ 17 w 325"/>
                <a:gd name="T23" fmla="*/ 314 h 418"/>
                <a:gd name="T24" fmla="*/ 55 w 325"/>
                <a:gd name="T25" fmla="*/ 244 h 418"/>
                <a:gd name="T26" fmla="*/ 131 w 325"/>
                <a:gd name="T27" fmla="*/ 194 h 418"/>
                <a:gd name="T28" fmla="*/ 111 w 325"/>
                <a:gd name="T29" fmla="*/ 251 h 418"/>
                <a:gd name="T30" fmla="*/ 148 w 325"/>
                <a:gd name="T31" fmla="*/ 246 h 418"/>
                <a:gd name="T32" fmla="*/ 184 w 325"/>
                <a:gd name="T33" fmla="*/ 243 h 418"/>
                <a:gd name="T34" fmla="*/ 131 w 325"/>
                <a:gd name="T35" fmla="*/ 281 h 418"/>
                <a:gd name="T36" fmla="*/ 76 w 325"/>
                <a:gd name="T37" fmla="*/ 299 h 418"/>
                <a:gd name="T38" fmla="*/ 134 w 325"/>
                <a:gd name="T39" fmla="*/ 334 h 418"/>
                <a:gd name="T40" fmla="*/ 203 w 325"/>
                <a:gd name="T41" fmla="*/ 298 h 418"/>
                <a:gd name="T42" fmla="*/ 206 w 325"/>
                <a:gd name="T43" fmla="*/ 350 h 418"/>
                <a:gd name="T44" fmla="*/ 165 w 325"/>
                <a:gd name="T45" fmla="*/ 378 h 418"/>
                <a:gd name="T46" fmla="*/ 144 w 325"/>
                <a:gd name="T47" fmla="*/ 410 h 418"/>
                <a:gd name="T48" fmla="*/ 228 w 325"/>
                <a:gd name="T49" fmla="*/ 408 h 418"/>
                <a:gd name="T50" fmla="*/ 239 w 325"/>
                <a:gd name="T51" fmla="*/ 307 h 418"/>
                <a:gd name="T52" fmla="*/ 273 w 325"/>
                <a:gd name="T53" fmla="*/ 283 h 418"/>
                <a:gd name="T54" fmla="*/ 271 w 325"/>
                <a:gd name="T55" fmla="*/ 239 h 418"/>
                <a:gd name="T56" fmla="*/ 233 w 325"/>
                <a:gd name="T57" fmla="*/ 226 h 418"/>
                <a:gd name="T58" fmla="*/ 261 w 325"/>
                <a:gd name="T59" fmla="*/ 181 h 418"/>
                <a:gd name="T60" fmla="*/ 316 w 325"/>
                <a:gd name="T61" fmla="*/ 167 h 418"/>
                <a:gd name="T62" fmla="*/ 297 w 325"/>
                <a:gd name="T63" fmla="*/ 119 h 418"/>
                <a:gd name="T64" fmla="*/ 251 w 325"/>
                <a:gd name="T65" fmla="*/ 93 h 418"/>
                <a:gd name="T66" fmla="*/ 276 w 325"/>
                <a:gd name="T67" fmla="*/ 34 h 418"/>
                <a:gd name="T68" fmla="*/ 217 w 325"/>
                <a:gd name="T69" fmla="*/ 11 h 418"/>
                <a:gd name="T70" fmla="*/ 164 w 325"/>
                <a:gd name="T71" fmla="*/ 29 h 418"/>
                <a:gd name="T72" fmla="*/ 136 w 325"/>
                <a:gd name="T73" fmla="*/ 43 h 418"/>
                <a:gd name="T74" fmla="*/ 113 w 325"/>
                <a:gd name="T75" fmla="*/ 21 h 418"/>
                <a:gd name="T76" fmla="*/ 78 w 325"/>
                <a:gd name="T77" fmla="*/ 52 h 4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325" h="418">
                  <a:moveTo>
                    <a:pt x="161" y="179"/>
                  </a:moveTo>
                  <a:cubicBezTo>
                    <a:pt x="160" y="178"/>
                    <a:pt x="188" y="143"/>
                    <a:pt x="210" y="140"/>
                  </a:cubicBezTo>
                  <a:cubicBezTo>
                    <a:pt x="232" y="137"/>
                    <a:pt x="226" y="133"/>
                    <a:pt x="238" y="138"/>
                  </a:cubicBezTo>
                  <a:cubicBezTo>
                    <a:pt x="250" y="144"/>
                    <a:pt x="252" y="148"/>
                    <a:pt x="237" y="155"/>
                  </a:cubicBezTo>
                  <a:cubicBezTo>
                    <a:pt x="222" y="162"/>
                    <a:pt x="215" y="168"/>
                    <a:pt x="196" y="171"/>
                  </a:cubicBezTo>
                  <a:cubicBezTo>
                    <a:pt x="177" y="175"/>
                    <a:pt x="163" y="181"/>
                    <a:pt x="161" y="179"/>
                  </a:cubicBezTo>
                  <a:close/>
                  <a:moveTo>
                    <a:pt x="199" y="85"/>
                  </a:moveTo>
                  <a:cubicBezTo>
                    <a:pt x="197" y="87"/>
                    <a:pt x="186" y="79"/>
                    <a:pt x="187" y="68"/>
                  </a:cubicBezTo>
                  <a:cubicBezTo>
                    <a:pt x="188" y="57"/>
                    <a:pt x="197" y="38"/>
                    <a:pt x="211" y="34"/>
                  </a:cubicBezTo>
                  <a:cubicBezTo>
                    <a:pt x="225" y="30"/>
                    <a:pt x="230" y="30"/>
                    <a:pt x="230" y="40"/>
                  </a:cubicBezTo>
                  <a:cubicBezTo>
                    <a:pt x="229" y="51"/>
                    <a:pt x="229" y="62"/>
                    <a:pt x="219" y="71"/>
                  </a:cubicBezTo>
                  <a:cubicBezTo>
                    <a:pt x="210" y="80"/>
                    <a:pt x="201" y="84"/>
                    <a:pt x="199" y="85"/>
                  </a:cubicBezTo>
                  <a:close/>
                  <a:moveTo>
                    <a:pt x="79" y="112"/>
                  </a:moveTo>
                  <a:cubicBezTo>
                    <a:pt x="79" y="113"/>
                    <a:pt x="87" y="125"/>
                    <a:pt x="99" y="132"/>
                  </a:cubicBezTo>
                  <a:cubicBezTo>
                    <a:pt x="112" y="138"/>
                    <a:pt x="119" y="135"/>
                    <a:pt x="129" y="127"/>
                  </a:cubicBezTo>
                  <a:cubicBezTo>
                    <a:pt x="139" y="118"/>
                    <a:pt x="130" y="95"/>
                    <a:pt x="132" y="83"/>
                  </a:cubicBezTo>
                  <a:cubicBezTo>
                    <a:pt x="135" y="70"/>
                    <a:pt x="136" y="73"/>
                    <a:pt x="146" y="75"/>
                  </a:cubicBezTo>
                  <a:cubicBezTo>
                    <a:pt x="156" y="76"/>
                    <a:pt x="173" y="108"/>
                    <a:pt x="174" y="116"/>
                  </a:cubicBezTo>
                  <a:cubicBezTo>
                    <a:pt x="174" y="123"/>
                    <a:pt x="170" y="123"/>
                    <a:pt x="128" y="142"/>
                  </a:cubicBezTo>
                  <a:cubicBezTo>
                    <a:pt x="86" y="161"/>
                    <a:pt x="67" y="195"/>
                    <a:pt x="59" y="198"/>
                  </a:cubicBezTo>
                  <a:cubicBezTo>
                    <a:pt x="52" y="202"/>
                    <a:pt x="55" y="191"/>
                    <a:pt x="40" y="188"/>
                  </a:cubicBezTo>
                  <a:cubicBezTo>
                    <a:pt x="26" y="186"/>
                    <a:pt x="23" y="211"/>
                    <a:pt x="16" y="224"/>
                  </a:cubicBezTo>
                  <a:cubicBezTo>
                    <a:pt x="8" y="238"/>
                    <a:pt x="5" y="266"/>
                    <a:pt x="5" y="277"/>
                  </a:cubicBezTo>
                  <a:cubicBezTo>
                    <a:pt x="5" y="288"/>
                    <a:pt x="0" y="301"/>
                    <a:pt x="17" y="314"/>
                  </a:cubicBezTo>
                  <a:cubicBezTo>
                    <a:pt x="33" y="326"/>
                    <a:pt x="49" y="311"/>
                    <a:pt x="53" y="304"/>
                  </a:cubicBezTo>
                  <a:cubicBezTo>
                    <a:pt x="57" y="298"/>
                    <a:pt x="53" y="269"/>
                    <a:pt x="55" y="244"/>
                  </a:cubicBezTo>
                  <a:cubicBezTo>
                    <a:pt x="57" y="220"/>
                    <a:pt x="89" y="204"/>
                    <a:pt x="100" y="197"/>
                  </a:cubicBezTo>
                  <a:cubicBezTo>
                    <a:pt x="115" y="189"/>
                    <a:pt x="129" y="190"/>
                    <a:pt x="131" y="194"/>
                  </a:cubicBezTo>
                  <a:cubicBezTo>
                    <a:pt x="134" y="197"/>
                    <a:pt x="119" y="214"/>
                    <a:pt x="112" y="219"/>
                  </a:cubicBezTo>
                  <a:cubicBezTo>
                    <a:pt x="105" y="224"/>
                    <a:pt x="110" y="244"/>
                    <a:pt x="111" y="251"/>
                  </a:cubicBezTo>
                  <a:cubicBezTo>
                    <a:pt x="113" y="257"/>
                    <a:pt x="111" y="260"/>
                    <a:pt x="125" y="265"/>
                  </a:cubicBezTo>
                  <a:cubicBezTo>
                    <a:pt x="142" y="271"/>
                    <a:pt x="139" y="257"/>
                    <a:pt x="148" y="246"/>
                  </a:cubicBezTo>
                  <a:cubicBezTo>
                    <a:pt x="157" y="236"/>
                    <a:pt x="163" y="224"/>
                    <a:pt x="170" y="224"/>
                  </a:cubicBezTo>
                  <a:cubicBezTo>
                    <a:pt x="177" y="224"/>
                    <a:pt x="180" y="238"/>
                    <a:pt x="184" y="243"/>
                  </a:cubicBezTo>
                  <a:cubicBezTo>
                    <a:pt x="187" y="248"/>
                    <a:pt x="189" y="257"/>
                    <a:pt x="177" y="263"/>
                  </a:cubicBezTo>
                  <a:cubicBezTo>
                    <a:pt x="165" y="269"/>
                    <a:pt x="131" y="281"/>
                    <a:pt x="131" y="281"/>
                  </a:cubicBezTo>
                  <a:cubicBezTo>
                    <a:pt x="131" y="281"/>
                    <a:pt x="112" y="284"/>
                    <a:pt x="101" y="287"/>
                  </a:cubicBezTo>
                  <a:cubicBezTo>
                    <a:pt x="90" y="289"/>
                    <a:pt x="78" y="285"/>
                    <a:pt x="76" y="299"/>
                  </a:cubicBezTo>
                  <a:cubicBezTo>
                    <a:pt x="73" y="312"/>
                    <a:pt x="78" y="305"/>
                    <a:pt x="86" y="319"/>
                  </a:cubicBezTo>
                  <a:cubicBezTo>
                    <a:pt x="94" y="333"/>
                    <a:pt x="119" y="337"/>
                    <a:pt x="134" y="334"/>
                  </a:cubicBezTo>
                  <a:cubicBezTo>
                    <a:pt x="149" y="332"/>
                    <a:pt x="157" y="324"/>
                    <a:pt x="168" y="316"/>
                  </a:cubicBezTo>
                  <a:cubicBezTo>
                    <a:pt x="178" y="308"/>
                    <a:pt x="194" y="298"/>
                    <a:pt x="203" y="298"/>
                  </a:cubicBezTo>
                  <a:cubicBezTo>
                    <a:pt x="211" y="299"/>
                    <a:pt x="211" y="311"/>
                    <a:pt x="211" y="325"/>
                  </a:cubicBezTo>
                  <a:cubicBezTo>
                    <a:pt x="211" y="339"/>
                    <a:pt x="210" y="337"/>
                    <a:pt x="206" y="350"/>
                  </a:cubicBezTo>
                  <a:cubicBezTo>
                    <a:pt x="202" y="364"/>
                    <a:pt x="199" y="368"/>
                    <a:pt x="194" y="372"/>
                  </a:cubicBezTo>
                  <a:cubicBezTo>
                    <a:pt x="189" y="377"/>
                    <a:pt x="184" y="376"/>
                    <a:pt x="165" y="378"/>
                  </a:cubicBezTo>
                  <a:cubicBezTo>
                    <a:pt x="145" y="380"/>
                    <a:pt x="131" y="393"/>
                    <a:pt x="129" y="400"/>
                  </a:cubicBezTo>
                  <a:cubicBezTo>
                    <a:pt x="128" y="407"/>
                    <a:pt x="135" y="405"/>
                    <a:pt x="144" y="410"/>
                  </a:cubicBezTo>
                  <a:cubicBezTo>
                    <a:pt x="152" y="414"/>
                    <a:pt x="163" y="416"/>
                    <a:pt x="185" y="417"/>
                  </a:cubicBezTo>
                  <a:cubicBezTo>
                    <a:pt x="208" y="418"/>
                    <a:pt x="219" y="417"/>
                    <a:pt x="228" y="408"/>
                  </a:cubicBezTo>
                  <a:cubicBezTo>
                    <a:pt x="238" y="400"/>
                    <a:pt x="240" y="373"/>
                    <a:pt x="241" y="354"/>
                  </a:cubicBezTo>
                  <a:cubicBezTo>
                    <a:pt x="243" y="335"/>
                    <a:pt x="239" y="315"/>
                    <a:pt x="239" y="307"/>
                  </a:cubicBezTo>
                  <a:cubicBezTo>
                    <a:pt x="239" y="299"/>
                    <a:pt x="239" y="297"/>
                    <a:pt x="244" y="288"/>
                  </a:cubicBezTo>
                  <a:cubicBezTo>
                    <a:pt x="249" y="280"/>
                    <a:pt x="257" y="284"/>
                    <a:pt x="273" y="283"/>
                  </a:cubicBezTo>
                  <a:cubicBezTo>
                    <a:pt x="288" y="281"/>
                    <a:pt x="286" y="270"/>
                    <a:pt x="287" y="261"/>
                  </a:cubicBezTo>
                  <a:cubicBezTo>
                    <a:pt x="288" y="251"/>
                    <a:pt x="281" y="247"/>
                    <a:pt x="271" y="239"/>
                  </a:cubicBezTo>
                  <a:cubicBezTo>
                    <a:pt x="260" y="231"/>
                    <a:pt x="250" y="236"/>
                    <a:pt x="240" y="236"/>
                  </a:cubicBezTo>
                  <a:cubicBezTo>
                    <a:pt x="230" y="236"/>
                    <a:pt x="233" y="234"/>
                    <a:pt x="233" y="226"/>
                  </a:cubicBezTo>
                  <a:cubicBezTo>
                    <a:pt x="233" y="219"/>
                    <a:pt x="238" y="215"/>
                    <a:pt x="239" y="207"/>
                  </a:cubicBezTo>
                  <a:cubicBezTo>
                    <a:pt x="241" y="200"/>
                    <a:pt x="251" y="192"/>
                    <a:pt x="261" y="181"/>
                  </a:cubicBezTo>
                  <a:cubicBezTo>
                    <a:pt x="270" y="170"/>
                    <a:pt x="276" y="175"/>
                    <a:pt x="289" y="176"/>
                  </a:cubicBezTo>
                  <a:cubicBezTo>
                    <a:pt x="302" y="176"/>
                    <a:pt x="307" y="176"/>
                    <a:pt x="316" y="167"/>
                  </a:cubicBezTo>
                  <a:cubicBezTo>
                    <a:pt x="325" y="157"/>
                    <a:pt x="318" y="138"/>
                    <a:pt x="316" y="132"/>
                  </a:cubicBezTo>
                  <a:cubicBezTo>
                    <a:pt x="315" y="125"/>
                    <a:pt x="309" y="129"/>
                    <a:pt x="297" y="119"/>
                  </a:cubicBezTo>
                  <a:cubicBezTo>
                    <a:pt x="285" y="108"/>
                    <a:pt x="274" y="111"/>
                    <a:pt x="261" y="111"/>
                  </a:cubicBezTo>
                  <a:cubicBezTo>
                    <a:pt x="248" y="111"/>
                    <a:pt x="244" y="100"/>
                    <a:pt x="251" y="93"/>
                  </a:cubicBezTo>
                  <a:cubicBezTo>
                    <a:pt x="259" y="87"/>
                    <a:pt x="265" y="77"/>
                    <a:pt x="272" y="66"/>
                  </a:cubicBezTo>
                  <a:cubicBezTo>
                    <a:pt x="278" y="55"/>
                    <a:pt x="276" y="45"/>
                    <a:pt x="276" y="34"/>
                  </a:cubicBezTo>
                  <a:cubicBezTo>
                    <a:pt x="275" y="24"/>
                    <a:pt x="264" y="20"/>
                    <a:pt x="252" y="10"/>
                  </a:cubicBezTo>
                  <a:cubicBezTo>
                    <a:pt x="240" y="0"/>
                    <a:pt x="225" y="8"/>
                    <a:pt x="217" y="11"/>
                  </a:cubicBezTo>
                  <a:cubicBezTo>
                    <a:pt x="208" y="14"/>
                    <a:pt x="196" y="20"/>
                    <a:pt x="187" y="25"/>
                  </a:cubicBezTo>
                  <a:cubicBezTo>
                    <a:pt x="178" y="30"/>
                    <a:pt x="172" y="30"/>
                    <a:pt x="164" y="29"/>
                  </a:cubicBezTo>
                  <a:cubicBezTo>
                    <a:pt x="157" y="29"/>
                    <a:pt x="150" y="29"/>
                    <a:pt x="147" y="29"/>
                  </a:cubicBezTo>
                  <a:cubicBezTo>
                    <a:pt x="144" y="29"/>
                    <a:pt x="141" y="35"/>
                    <a:pt x="136" y="43"/>
                  </a:cubicBezTo>
                  <a:cubicBezTo>
                    <a:pt x="131" y="51"/>
                    <a:pt x="126" y="47"/>
                    <a:pt x="124" y="43"/>
                  </a:cubicBezTo>
                  <a:cubicBezTo>
                    <a:pt x="121" y="38"/>
                    <a:pt x="116" y="28"/>
                    <a:pt x="113" y="21"/>
                  </a:cubicBezTo>
                  <a:cubicBezTo>
                    <a:pt x="110" y="15"/>
                    <a:pt x="97" y="18"/>
                    <a:pt x="91" y="21"/>
                  </a:cubicBezTo>
                  <a:cubicBezTo>
                    <a:pt x="84" y="25"/>
                    <a:pt x="80" y="41"/>
                    <a:pt x="78" y="52"/>
                  </a:cubicBezTo>
                  <a:cubicBezTo>
                    <a:pt x="75" y="63"/>
                    <a:pt x="78" y="111"/>
                    <a:pt x="79" y="1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183" name="îşḷïḍe"/>
            <p:cNvSpPr/>
            <p:nvPr/>
          </p:nvSpPr>
          <p:spPr bwMode="auto">
            <a:xfrm>
              <a:off x="9461753" y="4939303"/>
              <a:ext cx="388938" cy="534988"/>
            </a:xfrm>
            <a:custGeom>
              <a:avLst/>
              <a:gdLst>
                <a:gd name="T0" fmla="*/ 4 w 211"/>
                <a:gd name="T1" fmla="*/ 137 h 290"/>
                <a:gd name="T2" fmla="*/ 41 w 211"/>
                <a:gd name="T3" fmla="*/ 117 h 290"/>
                <a:gd name="T4" fmla="*/ 75 w 211"/>
                <a:gd name="T5" fmla="*/ 83 h 290"/>
                <a:gd name="T6" fmla="*/ 82 w 211"/>
                <a:gd name="T7" fmla="*/ 29 h 290"/>
                <a:gd name="T8" fmla="*/ 94 w 211"/>
                <a:gd name="T9" fmla="*/ 6 h 290"/>
                <a:gd name="T10" fmla="*/ 126 w 211"/>
                <a:gd name="T11" fmla="*/ 27 h 290"/>
                <a:gd name="T12" fmla="*/ 145 w 211"/>
                <a:gd name="T13" fmla="*/ 65 h 290"/>
                <a:gd name="T14" fmla="*/ 170 w 211"/>
                <a:gd name="T15" fmla="*/ 93 h 290"/>
                <a:gd name="T16" fmla="*/ 164 w 211"/>
                <a:gd name="T17" fmla="*/ 119 h 290"/>
                <a:gd name="T18" fmla="*/ 127 w 211"/>
                <a:gd name="T19" fmla="*/ 151 h 290"/>
                <a:gd name="T20" fmla="*/ 123 w 211"/>
                <a:gd name="T21" fmla="*/ 165 h 290"/>
                <a:gd name="T22" fmla="*/ 181 w 211"/>
                <a:gd name="T23" fmla="*/ 187 h 290"/>
                <a:gd name="T24" fmla="*/ 210 w 211"/>
                <a:gd name="T25" fmla="*/ 231 h 290"/>
                <a:gd name="T26" fmla="*/ 202 w 211"/>
                <a:gd name="T27" fmla="*/ 281 h 290"/>
                <a:gd name="T28" fmla="*/ 185 w 211"/>
                <a:gd name="T29" fmla="*/ 289 h 290"/>
                <a:gd name="T30" fmla="*/ 162 w 211"/>
                <a:gd name="T31" fmla="*/ 267 h 290"/>
                <a:gd name="T32" fmla="*/ 158 w 211"/>
                <a:gd name="T33" fmla="*/ 217 h 290"/>
                <a:gd name="T34" fmla="*/ 134 w 211"/>
                <a:gd name="T35" fmla="*/ 188 h 290"/>
                <a:gd name="T36" fmla="*/ 117 w 211"/>
                <a:gd name="T37" fmla="*/ 183 h 290"/>
                <a:gd name="T38" fmla="*/ 105 w 211"/>
                <a:gd name="T39" fmla="*/ 191 h 290"/>
                <a:gd name="T40" fmla="*/ 95 w 211"/>
                <a:gd name="T41" fmla="*/ 225 h 290"/>
                <a:gd name="T42" fmla="*/ 92 w 211"/>
                <a:gd name="T43" fmla="*/ 251 h 290"/>
                <a:gd name="T44" fmla="*/ 58 w 211"/>
                <a:gd name="T45" fmla="*/ 261 h 290"/>
                <a:gd name="T46" fmla="*/ 37 w 211"/>
                <a:gd name="T47" fmla="*/ 235 h 290"/>
                <a:gd name="T48" fmla="*/ 39 w 211"/>
                <a:gd name="T49" fmla="*/ 205 h 290"/>
                <a:gd name="T50" fmla="*/ 45 w 211"/>
                <a:gd name="T51" fmla="*/ 177 h 290"/>
                <a:gd name="T52" fmla="*/ 18 w 211"/>
                <a:gd name="T53" fmla="*/ 155 h 290"/>
                <a:gd name="T54" fmla="*/ 0 w 211"/>
                <a:gd name="T55" fmla="*/ 147 h 290"/>
                <a:gd name="T56" fmla="*/ 4 w 211"/>
                <a:gd name="T57" fmla="*/ 137 h 2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211" h="290">
                  <a:moveTo>
                    <a:pt x="4" y="137"/>
                  </a:moveTo>
                  <a:cubicBezTo>
                    <a:pt x="4" y="137"/>
                    <a:pt x="32" y="120"/>
                    <a:pt x="41" y="117"/>
                  </a:cubicBezTo>
                  <a:cubicBezTo>
                    <a:pt x="50" y="115"/>
                    <a:pt x="69" y="103"/>
                    <a:pt x="75" y="83"/>
                  </a:cubicBezTo>
                  <a:cubicBezTo>
                    <a:pt x="81" y="63"/>
                    <a:pt x="82" y="39"/>
                    <a:pt x="82" y="29"/>
                  </a:cubicBezTo>
                  <a:cubicBezTo>
                    <a:pt x="82" y="19"/>
                    <a:pt x="76" y="0"/>
                    <a:pt x="94" y="6"/>
                  </a:cubicBezTo>
                  <a:cubicBezTo>
                    <a:pt x="112" y="12"/>
                    <a:pt x="124" y="15"/>
                    <a:pt x="126" y="27"/>
                  </a:cubicBezTo>
                  <a:cubicBezTo>
                    <a:pt x="129" y="39"/>
                    <a:pt x="131" y="55"/>
                    <a:pt x="145" y="65"/>
                  </a:cubicBezTo>
                  <a:cubicBezTo>
                    <a:pt x="159" y="75"/>
                    <a:pt x="168" y="83"/>
                    <a:pt x="170" y="93"/>
                  </a:cubicBezTo>
                  <a:cubicBezTo>
                    <a:pt x="172" y="103"/>
                    <a:pt x="172" y="114"/>
                    <a:pt x="164" y="119"/>
                  </a:cubicBezTo>
                  <a:cubicBezTo>
                    <a:pt x="157" y="123"/>
                    <a:pt x="132" y="147"/>
                    <a:pt x="127" y="151"/>
                  </a:cubicBezTo>
                  <a:cubicBezTo>
                    <a:pt x="121" y="154"/>
                    <a:pt x="119" y="165"/>
                    <a:pt x="123" y="165"/>
                  </a:cubicBezTo>
                  <a:cubicBezTo>
                    <a:pt x="127" y="165"/>
                    <a:pt x="163" y="172"/>
                    <a:pt x="181" y="187"/>
                  </a:cubicBezTo>
                  <a:cubicBezTo>
                    <a:pt x="198" y="202"/>
                    <a:pt x="209" y="216"/>
                    <a:pt x="210" y="231"/>
                  </a:cubicBezTo>
                  <a:cubicBezTo>
                    <a:pt x="211" y="247"/>
                    <a:pt x="210" y="273"/>
                    <a:pt x="202" y="281"/>
                  </a:cubicBezTo>
                  <a:cubicBezTo>
                    <a:pt x="194" y="288"/>
                    <a:pt x="192" y="290"/>
                    <a:pt x="185" y="289"/>
                  </a:cubicBezTo>
                  <a:cubicBezTo>
                    <a:pt x="178" y="288"/>
                    <a:pt x="164" y="279"/>
                    <a:pt x="162" y="267"/>
                  </a:cubicBezTo>
                  <a:cubicBezTo>
                    <a:pt x="160" y="255"/>
                    <a:pt x="164" y="239"/>
                    <a:pt x="158" y="217"/>
                  </a:cubicBezTo>
                  <a:cubicBezTo>
                    <a:pt x="153" y="196"/>
                    <a:pt x="139" y="191"/>
                    <a:pt x="134" y="188"/>
                  </a:cubicBezTo>
                  <a:cubicBezTo>
                    <a:pt x="129" y="186"/>
                    <a:pt x="117" y="183"/>
                    <a:pt x="117" y="183"/>
                  </a:cubicBezTo>
                  <a:cubicBezTo>
                    <a:pt x="117" y="183"/>
                    <a:pt x="108" y="182"/>
                    <a:pt x="105" y="191"/>
                  </a:cubicBezTo>
                  <a:cubicBezTo>
                    <a:pt x="102" y="199"/>
                    <a:pt x="96" y="215"/>
                    <a:pt x="95" y="225"/>
                  </a:cubicBezTo>
                  <a:cubicBezTo>
                    <a:pt x="94" y="235"/>
                    <a:pt x="96" y="247"/>
                    <a:pt x="92" y="251"/>
                  </a:cubicBezTo>
                  <a:cubicBezTo>
                    <a:pt x="87" y="256"/>
                    <a:pt x="77" y="267"/>
                    <a:pt x="58" y="261"/>
                  </a:cubicBezTo>
                  <a:cubicBezTo>
                    <a:pt x="39" y="255"/>
                    <a:pt x="41" y="238"/>
                    <a:pt x="37" y="235"/>
                  </a:cubicBezTo>
                  <a:cubicBezTo>
                    <a:pt x="33" y="231"/>
                    <a:pt x="39" y="211"/>
                    <a:pt x="39" y="205"/>
                  </a:cubicBezTo>
                  <a:cubicBezTo>
                    <a:pt x="39" y="200"/>
                    <a:pt x="47" y="182"/>
                    <a:pt x="45" y="177"/>
                  </a:cubicBezTo>
                  <a:cubicBezTo>
                    <a:pt x="44" y="173"/>
                    <a:pt x="25" y="153"/>
                    <a:pt x="18" y="155"/>
                  </a:cubicBezTo>
                  <a:cubicBezTo>
                    <a:pt x="11" y="157"/>
                    <a:pt x="1" y="155"/>
                    <a:pt x="0" y="147"/>
                  </a:cubicBezTo>
                  <a:cubicBezTo>
                    <a:pt x="0" y="140"/>
                    <a:pt x="4" y="137"/>
                    <a:pt x="4" y="13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184" name="îṧļíďe"/>
            <p:cNvSpPr/>
            <p:nvPr/>
          </p:nvSpPr>
          <p:spPr bwMode="auto">
            <a:xfrm>
              <a:off x="8326691" y="4823415"/>
              <a:ext cx="746125" cy="695325"/>
            </a:xfrm>
            <a:custGeom>
              <a:avLst/>
              <a:gdLst>
                <a:gd name="T0" fmla="*/ 159 w 405"/>
                <a:gd name="T1" fmla="*/ 229 h 377"/>
                <a:gd name="T2" fmla="*/ 218 w 405"/>
                <a:gd name="T3" fmla="*/ 183 h 377"/>
                <a:gd name="T4" fmla="*/ 234 w 405"/>
                <a:gd name="T5" fmla="*/ 247 h 377"/>
                <a:gd name="T6" fmla="*/ 260 w 405"/>
                <a:gd name="T7" fmla="*/ 269 h 377"/>
                <a:gd name="T8" fmla="*/ 209 w 405"/>
                <a:gd name="T9" fmla="*/ 247 h 377"/>
                <a:gd name="T10" fmla="*/ 108 w 405"/>
                <a:gd name="T11" fmla="*/ 215 h 377"/>
                <a:gd name="T12" fmla="*/ 73 w 405"/>
                <a:gd name="T13" fmla="*/ 283 h 377"/>
                <a:gd name="T14" fmla="*/ 43 w 405"/>
                <a:gd name="T15" fmla="*/ 350 h 377"/>
                <a:gd name="T16" fmla="*/ 91 w 405"/>
                <a:gd name="T17" fmla="*/ 347 h 377"/>
                <a:gd name="T18" fmla="*/ 118 w 405"/>
                <a:gd name="T19" fmla="*/ 372 h 377"/>
                <a:gd name="T20" fmla="*/ 136 w 405"/>
                <a:gd name="T21" fmla="*/ 328 h 377"/>
                <a:gd name="T22" fmla="*/ 147 w 405"/>
                <a:gd name="T23" fmla="*/ 265 h 377"/>
                <a:gd name="T24" fmla="*/ 242 w 405"/>
                <a:gd name="T25" fmla="*/ 306 h 377"/>
                <a:gd name="T26" fmla="*/ 186 w 405"/>
                <a:gd name="T27" fmla="*/ 337 h 377"/>
                <a:gd name="T28" fmla="*/ 172 w 405"/>
                <a:gd name="T29" fmla="*/ 367 h 377"/>
                <a:gd name="T30" fmla="*/ 272 w 405"/>
                <a:gd name="T31" fmla="*/ 328 h 377"/>
                <a:gd name="T32" fmla="*/ 352 w 405"/>
                <a:gd name="T33" fmla="*/ 373 h 377"/>
                <a:gd name="T34" fmla="*/ 389 w 405"/>
                <a:gd name="T35" fmla="*/ 333 h 377"/>
                <a:gd name="T36" fmla="*/ 292 w 405"/>
                <a:gd name="T37" fmla="*/ 299 h 377"/>
                <a:gd name="T38" fmla="*/ 291 w 405"/>
                <a:gd name="T39" fmla="*/ 217 h 377"/>
                <a:gd name="T40" fmla="*/ 261 w 405"/>
                <a:gd name="T41" fmla="*/ 173 h 377"/>
                <a:gd name="T42" fmla="*/ 297 w 405"/>
                <a:gd name="T43" fmla="*/ 107 h 377"/>
                <a:gd name="T44" fmla="*/ 283 w 405"/>
                <a:gd name="T45" fmla="*/ 43 h 377"/>
                <a:gd name="T46" fmla="*/ 241 w 405"/>
                <a:gd name="T47" fmla="*/ 1 h 377"/>
                <a:gd name="T48" fmla="*/ 241 w 405"/>
                <a:gd name="T49" fmla="*/ 35 h 377"/>
                <a:gd name="T50" fmla="*/ 245 w 405"/>
                <a:gd name="T51" fmla="*/ 97 h 377"/>
                <a:gd name="T52" fmla="*/ 194 w 405"/>
                <a:gd name="T53" fmla="*/ 129 h 377"/>
                <a:gd name="T54" fmla="*/ 161 w 405"/>
                <a:gd name="T55" fmla="*/ 121 h 377"/>
                <a:gd name="T56" fmla="*/ 150 w 405"/>
                <a:gd name="T57" fmla="*/ 33 h 377"/>
                <a:gd name="T58" fmla="*/ 122 w 405"/>
                <a:gd name="T59" fmla="*/ 56 h 377"/>
                <a:gd name="T60" fmla="*/ 121 w 405"/>
                <a:gd name="T61" fmla="*/ 133 h 377"/>
                <a:gd name="T62" fmla="*/ 30 w 405"/>
                <a:gd name="T63" fmla="*/ 180 h 377"/>
                <a:gd name="T64" fmla="*/ 22 w 405"/>
                <a:gd name="T65" fmla="*/ 219 h 3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05" h="377">
                  <a:moveTo>
                    <a:pt x="174" y="243"/>
                  </a:moveTo>
                  <a:cubicBezTo>
                    <a:pt x="172" y="243"/>
                    <a:pt x="154" y="236"/>
                    <a:pt x="159" y="229"/>
                  </a:cubicBezTo>
                  <a:cubicBezTo>
                    <a:pt x="163" y="221"/>
                    <a:pt x="190" y="187"/>
                    <a:pt x="199" y="183"/>
                  </a:cubicBezTo>
                  <a:cubicBezTo>
                    <a:pt x="208" y="178"/>
                    <a:pt x="215" y="172"/>
                    <a:pt x="218" y="183"/>
                  </a:cubicBezTo>
                  <a:cubicBezTo>
                    <a:pt x="221" y="193"/>
                    <a:pt x="215" y="230"/>
                    <a:pt x="220" y="236"/>
                  </a:cubicBezTo>
                  <a:cubicBezTo>
                    <a:pt x="225" y="241"/>
                    <a:pt x="227" y="248"/>
                    <a:pt x="234" y="247"/>
                  </a:cubicBezTo>
                  <a:cubicBezTo>
                    <a:pt x="241" y="246"/>
                    <a:pt x="256" y="238"/>
                    <a:pt x="260" y="245"/>
                  </a:cubicBezTo>
                  <a:cubicBezTo>
                    <a:pt x="263" y="252"/>
                    <a:pt x="268" y="259"/>
                    <a:pt x="260" y="269"/>
                  </a:cubicBezTo>
                  <a:cubicBezTo>
                    <a:pt x="253" y="278"/>
                    <a:pt x="247" y="281"/>
                    <a:pt x="239" y="274"/>
                  </a:cubicBezTo>
                  <a:cubicBezTo>
                    <a:pt x="230" y="267"/>
                    <a:pt x="221" y="250"/>
                    <a:pt x="209" y="247"/>
                  </a:cubicBezTo>
                  <a:cubicBezTo>
                    <a:pt x="198" y="245"/>
                    <a:pt x="176" y="243"/>
                    <a:pt x="174" y="243"/>
                  </a:cubicBezTo>
                  <a:close/>
                  <a:moveTo>
                    <a:pt x="108" y="215"/>
                  </a:moveTo>
                  <a:cubicBezTo>
                    <a:pt x="109" y="216"/>
                    <a:pt x="102" y="238"/>
                    <a:pt x="93" y="254"/>
                  </a:cubicBezTo>
                  <a:cubicBezTo>
                    <a:pt x="84" y="271"/>
                    <a:pt x="81" y="271"/>
                    <a:pt x="73" y="283"/>
                  </a:cubicBezTo>
                  <a:cubicBezTo>
                    <a:pt x="65" y="295"/>
                    <a:pt x="45" y="309"/>
                    <a:pt x="44" y="316"/>
                  </a:cubicBezTo>
                  <a:cubicBezTo>
                    <a:pt x="43" y="323"/>
                    <a:pt x="41" y="343"/>
                    <a:pt x="43" y="350"/>
                  </a:cubicBezTo>
                  <a:cubicBezTo>
                    <a:pt x="44" y="357"/>
                    <a:pt x="61" y="358"/>
                    <a:pt x="69" y="357"/>
                  </a:cubicBezTo>
                  <a:cubicBezTo>
                    <a:pt x="77" y="355"/>
                    <a:pt x="84" y="347"/>
                    <a:pt x="91" y="347"/>
                  </a:cubicBezTo>
                  <a:cubicBezTo>
                    <a:pt x="98" y="347"/>
                    <a:pt x="96" y="355"/>
                    <a:pt x="97" y="361"/>
                  </a:cubicBezTo>
                  <a:cubicBezTo>
                    <a:pt x="97" y="366"/>
                    <a:pt x="101" y="368"/>
                    <a:pt x="118" y="372"/>
                  </a:cubicBezTo>
                  <a:cubicBezTo>
                    <a:pt x="136" y="377"/>
                    <a:pt x="140" y="364"/>
                    <a:pt x="144" y="352"/>
                  </a:cubicBezTo>
                  <a:cubicBezTo>
                    <a:pt x="148" y="339"/>
                    <a:pt x="140" y="339"/>
                    <a:pt x="136" y="328"/>
                  </a:cubicBezTo>
                  <a:cubicBezTo>
                    <a:pt x="133" y="316"/>
                    <a:pt x="136" y="302"/>
                    <a:pt x="136" y="292"/>
                  </a:cubicBezTo>
                  <a:cubicBezTo>
                    <a:pt x="135" y="281"/>
                    <a:pt x="141" y="272"/>
                    <a:pt x="147" y="265"/>
                  </a:cubicBezTo>
                  <a:cubicBezTo>
                    <a:pt x="153" y="258"/>
                    <a:pt x="160" y="248"/>
                    <a:pt x="186" y="258"/>
                  </a:cubicBezTo>
                  <a:cubicBezTo>
                    <a:pt x="212" y="267"/>
                    <a:pt x="239" y="298"/>
                    <a:pt x="242" y="306"/>
                  </a:cubicBezTo>
                  <a:cubicBezTo>
                    <a:pt x="245" y="313"/>
                    <a:pt x="232" y="318"/>
                    <a:pt x="227" y="325"/>
                  </a:cubicBezTo>
                  <a:cubicBezTo>
                    <a:pt x="222" y="332"/>
                    <a:pt x="196" y="338"/>
                    <a:pt x="186" y="337"/>
                  </a:cubicBezTo>
                  <a:cubicBezTo>
                    <a:pt x="175" y="336"/>
                    <a:pt x="172" y="344"/>
                    <a:pt x="167" y="348"/>
                  </a:cubicBezTo>
                  <a:cubicBezTo>
                    <a:pt x="162" y="351"/>
                    <a:pt x="167" y="361"/>
                    <a:pt x="172" y="367"/>
                  </a:cubicBezTo>
                  <a:cubicBezTo>
                    <a:pt x="177" y="373"/>
                    <a:pt x="211" y="373"/>
                    <a:pt x="224" y="364"/>
                  </a:cubicBezTo>
                  <a:cubicBezTo>
                    <a:pt x="237" y="354"/>
                    <a:pt x="272" y="328"/>
                    <a:pt x="272" y="328"/>
                  </a:cubicBezTo>
                  <a:cubicBezTo>
                    <a:pt x="272" y="328"/>
                    <a:pt x="285" y="340"/>
                    <a:pt x="293" y="348"/>
                  </a:cubicBezTo>
                  <a:cubicBezTo>
                    <a:pt x="301" y="357"/>
                    <a:pt x="319" y="369"/>
                    <a:pt x="352" y="373"/>
                  </a:cubicBezTo>
                  <a:cubicBezTo>
                    <a:pt x="385" y="377"/>
                    <a:pt x="398" y="356"/>
                    <a:pt x="401" y="352"/>
                  </a:cubicBezTo>
                  <a:cubicBezTo>
                    <a:pt x="405" y="348"/>
                    <a:pt x="399" y="342"/>
                    <a:pt x="389" y="333"/>
                  </a:cubicBezTo>
                  <a:cubicBezTo>
                    <a:pt x="379" y="323"/>
                    <a:pt x="353" y="312"/>
                    <a:pt x="337" y="313"/>
                  </a:cubicBezTo>
                  <a:cubicBezTo>
                    <a:pt x="321" y="315"/>
                    <a:pt x="303" y="305"/>
                    <a:pt x="292" y="299"/>
                  </a:cubicBezTo>
                  <a:cubicBezTo>
                    <a:pt x="282" y="293"/>
                    <a:pt x="287" y="293"/>
                    <a:pt x="291" y="277"/>
                  </a:cubicBezTo>
                  <a:cubicBezTo>
                    <a:pt x="295" y="261"/>
                    <a:pt x="294" y="231"/>
                    <a:pt x="291" y="217"/>
                  </a:cubicBezTo>
                  <a:cubicBezTo>
                    <a:pt x="287" y="204"/>
                    <a:pt x="269" y="200"/>
                    <a:pt x="264" y="192"/>
                  </a:cubicBezTo>
                  <a:cubicBezTo>
                    <a:pt x="258" y="184"/>
                    <a:pt x="251" y="180"/>
                    <a:pt x="261" y="173"/>
                  </a:cubicBezTo>
                  <a:cubicBezTo>
                    <a:pt x="272" y="166"/>
                    <a:pt x="282" y="146"/>
                    <a:pt x="290" y="135"/>
                  </a:cubicBezTo>
                  <a:cubicBezTo>
                    <a:pt x="298" y="123"/>
                    <a:pt x="305" y="117"/>
                    <a:pt x="297" y="107"/>
                  </a:cubicBezTo>
                  <a:cubicBezTo>
                    <a:pt x="289" y="97"/>
                    <a:pt x="283" y="94"/>
                    <a:pt x="281" y="86"/>
                  </a:cubicBezTo>
                  <a:cubicBezTo>
                    <a:pt x="280" y="79"/>
                    <a:pt x="283" y="57"/>
                    <a:pt x="283" y="43"/>
                  </a:cubicBezTo>
                  <a:cubicBezTo>
                    <a:pt x="283" y="29"/>
                    <a:pt x="285" y="30"/>
                    <a:pt x="272" y="15"/>
                  </a:cubicBezTo>
                  <a:cubicBezTo>
                    <a:pt x="260" y="0"/>
                    <a:pt x="248" y="2"/>
                    <a:pt x="241" y="1"/>
                  </a:cubicBezTo>
                  <a:cubicBezTo>
                    <a:pt x="235" y="0"/>
                    <a:pt x="231" y="21"/>
                    <a:pt x="233" y="26"/>
                  </a:cubicBezTo>
                  <a:cubicBezTo>
                    <a:pt x="235" y="31"/>
                    <a:pt x="239" y="31"/>
                    <a:pt x="241" y="35"/>
                  </a:cubicBezTo>
                  <a:cubicBezTo>
                    <a:pt x="242" y="39"/>
                    <a:pt x="239" y="36"/>
                    <a:pt x="243" y="53"/>
                  </a:cubicBezTo>
                  <a:cubicBezTo>
                    <a:pt x="247" y="70"/>
                    <a:pt x="245" y="91"/>
                    <a:pt x="245" y="97"/>
                  </a:cubicBezTo>
                  <a:cubicBezTo>
                    <a:pt x="245" y="103"/>
                    <a:pt x="240" y="107"/>
                    <a:pt x="234" y="114"/>
                  </a:cubicBezTo>
                  <a:cubicBezTo>
                    <a:pt x="228" y="121"/>
                    <a:pt x="206" y="123"/>
                    <a:pt x="194" y="129"/>
                  </a:cubicBezTo>
                  <a:cubicBezTo>
                    <a:pt x="181" y="135"/>
                    <a:pt x="179" y="146"/>
                    <a:pt x="170" y="149"/>
                  </a:cubicBezTo>
                  <a:cubicBezTo>
                    <a:pt x="161" y="151"/>
                    <a:pt x="157" y="138"/>
                    <a:pt x="161" y="121"/>
                  </a:cubicBezTo>
                  <a:cubicBezTo>
                    <a:pt x="164" y="109"/>
                    <a:pt x="168" y="79"/>
                    <a:pt x="168" y="64"/>
                  </a:cubicBezTo>
                  <a:cubicBezTo>
                    <a:pt x="167" y="54"/>
                    <a:pt x="158" y="40"/>
                    <a:pt x="150" y="33"/>
                  </a:cubicBezTo>
                  <a:cubicBezTo>
                    <a:pt x="142" y="25"/>
                    <a:pt x="136" y="30"/>
                    <a:pt x="131" y="32"/>
                  </a:cubicBezTo>
                  <a:cubicBezTo>
                    <a:pt x="126" y="35"/>
                    <a:pt x="120" y="43"/>
                    <a:pt x="122" y="56"/>
                  </a:cubicBezTo>
                  <a:cubicBezTo>
                    <a:pt x="124" y="70"/>
                    <a:pt x="127" y="72"/>
                    <a:pt x="127" y="82"/>
                  </a:cubicBezTo>
                  <a:cubicBezTo>
                    <a:pt x="128" y="92"/>
                    <a:pt x="124" y="113"/>
                    <a:pt x="121" y="133"/>
                  </a:cubicBezTo>
                  <a:cubicBezTo>
                    <a:pt x="117" y="152"/>
                    <a:pt x="104" y="151"/>
                    <a:pt x="90" y="158"/>
                  </a:cubicBezTo>
                  <a:cubicBezTo>
                    <a:pt x="76" y="165"/>
                    <a:pt x="48" y="175"/>
                    <a:pt x="30" y="180"/>
                  </a:cubicBezTo>
                  <a:cubicBezTo>
                    <a:pt x="13" y="184"/>
                    <a:pt x="0" y="191"/>
                    <a:pt x="0" y="200"/>
                  </a:cubicBezTo>
                  <a:cubicBezTo>
                    <a:pt x="0" y="209"/>
                    <a:pt x="9" y="210"/>
                    <a:pt x="22" y="219"/>
                  </a:cubicBezTo>
                  <a:cubicBezTo>
                    <a:pt x="35" y="228"/>
                    <a:pt x="107" y="215"/>
                    <a:pt x="108" y="2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185" name="íŝļïḓè"/>
            <p:cNvSpPr/>
            <p:nvPr/>
          </p:nvSpPr>
          <p:spPr bwMode="auto">
            <a:xfrm>
              <a:off x="6220078" y="4756740"/>
              <a:ext cx="627063" cy="793750"/>
            </a:xfrm>
            <a:custGeom>
              <a:avLst/>
              <a:gdLst>
                <a:gd name="T0" fmla="*/ 194 w 340"/>
                <a:gd name="T1" fmla="*/ 225 h 430"/>
                <a:gd name="T2" fmla="*/ 189 w 340"/>
                <a:gd name="T3" fmla="*/ 204 h 430"/>
                <a:gd name="T4" fmla="*/ 222 w 340"/>
                <a:gd name="T5" fmla="*/ 196 h 430"/>
                <a:gd name="T6" fmla="*/ 234 w 340"/>
                <a:gd name="T7" fmla="*/ 215 h 430"/>
                <a:gd name="T8" fmla="*/ 217 w 340"/>
                <a:gd name="T9" fmla="*/ 231 h 430"/>
                <a:gd name="T10" fmla="*/ 194 w 340"/>
                <a:gd name="T11" fmla="*/ 225 h 430"/>
                <a:gd name="T12" fmla="*/ 33 w 340"/>
                <a:gd name="T13" fmla="*/ 228 h 430"/>
                <a:gd name="T14" fmla="*/ 67 w 340"/>
                <a:gd name="T15" fmla="*/ 224 h 430"/>
                <a:gd name="T16" fmla="*/ 105 w 340"/>
                <a:gd name="T17" fmla="*/ 194 h 430"/>
                <a:gd name="T18" fmla="*/ 164 w 340"/>
                <a:gd name="T19" fmla="*/ 151 h 430"/>
                <a:gd name="T20" fmla="*/ 170 w 340"/>
                <a:gd name="T21" fmla="*/ 163 h 430"/>
                <a:gd name="T22" fmla="*/ 144 w 340"/>
                <a:gd name="T23" fmla="*/ 203 h 430"/>
                <a:gd name="T24" fmla="*/ 142 w 340"/>
                <a:gd name="T25" fmla="*/ 250 h 430"/>
                <a:gd name="T26" fmla="*/ 166 w 340"/>
                <a:gd name="T27" fmla="*/ 278 h 430"/>
                <a:gd name="T28" fmla="*/ 170 w 340"/>
                <a:gd name="T29" fmla="*/ 300 h 430"/>
                <a:gd name="T30" fmla="*/ 132 w 340"/>
                <a:gd name="T31" fmla="*/ 347 h 430"/>
                <a:gd name="T32" fmla="*/ 133 w 340"/>
                <a:gd name="T33" fmla="*/ 397 h 430"/>
                <a:gd name="T34" fmla="*/ 181 w 340"/>
                <a:gd name="T35" fmla="*/ 410 h 430"/>
                <a:gd name="T36" fmla="*/ 184 w 340"/>
                <a:gd name="T37" fmla="*/ 375 h 430"/>
                <a:gd name="T38" fmla="*/ 198 w 340"/>
                <a:gd name="T39" fmla="*/ 374 h 430"/>
                <a:gd name="T40" fmla="*/ 215 w 340"/>
                <a:gd name="T41" fmla="*/ 416 h 430"/>
                <a:gd name="T42" fmla="*/ 240 w 340"/>
                <a:gd name="T43" fmla="*/ 406 h 430"/>
                <a:gd name="T44" fmla="*/ 230 w 340"/>
                <a:gd name="T45" fmla="*/ 341 h 430"/>
                <a:gd name="T46" fmla="*/ 250 w 340"/>
                <a:gd name="T47" fmla="*/ 322 h 430"/>
                <a:gd name="T48" fmla="*/ 268 w 340"/>
                <a:gd name="T49" fmla="*/ 373 h 430"/>
                <a:gd name="T50" fmla="*/ 316 w 340"/>
                <a:gd name="T51" fmla="*/ 385 h 430"/>
                <a:gd name="T52" fmla="*/ 295 w 340"/>
                <a:gd name="T53" fmla="*/ 310 h 430"/>
                <a:gd name="T54" fmla="*/ 263 w 340"/>
                <a:gd name="T55" fmla="*/ 288 h 430"/>
                <a:gd name="T56" fmla="*/ 264 w 340"/>
                <a:gd name="T57" fmla="*/ 259 h 430"/>
                <a:gd name="T58" fmla="*/ 265 w 340"/>
                <a:gd name="T59" fmla="*/ 233 h 430"/>
                <a:gd name="T60" fmla="*/ 300 w 340"/>
                <a:gd name="T61" fmla="*/ 199 h 430"/>
                <a:gd name="T62" fmla="*/ 275 w 340"/>
                <a:gd name="T63" fmla="*/ 161 h 430"/>
                <a:gd name="T64" fmla="*/ 217 w 340"/>
                <a:gd name="T65" fmla="*/ 159 h 430"/>
                <a:gd name="T66" fmla="*/ 270 w 340"/>
                <a:gd name="T67" fmla="*/ 132 h 430"/>
                <a:gd name="T68" fmla="*/ 316 w 340"/>
                <a:gd name="T69" fmla="*/ 126 h 430"/>
                <a:gd name="T70" fmla="*/ 332 w 340"/>
                <a:gd name="T71" fmla="*/ 110 h 430"/>
                <a:gd name="T72" fmla="*/ 321 w 340"/>
                <a:gd name="T73" fmla="*/ 75 h 430"/>
                <a:gd name="T74" fmla="*/ 256 w 340"/>
                <a:gd name="T75" fmla="*/ 74 h 430"/>
                <a:gd name="T76" fmla="*/ 240 w 340"/>
                <a:gd name="T77" fmla="*/ 51 h 430"/>
                <a:gd name="T78" fmla="*/ 212 w 340"/>
                <a:gd name="T79" fmla="*/ 9 h 430"/>
                <a:gd name="T80" fmla="*/ 190 w 340"/>
                <a:gd name="T81" fmla="*/ 6 h 430"/>
                <a:gd name="T82" fmla="*/ 174 w 340"/>
                <a:gd name="T83" fmla="*/ 34 h 430"/>
                <a:gd name="T84" fmla="*/ 183 w 340"/>
                <a:gd name="T85" fmla="*/ 70 h 430"/>
                <a:gd name="T86" fmla="*/ 172 w 340"/>
                <a:gd name="T87" fmla="*/ 98 h 430"/>
                <a:gd name="T88" fmla="*/ 65 w 340"/>
                <a:gd name="T89" fmla="*/ 161 h 430"/>
                <a:gd name="T90" fmla="*/ 21 w 340"/>
                <a:gd name="T91" fmla="*/ 171 h 430"/>
                <a:gd name="T92" fmla="*/ 10 w 340"/>
                <a:gd name="T93" fmla="*/ 198 h 430"/>
                <a:gd name="T94" fmla="*/ 33 w 340"/>
                <a:gd name="T95" fmla="*/ 228 h 4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340" h="430">
                  <a:moveTo>
                    <a:pt x="194" y="225"/>
                  </a:moveTo>
                  <a:cubicBezTo>
                    <a:pt x="194" y="225"/>
                    <a:pt x="178" y="212"/>
                    <a:pt x="189" y="204"/>
                  </a:cubicBezTo>
                  <a:cubicBezTo>
                    <a:pt x="201" y="196"/>
                    <a:pt x="211" y="188"/>
                    <a:pt x="222" y="196"/>
                  </a:cubicBezTo>
                  <a:cubicBezTo>
                    <a:pt x="234" y="203"/>
                    <a:pt x="238" y="207"/>
                    <a:pt x="234" y="215"/>
                  </a:cubicBezTo>
                  <a:cubicBezTo>
                    <a:pt x="230" y="222"/>
                    <a:pt x="228" y="229"/>
                    <a:pt x="217" y="231"/>
                  </a:cubicBezTo>
                  <a:cubicBezTo>
                    <a:pt x="204" y="230"/>
                    <a:pt x="194" y="225"/>
                    <a:pt x="194" y="225"/>
                  </a:cubicBezTo>
                  <a:close/>
                  <a:moveTo>
                    <a:pt x="33" y="228"/>
                  </a:moveTo>
                  <a:cubicBezTo>
                    <a:pt x="40" y="229"/>
                    <a:pt x="52" y="231"/>
                    <a:pt x="67" y="224"/>
                  </a:cubicBezTo>
                  <a:cubicBezTo>
                    <a:pt x="82" y="216"/>
                    <a:pt x="91" y="208"/>
                    <a:pt x="105" y="194"/>
                  </a:cubicBezTo>
                  <a:cubicBezTo>
                    <a:pt x="119" y="180"/>
                    <a:pt x="153" y="155"/>
                    <a:pt x="164" y="151"/>
                  </a:cubicBezTo>
                  <a:cubicBezTo>
                    <a:pt x="176" y="146"/>
                    <a:pt x="176" y="155"/>
                    <a:pt x="170" y="163"/>
                  </a:cubicBezTo>
                  <a:cubicBezTo>
                    <a:pt x="164" y="171"/>
                    <a:pt x="150" y="188"/>
                    <a:pt x="144" y="203"/>
                  </a:cubicBezTo>
                  <a:cubicBezTo>
                    <a:pt x="139" y="218"/>
                    <a:pt x="134" y="224"/>
                    <a:pt x="142" y="250"/>
                  </a:cubicBezTo>
                  <a:cubicBezTo>
                    <a:pt x="149" y="275"/>
                    <a:pt x="160" y="275"/>
                    <a:pt x="166" y="278"/>
                  </a:cubicBezTo>
                  <a:cubicBezTo>
                    <a:pt x="172" y="281"/>
                    <a:pt x="176" y="301"/>
                    <a:pt x="170" y="300"/>
                  </a:cubicBezTo>
                  <a:cubicBezTo>
                    <a:pt x="164" y="299"/>
                    <a:pt x="136" y="327"/>
                    <a:pt x="132" y="347"/>
                  </a:cubicBezTo>
                  <a:cubicBezTo>
                    <a:pt x="127" y="366"/>
                    <a:pt x="123" y="375"/>
                    <a:pt x="133" y="397"/>
                  </a:cubicBezTo>
                  <a:cubicBezTo>
                    <a:pt x="144" y="419"/>
                    <a:pt x="174" y="413"/>
                    <a:pt x="181" y="410"/>
                  </a:cubicBezTo>
                  <a:cubicBezTo>
                    <a:pt x="189" y="407"/>
                    <a:pt x="185" y="395"/>
                    <a:pt x="184" y="375"/>
                  </a:cubicBezTo>
                  <a:cubicBezTo>
                    <a:pt x="182" y="355"/>
                    <a:pt x="192" y="364"/>
                    <a:pt x="198" y="374"/>
                  </a:cubicBezTo>
                  <a:cubicBezTo>
                    <a:pt x="204" y="384"/>
                    <a:pt x="203" y="402"/>
                    <a:pt x="215" y="416"/>
                  </a:cubicBezTo>
                  <a:cubicBezTo>
                    <a:pt x="226" y="430"/>
                    <a:pt x="235" y="419"/>
                    <a:pt x="240" y="406"/>
                  </a:cubicBezTo>
                  <a:cubicBezTo>
                    <a:pt x="245" y="393"/>
                    <a:pt x="232" y="357"/>
                    <a:pt x="230" y="341"/>
                  </a:cubicBezTo>
                  <a:cubicBezTo>
                    <a:pt x="229" y="326"/>
                    <a:pt x="238" y="322"/>
                    <a:pt x="250" y="322"/>
                  </a:cubicBezTo>
                  <a:cubicBezTo>
                    <a:pt x="262" y="322"/>
                    <a:pt x="248" y="347"/>
                    <a:pt x="268" y="373"/>
                  </a:cubicBezTo>
                  <a:cubicBezTo>
                    <a:pt x="287" y="399"/>
                    <a:pt x="292" y="396"/>
                    <a:pt x="316" y="385"/>
                  </a:cubicBezTo>
                  <a:cubicBezTo>
                    <a:pt x="340" y="375"/>
                    <a:pt x="311" y="327"/>
                    <a:pt x="295" y="310"/>
                  </a:cubicBezTo>
                  <a:cubicBezTo>
                    <a:pt x="279" y="294"/>
                    <a:pt x="263" y="294"/>
                    <a:pt x="263" y="288"/>
                  </a:cubicBezTo>
                  <a:cubicBezTo>
                    <a:pt x="263" y="282"/>
                    <a:pt x="266" y="267"/>
                    <a:pt x="264" y="259"/>
                  </a:cubicBezTo>
                  <a:cubicBezTo>
                    <a:pt x="262" y="251"/>
                    <a:pt x="258" y="239"/>
                    <a:pt x="265" y="233"/>
                  </a:cubicBezTo>
                  <a:cubicBezTo>
                    <a:pt x="273" y="226"/>
                    <a:pt x="301" y="222"/>
                    <a:pt x="300" y="199"/>
                  </a:cubicBezTo>
                  <a:cubicBezTo>
                    <a:pt x="299" y="177"/>
                    <a:pt x="294" y="175"/>
                    <a:pt x="275" y="161"/>
                  </a:cubicBezTo>
                  <a:cubicBezTo>
                    <a:pt x="257" y="148"/>
                    <a:pt x="216" y="168"/>
                    <a:pt x="217" y="159"/>
                  </a:cubicBezTo>
                  <a:cubicBezTo>
                    <a:pt x="218" y="150"/>
                    <a:pt x="250" y="138"/>
                    <a:pt x="270" y="132"/>
                  </a:cubicBezTo>
                  <a:cubicBezTo>
                    <a:pt x="290" y="125"/>
                    <a:pt x="306" y="126"/>
                    <a:pt x="316" y="126"/>
                  </a:cubicBezTo>
                  <a:cubicBezTo>
                    <a:pt x="326" y="126"/>
                    <a:pt x="326" y="118"/>
                    <a:pt x="332" y="110"/>
                  </a:cubicBezTo>
                  <a:cubicBezTo>
                    <a:pt x="337" y="102"/>
                    <a:pt x="334" y="88"/>
                    <a:pt x="321" y="75"/>
                  </a:cubicBezTo>
                  <a:cubicBezTo>
                    <a:pt x="308" y="61"/>
                    <a:pt x="263" y="74"/>
                    <a:pt x="256" y="74"/>
                  </a:cubicBezTo>
                  <a:cubicBezTo>
                    <a:pt x="250" y="74"/>
                    <a:pt x="250" y="63"/>
                    <a:pt x="240" y="51"/>
                  </a:cubicBezTo>
                  <a:cubicBezTo>
                    <a:pt x="229" y="38"/>
                    <a:pt x="220" y="18"/>
                    <a:pt x="212" y="9"/>
                  </a:cubicBezTo>
                  <a:cubicBezTo>
                    <a:pt x="205" y="0"/>
                    <a:pt x="203" y="8"/>
                    <a:pt x="190" y="6"/>
                  </a:cubicBezTo>
                  <a:cubicBezTo>
                    <a:pt x="176" y="3"/>
                    <a:pt x="165" y="15"/>
                    <a:pt x="174" y="34"/>
                  </a:cubicBezTo>
                  <a:cubicBezTo>
                    <a:pt x="183" y="53"/>
                    <a:pt x="183" y="56"/>
                    <a:pt x="183" y="70"/>
                  </a:cubicBezTo>
                  <a:cubicBezTo>
                    <a:pt x="183" y="84"/>
                    <a:pt x="197" y="88"/>
                    <a:pt x="172" y="98"/>
                  </a:cubicBezTo>
                  <a:cubicBezTo>
                    <a:pt x="147" y="108"/>
                    <a:pt x="75" y="152"/>
                    <a:pt x="65" y="161"/>
                  </a:cubicBezTo>
                  <a:cubicBezTo>
                    <a:pt x="55" y="170"/>
                    <a:pt x="26" y="169"/>
                    <a:pt x="21" y="171"/>
                  </a:cubicBezTo>
                  <a:cubicBezTo>
                    <a:pt x="15" y="173"/>
                    <a:pt x="0" y="170"/>
                    <a:pt x="10" y="198"/>
                  </a:cubicBezTo>
                  <a:cubicBezTo>
                    <a:pt x="24" y="238"/>
                    <a:pt x="26" y="227"/>
                    <a:pt x="33" y="2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186" name="ïs1îḋè"/>
            <p:cNvSpPr/>
            <p:nvPr/>
          </p:nvSpPr>
          <p:spPr bwMode="auto">
            <a:xfrm>
              <a:off x="7263066" y="4780553"/>
              <a:ext cx="674688" cy="863600"/>
            </a:xfrm>
            <a:custGeom>
              <a:avLst/>
              <a:gdLst>
                <a:gd name="T0" fmla="*/ 258 w 366"/>
                <a:gd name="T1" fmla="*/ 136 h 468"/>
                <a:gd name="T2" fmla="*/ 270 w 366"/>
                <a:gd name="T3" fmla="*/ 115 h 468"/>
                <a:gd name="T4" fmla="*/ 287 w 366"/>
                <a:gd name="T5" fmla="*/ 153 h 468"/>
                <a:gd name="T6" fmla="*/ 200 w 366"/>
                <a:gd name="T7" fmla="*/ 103 h 468"/>
                <a:gd name="T8" fmla="*/ 227 w 366"/>
                <a:gd name="T9" fmla="*/ 122 h 468"/>
                <a:gd name="T10" fmla="*/ 225 w 366"/>
                <a:gd name="T11" fmla="*/ 167 h 468"/>
                <a:gd name="T12" fmla="*/ 215 w 366"/>
                <a:gd name="T13" fmla="*/ 201 h 468"/>
                <a:gd name="T14" fmla="*/ 197 w 366"/>
                <a:gd name="T15" fmla="*/ 167 h 468"/>
                <a:gd name="T16" fmla="*/ 204 w 366"/>
                <a:gd name="T17" fmla="*/ 133 h 468"/>
                <a:gd name="T18" fmla="*/ 200 w 366"/>
                <a:gd name="T19" fmla="*/ 103 h 468"/>
                <a:gd name="T20" fmla="*/ 271 w 366"/>
                <a:gd name="T21" fmla="*/ 175 h 468"/>
                <a:gd name="T22" fmla="*/ 286 w 366"/>
                <a:gd name="T23" fmla="*/ 190 h 468"/>
                <a:gd name="T24" fmla="*/ 146 w 366"/>
                <a:gd name="T25" fmla="*/ 109 h 468"/>
                <a:gd name="T26" fmla="*/ 87 w 366"/>
                <a:gd name="T27" fmla="*/ 173 h 468"/>
                <a:gd name="T28" fmla="*/ 7 w 366"/>
                <a:gd name="T29" fmla="*/ 236 h 468"/>
                <a:gd name="T30" fmla="*/ 111 w 366"/>
                <a:gd name="T31" fmla="*/ 239 h 468"/>
                <a:gd name="T32" fmla="*/ 108 w 366"/>
                <a:gd name="T33" fmla="*/ 279 h 468"/>
                <a:gd name="T34" fmla="*/ 110 w 366"/>
                <a:gd name="T35" fmla="*/ 332 h 468"/>
                <a:gd name="T36" fmla="*/ 139 w 366"/>
                <a:gd name="T37" fmla="*/ 316 h 468"/>
                <a:gd name="T38" fmla="*/ 159 w 366"/>
                <a:gd name="T39" fmla="*/ 326 h 468"/>
                <a:gd name="T40" fmla="*/ 189 w 366"/>
                <a:gd name="T41" fmla="*/ 330 h 468"/>
                <a:gd name="T42" fmla="*/ 217 w 366"/>
                <a:gd name="T43" fmla="*/ 281 h 468"/>
                <a:gd name="T44" fmla="*/ 284 w 366"/>
                <a:gd name="T45" fmla="*/ 237 h 468"/>
                <a:gd name="T46" fmla="*/ 287 w 366"/>
                <a:gd name="T47" fmla="*/ 396 h 468"/>
                <a:gd name="T48" fmla="*/ 284 w 366"/>
                <a:gd name="T49" fmla="*/ 461 h 468"/>
                <a:gd name="T50" fmla="*/ 319 w 366"/>
                <a:gd name="T51" fmla="*/ 393 h 468"/>
                <a:gd name="T52" fmla="*/ 327 w 366"/>
                <a:gd name="T53" fmla="*/ 227 h 468"/>
                <a:gd name="T54" fmla="*/ 363 w 366"/>
                <a:gd name="T55" fmla="*/ 202 h 468"/>
                <a:gd name="T56" fmla="*/ 324 w 366"/>
                <a:gd name="T57" fmla="*/ 162 h 468"/>
                <a:gd name="T58" fmla="*/ 330 w 366"/>
                <a:gd name="T59" fmla="*/ 85 h 468"/>
                <a:gd name="T60" fmla="*/ 324 w 366"/>
                <a:gd name="T61" fmla="*/ 23 h 468"/>
                <a:gd name="T62" fmla="*/ 275 w 366"/>
                <a:gd name="T63" fmla="*/ 29 h 468"/>
                <a:gd name="T64" fmla="*/ 286 w 366"/>
                <a:gd name="T65" fmla="*/ 69 h 468"/>
                <a:gd name="T66" fmla="*/ 253 w 366"/>
                <a:gd name="T67" fmla="*/ 65 h 468"/>
                <a:gd name="T68" fmla="*/ 212 w 366"/>
                <a:gd name="T69" fmla="*/ 52 h 468"/>
                <a:gd name="T70" fmla="*/ 115 w 366"/>
                <a:gd name="T71" fmla="*/ 68 h 468"/>
                <a:gd name="T72" fmla="*/ 30 w 366"/>
                <a:gd name="T73" fmla="*/ 163 h 468"/>
                <a:gd name="T74" fmla="*/ 96 w 366"/>
                <a:gd name="T75" fmla="*/ 132 h 4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366" h="468">
                  <a:moveTo>
                    <a:pt x="270" y="152"/>
                  </a:moveTo>
                  <a:cubicBezTo>
                    <a:pt x="270" y="152"/>
                    <a:pt x="273" y="146"/>
                    <a:pt x="258" y="136"/>
                  </a:cubicBezTo>
                  <a:cubicBezTo>
                    <a:pt x="242" y="126"/>
                    <a:pt x="247" y="126"/>
                    <a:pt x="254" y="122"/>
                  </a:cubicBezTo>
                  <a:cubicBezTo>
                    <a:pt x="261" y="119"/>
                    <a:pt x="262" y="114"/>
                    <a:pt x="270" y="115"/>
                  </a:cubicBezTo>
                  <a:cubicBezTo>
                    <a:pt x="279" y="116"/>
                    <a:pt x="285" y="112"/>
                    <a:pt x="287" y="120"/>
                  </a:cubicBezTo>
                  <a:cubicBezTo>
                    <a:pt x="289" y="128"/>
                    <a:pt x="291" y="151"/>
                    <a:pt x="287" y="153"/>
                  </a:cubicBezTo>
                  <a:cubicBezTo>
                    <a:pt x="284" y="155"/>
                    <a:pt x="271" y="153"/>
                    <a:pt x="270" y="152"/>
                  </a:cubicBezTo>
                  <a:close/>
                  <a:moveTo>
                    <a:pt x="200" y="103"/>
                  </a:moveTo>
                  <a:cubicBezTo>
                    <a:pt x="200" y="99"/>
                    <a:pt x="207" y="96"/>
                    <a:pt x="216" y="102"/>
                  </a:cubicBezTo>
                  <a:cubicBezTo>
                    <a:pt x="225" y="108"/>
                    <a:pt x="228" y="113"/>
                    <a:pt x="227" y="122"/>
                  </a:cubicBezTo>
                  <a:cubicBezTo>
                    <a:pt x="225" y="131"/>
                    <a:pt x="222" y="135"/>
                    <a:pt x="223" y="145"/>
                  </a:cubicBezTo>
                  <a:cubicBezTo>
                    <a:pt x="223" y="156"/>
                    <a:pt x="217" y="162"/>
                    <a:pt x="225" y="167"/>
                  </a:cubicBezTo>
                  <a:cubicBezTo>
                    <a:pt x="232" y="173"/>
                    <a:pt x="235" y="171"/>
                    <a:pt x="233" y="185"/>
                  </a:cubicBezTo>
                  <a:cubicBezTo>
                    <a:pt x="231" y="202"/>
                    <a:pt x="214" y="210"/>
                    <a:pt x="215" y="201"/>
                  </a:cubicBezTo>
                  <a:cubicBezTo>
                    <a:pt x="215" y="192"/>
                    <a:pt x="220" y="185"/>
                    <a:pt x="213" y="176"/>
                  </a:cubicBezTo>
                  <a:cubicBezTo>
                    <a:pt x="205" y="167"/>
                    <a:pt x="204" y="178"/>
                    <a:pt x="197" y="167"/>
                  </a:cubicBezTo>
                  <a:cubicBezTo>
                    <a:pt x="191" y="155"/>
                    <a:pt x="195" y="154"/>
                    <a:pt x="199" y="152"/>
                  </a:cubicBezTo>
                  <a:cubicBezTo>
                    <a:pt x="204" y="149"/>
                    <a:pt x="209" y="147"/>
                    <a:pt x="204" y="133"/>
                  </a:cubicBezTo>
                  <a:cubicBezTo>
                    <a:pt x="199" y="119"/>
                    <a:pt x="198" y="127"/>
                    <a:pt x="197" y="119"/>
                  </a:cubicBezTo>
                  <a:cubicBezTo>
                    <a:pt x="196" y="112"/>
                    <a:pt x="200" y="107"/>
                    <a:pt x="200" y="103"/>
                  </a:cubicBezTo>
                  <a:close/>
                  <a:moveTo>
                    <a:pt x="246" y="206"/>
                  </a:moveTo>
                  <a:cubicBezTo>
                    <a:pt x="243" y="205"/>
                    <a:pt x="264" y="181"/>
                    <a:pt x="271" y="175"/>
                  </a:cubicBezTo>
                  <a:cubicBezTo>
                    <a:pt x="277" y="170"/>
                    <a:pt x="289" y="166"/>
                    <a:pt x="288" y="173"/>
                  </a:cubicBezTo>
                  <a:cubicBezTo>
                    <a:pt x="287" y="180"/>
                    <a:pt x="291" y="185"/>
                    <a:pt x="286" y="190"/>
                  </a:cubicBezTo>
                  <a:cubicBezTo>
                    <a:pt x="282" y="195"/>
                    <a:pt x="250" y="207"/>
                    <a:pt x="246" y="206"/>
                  </a:cubicBezTo>
                  <a:close/>
                  <a:moveTo>
                    <a:pt x="146" y="109"/>
                  </a:moveTo>
                  <a:cubicBezTo>
                    <a:pt x="146" y="114"/>
                    <a:pt x="141" y="124"/>
                    <a:pt x="134" y="134"/>
                  </a:cubicBezTo>
                  <a:cubicBezTo>
                    <a:pt x="127" y="144"/>
                    <a:pt x="103" y="162"/>
                    <a:pt x="87" y="173"/>
                  </a:cubicBezTo>
                  <a:cubicBezTo>
                    <a:pt x="70" y="183"/>
                    <a:pt x="23" y="206"/>
                    <a:pt x="16" y="212"/>
                  </a:cubicBezTo>
                  <a:cubicBezTo>
                    <a:pt x="10" y="218"/>
                    <a:pt x="0" y="213"/>
                    <a:pt x="7" y="236"/>
                  </a:cubicBezTo>
                  <a:cubicBezTo>
                    <a:pt x="13" y="258"/>
                    <a:pt x="24" y="253"/>
                    <a:pt x="55" y="252"/>
                  </a:cubicBezTo>
                  <a:cubicBezTo>
                    <a:pt x="85" y="250"/>
                    <a:pt x="106" y="237"/>
                    <a:pt x="111" y="239"/>
                  </a:cubicBezTo>
                  <a:cubicBezTo>
                    <a:pt x="116" y="242"/>
                    <a:pt x="119" y="251"/>
                    <a:pt x="119" y="259"/>
                  </a:cubicBezTo>
                  <a:cubicBezTo>
                    <a:pt x="120" y="266"/>
                    <a:pt x="116" y="270"/>
                    <a:pt x="108" y="279"/>
                  </a:cubicBezTo>
                  <a:cubicBezTo>
                    <a:pt x="100" y="288"/>
                    <a:pt x="100" y="303"/>
                    <a:pt x="100" y="311"/>
                  </a:cubicBezTo>
                  <a:cubicBezTo>
                    <a:pt x="101" y="318"/>
                    <a:pt x="104" y="325"/>
                    <a:pt x="110" y="332"/>
                  </a:cubicBezTo>
                  <a:cubicBezTo>
                    <a:pt x="117" y="338"/>
                    <a:pt x="119" y="333"/>
                    <a:pt x="127" y="333"/>
                  </a:cubicBezTo>
                  <a:cubicBezTo>
                    <a:pt x="134" y="332"/>
                    <a:pt x="138" y="323"/>
                    <a:pt x="139" y="316"/>
                  </a:cubicBezTo>
                  <a:cubicBezTo>
                    <a:pt x="140" y="308"/>
                    <a:pt x="148" y="313"/>
                    <a:pt x="155" y="314"/>
                  </a:cubicBezTo>
                  <a:cubicBezTo>
                    <a:pt x="161" y="316"/>
                    <a:pt x="158" y="318"/>
                    <a:pt x="159" y="326"/>
                  </a:cubicBezTo>
                  <a:cubicBezTo>
                    <a:pt x="159" y="334"/>
                    <a:pt x="159" y="336"/>
                    <a:pt x="168" y="339"/>
                  </a:cubicBezTo>
                  <a:cubicBezTo>
                    <a:pt x="177" y="343"/>
                    <a:pt x="178" y="342"/>
                    <a:pt x="189" y="330"/>
                  </a:cubicBezTo>
                  <a:cubicBezTo>
                    <a:pt x="199" y="319"/>
                    <a:pt x="187" y="291"/>
                    <a:pt x="193" y="292"/>
                  </a:cubicBezTo>
                  <a:cubicBezTo>
                    <a:pt x="198" y="293"/>
                    <a:pt x="209" y="289"/>
                    <a:pt x="217" y="281"/>
                  </a:cubicBezTo>
                  <a:cubicBezTo>
                    <a:pt x="225" y="273"/>
                    <a:pt x="232" y="272"/>
                    <a:pt x="243" y="263"/>
                  </a:cubicBezTo>
                  <a:cubicBezTo>
                    <a:pt x="253" y="254"/>
                    <a:pt x="278" y="233"/>
                    <a:pt x="284" y="237"/>
                  </a:cubicBezTo>
                  <a:cubicBezTo>
                    <a:pt x="290" y="240"/>
                    <a:pt x="285" y="282"/>
                    <a:pt x="286" y="321"/>
                  </a:cubicBezTo>
                  <a:cubicBezTo>
                    <a:pt x="288" y="361"/>
                    <a:pt x="286" y="379"/>
                    <a:pt x="287" y="396"/>
                  </a:cubicBezTo>
                  <a:cubicBezTo>
                    <a:pt x="289" y="413"/>
                    <a:pt x="278" y="425"/>
                    <a:pt x="278" y="434"/>
                  </a:cubicBezTo>
                  <a:cubicBezTo>
                    <a:pt x="277" y="443"/>
                    <a:pt x="278" y="454"/>
                    <a:pt x="284" y="461"/>
                  </a:cubicBezTo>
                  <a:cubicBezTo>
                    <a:pt x="291" y="468"/>
                    <a:pt x="296" y="458"/>
                    <a:pt x="305" y="449"/>
                  </a:cubicBezTo>
                  <a:cubicBezTo>
                    <a:pt x="314" y="440"/>
                    <a:pt x="315" y="424"/>
                    <a:pt x="319" y="393"/>
                  </a:cubicBezTo>
                  <a:cubicBezTo>
                    <a:pt x="323" y="362"/>
                    <a:pt x="318" y="269"/>
                    <a:pt x="320" y="252"/>
                  </a:cubicBezTo>
                  <a:cubicBezTo>
                    <a:pt x="321" y="236"/>
                    <a:pt x="323" y="232"/>
                    <a:pt x="327" y="227"/>
                  </a:cubicBezTo>
                  <a:cubicBezTo>
                    <a:pt x="332" y="222"/>
                    <a:pt x="332" y="212"/>
                    <a:pt x="340" y="211"/>
                  </a:cubicBezTo>
                  <a:cubicBezTo>
                    <a:pt x="349" y="210"/>
                    <a:pt x="360" y="212"/>
                    <a:pt x="363" y="202"/>
                  </a:cubicBezTo>
                  <a:cubicBezTo>
                    <a:pt x="366" y="192"/>
                    <a:pt x="364" y="182"/>
                    <a:pt x="358" y="177"/>
                  </a:cubicBezTo>
                  <a:cubicBezTo>
                    <a:pt x="352" y="172"/>
                    <a:pt x="326" y="167"/>
                    <a:pt x="324" y="162"/>
                  </a:cubicBezTo>
                  <a:cubicBezTo>
                    <a:pt x="322" y="158"/>
                    <a:pt x="323" y="119"/>
                    <a:pt x="322" y="108"/>
                  </a:cubicBezTo>
                  <a:cubicBezTo>
                    <a:pt x="322" y="96"/>
                    <a:pt x="324" y="98"/>
                    <a:pt x="330" y="85"/>
                  </a:cubicBezTo>
                  <a:cubicBezTo>
                    <a:pt x="336" y="73"/>
                    <a:pt x="333" y="65"/>
                    <a:pt x="334" y="48"/>
                  </a:cubicBezTo>
                  <a:cubicBezTo>
                    <a:pt x="334" y="32"/>
                    <a:pt x="334" y="33"/>
                    <a:pt x="324" y="23"/>
                  </a:cubicBezTo>
                  <a:cubicBezTo>
                    <a:pt x="315" y="14"/>
                    <a:pt x="306" y="6"/>
                    <a:pt x="292" y="3"/>
                  </a:cubicBezTo>
                  <a:cubicBezTo>
                    <a:pt x="278" y="0"/>
                    <a:pt x="274" y="12"/>
                    <a:pt x="275" y="29"/>
                  </a:cubicBezTo>
                  <a:cubicBezTo>
                    <a:pt x="275" y="47"/>
                    <a:pt x="278" y="37"/>
                    <a:pt x="282" y="43"/>
                  </a:cubicBezTo>
                  <a:cubicBezTo>
                    <a:pt x="286" y="49"/>
                    <a:pt x="285" y="62"/>
                    <a:pt x="286" y="69"/>
                  </a:cubicBezTo>
                  <a:cubicBezTo>
                    <a:pt x="287" y="76"/>
                    <a:pt x="283" y="77"/>
                    <a:pt x="274" y="77"/>
                  </a:cubicBezTo>
                  <a:cubicBezTo>
                    <a:pt x="265" y="78"/>
                    <a:pt x="268" y="69"/>
                    <a:pt x="253" y="65"/>
                  </a:cubicBezTo>
                  <a:cubicBezTo>
                    <a:pt x="238" y="60"/>
                    <a:pt x="225" y="74"/>
                    <a:pt x="218" y="72"/>
                  </a:cubicBezTo>
                  <a:cubicBezTo>
                    <a:pt x="212" y="71"/>
                    <a:pt x="215" y="68"/>
                    <a:pt x="212" y="52"/>
                  </a:cubicBezTo>
                  <a:cubicBezTo>
                    <a:pt x="209" y="36"/>
                    <a:pt x="191" y="26"/>
                    <a:pt x="177" y="26"/>
                  </a:cubicBezTo>
                  <a:cubicBezTo>
                    <a:pt x="164" y="26"/>
                    <a:pt x="135" y="52"/>
                    <a:pt x="115" y="68"/>
                  </a:cubicBezTo>
                  <a:cubicBezTo>
                    <a:pt x="96" y="84"/>
                    <a:pt x="55" y="129"/>
                    <a:pt x="47" y="139"/>
                  </a:cubicBezTo>
                  <a:cubicBezTo>
                    <a:pt x="39" y="149"/>
                    <a:pt x="30" y="156"/>
                    <a:pt x="30" y="163"/>
                  </a:cubicBezTo>
                  <a:cubicBezTo>
                    <a:pt x="30" y="170"/>
                    <a:pt x="28" y="170"/>
                    <a:pt x="39" y="172"/>
                  </a:cubicBezTo>
                  <a:cubicBezTo>
                    <a:pt x="49" y="174"/>
                    <a:pt x="64" y="154"/>
                    <a:pt x="96" y="132"/>
                  </a:cubicBezTo>
                  <a:cubicBezTo>
                    <a:pt x="128" y="110"/>
                    <a:pt x="147" y="103"/>
                    <a:pt x="146" y="10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187" name="îš1ïdè"/>
            <p:cNvSpPr/>
            <p:nvPr/>
          </p:nvSpPr>
          <p:spPr bwMode="auto">
            <a:xfrm>
              <a:off x="5180266" y="4845640"/>
              <a:ext cx="635000" cy="660400"/>
            </a:xfrm>
            <a:custGeom>
              <a:avLst/>
              <a:gdLst>
                <a:gd name="T0" fmla="*/ 5 w 344"/>
                <a:gd name="T1" fmla="*/ 147 h 358"/>
                <a:gd name="T2" fmla="*/ 38 w 344"/>
                <a:gd name="T3" fmla="*/ 142 h 358"/>
                <a:gd name="T4" fmla="*/ 53 w 344"/>
                <a:gd name="T5" fmla="*/ 125 h 358"/>
                <a:gd name="T6" fmla="*/ 43 w 344"/>
                <a:gd name="T7" fmla="*/ 70 h 358"/>
                <a:gd name="T8" fmla="*/ 48 w 344"/>
                <a:gd name="T9" fmla="*/ 43 h 358"/>
                <a:gd name="T10" fmla="*/ 76 w 344"/>
                <a:gd name="T11" fmla="*/ 45 h 358"/>
                <a:gd name="T12" fmla="*/ 122 w 344"/>
                <a:gd name="T13" fmla="*/ 89 h 358"/>
                <a:gd name="T14" fmla="*/ 122 w 344"/>
                <a:gd name="T15" fmla="*/ 185 h 358"/>
                <a:gd name="T16" fmla="*/ 141 w 344"/>
                <a:gd name="T17" fmla="*/ 192 h 358"/>
                <a:gd name="T18" fmla="*/ 231 w 344"/>
                <a:gd name="T19" fmla="*/ 135 h 358"/>
                <a:gd name="T20" fmla="*/ 241 w 344"/>
                <a:gd name="T21" fmla="*/ 87 h 358"/>
                <a:gd name="T22" fmla="*/ 234 w 344"/>
                <a:gd name="T23" fmla="*/ 48 h 358"/>
                <a:gd name="T24" fmla="*/ 263 w 344"/>
                <a:gd name="T25" fmla="*/ 17 h 358"/>
                <a:gd name="T26" fmla="*/ 298 w 344"/>
                <a:gd name="T27" fmla="*/ 76 h 358"/>
                <a:gd name="T28" fmla="*/ 292 w 344"/>
                <a:gd name="T29" fmla="*/ 111 h 358"/>
                <a:gd name="T30" fmla="*/ 317 w 344"/>
                <a:gd name="T31" fmla="*/ 138 h 358"/>
                <a:gd name="T32" fmla="*/ 292 w 344"/>
                <a:gd name="T33" fmla="*/ 181 h 358"/>
                <a:gd name="T34" fmla="*/ 270 w 344"/>
                <a:gd name="T35" fmla="*/ 217 h 358"/>
                <a:gd name="T36" fmla="*/ 276 w 344"/>
                <a:gd name="T37" fmla="*/ 252 h 358"/>
                <a:gd name="T38" fmla="*/ 334 w 344"/>
                <a:gd name="T39" fmla="*/ 270 h 358"/>
                <a:gd name="T40" fmla="*/ 333 w 344"/>
                <a:gd name="T41" fmla="*/ 304 h 358"/>
                <a:gd name="T42" fmla="*/ 226 w 344"/>
                <a:gd name="T43" fmla="*/ 338 h 358"/>
                <a:gd name="T44" fmla="*/ 166 w 344"/>
                <a:gd name="T45" fmla="*/ 352 h 358"/>
                <a:gd name="T46" fmla="*/ 191 w 344"/>
                <a:gd name="T47" fmla="*/ 319 h 358"/>
                <a:gd name="T48" fmla="*/ 228 w 344"/>
                <a:gd name="T49" fmla="*/ 287 h 358"/>
                <a:gd name="T50" fmla="*/ 231 w 344"/>
                <a:gd name="T51" fmla="*/ 223 h 358"/>
                <a:gd name="T52" fmla="*/ 194 w 344"/>
                <a:gd name="T53" fmla="*/ 194 h 358"/>
                <a:gd name="T54" fmla="*/ 152 w 344"/>
                <a:gd name="T55" fmla="*/ 228 h 358"/>
                <a:gd name="T56" fmla="*/ 55 w 344"/>
                <a:gd name="T57" fmla="*/ 337 h 358"/>
                <a:gd name="T58" fmla="*/ 21 w 344"/>
                <a:gd name="T59" fmla="*/ 316 h 358"/>
                <a:gd name="T60" fmla="*/ 30 w 344"/>
                <a:gd name="T61" fmla="*/ 260 h 358"/>
                <a:gd name="T62" fmla="*/ 53 w 344"/>
                <a:gd name="T63" fmla="*/ 228 h 358"/>
                <a:gd name="T64" fmla="*/ 37 w 344"/>
                <a:gd name="T65" fmla="*/ 201 h 358"/>
                <a:gd name="T66" fmla="*/ 1 w 344"/>
                <a:gd name="T67" fmla="*/ 170 h 358"/>
                <a:gd name="T68" fmla="*/ 5 w 344"/>
                <a:gd name="T69" fmla="*/ 147 h 3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344" h="358">
                  <a:moveTo>
                    <a:pt x="5" y="147"/>
                  </a:moveTo>
                  <a:cubicBezTo>
                    <a:pt x="6" y="143"/>
                    <a:pt x="22" y="140"/>
                    <a:pt x="38" y="142"/>
                  </a:cubicBezTo>
                  <a:cubicBezTo>
                    <a:pt x="54" y="144"/>
                    <a:pt x="53" y="137"/>
                    <a:pt x="53" y="125"/>
                  </a:cubicBezTo>
                  <a:cubicBezTo>
                    <a:pt x="53" y="112"/>
                    <a:pt x="60" y="89"/>
                    <a:pt x="43" y="70"/>
                  </a:cubicBezTo>
                  <a:cubicBezTo>
                    <a:pt x="25" y="52"/>
                    <a:pt x="48" y="43"/>
                    <a:pt x="48" y="43"/>
                  </a:cubicBezTo>
                  <a:cubicBezTo>
                    <a:pt x="48" y="43"/>
                    <a:pt x="55" y="32"/>
                    <a:pt x="76" y="45"/>
                  </a:cubicBezTo>
                  <a:cubicBezTo>
                    <a:pt x="97" y="58"/>
                    <a:pt x="115" y="74"/>
                    <a:pt x="122" y="89"/>
                  </a:cubicBezTo>
                  <a:cubicBezTo>
                    <a:pt x="129" y="104"/>
                    <a:pt x="118" y="174"/>
                    <a:pt x="122" y="185"/>
                  </a:cubicBezTo>
                  <a:cubicBezTo>
                    <a:pt x="125" y="195"/>
                    <a:pt x="130" y="200"/>
                    <a:pt x="141" y="192"/>
                  </a:cubicBezTo>
                  <a:cubicBezTo>
                    <a:pt x="153" y="183"/>
                    <a:pt x="214" y="138"/>
                    <a:pt x="231" y="135"/>
                  </a:cubicBezTo>
                  <a:cubicBezTo>
                    <a:pt x="249" y="132"/>
                    <a:pt x="241" y="103"/>
                    <a:pt x="241" y="87"/>
                  </a:cubicBezTo>
                  <a:cubicBezTo>
                    <a:pt x="242" y="70"/>
                    <a:pt x="234" y="59"/>
                    <a:pt x="234" y="48"/>
                  </a:cubicBezTo>
                  <a:cubicBezTo>
                    <a:pt x="234" y="36"/>
                    <a:pt x="247" y="0"/>
                    <a:pt x="263" y="17"/>
                  </a:cubicBezTo>
                  <a:cubicBezTo>
                    <a:pt x="279" y="35"/>
                    <a:pt x="303" y="58"/>
                    <a:pt x="298" y="76"/>
                  </a:cubicBezTo>
                  <a:cubicBezTo>
                    <a:pt x="294" y="95"/>
                    <a:pt x="283" y="92"/>
                    <a:pt x="292" y="111"/>
                  </a:cubicBezTo>
                  <a:cubicBezTo>
                    <a:pt x="301" y="129"/>
                    <a:pt x="320" y="117"/>
                    <a:pt x="317" y="138"/>
                  </a:cubicBezTo>
                  <a:cubicBezTo>
                    <a:pt x="315" y="160"/>
                    <a:pt x="321" y="149"/>
                    <a:pt x="292" y="181"/>
                  </a:cubicBezTo>
                  <a:cubicBezTo>
                    <a:pt x="268" y="209"/>
                    <a:pt x="270" y="208"/>
                    <a:pt x="270" y="217"/>
                  </a:cubicBezTo>
                  <a:cubicBezTo>
                    <a:pt x="270" y="226"/>
                    <a:pt x="266" y="249"/>
                    <a:pt x="276" y="252"/>
                  </a:cubicBezTo>
                  <a:cubicBezTo>
                    <a:pt x="287" y="254"/>
                    <a:pt x="325" y="250"/>
                    <a:pt x="334" y="270"/>
                  </a:cubicBezTo>
                  <a:cubicBezTo>
                    <a:pt x="344" y="290"/>
                    <a:pt x="344" y="295"/>
                    <a:pt x="333" y="304"/>
                  </a:cubicBezTo>
                  <a:cubicBezTo>
                    <a:pt x="321" y="312"/>
                    <a:pt x="288" y="320"/>
                    <a:pt x="226" y="338"/>
                  </a:cubicBezTo>
                  <a:cubicBezTo>
                    <a:pt x="180" y="351"/>
                    <a:pt x="168" y="358"/>
                    <a:pt x="166" y="352"/>
                  </a:cubicBezTo>
                  <a:cubicBezTo>
                    <a:pt x="164" y="346"/>
                    <a:pt x="175" y="331"/>
                    <a:pt x="191" y="319"/>
                  </a:cubicBezTo>
                  <a:cubicBezTo>
                    <a:pt x="207" y="307"/>
                    <a:pt x="224" y="304"/>
                    <a:pt x="228" y="287"/>
                  </a:cubicBezTo>
                  <a:cubicBezTo>
                    <a:pt x="232" y="270"/>
                    <a:pt x="235" y="234"/>
                    <a:pt x="231" y="223"/>
                  </a:cubicBezTo>
                  <a:cubicBezTo>
                    <a:pt x="227" y="212"/>
                    <a:pt x="213" y="188"/>
                    <a:pt x="194" y="194"/>
                  </a:cubicBezTo>
                  <a:cubicBezTo>
                    <a:pt x="176" y="200"/>
                    <a:pt x="166" y="210"/>
                    <a:pt x="152" y="228"/>
                  </a:cubicBezTo>
                  <a:cubicBezTo>
                    <a:pt x="138" y="247"/>
                    <a:pt x="66" y="336"/>
                    <a:pt x="55" y="337"/>
                  </a:cubicBezTo>
                  <a:cubicBezTo>
                    <a:pt x="45" y="338"/>
                    <a:pt x="22" y="340"/>
                    <a:pt x="21" y="316"/>
                  </a:cubicBezTo>
                  <a:cubicBezTo>
                    <a:pt x="20" y="292"/>
                    <a:pt x="16" y="285"/>
                    <a:pt x="30" y="260"/>
                  </a:cubicBezTo>
                  <a:cubicBezTo>
                    <a:pt x="44" y="234"/>
                    <a:pt x="53" y="241"/>
                    <a:pt x="53" y="228"/>
                  </a:cubicBezTo>
                  <a:cubicBezTo>
                    <a:pt x="53" y="216"/>
                    <a:pt x="47" y="207"/>
                    <a:pt x="37" y="201"/>
                  </a:cubicBezTo>
                  <a:cubicBezTo>
                    <a:pt x="27" y="195"/>
                    <a:pt x="2" y="182"/>
                    <a:pt x="1" y="170"/>
                  </a:cubicBezTo>
                  <a:cubicBezTo>
                    <a:pt x="0" y="157"/>
                    <a:pt x="4" y="150"/>
                    <a:pt x="5" y="14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188" name="ï$líḋé"/>
            <p:cNvSpPr/>
            <p:nvPr/>
          </p:nvSpPr>
          <p:spPr bwMode="auto">
            <a:xfrm>
              <a:off x="5596191" y="5675903"/>
              <a:ext cx="25400" cy="3016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189" name="işḷíḓè"/>
            <p:cNvSpPr/>
            <p:nvPr/>
          </p:nvSpPr>
          <p:spPr bwMode="auto">
            <a:xfrm>
              <a:off x="5596191" y="5733053"/>
              <a:ext cx="25400" cy="1492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190" name="ïSḷîḋé"/>
            <p:cNvSpPr/>
            <p:nvPr/>
          </p:nvSpPr>
          <p:spPr bwMode="auto">
            <a:xfrm>
              <a:off x="5645403" y="5733053"/>
              <a:ext cx="136525" cy="149225"/>
            </a:xfrm>
            <a:custGeom>
              <a:avLst/>
              <a:gdLst>
                <a:gd name="T0" fmla="*/ 42 w 74"/>
                <a:gd name="T1" fmla="*/ 50 h 81"/>
                <a:gd name="T2" fmla="*/ 37 w 74"/>
                <a:gd name="T3" fmla="*/ 65 h 81"/>
                <a:gd name="T4" fmla="*/ 32 w 74"/>
                <a:gd name="T5" fmla="*/ 49 h 81"/>
                <a:gd name="T6" fmla="*/ 14 w 74"/>
                <a:gd name="T7" fmla="*/ 0 h 81"/>
                <a:gd name="T8" fmla="*/ 0 w 74"/>
                <a:gd name="T9" fmla="*/ 0 h 81"/>
                <a:gd name="T10" fmla="*/ 31 w 74"/>
                <a:gd name="T11" fmla="*/ 81 h 81"/>
                <a:gd name="T12" fmla="*/ 44 w 74"/>
                <a:gd name="T13" fmla="*/ 81 h 81"/>
                <a:gd name="T14" fmla="*/ 74 w 74"/>
                <a:gd name="T15" fmla="*/ 0 h 81"/>
                <a:gd name="T16" fmla="*/ 60 w 74"/>
                <a:gd name="T17" fmla="*/ 0 h 81"/>
                <a:gd name="T18" fmla="*/ 42 w 74"/>
                <a:gd name="T19" fmla="*/ 50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4" h="81">
                  <a:moveTo>
                    <a:pt x="42" y="50"/>
                  </a:moveTo>
                  <a:cubicBezTo>
                    <a:pt x="40" y="56"/>
                    <a:pt x="38" y="61"/>
                    <a:pt x="37" y="65"/>
                  </a:cubicBezTo>
                  <a:cubicBezTo>
                    <a:pt x="35" y="59"/>
                    <a:pt x="34" y="54"/>
                    <a:pt x="32" y="49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44" y="81"/>
                    <a:pt x="44" y="81"/>
                    <a:pt x="44" y="81"/>
                  </a:cubicBezTo>
                  <a:cubicBezTo>
                    <a:pt x="74" y="0"/>
                    <a:pt x="74" y="0"/>
                    <a:pt x="74" y="0"/>
                  </a:cubicBezTo>
                  <a:cubicBezTo>
                    <a:pt x="60" y="0"/>
                    <a:pt x="60" y="0"/>
                    <a:pt x="60" y="0"/>
                  </a:cubicBezTo>
                  <a:lnTo>
                    <a:pt x="42" y="5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191" name="išḷiḓé"/>
            <p:cNvSpPr/>
            <p:nvPr/>
          </p:nvSpPr>
          <p:spPr bwMode="auto">
            <a:xfrm>
              <a:off x="5796216" y="5729878"/>
              <a:ext cx="138113" cy="157163"/>
            </a:xfrm>
            <a:custGeom>
              <a:avLst/>
              <a:gdLst>
                <a:gd name="T0" fmla="*/ 38 w 75"/>
                <a:gd name="T1" fmla="*/ 0 h 85"/>
                <a:gd name="T2" fmla="*/ 10 w 75"/>
                <a:gd name="T3" fmla="*/ 12 h 85"/>
                <a:gd name="T4" fmla="*/ 0 w 75"/>
                <a:gd name="T5" fmla="*/ 43 h 85"/>
                <a:gd name="T6" fmla="*/ 10 w 75"/>
                <a:gd name="T7" fmla="*/ 74 h 85"/>
                <a:gd name="T8" fmla="*/ 39 w 75"/>
                <a:gd name="T9" fmla="*/ 85 h 85"/>
                <a:gd name="T10" fmla="*/ 62 w 75"/>
                <a:gd name="T11" fmla="*/ 78 h 85"/>
                <a:gd name="T12" fmla="*/ 74 w 75"/>
                <a:gd name="T13" fmla="*/ 59 h 85"/>
                <a:gd name="T14" fmla="*/ 60 w 75"/>
                <a:gd name="T15" fmla="*/ 57 h 85"/>
                <a:gd name="T16" fmla="*/ 52 w 75"/>
                <a:gd name="T17" fmla="*/ 70 h 85"/>
                <a:gd name="T18" fmla="*/ 39 w 75"/>
                <a:gd name="T19" fmla="*/ 74 h 85"/>
                <a:gd name="T20" fmla="*/ 22 w 75"/>
                <a:gd name="T21" fmla="*/ 67 h 85"/>
                <a:gd name="T22" fmla="*/ 14 w 75"/>
                <a:gd name="T23" fmla="*/ 46 h 85"/>
                <a:gd name="T24" fmla="*/ 75 w 75"/>
                <a:gd name="T25" fmla="*/ 46 h 85"/>
                <a:gd name="T26" fmla="*/ 75 w 75"/>
                <a:gd name="T27" fmla="*/ 43 h 85"/>
                <a:gd name="T28" fmla="*/ 64 w 75"/>
                <a:gd name="T29" fmla="*/ 11 h 85"/>
                <a:gd name="T30" fmla="*/ 38 w 75"/>
                <a:gd name="T31" fmla="*/ 0 h 85"/>
                <a:gd name="T32" fmla="*/ 15 w 75"/>
                <a:gd name="T33" fmla="*/ 35 h 85"/>
                <a:gd name="T34" fmla="*/ 22 w 75"/>
                <a:gd name="T35" fmla="*/ 18 h 85"/>
                <a:gd name="T36" fmla="*/ 38 w 75"/>
                <a:gd name="T37" fmla="*/ 12 h 85"/>
                <a:gd name="T38" fmla="*/ 55 w 75"/>
                <a:gd name="T39" fmla="*/ 20 h 85"/>
                <a:gd name="T40" fmla="*/ 60 w 75"/>
                <a:gd name="T41" fmla="*/ 35 h 85"/>
                <a:gd name="T42" fmla="*/ 15 w 75"/>
                <a:gd name="T43" fmla="*/ 35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75" h="85">
                  <a:moveTo>
                    <a:pt x="38" y="0"/>
                  </a:moveTo>
                  <a:cubicBezTo>
                    <a:pt x="27" y="0"/>
                    <a:pt x="17" y="4"/>
                    <a:pt x="10" y="12"/>
                  </a:cubicBezTo>
                  <a:cubicBezTo>
                    <a:pt x="3" y="19"/>
                    <a:pt x="0" y="30"/>
                    <a:pt x="0" y="43"/>
                  </a:cubicBezTo>
                  <a:cubicBezTo>
                    <a:pt x="0" y="57"/>
                    <a:pt x="3" y="67"/>
                    <a:pt x="10" y="74"/>
                  </a:cubicBezTo>
                  <a:cubicBezTo>
                    <a:pt x="17" y="81"/>
                    <a:pt x="27" y="85"/>
                    <a:pt x="39" y="85"/>
                  </a:cubicBezTo>
                  <a:cubicBezTo>
                    <a:pt x="48" y="85"/>
                    <a:pt x="56" y="83"/>
                    <a:pt x="62" y="78"/>
                  </a:cubicBezTo>
                  <a:cubicBezTo>
                    <a:pt x="68" y="74"/>
                    <a:pt x="72" y="67"/>
                    <a:pt x="74" y="59"/>
                  </a:cubicBezTo>
                  <a:cubicBezTo>
                    <a:pt x="60" y="57"/>
                    <a:pt x="60" y="57"/>
                    <a:pt x="60" y="57"/>
                  </a:cubicBezTo>
                  <a:cubicBezTo>
                    <a:pt x="58" y="63"/>
                    <a:pt x="55" y="67"/>
                    <a:pt x="52" y="70"/>
                  </a:cubicBezTo>
                  <a:cubicBezTo>
                    <a:pt x="48" y="73"/>
                    <a:pt x="44" y="74"/>
                    <a:pt x="39" y="74"/>
                  </a:cubicBezTo>
                  <a:cubicBezTo>
                    <a:pt x="32" y="74"/>
                    <a:pt x="26" y="71"/>
                    <a:pt x="22" y="67"/>
                  </a:cubicBezTo>
                  <a:cubicBezTo>
                    <a:pt x="17" y="62"/>
                    <a:pt x="15" y="55"/>
                    <a:pt x="14" y="46"/>
                  </a:cubicBezTo>
                  <a:cubicBezTo>
                    <a:pt x="75" y="46"/>
                    <a:pt x="75" y="46"/>
                    <a:pt x="75" y="46"/>
                  </a:cubicBezTo>
                  <a:cubicBezTo>
                    <a:pt x="75" y="45"/>
                    <a:pt x="75" y="43"/>
                    <a:pt x="75" y="43"/>
                  </a:cubicBezTo>
                  <a:cubicBezTo>
                    <a:pt x="75" y="29"/>
                    <a:pt x="71" y="19"/>
                    <a:pt x="64" y="11"/>
                  </a:cubicBezTo>
                  <a:cubicBezTo>
                    <a:pt x="58" y="4"/>
                    <a:pt x="49" y="0"/>
                    <a:pt x="38" y="0"/>
                  </a:cubicBezTo>
                  <a:close/>
                  <a:moveTo>
                    <a:pt x="15" y="35"/>
                  </a:moveTo>
                  <a:cubicBezTo>
                    <a:pt x="15" y="28"/>
                    <a:pt x="18" y="22"/>
                    <a:pt x="22" y="18"/>
                  </a:cubicBezTo>
                  <a:cubicBezTo>
                    <a:pt x="26" y="14"/>
                    <a:pt x="32" y="12"/>
                    <a:pt x="38" y="12"/>
                  </a:cubicBezTo>
                  <a:cubicBezTo>
                    <a:pt x="45" y="12"/>
                    <a:pt x="51" y="14"/>
                    <a:pt x="55" y="20"/>
                  </a:cubicBezTo>
                  <a:cubicBezTo>
                    <a:pt x="58" y="23"/>
                    <a:pt x="60" y="28"/>
                    <a:pt x="60" y="35"/>
                  </a:cubicBezTo>
                  <a:lnTo>
                    <a:pt x="15" y="3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192" name="iṩľidè"/>
            <p:cNvSpPr/>
            <p:nvPr/>
          </p:nvSpPr>
          <p:spPr bwMode="auto">
            <a:xfrm>
              <a:off x="5964491" y="5729878"/>
              <a:ext cx="82550" cy="152400"/>
            </a:xfrm>
            <a:custGeom>
              <a:avLst/>
              <a:gdLst>
                <a:gd name="T0" fmla="*/ 22 w 45"/>
                <a:gd name="T1" fmla="*/ 3 h 83"/>
                <a:gd name="T2" fmla="*/ 13 w 45"/>
                <a:gd name="T3" fmla="*/ 14 h 83"/>
                <a:gd name="T4" fmla="*/ 13 w 45"/>
                <a:gd name="T5" fmla="*/ 2 h 83"/>
                <a:gd name="T6" fmla="*/ 0 w 45"/>
                <a:gd name="T7" fmla="*/ 2 h 83"/>
                <a:gd name="T8" fmla="*/ 0 w 45"/>
                <a:gd name="T9" fmla="*/ 83 h 83"/>
                <a:gd name="T10" fmla="*/ 14 w 45"/>
                <a:gd name="T11" fmla="*/ 83 h 83"/>
                <a:gd name="T12" fmla="*/ 14 w 45"/>
                <a:gd name="T13" fmla="*/ 41 h 83"/>
                <a:gd name="T14" fmla="*/ 17 w 45"/>
                <a:gd name="T15" fmla="*/ 25 h 83"/>
                <a:gd name="T16" fmla="*/ 22 w 45"/>
                <a:gd name="T17" fmla="*/ 17 h 83"/>
                <a:gd name="T18" fmla="*/ 30 w 45"/>
                <a:gd name="T19" fmla="*/ 14 h 83"/>
                <a:gd name="T20" fmla="*/ 40 w 45"/>
                <a:gd name="T21" fmla="*/ 17 h 83"/>
                <a:gd name="T22" fmla="*/ 45 w 45"/>
                <a:gd name="T23" fmla="*/ 5 h 83"/>
                <a:gd name="T24" fmla="*/ 30 w 45"/>
                <a:gd name="T25" fmla="*/ 0 h 83"/>
                <a:gd name="T26" fmla="*/ 22 w 45"/>
                <a:gd name="T27" fmla="*/ 3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5" h="83">
                  <a:moveTo>
                    <a:pt x="22" y="3"/>
                  </a:moveTo>
                  <a:cubicBezTo>
                    <a:pt x="19" y="5"/>
                    <a:pt x="16" y="9"/>
                    <a:pt x="13" y="14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83"/>
                    <a:pt x="0" y="83"/>
                    <a:pt x="0" y="83"/>
                  </a:cubicBezTo>
                  <a:cubicBezTo>
                    <a:pt x="14" y="83"/>
                    <a:pt x="14" y="83"/>
                    <a:pt x="14" y="83"/>
                  </a:cubicBezTo>
                  <a:cubicBezTo>
                    <a:pt x="14" y="41"/>
                    <a:pt x="14" y="41"/>
                    <a:pt x="14" y="41"/>
                  </a:cubicBezTo>
                  <a:cubicBezTo>
                    <a:pt x="14" y="35"/>
                    <a:pt x="15" y="30"/>
                    <a:pt x="17" y="25"/>
                  </a:cubicBezTo>
                  <a:cubicBezTo>
                    <a:pt x="18" y="21"/>
                    <a:pt x="19" y="19"/>
                    <a:pt x="22" y="17"/>
                  </a:cubicBezTo>
                  <a:cubicBezTo>
                    <a:pt x="24" y="15"/>
                    <a:pt x="27" y="14"/>
                    <a:pt x="30" y="14"/>
                  </a:cubicBezTo>
                  <a:cubicBezTo>
                    <a:pt x="33" y="14"/>
                    <a:pt x="37" y="15"/>
                    <a:pt x="40" y="17"/>
                  </a:cubicBezTo>
                  <a:cubicBezTo>
                    <a:pt x="45" y="5"/>
                    <a:pt x="45" y="5"/>
                    <a:pt x="45" y="5"/>
                  </a:cubicBezTo>
                  <a:cubicBezTo>
                    <a:pt x="40" y="2"/>
                    <a:pt x="35" y="0"/>
                    <a:pt x="30" y="0"/>
                  </a:cubicBezTo>
                  <a:cubicBezTo>
                    <a:pt x="27" y="0"/>
                    <a:pt x="24" y="1"/>
                    <a:pt x="22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193" name="îṡļiḑe"/>
            <p:cNvSpPr/>
            <p:nvPr/>
          </p:nvSpPr>
          <p:spPr bwMode="auto">
            <a:xfrm>
              <a:off x="6050216" y="5729878"/>
              <a:ext cx="125413" cy="157163"/>
            </a:xfrm>
            <a:custGeom>
              <a:avLst/>
              <a:gdLst>
                <a:gd name="T0" fmla="*/ 55 w 68"/>
                <a:gd name="T1" fmla="*/ 40 h 85"/>
                <a:gd name="T2" fmla="*/ 35 w 68"/>
                <a:gd name="T3" fmla="*/ 34 h 85"/>
                <a:gd name="T4" fmla="*/ 23 w 68"/>
                <a:gd name="T5" fmla="*/ 31 h 85"/>
                <a:gd name="T6" fmla="*/ 18 w 68"/>
                <a:gd name="T7" fmla="*/ 27 h 85"/>
                <a:gd name="T8" fmla="*/ 16 w 68"/>
                <a:gd name="T9" fmla="*/ 22 h 85"/>
                <a:gd name="T10" fmla="*/ 20 w 68"/>
                <a:gd name="T11" fmla="*/ 15 h 85"/>
                <a:gd name="T12" fmla="*/ 34 w 68"/>
                <a:gd name="T13" fmla="*/ 12 h 85"/>
                <a:gd name="T14" fmla="*/ 46 w 68"/>
                <a:gd name="T15" fmla="*/ 15 h 85"/>
                <a:gd name="T16" fmla="*/ 51 w 68"/>
                <a:gd name="T17" fmla="*/ 25 h 85"/>
                <a:gd name="T18" fmla="*/ 65 w 68"/>
                <a:gd name="T19" fmla="*/ 23 h 85"/>
                <a:gd name="T20" fmla="*/ 60 w 68"/>
                <a:gd name="T21" fmla="*/ 10 h 85"/>
                <a:gd name="T22" fmla="*/ 49 w 68"/>
                <a:gd name="T23" fmla="*/ 3 h 85"/>
                <a:gd name="T24" fmla="*/ 33 w 68"/>
                <a:gd name="T25" fmla="*/ 0 h 85"/>
                <a:gd name="T26" fmla="*/ 21 w 68"/>
                <a:gd name="T27" fmla="*/ 2 h 85"/>
                <a:gd name="T28" fmla="*/ 12 w 68"/>
                <a:gd name="T29" fmla="*/ 6 h 85"/>
                <a:gd name="T30" fmla="*/ 5 w 68"/>
                <a:gd name="T31" fmla="*/ 14 h 85"/>
                <a:gd name="T32" fmla="*/ 3 w 68"/>
                <a:gd name="T33" fmla="*/ 24 h 85"/>
                <a:gd name="T34" fmla="*/ 6 w 68"/>
                <a:gd name="T35" fmla="*/ 35 h 85"/>
                <a:gd name="T36" fmla="*/ 15 w 68"/>
                <a:gd name="T37" fmla="*/ 42 h 85"/>
                <a:gd name="T38" fmla="*/ 36 w 68"/>
                <a:gd name="T39" fmla="*/ 49 h 85"/>
                <a:gd name="T40" fmla="*/ 50 w 68"/>
                <a:gd name="T41" fmla="*/ 54 h 85"/>
                <a:gd name="T42" fmla="*/ 54 w 68"/>
                <a:gd name="T43" fmla="*/ 61 h 85"/>
                <a:gd name="T44" fmla="*/ 49 w 68"/>
                <a:gd name="T45" fmla="*/ 70 h 85"/>
                <a:gd name="T46" fmla="*/ 35 w 68"/>
                <a:gd name="T47" fmla="*/ 74 h 85"/>
                <a:gd name="T48" fmla="*/ 20 w 68"/>
                <a:gd name="T49" fmla="*/ 69 h 85"/>
                <a:gd name="T50" fmla="*/ 14 w 68"/>
                <a:gd name="T51" fmla="*/ 57 h 85"/>
                <a:gd name="T52" fmla="*/ 0 w 68"/>
                <a:gd name="T53" fmla="*/ 59 h 85"/>
                <a:gd name="T54" fmla="*/ 11 w 68"/>
                <a:gd name="T55" fmla="*/ 79 h 85"/>
                <a:gd name="T56" fmla="*/ 35 w 68"/>
                <a:gd name="T57" fmla="*/ 85 h 85"/>
                <a:gd name="T58" fmla="*/ 52 w 68"/>
                <a:gd name="T59" fmla="*/ 82 h 85"/>
                <a:gd name="T60" fmla="*/ 64 w 68"/>
                <a:gd name="T61" fmla="*/ 72 h 85"/>
                <a:gd name="T62" fmla="*/ 68 w 68"/>
                <a:gd name="T63" fmla="*/ 59 h 85"/>
                <a:gd name="T64" fmla="*/ 65 w 68"/>
                <a:gd name="T65" fmla="*/ 48 h 85"/>
                <a:gd name="T66" fmla="*/ 55 w 68"/>
                <a:gd name="T67" fmla="*/ 40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68" h="85">
                  <a:moveTo>
                    <a:pt x="55" y="40"/>
                  </a:moveTo>
                  <a:cubicBezTo>
                    <a:pt x="52" y="39"/>
                    <a:pt x="45" y="37"/>
                    <a:pt x="35" y="34"/>
                  </a:cubicBezTo>
                  <a:cubicBezTo>
                    <a:pt x="28" y="32"/>
                    <a:pt x="24" y="31"/>
                    <a:pt x="23" y="31"/>
                  </a:cubicBezTo>
                  <a:cubicBezTo>
                    <a:pt x="20" y="30"/>
                    <a:pt x="19" y="28"/>
                    <a:pt x="18" y="27"/>
                  </a:cubicBezTo>
                  <a:cubicBezTo>
                    <a:pt x="16" y="25"/>
                    <a:pt x="16" y="24"/>
                    <a:pt x="16" y="22"/>
                  </a:cubicBezTo>
                  <a:cubicBezTo>
                    <a:pt x="16" y="19"/>
                    <a:pt x="17" y="17"/>
                    <a:pt x="20" y="15"/>
                  </a:cubicBezTo>
                  <a:cubicBezTo>
                    <a:pt x="23" y="13"/>
                    <a:pt x="27" y="12"/>
                    <a:pt x="34" y="12"/>
                  </a:cubicBezTo>
                  <a:cubicBezTo>
                    <a:pt x="39" y="12"/>
                    <a:pt x="43" y="13"/>
                    <a:pt x="46" y="15"/>
                  </a:cubicBezTo>
                  <a:cubicBezTo>
                    <a:pt x="49" y="17"/>
                    <a:pt x="51" y="21"/>
                    <a:pt x="51" y="25"/>
                  </a:cubicBezTo>
                  <a:cubicBezTo>
                    <a:pt x="65" y="23"/>
                    <a:pt x="65" y="23"/>
                    <a:pt x="65" y="23"/>
                  </a:cubicBezTo>
                  <a:cubicBezTo>
                    <a:pt x="64" y="18"/>
                    <a:pt x="62" y="14"/>
                    <a:pt x="60" y="10"/>
                  </a:cubicBezTo>
                  <a:cubicBezTo>
                    <a:pt x="58" y="7"/>
                    <a:pt x="54" y="5"/>
                    <a:pt x="49" y="3"/>
                  </a:cubicBezTo>
                  <a:cubicBezTo>
                    <a:pt x="44" y="1"/>
                    <a:pt x="39" y="0"/>
                    <a:pt x="33" y="0"/>
                  </a:cubicBezTo>
                  <a:cubicBezTo>
                    <a:pt x="28" y="0"/>
                    <a:pt x="24" y="1"/>
                    <a:pt x="21" y="2"/>
                  </a:cubicBezTo>
                  <a:cubicBezTo>
                    <a:pt x="17" y="3"/>
                    <a:pt x="14" y="4"/>
                    <a:pt x="12" y="6"/>
                  </a:cubicBezTo>
                  <a:cubicBezTo>
                    <a:pt x="9" y="8"/>
                    <a:pt x="7" y="10"/>
                    <a:pt x="5" y="14"/>
                  </a:cubicBezTo>
                  <a:cubicBezTo>
                    <a:pt x="3" y="17"/>
                    <a:pt x="3" y="20"/>
                    <a:pt x="3" y="24"/>
                  </a:cubicBezTo>
                  <a:cubicBezTo>
                    <a:pt x="3" y="28"/>
                    <a:pt x="4" y="31"/>
                    <a:pt x="6" y="35"/>
                  </a:cubicBezTo>
                  <a:cubicBezTo>
                    <a:pt x="8" y="38"/>
                    <a:pt x="11" y="40"/>
                    <a:pt x="15" y="42"/>
                  </a:cubicBezTo>
                  <a:cubicBezTo>
                    <a:pt x="18" y="44"/>
                    <a:pt x="25" y="46"/>
                    <a:pt x="36" y="49"/>
                  </a:cubicBezTo>
                  <a:cubicBezTo>
                    <a:pt x="43" y="51"/>
                    <a:pt x="48" y="52"/>
                    <a:pt x="50" y="54"/>
                  </a:cubicBezTo>
                  <a:cubicBezTo>
                    <a:pt x="52" y="55"/>
                    <a:pt x="54" y="58"/>
                    <a:pt x="54" y="61"/>
                  </a:cubicBezTo>
                  <a:cubicBezTo>
                    <a:pt x="54" y="64"/>
                    <a:pt x="52" y="67"/>
                    <a:pt x="49" y="70"/>
                  </a:cubicBezTo>
                  <a:cubicBezTo>
                    <a:pt x="46" y="73"/>
                    <a:pt x="41" y="74"/>
                    <a:pt x="35" y="74"/>
                  </a:cubicBezTo>
                  <a:cubicBezTo>
                    <a:pt x="29" y="74"/>
                    <a:pt x="24" y="72"/>
                    <a:pt x="20" y="69"/>
                  </a:cubicBezTo>
                  <a:cubicBezTo>
                    <a:pt x="17" y="67"/>
                    <a:pt x="15" y="62"/>
                    <a:pt x="14" y="57"/>
                  </a:cubicBezTo>
                  <a:cubicBezTo>
                    <a:pt x="0" y="59"/>
                    <a:pt x="0" y="59"/>
                    <a:pt x="0" y="59"/>
                  </a:cubicBezTo>
                  <a:cubicBezTo>
                    <a:pt x="2" y="68"/>
                    <a:pt x="5" y="74"/>
                    <a:pt x="11" y="79"/>
                  </a:cubicBezTo>
                  <a:cubicBezTo>
                    <a:pt x="16" y="83"/>
                    <a:pt x="24" y="85"/>
                    <a:pt x="35" y="85"/>
                  </a:cubicBezTo>
                  <a:cubicBezTo>
                    <a:pt x="41" y="85"/>
                    <a:pt x="47" y="84"/>
                    <a:pt x="52" y="82"/>
                  </a:cubicBezTo>
                  <a:cubicBezTo>
                    <a:pt x="57" y="80"/>
                    <a:pt x="61" y="76"/>
                    <a:pt x="64" y="72"/>
                  </a:cubicBezTo>
                  <a:cubicBezTo>
                    <a:pt x="66" y="68"/>
                    <a:pt x="68" y="64"/>
                    <a:pt x="68" y="59"/>
                  </a:cubicBezTo>
                  <a:cubicBezTo>
                    <a:pt x="68" y="55"/>
                    <a:pt x="67" y="51"/>
                    <a:pt x="65" y="48"/>
                  </a:cubicBezTo>
                  <a:cubicBezTo>
                    <a:pt x="62" y="45"/>
                    <a:pt x="59" y="42"/>
                    <a:pt x="55" y="4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194" name="ïśļíḓe"/>
            <p:cNvSpPr/>
            <p:nvPr/>
          </p:nvSpPr>
          <p:spPr bwMode="auto">
            <a:xfrm>
              <a:off x="6205791" y="5675903"/>
              <a:ext cx="25400" cy="3016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195" name="îṡľîdè"/>
            <p:cNvSpPr/>
            <p:nvPr/>
          </p:nvSpPr>
          <p:spPr bwMode="auto">
            <a:xfrm>
              <a:off x="6205791" y="5733053"/>
              <a:ext cx="25400" cy="1492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196" name="îś1iḋê"/>
            <p:cNvSpPr/>
            <p:nvPr/>
          </p:nvSpPr>
          <p:spPr bwMode="auto">
            <a:xfrm>
              <a:off x="6255003" y="5680665"/>
              <a:ext cx="74613" cy="203200"/>
            </a:xfrm>
            <a:custGeom>
              <a:avLst/>
              <a:gdLst>
                <a:gd name="T0" fmla="*/ 32 w 40"/>
                <a:gd name="T1" fmla="*/ 98 h 110"/>
                <a:gd name="T2" fmla="*/ 27 w 40"/>
                <a:gd name="T3" fmla="*/ 97 h 110"/>
                <a:gd name="T4" fmla="*/ 25 w 40"/>
                <a:gd name="T5" fmla="*/ 94 h 110"/>
                <a:gd name="T6" fmla="*/ 24 w 40"/>
                <a:gd name="T7" fmla="*/ 86 h 110"/>
                <a:gd name="T8" fmla="*/ 24 w 40"/>
                <a:gd name="T9" fmla="*/ 39 h 110"/>
                <a:gd name="T10" fmla="*/ 38 w 40"/>
                <a:gd name="T11" fmla="*/ 39 h 110"/>
                <a:gd name="T12" fmla="*/ 38 w 40"/>
                <a:gd name="T13" fmla="*/ 28 h 110"/>
                <a:gd name="T14" fmla="*/ 24 w 40"/>
                <a:gd name="T15" fmla="*/ 28 h 110"/>
                <a:gd name="T16" fmla="*/ 24 w 40"/>
                <a:gd name="T17" fmla="*/ 0 h 110"/>
                <a:gd name="T18" fmla="*/ 11 w 40"/>
                <a:gd name="T19" fmla="*/ 8 h 110"/>
                <a:gd name="T20" fmla="*/ 11 w 40"/>
                <a:gd name="T21" fmla="*/ 28 h 110"/>
                <a:gd name="T22" fmla="*/ 0 w 40"/>
                <a:gd name="T23" fmla="*/ 28 h 110"/>
                <a:gd name="T24" fmla="*/ 0 w 40"/>
                <a:gd name="T25" fmla="*/ 39 h 110"/>
                <a:gd name="T26" fmla="*/ 11 w 40"/>
                <a:gd name="T27" fmla="*/ 39 h 110"/>
                <a:gd name="T28" fmla="*/ 11 w 40"/>
                <a:gd name="T29" fmla="*/ 86 h 110"/>
                <a:gd name="T30" fmla="*/ 12 w 40"/>
                <a:gd name="T31" fmla="*/ 102 h 110"/>
                <a:gd name="T32" fmla="*/ 18 w 40"/>
                <a:gd name="T33" fmla="*/ 108 h 110"/>
                <a:gd name="T34" fmla="*/ 30 w 40"/>
                <a:gd name="T35" fmla="*/ 110 h 110"/>
                <a:gd name="T36" fmla="*/ 40 w 40"/>
                <a:gd name="T37" fmla="*/ 109 h 110"/>
                <a:gd name="T38" fmla="*/ 38 w 40"/>
                <a:gd name="T39" fmla="*/ 97 h 110"/>
                <a:gd name="T40" fmla="*/ 32 w 40"/>
                <a:gd name="T41" fmla="*/ 98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0" h="110">
                  <a:moveTo>
                    <a:pt x="32" y="98"/>
                  </a:moveTo>
                  <a:cubicBezTo>
                    <a:pt x="30" y="98"/>
                    <a:pt x="28" y="97"/>
                    <a:pt x="27" y="97"/>
                  </a:cubicBezTo>
                  <a:cubicBezTo>
                    <a:pt x="26" y="96"/>
                    <a:pt x="25" y="95"/>
                    <a:pt x="25" y="94"/>
                  </a:cubicBezTo>
                  <a:cubicBezTo>
                    <a:pt x="24" y="93"/>
                    <a:pt x="24" y="90"/>
                    <a:pt x="24" y="86"/>
                  </a:cubicBezTo>
                  <a:cubicBezTo>
                    <a:pt x="24" y="39"/>
                    <a:pt x="24" y="39"/>
                    <a:pt x="24" y="39"/>
                  </a:cubicBezTo>
                  <a:cubicBezTo>
                    <a:pt x="38" y="39"/>
                    <a:pt x="38" y="39"/>
                    <a:pt x="38" y="39"/>
                  </a:cubicBezTo>
                  <a:cubicBezTo>
                    <a:pt x="38" y="28"/>
                    <a:pt x="38" y="28"/>
                    <a:pt x="38" y="28"/>
                  </a:cubicBezTo>
                  <a:cubicBezTo>
                    <a:pt x="24" y="28"/>
                    <a:pt x="24" y="28"/>
                    <a:pt x="24" y="28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11" y="8"/>
                    <a:pt x="11" y="8"/>
                    <a:pt x="11" y="8"/>
                  </a:cubicBezTo>
                  <a:cubicBezTo>
                    <a:pt x="11" y="28"/>
                    <a:pt x="11" y="28"/>
                    <a:pt x="11" y="28"/>
                  </a:cubicBezTo>
                  <a:cubicBezTo>
                    <a:pt x="0" y="28"/>
                    <a:pt x="0" y="28"/>
                    <a:pt x="0" y="28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11" y="39"/>
                    <a:pt x="11" y="39"/>
                    <a:pt x="11" y="39"/>
                  </a:cubicBezTo>
                  <a:cubicBezTo>
                    <a:pt x="11" y="86"/>
                    <a:pt x="11" y="86"/>
                    <a:pt x="11" y="86"/>
                  </a:cubicBezTo>
                  <a:cubicBezTo>
                    <a:pt x="11" y="94"/>
                    <a:pt x="11" y="99"/>
                    <a:pt x="12" y="102"/>
                  </a:cubicBezTo>
                  <a:cubicBezTo>
                    <a:pt x="13" y="104"/>
                    <a:pt x="15" y="106"/>
                    <a:pt x="18" y="108"/>
                  </a:cubicBezTo>
                  <a:cubicBezTo>
                    <a:pt x="21" y="110"/>
                    <a:pt x="25" y="110"/>
                    <a:pt x="30" y="110"/>
                  </a:cubicBezTo>
                  <a:cubicBezTo>
                    <a:pt x="33" y="110"/>
                    <a:pt x="36" y="110"/>
                    <a:pt x="40" y="109"/>
                  </a:cubicBezTo>
                  <a:cubicBezTo>
                    <a:pt x="38" y="97"/>
                    <a:pt x="38" y="97"/>
                    <a:pt x="38" y="97"/>
                  </a:cubicBezTo>
                  <a:cubicBezTo>
                    <a:pt x="36" y="97"/>
                    <a:pt x="34" y="98"/>
                    <a:pt x="32" y="9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197" name="išľîḋê"/>
            <p:cNvSpPr/>
            <p:nvPr/>
          </p:nvSpPr>
          <p:spPr bwMode="auto">
            <a:xfrm>
              <a:off x="6335966" y="5733053"/>
              <a:ext cx="136525" cy="211138"/>
            </a:xfrm>
            <a:custGeom>
              <a:avLst/>
              <a:gdLst>
                <a:gd name="T0" fmla="*/ 43 w 74"/>
                <a:gd name="T1" fmla="*/ 47 h 114"/>
                <a:gd name="T2" fmla="*/ 37 w 74"/>
                <a:gd name="T3" fmla="*/ 66 h 114"/>
                <a:gd name="T4" fmla="*/ 32 w 74"/>
                <a:gd name="T5" fmla="*/ 47 h 114"/>
                <a:gd name="T6" fmla="*/ 15 w 74"/>
                <a:gd name="T7" fmla="*/ 0 h 114"/>
                <a:gd name="T8" fmla="*/ 0 w 74"/>
                <a:gd name="T9" fmla="*/ 0 h 114"/>
                <a:gd name="T10" fmla="*/ 31 w 74"/>
                <a:gd name="T11" fmla="*/ 81 h 114"/>
                <a:gd name="T12" fmla="*/ 29 w 74"/>
                <a:gd name="T13" fmla="*/ 85 h 114"/>
                <a:gd name="T14" fmla="*/ 25 w 74"/>
                <a:gd name="T15" fmla="*/ 95 h 114"/>
                <a:gd name="T16" fmla="*/ 21 w 74"/>
                <a:gd name="T17" fmla="*/ 99 h 114"/>
                <a:gd name="T18" fmla="*/ 13 w 74"/>
                <a:gd name="T19" fmla="*/ 101 h 114"/>
                <a:gd name="T20" fmla="*/ 5 w 74"/>
                <a:gd name="T21" fmla="*/ 100 h 114"/>
                <a:gd name="T22" fmla="*/ 7 w 74"/>
                <a:gd name="T23" fmla="*/ 113 h 114"/>
                <a:gd name="T24" fmla="*/ 16 w 74"/>
                <a:gd name="T25" fmla="*/ 114 h 114"/>
                <a:gd name="T26" fmla="*/ 27 w 74"/>
                <a:gd name="T27" fmla="*/ 111 h 114"/>
                <a:gd name="T28" fmla="*/ 36 w 74"/>
                <a:gd name="T29" fmla="*/ 101 h 114"/>
                <a:gd name="T30" fmla="*/ 43 w 74"/>
                <a:gd name="T31" fmla="*/ 83 h 114"/>
                <a:gd name="T32" fmla="*/ 74 w 74"/>
                <a:gd name="T33" fmla="*/ 0 h 114"/>
                <a:gd name="T34" fmla="*/ 60 w 74"/>
                <a:gd name="T35" fmla="*/ 0 h 114"/>
                <a:gd name="T36" fmla="*/ 43 w 74"/>
                <a:gd name="T37" fmla="*/ 47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74" h="114">
                  <a:moveTo>
                    <a:pt x="43" y="47"/>
                  </a:moveTo>
                  <a:cubicBezTo>
                    <a:pt x="41" y="53"/>
                    <a:pt x="39" y="60"/>
                    <a:pt x="37" y="66"/>
                  </a:cubicBezTo>
                  <a:cubicBezTo>
                    <a:pt x="36" y="59"/>
                    <a:pt x="34" y="53"/>
                    <a:pt x="32" y="47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0" y="83"/>
                    <a:pt x="30" y="84"/>
                    <a:pt x="29" y="85"/>
                  </a:cubicBezTo>
                  <a:cubicBezTo>
                    <a:pt x="27" y="90"/>
                    <a:pt x="26" y="94"/>
                    <a:pt x="25" y="95"/>
                  </a:cubicBezTo>
                  <a:cubicBezTo>
                    <a:pt x="24" y="97"/>
                    <a:pt x="22" y="98"/>
                    <a:pt x="21" y="99"/>
                  </a:cubicBezTo>
                  <a:cubicBezTo>
                    <a:pt x="19" y="100"/>
                    <a:pt x="16" y="101"/>
                    <a:pt x="13" y="101"/>
                  </a:cubicBezTo>
                  <a:cubicBezTo>
                    <a:pt x="11" y="101"/>
                    <a:pt x="8" y="101"/>
                    <a:pt x="5" y="100"/>
                  </a:cubicBezTo>
                  <a:cubicBezTo>
                    <a:pt x="7" y="113"/>
                    <a:pt x="7" y="113"/>
                    <a:pt x="7" y="113"/>
                  </a:cubicBezTo>
                  <a:cubicBezTo>
                    <a:pt x="10" y="114"/>
                    <a:pt x="13" y="114"/>
                    <a:pt x="16" y="114"/>
                  </a:cubicBezTo>
                  <a:cubicBezTo>
                    <a:pt x="20" y="114"/>
                    <a:pt x="24" y="113"/>
                    <a:pt x="27" y="111"/>
                  </a:cubicBezTo>
                  <a:cubicBezTo>
                    <a:pt x="30" y="109"/>
                    <a:pt x="33" y="106"/>
                    <a:pt x="36" y="101"/>
                  </a:cubicBezTo>
                  <a:cubicBezTo>
                    <a:pt x="37" y="98"/>
                    <a:pt x="40" y="92"/>
                    <a:pt x="43" y="83"/>
                  </a:cubicBezTo>
                  <a:cubicBezTo>
                    <a:pt x="74" y="0"/>
                    <a:pt x="74" y="0"/>
                    <a:pt x="74" y="0"/>
                  </a:cubicBezTo>
                  <a:cubicBezTo>
                    <a:pt x="60" y="0"/>
                    <a:pt x="60" y="0"/>
                    <a:pt x="60" y="0"/>
                  </a:cubicBezTo>
                  <a:lnTo>
                    <a:pt x="43" y="4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198" name="íSḷiḑè"/>
            <p:cNvSpPr/>
            <p:nvPr/>
          </p:nvSpPr>
          <p:spPr bwMode="auto">
            <a:xfrm>
              <a:off x="6564566" y="5729878"/>
              <a:ext cx="142875" cy="157163"/>
            </a:xfrm>
            <a:custGeom>
              <a:avLst/>
              <a:gdLst>
                <a:gd name="T0" fmla="*/ 38 w 77"/>
                <a:gd name="T1" fmla="*/ 0 h 85"/>
                <a:gd name="T2" fmla="*/ 13 w 77"/>
                <a:gd name="T3" fmla="*/ 9 h 85"/>
                <a:gd name="T4" fmla="*/ 0 w 77"/>
                <a:gd name="T5" fmla="*/ 43 h 85"/>
                <a:gd name="T6" fmla="*/ 11 w 77"/>
                <a:gd name="T7" fmla="*/ 74 h 85"/>
                <a:gd name="T8" fmla="*/ 38 w 77"/>
                <a:gd name="T9" fmla="*/ 85 h 85"/>
                <a:gd name="T10" fmla="*/ 58 w 77"/>
                <a:gd name="T11" fmla="*/ 80 h 85"/>
                <a:gd name="T12" fmla="*/ 72 w 77"/>
                <a:gd name="T13" fmla="*/ 66 h 85"/>
                <a:gd name="T14" fmla="*/ 77 w 77"/>
                <a:gd name="T15" fmla="*/ 42 h 85"/>
                <a:gd name="T16" fmla="*/ 66 w 77"/>
                <a:gd name="T17" fmla="*/ 11 h 85"/>
                <a:gd name="T18" fmla="*/ 38 w 77"/>
                <a:gd name="T19" fmla="*/ 0 h 85"/>
                <a:gd name="T20" fmla="*/ 56 w 77"/>
                <a:gd name="T21" fmla="*/ 66 h 85"/>
                <a:gd name="T22" fmla="*/ 38 w 77"/>
                <a:gd name="T23" fmla="*/ 74 h 85"/>
                <a:gd name="T24" fmla="*/ 21 w 77"/>
                <a:gd name="T25" fmla="*/ 66 h 85"/>
                <a:gd name="T26" fmla="*/ 15 w 77"/>
                <a:gd name="T27" fmla="*/ 43 h 85"/>
                <a:gd name="T28" fmla="*/ 21 w 77"/>
                <a:gd name="T29" fmla="*/ 19 h 85"/>
                <a:gd name="T30" fmla="*/ 38 w 77"/>
                <a:gd name="T31" fmla="*/ 12 h 85"/>
                <a:gd name="T32" fmla="*/ 56 w 77"/>
                <a:gd name="T33" fmla="*/ 19 h 85"/>
                <a:gd name="T34" fmla="*/ 62 w 77"/>
                <a:gd name="T35" fmla="*/ 42 h 85"/>
                <a:gd name="T36" fmla="*/ 56 w 77"/>
                <a:gd name="T37" fmla="*/ 66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77" h="85">
                  <a:moveTo>
                    <a:pt x="38" y="0"/>
                  </a:moveTo>
                  <a:cubicBezTo>
                    <a:pt x="28" y="0"/>
                    <a:pt x="20" y="3"/>
                    <a:pt x="13" y="9"/>
                  </a:cubicBezTo>
                  <a:cubicBezTo>
                    <a:pt x="5" y="16"/>
                    <a:pt x="0" y="28"/>
                    <a:pt x="0" y="43"/>
                  </a:cubicBezTo>
                  <a:cubicBezTo>
                    <a:pt x="0" y="56"/>
                    <a:pt x="4" y="67"/>
                    <a:pt x="11" y="74"/>
                  </a:cubicBezTo>
                  <a:cubicBezTo>
                    <a:pt x="18" y="82"/>
                    <a:pt x="27" y="85"/>
                    <a:pt x="38" y="85"/>
                  </a:cubicBezTo>
                  <a:cubicBezTo>
                    <a:pt x="46" y="85"/>
                    <a:pt x="52" y="84"/>
                    <a:pt x="58" y="80"/>
                  </a:cubicBezTo>
                  <a:cubicBezTo>
                    <a:pt x="64" y="77"/>
                    <a:pt x="69" y="72"/>
                    <a:pt x="72" y="66"/>
                  </a:cubicBezTo>
                  <a:cubicBezTo>
                    <a:pt x="75" y="60"/>
                    <a:pt x="77" y="52"/>
                    <a:pt x="77" y="42"/>
                  </a:cubicBezTo>
                  <a:cubicBezTo>
                    <a:pt x="77" y="29"/>
                    <a:pt x="73" y="19"/>
                    <a:pt x="66" y="11"/>
                  </a:cubicBezTo>
                  <a:cubicBezTo>
                    <a:pt x="59" y="4"/>
                    <a:pt x="50" y="0"/>
                    <a:pt x="38" y="0"/>
                  </a:cubicBezTo>
                  <a:close/>
                  <a:moveTo>
                    <a:pt x="56" y="66"/>
                  </a:moveTo>
                  <a:cubicBezTo>
                    <a:pt x="51" y="71"/>
                    <a:pt x="45" y="74"/>
                    <a:pt x="38" y="74"/>
                  </a:cubicBezTo>
                  <a:cubicBezTo>
                    <a:pt x="32" y="74"/>
                    <a:pt x="26" y="71"/>
                    <a:pt x="21" y="66"/>
                  </a:cubicBezTo>
                  <a:cubicBezTo>
                    <a:pt x="17" y="61"/>
                    <a:pt x="15" y="53"/>
                    <a:pt x="15" y="43"/>
                  </a:cubicBezTo>
                  <a:cubicBezTo>
                    <a:pt x="15" y="32"/>
                    <a:pt x="17" y="24"/>
                    <a:pt x="21" y="19"/>
                  </a:cubicBezTo>
                  <a:cubicBezTo>
                    <a:pt x="26" y="14"/>
                    <a:pt x="32" y="12"/>
                    <a:pt x="38" y="12"/>
                  </a:cubicBezTo>
                  <a:cubicBezTo>
                    <a:pt x="45" y="12"/>
                    <a:pt x="51" y="14"/>
                    <a:pt x="56" y="19"/>
                  </a:cubicBezTo>
                  <a:cubicBezTo>
                    <a:pt x="60" y="25"/>
                    <a:pt x="62" y="32"/>
                    <a:pt x="62" y="42"/>
                  </a:cubicBezTo>
                  <a:cubicBezTo>
                    <a:pt x="62" y="53"/>
                    <a:pt x="60" y="61"/>
                    <a:pt x="56" y="6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199" name="ïṣľïḑe"/>
            <p:cNvSpPr/>
            <p:nvPr/>
          </p:nvSpPr>
          <p:spPr bwMode="auto">
            <a:xfrm>
              <a:off x="6720141" y="5672728"/>
              <a:ext cx="85725" cy="209550"/>
            </a:xfrm>
            <a:custGeom>
              <a:avLst/>
              <a:gdLst>
                <a:gd name="T0" fmla="*/ 20 w 47"/>
                <a:gd name="T1" fmla="*/ 4 h 114"/>
                <a:gd name="T2" fmla="*/ 13 w 47"/>
                <a:gd name="T3" fmla="*/ 12 h 114"/>
                <a:gd name="T4" fmla="*/ 12 w 47"/>
                <a:gd name="T5" fmla="*/ 24 h 114"/>
                <a:gd name="T6" fmla="*/ 12 w 47"/>
                <a:gd name="T7" fmla="*/ 33 h 114"/>
                <a:gd name="T8" fmla="*/ 0 w 47"/>
                <a:gd name="T9" fmla="*/ 33 h 114"/>
                <a:gd name="T10" fmla="*/ 0 w 47"/>
                <a:gd name="T11" fmla="*/ 44 h 114"/>
                <a:gd name="T12" fmla="*/ 12 w 47"/>
                <a:gd name="T13" fmla="*/ 44 h 114"/>
                <a:gd name="T14" fmla="*/ 12 w 47"/>
                <a:gd name="T15" fmla="*/ 114 h 114"/>
                <a:gd name="T16" fmla="*/ 26 w 47"/>
                <a:gd name="T17" fmla="*/ 114 h 114"/>
                <a:gd name="T18" fmla="*/ 26 w 47"/>
                <a:gd name="T19" fmla="*/ 44 h 114"/>
                <a:gd name="T20" fmla="*/ 41 w 47"/>
                <a:gd name="T21" fmla="*/ 44 h 114"/>
                <a:gd name="T22" fmla="*/ 41 w 47"/>
                <a:gd name="T23" fmla="*/ 33 h 114"/>
                <a:gd name="T24" fmla="*/ 26 w 47"/>
                <a:gd name="T25" fmla="*/ 33 h 114"/>
                <a:gd name="T26" fmla="*/ 26 w 47"/>
                <a:gd name="T27" fmla="*/ 26 h 114"/>
                <a:gd name="T28" fmla="*/ 28 w 47"/>
                <a:gd name="T29" fmla="*/ 16 h 114"/>
                <a:gd name="T30" fmla="*/ 37 w 47"/>
                <a:gd name="T31" fmla="*/ 13 h 114"/>
                <a:gd name="T32" fmla="*/ 45 w 47"/>
                <a:gd name="T33" fmla="*/ 14 h 114"/>
                <a:gd name="T34" fmla="*/ 47 w 47"/>
                <a:gd name="T35" fmla="*/ 2 h 114"/>
                <a:gd name="T36" fmla="*/ 34 w 47"/>
                <a:gd name="T37" fmla="*/ 0 h 114"/>
                <a:gd name="T38" fmla="*/ 20 w 47"/>
                <a:gd name="T39" fmla="*/ 4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47" h="114">
                  <a:moveTo>
                    <a:pt x="20" y="4"/>
                  </a:moveTo>
                  <a:cubicBezTo>
                    <a:pt x="17" y="6"/>
                    <a:pt x="15" y="9"/>
                    <a:pt x="13" y="12"/>
                  </a:cubicBezTo>
                  <a:cubicBezTo>
                    <a:pt x="12" y="15"/>
                    <a:pt x="12" y="19"/>
                    <a:pt x="12" y="24"/>
                  </a:cubicBezTo>
                  <a:cubicBezTo>
                    <a:pt x="12" y="33"/>
                    <a:pt x="12" y="33"/>
                    <a:pt x="12" y="33"/>
                  </a:cubicBezTo>
                  <a:cubicBezTo>
                    <a:pt x="0" y="33"/>
                    <a:pt x="0" y="33"/>
                    <a:pt x="0" y="33"/>
                  </a:cubicBezTo>
                  <a:cubicBezTo>
                    <a:pt x="0" y="44"/>
                    <a:pt x="0" y="44"/>
                    <a:pt x="0" y="44"/>
                  </a:cubicBezTo>
                  <a:cubicBezTo>
                    <a:pt x="12" y="44"/>
                    <a:pt x="12" y="44"/>
                    <a:pt x="12" y="44"/>
                  </a:cubicBezTo>
                  <a:cubicBezTo>
                    <a:pt x="12" y="114"/>
                    <a:pt x="12" y="114"/>
                    <a:pt x="12" y="114"/>
                  </a:cubicBezTo>
                  <a:cubicBezTo>
                    <a:pt x="26" y="114"/>
                    <a:pt x="26" y="114"/>
                    <a:pt x="26" y="114"/>
                  </a:cubicBezTo>
                  <a:cubicBezTo>
                    <a:pt x="26" y="44"/>
                    <a:pt x="26" y="44"/>
                    <a:pt x="26" y="44"/>
                  </a:cubicBezTo>
                  <a:cubicBezTo>
                    <a:pt x="41" y="44"/>
                    <a:pt x="41" y="44"/>
                    <a:pt x="41" y="44"/>
                  </a:cubicBezTo>
                  <a:cubicBezTo>
                    <a:pt x="41" y="33"/>
                    <a:pt x="41" y="33"/>
                    <a:pt x="41" y="33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26" y="26"/>
                    <a:pt x="26" y="26"/>
                    <a:pt x="26" y="26"/>
                  </a:cubicBezTo>
                  <a:cubicBezTo>
                    <a:pt x="26" y="21"/>
                    <a:pt x="27" y="17"/>
                    <a:pt x="28" y="16"/>
                  </a:cubicBezTo>
                  <a:cubicBezTo>
                    <a:pt x="30" y="14"/>
                    <a:pt x="33" y="13"/>
                    <a:pt x="37" y="13"/>
                  </a:cubicBezTo>
                  <a:cubicBezTo>
                    <a:pt x="40" y="13"/>
                    <a:pt x="42" y="13"/>
                    <a:pt x="45" y="14"/>
                  </a:cubicBezTo>
                  <a:cubicBezTo>
                    <a:pt x="47" y="2"/>
                    <a:pt x="47" y="2"/>
                    <a:pt x="47" y="2"/>
                  </a:cubicBezTo>
                  <a:cubicBezTo>
                    <a:pt x="43" y="1"/>
                    <a:pt x="38" y="0"/>
                    <a:pt x="34" y="0"/>
                  </a:cubicBezTo>
                  <a:cubicBezTo>
                    <a:pt x="28" y="0"/>
                    <a:pt x="24" y="1"/>
                    <a:pt x="20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200" name="ïš1îḍè"/>
            <p:cNvSpPr/>
            <p:nvPr/>
          </p:nvSpPr>
          <p:spPr bwMode="auto">
            <a:xfrm>
              <a:off x="6890003" y="5672728"/>
              <a:ext cx="165100" cy="214313"/>
            </a:xfrm>
            <a:custGeom>
              <a:avLst/>
              <a:gdLst>
                <a:gd name="T0" fmla="*/ 71 w 90"/>
                <a:gd name="T1" fmla="*/ 55 h 116"/>
                <a:gd name="T2" fmla="*/ 46 w 90"/>
                <a:gd name="T3" fmla="*/ 48 h 116"/>
                <a:gd name="T4" fmla="*/ 23 w 90"/>
                <a:gd name="T5" fmla="*/ 40 h 116"/>
                <a:gd name="T6" fmla="*/ 19 w 90"/>
                <a:gd name="T7" fmla="*/ 30 h 116"/>
                <a:gd name="T8" fmla="*/ 25 w 90"/>
                <a:gd name="T9" fmla="*/ 18 h 116"/>
                <a:gd name="T10" fmla="*/ 45 w 90"/>
                <a:gd name="T11" fmla="*/ 13 h 116"/>
                <a:gd name="T12" fmla="*/ 64 w 90"/>
                <a:gd name="T13" fmla="*/ 19 h 116"/>
                <a:gd name="T14" fmla="*/ 72 w 90"/>
                <a:gd name="T15" fmla="*/ 35 h 116"/>
                <a:gd name="T16" fmla="*/ 86 w 90"/>
                <a:gd name="T17" fmla="*/ 34 h 116"/>
                <a:gd name="T18" fmla="*/ 81 w 90"/>
                <a:gd name="T19" fmla="*/ 16 h 116"/>
                <a:gd name="T20" fmla="*/ 66 w 90"/>
                <a:gd name="T21" fmla="*/ 4 h 116"/>
                <a:gd name="T22" fmla="*/ 44 w 90"/>
                <a:gd name="T23" fmla="*/ 0 h 116"/>
                <a:gd name="T24" fmla="*/ 24 w 90"/>
                <a:gd name="T25" fmla="*/ 4 h 116"/>
                <a:gd name="T26" fmla="*/ 10 w 90"/>
                <a:gd name="T27" fmla="*/ 15 h 116"/>
                <a:gd name="T28" fmla="*/ 5 w 90"/>
                <a:gd name="T29" fmla="*/ 31 h 116"/>
                <a:gd name="T30" fmla="*/ 9 w 90"/>
                <a:gd name="T31" fmla="*/ 45 h 116"/>
                <a:gd name="T32" fmla="*/ 21 w 90"/>
                <a:gd name="T33" fmla="*/ 56 h 116"/>
                <a:gd name="T34" fmla="*/ 42 w 90"/>
                <a:gd name="T35" fmla="*/ 63 h 116"/>
                <a:gd name="T36" fmla="*/ 62 w 90"/>
                <a:gd name="T37" fmla="*/ 68 h 116"/>
                <a:gd name="T38" fmla="*/ 72 w 90"/>
                <a:gd name="T39" fmla="*/ 75 h 116"/>
                <a:gd name="T40" fmla="*/ 75 w 90"/>
                <a:gd name="T41" fmla="*/ 84 h 116"/>
                <a:gd name="T42" fmla="*/ 72 w 90"/>
                <a:gd name="T43" fmla="*/ 93 h 116"/>
                <a:gd name="T44" fmla="*/ 63 w 90"/>
                <a:gd name="T45" fmla="*/ 100 h 116"/>
                <a:gd name="T46" fmla="*/ 48 w 90"/>
                <a:gd name="T47" fmla="*/ 103 h 116"/>
                <a:gd name="T48" fmla="*/ 30 w 90"/>
                <a:gd name="T49" fmla="*/ 100 h 116"/>
                <a:gd name="T50" fmla="*/ 19 w 90"/>
                <a:gd name="T51" fmla="*/ 91 h 116"/>
                <a:gd name="T52" fmla="*/ 14 w 90"/>
                <a:gd name="T53" fmla="*/ 77 h 116"/>
                <a:gd name="T54" fmla="*/ 0 w 90"/>
                <a:gd name="T55" fmla="*/ 78 h 116"/>
                <a:gd name="T56" fmla="*/ 7 w 90"/>
                <a:gd name="T57" fmla="*/ 98 h 116"/>
                <a:gd name="T58" fmla="*/ 23 w 90"/>
                <a:gd name="T59" fmla="*/ 112 h 116"/>
                <a:gd name="T60" fmla="*/ 48 w 90"/>
                <a:gd name="T61" fmla="*/ 116 h 116"/>
                <a:gd name="T62" fmla="*/ 70 w 90"/>
                <a:gd name="T63" fmla="*/ 112 h 116"/>
                <a:gd name="T64" fmla="*/ 85 w 90"/>
                <a:gd name="T65" fmla="*/ 100 h 116"/>
                <a:gd name="T66" fmla="*/ 90 w 90"/>
                <a:gd name="T67" fmla="*/ 83 h 116"/>
                <a:gd name="T68" fmla="*/ 85 w 90"/>
                <a:gd name="T69" fmla="*/ 67 h 116"/>
                <a:gd name="T70" fmla="*/ 71 w 90"/>
                <a:gd name="T71" fmla="*/ 55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90" h="116">
                  <a:moveTo>
                    <a:pt x="71" y="55"/>
                  </a:moveTo>
                  <a:cubicBezTo>
                    <a:pt x="66" y="53"/>
                    <a:pt x="58" y="51"/>
                    <a:pt x="46" y="48"/>
                  </a:cubicBezTo>
                  <a:cubicBezTo>
                    <a:pt x="34" y="45"/>
                    <a:pt x="26" y="43"/>
                    <a:pt x="23" y="40"/>
                  </a:cubicBezTo>
                  <a:cubicBezTo>
                    <a:pt x="21" y="38"/>
                    <a:pt x="19" y="34"/>
                    <a:pt x="19" y="30"/>
                  </a:cubicBezTo>
                  <a:cubicBezTo>
                    <a:pt x="19" y="26"/>
                    <a:pt x="21" y="22"/>
                    <a:pt x="25" y="18"/>
                  </a:cubicBezTo>
                  <a:cubicBezTo>
                    <a:pt x="29" y="15"/>
                    <a:pt x="36" y="13"/>
                    <a:pt x="45" y="13"/>
                  </a:cubicBezTo>
                  <a:cubicBezTo>
                    <a:pt x="53" y="13"/>
                    <a:pt x="60" y="15"/>
                    <a:pt x="64" y="19"/>
                  </a:cubicBezTo>
                  <a:cubicBezTo>
                    <a:pt x="69" y="22"/>
                    <a:pt x="71" y="28"/>
                    <a:pt x="72" y="35"/>
                  </a:cubicBezTo>
                  <a:cubicBezTo>
                    <a:pt x="86" y="34"/>
                    <a:pt x="86" y="34"/>
                    <a:pt x="86" y="34"/>
                  </a:cubicBezTo>
                  <a:cubicBezTo>
                    <a:pt x="86" y="27"/>
                    <a:pt x="84" y="21"/>
                    <a:pt x="81" y="16"/>
                  </a:cubicBezTo>
                  <a:cubicBezTo>
                    <a:pt x="77" y="11"/>
                    <a:pt x="73" y="7"/>
                    <a:pt x="66" y="4"/>
                  </a:cubicBezTo>
                  <a:cubicBezTo>
                    <a:pt x="60" y="2"/>
                    <a:pt x="53" y="0"/>
                    <a:pt x="44" y="0"/>
                  </a:cubicBezTo>
                  <a:cubicBezTo>
                    <a:pt x="37" y="0"/>
                    <a:pt x="30" y="1"/>
                    <a:pt x="24" y="4"/>
                  </a:cubicBezTo>
                  <a:cubicBezTo>
                    <a:pt x="17" y="7"/>
                    <a:pt x="13" y="10"/>
                    <a:pt x="10" y="15"/>
                  </a:cubicBezTo>
                  <a:cubicBezTo>
                    <a:pt x="6" y="20"/>
                    <a:pt x="5" y="25"/>
                    <a:pt x="5" y="31"/>
                  </a:cubicBezTo>
                  <a:cubicBezTo>
                    <a:pt x="5" y="36"/>
                    <a:pt x="6" y="41"/>
                    <a:pt x="9" y="45"/>
                  </a:cubicBezTo>
                  <a:cubicBezTo>
                    <a:pt x="11" y="49"/>
                    <a:pt x="15" y="53"/>
                    <a:pt x="21" y="56"/>
                  </a:cubicBezTo>
                  <a:cubicBezTo>
                    <a:pt x="25" y="58"/>
                    <a:pt x="32" y="60"/>
                    <a:pt x="42" y="63"/>
                  </a:cubicBezTo>
                  <a:cubicBezTo>
                    <a:pt x="53" y="65"/>
                    <a:pt x="59" y="67"/>
                    <a:pt x="62" y="68"/>
                  </a:cubicBezTo>
                  <a:cubicBezTo>
                    <a:pt x="67" y="70"/>
                    <a:pt x="70" y="72"/>
                    <a:pt x="72" y="75"/>
                  </a:cubicBezTo>
                  <a:cubicBezTo>
                    <a:pt x="74" y="77"/>
                    <a:pt x="75" y="80"/>
                    <a:pt x="75" y="84"/>
                  </a:cubicBezTo>
                  <a:cubicBezTo>
                    <a:pt x="75" y="87"/>
                    <a:pt x="74" y="91"/>
                    <a:pt x="72" y="93"/>
                  </a:cubicBezTo>
                  <a:cubicBezTo>
                    <a:pt x="70" y="96"/>
                    <a:pt x="67" y="99"/>
                    <a:pt x="63" y="100"/>
                  </a:cubicBezTo>
                  <a:cubicBezTo>
                    <a:pt x="58" y="102"/>
                    <a:pt x="53" y="103"/>
                    <a:pt x="48" y="103"/>
                  </a:cubicBezTo>
                  <a:cubicBezTo>
                    <a:pt x="41" y="103"/>
                    <a:pt x="35" y="102"/>
                    <a:pt x="30" y="100"/>
                  </a:cubicBezTo>
                  <a:cubicBezTo>
                    <a:pt x="25" y="97"/>
                    <a:pt x="22" y="94"/>
                    <a:pt x="19" y="91"/>
                  </a:cubicBezTo>
                  <a:cubicBezTo>
                    <a:pt x="17" y="87"/>
                    <a:pt x="15" y="83"/>
                    <a:pt x="14" y="77"/>
                  </a:cubicBezTo>
                  <a:cubicBezTo>
                    <a:pt x="0" y="78"/>
                    <a:pt x="0" y="78"/>
                    <a:pt x="0" y="78"/>
                  </a:cubicBezTo>
                  <a:cubicBezTo>
                    <a:pt x="1" y="86"/>
                    <a:pt x="3" y="93"/>
                    <a:pt x="7" y="98"/>
                  </a:cubicBezTo>
                  <a:cubicBezTo>
                    <a:pt x="11" y="104"/>
                    <a:pt x="16" y="109"/>
                    <a:pt x="23" y="112"/>
                  </a:cubicBezTo>
                  <a:cubicBezTo>
                    <a:pt x="30" y="115"/>
                    <a:pt x="38" y="116"/>
                    <a:pt x="48" y="116"/>
                  </a:cubicBezTo>
                  <a:cubicBezTo>
                    <a:pt x="56" y="116"/>
                    <a:pt x="64" y="115"/>
                    <a:pt x="70" y="112"/>
                  </a:cubicBezTo>
                  <a:cubicBezTo>
                    <a:pt x="76" y="109"/>
                    <a:pt x="81" y="105"/>
                    <a:pt x="85" y="100"/>
                  </a:cubicBezTo>
                  <a:cubicBezTo>
                    <a:pt x="88" y="94"/>
                    <a:pt x="90" y="89"/>
                    <a:pt x="90" y="83"/>
                  </a:cubicBezTo>
                  <a:cubicBezTo>
                    <a:pt x="90" y="77"/>
                    <a:pt x="88" y="71"/>
                    <a:pt x="85" y="67"/>
                  </a:cubicBezTo>
                  <a:cubicBezTo>
                    <a:pt x="82" y="62"/>
                    <a:pt x="77" y="58"/>
                    <a:pt x="71" y="5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201" name="iṥľïḍê"/>
            <p:cNvSpPr/>
            <p:nvPr/>
          </p:nvSpPr>
          <p:spPr bwMode="auto">
            <a:xfrm>
              <a:off x="7080503" y="5729878"/>
              <a:ext cx="131763" cy="157163"/>
            </a:xfrm>
            <a:custGeom>
              <a:avLst/>
              <a:gdLst>
                <a:gd name="T0" fmla="*/ 50 w 71"/>
                <a:gd name="T1" fmla="*/ 69 h 85"/>
                <a:gd name="T2" fmla="*/ 37 w 71"/>
                <a:gd name="T3" fmla="*/ 74 h 85"/>
                <a:gd name="T4" fmla="*/ 21 w 71"/>
                <a:gd name="T5" fmla="*/ 66 h 85"/>
                <a:gd name="T6" fmla="*/ 14 w 71"/>
                <a:gd name="T7" fmla="*/ 43 h 85"/>
                <a:gd name="T8" fmla="*/ 21 w 71"/>
                <a:gd name="T9" fmla="*/ 19 h 85"/>
                <a:gd name="T10" fmla="*/ 38 w 71"/>
                <a:gd name="T11" fmla="*/ 12 h 85"/>
                <a:gd name="T12" fmla="*/ 49 w 71"/>
                <a:gd name="T13" fmla="*/ 16 h 85"/>
                <a:gd name="T14" fmla="*/ 56 w 71"/>
                <a:gd name="T15" fmla="*/ 28 h 85"/>
                <a:gd name="T16" fmla="*/ 70 w 71"/>
                <a:gd name="T17" fmla="*/ 26 h 85"/>
                <a:gd name="T18" fmla="*/ 59 w 71"/>
                <a:gd name="T19" fmla="*/ 7 h 85"/>
                <a:gd name="T20" fmla="*/ 37 w 71"/>
                <a:gd name="T21" fmla="*/ 0 h 85"/>
                <a:gd name="T22" fmla="*/ 18 w 71"/>
                <a:gd name="T23" fmla="*/ 5 h 85"/>
                <a:gd name="T24" fmla="*/ 4 w 71"/>
                <a:gd name="T25" fmla="*/ 20 h 85"/>
                <a:gd name="T26" fmla="*/ 0 w 71"/>
                <a:gd name="T27" fmla="*/ 43 h 85"/>
                <a:gd name="T28" fmla="*/ 10 w 71"/>
                <a:gd name="T29" fmla="*/ 74 h 85"/>
                <a:gd name="T30" fmla="*/ 37 w 71"/>
                <a:gd name="T31" fmla="*/ 85 h 85"/>
                <a:gd name="T32" fmla="*/ 60 w 71"/>
                <a:gd name="T33" fmla="*/ 77 h 85"/>
                <a:gd name="T34" fmla="*/ 71 w 71"/>
                <a:gd name="T35" fmla="*/ 55 h 85"/>
                <a:gd name="T36" fmla="*/ 57 w 71"/>
                <a:gd name="T37" fmla="*/ 54 h 85"/>
                <a:gd name="T38" fmla="*/ 50 w 71"/>
                <a:gd name="T39" fmla="*/ 69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71" h="85">
                  <a:moveTo>
                    <a:pt x="50" y="69"/>
                  </a:moveTo>
                  <a:cubicBezTo>
                    <a:pt x="47" y="72"/>
                    <a:pt x="42" y="74"/>
                    <a:pt x="37" y="74"/>
                  </a:cubicBezTo>
                  <a:cubicBezTo>
                    <a:pt x="30" y="74"/>
                    <a:pt x="25" y="71"/>
                    <a:pt x="21" y="66"/>
                  </a:cubicBezTo>
                  <a:cubicBezTo>
                    <a:pt x="16" y="61"/>
                    <a:pt x="14" y="54"/>
                    <a:pt x="14" y="43"/>
                  </a:cubicBezTo>
                  <a:cubicBezTo>
                    <a:pt x="14" y="32"/>
                    <a:pt x="16" y="24"/>
                    <a:pt x="21" y="19"/>
                  </a:cubicBezTo>
                  <a:cubicBezTo>
                    <a:pt x="25" y="14"/>
                    <a:pt x="31" y="12"/>
                    <a:pt x="38" y="12"/>
                  </a:cubicBezTo>
                  <a:cubicBezTo>
                    <a:pt x="42" y="12"/>
                    <a:pt x="46" y="13"/>
                    <a:pt x="49" y="16"/>
                  </a:cubicBezTo>
                  <a:cubicBezTo>
                    <a:pt x="53" y="18"/>
                    <a:pt x="55" y="23"/>
                    <a:pt x="56" y="28"/>
                  </a:cubicBezTo>
                  <a:cubicBezTo>
                    <a:pt x="70" y="26"/>
                    <a:pt x="70" y="26"/>
                    <a:pt x="70" y="26"/>
                  </a:cubicBezTo>
                  <a:cubicBezTo>
                    <a:pt x="68" y="18"/>
                    <a:pt x="64" y="11"/>
                    <a:pt x="59" y="7"/>
                  </a:cubicBezTo>
                  <a:cubicBezTo>
                    <a:pt x="53" y="2"/>
                    <a:pt x="46" y="0"/>
                    <a:pt x="37" y="0"/>
                  </a:cubicBezTo>
                  <a:cubicBezTo>
                    <a:pt x="30" y="0"/>
                    <a:pt x="24" y="2"/>
                    <a:pt x="18" y="5"/>
                  </a:cubicBezTo>
                  <a:cubicBezTo>
                    <a:pt x="12" y="8"/>
                    <a:pt x="7" y="13"/>
                    <a:pt x="4" y="20"/>
                  </a:cubicBezTo>
                  <a:cubicBezTo>
                    <a:pt x="2" y="27"/>
                    <a:pt x="0" y="34"/>
                    <a:pt x="0" y="43"/>
                  </a:cubicBezTo>
                  <a:cubicBezTo>
                    <a:pt x="0" y="57"/>
                    <a:pt x="3" y="67"/>
                    <a:pt x="10" y="74"/>
                  </a:cubicBezTo>
                  <a:cubicBezTo>
                    <a:pt x="17" y="82"/>
                    <a:pt x="26" y="85"/>
                    <a:pt x="37" y="85"/>
                  </a:cubicBezTo>
                  <a:cubicBezTo>
                    <a:pt x="46" y="85"/>
                    <a:pt x="53" y="83"/>
                    <a:pt x="60" y="77"/>
                  </a:cubicBezTo>
                  <a:cubicBezTo>
                    <a:pt x="66" y="72"/>
                    <a:pt x="69" y="65"/>
                    <a:pt x="71" y="55"/>
                  </a:cubicBezTo>
                  <a:cubicBezTo>
                    <a:pt x="57" y="54"/>
                    <a:pt x="57" y="54"/>
                    <a:pt x="57" y="54"/>
                  </a:cubicBezTo>
                  <a:cubicBezTo>
                    <a:pt x="56" y="60"/>
                    <a:pt x="54" y="66"/>
                    <a:pt x="50" y="6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202" name="íṥ1ïdê"/>
            <p:cNvSpPr/>
            <p:nvPr/>
          </p:nvSpPr>
          <p:spPr bwMode="auto">
            <a:xfrm>
              <a:off x="7234491" y="5675903"/>
              <a:ext cx="25400" cy="3016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203" name="îṡ1îďé"/>
            <p:cNvSpPr/>
            <p:nvPr/>
          </p:nvSpPr>
          <p:spPr bwMode="auto">
            <a:xfrm>
              <a:off x="7234491" y="5733053"/>
              <a:ext cx="25400" cy="1492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204" name="íṩḷïḑé"/>
            <p:cNvSpPr/>
            <p:nvPr/>
          </p:nvSpPr>
          <p:spPr bwMode="auto">
            <a:xfrm>
              <a:off x="7290053" y="5729878"/>
              <a:ext cx="138113" cy="157163"/>
            </a:xfrm>
            <a:custGeom>
              <a:avLst/>
              <a:gdLst>
                <a:gd name="T0" fmla="*/ 38 w 75"/>
                <a:gd name="T1" fmla="*/ 0 h 85"/>
                <a:gd name="T2" fmla="*/ 10 w 75"/>
                <a:gd name="T3" fmla="*/ 12 h 85"/>
                <a:gd name="T4" fmla="*/ 0 w 75"/>
                <a:gd name="T5" fmla="*/ 43 h 85"/>
                <a:gd name="T6" fmla="*/ 10 w 75"/>
                <a:gd name="T7" fmla="*/ 74 h 85"/>
                <a:gd name="T8" fmla="*/ 39 w 75"/>
                <a:gd name="T9" fmla="*/ 85 h 85"/>
                <a:gd name="T10" fmla="*/ 62 w 75"/>
                <a:gd name="T11" fmla="*/ 78 h 85"/>
                <a:gd name="T12" fmla="*/ 74 w 75"/>
                <a:gd name="T13" fmla="*/ 59 h 85"/>
                <a:gd name="T14" fmla="*/ 60 w 75"/>
                <a:gd name="T15" fmla="*/ 57 h 85"/>
                <a:gd name="T16" fmla="*/ 52 w 75"/>
                <a:gd name="T17" fmla="*/ 70 h 85"/>
                <a:gd name="T18" fmla="*/ 39 w 75"/>
                <a:gd name="T19" fmla="*/ 74 h 85"/>
                <a:gd name="T20" fmla="*/ 22 w 75"/>
                <a:gd name="T21" fmla="*/ 67 h 85"/>
                <a:gd name="T22" fmla="*/ 14 w 75"/>
                <a:gd name="T23" fmla="*/ 46 h 85"/>
                <a:gd name="T24" fmla="*/ 75 w 75"/>
                <a:gd name="T25" fmla="*/ 46 h 85"/>
                <a:gd name="T26" fmla="*/ 75 w 75"/>
                <a:gd name="T27" fmla="*/ 43 h 85"/>
                <a:gd name="T28" fmla="*/ 65 w 75"/>
                <a:gd name="T29" fmla="*/ 11 h 85"/>
                <a:gd name="T30" fmla="*/ 38 w 75"/>
                <a:gd name="T31" fmla="*/ 0 h 85"/>
                <a:gd name="T32" fmla="*/ 15 w 75"/>
                <a:gd name="T33" fmla="*/ 35 h 85"/>
                <a:gd name="T34" fmla="*/ 22 w 75"/>
                <a:gd name="T35" fmla="*/ 18 h 85"/>
                <a:gd name="T36" fmla="*/ 38 w 75"/>
                <a:gd name="T37" fmla="*/ 12 h 85"/>
                <a:gd name="T38" fmla="*/ 55 w 75"/>
                <a:gd name="T39" fmla="*/ 20 h 85"/>
                <a:gd name="T40" fmla="*/ 60 w 75"/>
                <a:gd name="T41" fmla="*/ 35 h 85"/>
                <a:gd name="T42" fmla="*/ 15 w 75"/>
                <a:gd name="T43" fmla="*/ 35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75" h="85">
                  <a:moveTo>
                    <a:pt x="38" y="0"/>
                  </a:moveTo>
                  <a:cubicBezTo>
                    <a:pt x="27" y="0"/>
                    <a:pt x="18" y="4"/>
                    <a:pt x="10" y="12"/>
                  </a:cubicBezTo>
                  <a:cubicBezTo>
                    <a:pt x="3" y="19"/>
                    <a:pt x="0" y="30"/>
                    <a:pt x="0" y="43"/>
                  </a:cubicBezTo>
                  <a:cubicBezTo>
                    <a:pt x="0" y="57"/>
                    <a:pt x="3" y="67"/>
                    <a:pt x="10" y="74"/>
                  </a:cubicBezTo>
                  <a:cubicBezTo>
                    <a:pt x="17" y="81"/>
                    <a:pt x="27" y="85"/>
                    <a:pt x="39" y="85"/>
                  </a:cubicBezTo>
                  <a:cubicBezTo>
                    <a:pt x="48" y="85"/>
                    <a:pt x="56" y="83"/>
                    <a:pt x="62" y="78"/>
                  </a:cubicBezTo>
                  <a:cubicBezTo>
                    <a:pt x="68" y="74"/>
                    <a:pt x="72" y="67"/>
                    <a:pt x="74" y="59"/>
                  </a:cubicBezTo>
                  <a:cubicBezTo>
                    <a:pt x="60" y="57"/>
                    <a:pt x="60" y="57"/>
                    <a:pt x="60" y="57"/>
                  </a:cubicBezTo>
                  <a:cubicBezTo>
                    <a:pt x="58" y="63"/>
                    <a:pt x="55" y="67"/>
                    <a:pt x="52" y="70"/>
                  </a:cubicBezTo>
                  <a:cubicBezTo>
                    <a:pt x="48" y="73"/>
                    <a:pt x="44" y="74"/>
                    <a:pt x="39" y="74"/>
                  </a:cubicBezTo>
                  <a:cubicBezTo>
                    <a:pt x="32" y="74"/>
                    <a:pt x="26" y="71"/>
                    <a:pt x="22" y="67"/>
                  </a:cubicBezTo>
                  <a:cubicBezTo>
                    <a:pt x="17" y="62"/>
                    <a:pt x="15" y="55"/>
                    <a:pt x="14" y="46"/>
                  </a:cubicBezTo>
                  <a:cubicBezTo>
                    <a:pt x="75" y="46"/>
                    <a:pt x="75" y="46"/>
                    <a:pt x="75" y="46"/>
                  </a:cubicBezTo>
                  <a:cubicBezTo>
                    <a:pt x="75" y="45"/>
                    <a:pt x="75" y="43"/>
                    <a:pt x="75" y="43"/>
                  </a:cubicBezTo>
                  <a:cubicBezTo>
                    <a:pt x="75" y="29"/>
                    <a:pt x="71" y="19"/>
                    <a:pt x="65" y="11"/>
                  </a:cubicBezTo>
                  <a:cubicBezTo>
                    <a:pt x="58" y="4"/>
                    <a:pt x="49" y="0"/>
                    <a:pt x="38" y="0"/>
                  </a:cubicBezTo>
                  <a:close/>
                  <a:moveTo>
                    <a:pt x="15" y="35"/>
                  </a:moveTo>
                  <a:cubicBezTo>
                    <a:pt x="15" y="28"/>
                    <a:pt x="18" y="22"/>
                    <a:pt x="22" y="18"/>
                  </a:cubicBezTo>
                  <a:cubicBezTo>
                    <a:pt x="26" y="14"/>
                    <a:pt x="32" y="12"/>
                    <a:pt x="38" y="12"/>
                  </a:cubicBezTo>
                  <a:cubicBezTo>
                    <a:pt x="45" y="12"/>
                    <a:pt x="51" y="14"/>
                    <a:pt x="55" y="20"/>
                  </a:cubicBezTo>
                  <a:cubicBezTo>
                    <a:pt x="58" y="23"/>
                    <a:pt x="60" y="28"/>
                    <a:pt x="60" y="35"/>
                  </a:cubicBezTo>
                  <a:lnTo>
                    <a:pt x="15" y="3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205" name="ïşḷiḋè"/>
            <p:cNvSpPr/>
            <p:nvPr/>
          </p:nvSpPr>
          <p:spPr bwMode="auto">
            <a:xfrm>
              <a:off x="7458328" y="5729878"/>
              <a:ext cx="122238" cy="152400"/>
            </a:xfrm>
            <a:custGeom>
              <a:avLst/>
              <a:gdLst>
                <a:gd name="T0" fmla="*/ 61 w 66"/>
                <a:gd name="T1" fmla="*/ 10 h 83"/>
                <a:gd name="T2" fmla="*/ 51 w 66"/>
                <a:gd name="T3" fmla="*/ 3 h 83"/>
                <a:gd name="T4" fmla="*/ 38 w 66"/>
                <a:gd name="T5" fmla="*/ 0 h 83"/>
                <a:gd name="T6" fmla="*/ 12 w 66"/>
                <a:gd name="T7" fmla="*/ 14 h 83"/>
                <a:gd name="T8" fmla="*/ 12 w 66"/>
                <a:gd name="T9" fmla="*/ 2 h 83"/>
                <a:gd name="T10" fmla="*/ 0 w 66"/>
                <a:gd name="T11" fmla="*/ 2 h 83"/>
                <a:gd name="T12" fmla="*/ 0 w 66"/>
                <a:gd name="T13" fmla="*/ 83 h 83"/>
                <a:gd name="T14" fmla="*/ 13 w 66"/>
                <a:gd name="T15" fmla="*/ 83 h 83"/>
                <a:gd name="T16" fmla="*/ 13 w 66"/>
                <a:gd name="T17" fmla="*/ 39 h 83"/>
                <a:gd name="T18" fmla="*/ 20 w 66"/>
                <a:gd name="T19" fmla="*/ 18 h 83"/>
                <a:gd name="T20" fmla="*/ 35 w 66"/>
                <a:gd name="T21" fmla="*/ 12 h 83"/>
                <a:gd name="T22" fmla="*/ 45 w 66"/>
                <a:gd name="T23" fmla="*/ 15 h 83"/>
                <a:gd name="T24" fmla="*/ 50 w 66"/>
                <a:gd name="T25" fmla="*/ 21 h 83"/>
                <a:gd name="T26" fmla="*/ 52 w 66"/>
                <a:gd name="T27" fmla="*/ 34 h 83"/>
                <a:gd name="T28" fmla="*/ 52 w 66"/>
                <a:gd name="T29" fmla="*/ 83 h 83"/>
                <a:gd name="T30" fmla="*/ 66 w 66"/>
                <a:gd name="T31" fmla="*/ 83 h 83"/>
                <a:gd name="T32" fmla="*/ 66 w 66"/>
                <a:gd name="T33" fmla="*/ 33 h 83"/>
                <a:gd name="T34" fmla="*/ 65 w 66"/>
                <a:gd name="T35" fmla="*/ 20 h 83"/>
                <a:gd name="T36" fmla="*/ 61 w 66"/>
                <a:gd name="T37" fmla="*/ 10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6" h="83">
                  <a:moveTo>
                    <a:pt x="61" y="10"/>
                  </a:moveTo>
                  <a:cubicBezTo>
                    <a:pt x="59" y="7"/>
                    <a:pt x="56" y="5"/>
                    <a:pt x="51" y="3"/>
                  </a:cubicBezTo>
                  <a:cubicBezTo>
                    <a:pt x="47" y="1"/>
                    <a:pt x="43" y="0"/>
                    <a:pt x="38" y="0"/>
                  </a:cubicBezTo>
                  <a:cubicBezTo>
                    <a:pt x="27" y="0"/>
                    <a:pt x="18" y="5"/>
                    <a:pt x="12" y="14"/>
                  </a:cubicBezTo>
                  <a:cubicBezTo>
                    <a:pt x="12" y="2"/>
                    <a:pt x="12" y="2"/>
                    <a:pt x="12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83"/>
                    <a:pt x="0" y="83"/>
                    <a:pt x="0" y="83"/>
                  </a:cubicBezTo>
                  <a:cubicBezTo>
                    <a:pt x="13" y="83"/>
                    <a:pt x="13" y="83"/>
                    <a:pt x="13" y="83"/>
                  </a:cubicBezTo>
                  <a:cubicBezTo>
                    <a:pt x="13" y="39"/>
                    <a:pt x="13" y="39"/>
                    <a:pt x="13" y="39"/>
                  </a:cubicBezTo>
                  <a:cubicBezTo>
                    <a:pt x="13" y="29"/>
                    <a:pt x="16" y="21"/>
                    <a:pt x="20" y="18"/>
                  </a:cubicBezTo>
                  <a:cubicBezTo>
                    <a:pt x="24" y="14"/>
                    <a:pt x="29" y="12"/>
                    <a:pt x="35" y="12"/>
                  </a:cubicBezTo>
                  <a:cubicBezTo>
                    <a:pt x="39" y="12"/>
                    <a:pt x="42" y="13"/>
                    <a:pt x="45" y="15"/>
                  </a:cubicBezTo>
                  <a:cubicBezTo>
                    <a:pt x="47" y="16"/>
                    <a:pt x="49" y="19"/>
                    <a:pt x="50" y="21"/>
                  </a:cubicBezTo>
                  <a:cubicBezTo>
                    <a:pt x="51" y="24"/>
                    <a:pt x="52" y="28"/>
                    <a:pt x="52" y="34"/>
                  </a:cubicBezTo>
                  <a:cubicBezTo>
                    <a:pt x="52" y="83"/>
                    <a:pt x="52" y="83"/>
                    <a:pt x="52" y="83"/>
                  </a:cubicBezTo>
                  <a:cubicBezTo>
                    <a:pt x="66" y="83"/>
                    <a:pt x="66" y="83"/>
                    <a:pt x="66" y="83"/>
                  </a:cubicBezTo>
                  <a:cubicBezTo>
                    <a:pt x="66" y="33"/>
                    <a:pt x="66" y="33"/>
                    <a:pt x="66" y="33"/>
                  </a:cubicBezTo>
                  <a:cubicBezTo>
                    <a:pt x="66" y="27"/>
                    <a:pt x="65" y="23"/>
                    <a:pt x="65" y="20"/>
                  </a:cubicBezTo>
                  <a:cubicBezTo>
                    <a:pt x="64" y="16"/>
                    <a:pt x="63" y="13"/>
                    <a:pt x="61" y="1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206" name="îṩľiḍé"/>
            <p:cNvSpPr/>
            <p:nvPr/>
          </p:nvSpPr>
          <p:spPr bwMode="auto">
            <a:xfrm>
              <a:off x="7612316" y="5729878"/>
              <a:ext cx="128588" cy="157163"/>
            </a:xfrm>
            <a:custGeom>
              <a:avLst/>
              <a:gdLst>
                <a:gd name="T0" fmla="*/ 50 w 70"/>
                <a:gd name="T1" fmla="*/ 69 h 85"/>
                <a:gd name="T2" fmla="*/ 36 w 70"/>
                <a:gd name="T3" fmla="*/ 74 h 85"/>
                <a:gd name="T4" fmla="*/ 20 w 70"/>
                <a:gd name="T5" fmla="*/ 66 h 85"/>
                <a:gd name="T6" fmla="*/ 14 w 70"/>
                <a:gd name="T7" fmla="*/ 43 h 85"/>
                <a:gd name="T8" fmla="*/ 20 w 70"/>
                <a:gd name="T9" fmla="*/ 19 h 85"/>
                <a:gd name="T10" fmla="*/ 37 w 70"/>
                <a:gd name="T11" fmla="*/ 12 h 85"/>
                <a:gd name="T12" fmla="*/ 49 w 70"/>
                <a:gd name="T13" fmla="*/ 16 h 85"/>
                <a:gd name="T14" fmla="*/ 56 w 70"/>
                <a:gd name="T15" fmla="*/ 28 h 85"/>
                <a:gd name="T16" fmla="*/ 69 w 70"/>
                <a:gd name="T17" fmla="*/ 26 h 85"/>
                <a:gd name="T18" fmla="*/ 58 w 70"/>
                <a:gd name="T19" fmla="*/ 7 h 85"/>
                <a:gd name="T20" fmla="*/ 37 w 70"/>
                <a:gd name="T21" fmla="*/ 0 h 85"/>
                <a:gd name="T22" fmla="*/ 17 w 70"/>
                <a:gd name="T23" fmla="*/ 5 h 85"/>
                <a:gd name="T24" fmla="*/ 4 w 70"/>
                <a:gd name="T25" fmla="*/ 20 h 85"/>
                <a:gd name="T26" fmla="*/ 0 w 70"/>
                <a:gd name="T27" fmla="*/ 43 h 85"/>
                <a:gd name="T28" fmla="*/ 10 w 70"/>
                <a:gd name="T29" fmla="*/ 74 h 85"/>
                <a:gd name="T30" fmla="*/ 37 w 70"/>
                <a:gd name="T31" fmla="*/ 85 h 85"/>
                <a:gd name="T32" fmla="*/ 59 w 70"/>
                <a:gd name="T33" fmla="*/ 77 h 85"/>
                <a:gd name="T34" fmla="*/ 70 w 70"/>
                <a:gd name="T35" fmla="*/ 55 h 85"/>
                <a:gd name="T36" fmla="*/ 57 w 70"/>
                <a:gd name="T37" fmla="*/ 54 h 85"/>
                <a:gd name="T38" fmla="*/ 50 w 70"/>
                <a:gd name="T39" fmla="*/ 69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70" h="85">
                  <a:moveTo>
                    <a:pt x="50" y="69"/>
                  </a:moveTo>
                  <a:cubicBezTo>
                    <a:pt x="46" y="72"/>
                    <a:pt x="42" y="74"/>
                    <a:pt x="36" y="74"/>
                  </a:cubicBezTo>
                  <a:cubicBezTo>
                    <a:pt x="30" y="74"/>
                    <a:pt x="24" y="71"/>
                    <a:pt x="20" y="66"/>
                  </a:cubicBezTo>
                  <a:cubicBezTo>
                    <a:pt x="16" y="61"/>
                    <a:pt x="14" y="54"/>
                    <a:pt x="14" y="43"/>
                  </a:cubicBezTo>
                  <a:cubicBezTo>
                    <a:pt x="14" y="32"/>
                    <a:pt x="16" y="24"/>
                    <a:pt x="20" y="19"/>
                  </a:cubicBezTo>
                  <a:cubicBezTo>
                    <a:pt x="25" y="14"/>
                    <a:pt x="30" y="12"/>
                    <a:pt x="37" y="12"/>
                  </a:cubicBezTo>
                  <a:cubicBezTo>
                    <a:pt x="42" y="12"/>
                    <a:pt x="46" y="13"/>
                    <a:pt x="49" y="16"/>
                  </a:cubicBezTo>
                  <a:cubicBezTo>
                    <a:pt x="52" y="18"/>
                    <a:pt x="54" y="23"/>
                    <a:pt x="56" y="28"/>
                  </a:cubicBezTo>
                  <a:cubicBezTo>
                    <a:pt x="69" y="26"/>
                    <a:pt x="69" y="26"/>
                    <a:pt x="69" y="26"/>
                  </a:cubicBezTo>
                  <a:cubicBezTo>
                    <a:pt x="68" y="18"/>
                    <a:pt x="64" y="11"/>
                    <a:pt x="58" y="7"/>
                  </a:cubicBezTo>
                  <a:cubicBezTo>
                    <a:pt x="53" y="2"/>
                    <a:pt x="46" y="0"/>
                    <a:pt x="37" y="0"/>
                  </a:cubicBezTo>
                  <a:cubicBezTo>
                    <a:pt x="30" y="0"/>
                    <a:pt x="23" y="2"/>
                    <a:pt x="17" y="5"/>
                  </a:cubicBezTo>
                  <a:cubicBezTo>
                    <a:pt x="11" y="8"/>
                    <a:pt x="7" y="13"/>
                    <a:pt x="4" y="20"/>
                  </a:cubicBezTo>
                  <a:cubicBezTo>
                    <a:pt x="1" y="27"/>
                    <a:pt x="0" y="34"/>
                    <a:pt x="0" y="43"/>
                  </a:cubicBezTo>
                  <a:cubicBezTo>
                    <a:pt x="0" y="57"/>
                    <a:pt x="3" y="67"/>
                    <a:pt x="10" y="74"/>
                  </a:cubicBezTo>
                  <a:cubicBezTo>
                    <a:pt x="17" y="82"/>
                    <a:pt x="26" y="85"/>
                    <a:pt x="37" y="85"/>
                  </a:cubicBezTo>
                  <a:cubicBezTo>
                    <a:pt x="45" y="85"/>
                    <a:pt x="53" y="83"/>
                    <a:pt x="59" y="77"/>
                  </a:cubicBezTo>
                  <a:cubicBezTo>
                    <a:pt x="65" y="72"/>
                    <a:pt x="69" y="65"/>
                    <a:pt x="70" y="55"/>
                  </a:cubicBezTo>
                  <a:cubicBezTo>
                    <a:pt x="57" y="54"/>
                    <a:pt x="57" y="54"/>
                    <a:pt x="57" y="54"/>
                  </a:cubicBezTo>
                  <a:cubicBezTo>
                    <a:pt x="56" y="60"/>
                    <a:pt x="54" y="66"/>
                    <a:pt x="50" y="6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207" name="íṡḷïďe"/>
            <p:cNvSpPr/>
            <p:nvPr/>
          </p:nvSpPr>
          <p:spPr bwMode="auto">
            <a:xfrm>
              <a:off x="7755191" y="5729878"/>
              <a:ext cx="138113" cy="157163"/>
            </a:xfrm>
            <a:custGeom>
              <a:avLst/>
              <a:gdLst>
                <a:gd name="T0" fmla="*/ 38 w 75"/>
                <a:gd name="T1" fmla="*/ 0 h 85"/>
                <a:gd name="T2" fmla="*/ 10 w 75"/>
                <a:gd name="T3" fmla="*/ 12 h 85"/>
                <a:gd name="T4" fmla="*/ 0 w 75"/>
                <a:gd name="T5" fmla="*/ 43 h 85"/>
                <a:gd name="T6" fmla="*/ 10 w 75"/>
                <a:gd name="T7" fmla="*/ 74 h 85"/>
                <a:gd name="T8" fmla="*/ 38 w 75"/>
                <a:gd name="T9" fmla="*/ 85 h 85"/>
                <a:gd name="T10" fmla="*/ 62 w 75"/>
                <a:gd name="T11" fmla="*/ 78 h 85"/>
                <a:gd name="T12" fmla="*/ 74 w 75"/>
                <a:gd name="T13" fmla="*/ 59 h 85"/>
                <a:gd name="T14" fmla="*/ 60 w 75"/>
                <a:gd name="T15" fmla="*/ 57 h 85"/>
                <a:gd name="T16" fmla="*/ 51 w 75"/>
                <a:gd name="T17" fmla="*/ 70 h 85"/>
                <a:gd name="T18" fmla="*/ 38 w 75"/>
                <a:gd name="T19" fmla="*/ 74 h 85"/>
                <a:gd name="T20" fmla="*/ 21 w 75"/>
                <a:gd name="T21" fmla="*/ 67 h 85"/>
                <a:gd name="T22" fmla="*/ 14 w 75"/>
                <a:gd name="T23" fmla="*/ 46 h 85"/>
                <a:gd name="T24" fmla="*/ 75 w 75"/>
                <a:gd name="T25" fmla="*/ 46 h 85"/>
                <a:gd name="T26" fmla="*/ 75 w 75"/>
                <a:gd name="T27" fmla="*/ 43 h 85"/>
                <a:gd name="T28" fmla="*/ 64 w 75"/>
                <a:gd name="T29" fmla="*/ 11 h 85"/>
                <a:gd name="T30" fmla="*/ 38 w 75"/>
                <a:gd name="T31" fmla="*/ 0 h 85"/>
                <a:gd name="T32" fmla="*/ 15 w 75"/>
                <a:gd name="T33" fmla="*/ 35 h 85"/>
                <a:gd name="T34" fmla="*/ 22 w 75"/>
                <a:gd name="T35" fmla="*/ 18 h 85"/>
                <a:gd name="T36" fmla="*/ 38 w 75"/>
                <a:gd name="T37" fmla="*/ 12 h 85"/>
                <a:gd name="T38" fmla="*/ 55 w 75"/>
                <a:gd name="T39" fmla="*/ 20 h 85"/>
                <a:gd name="T40" fmla="*/ 60 w 75"/>
                <a:gd name="T41" fmla="*/ 35 h 85"/>
                <a:gd name="T42" fmla="*/ 15 w 75"/>
                <a:gd name="T43" fmla="*/ 35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75" h="85">
                  <a:moveTo>
                    <a:pt x="38" y="0"/>
                  </a:moveTo>
                  <a:cubicBezTo>
                    <a:pt x="26" y="0"/>
                    <a:pt x="17" y="4"/>
                    <a:pt x="10" y="12"/>
                  </a:cubicBezTo>
                  <a:cubicBezTo>
                    <a:pt x="3" y="19"/>
                    <a:pt x="0" y="30"/>
                    <a:pt x="0" y="43"/>
                  </a:cubicBezTo>
                  <a:cubicBezTo>
                    <a:pt x="0" y="57"/>
                    <a:pt x="3" y="67"/>
                    <a:pt x="10" y="74"/>
                  </a:cubicBezTo>
                  <a:cubicBezTo>
                    <a:pt x="17" y="81"/>
                    <a:pt x="26" y="85"/>
                    <a:pt x="38" y="85"/>
                  </a:cubicBezTo>
                  <a:cubicBezTo>
                    <a:pt x="48" y="85"/>
                    <a:pt x="56" y="83"/>
                    <a:pt x="62" y="78"/>
                  </a:cubicBezTo>
                  <a:cubicBezTo>
                    <a:pt x="68" y="74"/>
                    <a:pt x="72" y="67"/>
                    <a:pt x="74" y="59"/>
                  </a:cubicBezTo>
                  <a:cubicBezTo>
                    <a:pt x="60" y="57"/>
                    <a:pt x="60" y="57"/>
                    <a:pt x="60" y="57"/>
                  </a:cubicBezTo>
                  <a:cubicBezTo>
                    <a:pt x="58" y="63"/>
                    <a:pt x="55" y="67"/>
                    <a:pt x="51" y="70"/>
                  </a:cubicBezTo>
                  <a:cubicBezTo>
                    <a:pt x="48" y="73"/>
                    <a:pt x="43" y="74"/>
                    <a:pt x="38" y="74"/>
                  </a:cubicBezTo>
                  <a:cubicBezTo>
                    <a:pt x="32" y="74"/>
                    <a:pt x="26" y="71"/>
                    <a:pt x="21" y="67"/>
                  </a:cubicBezTo>
                  <a:cubicBezTo>
                    <a:pt x="17" y="62"/>
                    <a:pt x="14" y="55"/>
                    <a:pt x="14" y="46"/>
                  </a:cubicBezTo>
                  <a:cubicBezTo>
                    <a:pt x="75" y="46"/>
                    <a:pt x="75" y="46"/>
                    <a:pt x="75" y="46"/>
                  </a:cubicBezTo>
                  <a:cubicBezTo>
                    <a:pt x="75" y="45"/>
                    <a:pt x="75" y="43"/>
                    <a:pt x="75" y="43"/>
                  </a:cubicBezTo>
                  <a:cubicBezTo>
                    <a:pt x="75" y="29"/>
                    <a:pt x="71" y="19"/>
                    <a:pt x="64" y="11"/>
                  </a:cubicBezTo>
                  <a:cubicBezTo>
                    <a:pt x="57" y="4"/>
                    <a:pt x="48" y="0"/>
                    <a:pt x="38" y="0"/>
                  </a:cubicBezTo>
                  <a:close/>
                  <a:moveTo>
                    <a:pt x="15" y="35"/>
                  </a:moveTo>
                  <a:cubicBezTo>
                    <a:pt x="15" y="28"/>
                    <a:pt x="17" y="22"/>
                    <a:pt x="22" y="18"/>
                  </a:cubicBezTo>
                  <a:cubicBezTo>
                    <a:pt x="26" y="14"/>
                    <a:pt x="31" y="12"/>
                    <a:pt x="38" y="12"/>
                  </a:cubicBezTo>
                  <a:cubicBezTo>
                    <a:pt x="45" y="12"/>
                    <a:pt x="50" y="14"/>
                    <a:pt x="55" y="20"/>
                  </a:cubicBezTo>
                  <a:cubicBezTo>
                    <a:pt x="58" y="23"/>
                    <a:pt x="59" y="28"/>
                    <a:pt x="60" y="35"/>
                  </a:cubicBezTo>
                  <a:lnTo>
                    <a:pt x="15" y="3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208" name="í$ľîde"/>
            <p:cNvSpPr/>
            <p:nvPr/>
          </p:nvSpPr>
          <p:spPr bwMode="auto">
            <a:xfrm>
              <a:off x="7994903" y="5729878"/>
              <a:ext cx="138113" cy="157163"/>
            </a:xfrm>
            <a:custGeom>
              <a:avLst/>
              <a:gdLst>
                <a:gd name="T0" fmla="*/ 71 w 75"/>
                <a:gd name="T1" fmla="*/ 49 h 85"/>
                <a:gd name="T2" fmla="*/ 71 w 75"/>
                <a:gd name="T3" fmla="*/ 31 h 85"/>
                <a:gd name="T4" fmla="*/ 70 w 75"/>
                <a:gd name="T5" fmla="*/ 18 h 85"/>
                <a:gd name="T6" fmla="*/ 66 w 75"/>
                <a:gd name="T7" fmla="*/ 9 h 85"/>
                <a:gd name="T8" fmla="*/ 56 w 75"/>
                <a:gd name="T9" fmla="*/ 3 h 85"/>
                <a:gd name="T10" fmla="*/ 39 w 75"/>
                <a:gd name="T11" fmla="*/ 0 h 85"/>
                <a:gd name="T12" fmla="*/ 21 w 75"/>
                <a:gd name="T13" fmla="*/ 3 h 85"/>
                <a:gd name="T14" fmla="*/ 9 w 75"/>
                <a:gd name="T15" fmla="*/ 11 h 85"/>
                <a:gd name="T16" fmla="*/ 3 w 75"/>
                <a:gd name="T17" fmla="*/ 25 h 85"/>
                <a:gd name="T18" fmla="*/ 16 w 75"/>
                <a:gd name="T19" fmla="*/ 27 h 85"/>
                <a:gd name="T20" fmla="*/ 23 w 75"/>
                <a:gd name="T21" fmla="*/ 15 h 85"/>
                <a:gd name="T22" fmla="*/ 37 w 75"/>
                <a:gd name="T23" fmla="*/ 12 h 85"/>
                <a:gd name="T24" fmla="*/ 53 w 75"/>
                <a:gd name="T25" fmla="*/ 16 h 85"/>
                <a:gd name="T26" fmla="*/ 57 w 75"/>
                <a:gd name="T27" fmla="*/ 28 h 85"/>
                <a:gd name="T28" fmla="*/ 57 w 75"/>
                <a:gd name="T29" fmla="*/ 32 h 85"/>
                <a:gd name="T30" fmla="*/ 32 w 75"/>
                <a:gd name="T31" fmla="*/ 36 h 85"/>
                <a:gd name="T32" fmla="*/ 20 w 75"/>
                <a:gd name="T33" fmla="*/ 39 h 85"/>
                <a:gd name="T34" fmla="*/ 10 w 75"/>
                <a:gd name="T35" fmla="*/ 43 h 85"/>
                <a:gd name="T36" fmla="*/ 3 w 75"/>
                <a:gd name="T37" fmla="*/ 51 h 85"/>
                <a:gd name="T38" fmla="*/ 0 w 75"/>
                <a:gd name="T39" fmla="*/ 62 h 85"/>
                <a:gd name="T40" fmla="*/ 7 w 75"/>
                <a:gd name="T41" fmla="*/ 79 h 85"/>
                <a:gd name="T42" fmla="*/ 28 w 75"/>
                <a:gd name="T43" fmla="*/ 85 h 85"/>
                <a:gd name="T44" fmla="*/ 43 w 75"/>
                <a:gd name="T45" fmla="*/ 82 h 85"/>
                <a:gd name="T46" fmla="*/ 58 w 75"/>
                <a:gd name="T47" fmla="*/ 73 h 85"/>
                <a:gd name="T48" fmla="*/ 61 w 75"/>
                <a:gd name="T49" fmla="*/ 83 h 85"/>
                <a:gd name="T50" fmla="*/ 75 w 75"/>
                <a:gd name="T51" fmla="*/ 83 h 85"/>
                <a:gd name="T52" fmla="*/ 72 w 75"/>
                <a:gd name="T53" fmla="*/ 74 h 85"/>
                <a:gd name="T54" fmla="*/ 71 w 75"/>
                <a:gd name="T55" fmla="*/ 49 h 85"/>
                <a:gd name="T56" fmla="*/ 57 w 75"/>
                <a:gd name="T57" fmla="*/ 48 h 85"/>
                <a:gd name="T58" fmla="*/ 55 w 75"/>
                <a:gd name="T59" fmla="*/ 61 h 85"/>
                <a:gd name="T60" fmla="*/ 46 w 75"/>
                <a:gd name="T61" fmla="*/ 71 h 85"/>
                <a:gd name="T62" fmla="*/ 31 w 75"/>
                <a:gd name="T63" fmla="*/ 74 h 85"/>
                <a:gd name="T64" fmla="*/ 19 w 75"/>
                <a:gd name="T65" fmla="*/ 71 h 85"/>
                <a:gd name="T66" fmla="*/ 15 w 75"/>
                <a:gd name="T67" fmla="*/ 62 h 85"/>
                <a:gd name="T68" fmla="*/ 17 w 75"/>
                <a:gd name="T69" fmla="*/ 55 h 85"/>
                <a:gd name="T70" fmla="*/ 22 w 75"/>
                <a:gd name="T71" fmla="*/ 50 h 85"/>
                <a:gd name="T72" fmla="*/ 34 w 75"/>
                <a:gd name="T73" fmla="*/ 48 h 85"/>
                <a:gd name="T74" fmla="*/ 57 w 75"/>
                <a:gd name="T75" fmla="*/ 43 h 85"/>
                <a:gd name="T76" fmla="*/ 57 w 75"/>
                <a:gd name="T77" fmla="*/ 48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75" h="85">
                  <a:moveTo>
                    <a:pt x="71" y="49"/>
                  </a:moveTo>
                  <a:cubicBezTo>
                    <a:pt x="71" y="31"/>
                    <a:pt x="71" y="31"/>
                    <a:pt x="71" y="31"/>
                  </a:cubicBezTo>
                  <a:cubicBezTo>
                    <a:pt x="71" y="25"/>
                    <a:pt x="71" y="21"/>
                    <a:pt x="70" y="18"/>
                  </a:cubicBezTo>
                  <a:cubicBezTo>
                    <a:pt x="69" y="14"/>
                    <a:pt x="68" y="11"/>
                    <a:pt x="66" y="9"/>
                  </a:cubicBezTo>
                  <a:cubicBezTo>
                    <a:pt x="64" y="6"/>
                    <a:pt x="61" y="4"/>
                    <a:pt x="56" y="3"/>
                  </a:cubicBezTo>
                  <a:cubicBezTo>
                    <a:pt x="52" y="1"/>
                    <a:pt x="46" y="0"/>
                    <a:pt x="39" y="0"/>
                  </a:cubicBezTo>
                  <a:cubicBezTo>
                    <a:pt x="32" y="0"/>
                    <a:pt x="26" y="1"/>
                    <a:pt x="21" y="3"/>
                  </a:cubicBezTo>
                  <a:cubicBezTo>
                    <a:pt x="16" y="5"/>
                    <a:pt x="12" y="8"/>
                    <a:pt x="9" y="11"/>
                  </a:cubicBezTo>
                  <a:cubicBezTo>
                    <a:pt x="6" y="15"/>
                    <a:pt x="4" y="19"/>
                    <a:pt x="3" y="25"/>
                  </a:cubicBezTo>
                  <a:cubicBezTo>
                    <a:pt x="16" y="27"/>
                    <a:pt x="16" y="27"/>
                    <a:pt x="16" y="27"/>
                  </a:cubicBezTo>
                  <a:cubicBezTo>
                    <a:pt x="18" y="21"/>
                    <a:pt x="20" y="17"/>
                    <a:pt x="23" y="15"/>
                  </a:cubicBezTo>
                  <a:cubicBezTo>
                    <a:pt x="26" y="13"/>
                    <a:pt x="31" y="12"/>
                    <a:pt x="37" y="12"/>
                  </a:cubicBezTo>
                  <a:cubicBezTo>
                    <a:pt x="44" y="12"/>
                    <a:pt x="50" y="13"/>
                    <a:pt x="53" y="16"/>
                  </a:cubicBezTo>
                  <a:cubicBezTo>
                    <a:pt x="56" y="19"/>
                    <a:pt x="57" y="23"/>
                    <a:pt x="57" y="28"/>
                  </a:cubicBezTo>
                  <a:cubicBezTo>
                    <a:pt x="57" y="29"/>
                    <a:pt x="57" y="30"/>
                    <a:pt x="57" y="32"/>
                  </a:cubicBezTo>
                  <a:cubicBezTo>
                    <a:pt x="52" y="34"/>
                    <a:pt x="43" y="35"/>
                    <a:pt x="32" y="36"/>
                  </a:cubicBezTo>
                  <a:cubicBezTo>
                    <a:pt x="27" y="37"/>
                    <a:pt x="23" y="38"/>
                    <a:pt x="20" y="39"/>
                  </a:cubicBezTo>
                  <a:cubicBezTo>
                    <a:pt x="16" y="40"/>
                    <a:pt x="13" y="41"/>
                    <a:pt x="10" y="43"/>
                  </a:cubicBezTo>
                  <a:cubicBezTo>
                    <a:pt x="7" y="45"/>
                    <a:pt x="5" y="48"/>
                    <a:pt x="3" y="51"/>
                  </a:cubicBezTo>
                  <a:cubicBezTo>
                    <a:pt x="1" y="54"/>
                    <a:pt x="0" y="58"/>
                    <a:pt x="0" y="62"/>
                  </a:cubicBezTo>
                  <a:cubicBezTo>
                    <a:pt x="0" y="69"/>
                    <a:pt x="3" y="74"/>
                    <a:pt x="7" y="79"/>
                  </a:cubicBezTo>
                  <a:cubicBezTo>
                    <a:pt x="12" y="83"/>
                    <a:pt x="19" y="85"/>
                    <a:pt x="28" y="85"/>
                  </a:cubicBezTo>
                  <a:cubicBezTo>
                    <a:pt x="33" y="85"/>
                    <a:pt x="39" y="84"/>
                    <a:pt x="43" y="82"/>
                  </a:cubicBezTo>
                  <a:cubicBezTo>
                    <a:pt x="48" y="81"/>
                    <a:pt x="53" y="78"/>
                    <a:pt x="58" y="73"/>
                  </a:cubicBezTo>
                  <a:cubicBezTo>
                    <a:pt x="58" y="77"/>
                    <a:pt x="59" y="80"/>
                    <a:pt x="61" y="83"/>
                  </a:cubicBezTo>
                  <a:cubicBezTo>
                    <a:pt x="75" y="83"/>
                    <a:pt x="75" y="83"/>
                    <a:pt x="75" y="83"/>
                  </a:cubicBezTo>
                  <a:cubicBezTo>
                    <a:pt x="73" y="80"/>
                    <a:pt x="72" y="77"/>
                    <a:pt x="72" y="74"/>
                  </a:cubicBezTo>
                  <a:cubicBezTo>
                    <a:pt x="71" y="70"/>
                    <a:pt x="71" y="62"/>
                    <a:pt x="71" y="49"/>
                  </a:cubicBezTo>
                  <a:close/>
                  <a:moveTo>
                    <a:pt x="57" y="48"/>
                  </a:moveTo>
                  <a:cubicBezTo>
                    <a:pt x="57" y="54"/>
                    <a:pt x="56" y="58"/>
                    <a:pt x="55" y="61"/>
                  </a:cubicBezTo>
                  <a:cubicBezTo>
                    <a:pt x="53" y="65"/>
                    <a:pt x="50" y="69"/>
                    <a:pt x="46" y="71"/>
                  </a:cubicBezTo>
                  <a:cubicBezTo>
                    <a:pt x="41" y="73"/>
                    <a:pt x="37" y="74"/>
                    <a:pt x="31" y="74"/>
                  </a:cubicBezTo>
                  <a:cubicBezTo>
                    <a:pt x="26" y="74"/>
                    <a:pt x="22" y="73"/>
                    <a:pt x="19" y="71"/>
                  </a:cubicBezTo>
                  <a:cubicBezTo>
                    <a:pt x="16" y="68"/>
                    <a:pt x="15" y="65"/>
                    <a:pt x="15" y="62"/>
                  </a:cubicBezTo>
                  <a:cubicBezTo>
                    <a:pt x="15" y="59"/>
                    <a:pt x="16" y="57"/>
                    <a:pt x="17" y="55"/>
                  </a:cubicBezTo>
                  <a:cubicBezTo>
                    <a:pt x="18" y="53"/>
                    <a:pt x="20" y="52"/>
                    <a:pt x="22" y="50"/>
                  </a:cubicBezTo>
                  <a:cubicBezTo>
                    <a:pt x="25" y="49"/>
                    <a:pt x="29" y="49"/>
                    <a:pt x="34" y="48"/>
                  </a:cubicBezTo>
                  <a:cubicBezTo>
                    <a:pt x="44" y="46"/>
                    <a:pt x="52" y="45"/>
                    <a:pt x="57" y="43"/>
                  </a:cubicBezTo>
                  <a:lnTo>
                    <a:pt x="57" y="4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209" name="ï$ḻíḋê"/>
            <p:cNvSpPr/>
            <p:nvPr/>
          </p:nvSpPr>
          <p:spPr bwMode="auto">
            <a:xfrm>
              <a:off x="8164766" y="5729878"/>
              <a:ext cx="122238" cy="152400"/>
            </a:xfrm>
            <a:custGeom>
              <a:avLst/>
              <a:gdLst>
                <a:gd name="T0" fmla="*/ 61 w 66"/>
                <a:gd name="T1" fmla="*/ 10 h 83"/>
                <a:gd name="T2" fmla="*/ 52 w 66"/>
                <a:gd name="T3" fmla="*/ 3 h 83"/>
                <a:gd name="T4" fmla="*/ 38 w 66"/>
                <a:gd name="T5" fmla="*/ 0 h 83"/>
                <a:gd name="T6" fmla="*/ 13 w 66"/>
                <a:gd name="T7" fmla="*/ 14 h 83"/>
                <a:gd name="T8" fmla="*/ 13 w 66"/>
                <a:gd name="T9" fmla="*/ 2 h 83"/>
                <a:gd name="T10" fmla="*/ 0 w 66"/>
                <a:gd name="T11" fmla="*/ 2 h 83"/>
                <a:gd name="T12" fmla="*/ 0 w 66"/>
                <a:gd name="T13" fmla="*/ 83 h 83"/>
                <a:gd name="T14" fmla="*/ 14 w 66"/>
                <a:gd name="T15" fmla="*/ 83 h 83"/>
                <a:gd name="T16" fmla="*/ 14 w 66"/>
                <a:gd name="T17" fmla="*/ 39 h 83"/>
                <a:gd name="T18" fmla="*/ 20 w 66"/>
                <a:gd name="T19" fmla="*/ 18 h 83"/>
                <a:gd name="T20" fmla="*/ 36 w 66"/>
                <a:gd name="T21" fmla="*/ 12 h 83"/>
                <a:gd name="T22" fmla="*/ 45 w 66"/>
                <a:gd name="T23" fmla="*/ 15 h 83"/>
                <a:gd name="T24" fmla="*/ 51 w 66"/>
                <a:gd name="T25" fmla="*/ 21 h 83"/>
                <a:gd name="T26" fmla="*/ 52 w 66"/>
                <a:gd name="T27" fmla="*/ 34 h 83"/>
                <a:gd name="T28" fmla="*/ 52 w 66"/>
                <a:gd name="T29" fmla="*/ 83 h 83"/>
                <a:gd name="T30" fmla="*/ 66 w 66"/>
                <a:gd name="T31" fmla="*/ 83 h 83"/>
                <a:gd name="T32" fmla="*/ 66 w 66"/>
                <a:gd name="T33" fmla="*/ 33 h 83"/>
                <a:gd name="T34" fmla="*/ 65 w 66"/>
                <a:gd name="T35" fmla="*/ 20 h 83"/>
                <a:gd name="T36" fmla="*/ 61 w 66"/>
                <a:gd name="T37" fmla="*/ 10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6" h="83">
                  <a:moveTo>
                    <a:pt x="61" y="10"/>
                  </a:moveTo>
                  <a:cubicBezTo>
                    <a:pt x="59" y="7"/>
                    <a:pt x="56" y="5"/>
                    <a:pt x="52" y="3"/>
                  </a:cubicBezTo>
                  <a:cubicBezTo>
                    <a:pt x="48" y="1"/>
                    <a:pt x="43" y="0"/>
                    <a:pt x="38" y="0"/>
                  </a:cubicBezTo>
                  <a:cubicBezTo>
                    <a:pt x="27" y="0"/>
                    <a:pt x="19" y="5"/>
                    <a:pt x="13" y="14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83"/>
                    <a:pt x="0" y="83"/>
                    <a:pt x="0" y="83"/>
                  </a:cubicBezTo>
                  <a:cubicBezTo>
                    <a:pt x="14" y="83"/>
                    <a:pt x="14" y="83"/>
                    <a:pt x="14" y="83"/>
                  </a:cubicBezTo>
                  <a:cubicBezTo>
                    <a:pt x="14" y="39"/>
                    <a:pt x="14" y="39"/>
                    <a:pt x="14" y="39"/>
                  </a:cubicBezTo>
                  <a:cubicBezTo>
                    <a:pt x="14" y="29"/>
                    <a:pt x="16" y="21"/>
                    <a:pt x="20" y="18"/>
                  </a:cubicBezTo>
                  <a:cubicBezTo>
                    <a:pt x="25" y="14"/>
                    <a:pt x="30" y="12"/>
                    <a:pt x="36" y="12"/>
                  </a:cubicBezTo>
                  <a:cubicBezTo>
                    <a:pt x="39" y="12"/>
                    <a:pt x="42" y="13"/>
                    <a:pt x="45" y="15"/>
                  </a:cubicBezTo>
                  <a:cubicBezTo>
                    <a:pt x="48" y="16"/>
                    <a:pt x="50" y="19"/>
                    <a:pt x="51" y="21"/>
                  </a:cubicBezTo>
                  <a:cubicBezTo>
                    <a:pt x="52" y="24"/>
                    <a:pt x="52" y="28"/>
                    <a:pt x="52" y="34"/>
                  </a:cubicBezTo>
                  <a:cubicBezTo>
                    <a:pt x="52" y="83"/>
                    <a:pt x="52" y="83"/>
                    <a:pt x="52" y="83"/>
                  </a:cubicBezTo>
                  <a:cubicBezTo>
                    <a:pt x="66" y="83"/>
                    <a:pt x="66" y="83"/>
                    <a:pt x="66" y="83"/>
                  </a:cubicBezTo>
                  <a:cubicBezTo>
                    <a:pt x="66" y="33"/>
                    <a:pt x="66" y="33"/>
                    <a:pt x="66" y="33"/>
                  </a:cubicBezTo>
                  <a:cubicBezTo>
                    <a:pt x="66" y="27"/>
                    <a:pt x="66" y="23"/>
                    <a:pt x="65" y="20"/>
                  </a:cubicBezTo>
                  <a:cubicBezTo>
                    <a:pt x="65" y="16"/>
                    <a:pt x="63" y="13"/>
                    <a:pt x="61" y="1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210" name="îśḻïďè"/>
            <p:cNvSpPr/>
            <p:nvPr/>
          </p:nvSpPr>
          <p:spPr bwMode="auto">
            <a:xfrm>
              <a:off x="8315578" y="5675903"/>
              <a:ext cx="131763" cy="211138"/>
            </a:xfrm>
            <a:custGeom>
              <a:avLst/>
              <a:gdLst>
                <a:gd name="T0" fmla="*/ 57 w 71"/>
                <a:gd name="T1" fmla="*/ 40 h 114"/>
                <a:gd name="T2" fmla="*/ 48 w 71"/>
                <a:gd name="T3" fmla="*/ 32 h 114"/>
                <a:gd name="T4" fmla="*/ 35 w 71"/>
                <a:gd name="T5" fmla="*/ 29 h 114"/>
                <a:gd name="T6" fmla="*/ 17 w 71"/>
                <a:gd name="T7" fmla="*/ 35 h 114"/>
                <a:gd name="T8" fmla="*/ 4 w 71"/>
                <a:gd name="T9" fmla="*/ 50 h 114"/>
                <a:gd name="T10" fmla="*/ 0 w 71"/>
                <a:gd name="T11" fmla="*/ 72 h 114"/>
                <a:gd name="T12" fmla="*/ 5 w 71"/>
                <a:gd name="T13" fmla="*/ 94 h 114"/>
                <a:gd name="T14" fmla="*/ 17 w 71"/>
                <a:gd name="T15" fmla="*/ 109 h 114"/>
                <a:gd name="T16" fmla="*/ 35 w 71"/>
                <a:gd name="T17" fmla="*/ 114 h 114"/>
                <a:gd name="T18" fmla="*/ 58 w 71"/>
                <a:gd name="T19" fmla="*/ 102 h 114"/>
                <a:gd name="T20" fmla="*/ 58 w 71"/>
                <a:gd name="T21" fmla="*/ 112 h 114"/>
                <a:gd name="T22" fmla="*/ 71 w 71"/>
                <a:gd name="T23" fmla="*/ 112 h 114"/>
                <a:gd name="T24" fmla="*/ 71 w 71"/>
                <a:gd name="T25" fmla="*/ 0 h 114"/>
                <a:gd name="T26" fmla="*/ 57 w 71"/>
                <a:gd name="T27" fmla="*/ 0 h 114"/>
                <a:gd name="T28" fmla="*/ 57 w 71"/>
                <a:gd name="T29" fmla="*/ 40 h 114"/>
                <a:gd name="T30" fmla="*/ 52 w 71"/>
                <a:gd name="T31" fmla="*/ 95 h 114"/>
                <a:gd name="T32" fmla="*/ 37 w 71"/>
                <a:gd name="T33" fmla="*/ 103 h 114"/>
                <a:gd name="T34" fmla="*/ 21 w 71"/>
                <a:gd name="T35" fmla="*/ 95 h 114"/>
                <a:gd name="T36" fmla="*/ 15 w 71"/>
                <a:gd name="T37" fmla="*/ 72 h 114"/>
                <a:gd name="T38" fmla="*/ 21 w 71"/>
                <a:gd name="T39" fmla="*/ 48 h 114"/>
                <a:gd name="T40" fmla="*/ 36 w 71"/>
                <a:gd name="T41" fmla="*/ 41 h 114"/>
                <a:gd name="T42" fmla="*/ 52 w 71"/>
                <a:gd name="T43" fmla="*/ 48 h 114"/>
                <a:gd name="T44" fmla="*/ 58 w 71"/>
                <a:gd name="T45" fmla="*/ 73 h 114"/>
                <a:gd name="T46" fmla="*/ 52 w 71"/>
                <a:gd name="T47" fmla="*/ 95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71" h="114">
                  <a:moveTo>
                    <a:pt x="57" y="40"/>
                  </a:moveTo>
                  <a:cubicBezTo>
                    <a:pt x="55" y="37"/>
                    <a:pt x="52" y="34"/>
                    <a:pt x="48" y="32"/>
                  </a:cubicBezTo>
                  <a:cubicBezTo>
                    <a:pt x="44" y="30"/>
                    <a:pt x="40" y="29"/>
                    <a:pt x="35" y="29"/>
                  </a:cubicBezTo>
                  <a:cubicBezTo>
                    <a:pt x="28" y="29"/>
                    <a:pt x="22" y="31"/>
                    <a:pt x="17" y="35"/>
                  </a:cubicBezTo>
                  <a:cubicBezTo>
                    <a:pt x="11" y="38"/>
                    <a:pt x="7" y="43"/>
                    <a:pt x="4" y="50"/>
                  </a:cubicBezTo>
                  <a:cubicBezTo>
                    <a:pt x="2" y="56"/>
                    <a:pt x="0" y="64"/>
                    <a:pt x="0" y="72"/>
                  </a:cubicBezTo>
                  <a:cubicBezTo>
                    <a:pt x="0" y="80"/>
                    <a:pt x="2" y="87"/>
                    <a:pt x="5" y="94"/>
                  </a:cubicBezTo>
                  <a:cubicBezTo>
                    <a:pt x="8" y="100"/>
                    <a:pt x="12" y="105"/>
                    <a:pt x="17" y="109"/>
                  </a:cubicBezTo>
                  <a:cubicBezTo>
                    <a:pt x="23" y="112"/>
                    <a:pt x="29" y="114"/>
                    <a:pt x="35" y="114"/>
                  </a:cubicBezTo>
                  <a:cubicBezTo>
                    <a:pt x="45" y="114"/>
                    <a:pt x="53" y="110"/>
                    <a:pt x="58" y="102"/>
                  </a:cubicBezTo>
                  <a:cubicBezTo>
                    <a:pt x="58" y="112"/>
                    <a:pt x="58" y="112"/>
                    <a:pt x="58" y="112"/>
                  </a:cubicBezTo>
                  <a:cubicBezTo>
                    <a:pt x="71" y="112"/>
                    <a:pt x="71" y="112"/>
                    <a:pt x="71" y="112"/>
                  </a:cubicBezTo>
                  <a:cubicBezTo>
                    <a:pt x="71" y="0"/>
                    <a:pt x="71" y="0"/>
                    <a:pt x="71" y="0"/>
                  </a:cubicBezTo>
                  <a:cubicBezTo>
                    <a:pt x="57" y="0"/>
                    <a:pt x="57" y="0"/>
                    <a:pt x="57" y="0"/>
                  </a:cubicBezTo>
                  <a:lnTo>
                    <a:pt x="57" y="40"/>
                  </a:lnTo>
                  <a:close/>
                  <a:moveTo>
                    <a:pt x="52" y="95"/>
                  </a:moveTo>
                  <a:cubicBezTo>
                    <a:pt x="48" y="100"/>
                    <a:pt x="43" y="103"/>
                    <a:pt x="37" y="103"/>
                  </a:cubicBezTo>
                  <a:cubicBezTo>
                    <a:pt x="31" y="103"/>
                    <a:pt x="25" y="100"/>
                    <a:pt x="21" y="95"/>
                  </a:cubicBezTo>
                  <a:cubicBezTo>
                    <a:pt x="17" y="90"/>
                    <a:pt x="15" y="82"/>
                    <a:pt x="15" y="72"/>
                  </a:cubicBezTo>
                  <a:cubicBezTo>
                    <a:pt x="15" y="61"/>
                    <a:pt x="17" y="53"/>
                    <a:pt x="21" y="48"/>
                  </a:cubicBezTo>
                  <a:cubicBezTo>
                    <a:pt x="25" y="43"/>
                    <a:pt x="30" y="41"/>
                    <a:pt x="36" y="41"/>
                  </a:cubicBezTo>
                  <a:cubicBezTo>
                    <a:pt x="42" y="41"/>
                    <a:pt x="48" y="43"/>
                    <a:pt x="52" y="48"/>
                  </a:cubicBezTo>
                  <a:cubicBezTo>
                    <a:pt x="56" y="54"/>
                    <a:pt x="58" y="62"/>
                    <a:pt x="58" y="73"/>
                  </a:cubicBezTo>
                  <a:cubicBezTo>
                    <a:pt x="58" y="83"/>
                    <a:pt x="56" y="91"/>
                    <a:pt x="52" y="9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211" name="iṡľîdé"/>
            <p:cNvSpPr/>
            <p:nvPr/>
          </p:nvSpPr>
          <p:spPr bwMode="auto">
            <a:xfrm>
              <a:off x="8550528" y="5675903"/>
              <a:ext cx="163513" cy="206375"/>
            </a:xfrm>
            <a:custGeom>
              <a:avLst/>
              <a:gdLst>
                <a:gd name="T0" fmla="*/ 103 w 103"/>
                <a:gd name="T1" fmla="*/ 0 h 130"/>
                <a:gd name="T2" fmla="*/ 0 w 103"/>
                <a:gd name="T3" fmla="*/ 0 h 130"/>
                <a:gd name="T4" fmla="*/ 0 w 103"/>
                <a:gd name="T5" fmla="*/ 15 h 130"/>
                <a:gd name="T6" fmla="*/ 43 w 103"/>
                <a:gd name="T7" fmla="*/ 15 h 130"/>
                <a:gd name="T8" fmla="*/ 43 w 103"/>
                <a:gd name="T9" fmla="*/ 130 h 130"/>
                <a:gd name="T10" fmla="*/ 59 w 103"/>
                <a:gd name="T11" fmla="*/ 130 h 130"/>
                <a:gd name="T12" fmla="*/ 59 w 103"/>
                <a:gd name="T13" fmla="*/ 15 h 130"/>
                <a:gd name="T14" fmla="*/ 103 w 103"/>
                <a:gd name="T15" fmla="*/ 15 h 130"/>
                <a:gd name="T16" fmla="*/ 103 w 103"/>
                <a:gd name="T17" fmla="*/ 0 h 1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3" h="130">
                  <a:moveTo>
                    <a:pt x="103" y="0"/>
                  </a:moveTo>
                  <a:lnTo>
                    <a:pt x="0" y="0"/>
                  </a:lnTo>
                  <a:lnTo>
                    <a:pt x="0" y="15"/>
                  </a:lnTo>
                  <a:lnTo>
                    <a:pt x="43" y="15"/>
                  </a:lnTo>
                  <a:lnTo>
                    <a:pt x="43" y="130"/>
                  </a:lnTo>
                  <a:lnTo>
                    <a:pt x="59" y="130"/>
                  </a:lnTo>
                  <a:lnTo>
                    <a:pt x="59" y="15"/>
                  </a:lnTo>
                  <a:lnTo>
                    <a:pt x="103" y="15"/>
                  </a:lnTo>
                  <a:lnTo>
                    <a:pt x="103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212" name="íṥḻíḋé"/>
            <p:cNvSpPr/>
            <p:nvPr/>
          </p:nvSpPr>
          <p:spPr bwMode="auto">
            <a:xfrm>
              <a:off x="8698166" y="5729878"/>
              <a:ext cx="138113" cy="157163"/>
            </a:xfrm>
            <a:custGeom>
              <a:avLst/>
              <a:gdLst>
                <a:gd name="T0" fmla="*/ 38 w 75"/>
                <a:gd name="T1" fmla="*/ 0 h 85"/>
                <a:gd name="T2" fmla="*/ 11 w 75"/>
                <a:gd name="T3" fmla="*/ 12 h 85"/>
                <a:gd name="T4" fmla="*/ 0 w 75"/>
                <a:gd name="T5" fmla="*/ 43 h 85"/>
                <a:gd name="T6" fmla="*/ 10 w 75"/>
                <a:gd name="T7" fmla="*/ 74 h 85"/>
                <a:gd name="T8" fmla="*/ 39 w 75"/>
                <a:gd name="T9" fmla="*/ 85 h 85"/>
                <a:gd name="T10" fmla="*/ 62 w 75"/>
                <a:gd name="T11" fmla="*/ 78 h 85"/>
                <a:gd name="T12" fmla="*/ 74 w 75"/>
                <a:gd name="T13" fmla="*/ 59 h 85"/>
                <a:gd name="T14" fmla="*/ 60 w 75"/>
                <a:gd name="T15" fmla="*/ 57 h 85"/>
                <a:gd name="T16" fmla="*/ 52 w 75"/>
                <a:gd name="T17" fmla="*/ 70 h 85"/>
                <a:gd name="T18" fmla="*/ 39 w 75"/>
                <a:gd name="T19" fmla="*/ 74 h 85"/>
                <a:gd name="T20" fmla="*/ 22 w 75"/>
                <a:gd name="T21" fmla="*/ 67 h 85"/>
                <a:gd name="T22" fmla="*/ 14 w 75"/>
                <a:gd name="T23" fmla="*/ 46 h 85"/>
                <a:gd name="T24" fmla="*/ 75 w 75"/>
                <a:gd name="T25" fmla="*/ 46 h 85"/>
                <a:gd name="T26" fmla="*/ 75 w 75"/>
                <a:gd name="T27" fmla="*/ 43 h 85"/>
                <a:gd name="T28" fmla="*/ 65 w 75"/>
                <a:gd name="T29" fmla="*/ 11 h 85"/>
                <a:gd name="T30" fmla="*/ 38 w 75"/>
                <a:gd name="T31" fmla="*/ 0 h 85"/>
                <a:gd name="T32" fmla="*/ 15 w 75"/>
                <a:gd name="T33" fmla="*/ 35 h 85"/>
                <a:gd name="T34" fmla="*/ 22 w 75"/>
                <a:gd name="T35" fmla="*/ 18 h 85"/>
                <a:gd name="T36" fmla="*/ 38 w 75"/>
                <a:gd name="T37" fmla="*/ 12 h 85"/>
                <a:gd name="T38" fmla="*/ 55 w 75"/>
                <a:gd name="T39" fmla="*/ 20 h 85"/>
                <a:gd name="T40" fmla="*/ 60 w 75"/>
                <a:gd name="T41" fmla="*/ 35 h 85"/>
                <a:gd name="T42" fmla="*/ 15 w 75"/>
                <a:gd name="T43" fmla="*/ 35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75" h="85">
                  <a:moveTo>
                    <a:pt x="38" y="0"/>
                  </a:moveTo>
                  <a:cubicBezTo>
                    <a:pt x="27" y="0"/>
                    <a:pt x="18" y="4"/>
                    <a:pt x="11" y="12"/>
                  </a:cubicBezTo>
                  <a:cubicBezTo>
                    <a:pt x="4" y="19"/>
                    <a:pt x="0" y="30"/>
                    <a:pt x="0" y="43"/>
                  </a:cubicBezTo>
                  <a:cubicBezTo>
                    <a:pt x="0" y="57"/>
                    <a:pt x="3" y="67"/>
                    <a:pt x="10" y="74"/>
                  </a:cubicBezTo>
                  <a:cubicBezTo>
                    <a:pt x="17" y="81"/>
                    <a:pt x="27" y="85"/>
                    <a:pt x="39" y="85"/>
                  </a:cubicBezTo>
                  <a:cubicBezTo>
                    <a:pt x="48" y="85"/>
                    <a:pt x="56" y="83"/>
                    <a:pt x="62" y="78"/>
                  </a:cubicBezTo>
                  <a:cubicBezTo>
                    <a:pt x="68" y="74"/>
                    <a:pt x="72" y="67"/>
                    <a:pt x="74" y="59"/>
                  </a:cubicBezTo>
                  <a:cubicBezTo>
                    <a:pt x="60" y="57"/>
                    <a:pt x="60" y="57"/>
                    <a:pt x="60" y="57"/>
                  </a:cubicBezTo>
                  <a:cubicBezTo>
                    <a:pt x="58" y="63"/>
                    <a:pt x="55" y="67"/>
                    <a:pt x="52" y="70"/>
                  </a:cubicBezTo>
                  <a:cubicBezTo>
                    <a:pt x="48" y="73"/>
                    <a:pt x="44" y="74"/>
                    <a:pt x="39" y="74"/>
                  </a:cubicBezTo>
                  <a:cubicBezTo>
                    <a:pt x="32" y="74"/>
                    <a:pt x="26" y="71"/>
                    <a:pt x="22" y="67"/>
                  </a:cubicBezTo>
                  <a:cubicBezTo>
                    <a:pt x="17" y="62"/>
                    <a:pt x="15" y="55"/>
                    <a:pt x="14" y="46"/>
                  </a:cubicBezTo>
                  <a:cubicBezTo>
                    <a:pt x="75" y="46"/>
                    <a:pt x="75" y="46"/>
                    <a:pt x="75" y="46"/>
                  </a:cubicBezTo>
                  <a:cubicBezTo>
                    <a:pt x="75" y="45"/>
                    <a:pt x="75" y="43"/>
                    <a:pt x="75" y="43"/>
                  </a:cubicBezTo>
                  <a:cubicBezTo>
                    <a:pt x="75" y="29"/>
                    <a:pt x="72" y="19"/>
                    <a:pt x="65" y="11"/>
                  </a:cubicBezTo>
                  <a:cubicBezTo>
                    <a:pt x="58" y="4"/>
                    <a:pt x="49" y="0"/>
                    <a:pt x="38" y="0"/>
                  </a:cubicBezTo>
                  <a:close/>
                  <a:moveTo>
                    <a:pt x="15" y="35"/>
                  </a:moveTo>
                  <a:cubicBezTo>
                    <a:pt x="15" y="28"/>
                    <a:pt x="18" y="22"/>
                    <a:pt x="22" y="18"/>
                  </a:cubicBezTo>
                  <a:cubicBezTo>
                    <a:pt x="26" y="14"/>
                    <a:pt x="32" y="12"/>
                    <a:pt x="38" y="12"/>
                  </a:cubicBezTo>
                  <a:cubicBezTo>
                    <a:pt x="45" y="12"/>
                    <a:pt x="51" y="14"/>
                    <a:pt x="55" y="20"/>
                  </a:cubicBezTo>
                  <a:cubicBezTo>
                    <a:pt x="58" y="23"/>
                    <a:pt x="60" y="28"/>
                    <a:pt x="60" y="35"/>
                  </a:cubicBezTo>
                  <a:lnTo>
                    <a:pt x="15" y="3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213" name="ïṡļïḍè"/>
            <p:cNvSpPr/>
            <p:nvPr/>
          </p:nvSpPr>
          <p:spPr bwMode="auto">
            <a:xfrm>
              <a:off x="8860091" y="5729878"/>
              <a:ext cx="128588" cy="157163"/>
            </a:xfrm>
            <a:custGeom>
              <a:avLst/>
              <a:gdLst>
                <a:gd name="T0" fmla="*/ 50 w 70"/>
                <a:gd name="T1" fmla="*/ 69 h 85"/>
                <a:gd name="T2" fmla="*/ 36 w 70"/>
                <a:gd name="T3" fmla="*/ 74 h 85"/>
                <a:gd name="T4" fmla="*/ 20 w 70"/>
                <a:gd name="T5" fmla="*/ 66 h 85"/>
                <a:gd name="T6" fmla="*/ 14 w 70"/>
                <a:gd name="T7" fmla="*/ 43 h 85"/>
                <a:gd name="T8" fmla="*/ 20 w 70"/>
                <a:gd name="T9" fmla="*/ 19 h 85"/>
                <a:gd name="T10" fmla="*/ 37 w 70"/>
                <a:gd name="T11" fmla="*/ 12 h 85"/>
                <a:gd name="T12" fmla="*/ 49 w 70"/>
                <a:gd name="T13" fmla="*/ 16 h 85"/>
                <a:gd name="T14" fmla="*/ 56 w 70"/>
                <a:gd name="T15" fmla="*/ 28 h 85"/>
                <a:gd name="T16" fmla="*/ 69 w 70"/>
                <a:gd name="T17" fmla="*/ 26 h 85"/>
                <a:gd name="T18" fmla="*/ 58 w 70"/>
                <a:gd name="T19" fmla="*/ 7 h 85"/>
                <a:gd name="T20" fmla="*/ 37 w 70"/>
                <a:gd name="T21" fmla="*/ 0 h 85"/>
                <a:gd name="T22" fmla="*/ 17 w 70"/>
                <a:gd name="T23" fmla="*/ 5 h 85"/>
                <a:gd name="T24" fmla="*/ 4 w 70"/>
                <a:gd name="T25" fmla="*/ 20 h 85"/>
                <a:gd name="T26" fmla="*/ 0 w 70"/>
                <a:gd name="T27" fmla="*/ 43 h 85"/>
                <a:gd name="T28" fmla="*/ 10 w 70"/>
                <a:gd name="T29" fmla="*/ 74 h 85"/>
                <a:gd name="T30" fmla="*/ 37 w 70"/>
                <a:gd name="T31" fmla="*/ 85 h 85"/>
                <a:gd name="T32" fmla="*/ 59 w 70"/>
                <a:gd name="T33" fmla="*/ 77 h 85"/>
                <a:gd name="T34" fmla="*/ 70 w 70"/>
                <a:gd name="T35" fmla="*/ 55 h 85"/>
                <a:gd name="T36" fmla="*/ 57 w 70"/>
                <a:gd name="T37" fmla="*/ 54 h 85"/>
                <a:gd name="T38" fmla="*/ 50 w 70"/>
                <a:gd name="T39" fmla="*/ 69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70" h="85">
                  <a:moveTo>
                    <a:pt x="50" y="69"/>
                  </a:moveTo>
                  <a:cubicBezTo>
                    <a:pt x="46" y="72"/>
                    <a:pt x="42" y="74"/>
                    <a:pt x="36" y="74"/>
                  </a:cubicBezTo>
                  <a:cubicBezTo>
                    <a:pt x="30" y="74"/>
                    <a:pt x="24" y="71"/>
                    <a:pt x="20" y="66"/>
                  </a:cubicBezTo>
                  <a:cubicBezTo>
                    <a:pt x="16" y="61"/>
                    <a:pt x="14" y="54"/>
                    <a:pt x="14" y="43"/>
                  </a:cubicBezTo>
                  <a:cubicBezTo>
                    <a:pt x="14" y="32"/>
                    <a:pt x="16" y="24"/>
                    <a:pt x="20" y="19"/>
                  </a:cubicBezTo>
                  <a:cubicBezTo>
                    <a:pt x="25" y="14"/>
                    <a:pt x="30" y="12"/>
                    <a:pt x="37" y="12"/>
                  </a:cubicBezTo>
                  <a:cubicBezTo>
                    <a:pt x="42" y="12"/>
                    <a:pt x="46" y="13"/>
                    <a:pt x="49" y="16"/>
                  </a:cubicBezTo>
                  <a:cubicBezTo>
                    <a:pt x="52" y="18"/>
                    <a:pt x="54" y="23"/>
                    <a:pt x="56" y="28"/>
                  </a:cubicBezTo>
                  <a:cubicBezTo>
                    <a:pt x="69" y="26"/>
                    <a:pt x="69" y="26"/>
                    <a:pt x="69" y="26"/>
                  </a:cubicBezTo>
                  <a:cubicBezTo>
                    <a:pt x="67" y="18"/>
                    <a:pt x="64" y="11"/>
                    <a:pt x="58" y="7"/>
                  </a:cubicBezTo>
                  <a:cubicBezTo>
                    <a:pt x="53" y="2"/>
                    <a:pt x="45" y="0"/>
                    <a:pt x="37" y="0"/>
                  </a:cubicBezTo>
                  <a:cubicBezTo>
                    <a:pt x="30" y="0"/>
                    <a:pt x="23" y="2"/>
                    <a:pt x="17" y="5"/>
                  </a:cubicBezTo>
                  <a:cubicBezTo>
                    <a:pt x="11" y="8"/>
                    <a:pt x="7" y="13"/>
                    <a:pt x="4" y="20"/>
                  </a:cubicBezTo>
                  <a:cubicBezTo>
                    <a:pt x="1" y="27"/>
                    <a:pt x="0" y="34"/>
                    <a:pt x="0" y="43"/>
                  </a:cubicBezTo>
                  <a:cubicBezTo>
                    <a:pt x="0" y="57"/>
                    <a:pt x="3" y="67"/>
                    <a:pt x="10" y="74"/>
                  </a:cubicBezTo>
                  <a:cubicBezTo>
                    <a:pt x="16" y="82"/>
                    <a:pt x="25" y="85"/>
                    <a:pt x="37" y="85"/>
                  </a:cubicBezTo>
                  <a:cubicBezTo>
                    <a:pt x="45" y="85"/>
                    <a:pt x="53" y="83"/>
                    <a:pt x="59" y="77"/>
                  </a:cubicBezTo>
                  <a:cubicBezTo>
                    <a:pt x="65" y="72"/>
                    <a:pt x="69" y="65"/>
                    <a:pt x="70" y="55"/>
                  </a:cubicBezTo>
                  <a:cubicBezTo>
                    <a:pt x="57" y="54"/>
                    <a:pt x="57" y="54"/>
                    <a:pt x="57" y="54"/>
                  </a:cubicBezTo>
                  <a:cubicBezTo>
                    <a:pt x="56" y="60"/>
                    <a:pt x="54" y="66"/>
                    <a:pt x="50" y="6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214" name="iṩḷídê"/>
            <p:cNvSpPr/>
            <p:nvPr/>
          </p:nvSpPr>
          <p:spPr bwMode="auto">
            <a:xfrm>
              <a:off x="9010903" y="5675903"/>
              <a:ext cx="122238" cy="206375"/>
            </a:xfrm>
            <a:custGeom>
              <a:avLst/>
              <a:gdLst>
                <a:gd name="T0" fmla="*/ 54 w 66"/>
                <a:gd name="T1" fmla="*/ 33 h 112"/>
                <a:gd name="T2" fmla="*/ 38 w 66"/>
                <a:gd name="T3" fmla="*/ 29 h 112"/>
                <a:gd name="T4" fmla="*/ 14 w 66"/>
                <a:gd name="T5" fmla="*/ 40 h 112"/>
                <a:gd name="T6" fmla="*/ 14 w 66"/>
                <a:gd name="T7" fmla="*/ 0 h 112"/>
                <a:gd name="T8" fmla="*/ 0 w 66"/>
                <a:gd name="T9" fmla="*/ 0 h 112"/>
                <a:gd name="T10" fmla="*/ 0 w 66"/>
                <a:gd name="T11" fmla="*/ 112 h 112"/>
                <a:gd name="T12" fmla="*/ 14 w 66"/>
                <a:gd name="T13" fmla="*/ 112 h 112"/>
                <a:gd name="T14" fmla="*/ 14 w 66"/>
                <a:gd name="T15" fmla="*/ 68 h 112"/>
                <a:gd name="T16" fmla="*/ 16 w 66"/>
                <a:gd name="T17" fmla="*/ 53 h 112"/>
                <a:gd name="T18" fmla="*/ 24 w 66"/>
                <a:gd name="T19" fmla="*/ 44 h 112"/>
                <a:gd name="T20" fmla="*/ 35 w 66"/>
                <a:gd name="T21" fmla="*/ 41 h 112"/>
                <a:gd name="T22" fmla="*/ 48 w 66"/>
                <a:gd name="T23" fmla="*/ 46 h 112"/>
                <a:gd name="T24" fmla="*/ 53 w 66"/>
                <a:gd name="T25" fmla="*/ 61 h 112"/>
                <a:gd name="T26" fmla="*/ 53 w 66"/>
                <a:gd name="T27" fmla="*/ 112 h 112"/>
                <a:gd name="T28" fmla="*/ 66 w 66"/>
                <a:gd name="T29" fmla="*/ 112 h 112"/>
                <a:gd name="T30" fmla="*/ 66 w 66"/>
                <a:gd name="T31" fmla="*/ 61 h 112"/>
                <a:gd name="T32" fmla="*/ 63 w 66"/>
                <a:gd name="T33" fmla="*/ 43 h 112"/>
                <a:gd name="T34" fmla="*/ 54 w 66"/>
                <a:gd name="T35" fmla="*/ 33 h 1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66" h="112">
                  <a:moveTo>
                    <a:pt x="54" y="33"/>
                  </a:moveTo>
                  <a:cubicBezTo>
                    <a:pt x="50" y="30"/>
                    <a:pt x="44" y="29"/>
                    <a:pt x="38" y="29"/>
                  </a:cubicBezTo>
                  <a:cubicBezTo>
                    <a:pt x="28" y="29"/>
                    <a:pt x="20" y="33"/>
                    <a:pt x="14" y="40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12"/>
                    <a:pt x="0" y="112"/>
                    <a:pt x="0" y="112"/>
                  </a:cubicBezTo>
                  <a:cubicBezTo>
                    <a:pt x="14" y="112"/>
                    <a:pt x="14" y="112"/>
                    <a:pt x="14" y="112"/>
                  </a:cubicBezTo>
                  <a:cubicBezTo>
                    <a:pt x="14" y="68"/>
                    <a:pt x="14" y="68"/>
                    <a:pt x="14" y="68"/>
                  </a:cubicBezTo>
                  <a:cubicBezTo>
                    <a:pt x="14" y="61"/>
                    <a:pt x="15" y="56"/>
                    <a:pt x="16" y="53"/>
                  </a:cubicBezTo>
                  <a:cubicBezTo>
                    <a:pt x="18" y="49"/>
                    <a:pt x="20" y="46"/>
                    <a:pt x="24" y="44"/>
                  </a:cubicBezTo>
                  <a:cubicBezTo>
                    <a:pt x="28" y="42"/>
                    <a:pt x="31" y="41"/>
                    <a:pt x="35" y="41"/>
                  </a:cubicBezTo>
                  <a:cubicBezTo>
                    <a:pt x="41" y="41"/>
                    <a:pt x="45" y="43"/>
                    <a:pt x="48" y="46"/>
                  </a:cubicBezTo>
                  <a:cubicBezTo>
                    <a:pt x="51" y="49"/>
                    <a:pt x="53" y="54"/>
                    <a:pt x="53" y="61"/>
                  </a:cubicBezTo>
                  <a:cubicBezTo>
                    <a:pt x="53" y="112"/>
                    <a:pt x="53" y="112"/>
                    <a:pt x="53" y="112"/>
                  </a:cubicBezTo>
                  <a:cubicBezTo>
                    <a:pt x="66" y="112"/>
                    <a:pt x="66" y="112"/>
                    <a:pt x="66" y="112"/>
                  </a:cubicBezTo>
                  <a:cubicBezTo>
                    <a:pt x="66" y="61"/>
                    <a:pt x="66" y="61"/>
                    <a:pt x="66" y="61"/>
                  </a:cubicBezTo>
                  <a:cubicBezTo>
                    <a:pt x="66" y="53"/>
                    <a:pt x="65" y="47"/>
                    <a:pt x="63" y="43"/>
                  </a:cubicBezTo>
                  <a:cubicBezTo>
                    <a:pt x="62" y="38"/>
                    <a:pt x="58" y="35"/>
                    <a:pt x="54" y="3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215" name="íslîḍe"/>
            <p:cNvSpPr/>
            <p:nvPr/>
          </p:nvSpPr>
          <p:spPr bwMode="auto">
            <a:xfrm>
              <a:off x="9171241" y="5729878"/>
              <a:ext cx="122238" cy="152400"/>
            </a:xfrm>
            <a:custGeom>
              <a:avLst/>
              <a:gdLst>
                <a:gd name="T0" fmla="*/ 61 w 66"/>
                <a:gd name="T1" fmla="*/ 10 h 83"/>
                <a:gd name="T2" fmla="*/ 52 w 66"/>
                <a:gd name="T3" fmla="*/ 3 h 83"/>
                <a:gd name="T4" fmla="*/ 39 w 66"/>
                <a:gd name="T5" fmla="*/ 0 h 83"/>
                <a:gd name="T6" fmla="*/ 13 w 66"/>
                <a:gd name="T7" fmla="*/ 14 h 83"/>
                <a:gd name="T8" fmla="*/ 13 w 66"/>
                <a:gd name="T9" fmla="*/ 2 h 83"/>
                <a:gd name="T10" fmla="*/ 0 w 66"/>
                <a:gd name="T11" fmla="*/ 2 h 83"/>
                <a:gd name="T12" fmla="*/ 0 w 66"/>
                <a:gd name="T13" fmla="*/ 83 h 83"/>
                <a:gd name="T14" fmla="*/ 14 w 66"/>
                <a:gd name="T15" fmla="*/ 83 h 83"/>
                <a:gd name="T16" fmla="*/ 14 w 66"/>
                <a:gd name="T17" fmla="*/ 39 h 83"/>
                <a:gd name="T18" fmla="*/ 20 w 66"/>
                <a:gd name="T19" fmla="*/ 18 h 83"/>
                <a:gd name="T20" fmla="*/ 36 w 66"/>
                <a:gd name="T21" fmla="*/ 12 h 83"/>
                <a:gd name="T22" fmla="*/ 45 w 66"/>
                <a:gd name="T23" fmla="*/ 15 h 83"/>
                <a:gd name="T24" fmla="*/ 51 w 66"/>
                <a:gd name="T25" fmla="*/ 21 h 83"/>
                <a:gd name="T26" fmla="*/ 53 w 66"/>
                <a:gd name="T27" fmla="*/ 34 h 83"/>
                <a:gd name="T28" fmla="*/ 53 w 66"/>
                <a:gd name="T29" fmla="*/ 83 h 83"/>
                <a:gd name="T30" fmla="*/ 66 w 66"/>
                <a:gd name="T31" fmla="*/ 83 h 83"/>
                <a:gd name="T32" fmla="*/ 66 w 66"/>
                <a:gd name="T33" fmla="*/ 33 h 83"/>
                <a:gd name="T34" fmla="*/ 66 w 66"/>
                <a:gd name="T35" fmla="*/ 20 h 83"/>
                <a:gd name="T36" fmla="*/ 61 w 66"/>
                <a:gd name="T37" fmla="*/ 10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6" h="83">
                  <a:moveTo>
                    <a:pt x="61" y="10"/>
                  </a:moveTo>
                  <a:cubicBezTo>
                    <a:pt x="59" y="7"/>
                    <a:pt x="56" y="5"/>
                    <a:pt x="52" y="3"/>
                  </a:cubicBezTo>
                  <a:cubicBezTo>
                    <a:pt x="48" y="1"/>
                    <a:pt x="43" y="0"/>
                    <a:pt x="39" y="0"/>
                  </a:cubicBezTo>
                  <a:cubicBezTo>
                    <a:pt x="27" y="0"/>
                    <a:pt x="19" y="5"/>
                    <a:pt x="13" y="14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83"/>
                    <a:pt x="0" y="83"/>
                    <a:pt x="0" y="83"/>
                  </a:cubicBezTo>
                  <a:cubicBezTo>
                    <a:pt x="14" y="83"/>
                    <a:pt x="14" y="83"/>
                    <a:pt x="14" y="83"/>
                  </a:cubicBezTo>
                  <a:cubicBezTo>
                    <a:pt x="14" y="39"/>
                    <a:pt x="14" y="39"/>
                    <a:pt x="14" y="39"/>
                  </a:cubicBezTo>
                  <a:cubicBezTo>
                    <a:pt x="14" y="29"/>
                    <a:pt x="16" y="21"/>
                    <a:pt x="20" y="18"/>
                  </a:cubicBezTo>
                  <a:cubicBezTo>
                    <a:pt x="25" y="14"/>
                    <a:pt x="30" y="12"/>
                    <a:pt x="36" y="12"/>
                  </a:cubicBezTo>
                  <a:cubicBezTo>
                    <a:pt x="39" y="12"/>
                    <a:pt x="43" y="13"/>
                    <a:pt x="45" y="15"/>
                  </a:cubicBezTo>
                  <a:cubicBezTo>
                    <a:pt x="48" y="16"/>
                    <a:pt x="50" y="19"/>
                    <a:pt x="51" y="21"/>
                  </a:cubicBezTo>
                  <a:cubicBezTo>
                    <a:pt x="52" y="24"/>
                    <a:pt x="53" y="28"/>
                    <a:pt x="53" y="34"/>
                  </a:cubicBezTo>
                  <a:cubicBezTo>
                    <a:pt x="53" y="83"/>
                    <a:pt x="53" y="83"/>
                    <a:pt x="53" y="83"/>
                  </a:cubicBezTo>
                  <a:cubicBezTo>
                    <a:pt x="66" y="83"/>
                    <a:pt x="66" y="83"/>
                    <a:pt x="66" y="83"/>
                  </a:cubicBezTo>
                  <a:cubicBezTo>
                    <a:pt x="66" y="33"/>
                    <a:pt x="66" y="33"/>
                    <a:pt x="66" y="33"/>
                  </a:cubicBezTo>
                  <a:cubicBezTo>
                    <a:pt x="66" y="27"/>
                    <a:pt x="66" y="23"/>
                    <a:pt x="66" y="20"/>
                  </a:cubicBezTo>
                  <a:cubicBezTo>
                    <a:pt x="65" y="16"/>
                    <a:pt x="63" y="13"/>
                    <a:pt x="61" y="1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216" name="ïṣľíḓè"/>
            <p:cNvSpPr/>
            <p:nvPr/>
          </p:nvSpPr>
          <p:spPr bwMode="auto">
            <a:xfrm>
              <a:off x="9322053" y="5729878"/>
              <a:ext cx="142875" cy="157163"/>
            </a:xfrm>
            <a:custGeom>
              <a:avLst/>
              <a:gdLst>
                <a:gd name="T0" fmla="*/ 38 w 77"/>
                <a:gd name="T1" fmla="*/ 0 h 85"/>
                <a:gd name="T2" fmla="*/ 13 w 77"/>
                <a:gd name="T3" fmla="*/ 9 h 85"/>
                <a:gd name="T4" fmla="*/ 0 w 77"/>
                <a:gd name="T5" fmla="*/ 43 h 85"/>
                <a:gd name="T6" fmla="*/ 11 w 77"/>
                <a:gd name="T7" fmla="*/ 74 h 85"/>
                <a:gd name="T8" fmla="*/ 38 w 77"/>
                <a:gd name="T9" fmla="*/ 85 h 85"/>
                <a:gd name="T10" fmla="*/ 58 w 77"/>
                <a:gd name="T11" fmla="*/ 80 h 85"/>
                <a:gd name="T12" fmla="*/ 72 w 77"/>
                <a:gd name="T13" fmla="*/ 66 h 85"/>
                <a:gd name="T14" fmla="*/ 77 w 77"/>
                <a:gd name="T15" fmla="*/ 42 h 85"/>
                <a:gd name="T16" fmla="*/ 66 w 77"/>
                <a:gd name="T17" fmla="*/ 11 h 85"/>
                <a:gd name="T18" fmla="*/ 38 w 77"/>
                <a:gd name="T19" fmla="*/ 0 h 85"/>
                <a:gd name="T20" fmla="*/ 56 w 77"/>
                <a:gd name="T21" fmla="*/ 66 h 85"/>
                <a:gd name="T22" fmla="*/ 38 w 77"/>
                <a:gd name="T23" fmla="*/ 74 h 85"/>
                <a:gd name="T24" fmla="*/ 21 w 77"/>
                <a:gd name="T25" fmla="*/ 66 h 85"/>
                <a:gd name="T26" fmla="*/ 15 w 77"/>
                <a:gd name="T27" fmla="*/ 43 h 85"/>
                <a:gd name="T28" fmla="*/ 21 w 77"/>
                <a:gd name="T29" fmla="*/ 19 h 85"/>
                <a:gd name="T30" fmla="*/ 38 w 77"/>
                <a:gd name="T31" fmla="*/ 12 h 85"/>
                <a:gd name="T32" fmla="*/ 56 w 77"/>
                <a:gd name="T33" fmla="*/ 19 h 85"/>
                <a:gd name="T34" fmla="*/ 62 w 77"/>
                <a:gd name="T35" fmla="*/ 42 h 85"/>
                <a:gd name="T36" fmla="*/ 56 w 77"/>
                <a:gd name="T37" fmla="*/ 66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77" h="85">
                  <a:moveTo>
                    <a:pt x="38" y="0"/>
                  </a:moveTo>
                  <a:cubicBezTo>
                    <a:pt x="28" y="0"/>
                    <a:pt x="20" y="3"/>
                    <a:pt x="13" y="9"/>
                  </a:cubicBezTo>
                  <a:cubicBezTo>
                    <a:pt x="5" y="16"/>
                    <a:pt x="0" y="28"/>
                    <a:pt x="0" y="43"/>
                  </a:cubicBezTo>
                  <a:cubicBezTo>
                    <a:pt x="0" y="56"/>
                    <a:pt x="4" y="67"/>
                    <a:pt x="11" y="74"/>
                  </a:cubicBezTo>
                  <a:cubicBezTo>
                    <a:pt x="18" y="82"/>
                    <a:pt x="27" y="85"/>
                    <a:pt x="38" y="85"/>
                  </a:cubicBezTo>
                  <a:cubicBezTo>
                    <a:pt x="46" y="85"/>
                    <a:pt x="52" y="84"/>
                    <a:pt x="58" y="80"/>
                  </a:cubicBezTo>
                  <a:cubicBezTo>
                    <a:pt x="64" y="77"/>
                    <a:pt x="69" y="72"/>
                    <a:pt x="72" y="66"/>
                  </a:cubicBezTo>
                  <a:cubicBezTo>
                    <a:pt x="75" y="60"/>
                    <a:pt x="77" y="52"/>
                    <a:pt x="77" y="42"/>
                  </a:cubicBezTo>
                  <a:cubicBezTo>
                    <a:pt x="77" y="29"/>
                    <a:pt x="73" y="19"/>
                    <a:pt x="66" y="11"/>
                  </a:cubicBezTo>
                  <a:cubicBezTo>
                    <a:pt x="59" y="4"/>
                    <a:pt x="50" y="0"/>
                    <a:pt x="38" y="0"/>
                  </a:cubicBezTo>
                  <a:close/>
                  <a:moveTo>
                    <a:pt x="56" y="66"/>
                  </a:moveTo>
                  <a:cubicBezTo>
                    <a:pt x="51" y="71"/>
                    <a:pt x="45" y="74"/>
                    <a:pt x="38" y="74"/>
                  </a:cubicBezTo>
                  <a:cubicBezTo>
                    <a:pt x="32" y="74"/>
                    <a:pt x="26" y="71"/>
                    <a:pt x="21" y="66"/>
                  </a:cubicBezTo>
                  <a:cubicBezTo>
                    <a:pt x="17" y="61"/>
                    <a:pt x="15" y="53"/>
                    <a:pt x="15" y="43"/>
                  </a:cubicBezTo>
                  <a:cubicBezTo>
                    <a:pt x="15" y="32"/>
                    <a:pt x="17" y="24"/>
                    <a:pt x="21" y="19"/>
                  </a:cubicBezTo>
                  <a:cubicBezTo>
                    <a:pt x="26" y="14"/>
                    <a:pt x="32" y="12"/>
                    <a:pt x="38" y="12"/>
                  </a:cubicBezTo>
                  <a:cubicBezTo>
                    <a:pt x="45" y="12"/>
                    <a:pt x="51" y="14"/>
                    <a:pt x="56" y="19"/>
                  </a:cubicBezTo>
                  <a:cubicBezTo>
                    <a:pt x="60" y="25"/>
                    <a:pt x="62" y="32"/>
                    <a:pt x="62" y="42"/>
                  </a:cubicBezTo>
                  <a:cubicBezTo>
                    <a:pt x="62" y="53"/>
                    <a:pt x="60" y="61"/>
                    <a:pt x="56" y="6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217" name="îš1ïḋé"/>
            <p:cNvSpPr/>
            <p:nvPr/>
          </p:nvSpPr>
          <p:spPr bwMode="auto">
            <a:xfrm>
              <a:off x="9491916" y="5675903"/>
              <a:ext cx="25400" cy="2063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218" name="íŝḻíḍê"/>
            <p:cNvSpPr/>
            <p:nvPr/>
          </p:nvSpPr>
          <p:spPr bwMode="auto">
            <a:xfrm>
              <a:off x="9547478" y="5729878"/>
              <a:ext cx="141288" cy="157163"/>
            </a:xfrm>
            <a:custGeom>
              <a:avLst/>
              <a:gdLst>
                <a:gd name="T0" fmla="*/ 38 w 77"/>
                <a:gd name="T1" fmla="*/ 0 h 85"/>
                <a:gd name="T2" fmla="*/ 13 w 77"/>
                <a:gd name="T3" fmla="*/ 9 h 85"/>
                <a:gd name="T4" fmla="*/ 0 w 77"/>
                <a:gd name="T5" fmla="*/ 43 h 85"/>
                <a:gd name="T6" fmla="*/ 11 w 77"/>
                <a:gd name="T7" fmla="*/ 74 h 85"/>
                <a:gd name="T8" fmla="*/ 38 w 77"/>
                <a:gd name="T9" fmla="*/ 85 h 85"/>
                <a:gd name="T10" fmla="*/ 58 w 77"/>
                <a:gd name="T11" fmla="*/ 80 h 85"/>
                <a:gd name="T12" fmla="*/ 72 w 77"/>
                <a:gd name="T13" fmla="*/ 66 h 85"/>
                <a:gd name="T14" fmla="*/ 77 w 77"/>
                <a:gd name="T15" fmla="*/ 42 h 85"/>
                <a:gd name="T16" fmla="*/ 66 w 77"/>
                <a:gd name="T17" fmla="*/ 11 h 85"/>
                <a:gd name="T18" fmla="*/ 38 w 77"/>
                <a:gd name="T19" fmla="*/ 0 h 85"/>
                <a:gd name="T20" fmla="*/ 56 w 77"/>
                <a:gd name="T21" fmla="*/ 66 h 85"/>
                <a:gd name="T22" fmla="*/ 38 w 77"/>
                <a:gd name="T23" fmla="*/ 74 h 85"/>
                <a:gd name="T24" fmla="*/ 21 w 77"/>
                <a:gd name="T25" fmla="*/ 66 h 85"/>
                <a:gd name="T26" fmla="*/ 15 w 77"/>
                <a:gd name="T27" fmla="*/ 43 h 85"/>
                <a:gd name="T28" fmla="*/ 21 w 77"/>
                <a:gd name="T29" fmla="*/ 19 h 85"/>
                <a:gd name="T30" fmla="*/ 38 w 77"/>
                <a:gd name="T31" fmla="*/ 12 h 85"/>
                <a:gd name="T32" fmla="*/ 56 w 77"/>
                <a:gd name="T33" fmla="*/ 19 h 85"/>
                <a:gd name="T34" fmla="*/ 62 w 77"/>
                <a:gd name="T35" fmla="*/ 42 h 85"/>
                <a:gd name="T36" fmla="*/ 56 w 77"/>
                <a:gd name="T37" fmla="*/ 66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77" h="85">
                  <a:moveTo>
                    <a:pt x="38" y="0"/>
                  </a:moveTo>
                  <a:cubicBezTo>
                    <a:pt x="28" y="0"/>
                    <a:pt x="20" y="3"/>
                    <a:pt x="13" y="9"/>
                  </a:cubicBezTo>
                  <a:cubicBezTo>
                    <a:pt x="5" y="16"/>
                    <a:pt x="0" y="28"/>
                    <a:pt x="0" y="43"/>
                  </a:cubicBezTo>
                  <a:cubicBezTo>
                    <a:pt x="0" y="56"/>
                    <a:pt x="4" y="67"/>
                    <a:pt x="11" y="74"/>
                  </a:cubicBezTo>
                  <a:cubicBezTo>
                    <a:pt x="18" y="82"/>
                    <a:pt x="27" y="85"/>
                    <a:pt x="38" y="85"/>
                  </a:cubicBezTo>
                  <a:cubicBezTo>
                    <a:pt x="46" y="85"/>
                    <a:pt x="52" y="84"/>
                    <a:pt x="58" y="80"/>
                  </a:cubicBezTo>
                  <a:cubicBezTo>
                    <a:pt x="64" y="77"/>
                    <a:pt x="69" y="72"/>
                    <a:pt x="72" y="66"/>
                  </a:cubicBezTo>
                  <a:cubicBezTo>
                    <a:pt x="75" y="60"/>
                    <a:pt x="77" y="52"/>
                    <a:pt x="77" y="42"/>
                  </a:cubicBezTo>
                  <a:cubicBezTo>
                    <a:pt x="77" y="29"/>
                    <a:pt x="73" y="19"/>
                    <a:pt x="66" y="11"/>
                  </a:cubicBezTo>
                  <a:cubicBezTo>
                    <a:pt x="59" y="4"/>
                    <a:pt x="50" y="0"/>
                    <a:pt x="38" y="0"/>
                  </a:cubicBezTo>
                  <a:close/>
                  <a:moveTo>
                    <a:pt x="56" y="66"/>
                  </a:moveTo>
                  <a:cubicBezTo>
                    <a:pt x="51" y="71"/>
                    <a:pt x="45" y="74"/>
                    <a:pt x="38" y="74"/>
                  </a:cubicBezTo>
                  <a:cubicBezTo>
                    <a:pt x="32" y="74"/>
                    <a:pt x="26" y="71"/>
                    <a:pt x="21" y="66"/>
                  </a:cubicBezTo>
                  <a:cubicBezTo>
                    <a:pt x="17" y="61"/>
                    <a:pt x="15" y="53"/>
                    <a:pt x="15" y="43"/>
                  </a:cubicBezTo>
                  <a:cubicBezTo>
                    <a:pt x="15" y="32"/>
                    <a:pt x="17" y="24"/>
                    <a:pt x="21" y="19"/>
                  </a:cubicBezTo>
                  <a:cubicBezTo>
                    <a:pt x="26" y="14"/>
                    <a:pt x="32" y="12"/>
                    <a:pt x="38" y="12"/>
                  </a:cubicBezTo>
                  <a:cubicBezTo>
                    <a:pt x="45" y="12"/>
                    <a:pt x="51" y="14"/>
                    <a:pt x="56" y="19"/>
                  </a:cubicBezTo>
                  <a:cubicBezTo>
                    <a:pt x="60" y="25"/>
                    <a:pt x="62" y="32"/>
                    <a:pt x="62" y="42"/>
                  </a:cubicBezTo>
                  <a:cubicBezTo>
                    <a:pt x="62" y="53"/>
                    <a:pt x="60" y="61"/>
                    <a:pt x="56" y="6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219" name="íṧḷíḓé"/>
            <p:cNvSpPr/>
            <p:nvPr/>
          </p:nvSpPr>
          <p:spPr bwMode="auto">
            <a:xfrm>
              <a:off x="9707816" y="5729878"/>
              <a:ext cx="131763" cy="214313"/>
            </a:xfrm>
            <a:custGeom>
              <a:avLst/>
              <a:gdLst>
                <a:gd name="T0" fmla="*/ 59 w 72"/>
                <a:gd name="T1" fmla="*/ 12 h 116"/>
                <a:gd name="T2" fmla="*/ 36 w 72"/>
                <a:gd name="T3" fmla="*/ 0 h 116"/>
                <a:gd name="T4" fmla="*/ 17 w 72"/>
                <a:gd name="T5" fmla="*/ 6 h 116"/>
                <a:gd name="T6" fmla="*/ 5 w 72"/>
                <a:gd name="T7" fmla="*/ 21 h 116"/>
                <a:gd name="T8" fmla="*/ 0 w 72"/>
                <a:gd name="T9" fmla="*/ 42 h 116"/>
                <a:gd name="T10" fmla="*/ 10 w 72"/>
                <a:gd name="T11" fmla="*/ 71 h 116"/>
                <a:gd name="T12" fmla="*/ 36 w 72"/>
                <a:gd name="T13" fmla="*/ 83 h 116"/>
                <a:gd name="T14" fmla="*/ 58 w 72"/>
                <a:gd name="T15" fmla="*/ 73 h 116"/>
                <a:gd name="T16" fmla="*/ 57 w 72"/>
                <a:gd name="T17" fmla="*/ 90 h 116"/>
                <a:gd name="T18" fmla="*/ 50 w 72"/>
                <a:gd name="T19" fmla="*/ 101 h 116"/>
                <a:gd name="T20" fmla="*/ 35 w 72"/>
                <a:gd name="T21" fmla="*/ 105 h 116"/>
                <a:gd name="T22" fmla="*/ 21 w 72"/>
                <a:gd name="T23" fmla="*/ 101 h 116"/>
                <a:gd name="T24" fmla="*/ 17 w 72"/>
                <a:gd name="T25" fmla="*/ 92 h 116"/>
                <a:gd name="T26" fmla="*/ 3 w 72"/>
                <a:gd name="T27" fmla="*/ 90 h 116"/>
                <a:gd name="T28" fmla="*/ 12 w 72"/>
                <a:gd name="T29" fmla="*/ 110 h 116"/>
                <a:gd name="T30" fmla="*/ 35 w 72"/>
                <a:gd name="T31" fmla="*/ 116 h 116"/>
                <a:gd name="T32" fmla="*/ 56 w 72"/>
                <a:gd name="T33" fmla="*/ 112 h 116"/>
                <a:gd name="T34" fmla="*/ 68 w 72"/>
                <a:gd name="T35" fmla="*/ 99 h 116"/>
                <a:gd name="T36" fmla="*/ 72 w 72"/>
                <a:gd name="T37" fmla="*/ 72 h 116"/>
                <a:gd name="T38" fmla="*/ 72 w 72"/>
                <a:gd name="T39" fmla="*/ 2 h 116"/>
                <a:gd name="T40" fmla="*/ 59 w 72"/>
                <a:gd name="T41" fmla="*/ 2 h 116"/>
                <a:gd name="T42" fmla="*/ 59 w 72"/>
                <a:gd name="T43" fmla="*/ 12 h 116"/>
                <a:gd name="T44" fmla="*/ 53 w 72"/>
                <a:gd name="T45" fmla="*/ 65 h 116"/>
                <a:gd name="T46" fmla="*/ 37 w 72"/>
                <a:gd name="T47" fmla="*/ 72 h 116"/>
                <a:gd name="T48" fmla="*/ 21 w 72"/>
                <a:gd name="T49" fmla="*/ 65 h 116"/>
                <a:gd name="T50" fmla="*/ 15 w 72"/>
                <a:gd name="T51" fmla="*/ 41 h 116"/>
                <a:gd name="T52" fmla="*/ 21 w 72"/>
                <a:gd name="T53" fmla="*/ 19 h 116"/>
                <a:gd name="T54" fmla="*/ 37 w 72"/>
                <a:gd name="T55" fmla="*/ 12 h 116"/>
                <a:gd name="T56" fmla="*/ 53 w 72"/>
                <a:gd name="T57" fmla="*/ 19 h 116"/>
                <a:gd name="T58" fmla="*/ 59 w 72"/>
                <a:gd name="T59" fmla="*/ 42 h 116"/>
                <a:gd name="T60" fmla="*/ 53 w 72"/>
                <a:gd name="T61" fmla="*/ 65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72" h="116">
                  <a:moveTo>
                    <a:pt x="59" y="12"/>
                  </a:moveTo>
                  <a:cubicBezTo>
                    <a:pt x="53" y="4"/>
                    <a:pt x="45" y="0"/>
                    <a:pt x="36" y="0"/>
                  </a:cubicBezTo>
                  <a:cubicBezTo>
                    <a:pt x="28" y="0"/>
                    <a:pt x="22" y="2"/>
                    <a:pt x="17" y="6"/>
                  </a:cubicBezTo>
                  <a:cubicBezTo>
                    <a:pt x="11" y="9"/>
                    <a:pt x="7" y="14"/>
                    <a:pt x="5" y="21"/>
                  </a:cubicBezTo>
                  <a:cubicBezTo>
                    <a:pt x="2" y="27"/>
                    <a:pt x="0" y="34"/>
                    <a:pt x="0" y="42"/>
                  </a:cubicBezTo>
                  <a:cubicBezTo>
                    <a:pt x="0" y="53"/>
                    <a:pt x="3" y="63"/>
                    <a:pt x="10" y="71"/>
                  </a:cubicBezTo>
                  <a:cubicBezTo>
                    <a:pt x="16" y="79"/>
                    <a:pt x="24" y="83"/>
                    <a:pt x="36" y="83"/>
                  </a:cubicBezTo>
                  <a:cubicBezTo>
                    <a:pt x="45" y="83"/>
                    <a:pt x="52" y="80"/>
                    <a:pt x="58" y="73"/>
                  </a:cubicBezTo>
                  <a:cubicBezTo>
                    <a:pt x="58" y="82"/>
                    <a:pt x="58" y="88"/>
                    <a:pt x="57" y="90"/>
                  </a:cubicBezTo>
                  <a:cubicBezTo>
                    <a:pt x="56" y="95"/>
                    <a:pt x="53" y="99"/>
                    <a:pt x="50" y="101"/>
                  </a:cubicBezTo>
                  <a:cubicBezTo>
                    <a:pt x="47" y="104"/>
                    <a:pt x="42" y="105"/>
                    <a:pt x="35" y="105"/>
                  </a:cubicBezTo>
                  <a:cubicBezTo>
                    <a:pt x="29" y="105"/>
                    <a:pt x="25" y="104"/>
                    <a:pt x="21" y="101"/>
                  </a:cubicBezTo>
                  <a:cubicBezTo>
                    <a:pt x="19" y="99"/>
                    <a:pt x="17" y="96"/>
                    <a:pt x="17" y="92"/>
                  </a:cubicBezTo>
                  <a:cubicBezTo>
                    <a:pt x="3" y="90"/>
                    <a:pt x="3" y="90"/>
                    <a:pt x="3" y="90"/>
                  </a:cubicBezTo>
                  <a:cubicBezTo>
                    <a:pt x="3" y="99"/>
                    <a:pt x="6" y="105"/>
                    <a:pt x="12" y="110"/>
                  </a:cubicBezTo>
                  <a:cubicBezTo>
                    <a:pt x="18" y="114"/>
                    <a:pt x="26" y="116"/>
                    <a:pt x="35" y="116"/>
                  </a:cubicBezTo>
                  <a:cubicBezTo>
                    <a:pt x="43" y="116"/>
                    <a:pt x="50" y="115"/>
                    <a:pt x="56" y="112"/>
                  </a:cubicBezTo>
                  <a:cubicBezTo>
                    <a:pt x="62" y="109"/>
                    <a:pt x="66" y="104"/>
                    <a:pt x="68" y="99"/>
                  </a:cubicBezTo>
                  <a:cubicBezTo>
                    <a:pt x="71" y="94"/>
                    <a:pt x="72" y="85"/>
                    <a:pt x="72" y="72"/>
                  </a:cubicBezTo>
                  <a:cubicBezTo>
                    <a:pt x="72" y="2"/>
                    <a:pt x="72" y="2"/>
                    <a:pt x="72" y="2"/>
                  </a:cubicBezTo>
                  <a:cubicBezTo>
                    <a:pt x="59" y="2"/>
                    <a:pt x="59" y="2"/>
                    <a:pt x="59" y="2"/>
                  </a:cubicBezTo>
                  <a:lnTo>
                    <a:pt x="59" y="12"/>
                  </a:lnTo>
                  <a:close/>
                  <a:moveTo>
                    <a:pt x="53" y="65"/>
                  </a:moveTo>
                  <a:cubicBezTo>
                    <a:pt x="48" y="69"/>
                    <a:pt x="43" y="72"/>
                    <a:pt x="37" y="72"/>
                  </a:cubicBezTo>
                  <a:cubicBezTo>
                    <a:pt x="30" y="72"/>
                    <a:pt x="25" y="69"/>
                    <a:pt x="21" y="65"/>
                  </a:cubicBezTo>
                  <a:cubicBezTo>
                    <a:pt x="17" y="60"/>
                    <a:pt x="15" y="52"/>
                    <a:pt x="15" y="41"/>
                  </a:cubicBezTo>
                  <a:cubicBezTo>
                    <a:pt x="15" y="31"/>
                    <a:pt x="17" y="24"/>
                    <a:pt x="21" y="19"/>
                  </a:cubicBezTo>
                  <a:cubicBezTo>
                    <a:pt x="25" y="14"/>
                    <a:pt x="30" y="12"/>
                    <a:pt x="37" y="12"/>
                  </a:cubicBezTo>
                  <a:cubicBezTo>
                    <a:pt x="43" y="12"/>
                    <a:pt x="48" y="14"/>
                    <a:pt x="53" y="19"/>
                  </a:cubicBezTo>
                  <a:cubicBezTo>
                    <a:pt x="57" y="24"/>
                    <a:pt x="59" y="32"/>
                    <a:pt x="59" y="42"/>
                  </a:cubicBezTo>
                  <a:cubicBezTo>
                    <a:pt x="59" y="52"/>
                    <a:pt x="57" y="60"/>
                    <a:pt x="53" y="6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220" name="îŝlíde"/>
            <p:cNvSpPr/>
            <p:nvPr/>
          </p:nvSpPr>
          <p:spPr bwMode="auto">
            <a:xfrm>
              <a:off x="9864978" y="5733053"/>
              <a:ext cx="138113" cy="211138"/>
            </a:xfrm>
            <a:custGeom>
              <a:avLst/>
              <a:gdLst>
                <a:gd name="T0" fmla="*/ 43 w 75"/>
                <a:gd name="T1" fmla="*/ 47 h 114"/>
                <a:gd name="T2" fmla="*/ 38 w 75"/>
                <a:gd name="T3" fmla="*/ 66 h 114"/>
                <a:gd name="T4" fmla="*/ 32 w 75"/>
                <a:gd name="T5" fmla="*/ 47 h 114"/>
                <a:gd name="T6" fmla="*/ 15 w 75"/>
                <a:gd name="T7" fmla="*/ 0 h 114"/>
                <a:gd name="T8" fmla="*/ 0 w 75"/>
                <a:gd name="T9" fmla="*/ 0 h 114"/>
                <a:gd name="T10" fmla="*/ 31 w 75"/>
                <a:gd name="T11" fmla="*/ 81 h 114"/>
                <a:gd name="T12" fmla="*/ 30 w 75"/>
                <a:gd name="T13" fmla="*/ 85 h 114"/>
                <a:gd name="T14" fmla="*/ 25 w 75"/>
                <a:gd name="T15" fmla="*/ 95 h 114"/>
                <a:gd name="T16" fmla="*/ 21 w 75"/>
                <a:gd name="T17" fmla="*/ 99 h 114"/>
                <a:gd name="T18" fmla="*/ 14 w 75"/>
                <a:gd name="T19" fmla="*/ 101 h 114"/>
                <a:gd name="T20" fmla="*/ 6 w 75"/>
                <a:gd name="T21" fmla="*/ 100 h 114"/>
                <a:gd name="T22" fmla="*/ 7 w 75"/>
                <a:gd name="T23" fmla="*/ 113 h 114"/>
                <a:gd name="T24" fmla="*/ 16 w 75"/>
                <a:gd name="T25" fmla="*/ 114 h 114"/>
                <a:gd name="T26" fmla="*/ 27 w 75"/>
                <a:gd name="T27" fmla="*/ 111 h 114"/>
                <a:gd name="T28" fmla="*/ 36 w 75"/>
                <a:gd name="T29" fmla="*/ 101 h 114"/>
                <a:gd name="T30" fmla="*/ 44 w 75"/>
                <a:gd name="T31" fmla="*/ 83 h 114"/>
                <a:gd name="T32" fmla="*/ 75 w 75"/>
                <a:gd name="T33" fmla="*/ 0 h 114"/>
                <a:gd name="T34" fmla="*/ 61 w 75"/>
                <a:gd name="T35" fmla="*/ 0 h 114"/>
                <a:gd name="T36" fmla="*/ 43 w 75"/>
                <a:gd name="T37" fmla="*/ 47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75" h="114">
                  <a:moveTo>
                    <a:pt x="43" y="47"/>
                  </a:moveTo>
                  <a:cubicBezTo>
                    <a:pt x="41" y="53"/>
                    <a:pt x="39" y="60"/>
                    <a:pt x="38" y="66"/>
                  </a:cubicBezTo>
                  <a:cubicBezTo>
                    <a:pt x="36" y="59"/>
                    <a:pt x="34" y="53"/>
                    <a:pt x="32" y="47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0" y="83"/>
                    <a:pt x="30" y="84"/>
                    <a:pt x="30" y="85"/>
                  </a:cubicBezTo>
                  <a:cubicBezTo>
                    <a:pt x="28" y="90"/>
                    <a:pt x="26" y="94"/>
                    <a:pt x="25" y="95"/>
                  </a:cubicBezTo>
                  <a:cubicBezTo>
                    <a:pt x="24" y="97"/>
                    <a:pt x="23" y="98"/>
                    <a:pt x="21" y="99"/>
                  </a:cubicBezTo>
                  <a:cubicBezTo>
                    <a:pt x="19" y="100"/>
                    <a:pt x="17" y="101"/>
                    <a:pt x="14" y="101"/>
                  </a:cubicBezTo>
                  <a:cubicBezTo>
                    <a:pt x="11" y="101"/>
                    <a:pt x="9" y="101"/>
                    <a:pt x="6" y="100"/>
                  </a:cubicBezTo>
                  <a:cubicBezTo>
                    <a:pt x="7" y="113"/>
                    <a:pt x="7" y="113"/>
                    <a:pt x="7" y="113"/>
                  </a:cubicBezTo>
                  <a:cubicBezTo>
                    <a:pt x="11" y="114"/>
                    <a:pt x="13" y="114"/>
                    <a:pt x="16" y="114"/>
                  </a:cubicBezTo>
                  <a:cubicBezTo>
                    <a:pt x="21" y="114"/>
                    <a:pt x="24" y="113"/>
                    <a:pt x="27" y="111"/>
                  </a:cubicBezTo>
                  <a:cubicBezTo>
                    <a:pt x="31" y="109"/>
                    <a:pt x="33" y="106"/>
                    <a:pt x="36" y="101"/>
                  </a:cubicBezTo>
                  <a:cubicBezTo>
                    <a:pt x="38" y="98"/>
                    <a:pt x="40" y="92"/>
                    <a:pt x="44" y="83"/>
                  </a:cubicBezTo>
                  <a:cubicBezTo>
                    <a:pt x="75" y="0"/>
                    <a:pt x="75" y="0"/>
                    <a:pt x="75" y="0"/>
                  </a:cubicBezTo>
                  <a:cubicBezTo>
                    <a:pt x="61" y="0"/>
                    <a:pt x="61" y="0"/>
                    <a:pt x="61" y="0"/>
                  </a:cubicBezTo>
                  <a:lnTo>
                    <a:pt x="43" y="4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221" name="íṧ1ïḍé"/>
            <p:cNvSpPr/>
            <p:nvPr/>
          </p:nvSpPr>
          <p:spPr bwMode="auto">
            <a:xfrm>
              <a:off x="10106278" y="5675903"/>
              <a:ext cx="155575" cy="206375"/>
            </a:xfrm>
            <a:custGeom>
              <a:avLst/>
              <a:gdLst>
                <a:gd name="T0" fmla="*/ 64 w 85"/>
                <a:gd name="T1" fmla="*/ 53 h 112"/>
                <a:gd name="T2" fmla="*/ 75 w 85"/>
                <a:gd name="T3" fmla="*/ 42 h 112"/>
                <a:gd name="T4" fmla="*/ 79 w 85"/>
                <a:gd name="T5" fmla="*/ 29 h 112"/>
                <a:gd name="T6" fmla="*/ 75 w 85"/>
                <a:gd name="T7" fmla="*/ 14 h 112"/>
                <a:gd name="T8" fmla="*/ 63 w 85"/>
                <a:gd name="T9" fmla="*/ 4 h 112"/>
                <a:gd name="T10" fmla="*/ 42 w 85"/>
                <a:gd name="T11" fmla="*/ 0 h 112"/>
                <a:gd name="T12" fmla="*/ 0 w 85"/>
                <a:gd name="T13" fmla="*/ 0 h 112"/>
                <a:gd name="T14" fmla="*/ 0 w 85"/>
                <a:gd name="T15" fmla="*/ 112 h 112"/>
                <a:gd name="T16" fmla="*/ 43 w 85"/>
                <a:gd name="T17" fmla="*/ 112 h 112"/>
                <a:gd name="T18" fmla="*/ 61 w 85"/>
                <a:gd name="T19" fmla="*/ 110 h 112"/>
                <a:gd name="T20" fmla="*/ 73 w 85"/>
                <a:gd name="T21" fmla="*/ 105 h 112"/>
                <a:gd name="T22" fmla="*/ 81 w 85"/>
                <a:gd name="T23" fmla="*/ 94 h 112"/>
                <a:gd name="T24" fmla="*/ 85 w 85"/>
                <a:gd name="T25" fmla="*/ 80 h 112"/>
                <a:gd name="T26" fmla="*/ 79 w 85"/>
                <a:gd name="T27" fmla="*/ 63 h 112"/>
                <a:gd name="T28" fmla="*/ 64 w 85"/>
                <a:gd name="T29" fmla="*/ 53 h 112"/>
                <a:gd name="T30" fmla="*/ 15 w 85"/>
                <a:gd name="T31" fmla="*/ 13 h 112"/>
                <a:gd name="T32" fmla="*/ 37 w 85"/>
                <a:gd name="T33" fmla="*/ 13 h 112"/>
                <a:gd name="T34" fmla="*/ 54 w 85"/>
                <a:gd name="T35" fmla="*/ 15 h 112"/>
                <a:gd name="T36" fmla="*/ 62 w 85"/>
                <a:gd name="T37" fmla="*/ 21 h 112"/>
                <a:gd name="T38" fmla="*/ 65 w 85"/>
                <a:gd name="T39" fmla="*/ 31 h 112"/>
                <a:gd name="T40" fmla="*/ 62 w 85"/>
                <a:gd name="T41" fmla="*/ 40 h 112"/>
                <a:gd name="T42" fmla="*/ 53 w 85"/>
                <a:gd name="T43" fmla="*/ 46 h 112"/>
                <a:gd name="T44" fmla="*/ 39 w 85"/>
                <a:gd name="T45" fmla="*/ 47 h 112"/>
                <a:gd name="T46" fmla="*/ 15 w 85"/>
                <a:gd name="T47" fmla="*/ 47 h 112"/>
                <a:gd name="T48" fmla="*/ 15 w 85"/>
                <a:gd name="T49" fmla="*/ 13 h 112"/>
                <a:gd name="T50" fmla="*/ 67 w 85"/>
                <a:gd name="T51" fmla="*/ 89 h 112"/>
                <a:gd name="T52" fmla="*/ 61 w 85"/>
                <a:gd name="T53" fmla="*/ 95 h 112"/>
                <a:gd name="T54" fmla="*/ 53 w 85"/>
                <a:gd name="T55" fmla="*/ 99 h 112"/>
                <a:gd name="T56" fmla="*/ 43 w 85"/>
                <a:gd name="T57" fmla="*/ 99 h 112"/>
                <a:gd name="T58" fmla="*/ 15 w 85"/>
                <a:gd name="T59" fmla="*/ 99 h 112"/>
                <a:gd name="T60" fmla="*/ 15 w 85"/>
                <a:gd name="T61" fmla="*/ 61 h 112"/>
                <a:gd name="T62" fmla="*/ 41 w 85"/>
                <a:gd name="T63" fmla="*/ 61 h 112"/>
                <a:gd name="T64" fmla="*/ 57 w 85"/>
                <a:gd name="T65" fmla="*/ 62 h 112"/>
                <a:gd name="T66" fmla="*/ 66 w 85"/>
                <a:gd name="T67" fmla="*/ 69 h 112"/>
                <a:gd name="T68" fmla="*/ 69 w 85"/>
                <a:gd name="T69" fmla="*/ 80 h 112"/>
                <a:gd name="T70" fmla="*/ 67 w 85"/>
                <a:gd name="T71" fmla="*/ 89 h 1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85" h="112">
                  <a:moveTo>
                    <a:pt x="64" y="53"/>
                  </a:moveTo>
                  <a:cubicBezTo>
                    <a:pt x="69" y="50"/>
                    <a:pt x="73" y="47"/>
                    <a:pt x="75" y="42"/>
                  </a:cubicBezTo>
                  <a:cubicBezTo>
                    <a:pt x="78" y="38"/>
                    <a:pt x="79" y="34"/>
                    <a:pt x="79" y="29"/>
                  </a:cubicBezTo>
                  <a:cubicBezTo>
                    <a:pt x="79" y="24"/>
                    <a:pt x="78" y="19"/>
                    <a:pt x="75" y="14"/>
                  </a:cubicBezTo>
                  <a:cubicBezTo>
                    <a:pt x="72" y="9"/>
                    <a:pt x="68" y="6"/>
                    <a:pt x="63" y="4"/>
                  </a:cubicBezTo>
                  <a:cubicBezTo>
                    <a:pt x="57" y="1"/>
                    <a:pt x="51" y="0"/>
                    <a:pt x="42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12"/>
                    <a:pt x="0" y="112"/>
                    <a:pt x="0" y="112"/>
                  </a:cubicBezTo>
                  <a:cubicBezTo>
                    <a:pt x="43" y="112"/>
                    <a:pt x="43" y="112"/>
                    <a:pt x="43" y="112"/>
                  </a:cubicBezTo>
                  <a:cubicBezTo>
                    <a:pt x="50" y="112"/>
                    <a:pt x="56" y="112"/>
                    <a:pt x="61" y="110"/>
                  </a:cubicBezTo>
                  <a:cubicBezTo>
                    <a:pt x="66" y="109"/>
                    <a:pt x="70" y="107"/>
                    <a:pt x="73" y="105"/>
                  </a:cubicBezTo>
                  <a:cubicBezTo>
                    <a:pt x="76" y="102"/>
                    <a:pt x="79" y="99"/>
                    <a:pt x="81" y="94"/>
                  </a:cubicBezTo>
                  <a:cubicBezTo>
                    <a:pt x="84" y="90"/>
                    <a:pt x="85" y="85"/>
                    <a:pt x="85" y="80"/>
                  </a:cubicBezTo>
                  <a:cubicBezTo>
                    <a:pt x="85" y="73"/>
                    <a:pt x="83" y="68"/>
                    <a:pt x="79" y="63"/>
                  </a:cubicBezTo>
                  <a:cubicBezTo>
                    <a:pt x="76" y="58"/>
                    <a:pt x="70" y="55"/>
                    <a:pt x="64" y="53"/>
                  </a:cubicBezTo>
                  <a:close/>
                  <a:moveTo>
                    <a:pt x="15" y="13"/>
                  </a:moveTo>
                  <a:cubicBezTo>
                    <a:pt x="37" y="13"/>
                    <a:pt x="37" y="13"/>
                    <a:pt x="37" y="13"/>
                  </a:cubicBezTo>
                  <a:cubicBezTo>
                    <a:pt x="45" y="13"/>
                    <a:pt x="51" y="14"/>
                    <a:pt x="54" y="15"/>
                  </a:cubicBezTo>
                  <a:cubicBezTo>
                    <a:pt x="58" y="16"/>
                    <a:pt x="60" y="18"/>
                    <a:pt x="62" y="21"/>
                  </a:cubicBezTo>
                  <a:cubicBezTo>
                    <a:pt x="64" y="24"/>
                    <a:pt x="65" y="27"/>
                    <a:pt x="65" y="31"/>
                  </a:cubicBezTo>
                  <a:cubicBezTo>
                    <a:pt x="65" y="35"/>
                    <a:pt x="64" y="38"/>
                    <a:pt x="62" y="40"/>
                  </a:cubicBezTo>
                  <a:cubicBezTo>
                    <a:pt x="60" y="43"/>
                    <a:pt x="57" y="45"/>
                    <a:pt x="53" y="46"/>
                  </a:cubicBezTo>
                  <a:cubicBezTo>
                    <a:pt x="50" y="47"/>
                    <a:pt x="46" y="47"/>
                    <a:pt x="39" y="47"/>
                  </a:cubicBezTo>
                  <a:cubicBezTo>
                    <a:pt x="15" y="47"/>
                    <a:pt x="15" y="47"/>
                    <a:pt x="15" y="47"/>
                  </a:cubicBezTo>
                  <a:lnTo>
                    <a:pt x="15" y="13"/>
                  </a:lnTo>
                  <a:close/>
                  <a:moveTo>
                    <a:pt x="67" y="89"/>
                  </a:moveTo>
                  <a:cubicBezTo>
                    <a:pt x="66" y="92"/>
                    <a:pt x="64" y="94"/>
                    <a:pt x="61" y="95"/>
                  </a:cubicBezTo>
                  <a:cubicBezTo>
                    <a:pt x="59" y="97"/>
                    <a:pt x="56" y="98"/>
                    <a:pt x="53" y="99"/>
                  </a:cubicBezTo>
                  <a:cubicBezTo>
                    <a:pt x="51" y="99"/>
                    <a:pt x="48" y="99"/>
                    <a:pt x="43" y="99"/>
                  </a:cubicBezTo>
                  <a:cubicBezTo>
                    <a:pt x="15" y="99"/>
                    <a:pt x="15" y="99"/>
                    <a:pt x="15" y="99"/>
                  </a:cubicBezTo>
                  <a:cubicBezTo>
                    <a:pt x="15" y="61"/>
                    <a:pt x="15" y="61"/>
                    <a:pt x="15" y="61"/>
                  </a:cubicBezTo>
                  <a:cubicBezTo>
                    <a:pt x="41" y="61"/>
                    <a:pt x="41" y="61"/>
                    <a:pt x="41" y="61"/>
                  </a:cubicBezTo>
                  <a:cubicBezTo>
                    <a:pt x="48" y="61"/>
                    <a:pt x="53" y="61"/>
                    <a:pt x="57" y="62"/>
                  </a:cubicBezTo>
                  <a:cubicBezTo>
                    <a:pt x="61" y="64"/>
                    <a:pt x="64" y="66"/>
                    <a:pt x="66" y="69"/>
                  </a:cubicBezTo>
                  <a:cubicBezTo>
                    <a:pt x="68" y="72"/>
                    <a:pt x="69" y="76"/>
                    <a:pt x="69" y="80"/>
                  </a:cubicBezTo>
                  <a:cubicBezTo>
                    <a:pt x="69" y="83"/>
                    <a:pt x="69" y="87"/>
                    <a:pt x="67" y="8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222" name="iŝļidé"/>
            <p:cNvSpPr/>
            <p:nvPr/>
          </p:nvSpPr>
          <p:spPr bwMode="auto">
            <a:xfrm>
              <a:off x="10288841" y="5729878"/>
              <a:ext cx="138113" cy="157163"/>
            </a:xfrm>
            <a:custGeom>
              <a:avLst/>
              <a:gdLst>
                <a:gd name="T0" fmla="*/ 38 w 75"/>
                <a:gd name="T1" fmla="*/ 0 h 85"/>
                <a:gd name="T2" fmla="*/ 10 w 75"/>
                <a:gd name="T3" fmla="*/ 12 h 85"/>
                <a:gd name="T4" fmla="*/ 0 w 75"/>
                <a:gd name="T5" fmla="*/ 43 h 85"/>
                <a:gd name="T6" fmla="*/ 10 w 75"/>
                <a:gd name="T7" fmla="*/ 74 h 85"/>
                <a:gd name="T8" fmla="*/ 38 w 75"/>
                <a:gd name="T9" fmla="*/ 85 h 85"/>
                <a:gd name="T10" fmla="*/ 62 w 75"/>
                <a:gd name="T11" fmla="*/ 78 h 85"/>
                <a:gd name="T12" fmla="*/ 74 w 75"/>
                <a:gd name="T13" fmla="*/ 59 h 85"/>
                <a:gd name="T14" fmla="*/ 60 w 75"/>
                <a:gd name="T15" fmla="*/ 57 h 85"/>
                <a:gd name="T16" fmla="*/ 51 w 75"/>
                <a:gd name="T17" fmla="*/ 70 h 85"/>
                <a:gd name="T18" fmla="*/ 39 w 75"/>
                <a:gd name="T19" fmla="*/ 74 h 85"/>
                <a:gd name="T20" fmla="*/ 22 w 75"/>
                <a:gd name="T21" fmla="*/ 67 h 85"/>
                <a:gd name="T22" fmla="*/ 14 w 75"/>
                <a:gd name="T23" fmla="*/ 46 h 85"/>
                <a:gd name="T24" fmla="*/ 75 w 75"/>
                <a:gd name="T25" fmla="*/ 46 h 85"/>
                <a:gd name="T26" fmla="*/ 75 w 75"/>
                <a:gd name="T27" fmla="*/ 43 h 85"/>
                <a:gd name="T28" fmla="*/ 64 w 75"/>
                <a:gd name="T29" fmla="*/ 11 h 85"/>
                <a:gd name="T30" fmla="*/ 38 w 75"/>
                <a:gd name="T31" fmla="*/ 0 h 85"/>
                <a:gd name="T32" fmla="*/ 15 w 75"/>
                <a:gd name="T33" fmla="*/ 35 h 85"/>
                <a:gd name="T34" fmla="*/ 22 w 75"/>
                <a:gd name="T35" fmla="*/ 18 h 85"/>
                <a:gd name="T36" fmla="*/ 38 w 75"/>
                <a:gd name="T37" fmla="*/ 12 h 85"/>
                <a:gd name="T38" fmla="*/ 55 w 75"/>
                <a:gd name="T39" fmla="*/ 20 h 85"/>
                <a:gd name="T40" fmla="*/ 60 w 75"/>
                <a:gd name="T41" fmla="*/ 35 h 85"/>
                <a:gd name="T42" fmla="*/ 15 w 75"/>
                <a:gd name="T43" fmla="*/ 35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75" h="85">
                  <a:moveTo>
                    <a:pt x="38" y="0"/>
                  </a:moveTo>
                  <a:cubicBezTo>
                    <a:pt x="26" y="0"/>
                    <a:pt x="17" y="4"/>
                    <a:pt x="10" y="12"/>
                  </a:cubicBezTo>
                  <a:cubicBezTo>
                    <a:pt x="3" y="19"/>
                    <a:pt x="0" y="30"/>
                    <a:pt x="0" y="43"/>
                  </a:cubicBezTo>
                  <a:cubicBezTo>
                    <a:pt x="0" y="57"/>
                    <a:pt x="3" y="67"/>
                    <a:pt x="10" y="74"/>
                  </a:cubicBezTo>
                  <a:cubicBezTo>
                    <a:pt x="17" y="81"/>
                    <a:pt x="27" y="85"/>
                    <a:pt x="38" y="85"/>
                  </a:cubicBezTo>
                  <a:cubicBezTo>
                    <a:pt x="48" y="85"/>
                    <a:pt x="56" y="83"/>
                    <a:pt x="62" y="78"/>
                  </a:cubicBezTo>
                  <a:cubicBezTo>
                    <a:pt x="68" y="74"/>
                    <a:pt x="72" y="67"/>
                    <a:pt x="74" y="59"/>
                  </a:cubicBezTo>
                  <a:cubicBezTo>
                    <a:pt x="60" y="57"/>
                    <a:pt x="60" y="57"/>
                    <a:pt x="60" y="57"/>
                  </a:cubicBezTo>
                  <a:cubicBezTo>
                    <a:pt x="58" y="63"/>
                    <a:pt x="55" y="67"/>
                    <a:pt x="51" y="70"/>
                  </a:cubicBezTo>
                  <a:cubicBezTo>
                    <a:pt x="48" y="73"/>
                    <a:pt x="44" y="74"/>
                    <a:pt x="39" y="74"/>
                  </a:cubicBezTo>
                  <a:cubicBezTo>
                    <a:pt x="32" y="74"/>
                    <a:pt x="26" y="71"/>
                    <a:pt x="22" y="67"/>
                  </a:cubicBezTo>
                  <a:cubicBezTo>
                    <a:pt x="17" y="62"/>
                    <a:pt x="14" y="55"/>
                    <a:pt x="14" y="46"/>
                  </a:cubicBezTo>
                  <a:cubicBezTo>
                    <a:pt x="75" y="46"/>
                    <a:pt x="75" y="46"/>
                    <a:pt x="75" y="46"/>
                  </a:cubicBezTo>
                  <a:cubicBezTo>
                    <a:pt x="75" y="45"/>
                    <a:pt x="75" y="43"/>
                    <a:pt x="75" y="43"/>
                  </a:cubicBezTo>
                  <a:cubicBezTo>
                    <a:pt x="75" y="29"/>
                    <a:pt x="71" y="19"/>
                    <a:pt x="64" y="11"/>
                  </a:cubicBezTo>
                  <a:cubicBezTo>
                    <a:pt x="57" y="4"/>
                    <a:pt x="49" y="0"/>
                    <a:pt x="38" y="0"/>
                  </a:cubicBezTo>
                  <a:close/>
                  <a:moveTo>
                    <a:pt x="15" y="35"/>
                  </a:moveTo>
                  <a:cubicBezTo>
                    <a:pt x="15" y="28"/>
                    <a:pt x="18" y="22"/>
                    <a:pt x="22" y="18"/>
                  </a:cubicBezTo>
                  <a:cubicBezTo>
                    <a:pt x="26" y="14"/>
                    <a:pt x="32" y="12"/>
                    <a:pt x="38" y="12"/>
                  </a:cubicBezTo>
                  <a:cubicBezTo>
                    <a:pt x="45" y="12"/>
                    <a:pt x="51" y="14"/>
                    <a:pt x="55" y="20"/>
                  </a:cubicBezTo>
                  <a:cubicBezTo>
                    <a:pt x="58" y="23"/>
                    <a:pt x="60" y="28"/>
                    <a:pt x="60" y="35"/>
                  </a:cubicBezTo>
                  <a:lnTo>
                    <a:pt x="15" y="3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223" name="í$lidè"/>
            <p:cNvSpPr/>
            <p:nvPr/>
          </p:nvSpPr>
          <p:spPr bwMode="auto">
            <a:xfrm>
              <a:off x="10457116" y="5675903"/>
              <a:ext cx="25400" cy="3016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224" name="iSļiḋé"/>
            <p:cNvSpPr/>
            <p:nvPr/>
          </p:nvSpPr>
          <p:spPr bwMode="auto">
            <a:xfrm>
              <a:off x="10457116" y="5733053"/>
              <a:ext cx="25400" cy="1492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225" name="íṩḷïḑe"/>
            <p:cNvSpPr/>
            <p:nvPr/>
          </p:nvSpPr>
          <p:spPr bwMode="auto">
            <a:xfrm>
              <a:off x="10520616" y="5675903"/>
              <a:ext cx="25400" cy="3016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226" name="i$ḷïḍè"/>
            <p:cNvSpPr/>
            <p:nvPr/>
          </p:nvSpPr>
          <p:spPr bwMode="auto">
            <a:xfrm>
              <a:off x="10488866" y="5733053"/>
              <a:ext cx="57150" cy="211138"/>
            </a:xfrm>
            <a:custGeom>
              <a:avLst/>
              <a:gdLst>
                <a:gd name="T0" fmla="*/ 17 w 31"/>
                <a:gd name="T1" fmla="*/ 85 h 114"/>
                <a:gd name="T2" fmla="*/ 15 w 31"/>
                <a:gd name="T3" fmla="*/ 99 h 114"/>
                <a:gd name="T4" fmla="*/ 9 w 31"/>
                <a:gd name="T5" fmla="*/ 102 h 114"/>
                <a:gd name="T6" fmla="*/ 2 w 31"/>
                <a:gd name="T7" fmla="*/ 101 h 114"/>
                <a:gd name="T8" fmla="*/ 0 w 31"/>
                <a:gd name="T9" fmla="*/ 113 h 114"/>
                <a:gd name="T10" fmla="*/ 11 w 31"/>
                <a:gd name="T11" fmla="*/ 114 h 114"/>
                <a:gd name="T12" fmla="*/ 27 w 31"/>
                <a:gd name="T13" fmla="*/ 107 h 114"/>
                <a:gd name="T14" fmla="*/ 31 w 31"/>
                <a:gd name="T15" fmla="*/ 86 h 114"/>
                <a:gd name="T16" fmla="*/ 31 w 31"/>
                <a:gd name="T17" fmla="*/ 0 h 114"/>
                <a:gd name="T18" fmla="*/ 17 w 31"/>
                <a:gd name="T19" fmla="*/ 0 h 114"/>
                <a:gd name="T20" fmla="*/ 17 w 31"/>
                <a:gd name="T21" fmla="*/ 85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1" h="114">
                  <a:moveTo>
                    <a:pt x="17" y="85"/>
                  </a:moveTo>
                  <a:cubicBezTo>
                    <a:pt x="17" y="93"/>
                    <a:pt x="17" y="98"/>
                    <a:pt x="15" y="99"/>
                  </a:cubicBezTo>
                  <a:cubicBezTo>
                    <a:pt x="14" y="101"/>
                    <a:pt x="12" y="102"/>
                    <a:pt x="9" y="102"/>
                  </a:cubicBezTo>
                  <a:cubicBezTo>
                    <a:pt x="7" y="102"/>
                    <a:pt x="5" y="102"/>
                    <a:pt x="2" y="101"/>
                  </a:cubicBezTo>
                  <a:cubicBezTo>
                    <a:pt x="0" y="113"/>
                    <a:pt x="0" y="113"/>
                    <a:pt x="0" y="113"/>
                  </a:cubicBezTo>
                  <a:cubicBezTo>
                    <a:pt x="3" y="114"/>
                    <a:pt x="7" y="114"/>
                    <a:pt x="11" y="114"/>
                  </a:cubicBezTo>
                  <a:cubicBezTo>
                    <a:pt x="18" y="114"/>
                    <a:pt x="24" y="112"/>
                    <a:pt x="27" y="107"/>
                  </a:cubicBezTo>
                  <a:cubicBezTo>
                    <a:pt x="30" y="103"/>
                    <a:pt x="31" y="96"/>
                    <a:pt x="31" y="86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17" y="0"/>
                    <a:pt x="17" y="0"/>
                    <a:pt x="17" y="0"/>
                  </a:cubicBezTo>
                  <a:lnTo>
                    <a:pt x="17" y="8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227" name="íṩliḋé"/>
            <p:cNvSpPr/>
            <p:nvPr/>
          </p:nvSpPr>
          <p:spPr bwMode="auto">
            <a:xfrm>
              <a:off x="10585703" y="5675903"/>
              <a:ext cx="25400" cy="3016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228" name="ísḷiďé"/>
            <p:cNvSpPr/>
            <p:nvPr/>
          </p:nvSpPr>
          <p:spPr bwMode="auto">
            <a:xfrm>
              <a:off x="10585703" y="5733053"/>
              <a:ext cx="25400" cy="1492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229" name="íṩļïḍe"/>
            <p:cNvSpPr/>
            <p:nvPr/>
          </p:nvSpPr>
          <p:spPr bwMode="auto">
            <a:xfrm>
              <a:off x="10649203" y="5729878"/>
              <a:ext cx="122238" cy="152400"/>
            </a:xfrm>
            <a:custGeom>
              <a:avLst/>
              <a:gdLst>
                <a:gd name="T0" fmla="*/ 65 w 66"/>
                <a:gd name="T1" fmla="*/ 20 h 83"/>
                <a:gd name="T2" fmla="*/ 61 w 66"/>
                <a:gd name="T3" fmla="*/ 10 h 83"/>
                <a:gd name="T4" fmla="*/ 52 w 66"/>
                <a:gd name="T5" fmla="*/ 3 h 83"/>
                <a:gd name="T6" fmla="*/ 38 w 66"/>
                <a:gd name="T7" fmla="*/ 0 h 83"/>
                <a:gd name="T8" fmla="*/ 12 w 66"/>
                <a:gd name="T9" fmla="*/ 14 h 83"/>
                <a:gd name="T10" fmla="*/ 12 w 66"/>
                <a:gd name="T11" fmla="*/ 2 h 83"/>
                <a:gd name="T12" fmla="*/ 0 w 66"/>
                <a:gd name="T13" fmla="*/ 2 h 83"/>
                <a:gd name="T14" fmla="*/ 0 w 66"/>
                <a:gd name="T15" fmla="*/ 83 h 83"/>
                <a:gd name="T16" fmla="*/ 14 w 66"/>
                <a:gd name="T17" fmla="*/ 83 h 83"/>
                <a:gd name="T18" fmla="*/ 14 w 66"/>
                <a:gd name="T19" fmla="*/ 39 h 83"/>
                <a:gd name="T20" fmla="*/ 20 w 66"/>
                <a:gd name="T21" fmla="*/ 18 h 83"/>
                <a:gd name="T22" fmla="*/ 35 w 66"/>
                <a:gd name="T23" fmla="*/ 12 h 83"/>
                <a:gd name="T24" fmla="*/ 45 w 66"/>
                <a:gd name="T25" fmla="*/ 15 h 83"/>
                <a:gd name="T26" fmla="*/ 51 w 66"/>
                <a:gd name="T27" fmla="*/ 21 h 83"/>
                <a:gd name="T28" fmla="*/ 52 w 66"/>
                <a:gd name="T29" fmla="*/ 34 h 83"/>
                <a:gd name="T30" fmla="*/ 52 w 66"/>
                <a:gd name="T31" fmla="*/ 83 h 83"/>
                <a:gd name="T32" fmla="*/ 66 w 66"/>
                <a:gd name="T33" fmla="*/ 83 h 83"/>
                <a:gd name="T34" fmla="*/ 66 w 66"/>
                <a:gd name="T35" fmla="*/ 33 h 83"/>
                <a:gd name="T36" fmla="*/ 65 w 66"/>
                <a:gd name="T37" fmla="*/ 20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6" h="83">
                  <a:moveTo>
                    <a:pt x="65" y="20"/>
                  </a:moveTo>
                  <a:cubicBezTo>
                    <a:pt x="64" y="16"/>
                    <a:pt x="63" y="13"/>
                    <a:pt x="61" y="10"/>
                  </a:cubicBezTo>
                  <a:cubicBezTo>
                    <a:pt x="59" y="7"/>
                    <a:pt x="56" y="5"/>
                    <a:pt x="52" y="3"/>
                  </a:cubicBezTo>
                  <a:cubicBezTo>
                    <a:pt x="48" y="1"/>
                    <a:pt x="43" y="0"/>
                    <a:pt x="38" y="0"/>
                  </a:cubicBezTo>
                  <a:cubicBezTo>
                    <a:pt x="27" y="0"/>
                    <a:pt x="18" y="5"/>
                    <a:pt x="12" y="14"/>
                  </a:cubicBezTo>
                  <a:cubicBezTo>
                    <a:pt x="12" y="2"/>
                    <a:pt x="12" y="2"/>
                    <a:pt x="12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83"/>
                    <a:pt x="0" y="83"/>
                    <a:pt x="0" y="83"/>
                  </a:cubicBezTo>
                  <a:cubicBezTo>
                    <a:pt x="14" y="83"/>
                    <a:pt x="14" y="83"/>
                    <a:pt x="14" y="83"/>
                  </a:cubicBezTo>
                  <a:cubicBezTo>
                    <a:pt x="14" y="39"/>
                    <a:pt x="14" y="39"/>
                    <a:pt x="14" y="39"/>
                  </a:cubicBezTo>
                  <a:cubicBezTo>
                    <a:pt x="14" y="29"/>
                    <a:pt x="16" y="21"/>
                    <a:pt x="20" y="18"/>
                  </a:cubicBezTo>
                  <a:cubicBezTo>
                    <a:pt x="24" y="14"/>
                    <a:pt x="29" y="12"/>
                    <a:pt x="35" y="12"/>
                  </a:cubicBezTo>
                  <a:cubicBezTo>
                    <a:pt x="39" y="12"/>
                    <a:pt x="42" y="13"/>
                    <a:pt x="45" y="15"/>
                  </a:cubicBezTo>
                  <a:cubicBezTo>
                    <a:pt x="48" y="16"/>
                    <a:pt x="50" y="19"/>
                    <a:pt x="51" y="21"/>
                  </a:cubicBezTo>
                  <a:cubicBezTo>
                    <a:pt x="52" y="24"/>
                    <a:pt x="52" y="28"/>
                    <a:pt x="52" y="34"/>
                  </a:cubicBezTo>
                  <a:cubicBezTo>
                    <a:pt x="52" y="83"/>
                    <a:pt x="52" y="83"/>
                    <a:pt x="52" y="83"/>
                  </a:cubicBezTo>
                  <a:cubicBezTo>
                    <a:pt x="66" y="83"/>
                    <a:pt x="66" y="83"/>
                    <a:pt x="66" y="83"/>
                  </a:cubicBezTo>
                  <a:cubicBezTo>
                    <a:pt x="66" y="33"/>
                    <a:pt x="66" y="33"/>
                    <a:pt x="66" y="33"/>
                  </a:cubicBezTo>
                  <a:cubicBezTo>
                    <a:pt x="66" y="27"/>
                    <a:pt x="66" y="23"/>
                    <a:pt x="65" y="2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230" name="í$ľíḍê"/>
            <p:cNvSpPr/>
            <p:nvPr/>
          </p:nvSpPr>
          <p:spPr bwMode="auto">
            <a:xfrm>
              <a:off x="10800016" y="5729878"/>
              <a:ext cx="133350" cy="214313"/>
            </a:xfrm>
            <a:custGeom>
              <a:avLst/>
              <a:gdLst>
                <a:gd name="T0" fmla="*/ 59 w 72"/>
                <a:gd name="T1" fmla="*/ 2 h 116"/>
                <a:gd name="T2" fmla="*/ 59 w 72"/>
                <a:gd name="T3" fmla="*/ 12 h 116"/>
                <a:gd name="T4" fmla="*/ 35 w 72"/>
                <a:gd name="T5" fmla="*/ 0 h 116"/>
                <a:gd name="T6" fmla="*/ 16 w 72"/>
                <a:gd name="T7" fmla="*/ 6 h 116"/>
                <a:gd name="T8" fmla="*/ 4 w 72"/>
                <a:gd name="T9" fmla="*/ 21 h 116"/>
                <a:gd name="T10" fmla="*/ 0 w 72"/>
                <a:gd name="T11" fmla="*/ 42 h 116"/>
                <a:gd name="T12" fmla="*/ 9 w 72"/>
                <a:gd name="T13" fmla="*/ 71 h 116"/>
                <a:gd name="T14" fmla="*/ 35 w 72"/>
                <a:gd name="T15" fmla="*/ 83 h 116"/>
                <a:gd name="T16" fmla="*/ 58 w 72"/>
                <a:gd name="T17" fmla="*/ 73 h 116"/>
                <a:gd name="T18" fmla="*/ 57 w 72"/>
                <a:gd name="T19" fmla="*/ 90 h 116"/>
                <a:gd name="T20" fmla="*/ 49 w 72"/>
                <a:gd name="T21" fmla="*/ 101 h 116"/>
                <a:gd name="T22" fmla="*/ 35 w 72"/>
                <a:gd name="T23" fmla="*/ 105 h 116"/>
                <a:gd name="T24" fmla="*/ 21 w 72"/>
                <a:gd name="T25" fmla="*/ 101 h 116"/>
                <a:gd name="T26" fmla="*/ 16 w 72"/>
                <a:gd name="T27" fmla="*/ 92 h 116"/>
                <a:gd name="T28" fmla="*/ 3 w 72"/>
                <a:gd name="T29" fmla="*/ 90 h 116"/>
                <a:gd name="T30" fmla="*/ 11 w 72"/>
                <a:gd name="T31" fmla="*/ 110 h 116"/>
                <a:gd name="T32" fmla="*/ 35 w 72"/>
                <a:gd name="T33" fmla="*/ 116 h 116"/>
                <a:gd name="T34" fmla="*/ 55 w 72"/>
                <a:gd name="T35" fmla="*/ 112 h 116"/>
                <a:gd name="T36" fmla="*/ 68 w 72"/>
                <a:gd name="T37" fmla="*/ 99 h 116"/>
                <a:gd name="T38" fmla="*/ 72 w 72"/>
                <a:gd name="T39" fmla="*/ 72 h 116"/>
                <a:gd name="T40" fmla="*/ 72 w 72"/>
                <a:gd name="T41" fmla="*/ 2 h 116"/>
                <a:gd name="T42" fmla="*/ 59 w 72"/>
                <a:gd name="T43" fmla="*/ 2 h 116"/>
                <a:gd name="T44" fmla="*/ 52 w 72"/>
                <a:gd name="T45" fmla="*/ 65 h 116"/>
                <a:gd name="T46" fmla="*/ 36 w 72"/>
                <a:gd name="T47" fmla="*/ 72 h 116"/>
                <a:gd name="T48" fmla="*/ 20 w 72"/>
                <a:gd name="T49" fmla="*/ 65 h 116"/>
                <a:gd name="T50" fmla="*/ 14 w 72"/>
                <a:gd name="T51" fmla="*/ 41 h 116"/>
                <a:gd name="T52" fmla="*/ 20 w 72"/>
                <a:gd name="T53" fmla="*/ 19 h 116"/>
                <a:gd name="T54" fmla="*/ 36 w 72"/>
                <a:gd name="T55" fmla="*/ 12 h 116"/>
                <a:gd name="T56" fmla="*/ 52 w 72"/>
                <a:gd name="T57" fmla="*/ 19 h 116"/>
                <a:gd name="T58" fmla="*/ 59 w 72"/>
                <a:gd name="T59" fmla="*/ 42 h 116"/>
                <a:gd name="T60" fmla="*/ 52 w 72"/>
                <a:gd name="T61" fmla="*/ 65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72" h="116">
                  <a:moveTo>
                    <a:pt x="59" y="2"/>
                  </a:moveTo>
                  <a:cubicBezTo>
                    <a:pt x="59" y="12"/>
                    <a:pt x="59" y="12"/>
                    <a:pt x="59" y="12"/>
                  </a:cubicBezTo>
                  <a:cubicBezTo>
                    <a:pt x="53" y="4"/>
                    <a:pt x="45" y="0"/>
                    <a:pt x="35" y="0"/>
                  </a:cubicBezTo>
                  <a:cubicBezTo>
                    <a:pt x="28" y="0"/>
                    <a:pt x="22" y="2"/>
                    <a:pt x="16" y="6"/>
                  </a:cubicBezTo>
                  <a:cubicBezTo>
                    <a:pt x="11" y="9"/>
                    <a:pt x="7" y="14"/>
                    <a:pt x="4" y="21"/>
                  </a:cubicBezTo>
                  <a:cubicBezTo>
                    <a:pt x="1" y="27"/>
                    <a:pt x="0" y="34"/>
                    <a:pt x="0" y="42"/>
                  </a:cubicBezTo>
                  <a:cubicBezTo>
                    <a:pt x="0" y="53"/>
                    <a:pt x="3" y="63"/>
                    <a:pt x="9" y="71"/>
                  </a:cubicBezTo>
                  <a:cubicBezTo>
                    <a:pt x="15" y="79"/>
                    <a:pt x="24" y="83"/>
                    <a:pt x="35" y="83"/>
                  </a:cubicBezTo>
                  <a:cubicBezTo>
                    <a:pt x="44" y="83"/>
                    <a:pt x="51" y="80"/>
                    <a:pt x="58" y="73"/>
                  </a:cubicBezTo>
                  <a:cubicBezTo>
                    <a:pt x="58" y="82"/>
                    <a:pt x="57" y="88"/>
                    <a:pt x="57" y="90"/>
                  </a:cubicBezTo>
                  <a:cubicBezTo>
                    <a:pt x="55" y="95"/>
                    <a:pt x="53" y="99"/>
                    <a:pt x="49" y="101"/>
                  </a:cubicBezTo>
                  <a:cubicBezTo>
                    <a:pt x="46" y="104"/>
                    <a:pt x="41" y="105"/>
                    <a:pt x="35" y="105"/>
                  </a:cubicBezTo>
                  <a:cubicBezTo>
                    <a:pt x="29" y="105"/>
                    <a:pt x="24" y="104"/>
                    <a:pt x="21" y="101"/>
                  </a:cubicBezTo>
                  <a:cubicBezTo>
                    <a:pt x="18" y="99"/>
                    <a:pt x="17" y="96"/>
                    <a:pt x="16" y="92"/>
                  </a:cubicBezTo>
                  <a:cubicBezTo>
                    <a:pt x="3" y="90"/>
                    <a:pt x="3" y="90"/>
                    <a:pt x="3" y="90"/>
                  </a:cubicBezTo>
                  <a:cubicBezTo>
                    <a:pt x="2" y="99"/>
                    <a:pt x="5" y="105"/>
                    <a:pt x="11" y="110"/>
                  </a:cubicBezTo>
                  <a:cubicBezTo>
                    <a:pt x="17" y="114"/>
                    <a:pt x="25" y="116"/>
                    <a:pt x="35" y="116"/>
                  </a:cubicBezTo>
                  <a:cubicBezTo>
                    <a:pt x="43" y="116"/>
                    <a:pt x="50" y="115"/>
                    <a:pt x="55" y="112"/>
                  </a:cubicBezTo>
                  <a:cubicBezTo>
                    <a:pt x="61" y="109"/>
                    <a:pt x="65" y="104"/>
                    <a:pt x="68" y="99"/>
                  </a:cubicBezTo>
                  <a:cubicBezTo>
                    <a:pt x="70" y="94"/>
                    <a:pt x="72" y="85"/>
                    <a:pt x="72" y="72"/>
                  </a:cubicBezTo>
                  <a:cubicBezTo>
                    <a:pt x="72" y="2"/>
                    <a:pt x="72" y="2"/>
                    <a:pt x="72" y="2"/>
                  </a:cubicBezTo>
                  <a:lnTo>
                    <a:pt x="59" y="2"/>
                  </a:lnTo>
                  <a:close/>
                  <a:moveTo>
                    <a:pt x="52" y="65"/>
                  </a:moveTo>
                  <a:cubicBezTo>
                    <a:pt x="48" y="69"/>
                    <a:pt x="43" y="72"/>
                    <a:pt x="36" y="72"/>
                  </a:cubicBezTo>
                  <a:cubicBezTo>
                    <a:pt x="30" y="72"/>
                    <a:pt x="25" y="69"/>
                    <a:pt x="20" y="65"/>
                  </a:cubicBezTo>
                  <a:cubicBezTo>
                    <a:pt x="16" y="60"/>
                    <a:pt x="14" y="52"/>
                    <a:pt x="14" y="41"/>
                  </a:cubicBezTo>
                  <a:cubicBezTo>
                    <a:pt x="14" y="31"/>
                    <a:pt x="16" y="24"/>
                    <a:pt x="20" y="19"/>
                  </a:cubicBezTo>
                  <a:cubicBezTo>
                    <a:pt x="25" y="14"/>
                    <a:pt x="30" y="12"/>
                    <a:pt x="36" y="12"/>
                  </a:cubicBezTo>
                  <a:cubicBezTo>
                    <a:pt x="42" y="12"/>
                    <a:pt x="48" y="14"/>
                    <a:pt x="52" y="19"/>
                  </a:cubicBezTo>
                  <a:cubicBezTo>
                    <a:pt x="56" y="24"/>
                    <a:pt x="59" y="32"/>
                    <a:pt x="59" y="42"/>
                  </a:cubicBezTo>
                  <a:cubicBezTo>
                    <a:pt x="59" y="52"/>
                    <a:pt x="57" y="60"/>
                    <a:pt x="52" y="6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231" name="î$1ïḍè"/>
            <p:cNvSpPr/>
            <p:nvPr/>
          </p:nvSpPr>
          <p:spPr bwMode="auto">
            <a:xfrm>
              <a:off x="5231066" y="5675903"/>
              <a:ext cx="161925" cy="211138"/>
            </a:xfrm>
            <a:custGeom>
              <a:avLst/>
              <a:gdLst>
                <a:gd name="T0" fmla="*/ 73 w 88"/>
                <a:gd name="T1" fmla="*/ 65 h 114"/>
                <a:gd name="T2" fmla="*/ 66 w 88"/>
                <a:gd name="T3" fmla="*/ 93 h 114"/>
                <a:gd name="T4" fmla="*/ 43 w 88"/>
                <a:gd name="T5" fmla="*/ 101 h 114"/>
                <a:gd name="T6" fmla="*/ 27 w 88"/>
                <a:gd name="T7" fmla="*/ 97 h 114"/>
                <a:gd name="T8" fmla="*/ 17 w 88"/>
                <a:gd name="T9" fmla="*/ 86 h 114"/>
                <a:gd name="T10" fmla="*/ 15 w 88"/>
                <a:gd name="T11" fmla="*/ 65 h 114"/>
                <a:gd name="T12" fmla="*/ 15 w 88"/>
                <a:gd name="T13" fmla="*/ 0 h 114"/>
                <a:gd name="T14" fmla="*/ 0 w 88"/>
                <a:gd name="T15" fmla="*/ 0 h 114"/>
                <a:gd name="T16" fmla="*/ 0 w 88"/>
                <a:gd name="T17" fmla="*/ 65 h 114"/>
                <a:gd name="T18" fmla="*/ 4 w 88"/>
                <a:gd name="T19" fmla="*/ 93 h 114"/>
                <a:gd name="T20" fmla="*/ 18 w 88"/>
                <a:gd name="T21" fmla="*/ 109 h 114"/>
                <a:gd name="T22" fmla="*/ 44 w 88"/>
                <a:gd name="T23" fmla="*/ 114 h 114"/>
                <a:gd name="T24" fmla="*/ 70 w 88"/>
                <a:gd name="T25" fmla="*/ 108 h 114"/>
                <a:gd name="T26" fmla="*/ 84 w 88"/>
                <a:gd name="T27" fmla="*/ 92 h 114"/>
                <a:gd name="T28" fmla="*/ 88 w 88"/>
                <a:gd name="T29" fmla="*/ 65 h 114"/>
                <a:gd name="T30" fmla="*/ 88 w 88"/>
                <a:gd name="T31" fmla="*/ 0 h 114"/>
                <a:gd name="T32" fmla="*/ 73 w 88"/>
                <a:gd name="T33" fmla="*/ 0 h 114"/>
                <a:gd name="T34" fmla="*/ 73 w 88"/>
                <a:gd name="T35" fmla="*/ 65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88" h="114">
                  <a:moveTo>
                    <a:pt x="73" y="65"/>
                  </a:moveTo>
                  <a:cubicBezTo>
                    <a:pt x="73" y="79"/>
                    <a:pt x="71" y="88"/>
                    <a:pt x="66" y="93"/>
                  </a:cubicBezTo>
                  <a:cubicBezTo>
                    <a:pt x="62" y="98"/>
                    <a:pt x="54" y="101"/>
                    <a:pt x="43" y="101"/>
                  </a:cubicBezTo>
                  <a:cubicBezTo>
                    <a:pt x="37" y="101"/>
                    <a:pt x="31" y="100"/>
                    <a:pt x="27" y="97"/>
                  </a:cubicBezTo>
                  <a:cubicBezTo>
                    <a:pt x="22" y="95"/>
                    <a:pt x="19" y="91"/>
                    <a:pt x="17" y="86"/>
                  </a:cubicBezTo>
                  <a:cubicBezTo>
                    <a:pt x="16" y="82"/>
                    <a:pt x="15" y="75"/>
                    <a:pt x="15" y="65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65"/>
                    <a:pt x="0" y="65"/>
                    <a:pt x="0" y="65"/>
                  </a:cubicBezTo>
                  <a:cubicBezTo>
                    <a:pt x="0" y="77"/>
                    <a:pt x="1" y="86"/>
                    <a:pt x="4" y="93"/>
                  </a:cubicBezTo>
                  <a:cubicBezTo>
                    <a:pt x="7" y="100"/>
                    <a:pt x="12" y="105"/>
                    <a:pt x="18" y="109"/>
                  </a:cubicBezTo>
                  <a:cubicBezTo>
                    <a:pt x="25" y="112"/>
                    <a:pt x="34" y="114"/>
                    <a:pt x="44" y="114"/>
                  </a:cubicBezTo>
                  <a:cubicBezTo>
                    <a:pt x="55" y="114"/>
                    <a:pt x="64" y="112"/>
                    <a:pt x="70" y="108"/>
                  </a:cubicBezTo>
                  <a:cubicBezTo>
                    <a:pt x="77" y="104"/>
                    <a:pt x="82" y="98"/>
                    <a:pt x="84" y="92"/>
                  </a:cubicBezTo>
                  <a:cubicBezTo>
                    <a:pt x="87" y="85"/>
                    <a:pt x="88" y="76"/>
                    <a:pt x="88" y="65"/>
                  </a:cubicBezTo>
                  <a:cubicBezTo>
                    <a:pt x="88" y="0"/>
                    <a:pt x="88" y="0"/>
                    <a:pt x="88" y="0"/>
                  </a:cubicBezTo>
                  <a:cubicBezTo>
                    <a:pt x="73" y="0"/>
                    <a:pt x="73" y="0"/>
                    <a:pt x="73" y="0"/>
                  </a:cubicBezTo>
                  <a:lnTo>
                    <a:pt x="73" y="6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232" name="ïṡļîḑê"/>
            <p:cNvSpPr/>
            <p:nvPr/>
          </p:nvSpPr>
          <p:spPr bwMode="auto">
            <a:xfrm>
              <a:off x="5435853" y="5729878"/>
              <a:ext cx="120650" cy="152400"/>
            </a:xfrm>
            <a:custGeom>
              <a:avLst/>
              <a:gdLst>
                <a:gd name="T0" fmla="*/ 61 w 66"/>
                <a:gd name="T1" fmla="*/ 10 h 83"/>
                <a:gd name="T2" fmla="*/ 52 w 66"/>
                <a:gd name="T3" fmla="*/ 3 h 83"/>
                <a:gd name="T4" fmla="*/ 38 w 66"/>
                <a:gd name="T5" fmla="*/ 0 h 83"/>
                <a:gd name="T6" fmla="*/ 12 w 66"/>
                <a:gd name="T7" fmla="*/ 14 h 83"/>
                <a:gd name="T8" fmla="*/ 12 w 66"/>
                <a:gd name="T9" fmla="*/ 2 h 83"/>
                <a:gd name="T10" fmla="*/ 0 w 66"/>
                <a:gd name="T11" fmla="*/ 2 h 83"/>
                <a:gd name="T12" fmla="*/ 0 w 66"/>
                <a:gd name="T13" fmla="*/ 83 h 83"/>
                <a:gd name="T14" fmla="*/ 14 w 66"/>
                <a:gd name="T15" fmla="*/ 83 h 83"/>
                <a:gd name="T16" fmla="*/ 14 w 66"/>
                <a:gd name="T17" fmla="*/ 39 h 83"/>
                <a:gd name="T18" fmla="*/ 20 w 66"/>
                <a:gd name="T19" fmla="*/ 18 h 83"/>
                <a:gd name="T20" fmla="*/ 35 w 66"/>
                <a:gd name="T21" fmla="*/ 12 h 83"/>
                <a:gd name="T22" fmla="*/ 45 w 66"/>
                <a:gd name="T23" fmla="*/ 15 h 83"/>
                <a:gd name="T24" fmla="*/ 51 w 66"/>
                <a:gd name="T25" fmla="*/ 21 h 83"/>
                <a:gd name="T26" fmla="*/ 52 w 66"/>
                <a:gd name="T27" fmla="*/ 34 h 83"/>
                <a:gd name="T28" fmla="*/ 52 w 66"/>
                <a:gd name="T29" fmla="*/ 83 h 83"/>
                <a:gd name="T30" fmla="*/ 66 w 66"/>
                <a:gd name="T31" fmla="*/ 83 h 83"/>
                <a:gd name="T32" fmla="*/ 66 w 66"/>
                <a:gd name="T33" fmla="*/ 33 h 83"/>
                <a:gd name="T34" fmla="*/ 65 w 66"/>
                <a:gd name="T35" fmla="*/ 20 h 83"/>
                <a:gd name="T36" fmla="*/ 61 w 66"/>
                <a:gd name="T37" fmla="*/ 10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6" h="83">
                  <a:moveTo>
                    <a:pt x="61" y="10"/>
                  </a:moveTo>
                  <a:cubicBezTo>
                    <a:pt x="59" y="7"/>
                    <a:pt x="56" y="5"/>
                    <a:pt x="52" y="3"/>
                  </a:cubicBezTo>
                  <a:cubicBezTo>
                    <a:pt x="48" y="1"/>
                    <a:pt x="43" y="0"/>
                    <a:pt x="38" y="0"/>
                  </a:cubicBezTo>
                  <a:cubicBezTo>
                    <a:pt x="27" y="0"/>
                    <a:pt x="18" y="5"/>
                    <a:pt x="12" y="14"/>
                  </a:cubicBezTo>
                  <a:cubicBezTo>
                    <a:pt x="12" y="2"/>
                    <a:pt x="12" y="2"/>
                    <a:pt x="12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83"/>
                    <a:pt x="0" y="83"/>
                    <a:pt x="0" y="83"/>
                  </a:cubicBezTo>
                  <a:cubicBezTo>
                    <a:pt x="14" y="83"/>
                    <a:pt x="14" y="83"/>
                    <a:pt x="14" y="83"/>
                  </a:cubicBezTo>
                  <a:cubicBezTo>
                    <a:pt x="14" y="39"/>
                    <a:pt x="14" y="39"/>
                    <a:pt x="14" y="39"/>
                  </a:cubicBezTo>
                  <a:cubicBezTo>
                    <a:pt x="14" y="29"/>
                    <a:pt x="16" y="21"/>
                    <a:pt x="20" y="18"/>
                  </a:cubicBezTo>
                  <a:cubicBezTo>
                    <a:pt x="25" y="14"/>
                    <a:pt x="30" y="12"/>
                    <a:pt x="35" y="12"/>
                  </a:cubicBezTo>
                  <a:cubicBezTo>
                    <a:pt x="39" y="12"/>
                    <a:pt x="42" y="13"/>
                    <a:pt x="45" y="15"/>
                  </a:cubicBezTo>
                  <a:cubicBezTo>
                    <a:pt x="48" y="16"/>
                    <a:pt x="50" y="19"/>
                    <a:pt x="51" y="21"/>
                  </a:cubicBezTo>
                  <a:cubicBezTo>
                    <a:pt x="52" y="24"/>
                    <a:pt x="52" y="28"/>
                    <a:pt x="52" y="34"/>
                  </a:cubicBezTo>
                  <a:cubicBezTo>
                    <a:pt x="52" y="83"/>
                    <a:pt x="52" y="83"/>
                    <a:pt x="52" y="83"/>
                  </a:cubicBezTo>
                  <a:cubicBezTo>
                    <a:pt x="66" y="83"/>
                    <a:pt x="66" y="83"/>
                    <a:pt x="66" y="83"/>
                  </a:cubicBezTo>
                  <a:cubicBezTo>
                    <a:pt x="66" y="33"/>
                    <a:pt x="66" y="33"/>
                    <a:pt x="66" y="33"/>
                  </a:cubicBezTo>
                  <a:cubicBezTo>
                    <a:pt x="66" y="27"/>
                    <a:pt x="66" y="23"/>
                    <a:pt x="65" y="20"/>
                  </a:cubicBezTo>
                  <a:cubicBezTo>
                    <a:pt x="65" y="16"/>
                    <a:pt x="63" y="13"/>
                    <a:pt x="61" y="1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 sz="1350"/>
            </a:p>
          </p:txBody>
        </p:sp>
      </p:grpSp>
      <p:sp>
        <p:nvSpPr>
          <p:cNvPr id="118" name="文本框 117"/>
          <p:cNvSpPr txBox="1"/>
          <p:nvPr userDrawn="1"/>
        </p:nvSpPr>
        <p:spPr>
          <a:xfrm>
            <a:off x="4107180" y="6441440"/>
            <a:ext cx="929640" cy="2527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zh-CN" altLang="en-US" sz="1050" spc="300" dirty="0">
                <a:gradFill>
                  <a:gsLst>
                    <a:gs pos="0">
                      <a:srgbClr val="A22B17">
                        <a:lumMod val="90000"/>
                        <a:lumOff val="10000"/>
                      </a:srgbClr>
                    </a:gs>
                    <a:gs pos="100000">
                      <a:srgbClr val="A22B17">
                        <a:alpha val="92000"/>
                        <a:lumMod val="75000"/>
                        <a:lumOff val="25000"/>
                      </a:srgbClr>
                    </a:gs>
                  </a:gsLst>
                  <a:lin ang="0" scaled="1"/>
                </a:gradFill>
                <a:latin typeface="优设标题黑" panose="00000500000000000000" pitchFamily="2" charset="-122"/>
                <a:ea typeface="优设标题黑" panose="00000500000000000000" pitchFamily="2" charset="-122"/>
              </a:rPr>
              <a:t>求实鼎新</a:t>
            </a:r>
            <a:endParaRPr lang="zh-CN" altLang="en-US" sz="1050" spc="300" dirty="0">
              <a:gradFill>
                <a:gsLst>
                  <a:gs pos="0">
                    <a:srgbClr val="A22B17">
                      <a:lumMod val="90000"/>
                      <a:lumOff val="10000"/>
                    </a:srgbClr>
                  </a:gs>
                  <a:gs pos="100000">
                    <a:srgbClr val="A22B17">
                      <a:alpha val="92000"/>
                      <a:lumMod val="75000"/>
                      <a:lumOff val="25000"/>
                    </a:srgbClr>
                  </a:gs>
                </a:gsLst>
                <a:lin ang="0" scaled="1"/>
              </a:gradFill>
              <a:latin typeface="优设标题黑" panose="00000500000000000000" pitchFamily="2" charset="-122"/>
              <a:ea typeface="优设标题黑" panose="00000500000000000000" pitchFamily="2" charset="-122"/>
            </a:endParaRPr>
          </a:p>
        </p:txBody>
      </p:sp>
    </p:spTree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3" name="图片占位符 2"/>
          <p:cNvSpPr>
            <a:spLocks noGrp="1"/>
          </p:cNvSpPr>
          <p:nvPr>
            <p:ph type="pic" idx="1"/>
          </p:nvPr>
        </p:nvSpPr>
        <p:spPr>
          <a:xfrm>
            <a:off x="3887391" y="987425"/>
            <a:ext cx="462915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zh-CN" altLang="en-US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97B5FA-0921-464F-AAE1-844C04324D75}" type="datetimeFigureOut">
              <a:rPr lang="zh-CN" altLang="en-US" smtClean="0"/>
            </a:fld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5CE74E-AB26-4998-AD42-012C4C1AD076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竖排标题与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组合 8"/>
          <p:cNvGrpSpPr/>
          <p:nvPr userDrawn="1"/>
        </p:nvGrpSpPr>
        <p:grpSpPr>
          <a:xfrm>
            <a:off x="0" y="1715168"/>
            <a:ext cx="9144001" cy="3427664"/>
            <a:chOff x="0" y="0"/>
            <a:chExt cx="12192001" cy="3427664"/>
          </a:xfrm>
        </p:grpSpPr>
        <p:pic>
          <p:nvPicPr>
            <p:cNvPr id="7" name="图片 6"/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25605" b="32356"/>
            <a:stretch>
              <a:fillRect/>
            </a:stretch>
          </p:blipFill>
          <p:spPr>
            <a:xfrm>
              <a:off x="0" y="0"/>
              <a:ext cx="12192000" cy="3415570"/>
            </a:xfrm>
            <a:prstGeom prst="rect">
              <a:avLst/>
            </a:prstGeom>
            <a:gradFill flip="none" rotWithShape="1">
              <a:gsLst>
                <a:gs pos="0">
                  <a:srgbClr val="A22B17">
                    <a:lumMod val="91000"/>
                  </a:srgbClr>
                </a:gs>
                <a:gs pos="100000">
                  <a:srgbClr val="A22B17">
                    <a:alpha val="72000"/>
                    <a:lumMod val="92000"/>
                    <a:lumOff val="8000"/>
                  </a:srgbClr>
                </a:gs>
              </a:gsLst>
              <a:lin ang="5400000" scaled="1"/>
              <a:tileRect/>
            </a:gradFill>
            <a:ln>
              <a:noFill/>
            </a:ln>
          </p:spPr>
        </p:pic>
        <p:sp>
          <p:nvSpPr>
            <p:cNvPr id="8" name="矩形 7"/>
            <p:cNvSpPr/>
            <p:nvPr userDrawn="1"/>
          </p:nvSpPr>
          <p:spPr>
            <a:xfrm>
              <a:off x="1" y="0"/>
              <a:ext cx="12192000" cy="3427664"/>
            </a:xfrm>
            <a:prstGeom prst="rect">
              <a:avLst/>
            </a:prstGeom>
            <a:gradFill flip="none" rotWithShape="1">
              <a:gsLst>
                <a:gs pos="0">
                  <a:srgbClr val="A22B17">
                    <a:lumMod val="94000"/>
                    <a:lumOff val="6000"/>
                  </a:srgbClr>
                </a:gs>
                <a:gs pos="100000">
                  <a:srgbClr val="A22B17">
                    <a:alpha val="72000"/>
                    <a:lumMod val="85000"/>
                    <a:lumOff val="15000"/>
                  </a:srgb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zh-CN" altLang="en-US" sz="1350" dirty="0"/>
            </a:p>
          </p:txBody>
        </p:sp>
      </p:grpSp>
      <p:grpSp>
        <p:nvGrpSpPr>
          <p:cNvPr id="10" name="组合 9"/>
          <p:cNvGrpSpPr/>
          <p:nvPr userDrawn="1"/>
        </p:nvGrpSpPr>
        <p:grpSpPr>
          <a:xfrm>
            <a:off x="2230940" y="304800"/>
            <a:ext cx="4682120" cy="6248400"/>
            <a:chOff x="2514433" y="-155765"/>
            <a:chExt cx="7163134" cy="7169530"/>
          </a:xfrm>
        </p:grpSpPr>
        <p:grpSp>
          <p:nvGrpSpPr>
            <p:cNvPr id="11" name="组合 10"/>
            <p:cNvGrpSpPr/>
            <p:nvPr/>
          </p:nvGrpSpPr>
          <p:grpSpPr>
            <a:xfrm>
              <a:off x="2514433" y="-155765"/>
              <a:ext cx="7163134" cy="7169530"/>
              <a:chOff x="1560409" y="2069897"/>
              <a:chExt cx="1776413" cy="1778000"/>
            </a:xfrm>
          </p:grpSpPr>
          <p:sp>
            <p:nvSpPr>
              <p:cNvPr id="70" name="îS1îḋé"/>
              <p:cNvSpPr/>
              <p:nvPr/>
            </p:nvSpPr>
            <p:spPr bwMode="auto">
              <a:xfrm>
                <a:off x="1560409" y="2069897"/>
                <a:ext cx="1776413" cy="1778000"/>
              </a:xfrm>
              <a:prstGeom prst="ellipse">
                <a:avLst/>
              </a:prstGeom>
              <a:noFill/>
              <a:ln w="98425" cap="flat">
                <a:solidFill>
                  <a:schemeClr val="bg1">
                    <a:alpha val="7000"/>
                  </a:schemeClr>
                </a:solidFill>
                <a:prstDash val="solid"/>
                <a:miter lim="800000"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71" name="îṣḷïďé"/>
              <p:cNvSpPr/>
              <p:nvPr/>
            </p:nvSpPr>
            <p:spPr bwMode="auto">
              <a:xfrm>
                <a:off x="1779484" y="2288972"/>
                <a:ext cx="1336675" cy="1338263"/>
              </a:xfrm>
              <a:prstGeom prst="ellipse">
                <a:avLst/>
              </a:prstGeom>
              <a:noFill/>
              <a:ln w="19050" cap="flat">
                <a:solidFill>
                  <a:schemeClr val="bg1">
                    <a:alpha val="7000"/>
                  </a:schemeClr>
                </a:solidFill>
                <a:prstDash val="solid"/>
                <a:miter lim="800000"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</p:grpSp>
        <p:grpSp>
          <p:nvGrpSpPr>
            <p:cNvPr id="12" name="组合 11"/>
            <p:cNvGrpSpPr/>
            <p:nvPr/>
          </p:nvGrpSpPr>
          <p:grpSpPr>
            <a:xfrm>
              <a:off x="2844102" y="77886"/>
              <a:ext cx="6503791" cy="6702232"/>
              <a:chOff x="1641372" y="4491628"/>
              <a:chExt cx="1612900" cy="1662113"/>
            </a:xfrm>
            <a:solidFill>
              <a:schemeClr val="bg1">
                <a:alpha val="7000"/>
              </a:schemeClr>
            </a:solidFill>
          </p:grpSpPr>
          <p:sp>
            <p:nvSpPr>
              <p:cNvPr id="13" name="ïś1íďê"/>
              <p:cNvSpPr/>
              <p:nvPr/>
            </p:nvSpPr>
            <p:spPr bwMode="auto">
              <a:xfrm>
                <a:off x="2889147" y="4701178"/>
                <a:ext cx="153988" cy="138113"/>
              </a:xfrm>
              <a:custGeom>
                <a:avLst/>
                <a:gdLst>
                  <a:gd name="T0" fmla="*/ 62 w 83"/>
                  <a:gd name="T1" fmla="*/ 8 h 75"/>
                  <a:gd name="T2" fmla="*/ 53 w 83"/>
                  <a:gd name="T3" fmla="*/ 10 h 75"/>
                  <a:gd name="T4" fmla="*/ 57 w 83"/>
                  <a:gd name="T5" fmla="*/ 0 h 75"/>
                  <a:gd name="T6" fmla="*/ 44 w 83"/>
                  <a:gd name="T7" fmla="*/ 21 h 75"/>
                  <a:gd name="T8" fmla="*/ 58 w 83"/>
                  <a:gd name="T9" fmla="*/ 11 h 75"/>
                  <a:gd name="T10" fmla="*/ 54 w 83"/>
                  <a:gd name="T11" fmla="*/ 18 h 75"/>
                  <a:gd name="T12" fmla="*/ 28 w 83"/>
                  <a:gd name="T13" fmla="*/ 18 h 75"/>
                  <a:gd name="T14" fmla="*/ 19 w 83"/>
                  <a:gd name="T15" fmla="*/ 17 h 75"/>
                  <a:gd name="T16" fmla="*/ 25 w 83"/>
                  <a:gd name="T17" fmla="*/ 12 h 75"/>
                  <a:gd name="T18" fmla="*/ 1 w 83"/>
                  <a:gd name="T19" fmla="*/ 30 h 75"/>
                  <a:gd name="T20" fmla="*/ 13 w 83"/>
                  <a:gd name="T21" fmla="*/ 24 h 75"/>
                  <a:gd name="T22" fmla="*/ 36 w 83"/>
                  <a:gd name="T23" fmla="*/ 28 h 75"/>
                  <a:gd name="T24" fmla="*/ 22 w 83"/>
                  <a:gd name="T25" fmla="*/ 35 h 75"/>
                  <a:gd name="T26" fmla="*/ 45 w 83"/>
                  <a:gd name="T27" fmla="*/ 41 h 75"/>
                  <a:gd name="T28" fmla="*/ 42 w 83"/>
                  <a:gd name="T29" fmla="*/ 41 h 75"/>
                  <a:gd name="T30" fmla="*/ 35 w 83"/>
                  <a:gd name="T31" fmla="*/ 40 h 75"/>
                  <a:gd name="T32" fmla="*/ 37 w 83"/>
                  <a:gd name="T33" fmla="*/ 45 h 75"/>
                  <a:gd name="T34" fmla="*/ 12 w 83"/>
                  <a:gd name="T35" fmla="*/ 34 h 75"/>
                  <a:gd name="T36" fmla="*/ 9 w 83"/>
                  <a:gd name="T37" fmla="*/ 35 h 75"/>
                  <a:gd name="T38" fmla="*/ 20 w 83"/>
                  <a:gd name="T39" fmla="*/ 64 h 75"/>
                  <a:gd name="T40" fmla="*/ 0 w 83"/>
                  <a:gd name="T41" fmla="*/ 57 h 75"/>
                  <a:gd name="T42" fmla="*/ 35 w 83"/>
                  <a:gd name="T43" fmla="*/ 58 h 75"/>
                  <a:gd name="T44" fmla="*/ 46 w 83"/>
                  <a:gd name="T45" fmla="*/ 57 h 75"/>
                  <a:gd name="T46" fmla="*/ 42 w 83"/>
                  <a:gd name="T47" fmla="*/ 48 h 75"/>
                  <a:gd name="T48" fmla="*/ 62 w 83"/>
                  <a:gd name="T49" fmla="*/ 57 h 75"/>
                  <a:gd name="T50" fmla="*/ 61 w 83"/>
                  <a:gd name="T51" fmla="*/ 35 h 75"/>
                  <a:gd name="T52" fmla="*/ 62 w 83"/>
                  <a:gd name="T53" fmla="*/ 34 h 75"/>
                  <a:gd name="T54" fmla="*/ 66 w 83"/>
                  <a:gd name="T55" fmla="*/ 16 h 75"/>
                  <a:gd name="T56" fmla="*/ 63 w 83"/>
                  <a:gd name="T57" fmla="*/ 44 h 75"/>
                  <a:gd name="T58" fmla="*/ 54 w 83"/>
                  <a:gd name="T59" fmla="*/ 32 h 75"/>
                  <a:gd name="T60" fmla="*/ 60 w 83"/>
                  <a:gd name="T61" fmla="*/ 27 h 75"/>
                  <a:gd name="T62" fmla="*/ 67 w 83"/>
                  <a:gd name="T63" fmla="*/ 18 h 75"/>
                  <a:gd name="T64" fmla="*/ 77 w 83"/>
                  <a:gd name="T65" fmla="*/ 23 h 75"/>
                  <a:gd name="T66" fmla="*/ 60 w 83"/>
                  <a:gd name="T67" fmla="*/ 27 h 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83" h="75">
                    <a:moveTo>
                      <a:pt x="66" y="16"/>
                    </a:moveTo>
                    <a:cubicBezTo>
                      <a:pt x="65" y="13"/>
                      <a:pt x="63" y="11"/>
                      <a:pt x="62" y="8"/>
                    </a:cubicBezTo>
                    <a:cubicBezTo>
                      <a:pt x="59" y="9"/>
                      <a:pt x="57" y="9"/>
                      <a:pt x="54" y="10"/>
                    </a:cubicBezTo>
                    <a:cubicBezTo>
                      <a:pt x="54" y="10"/>
                      <a:pt x="53" y="10"/>
                      <a:pt x="53" y="10"/>
                    </a:cubicBezTo>
                    <a:cubicBezTo>
                      <a:pt x="54" y="7"/>
                      <a:pt x="57" y="6"/>
                      <a:pt x="59" y="3"/>
                    </a:cubicBezTo>
                    <a:cubicBezTo>
                      <a:pt x="58" y="2"/>
                      <a:pt x="58" y="1"/>
                      <a:pt x="57" y="0"/>
                    </a:cubicBezTo>
                    <a:cubicBezTo>
                      <a:pt x="48" y="1"/>
                      <a:pt x="37" y="9"/>
                      <a:pt x="42" y="19"/>
                    </a:cubicBezTo>
                    <a:cubicBezTo>
                      <a:pt x="42" y="19"/>
                      <a:pt x="43" y="20"/>
                      <a:pt x="44" y="21"/>
                    </a:cubicBezTo>
                    <a:cubicBezTo>
                      <a:pt x="47" y="19"/>
                      <a:pt x="48" y="15"/>
                      <a:pt x="51" y="14"/>
                    </a:cubicBezTo>
                    <a:cubicBezTo>
                      <a:pt x="53" y="13"/>
                      <a:pt x="55" y="13"/>
                      <a:pt x="58" y="11"/>
                    </a:cubicBezTo>
                    <a:cubicBezTo>
                      <a:pt x="58" y="11"/>
                      <a:pt x="59" y="11"/>
                      <a:pt x="59" y="11"/>
                    </a:cubicBezTo>
                    <a:cubicBezTo>
                      <a:pt x="57" y="14"/>
                      <a:pt x="56" y="16"/>
                      <a:pt x="54" y="18"/>
                    </a:cubicBezTo>
                    <a:cubicBezTo>
                      <a:pt x="54" y="21"/>
                      <a:pt x="55" y="24"/>
                      <a:pt x="54" y="27"/>
                    </a:cubicBezTo>
                    <a:cubicBezTo>
                      <a:pt x="54" y="27"/>
                      <a:pt x="30" y="18"/>
                      <a:pt x="28" y="18"/>
                    </a:cubicBezTo>
                    <a:cubicBezTo>
                      <a:pt x="25" y="17"/>
                      <a:pt x="22" y="17"/>
                      <a:pt x="20" y="17"/>
                    </a:cubicBezTo>
                    <a:cubicBezTo>
                      <a:pt x="19" y="17"/>
                      <a:pt x="19" y="17"/>
                      <a:pt x="19" y="17"/>
                    </a:cubicBezTo>
                    <a:cubicBezTo>
                      <a:pt x="22" y="15"/>
                      <a:pt x="23" y="15"/>
                      <a:pt x="25" y="13"/>
                    </a:cubicBezTo>
                    <a:cubicBezTo>
                      <a:pt x="25" y="12"/>
                      <a:pt x="25" y="12"/>
                      <a:pt x="25" y="12"/>
                    </a:cubicBezTo>
                    <a:cubicBezTo>
                      <a:pt x="18" y="12"/>
                      <a:pt x="11" y="16"/>
                      <a:pt x="4" y="18"/>
                    </a:cubicBezTo>
                    <a:cubicBezTo>
                      <a:pt x="0" y="22"/>
                      <a:pt x="0" y="25"/>
                      <a:pt x="1" y="30"/>
                    </a:cubicBezTo>
                    <a:cubicBezTo>
                      <a:pt x="3" y="31"/>
                      <a:pt x="3" y="31"/>
                      <a:pt x="3" y="31"/>
                    </a:cubicBezTo>
                    <a:cubicBezTo>
                      <a:pt x="6" y="29"/>
                      <a:pt x="9" y="26"/>
                      <a:pt x="13" y="24"/>
                    </a:cubicBezTo>
                    <a:cubicBezTo>
                      <a:pt x="19" y="20"/>
                      <a:pt x="30" y="22"/>
                      <a:pt x="37" y="27"/>
                    </a:cubicBezTo>
                    <a:cubicBezTo>
                      <a:pt x="37" y="28"/>
                      <a:pt x="36" y="28"/>
                      <a:pt x="36" y="28"/>
                    </a:cubicBezTo>
                    <a:cubicBezTo>
                      <a:pt x="31" y="29"/>
                      <a:pt x="28" y="28"/>
                      <a:pt x="22" y="32"/>
                    </a:cubicBezTo>
                    <a:cubicBezTo>
                      <a:pt x="22" y="33"/>
                      <a:pt x="22" y="34"/>
                      <a:pt x="22" y="35"/>
                    </a:cubicBezTo>
                    <a:cubicBezTo>
                      <a:pt x="22" y="37"/>
                      <a:pt x="22" y="37"/>
                      <a:pt x="24" y="39"/>
                    </a:cubicBezTo>
                    <a:cubicBezTo>
                      <a:pt x="31" y="37"/>
                      <a:pt x="37" y="36"/>
                      <a:pt x="45" y="41"/>
                    </a:cubicBezTo>
                    <a:cubicBezTo>
                      <a:pt x="44" y="41"/>
                      <a:pt x="44" y="41"/>
                      <a:pt x="44" y="41"/>
                    </a:cubicBezTo>
                    <a:cubicBezTo>
                      <a:pt x="43" y="41"/>
                      <a:pt x="42" y="41"/>
                      <a:pt x="42" y="41"/>
                    </a:cubicBezTo>
                    <a:cubicBezTo>
                      <a:pt x="41" y="40"/>
                      <a:pt x="40" y="39"/>
                      <a:pt x="39" y="39"/>
                    </a:cubicBezTo>
                    <a:cubicBezTo>
                      <a:pt x="37" y="41"/>
                      <a:pt x="37" y="41"/>
                      <a:pt x="35" y="40"/>
                    </a:cubicBezTo>
                    <a:cubicBezTo>
                      <a:pt x="35" y="40"/>
                      <a:pt x="34" y="41"/>
                      <a:pt x="34" y="41"/>
                    </a:cubicBezTo>
                    <a:cubicBezTo>
                      <a:pt x="35" y="43"/>
                      <a:pt x="35" y="43"/>
                      <a:pt x="37" y="45"/>
                    </a:cubicBezTo>
                    <a:cubicBezTo>
                      <a:pt x="36" y="46"/>
                      <a:pt x="36" y="47"/>
                      <a:pt x="35" y="48"/>
                    </a:cubicBezTo>
                    <a:cubicBezTo>
                      <a:pt x="27" y="44"/>
                      <a:pt x="20" y="40"/>
                      <a:pt x="12" y="34"/>
                    </a:cubicBezTo>
                    <a:cubicBezTo>
                      <a:pt x="11" y="34"/>
                      <a:pt x="11" y="34"/>
                      <a:pt x="10" y="34"/>
                    </a:cubicBezTo>
                    <a:cubicBezTo>
                      <a:pt x="9" y="34"/>
                      <a:pt x="9" y="35"/>
                      <a:pt x="9" y="35"/>
                    </a:cubicBezTo>
                    <a:cubicBezTo>
                      <a:pt x="11" y="55"/>
                      <a:pt x="20" y="44"/>
                      <a:pt x="31" y="54"/>
                    </a:cubicBezTo>
                    <a:cubicBezTo>
                      <a:pt x="27" y="58"/>
                      <a:pt x="23" y="61"/>
                      <a:pt x="20" y="64"/>
                    </a:cubicBezTo>
                    <a:cubicBezTo>
                      <a:pt x="15" y="63"/>
                      <a:pt x="6" y="55"/>
                      <a:pt x="1" y="56"/>
                    </a:cubicBezTo>
                    <a:cubicBezTo>
                      <a:pt x="1" y="56"/>
                      <a:pt x="1" y="56"/>
                      <a:pt x="0" y="57"/>
                    </a:cubicBezTo>
                    <a:cubicBezTo>
                      <a:pt x="2" y="62"/>
                      <a:pt x="7" y="67"/>
                      <a:pt x="9" y="72"/>
                    </a:cubicBezTo>
                    <a:cubicBezTo>
                      <a:pt x="17" y="75"/>
                      <a:pt x="26" y="66"/>
                      <a:pt x="35" y="58"/>
                    </a:cubicBezTo>
                    <a:cubicBezTo>
                      <a:pt x="37" y="60"/>
                      <a:pt x="39" y="63"/>
                      <a:pt x="42" y="65"/>
                    </a:cubicBezTo>
                    <a:cubicBezTo>
                      <a:pt x="46" y="63"/>
                      <a:pt x="46" y="60"/>
                      <a:pt x="46" y="57"/>
                    </a:cubicBezTo>
                    <a:cubicBezTo>
                      <a:pt x="45" y="54"/>
                      <a:pt x="43" y="53"/>
                      <a:pt x="40" y="50"/>
                    </a:cubicBezTo>
                    <a:cubicBezTo>
                      <a:pt x="41" y="49"/>
                      <a:pt x="42" y="48"/>
                      <a:pt x="42" y="48"/>
                    </a:cubicBezTo>
                    <a:cubicBezTo>
                      <a:pt x="46" y="48"/>
                      <a:pt x="49" y="48"/>
                      <a:pt x="53" y="46"/>
                    </a:cubicBezTo>
                    <a:cubicBezTo>
                      <a:pt x="56" y="49"/>
                      <a:pt x="59" y="53"/>
                      <a:pt x="62" y="57"/>
                    </a:cubicBezTo>
                    <a:cubicBezTo>
                      <a:pt x="65" y="56"/>
                      <a:pt x="68" y="55"/>
                      <a:pt x="70" y="52"/>
                    </a:cubicBezTo>
                    <a:cubicBezTo>
                      <a:pt x="72" y="47"/>
                      <a:pt x="66" y="40"/>
                      <a:pt x="61" y="35"/>
                    </a:cubicBezTo>
                    <a:cubicBezTo>
                      <a:pt x="61" y="35"/>
                      <a:pt x="61" y="35"/>
                      <a:pt x="61" y="35"/>
                    </a:cubicBezTo>
                    <a:cubicBezTo>
                      <a:pt x="62" y="34"/>
                      <a:pt x="62" y="34"/>
                      <a:pt x="62" y="34"/>
                    </a:cubicBezTo>
                    <a:cubicBezTo>
                      <a:pt x="69" y="34"/>
                      <a:pt x="72" y="37"/>
                      <a:pt x="79" y="32"/>
                    </a:cubicBezTo>
                    <a:cubicBezTo>
                      <a:pt x="83" y="17"/>
                      <a:pt x="74" y="21"/>
                      <a:pt x="66" y="16"/>
                    </a:cubicBezTo>
                    <a:close/>
                    <a:moveTo>
                      <a:pt x="63" y="44"/>
                    </a:moveTo>
                    <a:cubicBezTo>
                      <a:pt x="63" y="44"/>
                      <a:pt x="63" y="44"/>
                      <a:pt x="63" y="44"/>
                    </a:cubicBezTo>
                    <a:cubicBezTo>
                      <a:pt x="55" y="42"/>
                      <a:pt x="46" y="34"/>
                      <a:pt x="38" y="32"/>
                    </a:cubicBezTo>
                    <a:cubicBezTo>
                      <a:pt x="43" y="28"/>
                      <a:pt x="48" y="31"/>
                      <a:pt x="54" y="32"/>
                    </a:cubicBezTo>
                    <a:cubicBezTo>
                      <a:pt x="57" y="36"/>
                      <a:pt x="60" y="40"/>
                      <a:pt x="63" y="44"/>
                    </a:cubicBezTo>
                    <a:close/>
                    <a:moveTo>
                      <a:pt x="60" y="27"/>
                    </a:moveTo>
                    <a:cubicBezTo>
                      <a:pt x="60" y="27"/>
                      <a:pt x="60" y="26"/>
                      <a:pt x="59" y="26"/>
                    </a:cubicBezTo>
                    <a:cubicBezTo>
                      <a:pt x="61" y="23"/>
                      <a:pt x="63" y="20"/>
                      <a:pt x="67" y="18"/>
                    </a:cubicBezTo>
                    <a:cubicBezTo>
                      <a:pt x="69" y="19"/>
                      <a:pt x="71" y="19"/>
                      <a:pt x="74" y="20"/>
                    </a:cubicBezTo>
                    <a:cubicBezTo>
                      <a:pt x="75" y="21"/>
                      <a:pt x="76" y="22"/>
                      <a:pt x="77" y="23"/>
                    </a:cubicBezTo>
                    <a:cubicBezTo>
                      <a:pt x="77" y="24"/>
                      <a:pt x="77" y="24"/>
                      <a:pt x="77" y="25"/>
                    </a:cubicBezTo>
                    <a:cubicBezTo>
                      <a:pt x="72" y="29"/>
                      <a:pt x="66" y="27"/>
                      <a:pt x="60" y="2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14" name="ïṩḻîḓé"/>
              <p:cNvSpPr/>
              <p:nvPr/>
            </p:nvSpPr>
            <p:spPr bwMode="auto">
              <a:xfrm>
                <a:off x="2728809" y="4582115"/>
                <a:ext cx="101600" cy="147638"/>
              </a:xfrm>
              <a:custGeom>
                <a:avLst/>
                <a:gdLst>
                  <a:gd name="T0" fmla="*/ 47 w 55"/>
                  <a:gd name="T1" fmla="*/ 0 h 80"/>
                  <a:gd name="T2" fmla="*/ 49 w 55"/>
                  <a:gd name="T3" fmla="*/ 20 h 80"/>
                  <a:gd name="T4" fmla="*/ 51 w 55"/>
                  <a:gd name="T5" fmla="*/ 34 h 80"/>
                  <a:gd name="T6" fmla="*/ 28 w 55"/>
                  <a:gd name="T7" fmla="*/ 38 h 80"/>
                  <a:gd name="T8" fmla="*/ 41 w 55"/>
                  <a:gd name="T9" fmla="*/ 68 h 80"/>
                  <a:gd name="T10" fmla="*/ 25 w 55"/>
                  <a:gd name="T11" fmla="*/ 74 h 80"/>
                  <a:gd name="T12" fmla="*/ 26 w 55"/>
                  <a:gd name="T13" fmla="*/ 39 h 80"/>
                  <a:gd name="T14" fmla="*/ 23 w 55"/>
                  <a:gd name="T15" fmla="*/ 40 h 80"/>
                  <a:gd name="T16" fmla="*/ 7 w 55"/>
                  <a:gd name="T17" fmla="*/ 54 h 80"/>
                  <a:gd name="T18" fmla="*/ 0 w 55"/>
                  <a:gd name="T19" fmla="*/ 43 h 80"/>
                  <a:gd name="T20" fmla="*/ 14 w 55"/>
                  <a:gd name="T21" fmla="*/ 28 h 80"/>
                  <a:gd name="T22" fmla="*/ 6 w 55"/>
                  <a:gd name="T23" fmla="*/ 15 h 80"/>
                  <a:gd name="T24" fmla="*/ 7 w 55"/>
                  <a:gd name="T25" fmla="*/ 15 h 80"/>
                  <a:gd name="T26" fmla="*/ 26 w 55"/>
                  <a:gd name="T27" fmla="*/ 18 h 80"/>
                  <a:gd name="T28" fmla="*/ 47 w 55"/>
                  <a:gd name="T29" fmla="*/ 0 h 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55" h="80">
                    <a:moveTo>
                      <a:pt x="47" y="0"/>
                    </a:moveTo>
                    <a:cubicBezTo>
                      <a:pt x="55" y="7"/>
                      <a:pt x="49" y="11"/>
                      <a:pt x="49" y="20"/>
                    </a:cubicBezTo>
                    <a:cubicBezTo>
                      <a:pt x="49" y="25"/>
                      <a:pt x="55" y="25"/>
                      <a:pt x="51" y="34"/>
                    </a:cubicBezTo>
                    <a:cubicBezTo>
                      <a:pt x="44" y="37"/>
                      <a:pt x="34" y="32"/>
                      <a:pt x="28" y="38"/>
                    </a:cubicBezTo>
                    <a:cubicBezTo>
                      <a:pt x="38" y="44"/>
                      <a:pt x="45" y="59"/>
                      <a:pt x="41" y="68"/>
                    </a:cubicBezTo>
                    <a:cubicBezTo>
                      <a:pt x="39" y="74"/>
                      <a:pt x="28" y="80"/>
                      <a:pt x="25" y="74"/>
                    </a:cubicBezTo>
                    <a:cubicBezTo>
                      <a:pt x="19" y="62"/>
                      <a:pt x="39" y="55"/>
                      <a:pt x="26" y="39"/>
                    </a:cubicBezTo>
                    <a:cubicBezTo>
                      <a:pt x="25" y="39"/>
                      <a:pt x="25" y="39"/>
                      <a:pt x="23" y="40"/>
                    </a:cubicBezTo>
                    <a:cubicBezTo>
                      <a:pt x="17" y="44"/>
                      <a:pt x="14" y="52"/>
                      <a:pt x="7" y="54"/>
                    </a:cubicBezTo>
                    <a:cubicBezTo>
                      <a:pt x="2" y="51"/>
                      <a:pt x="2" y="48"/>
                      <a:pt x="0" y="43"/>
                    </a:cubicBezTo>
                    <a:cubicBezTo>
                      <a:pt x="3" y="39"/>
                      <a:pt x="14" y="30"/>
                      <a:pt x="14" y="28"/>
                    </a:cubicBezTo>
                    <a:cubicBezTo>
                      <a:pt x="14" y="25"/>
                      <a:pt x="7" y="19"/>
                      <a:pt x="6" y="15"/>
                    </a:cubicBezTo>
                    <a:cubicBezTo>
                      <a:pt x="6" y="15"/>
                      <a:pt x="7" y="15"/>
                      <a:pt x="7" y="15"/>
                    </a:cubicBezTo>
                    <a:cubicBezTo>
                      <a:pt x="13" y="15"/>
                      <a:pt x="20" y="18"/>
                      <a:pt x="26" y="18"/>
                    </a:cubicBezTo>
                    <a:cubicBezTo>
                      <a:pt x="34" y="17"/>
                      <a:pt x="41" y="5"/>
                      <a:pt x="47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15" name="išḷïḓe"/>
              <p:cNvSpPr/>
              <p:nvPr/>
            </p:nvSpPr>
            <p:spPr bwMode="auto">
              <a:xfrm>
                <a:off x="2490684" y="4510678"/>
                <a:ext cx="144463" cy="160338"/>
              </a:xfrm>
              <a:custGeom>
                <a:avLst/>
                <a:gdLst>
                  <a:gd name="T0" fmla="*/ 55 w 78"/>
                  <a:gd name="T1" fmla="*/ 64 h 87"/>
                  <a:gd name="T2" fmla="*/ 62 w 78"/>
                  <a:gd name="T3" fmla="*/ 50 h 87"/>
                  <a:gd name="T4" fmla="*/ 54 w 78"/>
                  <a:gd name="T5" fmla="*/ 43 h 87"/>
                  <a:gd name="T6" fmla="*/ 69 w 78"/>
                  <a:gd name="T7" fmla="*/ 29 h 87"/>
                  <a:gd name="T8" fmla="*/ 67 w 78"/>
                  <a:gd name="T9" fmla="*/ 21 h 87"/>
                  <a:gd name="T10" fmla="*/ 70 w 78"/>
                  <a:gd name="T11" fmla="*/ 11 h 87"/>
                  <a:gd name="T12" fmla="*/ 69 w 78"/>
                  <a:gd name="T13" fmla="*/ 3 h 87"/>
                  <a:gd name="T14" fmla="*/ 64 w 78"/>
                  <a:gd name="T15" fmla="*/ 0 h 87"/>
                  <a:gd name="T16" fmla="*/ 63 w 78"/>
                  <a:gd name="T17" fmla="*/ 0 h 87"/>
                  <a:gd name="T18" fmla="*/ 63 w 78"/>
                  <a:gd name="T19" fmla="*/ 12 h 87"/>
                  <a:gd name="T20" fmla="*/ 42 w 78"/>
                  <a:gd name="T21" fmla="*/ 25 h 87"/>
                  <a:gd name="T22" fmla="*/ 42 w 78"/>
                  <a:gd name="T23" fmla="*/ 33 h 87"/>
                  <a:gd name="T24" fmla="*/ 33 w 78"/>
                  <a:gd name="T25" fmla="*/ 36 h 87"/>
                  <a:gd name="T26" fmla="*/ 39 w 78"/>
                  <a:gd name="T27" fmla="*/ 33 h 87"/>
                  <a:gd name="T28" fmla="*/ 39 w 78"/>
                  <a:gd name="T29" fmla="*/ 23 h 87"/>
                  <a:gd name="T30" fmla="*/ 36 w 78"/>
                  <a:gd name="T31" fmla="*/ 0 h 87"/>
                  <a:gd name="T32" fmla="*/ 36 w 78"/>
                  <a:gd name="T33" fmla="*/ 0 h 87"/>
                  <a:gd name="T34" fmla="*/ 36 w 78"/>
                  <a:gd name="T35" fmla="*/ 8 h 87"/>
                  <a:gd name="T36" fmla="*/ 30 w 78"/>
                  <a:gd name="T37" fmla="*/ 24 h 87"/>
                  <a:gd name="T38" fmla="*/ 1 w 78"/>
                  <a:gd name="T39" fmla="*/ 29 h 87"/>
                  <a:gd name="T40" fmla="*/ 0 w 78"/>
                  <a:gd name="T41" fmla="*/ 31 h 87"/>
                  <a:gd name="T42" fmla="*/ 18 w 78"/>
                  <a:gd name="T43" fmla="*/ 39 h 87"/>
                  <a:gd name="T44" fmla="*/ 25 w 78"/>
                  <a:gd name="T45" fmla="*/ 36 h 87"/>
                  <a:gd name="T46" fmla="*/ 25 w 78"/>
                  <a:gd name="T47" fmla="*/ 36 h 87"/>
                  <a:gd name="T48" fmla="*/ 3 w 78"/>
                  <a:gd name="T49" fmla="*/ 62 h 87"/>
                  <a:gd name="T50" fmla="*/ 5 w 78"/>
                  <a:gd name="T51" fmla="*/ 67 h 87"/>
                  <a:gd name="T52" fmla="*/ 12 w 78"/>
                  <a:gd name="T53" fmla="*/ 66 h 87"/>
                  <a:gd name="T54" fmla="*/ 22 w 78"/>
                  <a:gd name="T55" fmla="*/ 74 h 87"/>
                  <a:gd name="T56" fmla="*/ 25 w 78"/>
                  <a:gd name="T57" fmla="*/ 61 h 87"/>
                  <a:gd name="T58" fmla="*/ 30 w 78"/>
                  <a:gd name="T59" fmla="*/ 49 h 87"/>
                  <a:gd name="T60" fmla="*/ 48 w 78"/>
                  <a:gd name="T61" fmla="*/ 63 h 87"/>
                  <a:gd name="T62" fmla="*/ 24 w 78"/>
                  <a:gd name="T63" fmla="*/ 71 h 87"/>
                  <a:gd name="T64" fmla="*/ 48 w 78"/>
                  <a:gd name="T65" fmla="*/ 71 h 87"/>
                  <a:gd name="T66" fmla="*/ 51 w 78"/>
                  <a:gd name="T67" fmla="*/ 69 h 87"/>
                  <a:gd name="T68" fmla="*/ 77 w 78"/>
                  <a:gd name="T69" fmla="*/ 87 h 87"/>
                  <a:gd name="T70" fmla="*/ 78 w 78"/>
                  <a:gd name="T71" fmla="*/ 86 h 87"/>
                  <a:gd name="T72" fmla="*/ 55 w 78"/>
                  <a:gd name="T73" fmla="*/ 64 h 87"/>
                  <a:gd name="T74" fmla="*/ 15 w 78"/>
                  <a:gd name="T75" fmla="*/ 64 h 87"/>
                  <a:gd name="T76" fmla="*/ 15 w 78"/>
                  <a:gd name="T77" fmla="*/ 65 h 87"/>
                  <a:gd name="T78" fmla="*/ 11 w 78"/>
                  <a:gd name="T79" fmla="*/ 63 h 87"/>
                  <a:gd name="T80" fmla="*/ 12 w 78"/>
                  <a:gd name="T81" fmla="*/ 60 h 87"/>
                  <a:gd name="T82" fmla="*/ 15 w 78"/>
                  <a:gd name="T83" fmla="*/ 57 h 87"/>
                  <a:gd name="T84" fmla="*/ 17 w 78"/>
                  <a:gd name="T85" fmla="*/ 58 h 87"/>
                  <a:gd name="T86" fmla="*/ 15 w 78"/>
                  <a:gd name="T87" fmla="*/ 64 h 87"/>
                  <a:gd name="T88" fmla="*/ 32 w 78"/>
                  <a:gd name="T89" fmla="*/ 46 h 87"/>
                  <a:gd name="T90" fmla="*/ 44 w 78"/>
                  <a:gd name="T91" fmla="*/ 34 h 87"/>
                  <a:gd name="T92" fmla="*/ 52 w 78"/>
                  <a:gd name="T93" fmla="*/ 35 h 87"/>
                  <a:gd name="T94" fmla="*/ 46 w 78"/>
                  <a:gd name="T95" fmla="*/ 50 h 87"/>
                  <a:gd name="T96" fmla="*/ 48 w 78"/>
                  <a:gd name="T97" fmla="*/ 52 h 87"/>
                  <a:gd name="T98" fmla="*/ 56 w 78"/>
                  <a:gd name="T99" fmla="*/ 50 h 87"/>
                  <a:gd name="T100" fmla="*/ 52 w 78"/>
                  <a:gd name="T101" fmla="*/ 61 h 87"/>
                  <a:gd name="T102" fmla="*/ 32 w 78"/>
                  <a:gd name="T103" fmla="*/ 46 h 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78" h="87">
                    <a:moveTo>
                      <a:pt x="55" y="64"/>
                    </a:moveTo>
                    <a:cubicBezTo>
                      <a:pt x="58" y="60"/>
                      <a:pt x="60" y="55"/>
                      <a:pt x="62" y="50"/>
                    </a:cubicBezTo>
                    <a:cubicBezTo>
                      <a:pt x="61" y="47"/>
                      <a:pt x="58" y="44"/>
                      <a:pt x="54" y="43"/>
                    </a:cubicBezTo>
                    <a:cubicBezTo>
                      <a:pt x="57" y="36"/>
                      <a:pt x="64" y="33"/>
                      <a:pt x="69" y="29"/>
                    </a:cubicBezTo>
                    <a:cubicBezTo>
                      <a:pt x="69" y="25"/>
                      <a:pt x="67" y="24"/>
                      <a:pt x="67" y="21"/>
                    </a:cubicBezTo>
                    <a:cubicBezTo>
                      <a:pt x="68" y="18"/>
                      <a:pt x="69" y="15"/>
                      <a:pt x="70" y="11"/>
                    </a:cubicBezTo>
                    <a:cubicBezTo>
                      <a:pt x="70" y="9"/>
                      <a:pt x="69" y="6"/>
                      <a:pt x="69" y="3"/>
                    </a:cubicBezTo>
                    <a:cubicBezTo>
                      <a:pt x="68" y="2"/>
                      <a:pt x="67" y="1"/>
                      <a:pt x="64" y="0"/>
                    </a:cubicBezTo>
                    <a:cubicBezTo>
                      <a:pt x="64" y="0"/>
                      <a:pt x="63" y="0"/>
                      <a:pt x="63" y="0"/>
                    </a:cubicBezTo>
                    <a:cubicBezTo>
                      <a:pt x="61" y="5"/>
                      <a:pt x="63" y="8"/>
                      <a:pt x="63" y="12"/>
                    </a:cubicBezTo>
                    <a:cubicBezTo>
                      <a:pt x="63" y="24"/>
                      <a:pt x="52" y="26"/>
                      <a:pt x="42" y="25"/>
                    </a:cubicBezTo>
                    <a:cubicBezTo>
                      <a:pt x="41" y="28"/>
                      <a:pt x="41" y="31"/>
                      <a:pt x="42" y="33"/>
                    </a:cubicBezTo>
                    <a:cubicBezTo>
                      <a:pt x="39" y="34"/>
                      <a:pt x="36" y="35"/>
                      <a:pt x="33" y="36"/>
                    </a:cubicBezTo>
                    <a:cubicBezTo>
                      <a:pt x="34" y="32"/>
                      <a:pt x="36" y="32"/>
                      <a:pt x="39" y="33"/>
                    </a:cubicBezTo>
                    <a:cubicBezTo>
                      <a:pt x="41" y="29"/>
                      <a:pt x="38" y="27"/>
                      <a:pt x="39" y="23"/>
                    </a:cubicBezTo>
                    <a:cubicBezTo>
                      <a:pt x="39" y="14"/>
                      <a:pt x="53" y="6"/>
                      <a:pt x="36" y="0"/>
                    </a:cubicBezTo>
                    <a:cubicBezTo>
                      <a:pt x="36" y="0"/>
                      <a:pt x="36" y="0"/>
                      <a:pt x="36" y="0"/>
                    </a:cubicBezTo>
                    <a:cubicBezTo>
                      <a:pt x="35" y="3"/>
                      <a:pt x="36" y="5"/>
                      <a:pt x="36" y="8"/>
                    </a:cubicBezTo>
                    <a:cubicBezTo>
                      <a:pt x="34" y="14"/>
                      <a:pt x="32" y="19"/>
                      <a:pt x="30" y="24"/>
                    </a:cubicBezTo>
                    <a:cubicBezTo>
                      <a:pt x="22" y="26"/>
                      <a:pt x="9" y="26"/>
                      <a:pt x="1" y="29"/>
                    </a:cubicBezTo>
                    <a:cubicBezTo>
                      <a:pt x="1" y="30"/>
                      <a:pt x="1" y="30"/>
                      <a:pt x="0" y="31"/>
                    </a:cubicBezTo>
                    <a:cubicBezTo>
                      <a:pt x="1" y="35"/>
                      <a:pt x="12" y="39"/>
                      <a:pt x="18" y="39"/>
                    </a:cubicBezTo>
                    <a:cubicBezTo>
                      <a:pt x="20" y="38"/>
                      <a:pt x="22" y="37"/>
                      <a:pt x="25" y="36"/>
                    </a:cubicBezTo>
                    <a:cubicBezTo>
                      <a:pt x="25" y="36"/>
                      <a:pt x="25" y="36"/>
                      <a:pt x="25" y="36"/>
                    </a:cubicBezTo>
                    <a:cubicBezTo>
                      <a:pt x="21" y="52"/>
                      <a:pt x="9" y="50"/>
                      <a:pt x="3" y="62"/>
                    </a:cubicBezTo>
                    <a:cubicBezTo>
                      <a:pt x="4" y="63"/>
                      <a:pt x="4" y="65"/>
                      <a:pt x="5" y="67"/>
                    </a:cubicBezTo>
                    <a:cubicBezTo>
                      <a:pt x="7" y="67"/>
                      <a:pt x="10" y="67"/>
                      <a:pt x="12" y="66"/>
                    </a:cubicBezTo>
                    <a:cubicBezTo>
                      <a:pt x="17" y="68"/>
                      <a:pt x="17" y="72"/>
                      <a:pt x="22" y="74"/>
                    </a:cubicBezTo>
                    <a:cubicBezTo>
                      <a:pt x="25" y="71"/>
                      <a:pt x="24" y="66"/>
                      <a:pt x="25" y="61"/>
                    </a:cubicBezTo>
                    <a:cubicBezTo>
                      <a:pt x="25" y="56"/>
                      <a:pt x="28" y="52"/>
                      <a:pt x="30" y="49"/>
                    </a:cubicBezTo>
                    <a:cubicBezTo>
                      <a:pt x="40" y="53"/>
                      <a:pt x="42" y="58"/>
                      <a:pt x="48" y="63"/>
                    </a:cubicBezTo>
                    <a:cubicBezTo>
                      <a:pt x="44" y="74"/>
                      <a:pt x="29" y="63"/>
                      <a:pt x="24" y="71"/>
                    </a:cubicBezTo>
                    <a:cubicBezTo>
                      <a:pt x="39" y="78"/>
                      <a:pt x="36" y="74"/>
                      <a:pt x="48" y="71"/>
                    </a:cubicBezTo>
                    <a:cubicBezTo>
                      <a:pt x="49" y="70"/>
                      <a:pt x="50" y="70"/>
                      <a:pt x="51" y="69"/>
                    </a:cubicBezTo>
                    <a:cubicBezTo>
                      <a:pt x="58" y="79"/>
                      <a:pt x="58" y="87"/>
                      <a:pt x="77" y="87"/>
                    </a:cubicBezTo>
                    <a:cubicBezTo>
                      <a:pt x="77" y="87"/>
                      <a:pt x="78" y="86"/>
                      <a:pt x="78" y="86"/>
                    </a:cubicBezTo>
                    <a:cubicBezTo>
                      <a:pt x="74" y="76"/>
                      <a:pt x="60" y="73"/>
                      <a:pt x="55" y="64"/>
                    </a:cubicBezTo>
                    <a:close/>
                    <a:moveTo>
                      <a:pt x="15" y="64"/>
                    </a:moveTo>
                    <a:cubicBezTo>
                      <a:pt x="15" y="65"/>
                      <a:pt x="15" y="65"/>
                      <a:pt x="15" y="65"/>
                    </a:cubicBezTo>
                    <a:cubicBezTo>
                      <a:pt x="14" y="64"/>
                      <a:pt x="13" y="64"/>
                      <a:pt x="11" y="63"/>
                    </a:cubicBezTo>
                    <a:cubicBezTo>
                      <a:pt x="11" y="62"/>
                      <a:pt x="12" y="61"/>
                      <a:pt x="12" y="60"/>
                    </a:cubicBezTo>
                    <a:cubicBezTo>
                      <a:pt x="13" y="59"/>
                      <a:pt x="14" y="58"/>
                      <a:pt x="15" y="57"/>
                    </a:cubicBezTo>
                    <a:cubicBezTo>
                      <a:pt x="16" y="57"/>
                      <a:pt x="16" y="58"/>
                      <a:pt x="17" y="58"/>
                    </a:cubicBezTo>
                    <a:cubicBezTo>
                      <a:pt x="16" y="60"/>
                      <a:pt x="16" y="62"/>
                      <a:pt x="15" y="64"/>
                    </a:cubicBezTo>
                    <a:close/>
                    <a:moveTo>
                      <a:pt x="32" y="46"/>
                    </a:moveTo>
                    <a:cubicBezTo>
                      <a:pt x="35" y="43"/>
                      <a:pt x="44" y="37"/>
                      <a:pt x="44" y="34"/>
                    </a:cubicBezTo>
                    <a:cubicBezTo>
                      <a:pt x="47" y="34"/>
                      <a:pt x="49" y="35"/>
                      <a:pt x="52" y="35"/>
                    </a:cubicBezTo>
                    <a:cubicBezTo>
                      <a:pt x="50" y="40"/>
                      <a:pt x="45" y="44"/>
                      <a:pt x="46" y="50"/>
                    </a:cubicBezTo>
                    <a:cubicBezTo>
                      <a:pt x="46" y="51"/>
                      <a:pt x="47" y="51"/>
                      <a:pt x="48" y="52"/>
                    </a:cubicBezTo>
                    <a:cubicBezTo>
                      <a:pt x="50" y="51"/>
                      <a:pt x="53" y="49"/>
                      <a:pt x="56" y="50"/>
                    </a:cubicBezTo>
                    <a:cubicBezTo>
                      <a:pt x="55" y="54"/>
                      <a:pt x="53" y="57"/>
                      <a:pt x="52" y="61"/>
                    </a:cubicBezTo>
                    <a:cubicBezTo>
                      <a:pt x="45" y="56"/>
                      <a:pt x="44" y="49"/>
                      <a:pt x="32" y="4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16" name="ï$ľíḍe"/>
              <p:cNvSpPr/>
              <p:nvPr/>
            </p:nvSpPr>
            <p:spPr bwMode="auto">
              <a:xfrm>
                <a:off x="2255734" y="4491628"/>
                <a:ext cx="136525" cy="174625"/>
              </a:xfrm>
              <a:custGeom>
                <a:avLst/>
                <a:gdLst>
                  <a:gd name="T0" fmla="*/ 74 w 74"/>
                  <a:gd name="T1" fmla="*/ 41 h 94"/>
                  <a:gd name="T2" fmla="*/ 64 w 74"/>
                  <a:gd name="T3" fmla="*/ 35 h 94"/>
                  <a:gd name="T4" fmla="*/ 51 w 74"/>
                  <a:gd name="T5" fmla="*/ 5 h 94"/>
                  <a:gd name="T6" fmla="*/ 58 w 74"/>
                  <a:gd name="T7" fmla="*/ 39 h 94"/>
                  <a:gd name="T8" fmla="*/ 47 w 74"/>
                  <a:gd name="T9" fmla="*/ 47 h 94"/>
                  <a:gd name="T10" fmla="*/ 55 w 74"/>
                  <a:gd name="T11" fmla="*/ 34 h 94"/>
                  <a:gd name="T12" fmla="*/ 47 w 74"/>
                  <a:gd name="T13" fmla="*/ 29 h 94"/>
                  <a:gd name="T14" fmla="*/ 54 w 74"/>
                  <a:gd name="T15" fmla="*/ 22 h 94"/>
                  <a:gd name="T16" fmla="*/ 54 w 74"/>
                  <a:gd name="T17" fmla="*/ 20 h 94"/>
                  <a:gd name="T18" fmla="*/ 54 w 74"/>
                  <a:gd name="T19" fmla="*/ 19 h 94"/>
                  <a:gd name="T20" fmla="*/ 41 w 74"/>
                  <a:gd name="T21" fmla="*/ 19 h 94"/>
                  <a:gd name="T22" fmla="*/ 44 w 74"/>
                  <a:gd name="T23" fmla="*/ 22 h 94"/>
                  <a:gd name="T24" fmla="*/ 44 w 74"/>
                  <a:gd name="T25" fmla="*/ 32 h 94"/>
                  <a:gd name="T26" fmla="*/ 48 w 74"/>
                  <a:gd name="T27" fmla="*/ 37 h 94"/>
                  <a:gd name="T28" fmla="*/ 40 w 74"/>
                  <a:gd name="T29" fmla="*/ 58 h 94"/>
                  <a:gd name="T30" fmla="*/ 44 w 74"/>
                  <a:gd name="T31" fmla="*/ 61 h 94"/>
                  <a:gd name="T32" fmla="*/ 59 w 74"/>
                  <a:gd name="T33" fmla="*/ 46 h 94"/>
                  <a:gd name="T34" fmla="*/ 59 w 74"/>
                  <a:gd name="T35" fmla="*/ 46 h 94"/>
                  <a:gd name="T36" fmla="*/ 66 w 74"/>
                  <a:gd name="T37" fmla="*/ 93 h 94"/>
                  <a:gd name="T38" fmla="*/ 68 w 74"/>
                  <a:gd name="T39" fmla="*/ 93 h 94"/>
                  <a:gd name="T40" fmla="*/ 65 w 74"/>
                  <a:gd name="T41" fmla="*/ 42 h 94"/>
                  <a:gd name="T42" fmla="*/ 73 w 74"/>
                  <a:gd name="T43" fmla="*/ 41 h 94"/>
                  <a:gd name="T44" fmla="*/ 74 w 74"/>
                  <a:gd name="T45" fmla="*/ 41 h 94"/>
                  <a:gd name="T46" fmla="*/ 43 w 74"/>
                  <a:gd name="T47" fmla="*/ 42 h 94"/>
                  <a:gd name="T48" fmla="*/ 35 w 74"/>
                  <a:gd name="T49" fmla="*/ 48 h 94"/>
                  <a:gd name="T50" fmla="*/ 39 w 74"/>
                  <a:gd name="T51" fmla="*/ 38 h 94"/>
                  <a:gd name="T52" fmla="*/ 37 w 74"/>
                  <a:gd name="T53" fmla="*/ 29 h 94"/>
                  <a:gd name="T54" fmla="*/ 40 w 74"/>
                  <a:gd name="T55" fmla="*/ 27 h 94"/>
                  <a:gd name="T56" fmla="*/ 34 w 74"/>
                  <a:gd name="T57" fmla="*/ 16 h 94"/>
                  <a:gd name="T58" fmla="*/ 32 w 74"/>
                  <a:gd name="T59" fmla="*/ 15 h 94"/>
                  <a:gd name="T60" fmla="*/ 4 w 74"/>
                  <a:gd name="T61" fmla="*/ 46 h 94"/>
                  <a:gd name="T62" fmla="*/ 30 w 74"/>
                  <a:gd name="T63" fmla="*/ 29 h 94"/>
                  <a:gd name="T64" fmla="*/ 8 w 74"/>
                  <a:gd name="T65" fmla="*/ 52 h 94"/>
                  <a:gd name="T66" fmla="*/ 0 w 74"/>
                  <a:gd name="T67" fmla="*/ 56 h 94"/>
                  <a:gd name="T68" fmla="*/ 3 w 74"/>
                  <a:gd name="T69" fmla="*/ 61 h 94"/>
                  <a:gd name="T70" fmla="*/ 23 w 74"/>
                  <a:gd name="T71" fmla="*/ 54 h 94"/>
                  <a:gd name="T72" fmla="*/ 25 w 74"/>
                  <a:gd name="T73" fmla="*/ 53 h 94"/>
                  <a:gd name="T74" fmla="*/ 25 w 74"/>
                  <a:gd name="T75" fmla="*/ 53 h 94"/>
                  <a:gd name="T76" fmla="*/ 20 w 74"/>
                  <a:gd name="T77" fmla="*/ 72 h 94"/>
                  <a:gd name="T78" fmla="*/ 25 w 74"/>
                  <a:gd name="T79" fmla="*/ 76 h 94"/>
                  <a:gd name="T80" fmla="*/ 26 w 74"/>
                  <a:gd name="T81" fmla="*/ 76 h 94"/>
                  <a:gd name="T82" fmla="*/ 30 w 74"/>
                  <a:gd name="T83" fmla="*/ 67 h 94"/>
                  <a:gd name="T84" fmla="*/ 31 w 74"/>
                  <a:gd name="T85" fmla="*/ 66 h 94"/>
                  <a:gd name="T86" fmla="*/ 32 w 74"/>
                  <a:gd name="T87" fmla="*/ 75 h 94"/>
                  <a:gd name="T88" fmla="*/ 35 w 74"/>
                  <a:gd name="T89" fmla="*/ 76 h 94"/>
                  <a:gd name="T90" fmla="*/ 38 w 74"/>
                  <a:gd name="T91" fmla="*/ 76 h 94"/>
                  <a:gd name="T92" fmla="*/ 35 w 74"/>
                  <a:gd name="T93" fmla="*/ 61 h 94"/>
                  <a:gd name="T94" fmla="*/ 43 w 74"/>
                  <a:gd name="T95" fmla="*/ 42 h 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74" h="94">
                    <a:moveTo>
                      <a:pt x="74" y="41"/>
                    </a:moveTo>
                    <a:cubicBezTo>
                      <a:pt x="73" y="36"/>
                      <a:pt x="70" y="34"/>
                      <a:pt x="64" y="35"/>
                    </a:cubicBezTo>
                    <a:cubicBezTo>
                      <a:pt x="63" y="24"/>
                      <a:pt x="67" y="0"/>
                      <a:pt x="51" y="5"/>
                    </a:cubicBezTo>
                    <a:cubicBezTo>
                      <a:pt x="50" y="9"/>
                      <a:pt x="61" y="31"/>
                      <a:pt x="58" y="39"/>
                    </a:cubicBezTo>
                    <a:cubicBezTo>
                      <a:pt x="58" y="39"/>
                      <a:pt x="47" y="47"/>
                      <a:pt x="47" y="47"/>
                    </a:cubicBezTo>
                    <a:cubicBezTo>
                      <a:pt x="48" y="41"/>
                      <a:pt x="53" y="39"/>
                      <a:pt x="55" y="34"/>
                    </a:cubicBezTo>
                    <a:cubicBezTo>
                      <a:pt x="56" y="30"/>
                      <a:pt x="49" y="31"/>
                      <a:pt x="47" y="29"/>
                    </a:cubicBezTo>
                    <a:cubicBezTo>
                      <a:pt x="48" y="26"/>
                      <a:pt x="51" y="23"/>
                      <a:pt x="54" y="22"/>
                    </a:cubicBezTo>
                    <a:cubicBezTo>
                      <a:pt x="54" y="21"/>
                      <a:pt x="54" y="21"/>
                      <a:pt x="54" y="20"/>
                    </a:cubicBezTo>
                    <a:cubicBezTo>
                      <a:pt x="54" y="20"/>
                      <a:pt x="54" y="19"/>
                      <a:pt x="54" y="19"/>
                    </a:cubicBezTo>
                    <a:cubicBezTo>
                      <a:pt x="50" y="17"/>
                      <a:pt x="45" y="17"/>
                      <a:pt x="41" y="19"/>
                    </a:cubicBezTo>
                    <a:cubicBezTo>
                      <a:pt x="41" y="22"/>
                      <a:pt x="42" y="22"/>
                      <a:pt x="44" y="22"/>
                    </a:cubicBezTo>
                    <a:cubicBezTo>
                      <a:pt x="44" y="26"/>
                      <a:pt x="44" y="29"/>
                      <a:pt x="44" y="32"/>
                    </a:cubicBezTo>
                    <a:cubicBezTo>
                      <a:pt x="45" y="34"/>
                      <a:pt x="47" y="35"/>
                      <a:pt x="48" y="37"/>
                    </a:cubicBezTo>
                    <a:cubicBezTo>
                      <a:pt x="46" y="41"/>
                      <a:pt x="35" y="51"/>
                      <a:pt x="40" y="58"/>
                    </a:cubicBezTo>
                    <a:cubicBezTo>
                      <a:pt x="41" y="60"/>
                      <a:pt x="42" y="60"/>
                      <a:pt x="44" y="61"/>
                    </a:cubicBezTo>
                    <a:cubicBezTo>
                      <a:pt x="49" y="55"/>
                      <a:pt x="51" y="50"/>
                      <a:pt x="59" y="46"/>
                    </a:cubicBezTo>
                    <a:cubicBezTo>
                      <a:pt x="59" y="46"/>
                      <a:pt x="59" y="46"/>
                      <a:pt x="59" y="46"/>
                    </a:cubicBezTo>
                    <a:cubicBezTo>
                      <a:pt x="61" y="60"/>
                      <a:pt x="59" y="83"/>
                      <a:pt x="66" y="93"/>
                    </a:cubicBezTo>
                    <a:cubicBezTo>
                      <a:pt x="67" y="94"/>
                      <a:pt x="67" y="93"/>
                      <a:pt x="68" y="93"/>
                    </a:cubicBezTo>
                    <a:cubicBezTo>
                      <a:pt x="68" y="78"/>
                      <a:pt x="67" y="60"/>
                      <a:pt x="65" y="42"/>
                    </a:cubicBezTo>
                    <a:cubicBezTo>
                      <a:pt x="68" y="42"/>
                      <a:pt x="72" y="42"/>
                      <a:pt x="73" y="41"/>
                    </a:cubicBezTo>
                    <a:cubicBezTo>
                      <a:pt x="74" y="41"/>
                      <a:pt x="74" y="41"/>
                      <a:pt x="74" y="41"/>
                    </a:cubicBezTo>
                    <a:close/>
                    <a:moveTo>
                      <a:pt x="43" y="42"/>
                    </a:moveTo>
                    <a:cubicBezTo>
                      <a:pt x="39" y="44"/>
                      <a:pt x="38" y="46"/>
                      <a:pt x="35" y="48"/>
                    </a:cubicBezTo>
                    <a:cubicBezTo>
                      <a:pt x="35" y="42"/>
                      <a:pt x="39" y="42"/>
                      <a:pt x="39" y="38"/>
                    </a:cubicBezTo>
                    <a:cubicBezTo>
                      <a:pt x="40" y="35"/>
                      <a:pt x="37" y="33"/>
                      <a:pt x="37" y="29"/>
                    </a:cubicBezTo>
                    <a:cubicBezTo>
                      <a:pt x="38" y="28"/>
                      <a:pt x="39" y="28"/>
                      <a:pt x="40" y="27"/>
                    </a:cubicBezTo>
                    <a:cubicBezTo>
                      <a:pt x="41" y="24"/>
                      <a:pt x="36" y="16"/>
                      <a:pt x="34" y="16"/>
                    </a:cubicBezTo>
                    <a:cubicBezTo>
                      <a:pt x="33" y="16"/>
                      <a:pt x="32" y="15"/>
                      <a:pt x="32" y="15"/>
                    </a:cubicBezTo>
                    <a:cubicBezTo>
                      <a:pt x="22" y="28"/>
                      <a:pt x="10" y="30"/>
                      <a:pt x="4" y="46"/>
                    </a:cubicBezTo>
                    <a:cubicBezTo>
                      <a:pt x="13" y="41"/>
                      <a:pt x="17" y="31"/>
                      <a:pt x="30" y="29"/>
                    </a:cubicBezTo>
                    <a:cubicBezTo>
                      <a:pt x="29" y="39"/>
                      <a:pt x="16" y="48"/>
                      <a:pt x="8" y="52"/>
                    </a:cubicBezTo>
                    <a:cubicBezTo>
                      <a:pt x="4" y="54"/>
                      <a:pt x="2" y="52"/>
                      <a:pt x="0" y="56"/>
                    </a:cubicBezTo>
                    <a:cubicBezTo>
                      <a:pt x="0" y="59"/>
                      <a:pt x="1" y="60"/>
                      <a:pt x="3" y="61"/>
                    </a:cubicBezTo>
                    <a:cubicBezTo>
                      <a:pt x="10" y="63"/>
                      <a:pt x="22" y="58"/>
                      <a:pt x="23" y="54"/>
                    </a:cubicBezTo>
                    <a:cubicBezTo>
                      <a:pt x="24" y="54"/>
                      <a:pt x="24" y="53"/>
                      <a:pt x="25" y="53"/>
                    </a:cubicBezTo>
                    <a:cubicBezTo>
                      <a:pt x="25" y="53"/>
                      <a:pt x="25" y="53"/>
                      <a:pt x="25" y="53"/>
                    </a:cubicBezTo>
                    <a:cubicBezTo>
                      <a:pt x="23" y="59"/>
                      <a:pt x="22" y="66"/>
                      <a:pt x="20" y="72"/>
                    </a:cubicBezTo>
                    <a:cubicBezTo>
                      <a:pt x="21" y="74"/>
                      <a:pt x="23" y="75"/>
                      <a:pt x="25" y="76"/>
                    </a:cubicBezTo>
                    <a:cubicBezTo>
                      <a:pt x="25" y="76"/>
                      <a:pt x="26" y="76"/>
                      <a:pt x="26" y="76"/>
                    </a:cubicBezTo>
                    <a:cubicBezTo>
                      <a:pt x="28" y="73"/>
                      <a:pt x="29" y="70"/>
                      <a:pt x="30" y="67"/>
                    </a:cubicBezTo>
                    <a:cubicBezTo>
                      <a:pt x="31" y="67"/>
                      <a:pt x="31" y="67"/>
                      <a:pt x="31" y="66"/>
                    </a:cubicBezTo>
                    <a:cubicBezTo>
                      <a:pt x="32" y="69"/>
                      <a:pt x="32" y="72"/>
                      <a:pt x="32" y="75"/>
                    </a:cubicBezTo>
                    <a:cubicBezTo>
                      <a:pt x="33" y="75"/>
                      <a:pt x="34" y="76"/>
                      <a:pt x="35" y="76"/>
                    </a:cubicBezTo>
                    <a:cubicBezTo>
                      <a:pt x="36" y="76"/>
                      <a:pt x="37" y="76"/>
                      <a:pt x="38" y="76"/>
                    </a:cubicBezTo>
                    <a:cubicBezTo>
                      <a:pt x="37" y="71"/>
                      <a:pt x="36" y="66"/>
                      <a:pt x="35" y="61"/>
                    </a:cubicBezTo>
                    <a:cubicBezTo>
                      <a:pt x="38" y="54"/>
                      <a:pt x="40" y="48"/>
                      <a:pt x="43" y="4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17" name="î$ḻîḑe"/>
              <p:cNvSpPr/>
              <p:nvPr/>
            </p:nvSpPr>
            <p:spPr bwMode="auto">
              <a:xfrm>
                <a:off x="2055709" y="4566240"/>
                <a:ext cx="136525" cy="150813"/>
              </a:xfrm>
              <a:custGeom>
                <a:avLst/>
                <a:gdLst>
                  <a:gd name="T0" fmla="*/ 55 w 74"/>
                  <a:gd name="T1" fmla="*/ 53 h 82"/>
                  <a:gd name="T2" fmla="*/ 54 w 74"/>
                  <a:gd name="T3" fmla="*/ 51 h 82"/>
                  <a:gd name="T4" fmla="*/ 57 w 74"/>
                  <a:gd name="T5" fmla="*/ 49 h 82"/>
                  <a:gd name="T6" fmla="*/ 56 w 74"/>
                  <a:gd name="T7" fmla="*/ 45 h 82"/>
                  <a:gd name="T8" fmla="*/ 52 w 74"/>
                  <a:gd name="T9" fmla="*/ 45 h 82"/>
                  <a:gd name="T10" fmla="*/ 51 w 74"/>
                  <a:gd name="T11" fmla="*/ 44 h 82"/>
                  <a:gd name="T12" fmla="*/ 60 w 74"/>
                  <a:gd name="T13" fmla="*/ 32 h 82"/>
                  <a:gd name="T14" fmla="*/ 60 w 74"/>
                  <a:gd name="T15" fmla="*/ 30 h 82"/>
                  <a:gd name="T16" fmla="*/ 34 w 74"/>
                  <a:gd name="T17" fmla="*/ 38 h 82"/>
                  <a:gd name="T18" fmla="*/ 33 w 74"/>
                  <a:gd name="T19" fmla="*/ 38 h 82"/>
                  <a:gd name="T20" fmla="*/ 60 w 74"/>
                  <a:gd name="T21" fmla="*/ 16 h 82"/>
                  <a:gd name="T22" fmla="*/ 61 w 74"/>
                  <a:gd name="T23" fmla="*/ 10 h 82"/>
                  <a:gd name="T24" fmla="*/ 42 w 74"/>
                  <a:gd name="T25" fmla="*/ 11 h 82"/>
                  <a:gd name="T26" fmla="*/ 27 w 74"/>
                  <a:gd name="T27" fmla="*/ 0 h 82"/>
                  <a:gd name="T28" fmla="*/ 24 w 74"/>
                  <a:gd name="T29" fmla="*/ 0 h 82"/>
                  <a:gd name="T30" fmla="*/ 29 w 74"/>
                  <a:gd name="T31" fmla="*/ 21 h 82"/>
                  <a:gd name="T32" fmla="*/ 11 w 74"/>
                  <a:gd name="T33" fmla="*/ 39 h 82"/>
                  <a:gd name="T34" fmla="*/ 1 w 74"/>
                  <a:gd name="T35" fmla="*/ 44 h 82"/>
                  <a:gd name="T36" fmla="*/ 0 w 74"/>
                  <a:gd name="T37" fmla="*/ 47 h 82"/>
                  <a:gd name="T38" fmla="*/ 35 w 74"/>
                  <a:gd name="T39" fmla="*/ 26 h 82"/>
                  <a:gd name="T40" fmla="*/ 35 w 74"/>
                  <a:gd name="T41" fmla="*/ 26 h 82"/>
                  <a:gd name="T42" fmla="*/ 30 w 74"/>
                  <a:gd name="T43" fmla="*/ 48 h 82"/>
                  <a:gd name="T44" fmla="*/ 40 w 74"/>
                  <a:gd name="T45" fmla="*/ 57 h 82"/>
                  <a:gd name="T46" fmla="*/ 35 w 74"/>
                  <a:gd name="T47" fmla="*/ 78 h 82"/>
                  <a:gd name="T48" fmla="*/ 45 w 74"/>
                  <a:gd name="T49" fmla="*/ 82 h 82"/>
                  <a:gd name="T50" fmla="*/ 47 w 74"/>
                  <a:gd name="T51" fmla="*/ 80 h 82"/>
                  <a:gd name="T52" fmla="*/ 46 w 74"/>
                  <a:gd name="T53" fmla="*/ 67 h 82"/>
                  <a:gd name="T54" fmla="*/ 47 w 74"/>
                  <a:gd name="T55" fmla="*/ 66 h 82"/>
                  <a:gd name="T56" fmla="*/ 50 w 74"/>
                  <a:gd name="T57" fmla="*/ 73 h 82"/>
                  <a:gd name="T58" fmla="*/ 58 w 74"/>
                  <a:gd name="T59" fmla="*/ 79 h 82"/>
                  <a:gd name="T60" fmla="*/ 59 w 74"/>
                  <a:gd name="T61" fmla="*/ 79 h 82"/>
                  <a:gd name="T62" fmla="*/ 53 w 74"/>
                  <a:gd name="T63" fmla="*/ 57 h 82"/>
                  <a:gd name="T64" fmla="*/ 56 w 74"/>
                  <a:gd name="T65" fmla="*/ 55 h 82"/>
                  <a:gd name="T66" fmla="*/ 56 w 74"/>
                  <a:gd name="T67" fmla="*/ 55 h 82"/>
                  <a:gd name="T68" fmla="*/ 69 w 74"/>
                  <a:gd name="T69" fmla="*/ 69 h 82"/>
                  <a:gd name="T70" fmla="*/ 74 w 74"/>
                  <a:gd name="T71" fmla="*/ 64 h 82"/>
                  <a:gd name="T72" fmla="*/ 55 w 74"/>
                  <a:gd name="T73" fmla="*/ 53 h 82"/>
                  <a:gd name="T74" fmla="*/ 40 w 74"/>
                  <a:gd name="T75" fmla="*/ 46 h 82"/>
                  <a:gd name="T76" fmla="*/ 39 w 74"/>
                  <a:gd name="T77" fmla="*/ 46 h 82"/>
                  <a:gd name="T78" fmla="*/ 38 w 74"/>
                  <a:gd name="T79" fmla="*/ 46 h 82"/>
                  <a:gd name="T80" fmla="*/ 37 w 74"/>
                  <a:gd name="T81" fmla="*/ 44 h 82"/>
                  <a:gd name="T82" fmla="*/ 44 w 74"/>
                  <a:gd name="T83" fmla="*/ 36 h 82"/>
                  <a:gd name="T84" fmla="*/ 46 w 74"/>
                  <a:gd name="T85" fmla="*/ 35 h 82"/>
                  <a:gd name="T86" fmla="*/ 46 w 74"/>
                  <a:gd name="T87" fmla="*/ 35 h 82"/>
                  <a:gd name="T88" fmla="*/ 40 w 74"/>
                  <a:gd name="T89" fmla="*/ 46 h 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74" h="82">
                    <a:moveTo>
                      <a:pt x="55" y="53"/>
                    </a:moveTo>
                    <a:cubicBezTo>
                      <a:pt x="55" y="53"/>
                      <a:pt x="54" y="52"/>
                      <a:pt x="54" y="51"/>
                    </a:cubicBezTo>
                    <a:cubicBezTo>
                      <a:pt x="55" y="51"/>
                      <a:pt x="56" y="50"/>
                      <a:pt x="57" y="49"/>
                    </a:cubicBezTo>
                    <a:cubicBezTo>
                      <a:pt x="57" y="48"/>
                      <a:pt x="56" y="47"/>
                      <a:pt x="56" y="45"/>
                    </a:cubicBezTo>
                    <a:cubicBezTo>
                      <a:pt x="54" y="45"/>
                      <a:pt x="53" y="45"/>
                      <a:pt x="52" y="45"/>
                    </a:cubicBezTo>
                    <a:cubicBezTo>
                      <a:pt x="51" y="45"/>
                      <a:pt x="51" y="44"/>
                      <a:pt x="51" y="44"/>
                    </a:cubicBezTo>
                    <a:cubicBezTo>
                      <a:pt x="53" y="40"/>
                      <a:pt x="59" y="36"/>
                      <a:pt x="60" y="32"/>
                    </a:cubicBezTo>
                    <a:cubicBezTo>
                      <a:pt x="60" y="31"/>
                      <a:pt x="60" y="31"/>
                      <a:pt x="60" y="30"/>
                    </a:cubicBezTo>
                    <a:cubicBezTo>
                      <a:pt x="50" y="21"/>
                      <a:pt x="41" y="31"/>
                      <a:pt x="34" y="38"/>
                    </a:cubicBezTo>
                    <a:cubicBezTo>
                      <a:pt x="33" y="38"/>
                      <a:pt x="33" y="38"/>
                      <a:pt x="33" y="38"/>
                    </a:cubicBezTo>
                    <a:cubicBezTo>
                      <a:pt x="34" y="30"/>
                      <a:pt x="48" y="16"/>
                      <a:pt x="60" y="16"/>
                    </a:cubicBezTo>
                    <a:cubicBezTo>
                      <a:pt x="61" y="14"/>
                      <a:pt x="61" y="12"/>
                      <a:pt x="61" y="10"/>
                    </a:cubicBezTo>
                    <a:cubicBezTo>
                      <a:pt x="50" y="3"/>
                      <a:pt x="52" y="11"/>
                      <a:pt x="42" y="11"/>
                    </a:cubicBezTo>
                    <a:cubicBezTo>
                      <a:pt x="38" y="10"/>
                      <a:pt x="32" y="1"/>
                      <a:pt x="27" y="0"/>
                    </a:cubicBezTo>
                    <a:cubicBezTo>
                      <a:pt x="26" y="0"/>
                      <a:pt x="25" y="0"/>
                      <a:pt x="24" y="0"/>
                    </a:cubicBezTo>
                    <a:cubicBezTo>
                      <a:pt x="21" y="5"/>
                      <a:pt x="30" y="14"/>
                      <a:pt x="29" y="21"/>
                    </a:cubicBezTo>
                    <a:cubicBezTo>
                      <a:pt x="19" y="27"/>
                      <a:pt x="17" y="33"/>
                      <a:pt x="11" y="39"/>
                    </a:cubicBezTo>
                    <a:cubicBezTo>
                      <a:pt x="8" y="42"/>
                      <a:pt x="4" y="42"/>
                      <a:pt x="1" y="44"/>
                    </a:cubicBezTo>
                    <a:cubicBezTo>
                      <a:pt x="1" y="45"/>
                      <a:pt x="0" y="46"/>
                      <a:pt x="0" y="47"/>
                    </a:cubicBezTo>
                    <a:cubicBezTo>
                      <a:pt x="11" y="69"/>
                      <a:pt x="23" y="30"/>
                      <a:pt x="35" y="26"/>
                    </a:cubicBezTo>
                    <a:cubicBezTo>
                      <a:pt x="35" y="26"/>
                      <a:pt x="35" y="26"/>
                      <a:pt x="35" y="26"/>
                    </a:cubicBezTo>
                    <a:cubicBezTo>
                      <a:pt x="33" y="33"/>
                      <a:pt x="28" y="39"/>
                      <a:pt x="30" y="48"/>
                    </a:cubicBezTo>
                    <a:cubicBezTo>
                      <a:pt x="30" y="51"/>
                      <a:pt x="37" y="56"/>
                      <a:pt x="40" y="57"/>
                    </a:cubicBezTo>
                    <a:cubicBezTo>
                      <a:pt x="37" y="64"/>
                      <a:pt x="32" y="69"/>
                      <a:pt x="35" y="78"/>
                    </a:cubicBezTo>
                    <a:cubicBezTo>
                      <a:pt x="39" y="79"/>
                      <a:pt x="42" y="80"/>
                      <a:pt x="45" y="82"/>
                    </a:cubicBezTo>
                    <a:cubicBezTo>
                      <a:pt x="46" y="81"/>
                      <a:pt x="46" y="81"/>
                      <a:pt x="47" y="80"/>
                    </a:cubicBezTo>
                    <a:cubicBezTo>
                      <a:pt x="49" y="77"/>
                      <a:pt x="45" y="70"/>
                      <a:pt x="46" y="67"/>
                    </a:cubicBezTo>
                    <a:cubicBezTo>
                      <a:pt x="46" y="66"/>
                      <a:pt x="46" y="66"/>
                      <a:pt x="47" y="66"/>
                    </a:cubicBezTo>
                    <a:cubicBezTo>
                      <a:pt x="48" y="67"/>
                      <a:pt x="49" y="71"/>
                      <a:pt x="50" y="73"/>
                    </a:cubicBezTo>
                    <a:cubicBezTo>
                      <a:pt x="52" y="76"/>
                      <a:pt x="55" y="77"/>
                      <a:pt x="58" y="79"/>
                    </a:cubicBezTo>
                    <a:cubicBezTo>
                      <a:pt x="58" y="79"/>
                      <a:pt x="58" y="79"/>
                      <a:pt x="59" y="79"/>
                    </a:cubicBezTo>
                    <a:cubicBezTo>
                      <a:pt x="60" y="72"/>
                      <a:pt x="53" y="64"/>
                      <a:pt x="53" y="57"/>
                    </a:cubicBezTo>
                    <a:cubicBezTo>
                      <a:pt x="54" y="56"/>
                      <a:pt x="55" y="56"/>
                      <a:pt x="56" y="55"/>
                    </a:cubicBezTo>
                    <a:cubicBezTo>
                      <a:pt x="56" y="55"/>
                      <a:pt x="56" y="55"/>
                      <a:pt x="56" y="55"/>
                    </a:cubicBezTo>
                    <a:cubicBezTo>
                      <a:pt x="63" y="60"/>
                      <a:pt x="59" y="67"/>
                      <a:pt x="69" y="69"/>
                    </a:cubicBezTo>
                    <a:cubicBezTo>
                      <a:pt x="71" y="67"/>
                      <a:pt x="72" y="66"/>
                      <a:pt x="74" y="64"/>
                    </a:cubicBezTo>
                    <a:cubicBezTo>
                      <a:pt x="71" y="56"/>
                      <a:pt x="63" y="51"/>
                      <a:pt x="55" y="53"/>
                    </a:cubicBezTo>
                    <a:close/>
                    <a:moveTo>
                      <a:pt x="40" y="46"/>
                    </a:moveTo>
                    <a:cubicBezTo>
                      <a:pt x="40" y="46"/>
                      <a:pt x="39" y="46"/>
                      <a:pt x="39" y="46"/>
                    </a:cubicBezTo>
                    <a:cubicBezTo>
                      <a:pt x="38" y="46"/>
                      <a:pt x="38" y="46"/>
                      <a:pt x="38" y="46"/>
                    </a:cubicBezTo>
                    <a:cubicBezTo>
                      <a:pt x="38" y="45"/>
                      <a:pt x="37" y="45"/>
                      <a:pt x="37" y="44"/>
                    </a:cubicBezTo>
                    <a:cubicBezTo>
                      <a:pt x="39" y="41"/>
                      <a:pt x="42" y="39"/>
                      <a:pt x="44" y="36"/>
                    </a:cubicBezTo>
                    <a:cubicBezTo>
                      <a:pt x="45" y="36"/>
                      <a:pt x="45" y="35"/>
                      <a:pt x="46" y="35"/>
                    </a:cubicBezTo>
                    <a:cubicBezTo>
                      <a:pt x="46" y="35"/>
                      <a:pt x="46" y="35"/>
                      <a:pt x="46" y="35"/>
                    </a:cubicBezTo>
                    <a:cubicBezTo>
                      <a:pt x="44" y="39"/>
                      <a:pt x="42" y="42"/>
                      <a:pt x="40" y="4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18" name="ïşḻíḍe"/>
              <p:cNvSpPr/>
              <p:nvPr/>
            </p:nvSpPr>
            <p:spPr bwMode="auto">
              <a:xfrm>
                <a:off x="1882672" y="4669428"/>
                <a:ext cx="160338" cy="169863"/>
              </a:xfrm>
              <a:custGeom>
                <a:avLst/>
                <a:gdLst>
                  <a:gd name="T0" fmla="*/ 29 w 87"/>
                  <a:gd name="T1" fmla="*/ 8 h 92"/>
                  <a:gd name="T2" fmla="*/ 52 w 87"/>
                  <a:gd name="T3" fmla="*/ 17 h 92"/>
                  <a:gd name="T4" fmla="*/ 61 w 87"/>
                  <a:gd name="T5" fmla="*/ 16 h 92"/>
                  <a:gd name="T6" fmla="*/ 62 w 87"/>
                  <a:gd name="T7" fmla="*/ 17 h 92"/>
                  <a:gd name="T8" fmla="*/ 69 w 87"/>
                  <a:gd name="T9" fmla="*/ 42 h 92"/>
                  <a:gd name="T10" fmla="*/ 86 w 87"/>
                  <a:gd name="T11" fmla="*/ 35 h 92"/>
                  <a:gd name="T12" fmla="*/ 87 w 87"/>
                  <a:gd name="T13" fmla="*/ 39 h 92"/>
                  <a:gd name="T14" fmla="*/ 76 w 87"/>
                  <a:gd name="T15" fmla="*/ 55 h 92"/>
                  <a:gd name="T16" fmla="*/ 67 w 87"/>
                  <a:gd name="T17" fmla="*/ 76 h 92"/>
                  <a:gd name="T18" fmla="*/ 65 w 87"/>
                  <a:gd name="T19" fmla="*/ 74 h 92"/>
                  <a:gd name="T20" fmla="*/ 69 w 87"/>
                  <a:gd name="T21" fmla="*/ 53 h 92"/>
                  <a:gd name="T22" fmla="*/ 55 w 87"/>
                  <a:gd name="T23" fmla="*/ 40 h 92"/>
                  <a:gd name="T24" fmla="*/ 45 w 87"/>
                  <a:gd name="T25" fmla="*/ 44 h 92"/>
                  <a:gd name="T26" fmla="*/ 46 w 87"/>
                  <a:gd name="T27" fmla="*/ 89 h 92"/>
                  <a:gd name="T28" fmla="*/ 38 w 87"/>
                  <a:gd name="T29" fmla="*/ 92 h 92"/>
                  <a:gd name="T30" fmla="*/ 27 w 87"/>
                  <a:gd name="T31" fmla="*/ 68 h 92"/>
                  <a:gd name="T32" fmla="*/ 14 w 87"/>
                  <a:gd name="T33" fmla="*/ 70 h 92"/>
                  <a:gd name="T34" fmla="*/ 12 w 87"/>
                  <a:gd name="T35" fmla="*/ 65 h 92"/>
                  <a:gd name="T36" fmla="*/ 18 w 87"/>
                  <a:gd name="T37" fmla="*/ 58 h 92"/>
                  <a:gd name="T38" fmla="*/ 0 w 87"/>
                  <a:gd name="T39" fmla="*/ 42 h 92"/>
                  <a:gd name="T40" fmla="*/ 0 w 87"/>
                  <a:gd name="T41" fmla="*/ 42 h 92"/>
                  <a:gd name="T42" fmla="*/ 21 w 87"/>
                  <a:gd name="T43" fmla="*/ 39 h 92"/>
                  <a:gd name="T44" fmla="*/ 27 w 87"/>
                  <a:gd name="T45" fmla="*/ 48 h 92"/>
                  <a:gd name="T46" fmla="*/ 34 w 87"/>
                  <a:gd name="T47" fmla="*/ 52 h 92"/>
                  <a:gd name="T48" fmla="*/ 36 w 87"/>
                  <a:gd name="T49" fmla="*/ 62 h 92"/>
                  <a:gd name="T50" fmla="*/ 39 w 87"/>
                  <a:gd name="T51" fmla="*/ 44 h 92"/>
                  <a:gd name="T52" fmla="*/ 46 w 87"/>
                  <a:gd name="T53" fmla="*/ 28 h 92"/>
                  <a:gd name="T54" fmla="*/ 29 w 87"/>
                  <a:gd name="T55" fmla="*/ 8 h 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87" h="92">
                    <a:moveTo>
                      <a:pt x="29" y="8"/>
                    </a:moveTo>
                    <a:cubicBezTo>
                      <a:pt x="42" y="0"/>
                      <a:pt x="43" y="12"/>
                      <a:pt x="52" y="17"/>
                    </a:cubicBezTo>
                    <a:cubicBezTo>
                      <a:pt x="55" y="15"/>
                      <a:pt x="58" y="15"/>
                      <a:pt x="61" y="16"/>
                    </a:cubicBezTo>
                    <a:cubicBezTo>
                      <a:pt x="61" y="16"/>
                      <a:pt x="62" y="17"/>
                      <a:pt x="62" y="17"/>
                    </a:cubicBezTo>
                    <a:cubicBezTo>
                      <a:pt x="62" y="26"/>
                      <a:pt x="58" y="33"/>
                      <a:pt x="69" y="42"/>
                    </a:cubicBezTo>
                    <a:cubicBezTo>
                      <a:pt x="75" y="35"/>
                      <a:pt x="80" y="33"/>
                      <a:pt x="86" y="35"/>
                    </a:cubicBezTo>
                    <a:cubicBezTo>
                      <a:pt x="87" y="36"/>
                      <a:pt x="87" y="38"/>
                      <a:pt x="87" y="39"/>
                    </a:cubicBezTo>
                    <a:cubicBezTo>
                      <a:pt x="83" y="45"/>
                      <a:pt x="80" y="50"/>
                      <a:pt x="76" y="55"/>
                    </a:cubicBezTo>
                    <a:cubicBezTo>
                      <a:pt x="71" y="62"/>
                      <a:pt x="71" y="70"/>
                      <a:pt x="67" y="76"/>
                    </a:cubicBezTo>
                    <a:cubicBezTo>
                      <a:pt x="66" y="75"/>
                      <a:pt x="66" y="75"/>
                      <a:pt x="65" y="74"/>
                    </a:cubicBezTo>
                    <a:cubicBezTo>
                      <a:pt x="63" y="66"/>
                      <a:pt x="67" y="60"/>
                      <a:pt x="69" y="53"/>
                    </a:cubicBezTo>
                    <a:cubicBezTo>
                      <a:pt x="64" y="51"/>
                      <a:pt x="60" y="46"/>
                      <a:pt x="55" y="40"/>
                    </a:cubicBezTo>
                    <a:cubicBezTo>
                      <a:pt x="52" y="42"/>
                      <a:pt x="49" y="41"/>
                      <a:pt x="45" y="44"/>
                    </a:cubicBezTo>
                    <a:cubicBezTo>
                      <a:pt x="40" y="59"/>
                      <a:pt x="48" y="75"/>
                      <a:pt x="46" y="89"/>
                    </a:cubicBezTo>
                    <a:cubicBezTo>
                      <a:pt x="43" y="92"/>
                      <a:pt x="41" y="91"/>
                      <a:pt x="38" y="92"/>
                    </a:cubicBezTo>
                    <a:cubicBezTo>
                      <a:pt x="31" y="83"/>
                      <a:pt x="33" y="76"/>
                      <a:pt x="27" y="68"/>
                    </a:cubicBezTo>
                    <a:cubicBezTo>
                      <a:pt x="23" y="71"/>
                      <a:pt x="18" y="71"/>
                      <a:pt x="14" y="70"/>
                    </a:cubicBezTo>
                    <a:cubicBezTo>
                      <a:pt x="12" y="68"/>
                      <a:pt x="12" y="67"/>
                      <a:pt x="12" y="65"/>
                    </a:cubicBezTo>
                    <a:cubicBezTo>
                      <a:pt x="14" y="63"/>
                      <a:pt x="16" y="60"/>
                      <a:pt x="18" y="58"/>
                    </a:cubicBezTo>
                    <a:cubicBezTo>
                      <a:pt x="13" y="49"/>
                      <a:pt x="3" y="48"/>
                      <a:pt x="0" y="42"/>
                    </a:cubicBezTo>
                    <a:cubicBezTo>
                      <a:pt x="0" y="42"/>
                      <a:pt x="0" y="42"/>
                      <a:pt x="0" y="42"/>
                    </a:cubicBezTo>
                    <a:cubicBezTo>
                      <a:pt x="6" y="39"/>
                      <a:pt x="15" y="35"/>
                      <a:pt x="21" y="39"/>
                    </a:cubicBezTo>
                    <a:cubicBezTo>
                      <a:pt x="23" y="42"/>
                      <a:pt x="25" y="45"/>
                      <a:pt x="27" y="48"/>
                    </a:cubicBezTo>
                    <a:cubicBezTo>
                      <a:pt x="29" y="50"/>
                      <a:pt x="31" y="51"/>
                      <a:pt x="34" y="52"/>
                    </a:cubicBezTo>
                    <a:cubicBezTo>
                      <a:pt x="34" y="55"/>
                      <a:pt x="35" y="58"/>
                      <a:pt x="36" y="62"/>
                    </a:cubicBezTo>
                    <a:cubicBezTo>
                      <a:pt x="39" y="56"/>
                      <a:pt x="38" y="50"/>
                      <a:pt x="39" y="44"/>
                    </a:cubicBezTo>
                    <a:cubicBezTo>
                      <a:pt x="42" y="39"/>
                      <a:pt x="44" y="34"/>
                      <a:pt x="46" y="28"/>
                    </a:cubicBezTo>
                    <a:cubicBezTo>
                      <a:pt x="42" y="22"/>
                      <a:pt x="31" y="15"/>
                      <a:pt x="29" y="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19" name="íṩľíḑè"/>
              <p:cNvSpPr/>
              <p:nvPr/>
            </p:nvSpPr>
            <p:spPr bwMode="auto">
              <a:xfrm>
                <a:off x="2243034" y="6066428"/>
                <a:ext cx="22225" cy="25400"/>
              </a:xfrm>
              <a:custGeom>
                <a:avLst/>
                <a:gdLst>
                  <a:gd name="T0" fmla="*/ 0 w 14"/>
                  <a:gd name="T1" fmla="*/ 12 h 16"/>
                  <a:gd name="T2" fmla="*/ 2 w 14"/>
                  <a:gd name="T3" fmla="*/ 0 h 16"/>
                  <a:gd name="T4" fmla="*/ 14 w 14"/>
                  <a:gd name="T5" fmla="*/ 4 h 16"/>
                  <a:gd name="T6" fmla="*/ 11 w 14"/>
                  <a:gd name="T7" fmla="*/ 16 h 16"/>
                  <a:gd name="T8" fmla="*/ 0 w 14"/>
                  <a:gd name="T9" fmla="*/ 12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4" h="16">
                    <a:moveTo>
                      <a:pt x="0" y="12"/>
                    </a:moveTo>
                    <a:lnTo>
                      <a:pt x="2" y="0"/>
                    </a:lnTo>
                    <a:lnTo>
                      <a:pt x="14" y="4"/>
                    </a:lnTo>
                    <a:lnTo>
                      <a:pt x="11" y="16"/>
                    </a:lnTo>
                    <a:lnTo>
                      <a:pt x="0" y="1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20" name="îṣḷïḓê"/>
              <p:cNvSpPr/>
              <p:nvPr/>
            </p:nvSpPr>
            <p:spPr bwMode="auto">
              <a:xfrm>
                <a:off x="2292247" y="6042615"/>
                <a:ext cx="49213" cy="100013"/>
              </a:xfrm>
              <a:custGeom>
                <a:avLst/>
                <a:gdLst>
                  <a:gd name="T0" fmla="*/ 17 w 27"/>
                  <a:gd name="T1" fmla="*/ 54 h 54"/>
                  <a:gd name="T2" fmla="*/ 7 w 27"/>
                  <a:gd name="T3" fmla="*/ 52 h 54"/>
                  <a:gd name="T4" fmla="*/ 14 w 27"/>
                  <a:gd name="T5" fmla="*/ 15 h 54"/>
                  <a:gd name="T6" fmla="*/ 0 w 27"/>
                  <a:gd name="T7" fmla="*/ 20 h 54"/>
                  <a:gd name="T8" fmla="*/ 1 w 27"/>
                  <a:gd name="T9" fmla="*/ 11 h 54"/>
                  <a:gd name="T10" fmla="*/ 11 w 27"/>
                  <a:gd name="T11" fmla="*/ 7 h 54"/>
                  <a:gd name="T12" fmla="*/ 18 w 27"/>
                  <a:gd name="T13" fmla="*/ 0 h 54"/>
                  <a:gd name="T14" fmla="*/ 27 w 27"/>
                  <a:gd name="T15" fmla="*/ 2 h 54"/>
                  <a:gd name="T16" fmla="*/ 17 w 27"/>
                  <a:gd name="T17" fmla="*/ 54 h 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7" h="54">
                    <a:moveTo>
                      <a:pt x="17" y="54"/>
                    </a:moveTo>
                    <a:cubicBezTo>
                      <a:pt x="7" y="52"/>
                      <a:pt x="7" y="52"/>
                      <a:pt x="7" y="52"/>
                    </a:cubicBezTo>
                    <a:cubicBezTo>
                      <a:pt x="14" y="15"/>
                      <a:pt x="14" y="15"/>
                      <a:pt x="14" y="15"/>
                    </a:cubicBezTo>
                    <a:cubicBezTo>
                      <a:pt x="10" y="17"/>
                      <a:pt x="5" y="19"/>
                      <a:pt x="0" y="20"/>
                    </a:cubicBezTo>
                    <a:cubicBezTo>
                      <a:pt x="1" y="11"/>
                      <a:pt x="1" y="11"/>
                      <a:pt x="1" y="11"/>
                    </a:cubicBezTo>
                    <a:cubicBezTo>
                      <a:pt x="4" y="10"/>
                      <a:pt x="7" y="9"/>
                      <a:pt x="11" y="7"/>
                    </a:cubicBezTo>
                    <a:cubicBezTo>
                      <a:pt x="14" y="6"/>
                      <a:pt x="17" y="3"/>
                      <a:pt x="18" y="0"/>
                    </a:cubicBezTo>
                    <a:cubicBezTo>
                      <a:pt x="27" y="2"/>
                      <a:pt x="27" y="2"/>
                      <a:pt x="27" y="2"/>
                    </a:cubicBezTo>
                    <a:lnTo>
                      <a:pt x="17" y="5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21" name="i$ḻîḓé"/>
              <p:cNvSpPr/>
              <p:nvPr/>
            </p:nvSpPr>
            <p:spPr bwMode="auto">
              <a:xfrm>
                <a:off x="2363684" y="6052140"/>
                <a:ext cx="66675" cy="100013"/>
              </a:xfrm>
              <a:custGeom>
                <a:avLst/>
                <a:gdLst>
                  <a:gd name="T0" fmla="*/ 0 w 36"/>
                  <a:gd name="T1" fmla="*/ 40 h 54"/>
                  <a:gd name="T2" fmla="*/ 10 w 36"/>
                  <a:gd name="T3" fmla="*/ 39 h 54"/>
                  <a:gd name="T4" fmla="*/ 11 w 36"/>
                  <a:gd name="T5" fmla="*/ 44 h 54"/>
                  <a:gd name="T6" fmla="*/ 15 w 36"/>
                  <a:gd name="T7" fmla="*/ 46 h 54"/>
                  <a:gd name="T8" fmla="*/ 21 w 36"/>
                  <a:gd name="T9" fmla="*/ 43 h 54"/>
                  <a:gd name="T10" fmla="*/ 24 w 36"/>
                  <a:gd name="T11" fmla="*/ 31 h 54"/>
                  <a:gd name="T12" fmla="*/ 15 w 36"/>
                  <a:gd name="T13" fmla="*/ 35 h 54"/>
                  <a:gd name="T14" fmla="*/ 4 w 36"/>
                  <a:gd name="T15" fmla="*/ 30 h 54"/>
                  <a:gd name="T16" fmla="*/ 0 w 36"/>
                  <a:gd name="T17" fmla="*/ 17 h 54"/>
                  <a:gd name="T18" fmla="*/ 6 w 36"/>
                  <a:gd name="T19" fmla="*/ 4 h 54"/>
                  <a:gd name="T20" fmla="*/ 19 w 36"/>
                  <a:gd name="T21" fmla="*/ 0 h 54"/>
                  <a:gd name="T22" fmla="*/ 31 w 36"/>
                  <a:gd name="T23" fmla="*/ 7 h 54"/>
                  <a:gd name="T24" fmla="*/ 35 w 36"/>
                  <a:gd name="T25" fmla="*/ 28 h 54"/>
                  <a:gd name="T26" fmla="*/ 28 w 36"/>
                  <a:gd name="T27" fmla="*/ 49 h 54"/>
                  <a:gd name="T28" fmla="*/ 14 w 36"/>
                  <a:gd name="T29" fmla="*/ 54 h 54"/>
                  <a:gd name="T30" fmla="*/ 4 w 36"/>
                  <a:gd name="T31" fmla="*/ 50 h 54"/>
                  <a:gd name="T32" fmla="*/ 0 w 36"/>
                  <a:gd name="T33" fmla="*/ 40 h 54"/>
                  <a:gd name="T34" fmla="*/ 24 w 36"/>
                  <a:gd name="T35" fmla="*/ 19 h 54"/>
                  <a:gd name="T36" fmla="*/ 23 w 36"/>
                  <a:gd name="T37" fmla="*/ 11 h 54"/>
                  <a:gd name="T38" fmla="*/ 18 w 36"/>
                  <a:gd name="T39" fmla="*/ 8 h 54"/>
                  <a:gd name="T40" fmla="*/ 13 w 36"/>
                  <a:gd name="T41" fmla="*/ 10 h 54"/>
                  <a:gd name="T42" fmla="*/ 10 w 36"/>
                  <a:gd name="T43" fmla="*/ 17 h 54"/>
                  <a:gd name="T44" fmla="*/ 12 w 36"/>
                  <a:gd name="T45" fmla="*/ 25 h 54"/>
                  <a:gd name="T46" fmla="*/ 17 w 36"/>
                  <a:gd name="T47" fmla="*/ 28 h 54"/>
                  <a:gd name="T48" fmla="*/ 22 w 36"/>
                  <a:gd name="T49" fmla="*/ 26 h 54"/>
                  <a:gd name="T50" fmla="*/ 24 w 36"/>
                  <a:gd name="T51" fmla="*/ 19 h 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6" h="54">
                    <a:moveTo>
                      <a:pt x="0" y="40"/>
                    </a:moveTo>
                    <a:cubicBezTo>
                      <a:pt x="10" y="39"/>
                      <a:pt x="10" y="39"/>
                      <a:pt x="10" y="39"/>
                    </a:cubicBezTo>
                    <a:cubicBezTo>
                      <a:pt x="10" y="41"/>
                      <a:pt x="10" y="43"/>
                      <a:pt x="11" y="44"/>
                    </a:cubicBezTo>
                    <a:cubicBezTo>
                      <a:pt x="12" y="45"/>
                      <a:pt x="14" y="46"/>
                      <a:pt x="15" y="46"/>
                    </a:cubicBezTo>
                    <a:cubicBezTo>
                      <a:pt x="17" y="46"/>
                      <a:pt x="19" y="45"/>
                      <a:pt x="21" y="43"/>
                    </a:cubicBezTo>
                    <a:cubicBezTo>
                      <a:pt x="22" y="41"/>
                      <a:pt x="24" y="37"/>
                      <a:pt x="24" y="31"/>
                    </a:cubicBezTo>
                    <a:cubicBezTo>
                      <a:pt x="22" y="34"/>
                      <a:pt x="18" y="35"/>
                      <a:pt x="15" y="35"/>
                    </a:cubicBezTo>
                    <a:cubicBezTo>
                      <a:pt x="10" y="35"/>
                      <a:pt x="7" y="33"/>
                      <a:pt x="4" y="30"/>
                    </a:cubicBezTo>
                    <a:cubicBezTo>
                      <a:pt x="1" y="26"/>
                      <a:pt x="0" y="22"/>
                      <a:pt x="0" y="17"/>
                    </a:cubicBezTo>
                    <a:cubicBezTo>
                      <a:pt x="1" y="11"/>
                      <a:pt x="3" y="7"/>
                      <a:pt x="6" y="4"/>
                    </a:cubicBezTo>
                    <a:cubicBezTo>
                      <a:pt x="10" y="1"/>
                      <a:pt x="14" y="0"/>
                      <a:pt x="19" y="0"/>
                    </a:cubicBezTo>
                    <a:cubicBezTo>
                      <a:pt x="24" y="0"/>
                      <a:pt x="28" y="3"/>
                      <a:pt x="31" y="7"/>
                    </a:cubicBezTo>
                    <a:cubicBezTo>
                      <a:pt x="35" y="12"/>
                      <a:pt x="36" y="19"/>
                      <a:pt x="35" y="28"/>
                    </a:cubicBezTo>
                    <a:cubicBezTo>
                      <a:pt x="34" y="38"/>
                      <a:pt x="32" y="44"/>
                      <a:pt x="28" y="49"/>
                    </a:cubicBezTo>
                    <a:cubicBezTo>
                      <a:pt x="24" y="53"/>
                      <a:pt x="20" y="54"/>
                      <a:pt x="14" y="54"/>
                    </a:cubicBezTo>
                    <a:cubicBezTo>
                      <a:pt x="10" y="54"/>
                      <a:pt x="7" y="52"/>
                      <a:pt x="4" y="50"/>
                    </a:cubicBezTo>
                    <a:cubicBezTo>
                      <a:pt x="2" y="48"/>
                      <a:pt x="0" y="44"/>
                      <a:pt x="0" y="40"/>
                    </a:cubicBezTo>
                    <a:close/>
                    <a:moveTo>
                      <a:pt x="24" y="19"/>
                    </a:moveTo>
                    <a:cubicBezTo>
                      <a:pt x="25" y="16"/>
                      <a:pt x="24" y="13"/>
                      <a:pt x="23" y="11"/>
                    </a:cubicBezTo>
                    <a:cubicBezTo>
                      <a:pt x="21" y="10"/>
                      <a:pt x="20" y="9"/>
                      <a:pt x="18" y="8"/>
                    </a:cubicBezTo>
                    <a:cubicBezTo>
                      <a:pt x="16" y="8"/>
                      <a:pt x="14" y="9"/>
                      <a:pt x="13" y="10"/>
                    </a:cubicBezTo>
                    <a:cubicBezTo>
                      <a:pt x="11" y="12"/>
                      <a:pt x="11" y="14"/>
                      <a:pt x="10" y="17"/>
                    </a:cubicBezTo>
                    <a:cubicBezTo>
                      <a:pt x="10" y="21"/>
                      <a:pt x="11" y="23"/>
                      <a:pt x="12" y="25"/>
                    </a:cubicBezTo>
                    <a:cubicBezTo>
                      <a:pt x="13" y="27"/>
                      <a:pt x="15" y="28"/>
                      <a:pt x="17" y="28"/>
                    </a:cubicBezTo>
                    <a:cubicBezTo>
                      <a:pt x="19" y="28"/>
                      <a:pt x="20" y="27"/>
                      <a:pt x="22" y="26"/>
                    </a:cubicBezTo>
                    <a:cubicBezTo>
                      <a:pt x="23" y="24"/>
                      <a:pt x="24" y="22"/>
                      <a:pt x="24" y="1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22" name="îṧľîḋé"/>
              <p:cNvSpPr/>
              <p:nvPr/>
            </p:nvSpPr>
            <p:spPr bwMode="auto">
              <a:xfrm>
                <a:off x="2446234" y="6053728"/>
                <a:ext cx="66675" cy="100013"/>
              </a:xfrm>
              <a:custGeom>
                <a:avLst/>
                <a:gdLst>
                  <a:gd name="T0" fmla="*/ 0 w 36"/>
                  <a:gd name="T1" fmla="*/ 40 h 54"/>
                  <a:gd name="T2" fmla="*/ 10 w 36"/>
                  <a:gd name="T3" fmla="*/ 39 h 54"/>
                  <a:gd name="T4" fmla="*/ 13 w 36"/>
                  <a:gd name="T5" fmla="*/ 44 h 54"/>
                  <a:gd name="T6" fmla="*/ 18 w 36"/>
                  <a:gd name="T7" fmla="*/ 46 h 54"/>
                  <a:gd name="T8" fmla="*/ 23 w 36"/>
                  <a:gd name="T9" fmla="*/ 43 h 54"/>
                  <a:gd name="T10" fmla="*/ 25 w 36"/>
                  <a:gd name="T11" fmla="*/ 35 h 54"/>
                  <a:gd name="T12" fmla="*/ 23 w 36"/>
                  <a:gd name="T13" fmla="*/ 28 h 54"/>
                  <a:gd name="T14" fmla="*/ 17 w 36"/>
                  <a:gd name="T15" fmla="*/ 26 h 54"/>
                  <a:gd name="T16" fmla="*/ 9 w 36"/>
                  <a:gd name="T17" fmla="*/ 30 h 54"/>
                  <a:gd name="T18" fmla="*/ 1 w 36"/>
                  <a:gd name="T19" fmla="*/ 29 h 54"/>
                  <a:gd name="T20" fmla="*/ 5 w 36"/>
                  <a:gd name="T21" fmla="*/ 1 h 54"/>
                  <a:gd name="T22" fmla="*/ 32 w 36"/>
                  <a:gd name="T23" fmla="*/ 0 h 54"/>
                  <a:gd name="T24" fmla="*/ 32 w 36"/>
                  <a:gd name="T25" fmla="*/ 10 h 54"/>
                  <a:gd name="T26" fmla="*/ 13 w 36"/>
                  <a:gd name="T27" fmla="*/ 10 h 54"/>
                  <a:gd name="T28" fmla="*/ 12 w 36"/>
                  <a:gd name="T29" fmla="*/ 19 h 54"/>
                  <a:gd name="T30" fmla="*/ 19 w 36"/>
                  <a:gd name="T31" fmla="*/ 17 h 54"/>
                  <a:gd name="T32" fmla="*/ 30 w 36"/>
                  <a:gd name="T33" fmla="*/ 22 h 54"/>
                  <a:gd name="T34" fmla="*/ 36 w 36"/>
                  <a:gd name="T35" fmla="*/ 34 h 54"/>
                  <a:gd name="T36" fmla="*/ 32 w 36"/>
                  <a:gd name="T37" fmla="*/ 46 h 54"/>
                  <a:gd name="T38" fmla="*/ 18 w 36"/>
                  <a:gd name="T39" fmla="*/ 54 h 54"/>
                  <a:gd name="T40" fmla="*/ 6 w 36"/>
                  <a:gd name="T41" fmla="*/ 50 h 54"/>
                  <a:gd name="T42" fmla="*/ 0 w 36"/>
                  <a:gd name="T43" fmla="*/ 40 h 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36" h="54">
                    <a:moveTo>
                      <a:pt x="0" y="40"/>
                    </a:moveTo>
                    <a:cubicBezTo>
                      <a:pt x="10" y="39"/>
                      <a:pt x="10" y="39"/>
                      <a:pt x="10" y="39"/>
                    </a:cubicBezTo>
                    <a:cubicBezTo>
                      <a:pt x="11" y="41"/>
                      <a:pt x="11" y="43"/>
                      <a:pt x="13" y="44"/>
                    </a:cubicBezTo>
                    <a:cubicBezTo>
                      <a:pt x="14" y="45"/>
                      <a:pt x="16" y="46"/>
                      <a:pt x="18" y="46"/>
                    </a:cubicBezTo>
                    <a:cubicBezTo>
                      <a:pt x="20" y="46"/>
                      <a:pt x="22" y="45"/>
                      <a:pt x="23" y="43"/>
                    </a:cubicBezTo>
                    <a:cubicBezTo>
                      <a:pt x="25" y="41"/>
                      <a:pt x="25" y="38"/>
                      <a:pt x="25" y="35"/>
                    </a:cubicBezTo>
                    <a:cubicBezTo>
                      <a:pt x="25" y="32"/>
                      <a:pt x="24" y="29"/>
                      <a:pt x="23" y="28"/>
                    </a:cubicBezTo>
                    <a:cubicBezTo>
                      <a:pt x="21" y="26"/>
                      <a:pt x="19" y="25"/>
                      <a:pt x="17" y="26"/>
                    </a:cubicBezTo>
                    <a:cubicBezTo>
                      <a:pt x="14" y="26"/>
                      <a:pt x="11" y="27"/>
                      <a:pt x="9" y="30"/>
                    </a:cubicBezTo>
                    <a:cubicBezTo>
                      <a:pt x="1" y="29"/>
                      <a:pt x="1" y="29"/>
                      <a:pt x="1" y="29"/>
                    </a:cubicBezTo>
                    <a:cubicBezTo>
                      <a:pt x="5" y="1"/>
                      <a:pt x="5" y="1"/>
                      <a:pt x="5" y="1"/>
                    </a:cubicBezTo>
                    <a:cubicBezTo>
                      <a:pt x="32" y="0"/>
                      <a:pt x="32" y="0"/>
                      <a:pt x="32" y="0"/>
                    </a:cubicBezTo>
                    <a:cubicBezTo>
                      <a:pt x="32" y="10"/>
                      <a:pt x="32" y="10"/>
                      <a:pt x="32" y="10"/>
                    </a:cubicBezTo>
                    <a:cubicBezTo>
                      <a:pt x="13" y="10"/>
                      <a:pt x="13" y="10"/>
                      <a:pt x="13" y="10"/>
                    </a:cubicBezTo>
                    <a:cubicBezTo>
                      <a:pt x="12" y="19"/>
                      <a:pt x="12" y="19"/>
                      <a:pt x="12" y="19"/>
                    </a:cubicBezTo>
                    <a:cubicBezTo>
                      <a:pt x="14" y="18"/>
                      <a:pt x="16" y="17"/>
                      <a:pt x="19" y="17"/>
                    </a:cubicBezTo>
                    <a:cubicBezTo>
                      <a:pt x="23" y="17"/>
                      <a:pt x="27" y="19"/>
                      <a:pt x="30" y="22"/>
                    </a:cubicBezTo>
                    <a:cubicBezTo>
                      <a:pt x="34" y="25"/>
                      <a:pt x="35" y="29"/>
                      <a:pt x="36" y="34"/>
                    </a:cubicBezTo>
                    <a:cubicBezTo>
                      <a:pt x="36" y="39"/>
                      <a:pt x="35" y="43"/>
                      <a:pt x="32" y="46"/>
                    </a:cubicBezTo>
                    <a:cubicBezTo>
                      <a:pt x="29" y="51"/>
                      <a:pt x="24" y="54"/>
                      <a:pt x="18" y="54"/>
                    </a:cubicBezTo>
                    <a:cubicBezTo>
                      <a:pt x="13" y="54"/>
                      <a:pt x="9" y="53"/>
                      <a:pt x="6" y="50"/>
                    </a:cubicBezTo>
                    <a:cubicBezTo>
                      <a:pt x="3" y="48"/>
                      <a:pt x="1" y="44"/>
                      <a:pt x="0" y="4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23" name="i$ḻïḑê"/>
              <p:cNvSpPr/>
              <p:nvPr/>
            </p:nvSpPr>
            <p:spPr bwMode="auto">
              <a:xfrm>
                <a:off x="2522434" y="6045790"/>
                <a:ext cx="74613" cy="103188"/>
              </a:xfrm>
              <a:custGeom>
                <a:avLst/>
                <a:gdLst>
                  <a:gd name="T0" fmla="*/ 39 w 40"/>
                  <a:gd name="T1" fmla="*/ 42 h 56"/>
                  <a:gd name="T2" fmla="*/ 40 w 40"/>
                  <a:gd name="T3" fmla="*/ 51 h 56"/>
                  <a:gd name="T4" fmla="*/ 5 w 40"/>
                  <a:gd name="T5" fmla="*/ 56 h 56"/>
                  <a:gd name="T6" fmla="*/ 7 w 40"/>
                  <a:gd name="T7" fmla="*/ 46 h 56"/>
                  <a:gd name="T8" fmla="*/ 16 w 40"/>
                  <a:gd name="T9" fmla="*/ 32 h 56"/>
                  <a:gd name="T10" fmla="*/ 23 w 40"/>
                  <a:gd name="T11" fmla="*/ 22 h 56"/>
                  <a:gd name="T12" fmla="*/ 24 w 40"/>
                  <a:gd name="T13" fmla="*/ 15 h 56"/>
                  <a:gd name="T14" fmla="*/ 22 w 40"/>
                  <a:gd name="T15" fmla="*/ 10 h 56"/>
                  <a:gd name="T16" fmla="*/ 17 w 40"/>
                  <a:gd name="T17" fmla="*/ 9 h 56"/>
                  <a:gd name="T18" fmla="*/ 12 w 40"/>
                  <a:gd name="T19" fmla="*/ 12 h 56"/>
                  <a:gd name="T20" fmla="*/ 11 w 40"/>
                  <a:gd name="T21" fmla="*/ 19 h 56"/>
                  <a:gd name="T22" fmla="*/ 1 w 40"/>
                  <a:gd name="T23" fmla="*/ 19 h 56"/>
                  <a:gd name="T24" fmla="*/ 4 w 40"/>
                  <a:gd name="T25" fmla="*/ 6 h 56"/>
                  <a:gd name="T26" fmla="*/ 16 w 40"/>
                  <a:gd name="T27" fmla="*/ 1 h 56"/>
                  <a:gd name="T28" fmla="*/ 28 w 40"/>
                  <a:gd name="T29" fmla="*/ 3 h 56"/>
                  <a:gd name="T30" fmla="*/ 34 w 40"/>
                  <a:gd name="T31" fmla="*/ 13 h 56"/>
                  <a:gd name="T32" fmla="*/ 34 w 40"/>
                  <a:gd name="T33" fmla="*/ 20 h 56"/>
                  <a:gd name="T34" fmla="*/ 31 w 40"/>
                  <a:gd name="T35" fmla="*/ 27 h 56"/>
                  <a:gd name="T36" fmla="*/ 26 w 40"/>
                  <a:gd name="T37" fmla="*/ 35 h 56"/>
                  <a:gd name="T38" fmla="*/ 20 w 40"/>
                  <a:gd name="T39" fmla="*/ 42 h 56"/>
                  <a:gd name="T40" fmla="*/ 19 w 40"/>
                  <a:gd name="T41" fmla="*/ 45 h 56"/>
                  <a:gd name="T42" fmla="*/ 39 w 40"/>
                  <a:gd name="T43" fmla="*/ 42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40" h="56">
                    <a:moveTo>
                      <a:pt x="39" y="42"/>
                    </a:moveTo>
                    <a:cubicBezTo>
                      <a:pt x="40" y="51"/>
                      <a:pt x="40" y="51"/>
                      <a:pt x="40" y="51"/>
                    </a:cubicBezTo>
                    <a:cubicBezTo>
                      <a:pt x="5" y="56"/>
                      <a:pt x="5" y="56"/>
                      <a:pt x="5" y="56"/>
                    </a:cubicBezTo>
                    <a:cubicBezTo>
                      <a:pt x="5" y="53"/>
                      <a:pt x="5" y="49"/>
                      <a:pt x="7" y="46"/>
                    </a:cubicBezTo>
                    <a:cubicBezTo>
                      <a:pt x="8" y="42"/>
                      <a:pt x="11" y="38"/>
                      <a:pt x="16" y="32"/>
                    </a:cubicBezTo>
                    <a:cubicBezTo>
                      <a:pt x="20" y="27"/>
                      <a:pt x="22" y="23"/>
                      <a:pt x="23" y="22"/>
                    </a:cubicBezTo>
                    <a:cubicBezTo>
                      <a:pt x="24" y="19"/>
                      <a:pt x="25" y="17"/>
                      <a:pt x="24" y="15"/>
                    </a:cubicBezTo>
                    <a:cubicBezTo>
                      <a:pt x="24" y="13"/>
                      <a:pt x="23" y="11"/>
                      <a:pt x="22" y="10"/>
                    </a:cubicBezTo>
                    <a:cubicBezTo>
                      <a:pt x="21" y="9"/>
                      <a:pt x="19" y="9"/>
                      <a:pt x="17" y="9"/>
                    </a:cubicBezTo>
                    <a:cubicBezTo>
                      <a:pt x="15" y="10"/>
                      <a:pt x="13" y="11"/>
                      <a:pt x="12" y="12"/>
                    </a:cubicBezTo>
                    <a:cubicBezTo>
                      <a:pt x="11" y="13"/>
                      <a:pt x="10" y="16"/>
                      <a:pt x="11" y="19"/>
                    </a:cubicBezTo>
                    <a:cubicBezTo>
                      <a:pt x="1" y="19"/>
                      <a:pt x="1" y="19"/>
                      <a:pt x="1" y="19"/>
                    </a:cubicBezTo>
                    <a:cubicBezTo>
                      <a:pt x="0" y="13"/>
                      <a:pt x="2" y="9"/>
                      <a:pt x="4" y="6"/>
                    </a:cubicBezTo>
                    <a:cubicBezTo>
                      <a:pt x="7" y="3"/>
                      <a:pt x="11" y="2"/>
                      <a:pt x="16" y="1"/>
                    </a:cubicBezTo>
                    <a:cubicBezTo>
                      <a:pt x="21" y="0"/>
                      <a:pt x="25" y="1"/>
                      <a:pt x="28" y="3"/>
                    </a:cubicBezTo>
                    <a:cubicBezTo>
                      <a:pt x="32" y="6"/>
                      <a:pt x="34" y="9"/>
                      <a:pt x="34" y="13"/>
                    </a:cubicBezTo>
                    <a:cubicBezTo>
                      <a:pt x="35" y="15"/>
                      <a:pt x="35" y="18"/>
                      <a:pt x="34" y="20"/>
                    </a:cubicBezTo>
                    <a:cubicBezTo>
                      <a:pt x="34" y="22"/>
                      <a:pt x="33" y="25"/>
                      <a:pt x="31" y="27"/>
                    </a:cubicBezTo>
                    <a:cubicBezTo>
                      <a:pt x="30" y="29"/>
                      <a:pt x="28" y="32"/>
                      <a:pt x="26" y="35"/>
                    </a:cubicBezTo>
                    <a:cubicBezTo>
                      <a:pt x="23" y="38"/>
                      <a:pt x="21" y="41"/>
                      <a:pt x="20" y="42"/>
                    </a:cubicBezTo>
                    <a:cubicBezTo>
                      <a:pt x="20" y="43"/>
                      <a:pt x="19" y="44"/>
                      <a:pt x="19" y="45"/>
                    </a:cubicBezTo>
                    <a:lnTo>
                      <a:pt x="39" y="4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24" name="íṧlíḍe"/>
              <p:cNvSpPr/>
              <p:nvPr/>
            </p:nvSpPr>
            <p:spPr bwMode="auto">
              <a:xfrm>
                <a:off x="2611334" y="6072778"/>
                <a:ext cx="22225" cy="23813"/>
              </a:xfrm>
              <a:custGeom>
                <a:avLst/>
                <a:gdLst>
                  <a:gd name="T0" fmla="*/ 3 w 14"/>
                  <a:gd name="T1" fmla="*/ 15 h 15"/>
                  <a:gd name="T2" fmla="*/ 0 w 14"/>
                  <a:gd name="T3" fmla="*/ 3 h 15"/>
                  <a:gd name="T4" fmla="*/ 11 w 14"/>
                  <a:gd name="T5" fmla="*/ 0 h 15"/>
                  <a:gd name="T6" fmla="*/ 14 w 14"/>
                  <a:gd name="T7" fmla="*/ 12 h 15"/>
                  <a:gd name="T8" fmla="*/ 3 w 14"/>
                  <a:gd name="T9" fmla="*/ 15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4" h="15">
                    <a:moveTo>
                      <a:pt x="3" y="15"/>
                    </a:moveTo>
                    <a:lnTo>
                      <a:pt x="0" y="3"/>
                    </a:lnTo>
                    <a:lnTo>
                      <a:pt x="11" y="0"/>
                    </a:lnTo>
                    <a:lnTo>
                      <a:pt x="14" y="12"/>
                    </a:lnTo>
                    <a:lnTo>
                      <a:pt x="3" y="1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25" name="îŝľîḓê"/>
              <p:cNvSpPr/>
              <p:nvPr/>
            </p:nvSpPr>
            <p:spPr bwMode="auto">
              <a:xfrm>
                <a:off x="2108097" y="5261565"/>
                <a:ext cx="141288" cy="257175"/>
              </a:xfrm>
              <a:custGeom>
                <a:avLst/>
                <a:gdLst>
                  <a:gd name="T0" fmla="*/ 12 w 77"/>
                  <a:gd name="T1" fmla="*/ 25 h 139"/>
                  <a:gd name="T2" fmla="*/ 9 w 77"/>
                  <a:gd name="T3" fmla="*/ 21 h 139"/>
                  <a:gd name="T4" fmla="*/ 12 w 77"/>
                  <a:gd name="T5" fmla="*/ 17 h 139"/>
                  <a:gd name="T6" fmla="*/ 39 w 77"/>
                  <a:gd name="T7" fmla="*/ 21 h 139"/>
                  <a:gd name="T8" fmla="*/ 46 w 77"/>
                  <a:gd name="T9" fmla="*/ 36 h 139"/>
                  <a:gd name="T10" fmla="*/ 46 w 77"/>
                  <a:gd name="T11" fmla="*/ 39 h 139"/>
                  <a:gd name="T12" fmla="*/ 61 w 77"/>
                  <a:gd name="T13" fmla="*/ 33 h 139"/>
                  <a:gd name="T14" fmla="*/ 57 w 77"/>
                  <a:gd name="T15" fmla="*/ 16 h 139"/>
                  <a:gd name="T16" fmla="*/ 35 w 77"/>
                  <a:gd name="T17" fmla="*/ 9 h 139"/>
                  <a:gd name="T18" fmla="*/ 27 w 77"/>
                  <a:gd name="T19" fmla="*/ 3 h 139"/>
                  <a:gd name="T20" fmla="*/ 32 w 77"/>
                  <a:gd name="T21" fmla="*/ 0 h 139"/>
                  <a:gd name="T22" fmla="*/ 61 w 77"/>
                  <a:gd name="T23" fmla="*/ 9 h 139"/>
                  <a:gd name="T24" fmla="*/ 72 w 77"/>
                  <a:gd name="T25" fmla="*/ 30 h 139"/>
                  <a:gd name="T26" fmla="*/ 48 w 77"/>
                  <a:gd name="T27" fmla="*/ 45 h 139"/>
                  <a:gd name="T28" fmla="*/ 45 w 77"/>
                  <a:gd name="T29" fmla="*/ 46 h 139"/>
                  <a:gd name="T30" fmla="*/ 45 w 77"/>
                  <a:gd name="T31" fmla="*/ 54 h 139"/>
                  <a:gd name="T32" fmla="*/ 59 w 77"/>
                  <a:gd name="T33" fmla="*/ 61 h 139"/>
                  <a:gd name="T34" fmla="*/ 77 w 77"/>
                  <a:gd name="T35" fmla="*/ 80 h 139"/>
                  <a:gd name="T36" fmla="*/ 75 w 77"/>
                  <a:gd name="T37" fmla="*/ 84 h 139"/>
                  <a:gd name="T38" fmla="*/ 71 w 77"/>
                  <a:gd name="T39" fmla="*/ 83 h 139"/>
                  <a:gd name="T40" fmla="*/ 59 w 77"/>
                  <a:gd name="T41" fmla="*/ 70 h 139"/>
                  <a:gd name="T42" fmla="*/ 45 w 77"/>
                  <a:gd name="T43" fmla="*/ 63 h 139"/>
                  <a:gd name="T44" fmla="*/ 45 w 77"/>
                  <a:gd name="T45" fmla="*/ 77 h 139"/>
                  <a:gd name="T46" fmla="*/ 53 w 77"/>
                  <a:gd name="T47" fmla="*/ 83 h 139"/>
                  <a:gd name="T48" fmla="*/ 66 w 77"/>
                  <a:gd name="T49" fmla="*/ 102 h 139"/>
                  <a:gd name="T50" fmla="*/ 72 w 77"/>
                  <a:gd name="T51" fmla="*/ 121 h 139"/>
                  <a:gd name="T52" fmla="*/ 70 w 77"/>
                  <a:gd name="T53" fmla="*/ 124 h 139"/>
                  <a:gd name="T54" fmla="*/ 67 w 77"/>
                  <a:gd name="T55" fmla="*/ 122 h 139"/>
                  <a:gd name="T56" fmla="*/ 64 w 77"/>
                  <a:gd name="T57" fmla="*/ 115 h 139"/>
                  <a:gd name="T58" fmla="*/ 55 w 77"/>
                  <a:gd name="T59" fmla="*/ 97 h 139"/>
                  <a:gd name="T60" fmla="*/ 45 w 77"/>
                  <a:gd name="T61" fmla="*/ 87 h 139"/>
                  <a:gd name="T62" fmla="*/ 45 w 77"/>
                  <a:gd name="T63" fmla="*/ 102 h 139"/>
                  <a:gd name="T64" fmla="*/ 44 w 77"/>
                  <a:gd name="T65" fmla="*/ 136 h 139"/>
                  <a:gd name="T66" fmla="*/ 41 w 77"/>
                  <a:gd name="T67" fmla="*/ 139 h 139"/>
                  <a:gd name="T68" fmla="*/ 38 w 77"/>
                  <a:gd name="T69" fmla="*/ 137 h 139"/>
                  <a:gd name="T70" fmla="*/ 37 w 77"/>
                  <a:gd name="T71" fmla="*/ 103 h 139"/>
                  <a:gd name="T72" fmla="*/ 37 w 77"/>
                  <a:gd name="T73" fmla="*/ 86 h 139"/>
                  <a:gd name="T74" fmla="*/ 28 w 77"/>
                  <a:gd name="T75" fmla="*/ 92 h 139"/>
                  <a:gd name="T76" fmla="*/ 19 w 77"/>
                  <a:gd name="T77" fmla="*/ 109 h 139"/>
                  <a:gd name="T78" fmla="*/ 12 w 77"/>
                  <a:gd name="T79" fmla="*/ 121 h 139"/>
                  <a:gd name="T80" fmla="*/ 8 w 77"/>
                  <a:gd name="T81" fmla="*/ 122 h 139"/>
                  <a:gd name="T82" fmla="*/ 7 w 77"/>
                  <a:gd name="T83" fmla="*/ 120 h 139"/>
                  <a:gd name="T84" fmla="*/ 8 w 77"/>
                  <a:gd name="T85" fmla="*/ 117 h 139"/>
                  <a:gd name="T86" fmla="*/ 11 w 77"/>
                  <a:gd name="T87" fmla="*/ 106 h 139"/>
                  <a:gd name="T88" fmla="*/ 22 w 77"/>
                  <a:gd name="T89" fmla="*/ 86 h 139"/>
                  <a:gd name="T90" fmla="*/ 37 w 77"/>
                  <a:gd name="T91" fmla="*/ 76 h 139"/>
                  <a:gd name="T92" fmla="*/ 37 w 77"/>
                  <a:gd name="T93" fmla="*/ 68 h 139"/>
                  <a:gd name="T94" fmla="*/ 37 w 77"/>
                  <a:gd name="T95" fmla="*/ 63 h 139"/>
                  <a:gd name="T96" fmla="*/ 24 w 77"/>
                  <a:gd name="T97" fmla="*/ 69 h 139"/>
                  <a:gd name="T98" fmla="*/ 16 w 77"/>
                  <a:gd name="T99" fmla="*/ 77 h 139"/>
                  <a:gd name="T100" fmla="*/ 9 w 77"/>
                  <a:gd name="T101" fmla="*/ 85 h 139"/>
                  <a:gd name="T102" fmla="*/ 6 w 77"/>
                  <a:gd name="T103" fmla="*/ 86 h 139"/>
                  <a:gd name="T104" fmla="*/ 5 w 77"/>
                  <a:gd name="T105" fmla="*/ 82 h 139"/>
                  <a:gd name="T106" fmla="*/ 22 w 77"/>
                  <a:gd name="T107" fmla="*/ 60 h 139"/>
                  <a:gd name="T108" fmla="*/ 37 w 77"/>
                  <a:gd name="T109" fmla="*/ 54 h 139"/>
                  <a:gd name="T110" fmla="*/ 37 w 77"/>
                  <a:gd name="T111" fmla="*/ 47 h 139"/>
                  <a:gd name="T112" fmla="*/ 3 w 77"/>
                  <a:gd name="T113" fmla="*/ 45 h 139"/>
                  <a:gd name="T114" fmla="*/ 0 w 77"/>
                  <a:gd name="T115" fmla="*/ 40 h 139"/>
                  <a:gd name="T116" fmla="*/ 5 w 77"/>
                  <a:gd name="T117" fmla="*/ 38 h 139"/>
                  <a:gd name="T118" fmla="*/ 37 w 77"/>
                  <a:gd name="T119" fmla="*/ 39 h 139"/>
                  <a:gd name="T120" fmla="*/ 37 w 77"/>
                  <a:gd name="T121" fmla="*/ 39 h 139"/>
                  <a:gd name="T122" fmla="*/ 33 w 77"/>
                  <a:gd name="T123" fmla="*/ 28 h 139"/>
                  <a:gd name="T124" fmla="*/ 12 w 77"/>
                  <a:gd name="T125" fmla="*/ 25 h 1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77" h="139">
                    <a:moveTo>
                      <a:pt x="12" y="25"/>
                    </a:moveTo>
                    <a:cubicBezTo>
                      <a:pt x="10" y="25"/>
                      <a:pt x="9" y="24"/>
                      <a:pt x="9" y="21"/>
                    </a:cubicBezTo>
                    <a:cubicBezTo>
                      <a:pt x="9" y="18"/>
                      <a:pt x="10" y="17"/>
                      <a:pt x="12" y="17"/>
                    </a:cubicBezTo>
                    <a:cubicBezTo>
                      <a:pt x="24" y="17"/>
                      <a:pt x="33" y="18"/>
                      <a:pt x="39" y="21"/>
                    </a:cubicBezTo>
                    <a:cubicBezTo>
                      <a:pt x="45" y="24"/>
                      <a:pt x="47" y="28"/>
                      <a:pt x="46" y="36"/>
                    </a:cubicBezTo>
                    <a:cubicBezTo>
                      <a:pt x="46" y="37"/>
                      <a:pt x="46" y="38"/>
                      <a:pt x="46" y="39"/>
                    </a:cubicBezTo>
                    <a:cubicBezTo>
                      <a:pt x="53" y="38"/>
                      <a:pt x="58" y="35"/>
                      <a:pt x="61" y="33"/>
                    </a:cubicBezTo>
                    <a:cubicBezTo>
                      <a:pt x="65" y="27"/>
                      <a:pt x="64" y="22"/>
                      <a:pt x="57" y="16"/>
                    </a:cubicBezTo>
                    <a:cubicBezTo>
                      <a:pt x="52" y="12"/>
                      <a:pt x="44" y="9"/>
                      <a:pt x="35" y="9"/>
                    </a:cubicBezTo>
                    <a:cubicBezTo>
                      <a:pt x="30" y="8"/>
                      <a:pt x="28" y="6"/>
                      <a:pt x="27" y="3"/>
                    </a:cubicBezTo>
                    <a:cubicBezTo>
                      <a:pt x="27" y="1"/>
                      <a:pt x="29" y="0"/>
                      <a:pt x="32" y="0"/>
                    </a:cubicBezTo>
                    <a:cubicBezTo>
                      <a:pt x="44" y="0"/>
                      <a:pt x="53" y="3"/>
                      <a:pt x="61" y="9"/>
                    </a:cubicBezTo>
                    <a:cubicBezTo>
                      <a:pt x="69" y="16"/>
                      <a:pt x="73" y="23"/>
                      <a:pt x="72" y="30"/>
                    </a:cubicBezTo>
                    <a:cubicBezTo>
                      <a:pt x="68" y="37"/>
                      <a:pt x="60" y="43"/>
                      <a:pt x="48" y="45"/>
                    </a:cubicBezTo>
                    <a:cubicBezTo>
                      <a:pt x="47" y="46"/>
                      <a:pt x="46" y="46"/>
                      <a:pt x="45" y="46"/>
                    </a:cubicBezTo>
                    <a:cubicBezTo>
                      <a:pt x="45" y="48"/>
                      <a:pt x="45" y="51"/>
                      <a:pt x="45" y="54"/>
                    </a:cubicBezTo>
                    <a:cubicBezTo>
                      <a:pt x="49" y="54"/>
                      <a:pt x="54" y="57"/>
                      <a:pt x="59" y="61"/>
                    </a:cubicBezTo>
                    <a:cubicBezTo>
                      <a:pt x="66" y="66"/>
                      <a:pt x="72" y="72"/>
                      <a:pt x="77" y="80"/>
                    </a:cubicBezTo>
                    <a:cubicBezTo>
                      <a:pt x="77" y="82"/>
                      <a:pt x="77" y="83"/>
                      <a:pt x="75" y="84"/>
                    </a:cubicBezTo>
                    <a:cubicBezTo>
                      <a:pt x="74" y="85"/>
                      <a:pt x="72" y="85"/>
                      <a:pt x="71" y="83"/>
                    </a:cubicBezTo>
                    <a:cubicBezTo>
                      <a:pt x="69" y="80"/>
                      <a:pt x="65" y="76"/>
                      <a:pt x="59" y="70"/>
                    </a:cubicBezTo>
                    <a:cubicBezTo>
                      <a:pt x="54" y="66"/>
                      <a:pt x="49" y="64"/>
                      <a:pt x="45" y="63"/>
                    </a:cubicBezTo>
                    <a:cubicBezTo>
                      <a:pt x="45" y="77"/>
                      <a:pt x="45" y="77"/>
                      <a:pt x="45" y="77"/>
                    </a:cubicBezTo>
                    <a:cubicBezTo>
                      <a:pt x="48" y="78"/>
                      <a:pt x="51" y="80"/>
                      <a:pt x="53" y="83"/>
                    </a:cubicBezTo>
                    <a:cubicBezTo>
                      <a:pt x="59" y="88"/>
                      <a:pt x="63" y="94"/>
                      <a:pt x="66" y="102"/>
                    </a:cubicBezTo>
                    <a:cubicBezTo>
                      <a:pt x="71" y="109"/>
                      <a:pt x="73" y="116"/>
                      <a:pt x="72" y="121"/>
                    </a:cubicBezTo>
                    <a:cubicBezTo>
                      <a:pt x="72" y="122"/>
                      <a:pt x="72" y="123"/>
                      <a:pt x="70" y="124"/>
                    </a:cubicBezTo>
                    <a:cubicBezTo>
                      <a:pt x="69" y="124"/>
                      <a:pt x="68" y="124"/>
                      <a:pt x="67" y="122"/>
                    </a:cubicBezTo>
                    <a:cubicBezTo>
                      <a:pt x="67" y="121"/>
                      <a:pt x="66" y="118"/>
                      <a:pt x="64" y="115"/>
                    </a:cubicBezTo>
                    <a:cubicBezTo>
                      <a:pt x="60" y="107"/>
                      <a:pt x="57" y="102"/>
                      <a:pt x="55" y="97"/>
                    </a:cubicBezTo>
                    <a:cubicBezTo>
                      <a:pt x="51" y="91"/>
                      <a:pt x="48" y="88"/>
                      <a:pt x="45" y="87"/>
                    </a:cubicBezTo>
                    <a:cubicBezTo>
                      <a:pt x="45" y="102"/>
                      <a:pt x="45" y="102"/>
                      <a:pt x="45" y="102"/>
                    </a:cubicBezTo>
                    <a:cubicBezTo>
                      <a:pt x="45" y="117"/>
                      <a:pt x="45" y="128"/>
                      <a:pt x="44" y="136"/>
                    </a:cubicBezTo>
                    <a:cubicBezTo>
                      <a:pt x="43" y="137"/>
                      <a:pt x="42" y="138"/>
                      <a:pt x="41" y="139"/>
                    </a:cubicBezTo>
                    <a:cubicBezTo>
                      <a:pt x="40" y="139"/>
                      <a:pt x="39" y="139"/>
                      <a:pt x="38" y="137"/>
                    </a:cubicBezTo>
                    <a:cubicBezTo>
                      <a:pt x="37" y="135"/>
                      <a:pt x="37" y="123"/>
                      <a:pt x="37" y="103"/>
                    </a:cubicBezTo>
                    <a:cubicBezTo>
                      <a:pt x="37" y="97"/>
                      <a:pt x="37" y="92"/>
                      <a:pt x="37" y="86"/>
                    </a:cubicBezTo>
                    <a:cubicBezTo>
                      <a:pt x="34" y="87"/>
                      <a:pt x="31" y="89"/>
                      <a:pt x="28" y="92"/>
                    </a:cubicBezTo>
                    <a:cubicBezTo>
                      <a:pt x="24" y="98"/>
                      <a:pt x="21" y="103"/>
                      <a:pt x="19" y="109"/>
                    </a:cubicBezTo>
                    <a:cubicBezTo>
                      <a:pt x="17" y="113"/>
                      <a:pt x="15" y="117"/>
                      <a:pt x="12" y="121"/>
                    </a:cubicBezTo>
                    <a:cubicBezTo>
                      <a:pt x="11" y="122"/>
                      <a:pt x="9" y="122"/>
                      <a:pt x="8" y="122"/>
                    </a:cubicBezTo>
                    <a:cubicBezTo>
                      <a:pt x="7" y="122"/>
                      <a:pt x="7" y="121"/>
                      <a:pt x="7" y="120"/>
                    </a:cubicBezTo>
                    <a:cubicBezTo>
                      <a:pt x="7" y="119"/>
                      <a:pt x="7" y="118"/>
                      <a:pt x="8" y="117"/>
                    </a:cubicBezTo>
                    <a:cubicBezTo>
                      <a:pt x="9" y="112"/>
                      <a:pt x="10" y="108"/>
                      <a:pt x="11" y="106"/>
                    </a:cubicBezTo>
                    <a:cubicBezTo>
                      <a:pt x="13" y="101"/>
                      <a:pt x="17" y="94"/>
                      <a:pt x="22" y="86"/>
                    </a:cubicBezTo>
                    <a:cubicBezTo>
                      <a:pt x="27" y="80"/>
                      <a:pt x="32" y="77"/>
                      <a:pt x="37" y="76"/>
                    </a:cubicBezTo>
                    <a:cubicBezTo>
                      <a:pt x="37" y="68"/>
                      <a:pt x="37" y="68"/>
                      <a:pt x="37" y="68"/>
                    </a:cubicBezTo>
                    <a:cubicBezTo>
                      <a:pt x="37" y="63"/>
                      <a:pt x="37" y="63"/>
                      <a:pt x="37" y="63"/>
                    </a:cubicBezTo>
                    <a:cubicBezTo>
                      <a:pt x="33" y="64"/>
                      <a:pt x="29" y="66"/>
                      <a:pt x="24" y="69"/>
                    </a:cubicBezTo>
                    <a:cubicBezTo>
                      <a:pt x="23" y="70"/>
                      <a:pt x="20" y="72"/>
                      <a:pt x="16" y="77"/>
                    </a:cubicBezTo>
                    <a:cubicBezTo>
                      <a:pt x="13" y="81"/>
                      <a:pt x="11" y="83"/>
                      <a:pt x="9" y="85"/>
                    </a:cubicBezTo>
                    <a:cubicBezTo>
                      <a:pt x="8" y="86"/>
                      <a:pt x="7" y="87"/>
                      <a:pt x="6" y="86"/>
                    </a:cubicBezTo>
                    <a:cubicBezTo>
                      <a:pt x="5" y="86"/>
                      <a:pt x="5" y="84"/>
                      <a:pt x="5" y="82"/>
                    </a:cubicBezTo>
                    <a:cubicBezTo>
                      <a:pt x="10" y="73"/>
                      <a:pt x="15" y="65"/>
                      <a:pt x="22" y="60"/>
                    </a:cubicBezTo>
                    <a:cubicBezTo>
                      <a:pt x="27" y="56"/>
                      <a:pt x="32" y="54"/>
                      <a:pt x="37" y="54"/>
                    </a:cubicBezTo>
                    <a:cubicBezTo>
                      <a:pt x="37" y="47"/>
                      <a:pt x="37" y="47"/>
                      <a:pt x="37" y="47"/>
                    </a:cubicBezTo>
                    <a:cubicBezTo>
                      <a:pt x="22" y="49"/>
                      <a:pt x="10" y="48"/>
                      <a:pt x="3" y="45"/>
                    </a:cubicBezTo>
                    <a:cubicBezTo>
                      <a:pt x="1" y="44"/>
                      <a:pt x="0" y="42"/>
                      <a:pt x="0" y="40"/>
                    </a:cubicBezTo>
                    <a:cubicBezTo>
                      <a:pt x="1" y="38"/>
                      <a:pt x="3" y="38"/>
                      <a:pt x="5" y="38"/>
                    </a:cubicBezTo>
                    <a:cubicBezTo>
                      <a:pt x="12" y="40"/>
                      <a:pt x="22" y="40"/>
                      <a:pt x="37" y="39"/>
                    </a:cubicBezTo>
                    <a:cubicBezTo>
                      <a:pt x="37" y="39"/>
                      <a:pt x="37" y="39"/>
                      <a:pt x="37" y="39"/>
                    </a:cubicBezTo>
                    <a:cubicBezTo>
                      <a:pt x="38" y="32"/>
                      <a:pt x="36" y="29"/>
                      <a:pt x="33" y="28"/>
                    </a:cubicBezTo>
                    <a:cubicBezTo>
                      <a:pt x="26" y="25"/>
                      <a:pt x="19" y="24"/>
                      <a:pt x="12" y="2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26" name="íṣlíḑe"/>
              <p:cNvSpPr/>
              <p:nvPr/>
            </p:nvSpPr>
            <p:spPr bwMode="auto">
              <a:xfrm>
                <a:off x="2273197" y="5255215"/>
                <a:ext cx="163513" cy="263525"/>
              </a:xfrm>
              <a:custGeom>
                <a:avLst/>
                <a:gdLst>
                  <a:gd name="T0" fmla="*/ 47 w 88"/>
                  <a:gd name="T1" fmla="*/ 8 h 143"/>
                  <a:gd name="T2" fmla="*/ 74 w 88"/>
                  <a:gd name="T3" fmla="*/ 14 h 143"/>
                  <a:gd name="T4" fmla="*/ 82 w 88"/>
                  <a:gd name="T5" fmla="*/ 26 h 143"/>
                  <a:gd name="T6" fmla="*/ 79 w 88"/>
                  <a:gd name="T7" fmla="*/ 75 h 143"/>
                  <a:gd name="T8" fmla="*/ 86 w 88"/>
                  <a:gd name="T9" fmla="*/ 136 h 143"/>
                  <a:gd name="T10" fmla="*/ 73 w 88"/>
                  <a:gd name="T11" fmla="*/ 45 h 143"/>
                  <a:gd name="T12" fmla="*/ 67 w 88"/>
                  <a:gd name="T13" fmla="*/ 44 h 143"/>
                  <a:gd name="T14" fmla="*/ 54 w 88"/>
                  <a:gd name="T15" fmla="*/ 58 h 143"/>
                  <a:gd name="T16" fmla="*/ 22 w 88"/>
                  <a:gd name="T17" fmla="*/ 54 h 143"/>
                  <a:gd name="T18" fmla="*/ 15 w 88"/>
                  <a:gd name="T19" fmla="*/ 45 h 143"/>
                  <a:gd name="T20" fmla="*/ 11 w 88"/>
                  <a:gd name="T21" fmla="*/ 91 h 143"/>
                  <a:gd name="T22" fmla="*/ 9 w 88"/>
                  <a:gd name="T23" fmla="*/ 118 h 143"/>
                  <a:gd name="T24" fmla="*/ 2 w 88"/>
                  <a:gd name="T25" fmla="*/ 139 h 143"/>
                  <a:gd name="T26" fmla="*/ 6 w 88"/>
                  <a:gd name="T27" fmla="*/ 80 h 143"/>
                  <a:gd name="T28" fmla="*/ 2 w 88"/>
                  <a:gd name="T29" fmla="*/ 26 h 143"/>
                  <a:gd name="T30" fmla="*/ 32 w 88"/>
                  <a:gd name="T31" fmla="*/ 10 h 143"/>
                  <a:gd name="T32" fmla="*/ 39 w 88"/>
                  <a:gd name="T33" fmla="*/ 0 h 143"/>
                  <a:gd name="T34" fmla="*/ 24 w 88"/>
                  <a:gd name="T35" fmla="*/ 23 h 143"/>
                  <a:gd name="T36" fmla="*/ 66 w 88"/>
                  <a:gd name="T37" fmla="*/ 29 h 143"/>
                  <a:gd name="T38" fmla="*/ 67 w 88"/>
                  <a:gd name="T39" fmla="*/ 37 h 143"/>
                  <a:gd name="T40" fmla="*/ 73 w 88"/>
                  <a:gd name="T41" fmla="*/ 34 h 143"/>
                  <a:gd name="T42" fmla="*/ 66 w 88"/>
                  <a:gd name="T43" fmla="*/ 20 h 143"/>
                  <a:gd name="T44" fmla="*/ 13 w 88"/>
                  <a:gd name="T45" fmla="*/ 21 h 143"/>
                  <a:gd name="T46" fmla="*/ 12 w 88"/>
                  <a:gd name="T47" fmla="*/ 32 h 143"/>
                  <a:gd name="T48" fmla="*/ 17 w 88"/>
                  <a:gd name="T49" fmla="*/ 38 h 143"/>
                  <a:gd name="T50" fmla="*/ 24 w 88"/>
                  <a:gd name="T51" fmla="*/ 23 h 143"/>
                  <a:gd name="T52" fmla="*/ 61 w 88"/>
                  <a:gd name="T53" fmla="*/ 64 h 143"/>
                  <a:gd name="T54" fmla="*/ 66 w 88"/>
                  <a:gd name="T55" fmla="*/ 96 h 143"/>
                  <a:gd name="T56" fmla="*/ 61 w 88"/>
                  <a:gd name="T57" fmla="*/ 136 h 143"/>
                  <a:gd name="T58" fmla="*/ 59 w 88"/>
                  <a:gd name="T59" fmla="*/ 143 h 143"/>
                  <a:gd name="T60" fmla="*/ 46 w 88"/>
                  <a:gd name="T61" fmla="*/ 105 h 143"/>
                  <a:gd name="T62" fmla="*/ 30 w 88"/>
                  <a:gd name="T63" fmla="*/ 140 h 143"/>
                  <a:gd name="T64" fmla="*/ 26 w 88"/>
                  <a:gd name="T65" fmla="*/ 137 h 143"/>
                  <a:gd name="T66" fmla="*/ 32 w 88"/>
                  <a:gd name="T67" fmla="*/ 121 h 143"/>
                  <a:gd name="T68" fmla="*/ 35 w 88"/>
                  <a:gd name="T69" fmla="*/ 105 h 143"/>
                  <a:gd name="T70" fmla="*/ 18 w 88"/>
                  <a:gd name="T71" fmla="*/ 75 h 143"/>
                  <a:gd name="T72" fmla="*/ 24 w 88"/>
                  <a:gd name="T73" fmla="*/ 35 h 143"/>
                  <a:gd name="T74" fmla="*/ 39 w 88"/>
                  <a:gd name="T75" fmla="*/ 37 h 143"/>
                  <a:gd name="T76" fmla="*/ 34 w 88"/>
                  <a:gd name="T77" fmla="*/ 29 h 143"/>
                  <a:gd name="T78" fmla="*/ 24 w 88"/>
                  <a:gd name="T79" fmla="*/ 35 h 143"/>
                  <a:gd name="T80" fmla="*/ 62 w 88"/>
                  <a:gd name="T81" fmla="*/ 84 h 143"/>
                  <a:gd name="T82" fmla="*/ 43 w 88"/>
                  <a:gd name="T83" fmla="*/ 81 h 143"/>
                  <a:gd name="T84" fmla="*/ 25 w 88"/>
                  <a:gd name="T85" fmla="*/ 87 h 143"/>
                  <a:gd name="T86" fmla="*/ 26 w 88"/>
                  <a:gd name="T87" fmla="*/ 48 h 143"/>
                  <a:gd name="T88" fmla="*/ 38 w 88"/>
                  <a:gd name="T89" fmla="*/ 52 h 143"/>
                  <a:gd name="T90" fmla="*/ 25 w 88"/>
                  <a:gd name="T91" fmla="*/ 44 h 143"/>
                  <a:gd name="T92" fmla="*/ 32 w 88"/>
                  <a:gd name="T93" fmla="*/ 69 h 143"/>
                  <a:gd name="T94" fmla="*/ 41 w 88"/>
                  <a:gd name="T95" fmla="*/ 75 h 143"/>
                  <a:gd name="T96" fmla="*/ 57 w 88"/>
                  <a:gd name="T97" fmla="*/ 70 h 143"/>
                  <a:gd name="T98" fmla="*/ 56 w 88"/>
                  <a:gd name="T99" fmla="*/ 98 h 143"/>
                  <a:gd name="T100" fmla="*/ 54 w 88"/>
                  <a:gd name="T101" fmla="*/ 93 h 143"/>
                  <a:gd name="T102" fmla="*/ 36 w 88"/>
                  <a:gd name="T103" fmla="*/ 93 h 143"/>
                  <a:gd name="T104" fmla="*/ 32 w 88"/>
                  <a:gd name="T105" fmla="*/ 98 h 143"/>
                  <a:gd name="T106" fmla="*/ 56 w 88"/>
                  <a:gd name="T107" fmla="*/ 29 h 143"/>
                  <a:gd name="T108" fmla="*/ 46 w 88"/>
                  <a:gd name="T109" fmla="*/ 29 h 143"/>
                  <a:gd name="T110" fmla="*/ 60 w 88"/>
                  <a:gd name="T111" fmla="*/ 37 h 143"/>
                  <a:gd name="T112" fmla="*/ 56 w 88"/>
                  <a:gd name="T113" fmla="*/ 29 h 143"/>
                  <a:gd name="T114" fmla="*/ 60 w 88"/>
                  <a:gd name="T115" fmla="*/ 43 h 143"/>
                  <a:gd name="T116" fmla="*/ 46 w 88"/>
                  <a:gd name="T117" fmla="*/ 52 h 143"/>
                  <a:gd name="T118" fmla="*/ 59 w 88"/>
                  <a:gd name="T119" fmla="*/ 48 h 1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88" h="143">
                    <a:moveTo>
                      <a:pt x="43" y="2"/>
                    </a:moveTo>
                    <a:cubicBezTo>
                      <a:pt x="45" y="3"/>
                      <a:pt x="47" y="6"/>
                      <a:pt x="47" y="8"/>
                    </a:cubicBezTo>
                    <a:cubicBezTo>
                      <a:pt x="47" y="9"/>
                      <a:pt x="48" y="10"/>
                      <a:pt x="49" y="10"/>
                    </a:cubicBezTo>
                    <a:cubicBezTo>
                      <a:pt x="57" y="10"/>
                      <a:pt x="66" y="12"/>
                      <a:pt x="74" y="14"/>
                    </a:cubicBezTo>
                    <a:cubicBezTo>
                      <a:pt x="78" y="16"/>
                      <a:pt x="81" y="18"/>
                      <a:pt x="81" y="19"/>
                    </a:cubicBezTo>
                    <a:cubicBezTo>
                      <a:pt x="82" y="21"/>
                      <a:pt x="82" y="24"/>
                      <a:pt x="82" y="26"/>
                    </a:cubicBezTo>
                    <a:cubicBezTo>
                      <a:pt x="82" y="27"/>
                      <a:pt x="82" y="27"/>
                      <a:pt x="82" y="28"/>
                    </a:cubicBezTo>
                    <a:cubicBezTo>
                      <a:pt x="79" y="39"/>
                      <a:pt x="78" y="55"/>
                      <a:pt x="79" y="75"/>
                    </a:cubicBezTo>
                    <a:cubicBezTo>
                      <a:pt x="80" y="87"/>
                      <a:pt x="83" y="106"/>
                      <a:pt x="87" y="131"/>
                    </a:cubicBezTo>
                    <a:cubicBezTo>
                      <a:pt x="88" y="134"/>
                      <a:pt x="87" y="135"/>
                      <a:pt x="86" y="136"/>
                    </a:cubicBezTo>
                    <a:cubicBezTo>
                      <a:pt x="84" y="137"/>
                      <a:pt x="82" y="136"/>
                      <a:pt x="82" y="133"/>
                    </a:cubicBezTo>
                    <a:cubicBezTo>
                      <a:pt x="74" y="106"/>
                      <a:pt x="71" y="76"/>
                      <a:pt x="73" y="45"/>
                    </a:cubicBezTo>
                    <a:cubicBezTo>
                      <a:pt x="72" y="45"/>
                      <a:pt x="71" y="44"/>
                      <a:pt x="70" y="44"/>
                    </a:cubicBezTo>
                    <a:cubicBezTo>
                      <a:pt x="69" y="44"/>
                      <a:pt x="68" y="44"/>
                      <a:pt x="67" y="44"/>
                    </a:cubicBezTo>
                    <a:cubicBezTo>
                      <a:pt x="67" y="48"/>
                      <a:pt x="66" y="51"/>
                      <a:pt x="64" y="54"/>
                    </a:cubicBezTo>
                    <a:cubicBezTo>
                      <a:pt x="62" y="57"/>
                      <a:pt x="59" y="59"/>
                      <a:pt x="54" y="58"/>
                    </a:cubicBezTo>
                    <a:cubicBezTo>
                      <a:pt x="47" y="58"/>
                      <a:pt x="39" y="58"/>
                      <a:pt x="32" y="58"/>
                    </a:cubicBezTo>
                    <a:cubicBezTo>
                      <a:pt x="28" y="59"/>
                      <a:pt x="25" y="58"/>
                      <a:pt x="22" y="54"/>
                    </a:cubicBezTo>
                    <a:cubicBezTo>
                      <a:pt x="20" y="51"/>
                      <a:pt x="19" y="48"/>
                      <a:pt x="18" y="45"/>
                    </a:cubicBezTo>
                    <a:cubicBezTo>
                      <a:pt x="17" y="45"/>
                      <a:pt x="16" y="45"/>
                      <a:pt x="15" y="45"/>
                    </a:cubicBezTo>
                    <a:cubicBezTo>
                      <a:pt x="14" y="45"/>
                      <a:pt x="13" y="45"/>
                      <a:pt x="13" y="45"/>
                    </a:cubicBezTo>
                    <a:cubicBezTo>
                      <a:pt x="13" y="60"/>
                      <a:pt x="13" y="75"/>
                      <a:pt x="11" y="91"/>
                    </a:cubicBezTo>
                    <a:cubicBezTo>
                      <a:pt x="11" y="95"/>
                      <a:pt x="11" y="102"/>
                      <a:pt x="10" y="111"/>
                    </a:cubicBezTo>
                    <a:cubicBezTo>
                      <a:pt x="10" y="108"/>
                      <a:pt x="10" y="111"/>
                      <a:pt x="9" y="118"/>
                    </a:cubicBezTo>
                    <a:cubicBezTo>
                      <a:pt x="9" y="124"/>
                      <a:pt x="8" y="130"/>
                      <a:pt x="6" y="134"/>
                    </a:cubicBezTo>
                    <a:cubicBezTo>
                      <a:pt x="5" y="138"/>
                      <a:pt x="3" y="139"/>
                      <a:pt x="2" y="139"/>
                    </a:cubicBezTo>
                    <a:cubicBezTo>
                      <a:pt x="0" y="139"/>
                      <a:pt x="0" y="137"/>
                      <a:pt x="0" y="133"/>
                    </a:cubicBezTo>
                    <a:cubicBezTo>
                      <a:pt x="3" y="112"/>
                      <a:pt x="5" y="94"/>
                      <a:pt x="6" y="80"/>
                    </a:cubicBezTo>
                    <a:cubicBezTo>
                      <a:pt x="8" y="64"/>
                      <a:pt x="7" y="51"/>
                      <a:pt x="6" y="38"/>
                    </a:cubicBezTo>
                    <a:cubicBezTo>
                      <a:pt x="5" y="34"/>
                      <a:pt x="4" y="30"/>
                      <a:pt x="2" y="26"/>
                    </a:cubicBezTo>
                    <a:cubicBezTo>
                      <a:pt x="0" y="21"/>
                      <a:pt x="1" y="17"/>
                      <a:pt x="6" y="16"/>
                    </a:cubicBezTo>
                    <a:cubicBezTo>
                      <a:pt x="14" y="12"/>
                      <a:pt x="23" y="11"/>
                      <a:pt x="32" y="10"/>
                    </a:cubicBezTo>
                    <a:cubicBezTo>
                      <a:pt x="36" y="9"/>
                      <a:pt x="38" y="7"/>
                      <a:pt x="38" y="4"/>
                    </a:cubicBezTo>
                    <a:cubicBezTo>
                      <a:pt x="38" y="2"/>
                      <a:pt x="38" y="1"/>
                      <a:pt x="39" y="0"/>
                    </a:cubicBezTo>
                    <a:cubicBezTo>
                      <a:pt x="41" y="0"/>
                      <a:pt x="42" y="0"/>
                      <a:pt x="43" y="2"/>
                    </a:cubicBezTo>
                    <a:close/>
                    <a:moveTo>
                      <a:pt x="24" y="23"/>
                    </a:moveTo>
                    <a:cubicBezTo>
                      <a:pt x="33" y="22"/>
                      <a:pt x="44" y="22"/>
                      <a:pt x="58" y="23"/>
                    </a:cubicBezTo>
                    <a:cubicBezTo>
                      <a:pt x="63" y="24"/>
                      <a:pt x="66" y="26"/>
                      <a:pt x="66" y="29"/>
                    </a:cubicBezTo>
                    <a:cubicBezTo>
                      <a:pt x="66" y="30"/>
                      <a:pt x="66" y="30"/>
                      <a:pt x="67" y="31"/>
                    </a:cubicBezTo>
                    <a:cubicBezTo>
                      <a:pt x="67" y="33"/>
                      <a:pt x="67" y="35"/>
                      <a:pt x="67" y="37"/>
                    </a:cubicBezTo>
                    <a:cubicBezTo>
                      <a:pt x="69" y="38"/>
                      <a:pt x="71" y="38"/>
                      <a:pt x="73" y="38"/>
                    </a:cubicBezTo>
                    <a:cubicBezTo>
                      <a:pt x="73" y="37"/>
                      <a:pt x="73" y="36"/>
                      <a:pt x="73" y="34"/>
                    </a:cubicBezTo>
                    <a:cubicBezTo>
                      <a:pt x="73" y="32"/>
                      <a:pt x="73" y="30"/>
                      <a:pt x="74" y="29"/>
                    </a:cubicBezTo>
                    <a:cubicBezTo>
                      <a:pt x="75" y="25"/>
                      <a:pt x="72" y="21"/>
                      <a:pt x="66" y="20"/>
                    </a:cubicBezTo>
                    <a:cubicBezTo>
                      <a:pt x="58" y="17"/>
                      <a:pt x="50" y="16"/>
                      <a:pt x="40" y="16"/>
                    </a:cubicBezTo>
                    <a:cubicBezTo>
                      <a:pt x="29" y="16"/>
                      <a:pt x="20" y="18"/>
                      <a:pt x="13" y="21"/>
                    </a:cubicBezTo>
                    <a:cubicBezTo>
                      <a:pt x="11" y="22"/>
                      <a:pt x="11" y="24"/>
                      <a:pt x="11" y="26"/>
                    </a:cubicBezTo>
                    <a:cubicBezTo>
                      <a:pt x="11" y="28"/>
                      <a:pt x="12" y="30"/>
                      <a:pt x="12" y="32"/>
                    </a:cubicBezTo>
                    <a:cubicBezTo>
                      <a:pt x="12" y="35"/>
                      <a:pt x="12" y="37"/>
                      <a:pt x="12" y="38"/>
                    </a:cubicBezTo>
                    <a:cubicBezTo>
                      <a:pt x="14" y="38"/>
                      <a:pt x="15" y="38"/>
                      <a:pt x="17" y="38"/>
                    </a:cubicBezTo>
                    <a:cubicBezTo>
                      <a:pt x="17" y="35"/>
                      <a:pt x="17" y="32"/>
                      <a:pt x="17" y="30"/>
                    </a:cubicBezTo>
                    <a:cubicBezTo>
                      <a:pt x="18" y="26"/>
                      <a:pt x="20" y="24"/>
                      <a:pt x="24" y="23"/>
                    </a:cubicBezTo>
                    <a:close/>
                    <a:moveTo>
                      <a:pt x="28" y="64"/>
                    </a:moveTo>
                    <a:cubicBezTo>
                      <a:pt x="39" y="62"/>
                      <a:pt x="50" y="62"/>
                      <a:pt x="61" y="64"/>
                    </a:cubicBezTo>
                    <a:cubicBezTo>
                      <a:pt x="65" y="65"/>
                      <a:pt x="67" y="67"/>
                      <a:pt x="67" y="71"/>
                    </a:cubicBezTo>
                    <a:cubicBezTo>
                      <a:pt x="69" y="79"/>
                      <a:pt x="68" y="88"/>
                      <a:pt x="66" y="96"/>
                    </a:cubicBezTo>
                    <a:cubicBezTo>
                      <a:pt x="65" y="102"/>
                      <a:pt x="61" y="105"/>
                      <a:pt x="54" y="105"/>
                    </a:cubicBezTo>
                    <a:cubicBezTo>
                      <a:pt x="55" y="115"/>
                      <a:pt x="57" y="125"/>
                      <a:pt x="61" y="136"/>
                    </a:cubicBezTo>
                    <a:cubicBezTo>
                      <a:pt x="63" y="138"/>
                      <a:pt x="63" y="140"/>
                      <a:pt x="61" y="142"/>
                    </a:cubicBezTo>
                    <a:cubicBezTo>
                      <a:pt x="60" y="142"/>
                      <a:pt x="59" y="143"/>
                      <a:pt x="59" y="143"/>
                    </a:cubicBezTo>
                    <a:cubicBezTo>
                      <a:pt x="58" y="143"/>
                      <a:pt x="57" y="142"/>
                      <a:pt x="57" y="141"/>
                    </a:cubicBezTo>
                    <a:cubicBezTo>
                      <a:pt x="52" y="131"/>
                      <a:pt x="48" y="120"/>
                      <a:pt x="46" y="105"/>
                    </a:cubicBezTo>
                    <a:cubicBezTo>
                      <a:pt x="41" y="105"/>
                      <a:pt x="41" y="105"/>
                      <a:pt x="41" y="105"/>
                    </a:cubicBezTo>
                    <a:cubicBezTo>
                      <a:pt x="40" y="120"/>
                      <a:pt x="37" y="131"/>
                      <a:pt x="30" y="140"/>
                    </a:cubicBezTo>
                    <a:cubicBezTo>
                      <a:pt x="29" y="141"/>
                      <a:pt x="27" y="142"/>
                      <a:pt x="26" y="142"/>
                    </a:cubicBezTo>
                    <a:cubicBezTo>
                      <a:pt x="25" y="141"/>
                      <a:pt x="25" y="139"/>
                      <a:pt x="26" y="137"/>
                    </a:cubicBezTo>
                    <a:cubicBezTo>
                      <a:pt x="26" y="137"/>
                      <a:pt x="26" y="135"/>
                      <a:pt x="28" y="132"/>
                    </a:cubicBezTo>
                    <a:cubicBezTo>
                      <a:pt x="30" y="127"/>
                      <a:pt x="32" y="123"/>
                      <a:pt x="32" y="121"/>
                    </a:cubicBezTo>
                    <a:cubicBezTo>
                      <a:pt x="33" y="118"/>
                      <a:pt x="34" y="113"/>
                      <a:pt x="35" y="107"/>
                    </a:cubicBezTo>
                    <a:cubicBezTo>
                      <a:pt x="35" y="106"/>
                      <a:pt x="35" y="106"/>
                      <a:pt x="35" y="105"/>
                    </a:cubicBezTo>
                    <a:cubicBezTo>
                      <a:pt x="29" y="105"/>
                      <a:pt x="25" y="103"/>
                      <a:pt x="22" y="98"/>
                    </a:cubicBezTo>
                    <a:cubicBezTo>
                      <a:pt x="19" y="93"/>
                      <a:pt x="17" y="85"/>
                      <a:pt x="18" y="75"/>
                    </a:cubicBezTo>
                    <a:cubicBezTo>
                      <a:pt x="19" y="68"/>
                      <a:pt x="22" y="65"/>
                      <a:pt x="28" y="64"/>
                    </a:cubicBezTo>
                    <a:close/>
                    <a:moveTo>
                      <a:pt x="24" y="35"/>
                    </a:moveTo>
                    <a:cubicBezTo>
                      <a:pt x="24" y="36"/>
                      <a:pt x="24" y="36"/>
                      <a:pt x="24" y="37"/>
                    </a:cubicBezTo>
                    <a:cubicBezTo>
                      <a:pt x="29" y="37"/>
                      <a:pt x="34" y="37"/>
                      <a:pt x="39" y="37"/>
                    </a:cubicBezTo>
                    <a:cubicBezTo>
                      <a:pt x="39" y="34"/>
                      <a:pt x="38" y="31"/>
                      <a:pt x="38" y="29"/>
                    </a:cubicBezTo>
                    <a:cubicBezTo>
                      <a:pt x="37" y="29"/>
                      <a:pt x="36" y="29"/>
                      <a:pt x="34" y="29"/>
                    </a:cubicBezTo>
                    <a:cubicBezTo>
                      <a:pt x="31" y="29"/>
                      <a:pt x="30" y="29"/>
                      <a:pt x="28" y="29"/>
                    </a:cubicBezTo>
                    <a:cubicBezTo>
                      <a:pt x="25" y="31"/>
                      <a:pt x="24" y="32"/>
                      <a:pt x="24" y="35"/>
                    </a:cubicBezTo>
                    <a:close/>
                    <a:moveTo>
                      <a:pt x="61" y="87"/>
                    </a:moveTo>
                    <a:cubicBezTo>
                      <a:pt x="61" y="86"/>
                      <a:pt x="62" y="85"/>
                      <a:pt x="62" y="84"/>
                    </a:cubicBezTo>
                    <a:cubicBezTo>
                      <a:pt x="62" y="83"/>
                      <a:pt x="62" y="82"/>
                      <a:pt x="62" y="82"/>
                    </a:cubicBezTo>
                    <a:cubicBezTo>
                      <a:pt x="56" y="81"/>
                      <a:pt x="50" y="80"/>
                      <a:pt x="43" y="81"/>
                    </a:cubicBezTo>
                    <a:cubicBezTo>
                      <a:pt x="37" y="81"/>
                      <a:pt x="31" y="82"/>
                      <a:pt x="24" y="83"/>
                    </a:cubicBezTo>
                    <a:cubicBezTo>
                      <a:pt x="25" y="87"/>
                      <a:pt x="25" y="87"/>
                      <a:pt x="25" y="87"/>
                    </a:cubicBezTo>
                    <a:cubicBezTo>
                      <a:pt x="35" y="86"/>
                      <a:pt x="48" y="86"/>
                      <a:pt x="61" y="87"/>
                    </a:cubicBezTo>
                    <a:close/>
                    <a:moveTo>
                      <a:pt x="26" y="48"/>
                    </a:moveTo>
                    <a:cubicBezTo>
                      <a:pt x="28" y="51"/>
                      <a:pt x="30" y="52"/>
                      <a:pt x="35" y="52"/>
                    </a:cubicBezTo>
                    <a:cubicBezTo>
                      <a:pt x="38" y="52"/>
                      <a:pt x="38" y="52"/>
                      <a:pt x="38" y="52"/>
                    </a:cubicBezTo>
                    <a:cubicBezTo>
                      <a:pt x="38" y="49"/>
                      <a:pt x="39" y="46"/>
                      <a:pt x="39" y="44"/>
                    </a:cubicBezTo>
                    <a:cubicBezTo>
                      <a:pt x="34" y="44"/>
                      <a:pt x="30" y="44"/>
                      <a:pt x="25" y="44"/>
                    </a:cubicBezTo>
                    <a:cubicBezTo>
                      <a:pt x="25" y="46"/>
                      <a:pt x="25" y="47"/>
                      <a:pt x="26" y="48"/>
                    </a:cubicBezTo>
                    <a:close/>
                    <a:moveTo>
                      <a:pt x="32" y="69"/>
                    </a:moveTo>
                    <a:cubicBezTo>
                      <a:pt x="28" y="70"/>
                      <a:pt x="25" y="72"/>
                      <a:pt x="25" y="76"/>
                    </a:cubicBezTo>
                    <a:cubicBezTo>
                      <a:pt x="30" y="75"/>
                      <a:pt x="35" y="75"/>
                      <a:pt x="41" y="75"/>
                    </a:cubicBezTo>
                    <a:cubicBezTo>
                      <a:pt x="46" y="74"/>
                      <a:pt x="53" y="74"/>
                      <a:pt x="61" y="75"/>
                    </a:cubicBezTo>
                    <a:cubicBezTo>
                      <a:pt x="61" y="72"/>
                      <a:pt x="59" y="71"/>
                      <a:pt x="57" y="70"/>
                    </a:cubicBezTo>
                    <a:cubicBezTo>
                      <a:pt x="49" y="68"/>
                      <a:pt x="40" y="68"/>
                      <a:pt x="32" y="69"/>
                    </a:cubicBezTo>
                    <a:close/>
                    <a:moveTo>
                      <a:pt x="56" y="98"/>
                    </a:moveTo>
                    <a:cubicBezTo>
                      <a:pt x="59" y="97"/>
                      <a:pt x="60" y="96"/>
                      <a:pt x="61" y="93"/>
                    </a:cubicBezTo>
                    <a:cubicBezTo>
                      <a:pt x="60" y="93"/>
                      <a:pt x="57" y="93"/>
                      <a:pt x="54" y="93"/>
                    </a:cubicBezTo>
                    <a:cubicBezTo>
                      <a:pt x="48" y="92"/>
                      <a:pt x="44" y="92"/>
                      <a:pt x="41" y="92"/>
                    </a:cubicBezTo>
                    <a:cubicBezTo>
                      <a:pt x="40" y="92"/>
                      <a:pt x="38" y="92"/>
                      <a:pt x="36" y="93"/>
                    </a:cubicBezTo>
                    <a:cubicBezTo>
                      <a:pt x="31" y="93"/>
                      <a:pt x="28" y="94"/>
                      <a:pt x="26" y="94"/>
                    </a:cubicBezTo>
                    <a:cubicBezTo>
                      <a:pt x="27" y="96"/>
                      <a:pt x="29" y="98"/>
                      <a:pt x="32" y="98"/>
                    </a:cubicBezTo>
                    <a:cubicBezTo>
                      <a:pt x="39" y="99"/>
                      <a:pt x="47" y="99"/>
                      <a:pt x="56" y="98"/>
                    </a:cubicBezTo>
                    <a:close/>
                    <a:moveTo>
                      <a:pt x="56" y="29"/>
                    </a:moveTo>
                    <a:cubicBezTo>
                      <a:pt x="55" y="29"/>
                      <a:pt x="53" y="29"/>
                      <a:pt x="51" y="29"/>
                    </a:cubicBezTo>
                    <a:cubicBezTo>
                      <a:pt x="49" y="29"/>
                      <a:pt x="47" y="29"/>
                      <a:pt x="46" y="29"/>
                    </a:cubicBezTo>
                    <a:cubicBezTo>
                      <a:pt x="46" y="31"/>
                      <a:pt x="46" y="34"/>
                      <a:pt x="46" y="37"/>
                    </a:cubicBezTo>
                    <a:cubicBezTo>
                      <a:pt x="50" y="37"/>
                      <a:pt x="55" y="37"/>
                      <a:pt x="60" y="37"/>
                    </a:cubicBezTo>
                    <a:cubicBezTo>
                      <a:pt x="60" y="35"/>
                      <a:pt x="60" y="35"/>
                      <a:pt x="60" y="35"/>
                    </a:cubicBezTo>
                    <a:cubicBezTo>
                      <a:pt x="60" y="32"/>
                      <a:pt x="58" y="30"/>
                      <a:pt x="56" y="29"/>
                    </a:cubicBezTo>
                    <a:close/>
                    <a:moveTo>
                      <a:pt x="59" y="48"/>
                    </a:moveTo>
                    <a:cubicBezTo>
                      <a:pt x="59" y="47"/>
                      <a:pt x="59" y="45"/>
                      <a:pt x="60" y="43"/>
                    </a:cubicBezTo>
                    <a:cubicBezTo>
                      <a:pt x="55" y="43"/>
                      <a:pt x="51" y="43"/>
                      <a:pt x="46" y="43"/>
                    </a:cubicBezTo>
                    <a:cubicBezTo>
                      <a:pt x="46" y="52"/>
                      <a:pt x="46" y="52"/>
                      <a:pt x="46" y="52"/>
                    </a:cubicBezTo>
                    <a:cubicBezTo>
                      <a:pt x="48" y="52"/>
                      <a:pt x="51" y="52"/>
                      <a:pt x="54" y="52"/>
                    </a:cubicBezTo>
                    <a:cubicBezTo>
                      <a:pt x="57" y="51"/>
                      <a:pt x="59" y="49"/>
                      <a:pt x="59" y="4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27" name="îSḻide"/>
              <p:cNvSpPr/>
              <p:nvPr/>
            </p:nvSpPr>
            <p:spPr bwMode="auto">
              <a:xfrm>
                <a:off x="2449409" y="5256803"/>
                <a:ext cx="139700" cy="265113"/>
              </a:xfrm>
              <a:custGeom>
                <a:avLst/>
                <a:gdLst>
                  <a:gd name="T0" fmla="*/ 56 w 76"/>
                  <a:gd name="T1" fmla="*/ 3 h 144"/>
                  <a:gd name="T2" fmla="*/ 61 w 76"/>
                  <a:gd name="T3" fmla="*/ 45 h 144"/>
                  <a:gd name="T4" fmla="*/ 50 w 76"/>
                  <a:gd name="T5" fmla="*/ 74 h 144"/>
                  <a:gd name="T6" fmla="*/ 68 w 76"/>
                  <a:gd name="T7" fmla="*/ 65 h 144"/>
                  <a:gd name="T8" fmla="*/ 70 w 76"/>
                  <a:gd name="T9" fmla="*/ 31 h 144"/>
                  <a:gd name="T10" fmla="*/ 74 w 76"/>
                  <a:gd name="T11" fmla="*/ 31 h 144"/>
                  <a:gd name="T12" fmla="*/ 74 w 76"/>
                  <a:gd name="T13" fmla="*/ 64 h 144"/>
                  <a:gd name="T14" fmla="*/ 50 w 76"/>
                  <a:gd name="T15" fmla="*/ 81 h 144"/>
                  <a:gd name="T16" fmla="*/ 69 w 76"/>
                  <a:gd name="T17" fmla="*/ 103 h 144"/>
                  <a:gd name="T18" fmla="*/ 74 w 76"/>
                  <a:gd name="T19" fmla="*/ 140 h 144"/>
                  <a:gd name="T20" fmla="*/ 63 w 76"/>
                  <a:gd name="T21" fmla="*/ 105 h 144"/>
                  <a:gd name="T22" fmla="*/ 52 w 76"/>
                  <a:gd name="T23" fmla="*/ 138 h 144"/>
                  <a:gd name="T24" fmla="*/ 46 w 76"/>
                  <a:gd name="T25" fmla="*/ 139 h 144"/>
                  <a:gd name="T26" fmla="*/ 42 w 76"/>
                  <a:gd name="T27" fmla="*/ 57 h 144"/>
                  <a:gd name="T28" fmla="*/ 35 w 76"/>
                  <a:gd name="T29" fmla="*/ 132 h 144"/>
                  <a:gd name="T30" fmla="*/ 27 w 76"/>
                  <a:gd name="T31" fmla="*/ 136 h 144"/>
                  <a:gd name="T32" fmla="*/ 29 w 76"/>
                  <a:gd name="T33" fmla="*/ 95 h 144"/>
                  <a:gd name="T34" fmla="*/ 5 w 76"/>
                  <a:gd name="T35" fmla="*/ 135 h 144"/>
                  <a:gd name="T36" fmla="*/ 0 w 76"/>
                  <a:gd name="T37" fmla="*/ 135 h 144"/>
                  <a:gd name="T38" fmla="*/ 30 w 76"/>
                  <a:gd name="T39" fmla="*/ 86 h 144"/>
                  <a:gd name="T40" fmla="*/ 26 w 76"/>
                  <a:gd name="T41" fmla="*/ 80 h 144"/>
                  <a:gd name="T42" fmla="*/ 5 w 76"/>
                  <a:gd name="T43" fmla="*/ 66 h 144"/>
                  <a:gd name="T44" fmla="*/ 3 w 76"/>
                  <a:gd name="T45" fmla="*/ 29 h 144"/>
                  <a:gd name="T46" fmla="*/ 9 w 76"/>
                  <a:gd name="T47" fmla="*/ 59 h 144"/>
                  <a:gd name="T48" fmla="*/ 31 w 76"/>
                  <a:gd name="T49" fmla="*/ 74 h 144"/>
                  <a:gd name="T50" fmla="*/ 32 w 76"/>
                  <a:gd name="T51" fmla="*/ 57 h 144"/>
                  <a:gd name="T52" fmla="*/ 16 w 76"/>
                  <a:gd name="T53" fmla="*/ 14 h 144"/>
                  <a:gd name="T54" fmla="*/ 22 w 76"/>
                  <a:gd name="T55" fmla="*/ 19 h 144"/>
                  <a:gd name="T56" fmla="*/ 57 w 76"/>
                  <a:gd name="T57" fmla="*/ 19 h 144"/>
                  <a:gd name="T58" fmla="*/ 50 w 76"/>
                  <a:gd name="T59" fmla="*/ 9 h 144"/>
                  <a:gd name="T60" fmla="*/ 22 w 76"/>
                  <a:gd name="T61" fmla="*/ 19 h 144"/>
                  <a:gd name="T62" fmla="*/ 23 w 76"/>
                  <a:gd name="T63" fmla="*/ 31 h 144"/>
                  <a:gd name="T64" fmla="*/ 57 w 76"/>
                  <a:gd name="T65" fmla="*/ 34 h 144"/>
                  <a:gd name="T66" fmla="*/ 22 w 76"/>
                  <a:gd name="T67" fmla="*/ 27 h 144"/>
                  <a:gd name="T68" fmla="*/ 48 w 76"/>
                  <a:gd name="T69" fmla="*/ 50 h 144"/>
                  <a:gd name="T70" fmla="*/ 57 w 76"/>
                  <a:gd name="T71" fmla="*/ 41 h 144"/>
                  <a:gd name="T72" fmla="*/ 25 w 76"/>
                  <a:gd name="T73" fmla="*/ 44 h 1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76" h="144">
                    <a:moveTo>
                      <a:pt x="27" y="2"/>
                    </a:moveTo>
                    <a:cubicBezTo>
                      <a:pt x="37" y="0"/>
                      <a:pt x="47" y="0"/>
                      <a:pt x="56" y="3"/>
                    </a:cubicBezTo>
                    <a:cubicBezTo>
                      <a:pt x="60" y="3"/>
                      <a:pt x="62" y="7"/>
                      <a:pt x="63" y="15"/>
                    </a:cubicBezTo>
                    <a:cubicBezTo>
                      <a:pt x="65" y="25"/>
                      <a:pt x="64" y="35"/>
                      <a:pt x="61" y="45"/>
                    </a:cubicBezTo>
                    <a:cubicBezTo>
                      <a:pt x="60" y="53"/>
                      <a:pt x="55" y="56"/>
                      <a:pt x="49" y="57"/>
                    </a:cubicBezTo>
                    <a:cubicBezTo>
                      <a:pt x="49" y="62"/>
                      <a:pt x="50" y="68"/>
                      <a:pt x="50" y="74"/>
                    </a:cubicBezTo>
                    <a:cubicBezTo>
                      <a:pt x="53" y="74"/>
                      <a:pt x="56" y="74"/>
                      <a:pt x="58" y="74"/>
                    </a:cubicBezTo>
                    <a:cubicBezTo>
                      <a:pt x="62" y="75"/>
                      <a:pt x="66" y="72"/>
                      <a:pt x="68" y="65"/>
                    </a:cubicBezTo>
                    <a:cubicBezTo>
                      <a:pt x="69" y="62"/>
                      <a:pt x="70" y="53"/>
                      <a:pt x="70" y="39"/>
                    </a:cubicBezTo>
                    <a:cubicBezTo>
                      <a:pt x="70" y="35"/>
                      <a:pt x="70" y="32"/>
                      <a:pt x="70" y="31"/>
                    </a:cubicBezTo>
                    <a:cubicBezTo>
                      <a:pt x="71" y="31"/>
                      <a:pt x="71" y="30"/>
                      <a:pt x="72" y="30"/>
                    </a:cubicBezTo>
                    <a:cubicBezTo>
                      <a:pt x="73" y="30"/>
                      <a:pt x="74" y="30"/>
                      <a:pt x="74" y="31"/>
                    </a:cubicBezTo>
                    <a:cubicBezTo>
                      <a:pt x="75" y="33"/>
                      <a:pt x="76" y="36"/>
                      <a:pt x="76" y="41"/>
                    </a:cubicBezTo>
                    <a:cubicBezTo>
                      <a:pt x="76" y="49"/>
                      <a:pt x="75" y="56"/>
                      <a:pt x="74" y="64"/>
                    </a:cubicBezTo>
                    <a:cubicBezTo>
                      <a:pt x="72" y="75"/>
                      <a:pt x="67" y="81"/>
                      <a:pt x="58" y="81"/>
                    </a:cubicBezTo>
                    <a:cubicBezTo>
                      <a:pt x="50" y="81"/>
                      <a:pt x="50" y="81"/>
                      <a:pt x="50" y="81"/>
                    </a:cubicBezTo>
                    <a:cubicBezTo>
                      <a:pt x="50" y="87"/>
                      <a:pt x="50" y="87"/>
                      <a:pt x="50" y="87"/>
                    </a:cubicBezTo>
                    <a:cubicBezTo>
                      <a:pt x="60" y="87"/>
                      <a:pt x="66" y="92"/>
                      <a:pt x="69" y="103"/>
                    </a:cubicBezTo>
                    <a:cubicBezTo>
                      <a:pt x="72" y="112"/>
                      <a:pt x="74" y="122"/>
                      <a:pt x="76" y="134"/>
                    </a:cubicBezTo>
                    <a:cubicBezTo>
                      <a:pt x="76" y="138"/>
                      <a:pt x="75" y="140"/>
                      <a:pt x="74" y="140"/>
                    </a:cubicBezTo>
                    <a:cubicBezTo>
                      <a:pt x="72" y="141"/>
                      <a:pt x="71" y="139"/>
                      <a:pt x="70" y="136"/>
                    </a:cubicBezTo>
                    <a:cubicBezTo>
                      <a:pt x="68" y="126"/>
                      <a:pt x="66" y="116"/>
                      <a:pt x="63" y="105"/>
                    </a:cubicBezTo>
                    <a:cubicBezTo>
                      <a:pt x="61" y="98"/>
                      <a:pt x="57" y="95"/>
                      <a:pt x="50" y="95"/>
                    </a:cubicBezTo>
                    <a:cubicBezTo>
                      <a:pt x="50" y="109"/>
                      <a:pt x="51" y="123"/>
                      <a:pt x="52" y="138"/>
                    </a:cubicBezTo>
                    <a:cubicBezTo>
                      <a:pt x="52" y="141"/>
                      <a:pt x="51" y="143"/>
                      <a:pt x="49" y="144"/>
                    </a:cubicBezTo>
                    <a:cubicBezTo>
                      <a:pt x="47" y="144"/>
                      <a:pt x="46" y="142"/>
                      <a:pt x="46" y="139"/>
                    </a:cubicBezTo>
                    <a:cubicBezTo>
                      <a:pt x="44" y="134"/>
                      <a:pt x="43" y="118"/>
                      <a:pt x="43" y="92"/>
                    </a:cubicBezTo>
                    <a:cubicBezTo>
                      <a:pt x="43" y="76"/>
                      <a:pt x="43" y="64"/>
                      <a:pt x="42" y="57"/>
                    </a:cubicBezTo>
                    <a:cubicBezTo>
                      <a:pt x="38" y="57"/>
                      <a:pt x="38" y="57"/>
                      <a:pt x="38" y="57"/>
                    </a:cubicBezTo>
                    <a:cubicBezTo>
                      <a:pt x="36" y="88"/>
                      <a:pt x="35" y="113"/>
                      <a:pt x="35" y="132"/>
                    </a:cubicBezTo>
                    <a:cubicBezTo>
                      <a:pt x="35" y="138"/>
                      <a:pt x="33" y="142"/>
                      <a:pt x="31" y="142"/>
                    </a:cubicBezTo>
                    <a:cubicBezTo>
                      <a:pt x="29" y="142"/>
                      <a:pt x="27" y="140"/>
                      <a:pt x="27" y="136"/>
                    </a:cubicBezTo>
                    <a:cubicBezTo>
                      <a:pt x="27" y="136"/>
                      <a:pt x="27" y="134"/>
                      <a:pt x="27" y="132"/>
                    </a:cubicBezTo>
                    <a:cubicBezTo>
                      <a:pt x="28" y="118"/>
                      <a:pt x="29" y="105"/>
                      <a:pt x="29" y="95"/>
                    </a:cubicBezTo>
                    <a:cubicBezTo>
                      <a:pt x="19" y="95"/>
                      <a:pt x="14" y="98"/>
                      <a:pt x="13" y="105"/>
                    </a:cubicBezTo>
                    <a:cubicBezTo>
                      <a:pt x="10" y="114"/>
                      <a:pt x="7" y="124"/>
                      <a:pt x="5" y="135"/>
                    </a:cubicBezTo>
                    <a:cubicBezTo>
                      <a:pt x="4" y="137"/>
                      <a:pt x="3" y="139"/>
                      <a:pt x="2" y="139"/>
                    </a:cubicBezTo>
                    <a:cubicBezTo>
                      <a:pt x="1" y="140"/>
                      <a:pt x="0" y="138"/>
                      <a:pt x="0" y="135"/>
                    </a:cubicBezTo>
                    <a:cubicBezTo>
                      <a:pt x="0" y="125"/>
                      <a:pt x="2" y="115"/>
                      <a:pt x="7" y="104"/>
                    </a:cubicBezTo>
                    <a:cubicBezTo>
                      <a:pt x="11" y="92"/>
                      <a:pt x="18" y="86"/>
                      <a:pt x="30" y="86"/>
                    </a:cubicBezTo>
                    <a:cubicBezTo>
                      <a:pt x="30" y="85"/>
                      <a:pt x="30" y="83"/>
                      <a:pt x="31" y="80"/>
                    </a:cubicBezTo>
                    <a:cubicBezTo>
                      <a:pt x="29" y="81"/>
                      <a:pt x="28" y="81"/>
                      <a:pt x="26" y="80"/>
                    </a:cubicBezTo>
                    <a:cubicBezTo>
                      <a:pt x="24" y="80"/>
                      <a:pt x="23" y="80"/>
                      <a:pt x="22" y="80"/>
                    </a:cubicBezTo>
                    <a:cubicBezTo>
                      <a:pt x="14" y="81"/>
                      <a:pt x="8" y="76"/>
                      <a:pt x="5" y="66"/>
                    </a:cubicBezTo>
                    <a:cubicBezTo>
                      <a:pt x="2" y="59"/>
                      <a:pt x="0" y="49"/>
                      <a:pt x="0" y="37"/>
                    </a:cubicBezTo>
                    <a:cubicBezTo>
                      <a:pt x="0" y="32"/>
                      <a:pt x="1" y="29"/>
                      <a:pt x="3" y="29"/>
                    </a:cubicBezTo>
                    <a:cubicBezTo>
                      <a:pt x="6" y="31"/>
                      <a:pt x="8" y="35"/>
                      <a:pt x="8" y="39"/>
                    </a:cubicBezTo>
                    <a:cubicBezTo>
                      <a:pt x="7" y="45"/>
                      <a:pt x="7" y="52"/>
                      <a:pt x="9" y="59"/>
                    </a:cubicBezTo>
                    <a:cubicBezTo>
                      <a:pt x="10" y="68"/>
                      <a:pt x="16" y="73"/>
                      <a:pt x="24" y="74"/>
                    </a:cubicBezTo>
                    <a:cubicBezTo>
                      <a:pt x="26" y="74"/>
                      <a:pt x="29" y="74"/>
                      <a:pt x="31" y="74"/>
                    </a:cubicBezTo>
                    <a:cubicBezTo>
                      <a:pt x="31" y="72"/>
                      <a:pt x="31" y="69"/>
                      <a:pt x="31" y="65"/>
                    </a:cubicBezTo>
                    <a:cubicBezTo>
                      <a:pt x="31" y="61"/>
                      <a:pt x="32" y="58"/>
                      <a:pt x="32" y="57"/>
                    </a:cubicBezTo>
                    <a:cubicBezTo>
                      <a:pt x="25" y="56"/>
                      <a:pt x="20" y="53"/>
                      <a:pt x="19" y="48"/>
                    </a:cubicBezTo>
                    <a:cubicBezTo>
                      <a:pt x="15" y="36"/>
                      <a:pt x="14" y="25"/>
                      <a:pt x="16" y="14"/>
                    </a:cubicBezTo>
                    <a:cubicBezTo>
                      <a:pt x="17" y="6"/>
                      <a:pt x="21" y="2"/>
                      <a:pt x="27" y="2"/>
                    </a:cubicBezTo>
                    <a:close/>
                    <a:moveTo>
                      <a:pt x="22" y="19"/>
                    </a:moveTo>
                    <a:cubicBezTo>
                      <a:pt x="22" y="20"/>
                      <a:pt x="22" y="20"/>
                      <a:pt x="22" y="20"/>
                    </a:cubicBezTo>
                    <a:cubicBezTo>
                      <a:pt x="30" y="20"/>
                      <a:pt x="42" y="19"/>
                      <a:pt x="57" y="19"/>
                    </a:cubicBezTo>
                    <a:cubicBezTo>
                      <a:pt x="57" y="18"/>
                      <a:pt x="57" y="17"/>
                      <a:pt x="57" y="16"/>
                    </a:cubicBezTo>
                    <a:cubicBezTo>
                      <a:pt x="56" y="13"/>
                      <a:pt x="54" y="10"/>
                      <a:pt x="50" y="9"/>
                    </a:cubicBezTo>
                    <a:cubicBezTo>
                      <a:pt x="44" y="8"/>
                      <a:pt x="37" y="7"/>
                      <a:pt x="31" y="9"/>
                    </a:cubicBezTo>
                    <a:cubicBezTo>
                      <a:pt x="25" y="11"/>
                      <a:pt x="22" y="14"/>
                      <a:pt x="22" y="19"/>
                    </a:cubicBezTo>
                    <a:close/>
                    <a:moveTo>
                      <a:pt x="22" y="27"/>
                    </a:moveTo>
                    <a:cubicBezTo>
                      <a:pt x="22" y="28"/>
                      <a:pt x="22" y="29"/>
                      <a:pt x="23" y="31"/>
                    </a:cubicBezTo>
                    <a:cubicBezTo>
                      <a:pt x="23" y="32"/>
                      <a:pt x="23" y="33"/>
                      <a:pt x="23" y="34"/>
                    </a:cubicBezTo>
                    <a:cubicBezTo>
                      <a:pt x="57" y="34"/>
                      <a:pt x="57" y="34"/>
                      <a:pt x="57" y="34"/>
                    </a:cubicBezTo>
                    <a:cubicBezTo>
                      <a:pt x="57" y="27"/>
                      <a:pt x="57" y="27"/>
                      <a:pt x="57" y="27"/>
                    </a:cubicBezTo>
                    <a:cubicBezTo>
                      <a:pt x="45" y="26"/>
                      <a:pt x="33" y="26"/>
                      <a:pt x="22" y="27"/>
                    </a:cubicBezTo>
                    <a:close/>
                    <a:moveTo>
                      <a:pt x="35" y="50"/>
                    </a:moveTo>
                    <a:cubicBezTo>
                      <a:pt x="48" y="50"/>
                      <a:pt x="48" y="50"/>
                      <a:pt x="48" y="50"/>
                    </a:cubicBezTo>
                    <a:cubicBezTo>
                      <a:pt x="53" y="50"/>
                      <a:pt x="55" y="47"/>
                      <a:pt x="57" y="42"/>
                    </a:cubicBezTo>
                    <a:cubicBezTo>
                      <a:pt x="57" y="41"/>
                      <a:pt x="57" y="41"/>
                      <a:pt x="57" y="41"/>
                    </a:cubicBezTo>
                    <a:cubicBezTo>
                      <a:pt x="43" y="41"/>
                      <a:pt x="32" y="41"/>
                      <a:pt x="24" y="42"/>
                    </a:cubicBezTo>
                    <a:cubicBezTo>
                      <a:pt x="24" y="43"/>
                      <a:pt x="24" y="43"/>
                      <a:pt x="25" y="44"/>
                    </a:cubicBezTo>
                    <a:cubicBezTo>
                      <a:pt x="27" y="48"/>
                      <a:pt x="30" y="50"/>
                      <a:pt x="35" y="5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28" name="iṣlîḋè"/>
              <p:cNvSpPr/>
              <p:nvPr/>
            </p:nvSpPr>
            <p:spPr bwMode="auto">
              <a:xfrm>
                <a:off x="2604984" y="5259978"/>
                <a:ext cx="177800" cy="255588"/>
              </a:xfrm>
              <a:custGeom>
                <a:avLst/>
                <a:gdLst>
                  <a:gd name="T0" fmla="*/ 5 w 96"/>
                  <a:gd name="T1" fmla="*/ 37 h 138"/>
                  <a:gd name="T2" fmla="*/ 24 w 96"/>
                  <a:gd name="T3" fmla="*/ 49 h 138"/>
                  <a:gd name="T4" fmla="*/ 7 w 96"/>
                  <a:gd name="T5" fmla="*/ 26 h 138"/>
                  <a:gd name="T6" fmla="*/ 0 w 96"/>
                  <a:gd name="T7" fmla="*/ 22 h 138"/>
                  <a:gd name="T8" fmla="*/ 44 w 96"/>
                  <a:gd name="T9" fmla="*/ 19 h 138"/>
                  <a:gd name="T10" fmla="*/ 40 w 96"/>
                  <a:gd name="T11" fmla="*/ 26 h 138"/>
                  <a:gd name="T12" fmla="*/ 29 w 96"/>
                  <a:gd name="T13" fmla="*/ 49 h 138"/>
                  <a:gd name="T14" fmla="*/ 42 w 96"/>
                  <a:gd name="T15" fmla="*/ 39 h 138"/>
                  <a:gd name="T16" fmla="*/ 36 w 96"/>
                  <a:gd name="T17" fmla="*/ 64 h 138"/>
                  <a:gd name="T18" fmla="*/ 44 w 96"/>
                  <a:gd name="T19" fmla="*/ 70 h 138"/>
                  <a:gd name="T20" fmla="*/ 30 w 96"/>
                  <a:gd name="T21" fmla="*/ 78 h 138"/>
                  <a:gd name="T22" fmla="*/ 48 w 96"/>
                  <a:gd name="T23" fmla="*/ 111 h 138"/>
                  <a:gd name="T24" fmla="*/ 42 w 96"/>
                  <a:gd name="T25" fmla="*/ 124 h 138"/>
                  <a:gd name="T26" fmla="*/ 33 w 96"/>
                  <a:gd name="T27" fmla="*/ 93 h 138"/>
                  <a:gd name="T28" fmla="*/ 30 w 96"/>
                  <a:gd name="T29" fmla="*/ 116 h 138"/>
                  <a:gd name="T30" fmla="*/ 24 w 96"/>
                  <a:gd name="T31" fmla="*/ 133 h 138"/>
                  <a:gd name="T32" fmla="*/ 20 w 96"/>
                  <a:gd name="T33" fmla="*/ 93 h 138"/>
                  <a:gd name="T34" fmla="*/ 11 w 96"/>
                  <a:gd name="T35" fmla="*/ 122 h 138"/>
                  <a:gd name="T36" fmla="*/ 8 w 96"/>
                  <a:gd name="T37" fmla="*/ 102 h 138"/>
                  <a:gd name="T38" fmla="*/ 24 w 96"/>
                  <a:gd name="T39" fmla="*/ 81 h 138"/>
                  <a:gd name="T40" fmla="*/ 3 w 96"/>
                  <a:gd name="T41" fmla="*/ 77 h 138"/>
                  <a:gd name="T42" fmla="*/ 14 w 96"/>
                  <a:gd name="T43" fmla="*/ 70 h 138"/>
                  <a:gd name="T44" fmla="*/ 20 w 96"/>
                  <a:gd name="T45" fmla="*/ 65 h 138"/>
                  <a:gd name="T46" fmla="*/ 2 w 96"/>
                  <a:gd name="T47" fmla="*/ 37 h 138"/>
                  <a:gd name="T48" fmla="*/ 40 w 96"/>
                  <a:gd name="T49" fmla="*/ 3 h 138"/>
                  <a:gd name="T50" fmla="*/ 14 w 96"/>
                  <a:gd name="T51" fmla="*/ 11 h 138"/>
                  <a:gd name="T52" fmla="*/ 5 w 96"/>
                  <a:gd name="T53" fmla="*/ 6 h 138"/>
                  <a:gd name="T54" fmla="*/ 33 w 96"/>
                  <a:gd name="T55" fmla="*/ 26 h 138"/>
                  <a:gd name="T56" fmla="*/ 27 w 96"/>
                  <a:gd name="T57" fmla="*/ 45 h 138"/>
                  <a:gd name="T58" fmla="*/ 54 w 96"/>
                  <a:gd name="T59" fmla="*/ 2 h 138"/>
                  <a:gd name="T60" fmla="*/ 58 w 96"/>
                  <a:gd name="T61" fmla="*/ 10 h 138"/>
                  <a:gd name="T62" fmla="*/ 88 w 96"/>
                  <a:gd name="T63" fmla="*/ 22 h 138"/>
                  <a:gd name="T64" fmla="*/ 74 w 96"/>
                  <a:gd name="T65" fmla="*/ 37 h 138"/>
                  <a:gd name="T66" fmla="*/ 62 w 96"/>
                  <a:gd name="T67" fmla="*/ 66 h 138"/>
                  <a:gd name="T68" fmla="*/ 53 w 96"/>
                  <a:gd name="T69" fmla="*/ 136 h 138"/>
                  <a:gd name="T70" fmla="*/ 48 w 96"/>
                  <a:gd name="T71" fmla="*/ 130 h 138"/>
                  <a:gd name="T72" fmla="*/ 55 w 96"/>
                  <a:gd name="T73" fmla="*/ 48 h 138"/>
                  <a:gd name="T74" fmla="*/ 76 w 96"/>
                  <a:gd name="T75" fmla="*/ 31 h 138"/>
                  <a:gd name="T76" fmla="*/ 65 w 96"/>
                  <a:gd name="T77" fmla="*/ 18 h 138"/>
                  <a:gd name="T78" fmla="*/ 52 w 96"/>
                  <a:gd name="T79" fmla="*/ 13 h 138"/>
                  <a:gd name="T80" fmla="*/ 94 w 96"/>
                  <a:gd name="T81" fmla="*/ 74 h 138"/>
                  <a:gd name="T82" fmla="*/ 76 w 96"/>
                  <a:gd name="T83" fmla="*/ 54 h 138"/>
                  <a:gd name="T84" fmla="*/ 83 w 96"/>
                  <a:gd name="T85" fmla="*/ 119 h 138"/>
                  <a:gd name="T86" fmla="*/ 88 w 96"/>
                  <a:gd name="T87" fmla="*/ 133 h 138"/>
                  <a:gd name="T88" fmla="*/ 70 w 96"/>
                  <a:gd name="T89" fmla="*/ 93 h 138"/>
                  <a:gd name="T90" fmla="*/ 70 w 96"/>
                  <a:gd name="T91" fmla="*/ 42 h 138"/>
                  <a:gd name="T92" fmla="*/ 95 w 96"/>
                  <a:gd name="T93" fmla="*/ 70 h 1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96" h="138">
                    <a:moveTo>
                      <a:pt x="2" y="37"/>
                    </a:moveTo>
                    <a:cubicBezTo>
                      <a:pt x="2" y="36"/>
                      <a:pt x="2" y="35"/>
                      <a:pt x="3" y="35"/>
                    </a:cubicBezTo>
                    <a:cubicBezTo>
                      <a:pt x="4" y="35"/>
                      <a:pt x="5" y="36"/>
                      <a:pt x="5" y="37"/>
                    </a:cubicBezTo>
                    <a:cubicBezTo>
                      <a:pt x="9" y="49"/>
                      <a:pt x="14" y="56"/>
                      <a:pt x="21" y="59"/>
                    </a:cubicBezTo>
                    <a:cubicBezTo>
                      <a:pt x="21" y="59"/>
                      <a:pt x="22" y="60"/>
                      <a:pt x="24" y="60"/>
                    </a:cubicBezTo>
                    <a:cubicBezTo>
                      <a:pt x="24" y="56"/>
                      <a:pt x="24" y="53"/>
                      <a:pt x="24" y="49"/>
                    </a:cubicBezTo>
                    <a:cubicBezTo>
                      <a:pt x="21" y="48"/>
                      <a:pt x="18" y="46"/>
                      <a:pt x="16" y="42"/>
                    </a:cubicBezTo>
                    <a:cubicBezTo>
                      <a:pt x="13" y="38"/>
                      <a:pt x="12" y="33"/>
                      <a:pt x="12" y="26"/>
                    </a:cubicBezTo>
                    <a:cubicBezTo>
                      <a:pt x="9" y="26"/>
                      <a:pt x="8" y="26"/>
                      <a:pt x="7" y="26"/>
                    </a:cubicBezTo>
                    <a:cubicBezTo>
                      <a:pt x="4" y="27"/>
                      <a:pt x="2" y="27"/>
                      <a:pt x="1" y="25"/>
                    </a:cubicBezTo>
                    <a:cubicBezTo>
                      <a:pt x="0" y="24"/>
                      <a:pt x="0" y="23"/>
                      <a:pt x="0" y="22"/>
                    </a:cubicBezTo>
                    <a:cubicBezTo>
                      <a:pt x="0" y="22"/>
                      <a:pt x="0" y="22"/>
                      <a:pt x="0" y="22"/>
                    </a:cubicBezTo>
                    <a:cubicBezTo>
                      <a:pt x="1" y="19"/>
                      <a:pt x="2" y="18"/>
                      <a:pt x="4" y="19"/>
                    </a:cubicBezTo>
                    <a:cubicBezTo>
                      <a:pt x="6" y="19"/>
                      <a:pt x="8" y="19"/>
                      <a:pt x="11" y="19"/>
                    </a:cubicBezTo>
                    <a:cubicBezTo>
                      <a:pt x="44" y="19"/>
                      <a:pt x="44" y="19"/>
                      <a:pt x="44" y="19"/>
                    </a:cubicBezTo>
                    <a:cubicBezTo>
                      <a:pt x="46" y="19"/>
                      <a:pt x="48" y="20"/>
                      <a:pt x="48" y="23"/>
                    </a:cubicBezTo>
                    <a:cubicBezTo>
                      <a:pt x="47" y="25"/>
                      <a:pt x="45" y="26"/>
                      <a:pt x="42" y="26"/>
                    </a:cubicBezTo>
                    <a:cubicBezTo>
                      <a:pt x="42" y="26"/>
                      <a:pt x="41" y="26"/>
                      <a:pt x="40" y="26"/>
                    </a:cubicBezTo>
                    <a:cubicBezTo>
                      <a:pt x="40" y="26"/>
                      <a:pt x="40" y="26"/>
                      <a:pt x="40" y="26"/>
                    </a:cubicBezTo>
                    <a:cubicBezTo>
                      <a:pt x="39" y="34"/>
                      <a:pt x="38" y="39"/>
                      <a:pt x="37" y="42"/>
                    </a:cubicBezTo>
                    <a:cubicBezTo>
                      <a:pt x="34" y="46"/>
                      <a:pt x="32" y="49"/>
                      <a:pt x="29" y="49"/>
                    </a:cubicBezTo>
                    <a:cubicBezTo>
                      <a:pt x="30" y="53"/>
                      <a:pt x="30" y="56"/>
                      <a:pt x="30" y="60"/>
                    </a:cubicBezTo>
                    <a:cubicBezTo>
                      <a:pt x="31" y="60"/>
                      <a:pt x="32" y="59"/>
                      <a:pt x="33" y="58"/>
                    </a:cubicBezTo>
                    <a:cubicBezTo>
                      <a:pt x="39" y="56"/>
                      <a:pt x="42" y="49"/>
                      <a:pt x="42" y="39"/>
                    </a:cubicBezTo>
                    <a:cubicBezTo>
                      <a:pt x="43" y="37"/>
                      <a:pt x="44" y="36"/>
                      <a:pt x="46" y="36"/>
                    </a:cubicBezTo>
                    <a:cubicBezTo>
                      <a:pt x="47" y="36"/>
                      <a:pt x="48" y="37"/>
                      <a:pt x="48" y="39"/>
                    </a:cubicBezTo>
                    <a:cubicBezTo>
                      <a:pt x="49" y="49"/>
                      <a:pt x="45" y="57"/>
                      <a:pt x="36" y="64"/>
                    </a:cubicBezTo>
                    <a:cubicBezTo>
                      <a:pt x="34" y="65"/>
                      <a:pt x="32" y="66"/>
                      <a:pt x="30" y="66"/>
                    </a:cubicBezTo>
                    <a:cubicBezTo>
                      <a:pt x="30" y="70"/>
                      <a:pt x="30" y="70"/>
                      <a:pt x="30" y="70"/>
                    </a:cubicBezTo>
                    <a:cubicBezTo>
                      <a:pt x="44" y="70"/>
                      <a:pt x="44" y="70"/>
                      <a:pt x="44" y="70"/>
                    </a:cubicBezTo>
                    <a:cubicBezTo>
                      <a:pt x="47" y="70"/>
                      <a:pt x="49" y="71"/>
                      <a:pt x="49" y="73"/>
                    </a:cubicBezTo>
                    <a:cubicBezTo>
                      <a:pt x="49" y="76"/>
                      <a:pt x="47" y="77"/>
                      <a:pt x="43" y="77"/>
                    </a:cubicBezTo>
                    <a:cubicBezTo>
                      <a:pt x="37" y="77"/>
                      <a:pt x="33" y="77"/>
                      <a:pt x="30" y="78"/>
                    </a:cubicBezTo>
                    <a:cubicBezTo>
                      <a:pt x="30" y="80"/>
                      <a:pt x="30" y="82"/>
                      <a:pt x="30" y="84"/>
                    </a:cubicBezTo>
                    <a:cubicBezTo>
                      <a:pt x="34" y="84"/>
                      <a:pt x="37" y="87"/>
                      <a:pt x="40" y="91"/>
                    </a:cubicBezTo>
                    <a:cubicBezTo>
                      <a:pt x="44" y="96"/>
                      <a:pt x="46" y="103"/>
                      <a:pt x="48" y="111"/>
                    </a:cubicBezTo>
                    <a:cubicBezTo>
                      <a:pt x="49" y="116"/>
                      <a:pt x="49" y="120"/>
                      <a:pt x="48" y="124"/>
                    </a:cubicBezTo>
                    <a:cubicBezTo>
                      <a:pt x="47" y="125"/>
                      <a:pt x="46" y="125"/>
                      <a:pt x="45" y="125"/>
                    </a:cubicBezTo>
                    <a:cubicBezTo>
                      <a:pt x="44" y="125"/>
                      <a:pt x="43" y="125"/>
                      <a:pt x="42" y="124"/>
                    </a:cubicBezTo>
                    <a:cubicBezTo>
                      <a:pt x="42" y="123"/>
                      <a:pt x="42" y="121"/>
                      <a:pt x="42" y="118"/>
                    </a:cubicBezTo>
                    <a:cubicBezTo>
                      <a:pt x="41" y="116"/>
                      <a:pt x="41" y="114"/>
                      <a:pt x="41" y="113"/>
                    </a:cubicBezTo>
                    <a:cubicBezTo>
                      <a:pt x="40" y="104"/>
                      <a:pt x="37" y="97"/>
                      <a:pt x="33" y="93"/>
                    </a:cubicBezTo>
                    <a:cubicBezTo>
                      <a:pt x="33" y="92"/>
                      <a:pt x="32" y="91"/>
                      <a:pt x="30" y="91"/>
                    </a:cubicBezTo>
                    <a:cubicBezTo>
                      <a:pt x="31" y="97"/>
                      <a:pt x="31" y="101"/>
                      <a:pt x="31" y="105"/>
                    </a:cubicBezTo>
                    <a:cubicBezTo>
                      <a:pt x="31" y="107"/>
                      <a:pt x="31" y="111"/>
                      <a:pt x="30" y="116"/>
                    </a:cubicBezTo>
                    <a:cubicBezTo>
                      <a:pt x="30" y="124"/>
                      <a:pt x="30" y="129"/>
                      <a:pt x="29" y="133"/>
                    </a:cubicBezTo>
                    <a:cubicBezTo>
                      <a:pt x="29" y="136"/>
                      <a:pt x="28" y="137"/>
                      <a:pt x="27" y="137"/>
                    </a:cubicBezTo>
                    <a:cubicBezTo>
                      <a:pt x="26" y="137"/>
                      <a:pt x="25" y="136"/>
                      <a:pt x="24" y="133"/>
                    </a:cubicBezTo>
                    <a:cubicBezTo>
                      <a:pt x="24" y="120"/>
                      <a:pt x="24" y="111"/>
                      <a:pt x="24" y="105"/>
                    </a:cubicBezTo>
                    <a:cubicBezTo>
                      <a:pt x="24" y="100"/>
                      <a:pt x="24" y="95"/>
                      <a:pt x="24" y="90"/>
                    </a:cubicBezTo>
                    <a:cubicBezTo>
                      <a:pt x="22" y="91"/>
                      <a:pt x="21" y="92"/>
                      <a:pt x="20" y="93"/>
                    </a:cubicBezTo>
                    <a:cubicBezTo>
                      <a:pt x="18" y="94"/>
                      <a:pt x="16" y="98"/>
                      <a:pt x="14" y="102"/>
                    </a:cubicBezTo>
                    <a:cubicBezTo>
                      <a:pt x="13" y="104"/>
                      <a:pt x="13" y="104"/>
                      <a:pt x="13" y="104"/>
                    </a:cubicBezTo>
                    <a:cubicBezTo>
                      <a:pt x="12" y="108"/>
                      <a:pt x="11" y="114"/>
                      <a:pt x="11" y="122"/>
                    </a:cubicBezTo>
                    <a:cubicBezTo>
                      <a:pt x="10" y="124"/>
                      <a:pt x="9" y="125"/>
                      <a:pt x="7" y="125"/>
                    </a:cubicBezTo>
                    <a:cubicBezTo>
                      <a:pt x="6" y="125"/>
                      <a:pt x="5" y="124"/>
                      <a:pt x="5" y="122"/>
                    </a:cubicBezTo>
                    <a:cubicBezTo>
                      <a:pt x="6" y="115"/>
                      <a:pt x="7" y="108"/>
                      <a:pt x="8" y="102"/>
                    </a:cubicBezTo>
                    <a:cubicBezTo>
                      <a:pt x="9" y="97"/>
                      <a:pt x="11" y="92"/>
                      <a:pt x="14" y="89"/>
                    </a:cubicBezTo>
                    <a:cubicBezTo>
                      <a:pt x="17" y="86"/>
                      <a:pt x="20" y="84"/>
                      <a:pt x="24" y="84"/>
                    </a:cubicBezTo>
                    <a:cubicBezTo>
                      <a:pt x="24" y="81"/>
                      <a:pt x="24" y="81"/>
                      <a:pt x="24" y="81"/>
                    </a:cubicBezTo>
                    <a:cubicBezTo>
                      <a:pt x="24" y="80"/>
                      <a:pt x="24" y="79"/>
                      <a:pt x="24" y="78"/>
                    </a:cubicBezTo>
                    <a:cubicBezTo>
                      <a:pt x="14" y="78"/>
                      <a:pt x="9" y="78"/>
                      <a:pt x="9" y="78"/>
                    </a:cubicBezTo>
                    <a:cubicBezTo>
                      <a:pt x="6" y="79"/>
                      <a:pt x="4" y="79"/>
                      <a:pt x="3" y="77"/>
                    </a:cubicBezTo>
                    <a:cubicBezTo>
                      <a:pt x="2" y="76"/>
                      <a:pt x="2" y="74"/>
                      <a:pt x="3" y="72"/>
                    </a:cubicBezTo>
                    <a:cubicBezTo>
                      <a:pt x="3" y="70"/>
                      <a:pt x="4" y="70"/>
                      <a:pt x="7" y="70"/>
                    </a:cubicBezTo>
                    <a:cubicBezTo>
                      <a:pt x="8" y="70"/>
                      <a:pt x="10" y="70"/>
                      <a:pt x="14" y="70"/>
                    </a:cubicBezTo>
                    <a:cubicBezTo>
                      <a:pt x="24" y="70"/>
                      <a:pt x="24" y="70"/>
                      <a:pt x="24" y="70"/>
                    </a:cubicBezTo>
                    <a:cubicBezTo>
                      <a:pt x="24" y="66"/>
                      <a:pt x="24" y="66"/>
                      <a:pt x="24" y="66"/>
                    </a:cubicBezTo>
                    <a:cubicBezTo>
                      <a:pt x="22" y="66"/>
                      <a:pt x="21" y="66"/>
                      <a:pt x="20" y="65"/>
                    </a:cubicBezTo>
                    <a:cubicBezTo>
                      <a:pt x="12" y="62"/>
                      <a:pt x="6" y="56"/>
                      <a:pt x="2" y="46"/>
                    </a:cubicBezTo>
                    <a:cubicBezTo>
                      <a:pt x="2" y="46"/>
                      <a:pt x="2" y="43"/>
                      <a:pt x="2" y="40"/>
                    </a:cubicBezTo>
                    <a:cubicBezTo>
                      <a:pt x="2" y="39"/>
                      <a:pt x="2" y="38"/>
                      <a:pt x="2" y="37"/>
                    </a:cubicBezTo>
                    <a:close/>
                    <a:moveTo>
                      <a:pt x="9" y="3"/>
                    </a:moveTo>
                    <a:cubicBezTo>
                      <a:pt x="11" y="3"/>
                      <a:pt x="15" y="3"/>
                      <a:pt x="19" y="3"/>
                    </a:cubicBezTo>
                    <a:cubicBezTo>
                      <a:pt x="40" y="3"/>
                      <a:pt x="40" y="3"/>
                      <a:pt x="40" y="3"/>
                    </a:cubicBezTo>
                    <a:cubicBezTo>
                      <a:pt x="43" y="3"/>
                      <a:pt x="44" y="5"/>
                      <a:pt x="44" y="7"/>
                    </a:cubicBezTo>
                    <a:cubicBezTo>
                      <a:pt x="44" y="9"/>
                      <a:pt x="42" y="10"/>
                      <a:pt x="39" y="10"/>
                    </a:cubicBezTo>
                    <a:cubicBezTo>
                      <a:pt x="34" y="10"/>
                      <a:pt x="25" y="10"/>
                      <a:pt x="14" y="11"/>
                    </a:cubicBezTo>
                    <a:cubicBezTo>
                      <a:pt x="13" y="11"/>
                      <a:pt x="12" y="11"/>
                      <a:pt x="11" y="11"/>
                    </a:cubicBezTo>
                    <a:cubicBezTo>
                      <a:pt x="7" y="11"/>
                      <a:pt x="5" y="11"/>
                      <a:pt x="5" y="9"/>
                    </a:cubicBezTo>
                    <a:cubicBezTo>
                      <a:pt x="5" y="9"/>
                      <a:pt x="4" y="8"/>
                      <a:pt x="5" y="6"/>
                    </a:cubicBezTo>
                    <a:cubicBezTo>
                      <a:pt x="5" y="5"/>
                      <a:pt x="5" y="5"/>
                      <a:pt x="5" y="5"/>
                    </a:cubicBezTo>
                    <a:cubicBezTo>
                      <a:pt x="5" y="3"/>
                      <a:pt x="6" y="3"/>
                      <a:pt x="9" y="3"/>
                    </a:cubicBezTo>
                    <a:close/>
                    <a:moveTo>
                      <a:pt x="33" y="26"/>
                    </a:moveTo>
                    <a:cubicBezTo>
                      <a:pt x="28" y="26"/>
                      <a:pt x="23" y="26"/>
                      <a:pt x="17" y="26"/>
                    </a:cubicBezTo>
                    <a:cubicBezTo>
                      <a:pt x="18" y="32"/>
                      <a:pt x="20" y="38"/>
                      <a:pt x="24" y="42"/>
                    </a:cubicBezTo>
                    <a:cubicBezTo>
                      <a:pt x="25" y="44"/>
                      <a:pt x="26" y="45"/>
                      <a:pt x="27" y="45"/>
                    </a:cubicBezTo>
                    <a:cubicBezTo>
                      <a:pt x="28" y="45"/>
                      <a:pt x="29" y="44"/>
                      <a:pt x="29" y="42"/>
                    </a:cubicBezTo>
                    <a:cubicBezTo>
                      <a:pt x="32" y="38"/>
                      <a:pt x="33" y="33"/>
                      <a:pt x="33" y="26"/>
                    </a:cubicBezTo>
                    <a:close/>
                    <a:moveTo>
                      <a:pt x="54" y="2"/>
                    </a:moveTo>
                    <a:cubicBezTo>
                      <a:pt x="55" y="0"/>
                      <a:pt x="57" y="0"/>
                      <a:pt x="58" y="1"/>
                    </a:cubicBezTo>
                    <a:cubicBezTo>
                      <a:pt x="59" y="2"/>
                      <a:pt x="60" y="4"/>
                      <a:pt x="59" y="6"/>
                    </a:cubicBezTo>
                    <a:cubicBezTo>
                      <a:pt x="57" y="8"/>
                      <a:pt x="57" y="9"/>
                      <a:pt x="58" y="10"/>
                    </a:cubicBezTo>
                    <a:cubicBezTo>
                      <a:pt x="59" y="11"/>
                      <a:pt x="61" y="12"/>
                      <a:pt x="63" y="11"/>
                    </a:cubicBezTo>
                    <a:cubicBezTo>
                      <a:pt x="67" y="9"/>
                      <a:pt x="73" y="9"/>
                      <a:pt x="80" y="11"/>
                    </a:cubicBezTo>
                    <a:cubicBezTo>
                      <a:pt x="84" y="13"/>
                      <a:pt x="87" y="16"/>
                      <a:pt x="88" y="22"/>
                    </a:cubicBezTo>
                    <a:cubicBezTo>
                      <a:pt x="89" y="27"/>
                      <a:pt x="88" y="32"/>
                      <a:pt x="85" y="35"/>
                    </a:cubicBezTo>
                    <a:cubicBezTo>
                      <a:pt x="84" y="38"/>
                      <a:pt x="81" y="39"/>
                      <a:pt x="75" y="37"/>
                    </a:cubicBezTo>
                    <a:cubicBezTo>
                      <a:pt x="75" y="37"/>
                      <a:pt x="74" y="37"/>
                      <a:pt x="74" y="37"/>
                    </a:cubicBezTo>
                    <a:cubicBezTo>
                      <a:pt x="69" y="37"/>
                      <a:pt x="66" y="37"/>
                      <a:pt x="63" y="38"/>
                    </a:cubicBezTo>
                    <a:cubicBezTo>
                      <a:pt x="62" y="38"/>
                      <a:pt x="61" y="40"/>
                      <a:pt x="61" y="43"/>
                    </a:cubicBezTo>
                    <a:cubicBezTo>
                      <a:pt x="62" y="48"/>
                      <a:pt x="62" y="56"/>
                      <a:pt x="62" y="66"/>
                    </a:cubicBezTo>
                    <a:cubicBezTo>
                      <a:pt x="62" y="70"/>
                      <a:pt x="61" y="76"/>
                      <a:pt x="61" y="84"/>
                    </a:cubicBezTo>
                    <a:cubicBezTo>
                      <a:pt x="59" y="99"/>
                      <a:pt x="58" y="110"/>
                      <a:pt x="57" y="116"/>
                    </a:cubicBezTo>
                    <a:cubicBezTo>
                      <a:pt x="57" y="122"/>
                      <a:pt x="55" y="128"/>
                      <a:pt x="53" y="136"/>
                    </a:cubicBezTo>
                    <a:cubicBezTo>
                      <a:pt x="52" y="137"/>
                      <a:pt x="51" y="138"/>
                      <a:pt x="50" y="138"/>
                    </a:cubicBezTo>
                    <a:cubicBezTo>
                      <a:pt x="48" y="138"/>
                      <a:pt x="48" y="137"/>
                      <a:pt x="48" y="136"/>
                    </a:cubicBezTo>
                    <a:cubicBezTo>
                      <a:pt x="48" y="135"/>
                      <a:pt x="48" y="133"/>
                      <a:pt x="48" y="130"/>
                    </a:cubicBezTo>
                    <a:cubicBezTo>
                      <a:pt x="49" y="127"/>
                      <a:pt x="49" y="126"/>
                      <a:pt x="49" y="125"/>
                    </a:cubicBezTo>
                    <a:cubicBezTo>
                      <a:pt x="53" y="104"/>
                      <a:pt x="55" y="85"/>
                      <a:pt x="55" y="68"/>
                    </a:cubicBezTo>
                    <a:cubicBezTo>
                      <a:pt x="56" y="60"/>
                      <a:pt x="56" y="54"/>
                      <a:pt x="55" y="48"/>
                    </a:cubicBezTo>
                    <a:cubicBezTo>
                      <a:pt x="54" y="45"/>
                      <a:pt x="53" y="42"/>
                      <a:pt x="52" y="40"/>
                    </a:cubicBezTo>
                    <a:cubicBezTo>
                      <a:pt x="50" y="38"/>
                      <a:pt x="51" y="36"/>
                      <a:pt x="54" y="34"/>
                    </a:cubicBezTo>
                    <a:cubicBezTo>
                      <a:pt x="58" y="30"/>
                      <a:pt x="66" y="29"/>
                      <a:pt x="76" y="31"/>
                    </a:cubicBezTo>
                    <a:cubicBezTo>
                      <a:pt x="81" y="32"/>
                      <a:pt x="83" y="30"/>
                      <a:pt x="83" y="25"/>
                    </a:cubicBezTo>
                    <a:cubicBezTo>
                      <a:pt x="83" y="21"/>
                      <a:pt x="81" y="18"/>
                      <a:pt x="77" y="18"/>
                    </a:cubicBezTo>
                    <a:cubicBezTo>
                      <a:pt x="70" y="17"/>
                      <a:pt x="66" y="17"/>
                      <a:pt x="65" y="18"/>
                    </a:cubicBezTo>
                    <a:cubicBezTo>
                      <a:pt x="63" y="19"/>
                      <a:pt x="60" y="19"/>
                      <a:pt x="57" y="19"/>
                    </a:cubicBezTo>
                    <a:cubicBezTo>
                      <a:pt x="57" y="18"/>
                      <a:pt x="55" y="17"/>
                      <a:pt x="53" y="15"/>
                    </a:cubicBezTo>
                    <a:cubicBezTo>
                      <a:pt x="53" y="14"/>
                      <a:pt x="52" y="14"/>
                      <a:pt x="52" y="13"/>
                    </a:cubicBezTo>
                    <a:cubicBezTo>
                      <a:pt x="50" y="10"/>
                      <a:pt x="51" y="6"/>
                      <a:pt x="54" y="2"/>
                    </a:cubicBezTo>
                    <a:close/>
                    <a:moveTo>
                      <a:pt x="95" y="70"/>
                    </a:moveTo>
                    <a:cubicBezTo>
                      <a:pt x="96" y="72"/>
                      <a:pt x="95" y="73"/>
                      <a:pt x="94" y="74"/>
                    </a:cubicBezTo>
                    <a:cubicBezTo>
                      <a:pt x="92" y="74"/>
                      <a:pt x="91" y="74"/>
                      <a:pt x="90" y="72"/>
                    </a:cubicBezTo>
                    <a:cubicBezTo>
                      <a:pt x="88" y="67"/>
                      <a:pt x="84" y="62"/>
                      <a:pt x="78" y="56"/>
                    </a:cubicBezTo>
                    <a:cubicBezTo>
                      <a:pt x="77" y="55"/>
                      <a:pt x="76" y="54"/>
                      <a:pt x="76" y="54"/>
                    </a:cubicBezTo>
                    <a:cubicBezTo>
                      <a:pt x="75" y="56"/>
                      <a:pt x="75" y="56"/>
                      <a:pt x="75" y="56"/>
                    </a:cubicBezTo>
                    <a:cubicBezTo>
                      <a:pt x="75" y="61"/>
                      <a:pt x="75" y="73"/>
                      <a:pt x="77" y="93"/>
                    </a:cubicBezTo>
                    <a:cubicBezTo>
                      <a:pt x="78" y="99"/>
                      <a:pt x="80" y="107"/>
                      <a:pt x="83" y="119"/>
                    </a:cubicBezTo>
                    <a:cubicBezTo>
                      <a:pt x="84" y="122"/>
                      <a:pt x="85" y="124"/>
                      <a:pt x="85" y="124"/>
                    </a:cubicBezTo>
                    <a:cubicBezTo>
                      <a:pt x="86" y="126"/>
                      <a:pt x="86" y="128"/>
                      <a:pt x="87" y="131"/>
                    </a:cubicBezTo>
                    <a:cubicBezTo>
                      <a:pt x="88" y="132"/>
                      <a:pt x="88" y="133"/>
                      <a:pt x="88" y="133"/>
                    </a:cubicBezTo>
                    <a:cubicBezTo>
                      <a:pt x="88" y="135"/>
                      <a:pt x="88" y="136"/>
                      <a:pt x="86" y="136"/>
                    </a:cubicBezTo>
                    <a:cubicBezTo>
                      <a:pt x="84" y="136"/>
                      <a:pt x="83" y="135"/>
                      <a:pt x="82" y="133"/>
                    </a:cubicBezTo>
                    <a:cubicBezTo>
                      <a:pt x="77" y="123"/>
                      <a:pt x="73" y="110"/>
                      <a:pt x="70" y="93"/>
                    </a:cubicBezTo>
                    <a:cubicBezTo>
                      <a:pt x="69" y="79"/>
                      <a:pt x="68" y="68"/>
                      <a:pt x="68" y="58"/>
                    </a:cubicBezTo>
                    <a:cubicBezTo>
                      <a:pt x="68" y="51"/>
                      <a:pt x="68" y="46"/>
                      <a:pt x="68" y="44"/>
                    </a:cubicBezTo>
                    <a:cubicBezTo>
                      <a:pt x="68" y="43"/>
                      <a:pt x="69" y="42"/>
                      <a:pt x="70" y="42"/>
                    </a:cubicBezTo>
                    <a:cubicBezTo>
                      <a:pt x="71" y="41"/>
                      <a:pt x="71" y="41"/>
                      <a:pt x="72" y="42"/>
                    </a:cubicBezTo>
                    <a:cubicBezTo>
                      <a:pt x="76" y="45"/>
                      <a:pt x="78" y="48"/>
                      <a:pt x="80" y="49"/>
                    </a:cubicBezTo>
                    <a:cubicBezTo>
                      <a:pt x="86" y="54"/>
                      <a:pt x="91" y="61"/>
                      <a:pt x="95" y="7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29" name="íṣ1ïḑe"/>
              <p:cNvSpPr/>
              <p:nvPr/>
            </p:nvSpPr>
            <p:spPr bwMode="auto">
              <a:xfrm>
                <a:off x="1750909" y="4905965"/>
                <a:ext cx="93663" cy="87313"/>
              </a:xfrm>
              <a:custGeom>
                <a:avLst/>
                <a:gdLst>
                  <a:gd name="T0" fmla="*/ 51 w 51"/>
                  <a:gd name="T1" fmla="*/ 17 h 47"/>
                  <a:gd name="T2" fmla="*/ 46 w 51"/>
                  <a:gd name="T3" fmla="*/ 25 h 47"/>
                  <a:gd name="T4" fmla="*/ 26 w 51"/>
                  <a:gd name="T5" fmla="*/ 13 h 47"/>
                  <a:gd name="T6" fmla="*/ 20 w 51"/>
                  <a:gd name="T7" fmla="*/ 9 h 47"/>
                  <a:gd name="T8" fmla="*/ 14 w 51"/>
                  <a:gd name="T9" fmla="*/ 9 h 47"/>
                  <a:gd name="T10" fmla="*/ 10 w 51"/>
                  <a:gd name="T11" fmla="*/ 13 h 47"/>
                  <a:gd name="T12" fmla="*/ 8 w 51"/>
                  <a:gd name="T13" fmla="*/ 19 h 47"/>
                  <a:gd name="T14" fmla="*/ 10 w 51"/>
                  <a:gd name="T15" fmla="*/ 23 h 47"/>
                  <a:gd name="T16" fmla="*/ 17 w 51"/>
                  <a:gd name="T17" fmla="*/ 27 h 47"/>
                  <a:gd name="T18" fmla="*/ 37 w 51"/>
                  <a:gd name="T19" fmla="*/ 40 h 47"/>
                  <a:gd name="T20" fmla="*/ 33 w 51"/>
                  <a:gd name="T21" fmla="*/ 47 h 47"/>
                  <a:gd name="T22" fmla="*/ 13 w 51"/>
                  <a:gd name="T23" fmla="*/ 35 h 47"/>
                  <a:gd name="T24" fmla="*/ 4 w 51"/>
                  <a:gd name="T25" fmla="*/ 29 h 47"/>
                  <a:gd name="T26" fmla="*/ 1 w 51"/>
                  <a:gd name="T27" fmla="*/ 24 h 47"/>
                  <a:gd name="T28" fmla="*/ 0 w 51"/>
                  <a:gd name="T29" fmla="*/ 18 h 47"/>
                  <a:gd name="T30" fmla="*/ 3 w 51"/>
                  <a:gd name="T31" fmla="*/ 10 h 47"/>
                  <a:gd name="T32" fmla="*/ 10 w 51"/>
                  <a:gd name="T33" fmla="*/ 2 h 47"/>
                  <a:gd name="T34" fmla="*/ 15 w 51"/>
                  <a:gd name="T35" fmla="*/ 0 h 47"/>
                  <a:gd name="T36" fmla="*/ 21 w 51"/>
                  <a:gd name="T37" fmla="*/ 0 h 47"/>
                  <a:gd name="T38" fmla="*/ 31 w 51"/>
                  <a:gd name="T39" fmla="*/ 5 h 47"/>
                  <a:gd name="T40" fmla="*/ 51 w 51"/>
                  <a:gd name="T41" fmla="*/ 17 h 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51" h="47">
                    <a:moveTo>
                      <a:pt x="51" y="17"/>
                    </a:moveTo>
                    <a:cubicBezTo>
                      <a:pt x="46" y="25"/>
                      <a:pt x="46" y="25"/>
                      <a:pt x="46" y="25"/>
                    </a:cubicBezTo>
                    <a:cubicBezTo>
                      <a:pt x="26" y="13"/>
                      <a:pt x="26" y="13"/>
                      <a:pt x="26" y="13"/>
                    </a:cubicBezTo>
                    <a:cubicBezTo>
                      <a:pt x="23" y="11"/>
                      <a:pt x="21" y="10"/>
                      <a:pt x="20" y="9"/>
                    </a:cubicBezTo>
                    <a:cubicBezTo>
                      <a:pt x="18" y="9"/>
                      <a:pt x="16" y="9"/>
                      <a:pt x="14" y="9"/>
                    </a:cubicBezTo>
                    <a:cubicBezTo>
                      <a:pt x="13" y="10"/>
                      <a:pt x="11" y="11"/>
                      <a:pt x="10" y="13"/>
                    </a:cubicBezTo>
                    <a:cubicBezTo>
                      <a:pt x="9" y="16"/>
                      <a:pt x="8" y="17"/>
                      <a:pt x="8" y="19"/>
                    </a:cubicBezTo>
                    <a:cubicBezTo>
                      <a:pt x="9" y="21"/>
                      <a:pt x="9" y="22"/>
                      <a:pt x="10" y="23"/>
                    </a:cubicBezTo>
                    <a:cubicBezTo>
                      <a:pt x="12" y="24"/>
                      <a:pt x="14" y="25"/>
                      <a:pt x="17" y="27"/>
                    </a:cubicBezTo>
                    <a:cubicBezTo>
                      <a:pt x="37" y="40"/>
                      <a:pt x="37" y="40"/>
                      <a:pt x="37" y="40"/>
                    </a:cubicBezTo>
                    <a:cubicBezTo>
                      <a:pt x="33" y="47"/>
                      <a:pt x="33" y="47"/>
                      <a:pt x="33" y="47"/>
                    </a:cubicBezTo>
                    <a:cubicBezTo>
                      <a:pt x="13" y="35"/>
                      <a:pt x="13" y="35"/>
                      <a:pt x="13" y="35"/>
                    </a:cubicBezTo>
                    <a:cubicBezTo>
                      <a:pt x="9" y="33"/>
                      <a:pt x="6" y="31"/>
                      <a:pt x="4" y="29"/>
                    </a:cubicBezTo>
                    <a:cubicBezTo>
                      <a:pt x="2" y="28"/>
                      <a:pt x="1" y="26"/>
                      <a:pt x="1" y="24"/>
                    </a:cubicBezTo>
                    <a:cubicBezTo>
                      <a:pt x="0" y="22"/>
                      <a:pt x="0" y="20"/>
                      <a:pt x="0" y="18"/>
                    </a:cubicBezTo>
                    <a:cubicBezTo>
                      <a:pt x="0" y="15"/>
                      <a:pt x="2" y="13"/>
                      <a:pt x="3" y="10"/>
                    </a:cubicBezTo>
                    <a:cubicBezTo>
                      <a:pt x="6" y="6"/>
                      <a:pt x="8" y="4"/>
                      <a:pt x="10" y="2"/>
                    </a:cubicBezTo>
                    <a:cubicBezTo>
                      <a:pt x="11" y="1"/>
                      <a:pt x="13" y="0"/>
                      <a:pt x="15" y="0"/>
                    </a:cubicBezTo>
                    <a:cubicBezTo>
                      <a:pt x="17" y="0"/>
                      <a:pt x="19" y="0"/>
                      <a:pt x="21" y="0"/>
                    </a:cubicBezTo>
                    <a:cubicBezTo>
                      <a:pt x="23" y="1"/>
                      <a:pt x="27" y="3"/>
                      <a:pt x="31" y="5"/>
                    </a:cubicBezTo>
                    <a:lnTo>
                      <a:pt x="51" y="1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30" name="íṧḷîde"/>
              <p:cNvSpPr/>
              <p:nvPr/>
            </p:nvSpPr>
            <p:spPr bwMode="auto">
              <a:xfrm>
                <a:off x="1704872" y="4971053"/>
                <a:ext cx="100013" cy="92075"/>
              </a:xfrm>
              <a:custGeom>
                <a:avLst/>
                <a:gdLst>
                  <a:gd name="T0" fmla="*/ 17 w 63"/>
                  <a:gd name="T1" fmla="*/ 0 h 58"/>
                  <a:gd name="T2" fmla="*/ 63 w 63"/>
                  <a:gd name="T3" fmla="*/ 21 h 58"/>
                  <a:gd name="T4" fmla="*/ 59 w 63"/>
                  <a:gd name="T5" fmla="*/ 30 h 58"/>
                  <a:gd name="T6" fmla="*/ 19 w 63"/>
                  <a:gd name="T7" fmla="*/ 35 h 58"/>
                  <a:gd name="T8" fmla="*/ 50 w 63"/>
                  <a:gd name="T9" fmla="*/ 50 h 58"/>
                  <a:gd name="T10" fmla="*/ 46 w 63"/>
                  <a:gd name="T11" fmla="*/ 58 h 58"/>
                  <a:gd name="T12" fmla="*/ 0 w 63"/>
                  <a:gd name="T13" fmla="*/ 37 h 58"/>
                  <a:gd name="T14" fmla="*/ 4 w 63"/>
                  <a:gd name="T15" fmla="*/ 26 h 58"/>
                  <a:gd name="T16" fmla="*/ 43 w 63"/>
                  <a:gd name="T17" fmla="*/ 22 h 58"/>
                  <a:gd name="T18" fmla="*/ 12 w 63"/>
                  <a:gd name="T19" fmla="*/ 8 h 58"/>
                  <a:gd name="T20" fmla="*/ 17 w 63"/>
                  <a:gd name="T21" fmla="*/ 0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63" h="58">
                    <a:moveTo>
                      <a:pt x="17" y="0"/>
                    </a:moveTo>
                    <a:lnTo>
                      <a:pt x="63" y="21"/>
                    </a:lnTo>
                    <a:lnTo>
                      <a:pt x="59" y="30"/>
                    </a:lnTo>
                    <a:lnTo>
                      <a:pt x="19" y="35"/>
                    </a:lnTo>
                    <a:lnTo>
                      <a:pt x="50" y="50"/>
                    </a:lnTo>
                    <a:lnTo>
                      <a:pt x="46" y="58"/>
                    </a:lnTo>
                    <a:lnTo>
                      <a:pt x="0" y="37"/>
                    </a:lnTo>
                    <a:lnTo>
                      <a:pt x="4" y="26"/>
                    </a:lnTo>
                    <a:lnTo>
                      <a:pt x="43" y="22"/>
                    </a:lnTo>
                    <a:lnTo>
                      <a:pt x="12" y="8"/>
                    </a:lnTo>
                    <a:lnTo>
                      <a:pt x="17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31" name="íS1îḍé"/>
              <p:cNvSpPr/>
              <p:nvPr/>
            </p:nvSpPr>
            <p:spPr bwMode="auto">
              <a:xfrm>
                <a:off x="1690584" y="5045665"/>
                <a:ext cx="84138" cy="44450"/>
              </a:xfrm>
              <a:custGeom>
                <a:avLst/>
                <a:gdLst>
                  <a:gd name="T0" fmla="*/ 5 w 53"/>
                  <a:gd name="T1" fmla="*/ 0 h 28"/>
                  <a:gd name="T2" fmla="*/ 53 w 53"/>
                  <a:gd name="T3" fmla="*/ 19 h 28"/>
                  <a:gd name="T4" fmla="*/ 49 w 53"/>
                  <a:gd name="T5" fmla="*/ 28 h 28"/>
                  <a:gd name="T6" fmla="*/ 0 w 53"/>
                  <a:gd name="T7" fmla="*/ 10 h 28"/>
                  <a:gd name="T8" fmla="*/ 5 w 53"/>
                  <a:gd name="T9" fmla="*/ 0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3" h="28">
                    <a:moveTo>
                      <a:pt x="5" y="0"/>
                    </a:moveTo>
                    <a:lnTo>
                      <a:pt x="53" y="19"/>
                    </a:lnTo>
                    <a:lnTo>
                      <a:pt x="49" y="28"/>
                    </a:lnTo>
                    <a:lnTo>
                      <a:pt x="0" y="10"/>
                    </a:lnTo>
                    <a:lnTo>
                      <a:pt x="5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32" name="íṧļïḋè"/>
              <p:cNvSpPr/>
              <p:nvPr/>
            </p:nvSpPr>
            <p:spPr bwMode="auto">
              <a:xfrm>
                <a:off x="1674709" y="5091703"/>
                <a:ext cx="92075" cy="73025"/>
              </a:xfrm>
              <a:custGeom>
                <a:avLst/>
                <a:gdLst>
                  <a:gd name="T0" fmla="*/ 4 w 58"/>
                  <a:gd name="T1" fmla="*/ 3 h 46"/>
                  <a:gd name="T2" fmla="*/ 58 w 58"/>
                  <a:gd name="T3" fmla="*/ 0 h 46"/>
                  <a:gd name="T4" fmla="*/ 55 w 58"/>
                  <a:gd name="T5" fmla="*/ 11 h 46"/>
                  <a:gd name="T6" fmla="*/ 14 w 58"/>
                  <a:gd name="T7" fmla="*/ 13 h 46"/>
                  <a:gd name="T8" fmla="*/ 46 w 58"/>
                  <a:gd name="T9" fmla="*/ 35 h 46"/>
                  <a:gd name="T10" fmla="*/ 44 w 58"/>
                  <a:gd name="T11" fmla="*/ 46 h 46"/>
                  <a:gd name="T12" fmla="*/ 0 w 58"/>
                  <a:gd name="T13" fmla="*/ 14 h 46"/>
                  <a:gd name="T14" fmla="*/ 4 w 58"/>
                  <a:gd name="T15" fmla="*/ 3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58" h="46">
                    <a:moveTo>
                      <a:pt x="4" y="3"/>
                    </a:moveTo>
                    <a:lnTo>
                      <a:pt x="58" y="0"/>
                    </a:lnTo>
                    <a:lnTo>
                      <a:pt x="55" y="11"/>
                    </a:lnTo>
                    <a:lnTo>
                      <a:pt x="14" y="13"/>
                    </a:lnTo>
                    <a:lnTo>
                      <a:pt x="46" y="35"/>
                    </a:lnTo>
                    <a:lnTo>
                      <a:pt x="44" y="46"/>
                    </a:lnTo>
                    <a:lnTo>
                      <a:pt x="0" y="14"/>
                    </a:lnTo>
                    <a:lnTo>
                      <a:pt x="4" y="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33" name="ïṡḷiḋé"/>
              <p:cNvSpPr/>
              <p:nvPr/>
            </p:nvSpPr>
            <p:spPr bwMode="auto">
              <a:xfrm>
                <a:off x="1652484" y="5153615"/>
                <a:ext cx="90488" cy="73025"/>
              </a:xfrm>
              <a:custGeom>
                <a:avLst/>
                <a:gdLst>
                  <a:gd name="T0" fmla="*/ 7 w 57"/>
                  <a:gd name="T1" fmla="*/ 0 h 46"/>
                  <a:gd name="T2" fmla="*/ 57 w 57"/>
                  <a:gd name="T3" fmla="*/ 10 h 46"/>
                  <a:gd name="T4" fmla="*/ 50 w 57"/>
                  <a:gd name="T5" fmla="*/ 46 h 46"/>
                  <a:gd name="T6" fmla="*/ 42 w 57"/>
                  <a:gd name="T7" fmla="*/ 45 h 46"/>
                  <a:gd name="T8" fmla="*/ 47 w 57"/>
                  <a:gd name="T9" fmla="*/ 18 h 46"/>
                  <a:gd name="T10" fmla="*/ 36 w 57"/>
                  <a:gd name="T11" fmla="*/ 16 h 46"/>
                  <a:gd name="T12" fmla="*/ 30 w 57"/>
                  <a:gd name="T13" fmla="*/ 40 h 46"/>
                  <a:gd name="T14" fmla="*/ 22 w 57"/>
                  <a:gd name="T15" fmla="*/ 39 h 46"/>
                  <a:gd name="T16" fmla="*/ 27 w 57"/>
                  <a:gd name="T17" fmla="*/ 14 h 46"/>
                  <a:gd name="T18" fmla="*/ 14 w 57"/>
                  <a:gd name="T19" fmla="*/ 11 h 46"/>
                  <a:gd name="T20" fmla="*/ 8 w 57"/>
                  <a:gd name="T21" fmla="*/ 39 h 46"/>
                  <a:gd name="T22" fmla="*/ 0 w 57"/>
                  <a:gd name="T23" fmla="*/ 38 h 46"/>
                  <a:gd name="T24" fmla="*/ 7 w 57"/>
                  <a:gd name="T25" fmla="*/ 0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57" h="46">
                    <a:moveTo>
                      <a:pt x="7" y="0"/>
                    </a:moveTo>
                    <a:lnTo>
                      <a:pt x="57" y="10"/>
                    </a:lnTo>
                    <a:lnTo>
                      <a:pt x="50" y="46"/>
                    </a:lnTo>
                    <a:lnTo>
                      <a:pt x="42" y="45"/>
                    </a:lnTo>
                    <a:lnTo>
                      <a:pt x="47" y="18"/>
                    </a:lnTo>
                    <a:lnTo>
                      <a:pt x="36" y="16"/>
                    </a:lnTo>
                    <a:lnTo>
                      <a:pt x="30" y="40"/>
                    </a:lnTo>
                    <a:lnTo>
                      <a:pt x="22" y="39"/>
                    </a:lnTo>
                    <a:lnTo>
                      <a:pt x="27" y="14"/>
                    </a:lnTo>
                    <a:lnTo>
                      <a:pt x="14" y="11"/>
                    </a:lnTo>
                    <a:lnTo>
                      <a:pt x="8" y="39"/>
                    </a:lnTo>
                    <a:lnTo>
                      <a:pt x="0" y="38"/>
                    </a:lnTo>
                    <a:lnTo>
                      <a:pt x="7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34" name="ïşļiḋe"/>
              <p:cNvSpPr/>
              <p:nvPr/>
            </p:nvSpPr>
            <p:spPr bwMode="auto">
              <a:xfrm>
                <a:off x="1641372" y="5231403"/>
                <a:ext cx="88900" cy="71438"/>
              </a:xfrm>
              <a:custGeom>
                <a:avLst/>
                <a:gdLst>
                  <a:gd name="T0" fmla="*/ 4 w 48"/>
                  <a:gd name="T1" fmla="*/ 0 h 39"/>
                  <a:gd name="T2" fmla="*/ 48 w 48"/>
                  <a:gd name="T3" fmla="*/ 4 h 39"/>
                  <a:gd name="T4" fmla="*/ 46 w 48"/>
                  <a:gd name="T5" fmla="*/ 23 h 39"/>
                  <a:gd name="T6" fmla="*/ 44 w 48"/>
                  <a:gd name="T7" fmla="*/ 33 h 39"/>
                  <a:gd name="T8" fmla="*/ 39 w 48"/>
                  <a:gd name="T9" fmla="*/ 38 h 39"/>
                  <a:gd name="T10" fmla="*/ 32 w 48"/>
                  <a:gd name="T11" fmla="*/ 39 h 39"/>
                  <a:gd name="T12" fmla="*/ 24 w 48"/>
                  <a:gd name="T13" fmla="*/ 35 h 39"/>
                  <a:gd name="T14" fmla="*/ 21 w 48"/>
                  <a:gd name="T15" fmla="*/ 26 h 39"/>
                  <a:gd name="T16" fmla="*/ 17 w 48"/>
                  <a:gd name="T17" fmla="*/ 30 h 39"/>
                  <a:gd name="T18" fmla="*/ 9 w 48"/>
                  <a:gd name="T19" fmla="*/ 35 h 39"/>
                  <a:gd name="T20" fmla="*/ 0 w 48"/>
                  <a:gd name="T21" fmla="*/ 39 h 39"/>
                  <a:gd name="T22" fmla="*/ 1 w 48"/>
                  <a:gd name="T23" fmla="*/ 29 h 39"/>
                  <a:gd name="T24" fmla="*/ 12 w 48"/>
                  <a:gd name="T25" fmla="*/ 23 h 39"/>
                  <a:gd name="T26" fmla="*/ 18 w 48"/>
                  <a:gd name="T27" fmla="*/ 19 h 39"/>
                  <a:gd name="T28" fmla="*/ 20 w 48"/>
                  <a:gd name="T29" fmla="*/ 17 h 39"/>
                  <a:gd name="T30" fmla="*/ 21 w 48"/>
                  <a:gd name="T31" fmla="*/ 12 h 39"/>
                  <a:gd name="T32" fmla="*/ 22 w 48"/>
                  <a:gd name="T33" fmla="*/ 11 h 39"/>
                  <a:gd name="T34" fmla="*/ 3 w 48"/>
                  <a:gd name="T35" fmla="*/ 9 h 39"/>
                  <a:gd name="T36" fmla="*/ 4 w 48"/>
                  <a:gd name="T37" fmla="*/ 0 h 39"/>
                  <a:gd name="T38" fmla="*/ 29 w 48"/>
                  <a:gd name="T39" fmla="*/ 11 h 39"/>
                  <a:gd name="T40" fmla="*/ 28 w 48"/>
                  <a:gd name="T41" fmla="*/ 18 h 39"/>
                  <a:gd name="T42" fmla="*/ 28 w 48"/>
                  <a:gd name="T43" fmla="*/ 26 h 39"/>
                  <a:gd name="T44" fmla="*/ 29 w 48"/>
                  <a:gd name="T45" fmla="*/ 28 h 39"/>
                  <a:gd name="T46" fmla="*/ 32 w 48"/>
                  <a:gd name="T47" fmla="*/ 30 h 39"/>
                  <a:gd name="T48" fmla="*/ 36 w 48"/>
                  <a:gd name="T49" fmla="*/ 29 h 39"/>
                  <a:gd name="T50" fmla="*/ 38 w 48"/>
                  <a:gd name="T51" fmla="*/ 26 h 39"/>
                  <a:gd name="T52" fmla="*/ 39 w 48"/>
                  <a:gd name="T53" fmla="*/ 19 h 39"/>
                  <a:gd name="T54" fmla="*/ 40 w 48"/>
                  <a:gd name="T55" fmla="*/ 12 h 39"/>
                  <a:gd name="T56" fmla="*/ 29 w 48"/>
                  <a:gd name="T57" fmla="*/ 11 h 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48" h="39">
                    <a:moveTo>
                      <a:pt x="4" y="0"/>
                    </a:moveTo>
                    <a:cubicBezTo>
                      <a:pt x="48" y="4"/>
                      <a:pt x="48" y="4"/>
                      <a:pt x="48" y="4"/>
                    </a:cubicBezTo>
                    <a:cubicBezTo>
                      <a:pt x="46" y="23"/>
                      <a:pt x="46" y="23"/>
                      <a:pt x="46" y="23"/>
                    </a:cubicBezTo>
                    <a:cubicBezTo>
                      <a:pt x="46" y="27"/>
                      <a:pt x="45" y="31"/>
                      <a:pt x="44" y="33"/>
                    </a:cubicBezTo>
                    <a:cubicBezTo>
                      <a:pt x="43" y="35"/>
                      <a:pt x="41" y="36"/>
                      <a:pt x="39" y="38"/>
                    </a:cubicBezTo>
                    <a:cubicBezTo>
                      <a:pt x="37" y="39"/>
                      <a:pt x="35" y="39"/>
                      <a:pt x="32" y="39"/>
                    </a:cubicBezTo>
                    <a:cubicBezTo>
                      <a:pt x="29" y="38"/>
                      <a:pt x="26" y="37"/>
                      <a:pt x="24" y="35"/>
                    </a:cubicBezTo>
                    <a:cubicBezTo>
                      <a:pt x="22" y="33"/>
                      <a:pt x="21" y="30"/>
                      <a:pt x="21" y="26"/>
                    </a:cubicBezTo>
                    <a:cubicBezTo>
                      <a:pt x="20" y="28"/>
                      <a:pt x="18" y="29"/>
                      <a:pt x="17" y="30"/>
                    </a:cubicBezTo>
                    <a:cubicBezTo>
                      <a:pt x="16" y="32"/>
                      <a:pt x="13" y="33"/>
                      <a:pt x="9" y="35"/>
                    </a:cubicBezTo>
                    <a:cubicBezTo>
                      <a:pt x="0" y="39"/>
                      <a:pt x="0" y="39"/>
                      <a:pt x="0" y="39"/>
                    </a:cubicBezTo>
                    <a:cubicBezTo>
                      <a:pt x="1" y="29"/>
                      <a:pt x="1" y="29"/>
                      <a:pt x="1" y="29"/>
                    </a:cubicBezTo>
                    <a:cubicBezTo>
                      <a:pt x="12" y="23"/>
                      <a:pt x="12" y="23"/>
                      <a:pt x="12" y="23"/>
                    </a:cubicBezTo>
                    <a:cubicBezTo>
                      <a:pt x="15" y="21"/>
                      <a:pt x="17" y="20"/>
                      <a:pt x="18" y="19"/>
                    </a:cubicBezTo>
                    <a:cubicBezTo>
                      <a:pt x="19" y="18"/>
                      <a:pt x="20" y="18"/>
                      <a:pt x="20" y="17"/>
                    </a:cubicBezTo>
                    <a:cubicBezTo>
                      <a:pt x="21" y="16"/>
                      <a:pt x="21" y="14"/>
                      <a:pt x="21" y="12"/>
                    </a:cubicBezTo>
                    <a:cubicBezTo>
                      <a:pt x="22" y="11"/>
                      <a:pt x="22" y="11"/>
                      <a:pt x="22" y="11"/>
                    </a:cubicBezTo>
                    <a:cubicBezTo>
                      <a:pt x="3" y="9"/>
                      <a:pt x="3" y="9"/>
                      <a:pt x="3" y="9"/>
                    </a:cubicBezTo>
                    <a:lnTo>
                      <a:pt x="4" y="0"/>
                    </a:lnTo>
                    <a:close/>
                    <a:moveTo>
                      <a:pt x="29" y="11"/>
                    </a:moveTo>
                    <a:cubicBezTo>
                      <a:pt x="28" y="18"/>
                      <a:pt x="28" y="18"/>
                      <a:pt x="28" y="18"/>
                    </a:cubicBezTo>
                    <a:cubicBezTo>
                      <a:pt x="28" y="22"/>
                      <a:pt x="27" y="25"/>
                      <a:pt x="28" y="26"/>
                    </a:cubicBezTo>
                    <a:cubicBezTo>
                      <a:pt x="28" y="27"/>
                      <a:pt x="28" y="28"/>
                      <a:pt x="29" y="28"/>
                    </a:cubicBezTo>
                    <a:cubicBezTo>
                      <a:pt x="30" y="29"/>
                      <a:pt x="31" y="30"/>
                      <a:pt x="32" y="30"/>
                    </a:cubicBezTo>
                    <a:cubicBezTo>
                      <a:pt x="34" y="30"/>
                      <a:pt x="35" y="30"/>
                      <a:pt x="36" y="29"/>
                    </a:cubicBezTo>
                    <a:cubicBezTo>
                      <a:pt x="37" y="28"/>
                      <a:pt x="38" y="27"/>
                      <a:pt x="38" y="26"/>
                    </a:cubicBezTo>
                    <a:cubicBezTo>
                      <a:pt x="38" y="25"/>
                      <a:pt x="39" y="23"/>
                      <a:pt x="39" y="19"/>
                    </a:cubicBezTo>
                    <a:cubicBezTo>
                      <a:pt x="40" y="12"/>
                      <a:pt x="40" y="12"/>
                      <a:pt x="40" y="12"/>
                    </a:cubicBezTo>
                    <a:lnTo>
                      <a:pt x="29" y="1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35" name="îś1iḓê"/>
              <p:cNvSpPr/>
              <p:nvPr/>
            </p:nvSpPr>
            <p:spPr bwMode="auto">
              <a:xfrm>
                <a:off x="1641372" y="5312365"/>
                <a:ext cx="82550" cy="66675"/>
              </a:xfrm>
              <a:custGeom>
                <a:avLst/>
                <a:gdLst>
                  <a:gd name="T0" fmla="*/ 15 w 45"/>
                  <a:gd name="T1" fmla="*/ 0 h 36"/>
                  <a:gd name="T2" fmla="*/ 16 w 45"/>
                  <a:gd name="T3" fmla="*/ 8 h 36"/>
                  <a:gd name="T4" fmla="*/ 9 w 45"/>
                  <a:gd name="T5" fmla="*/ 12 h 36"/>
                  <a:gd name="T6" fmla="*/ 7 w 45"/>
                  <a:gd name="T7" fmla="*/ 18 h 36"/>
                  <a:gd name="T8" fmla="*/ 9 w 45"/>
                  <a:gd name="T9" fmla="*/ 25 h 36"/>
                  <a:gd name="T10" fmla="*/ 13 w 45"/>
                  <a:gd name="T11" fmla="*/ 27 h 36"/>
                  <a:gd name="T12" fmla="*/ 16 w 45"/>
                  <a:gd name="T13" fmla="*/ 26 h 36"/>
                  <a:gd name="T14" fmla="*/ 18 w 45"/>
                  <a:gd name="T15" fmla="*/ 23 h 36"/>
                  <a:gd name="T16" fmla="*/ 20 w 45"/>
                  <a:gd name="T17" fmla="*/ 15 h 36"/>
                  <a:gd name="T18" fmla="*/ 24 w 45"/>
                  <a:gd name="T19" fmla="*/ 5 h 36"/>
                  <a:gd name="T20" fmla="*/ 33 w 45"/>
                  <a:gd name="T21" fmla="*/ 1 h 36"/>
                  <a:gd name="T22" fmla="*/ 39 w 45"/>
                  <a:gd name="T23" fmla="*/ 3 h 36"/>
                  <a:gd name="T24" fmla="*/ 44 w 45"/>
                  <a:gd name="T25" fmla="*/ 9 h 36"/>
                  <a:gd name="T26" fmla="*/ 45 w 45"/>
                  <a:gd name="T27" fmla="*/ 17 h 36"/>
                  <a:gd name="T28" fmla="*/ 42 w 45"/>
                  <a:gd name="T29" fmla="*/ 30 h 36"/>
                  <a:gd name="T30" fmla="*/ 32 w 45"/>
                  <a:gd name="T31" fmla="*/ 34 h 36"/>
                  <a:gd name="T32" fmla="*/ 31 w 45"/>
                  <a:gd name="T33" fmla="*/ 25 h 36"/>
                  <a:gd name="T34" fmla="*/ 36 w 45"/>
                  <a:gd name="T35" fmla="*/ 23 h 36"/>
                  <a:gd name="T36" fmla="*/ 38 w 45"/>
                  <a:gd name="T37" fmla="*/ 17 h 36"/>
                  <a:gd name="T38" fmla="*/ 36 w 45"/>
                  <a:gd name="T39" fmla="*/ 11 h 36"/>
                  <a:gd name="T40" fmla="*/ 33 w 45"/>
                  <a:gd name="T41" fmla="*/ 10 h 36"/>
                  <a:gd name="T42" fmla="*/ 31 w 45"/>
                  <a:gd name="T43" fmla="*/ 11 h 36"/>
                  <a:gd name="T44" fmla="*/ 28 w 45"/>
                  <a:gd name="T45" fmla="*/ 19 h 36"/>
                  <a:gd name="T46" fmla="*/ 25 w 45"/>
                  <a:gd name="T47" fmla="*/ 29 h 36"/>
                  <a:gd name="T48" fmla="*/ 20 w 45"/>
                  <a:gd name="T49" fmla="*/ 34 h 36"/>
                  <a:gd name="T50" fmla="*/ 13 w 45"/>
                  <a:gd name="T51" fmla="*/ 36 h 36"/>
                  <a:gd name="T52" fmla="*/ 6 w 45"/>
                  <a:gd name="T53" fmla="*/ 33 h 36"/>
                  <a:gd name="T54" fmla="*/ 1 w 45"/>
                  <a:gd name="T55" fmla="*/ 28 h 36"/>
                  <a:gd name="T56" fmla="*/ 0 w 45"/>
                  <a:gd name="T57" fmla="*/ 18 h 36"/>
                  <a:gd name="T58" fmla="*/ 3 w 45"/>
                  <a:gd name="T59" fmla="*/ 5 h 36"/>
                  <a:gd name="T60" fmla="*/ 15 w 45"/>
                  <a:gd name="T61" fmla="*/ 0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45" h="36">
                    <a:moveTo>
                      <a:pt x="15" y="0"/>
                    </a:moveTo>
                    <a:cubicBezTo>
                      <a:pt x="16" y="8"/>
                      <a:pt x="16" y="8"/>
                      <a:pt x="16" y="8"/>
                    </a:cubicBezTo>
                    <a:cubicBezTo>
                      <a:pt x="13" y="9"/>
                      <a:pt x="10" y="10"/>
                      <a:pt x="9" y="12"/>
                    </a:cubicBezTo>
                    <a:cubicBezTo>
                      <a:pt x="8" y="13"/>
                      <a:pt x="7" y="15"/>
                      <a:pt x="7" y="18"/>
                    </a:cubicBezTo>
                    <a:cubicBezTo>
                      <a:pt x="7" y="21"/>
                      <a:pt x="8" y="23"/>
                      <a:pt x="9" y="25"/>
                    </a:cubicBezTo>
                    <a:cubicBezTo>
                      <a:pt x="10" y="26"/>
                      <a:pt x="12" y="27"/>
                      <a:pt x="13" y="27"/>
                    </a:cubicBezTo>
                    <a:cubicBezTo>
                      <a:pt x="14" y="27"/>
                      <a:pt x="15" y="26"/>
                      <a:pt x="16" y="26"/>
                    </a:cubicBezTo>
                    <a:cubicBezTo>
                      <a:pt x="17" y="25"/>
                      <a:pt x="17" y="24"/>
                      <a:pt x="18" y="23"/>
                    </a:cubicBezTo>
                    <a:cubicBezTo>
                      <a:pt x="18" y="22"/>
                      <a:pt x="19" y="19"/>
                      <a:pt x="20" y="15"/>
                    </a:cubicBezTo>
                    <a:cubicBezTo>
                      <a:pt x="21" y="11"/>
                      <a:pt x="22" y="7"/>
                      <a:pt x="24" y="5"/>
                    </a:cubicBezTo>
                    <a:cubicBezTo>
                      <a:pt x="26" y="3"/>
                      <a:pt x="29" y="1"/>
                      <a:pt x="33" y="1"/>
                    </a:cubicBezTo>
                    <a:cubicBezTo>
                      <a:pt x="35" y="1"/>
                      <a:pt x="37" y="2"/>
                      <a:pt x="39" y="3"/>
                    </a:cubicBezTo>
                    <a:cubicBezTo>
                      <a:pt x="41" y="4"/>
                      <a:pt x="43" y="6"/>
                      <a:pt x="44" y="9"/>
                    </a:cubicBezTo>
                    <a:cubicBezTo>
                      <a:pt x="45" y="11"/>
                      <a:pt x="45" y="14"/>
                      <a:pt x="45" y="17"/>
                    </a:cubicBezTo>
                    <a:cubicBezTo>
                      <a:pt x="45" y="23"/>
                      <a:pt x="44" y="27"/>
                      <a:pt x="42" y="30"/>
                    </a:cubicBezTo>
                    <a:cubicBezTo>
                      <a:pt x="39" y="33"/>
                      <a:pt x="36" y="34"/>
                      <a:pt x="32" y="34"/>
                    </a:cubicBezTo>
                    <a:cubicBezTo>
                      <a:pt x="31" y="25"/>
                      <a:pt x="31" y="25"/>
                      <a:pt x="31" y="25"/>
                    </a:cubicBezTo>
                    <a:cubicBezTo>
                      <a:pt x="34" y="25"/>
                      <a:pt x="35" y="24"/>
                      <a:pt x="36" y="23"/>
                    </a:cubicBezTo>
                    <a:cubicBezTo>
                      <a:pt x="37" y="22"/>
                      <a:pt x="38" y="20"/>
                      <a:pt x="38" y="17"/>
                    </a:cubicBezTo>
                    <a:cubicBezTo>
                      <a:pt x="38" y="15"/>
                      <a:pt x="37" y="13"/>
                      <a:pt x="36" y="11"/>
                    </a:cubicBezTo>
                    <a:cubicBezTo>
                      <a:pt x="35" y="10"/>
                      <a:pt x="35" y="10"/>
                      <a:pt x="33" y="10"/>
                    </a:cubicBezTo>
                    <a:cubicBezTo>
                      <a:pt x="32" y="10"/>
                      <a:pt x="31" y="10"/>
                      <a:pt x="31" y="11"/>
                    </a:cubicBezTo>
                    <a:cubicBezTo>
                      <a:pt x="30" y="12"/>
                      <a:pt x="29" y="15"/>
                      <a:pt x="28" y="19"/>
                    </a:cubicBezTo>
                    <a:cubicBezTo>
                      <a:pt x="27" y="24"/>
                      <a:pt x="26" y="27"/>
                      <a:pt x="25" y="29"/>
                    </a:cubicBezTo>
                    <a:cubicBezTo>
                      <a:pt x="24" y="31"/>
                      <a:pt x="22" y="33"/>
                      <a:pt x="20" y="34"/>
                    </a:cubicBezTo>
                    <a:cubicBezTo>
                      <a:pt x="18" y="35"/>
                      <a:pt x="16" y="36"/>
                      <a:pt x="13" y="36"/>
                    </a:cubicBezTo>
                    <a:cubicBezTo>
                      <a:pt x="11" y="36"/>
                      <a:pt x="8" y="35"/>
                      <a:pt x="6" y="33"/>
                    </a:cubicBezTo>
                    <a:cubicBezTo>
                      <a:pt x="4" y="32"/>
                      <a:pt x="2" y="30"/>
                      <a:pt x="1" y="28"/>
                    </a:cubicBezTo>
                    <a:cubicBezTo>
                      <a:pt x="0" y="25"/>
                      <a:pt x="0" y="22"/>
                      <a:pt x="0" y="18"/>
                    </a:cubicBezTo>
                    <a:cubicBezTo>
                      <a:pt x="0" y="12"/>
                      <a:pt x="1" y="8"/>
                      <a:pt x="3" y="5"/>
                    </a:cubicBezTo>
                    <a:cubicBezTo>
                      <a:pt x="6" y="2"/>
                      <a:pt x="10" y="0"/>
                      <a:pt x="15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36" name="íş1ïḓe"/>
              <p:cNvSpPr/>
              <p:nvPr/>
            </p:nvSpPr>
            <p:spPr bwMode="auto">
              <a:xfrm>
                <a:off x="1642959" y="5385390"/>
                <a:ext cx="84138" cy="22225"/>
              </a:xfrm>
              <a:custGeom>
                <a:avLst/>
                <a:gdLst>
                  <a:gd name="T0" fmla="*/ 0 w 53"/>
                  <a:gd name="T1" fmla="*/ 5 h 14"/>
                  <a:gd name="T2" fmla="*/ 51 w 53"/>
                  <a:gd name="T3" fmla="*/ 0 h 14"/>
                  <a:gd name="T4" fmla="*/ 53 w 53"/>
                  <a:gd name="T5" fmla="*/ 11 h 14"/>
                  <a:gd name="T6" fmla="*/ 1 w 53"/>
                  <a:gd name="T7" fmla="*/ 14 h 14"/>
                  <a:gd name="T8" fmla="*/ 0 w 53"/>
                  <a:gd name="T9" fmla="*/ 5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3" h="14">
                    <a:moveTo>
                      <a:pt x="0" y="5"/>
                    </a:moveTo>
                    <a:lnTo>
                      <a:pt x="51" y="0"/>
                    </a:lnTo>
                    <a:lnTo>
                      <a:pt x="53" y="11"/>
                    </a:lnTo>
                    <a:lnTo>
                      <a:pt x="1" y="14"/>
                    </a:lnTo>
                    <a:lnTo>
                      <a:pt x="0" y="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37" name="ïṩlîḋè"/>
              <p:cNvSpPr/>
              <p:nvPr/>
            </p:nvSpPr>
            <p:spPr bwMode="auto">
              <a:xfrm>
                <a:off x="1649309" y="5407615"/>
                <a:ext cx="84138" cy="66675"/>
              </a:xfrm>
              <a:custGeom>
                <a:avLst/>
                <a:gdLst>
                  <a:gd name="T0" fmla="*/ 0 w 53"/>
                  <a:gd name="T1" fmla="*/ 22 h 42"/>
                  <a:gd name="T2" fmla="*/ 42 w 53"/>
                  <a:gd name="T3" fmla="*/ 17 h 42"/>
                  <a:gd name="T4" fmla="*/ 39 w 53"/>
                  <a:gd name="T5" fmla="*/ 1 h 42"/>
                  <a:gd name="T6" fmla="*/ 49 w 53"/>
                  <a:gd name="T7" fmla="*/ 0 h 42"/>
                  <a:gd name="T8" fmla="*/ 53 w 53"/>
                  <a:gd name="T9" fmla="*/ 41 h 42"/>
                  <a:gd name="T10" fmla="*/ 45 w 53"/>
                  <a:gd name="T11" fmla="*/ 42 h 42"/>
                  <a:gd name="T12" fmla="*/ 43 w 53"/>
                  <a:gd name="T13" fmla="*/ 27 h 42"/>
                  <a:gd name="T14" fmla="*/ 1 w 53"/>
                  <a:gd name="T15" fmla="*/ 33 h 42"/>
                  <a:gd name="T16" fmla="*/ 0 w 53"/>
                  <a:gd name="T17" fmla="*/ 22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3" h="42">
                    <a:moveTo>
                      <a:pt x="0" y="22"/>
                    </a:moveTo>
                    <a:lnTo>
                      <a:pt x="42" y="17"/>
                    </a:lnTo>
                    <a:lnTo>
                      <a:pt x="39" y="1"/>
                    </a:lnTo>
                    <a:lnTo>
                      <a:pt x="49" y="0"/>
                    </a:lnTo>
                    <a:lnTo>
                      <a:pt x="53" y="41"/>
                    </a:lnTo>
                    <a:lnTo>
                      <a:pt x="45" y="42"/>
                    </a:lnTo>
                    <a:lnTo>
                      <a:pt x="43" y="27"/>
                    </a:lnTo>
                    <a:lnTo>
                      <a:pt x="1" y="33"/>
                    </a:lnTo>
                    <a:lnTo>
                      <a:pt x="0" y="2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38" name="ïṣľîďe"/>
              <p:cNvSpPr/>
              <p:nvPr/>
            </p:nvSpPr>
            <p:spPr bwMode="auto">
              <a:xfrm>
                <a:off x="1662009" y="5471115"/>
                <a:ext cx="90488" cy="73025"/>
              </a:xfrm>
              <a:custGeom>
                <a:avLst/>
                <a:gdLst>
                  <a:gd name="T0" fmla="*/ 0 w 57"/>
                  <a:gd name="T1" fmla="*/ 29 h 46"/>
                  <a:gd name="T2" fmla="*/ 21 w 57"/>
                  <a:gd name="T3" fmla="*/ 24 h 46"/>
                  <a:gd name="T4" fmla="*/ 45 w 57"/>
                  <a:gd name="T5" fmla="*/ 0 h 46"/>
                  <a:gd name="T6" fmla="*/ 49 w 57"/>
                  <a:gd name="T7" fmla="*/ 11 h 46"/>
                  <a:gd name="T8" fmla="*/ 31 w 57"/>
                  <a:gd name="T9" fmla="*/ 28 h 46"/>
                  <a:gd name="T10" fmla="*/ 53 w 57"/>
                  <a:gd name="T11" fmla="*/ 35 h 46"/>
                  <a:gd name="T12" fmla="*/ 57 w 57"/>
                  <a:gd name="T13" fmla="*/ 46 h 46"/>
                  <a:gd name="T14" fmla="*/ 23 w 57"/>
                  <a:gd name="T15" fmla="*/ 35 h 46"/>
                  <a:gd name="T16" fmla="*/ 2 w 57"/>
                  <a:gd name="T17" fmla="*/ 39 h 46"/>
                  <a:gd name="T18" fmla="*/ 0 w 57"/>
                  <a:gd name="T19" fmla="*/ 29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57" h="46">
                    <a:moveTo>
                      <a:pt x="0" y="29"/>
                    </a:moveTo>
                    <a:lnTo>
                      <a:pt x="21" y="24"/>
                    </a:lnTo>
                    <a:lnTo>
                      <a:pt x="45" y="0"/>
                    </a:lnTo>
                    <a:lnTo>
                      <a:pt x="49" y="11"/>
                    </a:lnTo>
                    <a:lnTo>
                      <a:pt x="31" y="28"/>
                    </a:lnTo>
                    <a:lnTo>
                      <a:pt x="53" y="35"/>
                    </a:lnTo>
                    <a:lnTo>
                      <a:pt x="57" y="46"/>
                    </a:lnTo>
                    <a:lnTo>
                      <a:pt x="23" y="35"/>
                    </a:lnTo>
                    <a:lnTo>
                      <a:pt x="2" y="39"/>
                    </a:lnTo>
                    <a:lnTo>
                      <a:pt x="0" y="2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39" name="íśļiḓe"/>
              <p:cNvSpPr/>
              <p:nvPr/>
            </p:nvSpPr>
            <p:spPr bwMode="auto">
              <a:xfrm>
                <a:off x="1704872" y="5609228"/>
                <a:ext cx="85725" cy="80963"/>
              </a:xfrm>
              <a:custGeom>
                <a:avLst/>
                <a:gdLst>
                  <a:gd name="T0" fmla="*/ 15 w 47"/>
                  <a:gd name="T1" fmla="*/ 2 h 44"/>
                  <a:gd name="T2" fmla="*/ 26 w 47"/>
                  <a:gd name="T3" fmla="*/ 0 h 44"/>
                  <a:gd name="T4" fmla="*/ 33 w 47"/>
                  <a:gd name="T5" fmla="*/ 1 h 44"/>
                  <a:gd name="T6" fmla="*/ 39 w 47"/>
                  <a:gd name="T7" fmla="*/ 4 h 44"/>
                  <a:gd name="T8" fmla="*/ 44 w 47"/>
                  <a:gd name="T9" fmla="*/ 12 h 44"/>
                  <a:gd name="T10" fmla="*/ 45 w 47"/>
                  <a:gd name="T11" fmla="*/ 29 h 44"/>
                  <a:gd name="T12" fmla="*/ 32 w 47"/>
                  <a:gd name="T13" fmla="*/ 41 h 44"/>
                  <a:gd name="T14" fmla="*/ 15 w 47"/>
                  <a:gd name="T15" fmla="*/ 43 h 44"/>
                  <a:gd name="T16" fmla="*/ 3 w 47"/>
                  <a:gd name="T17" fmla="*/ 31 h 44"/>
                  <a:gd name="T18" fmla="*/ 2 w 47"/>
                  <a:gd name="T19" fmla="*/ 14 h 44"/>
                  <a:gd name="T20" fmla="*/ 15 w 47"/>
                  <a:gd name="T21" fmla="*/ 2 h 44"/>
                  <a:gd name="T22" fmla="*/ 19 w 47"/>
                  <a:gd name="T23" fmla="*/ 10 h 44"/>
                  <a:gd name="T24" fmla="*/ 10 w 47"/>
                  <a:gd name="T25" fmla="*/ 18 h 44"/>
                  <a:gd name="T26" fmla="*/ 10 w 47"/>
                  <a:gd name="T27" fmla="*/ 28 h 44"/>
                  <a:gd name="T28" fmla="*/ 17 w 47"/>
                  <a:gd name="T29" fmla="*/ 34 h 44"/>
                  <a:gd name="T30" fmla="*/ 29 w 47"/>
                  <a:gd name="T31" fmla="*/ 33 h 44"/>
                  <a:gd name="T32" fmla="*/ 38 w 47"/>
                  <a:gd name="T33" fmla="*/ 25 h 44"/>
                  <a:gd name="T34" fmla="*/ 37 w 47"/>
                  <a:gd name="T35" fmla="*/ 16 h 44"/>
                  <a:gd name="T36" fmla="*/ 30 w 47"/>
                  <a:gd name="T37" fmla="*/ 9 h 44"/>
                  <a:gd name="T38" fmla="*/ 19 w 47"/>
                  <a:gd name="T39" fmla="*/ 10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47" h="44">
                    <a:moveTo>
                      <a:pt x="15" y="2"/>
                    </a:moveTo>
                    <a:cubicBezTo>
                      <a:pt x="19" y="0"/>
                      <a:pt x="23" y="0"/>
                      <a:pt x="26" y="0"/>
                    </a:cubicBezTo>
                    <a:cubicBezTo>
                      <a:pt x="28" y="0"/>
                      <a:pt x="31" y="0"/>
                      <a:pt x="33" y="1"/>
                    </a:cubicBezTo>
                    <a:cubicBezTo>
                      <a:pt x="35" y="2"/>
                      <a:pt x="37" y="3"/>
                      <a:pt x="39" y="4"/>
                    </a:cubicBezTo>
                    <a:cubicBezTo>
                      <a:pt x="41" y="6"/>
                      <a:pt x="43" y="9"/>
                      <a:pt x="44" y="12"/>
                    </a:cubicBezTo>
                    <a:cubicBezTo>
                      <a:pt x="47" y="18"/>
                      <a:pt x="47" y="24"/>
                      <a:pt x="45" y="29"/>
                    </a:cubicBezTo>
                    <a:cubicBezTo>
                      <a:pt x="43" y="34"/>
                      <a:pt x="39" y="38"/>
                      <a:pt x="32" y="41"/>
                    </a:cubicBezTo>
                    <a:cubicBezTo>
                      <a:pt x="26" y="44"/>
                      <a:pt x="20" y="44"/>
                      <a:pt x="15" y="43"/>
                    </a:cubicBezTo>
                    <a:cubicBezTo>
                      <a:pt x="9" y="41"/>
                      <a:pt x="5" y="37"/>
                      <a:pt x="3" y="31"/>
                    </a:cubicBezTo>
                    <a:cubicBezTo>
                      <a:pt x="0" y="25"/>
                      <a:pt x="0" y="19"/>
                      <a:pt x="2" y="14"/>
                    </a:cubicBezTo>
                    <a:cubicBezTo>
                      <a:pt x="4" y="9"/>
                      <a:pt x="8" y="5"/>
                      <a:pt x="15" y="2"/>
                    </a:cubicBezTo>
                    <a:close/>
                    <a:moveTo>
                      <a:pt x="19" y="10"/>
                    </a:moveTo>
                    <a:cubicBezTo>
                      <a:pt x="14" y="12"/>
                      <a:pt x="11" y="15"/>
                      <a:pt x="10" y="18"/>
                    </a:cubicBezTo>
                    <a:cubicBezTo>
                      <a:pt x="8" y="21"/>
                      <a:pt x="8" y="24"/>
                      <a:pt x="10" y="28"/>
                    </a:cubicBezTo>
                    <a:cubicBezTo>
                      <a:pt x="11" y="31"/>
                      <a:pt x="13" y="33"/>
                      <a:pt x="17" y="34"/>
                    </a:cubicBezTo>
                    <a:cubicBezTo>
                      <a:pt x="20" y="35"/>
                      <a:pt x="24" y="35"/>
                      <a:pt x="29" y="33"/>
                    </a:cubicBezTo>
                    <a:cubicBezTo>
                      <a:pt x="33" y="31"/>
                      <a:pt x="36" y="28"/>
                      <a:pt x="38" y="25"/>
                    </a:cubicBezTo>
                    <a:cubicBezTo>
                      <a:pt x="39" y="22"/>
                      <a:pt x="39" y="19"/>
                      <a:pt x="37" y="16"/>
                    </a:cubicBezTo>
                    <a:cubicBezTo>
                      <a:pt x="36" y="12"/>
                      <a:pt x="34" y="10"/>
                      <a:pt x="30" y="9"/>
                    </a:cubicBezTo>
                    <a:cubicBezTo>
                      <a:pt x="27" y="8"/>
                      <a:pt x="23" y="8"/>
                      <a:pt x="19" y="1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40" name="î$ḷïďe"/>
              <p:cNvSpPr/>
              <p:nvPr/>
            </p:nvSpPr>
            <p:spPr bwMode="auto">
              <a:xfrm>
                <a:off x="1733447" y="5675903"/>
                <a:ext cx="98425" cy="66675"/>
              </a:xfrm>
              <a:custGeom>
                <a:avLst/>
                <a:gdLst>
                  <a:gd name="T0" fmla="*/ 0 w 62"/>
                  <a:gd name="T1" fmla="*/ 26 h 42"/>
                  <a:gd name="T2" fmla="*/ 45 w 62"/>
                  <a:gd name="T3" fmla="*/ 0 h 42"/>
                  <a:gd name="T4" fmla="*/ 62 w 62"/>
                  <a:gd name="T5" fmla="*/ 30 h 42"/>
                  <a:gd name="T6" fmla="*/ 55 w 62"/>
                  <a:gd name="T7" fmla="*/ 35 h 42"/>
                  <a:gd name="T8" fmla="*/ 43 w 62"/>
                  <a:gd name="T9" fmla="*/ 14 h 42"/>
                  <a:gd name="T10" fmla="*/ 32 w 62"/>
                  <a:gd name="T11" fmla="*/ 20 h 42"/>
                  <a:gd name="T12" fmla="*/ 43 w 62"/>
                  <a:gd name="T13" fmla="*/ 38 h 42"/>
                  <a:gd name="T14" fmla="*/ 35 w 62"/>
                  <a:gd name="T15" fmla="*/ 42 h 42"/>
                  <a:gd name="T16" fmla="*/ 25 w 62"/>
                  <a:gd name="T17" fmla="*/ 23 h 42"/>
                  <a:gd name="T18" fmla="*/ 6 w 62"/>
                  <a:gd name="T19" fmla="*/ 35 h 42"/>
                  <a:gd name="T20" fmla="*/ 0 w 62"/>
                  <a:gd name="T21" fmla="*/ 26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62" h="42">
                    <a:moveTo>
                      <a:pt x="0" y="26"/>
                    </a:moveTo>
                    <a:lnTo>
                      <a:pt x="45" y="0"/>
                    </a:lnTo>
                    <a:lnTo>
                      <a:pt x="62" y="30"/>
                    </a:lnTo>
                    <a:lnTo>
                      <a:pt x="55" y="35"/>
                    </a:lnTo>
                    <a:lnTo>
                      <a:pt x="43" y="14"/>
                    </a:lnTo>
                    <a:lnTo>
                      <a:pt x="32" y="20"/>
                    </a:lnTo>
                    <a:lnTo>
                      <a:pt x="43" y="38"/>
                    </a:lnTo>
                    <a:lnTo>
                      <a:pt x="35" y="42"/>
                    </a:lnTo>
                    <a:lnTo>
                      <a:pt x="25" y="23"/>
                    </a:lnTo>
                    <a:lnTo>
                      <a:pt x="6" y="35"/>
                    </a:lnTo>
                    <a:lnTo>
                      <a:pt x="0" y="26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41" name="îśḻîḍe"/>
              <p:cNvSpPr/>
              <p:nvPr/>
            </p:nvSpPr>
            <p:spPr bwMode="auto">
              <a:xfrm>
                <a:off x="1812822" y="5785440"/>
                <a:ext cx="85725" cy="82550"/>
              </a:xfrm>
              <a:custGeom>
                <a:avLst/>
                <a:gdLst>
                  <a:gd name="T0" fmla="*/ 6 w 46"/>
                  <a:gd name="T1" fmla="*/ 13 h 45"/>
                  <a:gd name="T2" fmla="*/ 12 w 46"/>
                  <a:gd name="T3" fmla="*/ 19 h 45"/>
                  <a:gd name="T4" fmla="*/ 9 w 46"/>
                  <a:gd name="T5" fmla="*/ 26 h 45"/>
                  <a:gd name="T6" fmla="*/ 11 w 46"/>
                  <a:gd name="T7" fmla="*/ 32 h 45"/>
                  <a:gd name="T8" fmla="*/ 17 w 46"/>
                  <a:gd name="T9" fmla="*/ 36 h 45"/>
                  <a:gd name="T10" fmla="*/ 22 w 46"/>
                  <a:gd name="T11" fmla="*/ 35 h 45"/>
                  <a:gd name="T12" fmla="*/ 23 w 46"/>
                  <a:gd name="T13" fmla="*/ 32 h 45"/>
                  <a:gd name="T14" fmla="*/ 22 w 46"/>
                  <a:gd name="T15" fmla="*/ 29 h 45"/>
                  <a:gd name="T16" fmla="*/ 19 w 46"/>
                  <a:gd name="T17" fmla="*/ 22 h 45"/>
                  <a:gd name="T18" fmla="*/ 16 w 46"/>
                  <a:gd name="T19" fmla="*/ 12 h 45"/>
                  <a:gd name="T20" fmla="*/ 21 w 46"/>
                  <a:gd name="T21" fmla="*/ 3 h 45"/>
                  <a:gd name="T22" fmla="*/ 27 w 46"/>
                  <a:gd name="T23" fmla="*/ 0 h 45"/>
                  <a:gd name="T24" fmla="*/ 34 w 46"/>
                  <a:gd name="T25" fmla="*/ 2 h 45"/>
                  <a:gd name="T26" fmla="*/ 40 w 46"/>
                  <a:gd name="T27" fmla="*/ 8 h 45"/>
                  <a:gd name="T28" fmla="*/ 45 w 46"/>
                  <a:gd name="T29" fmla="*/ 19 h 45"/>
                  <a:gd name="T30" fmla="*/ 41 w 46"/>
                  <a:gd name="T31" fmla="*/ 29 h 45"/>
                  <a:gd name="T32" fmla="*/ 35 w 46"/>
                  <a:gd name="T33" fmla="*/ 22 h 45"/>
                  <a:gd name="T34" fmla="*/ 37 w 46"/>
                  <a:gd name="T35" fmla="*/ 17 h 45"/>
                  <a:gd name="T36" fmla="*/ 35 w 46"/>
                  <a:gd name="T37" fmla="*/ 12 h 45"/>
                  <a:gd name="T38" fmla="*/ 30 w 46"/>
                  <a:gd name="T39" fmla="*/ 8 h 45"/>
                  <a:gd name="T40" fmla="*/ 27 w 46"/>
                  <a:gd name="T41" fmla="*/ 9 h 45"/>
                  <a:gd name="T42" fmla="*/ 25 w 46"/>
                  <a:gd name="T43" fmla="*/ 12 h 45"/>
                  <a:gd name="T44" fmla="*/ 28 w 46"/>
                  <a:gd name="T45" fmla="*/ 20 h 45"/>
                  <a:gd name="T46" fmla="*/ 32 w 46"/>
                  <a:gd name="T47" fmla="*/ 29 h 45"/>
                  <a:gd name="T48" fmla="*/ 31 w 46"/>
                  <a:gd name="T49" fmla="*/ 36 h 45"/>
                  <a:gd name="T50" fmla="*/ 27 w 46"/>
                  <a:gd name="T51" fmla="*/ 42 h 45"/>
                  <a:gd name="T52" fmla="*/ 20 w 46"/>
                  <a:gd name="T53" fmla="*/ 45 h 45"/>
                  <a:gd name="T54" fmla="*/ 13 w 46"/>
                  <a:gd name="T55" fmla="*/ 43 h 45"/>
                  <a:gd name="T56" fmla="*/ 6 w 46"/>
                  <a:gd name="T57" fmla="*/ 37 h 45"/>
                  <a:gd name="T58" fmla="*/ 0 w 46"/>
                  <a:gd name="T59" fmla="*/ 24 h 45"/>
                  <a:gd name="T60" fmla="*/ 6 w 46"/>
                  <a:gd name="T61" fmla="*/ 13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46" h="45">
                    <a:moveTo>
                      <a:pt x="6" y="13"/>
                    </a:moveTo>
                    <a:cubicBezTo>
                      <a:pt x="12" y="19"/>
                      <a:pt x="12" y="19"/>
                      <a:pt x="12" y="19"/>
                    </a:cubicBezTo>
                    <a:cubicBezTo>
                      <a:pt x="10" y="21"/>
                      <a:pt x="9" y="24"/>
                      <a:pt x="9" y="26"/>
                    </a:cubicBezTo>
                    <a:cubicBezTo>
                      <a:pt x="9" y="28"/>
                      <a:pt x="10" y="30"/>
                      <a:pt x="11" y="32"/>
                    </a:cubicBezTo>
                    <a:cubicBezTo>
                      <a:pt x="13" y="34"/>
                      <a:pt x="15" y="35"/>
                      <a:pt x="17" y="36"/>
                    </a:cubicBezTo>
                    <a:cubicBezTo>
                      <a:pt x="19" y="36"/>
                      <a:pt x="20" y="36"/>
                      <a:pt x="22" y="35"/>
                    </a:cubicBezTo>
                    <a:cubicBezTo>
                      <a:pt x="22" y="34"/>
                      <a:pt x="23" y="33"/>
                      <a:pt x="23" y="32"/>
                    </a:cubicBezTo>
                    <a:cubicBezTo>
                      <a:pt x="23" y="32"/>
                      <a:pt x="23" y="30"/>
                      <a:pt x="22" y="29"/>
                    </a:cubicBezTo>
                    <a:cubicBezTo>
                      <a:pt x="22" y="28"/>
                      <a:pt x="21" y="26"/>
                      <a:pt x="19" y="22"/>
                    </a:cubicBezTo>
                    <a:cubicBezTo>
                      <a:pt x="17" y="18"/>
                      <a:pt x="16" y="14"/>
                      <a:pt x="16" y="12"/>
                    </a:cubicBezTo>
                    <a:cubicBezTo>
                      <a:pt x="17" y="8"/>
                      <a:pt x="18" y="5"/>
                      <a:pt x="21" y="3"/>
                    </a:cubicBezTo>
                    <a:cubicBezTo>
                      <a:pt x="23" y="1"/>
                      <a:pt x="25" y="1"/>
                      <a:pt x="27" y="0"/>
                    </a:cubicBezTo>
                    <a:cubicBezTo>
                      <a:pt x="29" y="0"/>
                      <a:pt x="31" y="1"/>
                      <a:pt x="34" y="2"/>
                    </a:cubicBezTo>
                    <a:cubicBezTo>
                      <a:pt x="36" y="3"/>
                      <a:pt x="38" y="5"/>
                      <a:pt x="40" y="8"/>
                    </a:cubicBezTo>
                    <a:cubicBezTo>
                      <a:pt x="44" y="12"/>
                      <a:pt x="46" y="16"/>
                      <a:pt x="45" y="19"/>
                    </a:cubicBezTo>
                    <a:cubicBezTo>
                      <a:pt x="45" y="23"/>
                      <a:pt x="44" y="26"/>
                      <a:pt x="41" y="29"/>
                    </a:cubicBezTo>
                    <a:cubicBezTo>
                      <a:pt x="35" y="22"/>
                      <a:pt x="35" y="22"/>
                      <a:pt x="35" y="22"/>
                    </a:cubicBezTo>
                    <a:cubicBezTo>
                      <a:pt x="36" y="21"/>
                      <a:pt x="37" y="19"/>
                      <a:pt x="37" y="17"/>
                    </a:cubicBezTo>
                    <a:cubicBezTo>
                      <a:pt x="37" y="16"/>
                      <a:pt x="36" y="14"/>
                      <a:pt x="35" y="12"/>
                    </a:cubicBezTo>
                    <a:cubicBezTo>
                      <a:pt x="33" y="10"/>
                      <a:pt x="31" y="9"/>
                      <a:pt x="30" y="8"/>
                    </a:cubicBezTo>
                    <a:cubicBezTo>
                      <a:pt x="28" y="8"/>
                      <a:pt x="27" y="8"/>
                      <a:pt x="27" y="9"/>
                    </a:cubicBezTo>
                    <a:cubicBezTo>
                      <a:pt x="26" y="10"/>
                      <a:pt x="25" y="11"/>
                      <a:pt x="25" y="12"/>
                    </a:cubicBezTo>
                    <a:cubicBezTo>
                      <a:pt x="25" y="13"/>
                      <a:pt x="26" y="16"/>
                      <a:pt x="28" y="20"/>
                    </a:cubicBezTo>
                    <a:cubicBezTo>
                      <a:pt x="30" y="24"/>
                      <a:pt x="31" y="27"/>
                      <a:pt x="32" y="29"/>
                    </a:cubicBezTo>
                    <a:cubicBezTo>
                      <a:pt x="32" y="32"/>
                      <a:pt x="32" y="34"/>
                      <a:pt x="31" y="36"/>
                    </a:cubicBezTo>
                    <a:cubicBezTo>
                      <a:pt x="31" y="38"/>
                      <a:pt x="29" y="40"/>
                      <a:pt x="27" y="42"/>
                    </a:cubicBezTo>
                    <a:cubicBezTo>
                      <a:pt x="25" y="43"/>
                      <a:pt x="23" y="44"/>
                      <a:pt x="20" y="45"/>
                    </a:cubicBezTo>
                    <a:cubicBezTo>
                      <a:pt x="18" y="45"/>
                      <a:pt x="15" y="44"/>
                      <a:pt x="13" y="43"/>
                    </a:cubicBezTo>
                    <a:cubicBezTo>
                      <a:pt x="10" y="42"/>
                      <a:pt x="8" y="40"/>
                      <a:pt x="6" y="37"/>
                    </a:cubicBezTo>
                    <a:cubicBezTo>
                      <a:pt x="2" y="32"/>
                      <a:pt x="0" y="28"/>
                      <a:pt x="0" y="24"/>
                    </a:cubicBezTo>
                    <a:cubicBezTo>
                      <a:pt x="1" y="20"/>
                      <a:pt x="2" y="17"/>
                      <a:pt x="6" y="1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42" name="í$ļîḋê"/>
              <p:cNvSpPr/>
              <p:nvPr/>
            </p:nvSpPr>
            <p:spPr bwMode="auto">
              <a:xfrm>
                <a:off x="1868384" y="5844178"/>
                <a:ext cx="82550" cy="82550"/>
              </a:xfrm>
              <a:custGeom>
                <a:avLst/>
                <a:gdLst>
                  <a:gd name="T0" fmla="*/ 25 w 45"/>
                  <a:gd name="T1" fmla="*/ 33 h 45"/>
                  <a:gd name="T2" fmla="*/ 29 w 45"/>
                  <a:gd name="T3" fmla="*/ 41 h 45"/>
                  <a:gd name="T4" fmla="*/ 17 w 45"/>
                  <a:gd name="T5" fmla="*/ 44 h 45"/>
                  <a:gd name="T6" fmla="*/ 6 w 45"/>
                  <a:gd name="T7" fmla="*/ 38 h 45"/>
                  <a:gd name="T8" fmla="*/ 0 w 45"/>
                  <a:gd name="T9" fmla="*/ 24 h 45"/>
                  <a:gd name="T10" fmla="*/ 8 w 45"/>
                  <a:gd name="T11" fmla="*/ 8 h 45"/>
                  <a:gd name="T12" fmla="*/ 24 w 45"/>
                  <a:gd name="T13" fmla="*/ 0 h 45"/>
                  <a:gd name="T14" fmla="*/ 39 w 45"/>
                  <a:gd name="T15" fmla="*/ 7 h 45"/>
                  <a:gd name="T16" fmla="*/ 45 w 45"/>
                  <a:gd name="T17" fmla="*/ 19 h 45"/>
                  <a:gd name="T18" fmla="*/ 42 w 45"/>
                  <a:gd name="T19" fmla="*/ 28 h 45"/>
                  <a:gd name="T20" fmla="*/ 34 w 45"/>
                  <a:gd name="T21" fmla="*/ 23 h 45"/>
                  <a:gd name="T22" fmla="*/ 36 w 45"/>
                  <a:gd name="T23" fmla="*/ 17 h 45"/>
                  <a:gd name="T24" fmla="*/ 33 w 45"/>
                  <a:gd name="T25" fmla="*/ 12 h 45"/>
                  <a:gd name="T26" fmla="*/ 25 w 45"/>
                  <a:gd name="T27" fmla="*/ 9 h 45"/>
                  <a:gd name="T28" fmla="*/ 15 w 45"/>
                  <a:gd name="T29" fmla="*/ 14 h 45"/>
                  <a:gd name="T30" fmla="*/ 8 w 45"/>
                  <a:gd name="T31" fmla="*/ 25 h 45"/>
                  <a:gd name="T32" fmla="*/ 11 w 45"/>
                  <a:gd name="T33" fmla="*/ 33 h 45"/>
                  <a:gd name="T34" fmla="*/ 17 w 45"/>
                  <a:gd name="T35" fmla="*/ 36 h 45"/>
                  <a:gd name="T36" fmla="*/ 25 w 45"/>
                  <a:gd name="T37" fmla="*/ 33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45" h="45">
                    <a:moveTo>
                      <a:pt x="25" y="33"/>
                    </a:moveTo>
                    <a:cubicBezTo>
                      <a:pt x="29" y="41"/>
                      <a:pt x="29" y="41"/>
                      <a:pt x="29" y="41"/>
                    </a:cubicBezTo>
                    <a:cubicBezTo>
                      <a:pt x="25" y="44"/>
                      <a:pt x="21" y="45"/>
                      <a:pt x="17" y="44"/>
                    </a:cubicBezTo>
                    <a:cubicBezTo>
                      <a:pt x="13" y="44"/>
                      <a:pt x="9" y="42"/>
                      <a:pt x="6" y="38"/>
                    </a:cubicBezTo>
                    <a:cubicBezTo>
                      <a:pt x="2" y="34"/>
                      <a:pt x="0" y="29"/>
                      <a:pt x="0" y="24"/>
                    </a:cubicBezTo>
                    <a:cubicBezTo>
                      <a:pt x="0" y="19"/>
                      <a:pt x="3" y="13"/>
                      <a:pt x="8" y="8"/>
                    </a:cubicBezTo>
                    <a:cubicBezTo>
                      <a:pt x="13" y="3"/>
                      <a:pt x="18" y="1"/>
                      <a:pt x="24" y="0"/>
                    </a:cubicBezTo>
                    <a:cubicBezTo>
                      <a:pt x="29" y="0"/>
                      <a:pt x="34" y="2"/>
                      <a:pt x="39" y="7"/>
                    </a:cubicBezTo>
                    <a:cubicBezTo>
                      <a:pt x="42" y="10"/>
                      <a:pt x="44" y="15"/>
                      <a:pt x="45" y="19"/>
                    </a:cubicBezTo>
                    <a:cubicBezTo>
                      <a:pt x="45" y="22"/>
                      <a:pt x="44" y="25"/>
                      <a:pt x="42" y="28"/>
                    </a:cubicBezTo>
                    <a:cubicBezTo>
                      <a:pt x="34" y="23"/>
                      <a:pt x="34" y="23"/>
                      <a:pt x="34" y="23"/>
                    </a:cubicBezTo>
                    <a:cubicBezTo>
                      <a:pt x="36" y="21"/>
                      <a:pt x="36" y="19"/>
                      <a:pt x="36" y="17"/>
                    </a:cubicBezTo>
                    <a:cubicBezTo>
                      <a:pt x="36" y="15"/>
                      <a:pt x="35" y="13"/>
                      <a:pt x="33" y="12"/>
                    </a:cubicBezTo>
                    <a:cubicBezTo>
                      <a:pt x="31" y="9"/>
                      <a:pt x="28" y="8"/>
                      <a:pt x="25" y="9"/>
                    </a:cubicBezTo>
                    <a:cubicBezTo>
                      <a:pt x="22" y="9"/>
                      <a:pt x="18" y="11"/>
                      <a:pt x="15" y="14"/>
                    </a:cubicBezTo>
                    <a:cubicBezTo>
                      <a:pt x="11" y="18"/>
                      <a:pt x="9" y="22"/>
                      <a:pt x="8" y="25"/>
                    </a:cubicBezTo>
                    <a:cubicBezTo>
                      <a:pt x="8" y="28"/>
                      <a:pt x="9" y="31"/>
                      <a:pt x="11" y="33"/>
                    </a:cubicBezTo>
                    <a:cubicBezTo>
                      <a:pt x="13" y="35"/>
                      <a:pt x="15" y="36"/>
                      <a:pt x="17" y="36"/>
                    </a:cubicBezTo>
                    <a:cubicBezTo>
                      <a:pt x="20" y="36"/>
                      <a:pt x="22" y="35"/>
                      <a:pt x="25" y="3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43" name="íṩḷiḋé"/>
              <p:cNvSpPr/>
              <p:nvPr/>
            </p:nvSpPr>
            <p:spPr bwMode="auto">
              <a:xfrm>
                <a:off x="1916009" y="5887040"/>
                <a:ext cx="65088" cy="71438"/>
              </a:xfrm>
              <a:custGeom>
                <a:avLst/>
                <a:gdLst>
                  <a:gd name="T0" fmla="*/ 0 w 41"/>
                  <a:gd name="T1" fmla="*/ 38 h 45"/>
                  <a:gd name="T2" fmla="*/ 34 w 41"/>
                  <a:gd name="T3" fmla="*/ 0 h 45"/>
                  <a:gd name="T4" fmla="*/ 41 w 41"/>
                  <a:gd name="T5" fmla="*/ 6 h 45"/>
                  <a:gd name="T6" fmla="*/ 8 w 41"/>
                  <a:gd name="T7" fmla="*/ 45 h 45"/>
                  <a:gd name="T8" fmla="*/ 0 w 41"/>
                  <a:gd name="T9" fmla="*/ 38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1" h="45">
                    <a:moveTo>
                      <a:pt x="0" y="38"/>
                    </a:moveTo>
                    <a:lnTo>
                      <a:pt x="34" y="0"/>
                    </a:lnTo>
                    <a:lnTo>
                      <a:pt x="41" y="6"/>
                    </a:lnTo>
                    <a:lnTo>
                      <a:pt x="8" y="45"/>
                    </a:lnTo>
                    <a:lnTo>
                      <a:pt x="0" y="3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44" name="îsľïďé"/>
              <p:cNvSpPr/>
              <p:nvPr/>
            </p:nvSpPr>
            <p:spPr bwMode="auto">
              <a:xfrm>
                <a:off x="1941409" y="5904503"/>
                <a:ext cx="96838" cy="101600"/>
              </a:xfrm>
              <a:custGeom>
                <a:avLst/>
                <a:gdLst>
                  <a:gd name="T0" fmla="*/ 0 w 61"/>
                  <a:gd name="T1" fmla="*/ 41 h 64"/>
                  <a:gd name="T2" fmla="*/ 31 w 61"/>
                  <a:gd name="T3" fmla="*/ 0 h 64"/>
                  <a:gd name="T4" fmla="*/ 61 w 61"/>
                  <a:gd name="T5" fmla="*/ 22 h 64"/>
                  <a:gd name="T6" fmla="*/ 56 w 61"/>
                  <a:gd name="T7" fmla="*/ 29 h 64"/>
                  <a:gd name="T8" fmla="*/ 34 w 61"/>
                  <a:gd name="T9" fmla="*/ 13 h 64"/>
                  <a:gd name="T10" fmla="*/ 27 w 61"/>
                  <a:gd name="T11" fmla="*/ 22 h 64"/>
                  <a:gd name="T12" fmla="*/ 47 w 61"/>
                  <a:gd name="T13" fmla="*/ 37 h 64"/>
                  <a:gd name="T14" fmla="*/ 42 w 61"/>
                  <a:gd name="T15" fmla="*/ 44 h 64"/>
                  <a:gd name="T16" fmla="*/ 21 w 61"/>
                  <a:gd name="T17" fmla="*/ 29 h 64"/>
                  <a:gd name="T18" fmla="*/ 13 w 61"/>
                  <a:gd name="T19" fmla="*/ 40 h 64"/>
                  <a:gd name="T20" fmla="*/ 36 w 61"/>
                  <a:gd name="T21" fmla="*/ 57 h 64"/>
                  <a:gd name="T22" fmla="*/ 31 w 61"/>
                  <a:gd name="T23" fmla="*/ 64 h 64"/>
                  <a:gd name="T24" fmla="*/ 0 w 61"/>
                  <a:gd name="T25" fmla="*/ 41 h 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1" h="64">
                    <a:moveTo>
                      <a:pt x="0" y="41"/>
                    </a:moveTo>
                    <a:lnTo>
                      <a:pt x="31" y="0"/>
                    </a:lnTo>
                    <a:lnTo>
                      <a:pt x="61" y="22"/>
                    </a:lnTo>
                    <a:lnTo>
                      <a:pt x="56" y="29"/>
                    </a:lnTo>
                    <a:lnTo>
                      <a:pt x="34" y="13"/>
                    </a:lnTo>
                    <a:lnTo>
                      <a:pt x="27" y="22"/>
                    </a:lnTo>
                    <a:lnTo>
                      <a:pt x="47" y="37"/>
                    </a:lnTo>
                    <a:lnTo>
                      <a:pt x="42" y="44"/>
                    </a:lnTo>
                    <a:lnTo>
                      <a:pt x="21" y="29"/>
                    </a:lnTo>
                    <a:lnTo>
                      <a:pt x="13" y="40"/>
                    </a:lnTo>
                    <a:lnTo>
                      <a:pt x="36" y="57"/>
                    </a:lnTo>
                    <a:lnTo>
                      <a:pt x="31" y="64"/>
                    </a:lnTo>
                    <a:lnTo>
                      <a:pt x="0" y="4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45" name="íśliḋé"/>
              <p:cNvSpPr/>
              <p:nvPr/>
            </p:nvSpPr>
            <p:spPr bwMode="auto">
              <a:xfrm>
                <a:off x="2004909" y="5947365"/>
                <a:ext cx="96838" cy="101600"/>
              </a:xfrm>
              <a:custGeom>
                <a:avLst/>
                <a:gdLst>
                  <a:gd name="T0" fmla="*/ 0 w 61"/>
                  <a:gd name="T1" fmla="*/ 43 h 64"/>
                  <a:gd name="T2" fmla="*/ 27 w 61"/>
                  <a:gd name="T3" fmla="*/ 0 h 64"/>
                  <a:gd name="T4" fmla="*/ 35 w 61"/>
                  <a:gd name="T5" fmla="*/ 5 h 64"/>
                  <a:gd name="T6" fmla="*/ 36 w 61"/>
                  <a:gd name="T7" fmla="*/ 45 h 64"/>
                  <a:gd name="T8" fmla="*/ 53 w 61"/>
                  <a:gd name="T9" fmla="*/ 15 h 64"/>
                  <a:gd name="T10" fmla="*/ 61 w 61"/>
                  <a:gd name="T11" fmla="*/ 21 h 64"/>
                  <a:gd name="T12" fmla="*/ 35 w 61"/>
                  <a:gd name="T13" fmla="*/ 64 h 64"/>
                  <a:gd name="T14" fmla="*/ 27 w 61"/>
                  <a:gd name="T15" fmla="*/ 59 h 64"/>
                  <a:gd name="T16" fmla="*/ 25 w 61"/>
                  <a:gd name="T17" fmla="*/ 20 h 64"/>
                  <a:gd name="T18" fmla="*/ 8 w 61"/>
                  <a:gd name="T19" fmla="*/ 49 h 64"/>
                  <a:gd name="T20" fmla="*/ 0 w 61"/>
                  <a:gd name="T21" fmla="*/ 43 h 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61" h="64">
                    <a:moveTo>
                      <a:pt x="0" y="43"/>
                    </a:moveTo>
                    <a:lnTo>
                      <a:pt x="27" y="0"/>
                    </a:lnTo>
                    <a:lnTo>
                      <a:pt x="35" y="5"/>
                    </a:lnTo>
                    <a:lnTo>
                      <a:pt x="36" y="45"/>
                    </a:lnTo>
                    <a:lnTo>
                      <a:pt x="53" y="15"/>
                    </a:lnTo>
                    <a:lnTo>
                      <a:pt x="61" y="21"/>
                    </a:lnTo>
                    <a:lnTo>
                      <a:pt x="35" y="64"/>
                    </a:lnTo>
                    <a:lnTo>
                      <a:pt x="27" y="59"/>
                    </a:lnTo>
                    <a:lnTo>
                      <a:pt x="25" y="20"/>
                    </a:lnTo>
                    <a:lnTo>
                      <a:pt x="8" y="49"/>
                    </a:lnTo>
                    <a:lnTo>
                      <a:pt x="0" y="4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46" name="iSļiďê"/>
              <p:cNvSpPr/>
              <p:nvPr/>
            </p:nvSpPr>
            <p:spPr bwMode="auto">
              <a:xfrm>
                <a:off x="2087459" y="5993403"/>
                <a:ext cx="79375" cy="87313"/>
              </a:xfrm>
              <a:custGeom>
                <a:avLst/>
                <a:gdLst>
                  <a:gd name="T0" fmla="*/ 28 w 43"/>
                  <a:gd name="T1" fmla="*/ 33 h 47"/>
                  <a:gd name="T2" fmla="*/ 34 w 43"/>
                  <a:gd name="T3" fmla="*/ 39 h 47"/>
                  <a:gd name="T4" fmla="*/ 24 w 43"/>
                  <a:gd name="T5" fmla="*/ 46 h 47"/>
                  <a:gd name="T6" fmla="*/ 12 w 43"/>
                  <a:gd name="T7" fmla="*/ 44 h 47"/>
                  <a:gd name="T8" fmla="*/ 1 w 43"/>
                  <a:gd name="T9" fmla="*/ 33 h 47"/>
                  <a:gd name="T10" fmla="*/ 3 w 43"/>
                  <a:gd name="T11" fmla="*/ 15 h 47"/>
                  <a:gd name="T12" fmla="*/ 15 w 43"/>
                  <a:gd name="T13" fmla="*/ 2 h 47"/>
                  <a:gd name="T14" fmla="*/ 32 w 43"/>
                  <a:gd name="T15" fmla="*/ 3 h 47"/>
                  <a:gd name="T16" fmla="*/ 41 w 43"/>
                  <a:gd name="T17" fmla="*/ 13 h 47"/>
                  <a:gd name="T18" fmla="*/ 42 w 43"/>
                  <a:gd name="T19" fmla="*/ 22 h 47"/>
                  <a:gd name="T20" fmla="*/ 33 w 43"/>
                  <a:gd name="T21" fmla="*/ 20 h 47"/>
                  <a:gd name="T22" fmla="*/ 33 w 43"/>
                  <a:gd name="T23" fmla="*/ 14 h 47"/>
                  <a:gd name="T24" fmla="*/ 28 w 43"/>
                  <a:gd name="T25" fmla="*/ 10 h 47"/>
                  <a:gd name="T26" fmla="*/ 19 w 43"/>
                  <a:gd name="T27" fmla="*/ 10 h 47"/>
                  <a:gd name="T28" fmla="*/ 12 w 43"/>
                  <a:gd name="T29" fmla="*/ 19 h 47"/>
                  <a:gd name="T30" fmla="*/ 9 w 43"/>
                  <a:gd name="T31" fmla="*/ 31 h 47"/>
                  <a:gd name="T32" fmla="*/ 15 w 43"/>
                  <a:gd name="T33" fmla="*/ 37 h 47"/>
                  <a:gd name="T34" fmla="*/ 22 w 43"/>
                  <a:gd name="T35" fmla="*/ 38 h 47"/>
                  <a:gd name="T36" fmla="*/ 28 w 43"/>
                  <a:gd name="T37" fmla="*/ 33 h 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43" h="47">
                    <a:moveTo>
                      <a:pt x="28" y="33"/>
                    </a:moveTo>
                    <a:cubicBezTo>
                      <a:pt x="34" y="39"/>
                      <a:pt x="34" y="39"/>
                      <a:pt x="34" y="39"/>
                    </a:cubicBezTo>
                    <a:cubicBezTo>
                      <a:pt x="31" y="43"/>
                      <a:pt x="28" y="45"/>
                      <a:pt x="24" y="46"/>
                    </a:cubicBezTo>
                    <a:cubicBezTo>
                      <a:pt x="20" y="47"/>
                      <a:pt x="16" y="46"/>
                      <a:pt x="12" y="44"/>
                    </a:cubicBezTo>
                    <a:cubicBezTo>
                      <a:pt x="7" y="42"/>
                      <a:pt x="3" y="38"/>
                      <a:pt x="1" y="33"/>
                    </a:cubicBezTo>
                    <a:cubicBezTo>
                      <a:pt x="0" y="27"/>
                      <a:pt x="0" y="22"/>
                      <a:pt x="3" y="15"/>
                    </a:cubicBezTo>
                    <a:cubicBezTo>
                      <a:pt x="6" y="9"/>
                      <a:pt x="10" y="4"/>
                      <a:pt x="15" y="2"/>
                    </a:cubicBezTo>
                    <a:cubicBezTo>
                      <a:pt x="21" y="0"/>
                      <a:pt x="26" y="1"/>
                      <a:pt x="32" y="3"/>
                    </a:cubicBezTo>
                    <a:cubicBezTo>
                      <a:pt x="36" y="5"/>
                      <a:pt x="40" y="9"/>
                      <a:pt x="41" y="13"/>
                    </a:cubicBezTo>
                    <a:cubicBezTo>
                      <a:pt x="42" y="16"/>
                      <a:pt x="43" y="19"/>
                      <a:pt x="42" y="22"/>
                    </a:cubicBezTo>
                    <a:cubicBezTo>
                      <a:pt x="33" y="20"/>
                      <a:pt x="33" y="20"/>
                      <a:pt x="33" y="20"/>
                    </a:cubicBezTo>
                    <a:cubicBezTo>
                      <a:pt x="34" y="18"/>
                      <a:pt x="34" y="16"/>
                      <a:pt x="33" y="14"/>
                    </a:cubicBezTo>
                    <a:cubicBezTo>
                      <a:pt x="32" y="12"/>
                      <a:pt x="30" y="11"/>
                      <a:pt x="28" y="10"/>
                    </a:cubicBezTo>
                    <a:cubicBezTo>
                      <a:pt x="25" y="8"/>
                      <a:pt x="22" y="8"/>
                      <a:pt x="19" y="10"/>
                    </a:cubicBezTo>
                    <a:cubicBezTo>
                      <a:pt x="16" y="11"/>
                      <a:pt x="14" y="14"/>
                      <a:pt x="12" y="19"/>
                    </a:cubicBezTo>
                    <a:cubicBezTo>
                      <a:pt x="9" y="24"/>
                      <a:pt x="9" y="28"/>
                      <a:pt x="9" y="31"/>
                    </a:cubicBezTo>
                    <a:cubicBezTo>
                      <a:pt x="10" y="34"/>
                      <a:pt x="12" y="36"/>
                      <a:pt x="15" y="37"/>
                    </a:cubicBezTo>
                    <a:cubicBezTo>
                      <a:pt x="17" y="38"/>
                      <a:pt x="19" y="38"/>
                      <a:pt x="22" y="38"/>
                    </a:cubicBezTo>
                    <a:cubicBezTo>
                      <a:pt x="24" y="37"/>
                      <a:pt x="26" y="35"/>
                      <a:pt x="28" y="3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47" name="íSliḋé"/>
              <p:cNvSpPr/>
              <p:nvPr/>
            </p:nvSpPr>
            <p:spPr bwMode="auto">
              <a:xfrm>
                <a:off x="2157309" y="6017215"/>
                <a:ext cx="82550" cy="96838"/>
              </a:xfrm>
              <a:custGeom>
                <a:avLst/>
                <a:gdLst>
                  <a:gd name="T0" fmla="*/ 0 w 52"/>
                  <a:gd name="T1" fmla="*/ 49 h 61"/>
                  <a:gd name="T2" fmla="*/ 16 w 52"/>
                  <a:gd name="T3" fmla="*/ 0 h 61"/>
                  <a:gd name="T4" fmla="*/ 52 w 52"/>
                  <a:gd name="T5" fmla="*/ 13 h 61"/>
                  <a:gd name="T6" fmla="*/ 50 w 52"/>
                  <a:gd name="T7" fmla="*/ 21 h 61"/>
                  <a:gd name="T8" fmla="*/ 23 w 52"/>
                  <a:gd name="T9" fmla="*/ 12 h 61"/>
                  <a:gd name="T10" fmla="*/ 20 w 52"/>
                  <a:gd name="T11" fmla="*/ 22 h 61"/>
                  <a:gd name="T12" fmla="*/ 44 w 52"/>
                  <a:gd name="T13" fmla="*/ 30 h 61"/>
                  <a:gd name="T14" fmla="*/ 41 w 52"/>
                  <a:gd name="T15" fmla="*/ 38 h 61"/>
                  <a:gd name="T16" fmla="*/ 18 w 52"/>
                  <a:gd name="T17" fmla="*/ 30 h 61"/>
                  <a:gd name="T18" fmla="*/ 13 w 52"/>
                  <a:gd name="T19" fmla="*/ 43 h 61"/>
                  <a:gd name="T20" fmla="*/ 40 w 52"/>
                  <a:gd name="T21" fmla="*/ 52 h 61"/>
                  <a:gd name="T22" fmla="*/ 36 w 52"/>
                  <a:gd name="T23" fmla="*/ 61 h 61"/>
                  <a:gd name="T24" fmla="*/ 0 w 52"/>
                  <a:gd name="T25" fmla="*/ 49 h 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52" h="61">
                    <a:moveTo>
                      <a:pt x="0" y="49"/>
                    </a:moveTo>
                    <a:lnTo>
                      <a:pt x="16" y="0"/>
                    </a:lnTo>
                    <a:lnTo>
                      <a:pt x="52" y="13"/>
                    </a:lnTo>
                    <a:lnTo>
                      <a:pt x="50" y="21"/>
                    </a:lnTo>
                    <a:lnTo>
                      <a:pt x="23" y="12"/>
                    </a:lnTo>
                    <a:lnTo>
                      <a:pt x="20" y="22"/>
                    </a:lnTo>
                    <a:lnTo>
                      <a:pt x="44" y="30"/>
                    </a:lnTo>
                    <a:lnTo>
                      <a:pt x="41" y="38"/>
                    </a:lnTo>
                    <a:lnTo>
                      <a:pt x="18" y="30"/>
                    </a:lnTo>
                    <a:lnTo>
                      <a:pt x="13" y="43"/>
                    </a:lnTo>
                    <a:lnTo>
                      <a:pt x="40" y="52"/>
                    </a:lnTo>
                    <a:lnTo>
                      <a:pt x="36" y="61"/>
                    </a:lnTo>
                    <a:lnTo>
                      <a:pt x="0" y="4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48" name="îŝ1îḑè"/>
              <p:cNvSpPr/>
              <p:nvPr/>
            </p:nvSpPr>
            <p:spPr bwMode="auto">
              <a:xfrm>
                <a:off x="2663722" y="6026740"/>
                <a:ext cx="77788" cy="92075"/>
              </a:xfrm>
              <a:custGeom>
                <a:avLst/>
                <a:gdLst>
                  <a:gd name="T0" fmla="*/ 49 w 49"/>
                  <a:gd name="T1" fmla="*/ 42 h 58"/>
                  <a:gd name="T2" fmla="*/ 39 w 49"/>
                  <a:gd name="T3" fmla="*/ 45 h 58"/>
                  <a:gd name="T4" fmla="*/ 31 w 49"/>
                  <a:gd name="T5" fmla="*/ 36 h 58"/>
                  <a:gd name="T6" fmla="*/ 11 w 49"/>
                  <a:gd name="T7" fmla="*/ 43 h 58"/>
                  <a:gd name="T8" fmla="*/ 11 w 49"/>
                  <a:gd name="T9" fmla="*/ 55 h 58"/>
                  <a:gd name="T10" fmla="*/ 0 w 49"/>
                  <a:gd name="T11" fmla="*/ 58 h 58"/>
                  <a:gd name="T12" fmla="*/ 3 w 49"/>
                  <a:gd name="T13" fmla="*/ 3 h 58"/>
                  <a:gd name="T14" fmla="*/ 13 w 49"/>
                  <a:gd name="T15" fmla="*/ 0 h 58"/>
                  <a:gd name="T16" fmla="*/ 49 w 49"/>
                  <a:gd name="T17" fmla="*/ 42 h 58"/>
                  <a:gd name="T18" fmla="*/ 25 w 49"/>
                  <a:gd name="T19" fmla="*/ 29 h 58"/>
                  <a:gd name="T20" fmla="*/ 12 w 49"/>
                  <a:gd name="T21" fmla="*/ 14 h 58"/>
                  <a:gd name="T22" fmla="*/ 11 w 49"/>
                  <a:gd name="T23" fmla="*/ 34 h 58"/>
                  <a:gd name="T24" fmla="*/ 25 w 49"/>
                  <a:gd name="T25" fmla="*/ 29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49" h="58">
                    <a:moveTo>
                      <a:pt x="49" y="42"/>
                    </a:moveTo>
                    <a:lnTo>
                      <a:pt x="39" y="45"/>
                    </a:lnTo>
                    <a:lnTo>
                      <a:pt x="31" y="36"/>
                    </a:lnTo>
                    <a:lnTo>
                      <a:pt x="11" y="43"/>
                    </a:lnTo>
                    <a:lnTo>
                      <a:pt x="11" y="55"/>
                    </a:lnTo>
                    <a:lnTo>
                      <a:pt x="0" y="58"/>
                    </a:lnTo>
                    <a:lnTo>
                      <a:pt x="3" y="3"/>
                    </a:lnTo>
                    <a:lnTo>
                      <a:pt x="13" y="0"/>
                    </a:lnTo>
                    <a:lnTo>
                      <a:pt x="49" y="42"/>
                    </a:lnTo>
                    <a:close/>
                    <a:moveTo>
                      <a:pt x="25" y="29"/>
                    </a:moveTo>
                    <a:lnTo>
                      <a:pt x="12" y="14"/>
                    </a:lnTo>
                    <a:lnTo>
                      <a:pt x="11" y="34"/>
                    </a:lnTo>
                    <a:lnTo>
                      <a:pt x="25" y="2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49" name="íṩḻiḋê"/>
              <p:cNvSpPr/>
              <p:nvPr/>
            </p:nvSpPr>
            <p:spPr bwMode="auto">
              <a:xfrm>
                <a:off x="2714522" y="5990228"/>
                <a:ext cx="92075" cy="101600"/>
              </a:xfrm>
              <a:custGeom>
                <a:avLst/>
                <a:gdLst>
                  <a:gd name="T0" fmla="*/ 21 w 58"/>
                  <a:gd name="T1" fmla="*/ 64 h 64"/>
                  <a:gd name="T2" fmla="*/ 0 w 58"/>
                  <a:gd name="T3" fmla="*/ 17 h 64"/>
                  <a:gd name="T4" fmla="*/ 9 w 58"/>
                  <a:gd name="T5" fmla="*/ 12 h 64"/>
                  <a:gd name="T6" fmla="*/ 43 w 58"/>
                  <a:gd name="T7" fmla="*/ 36 h 64"/>
                  <a:gd name="T8" fmla="*/ 29 w 58"/>
                  <a:gd name="T9" fmla="*/ 4 h 64"/>
                  <a:gd name="T10" fmla="*/ 37 w 58"/>
                  <a:gd name="T11" fmla="*/ 0 h 64"/>
                  <a:gd name="T12" fmla="*/ 58 w 58"/>
                  <a:gd name="T13" fmla="*/ 46 h 64"/>
                  <a:gd name="T14" fmla="*/ 49 w 58"/>
                  <a:gd name="T15" fmla="*/ 51 h 64"/>
                  <a:gd name="T16" fmla="*/ 16 w 58"/>
                  <a:gd name="T17" fmla="*/ 29 h 64"/>
                  <a:gd name="T18" fmla="*/ 30 w 58"/>
                  <a:gd name="T19" fmla="*/ 59 h 64"/>
                  <a:gd name="T20" fmla="*/ 21 w 58"/>
                  <a:gd name="T21" fmla="*/ 64 h 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58" h="64">
                    <a:moveTo>
                      <a:pt x="21" y="64"/>
                    </a:moveTo>
                    <a:lnTo>
                      <a:pt x="0" y="17"/>
                    </a:lnTo>
                    <a:lnTo>
                      <a:pt x="9" y="12"/>
                    </a:lnTo>
                    <a:lnTo>
                      <a:pt x="43" y="36"/>
                    </a:lnTo>
                    <a:lnTo>
                      <a:pt x="29" y="4"/>
                    </a:lnTo>
                    <a:lnTo>
                      <a:pt x="37" y="0"/>
                    </a:lnTo>
                    <a:lnTo>
                      <a:pt x="58" y="46"/>
                    </a:lnTo>
                    <a:lnTo>
                      <a:pt x="49" y="51"/>
                    </a:lnTo>
                    <a:lnTo>
                      <a:pt x="16" y="29"/>
                    </a:lnTo>
                    <a:lnTo>
                      <a:pt x="30" y="59"/>
                    </a:lnTo>
                    <a:lnTo>
                      <a:pt x="21" y="6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50" name="îṧľíḍe"/>
              <p:cNvSpPr/>
              <p:nvPr/>
            </p:nvSpPr>
            <p:spPr bwMode="auto">
              <a:xfrm>
                <a:off x="2781197" y="5963240"/>
                <a:ext cx="85725" cy="95250"/>
              </a:xfrm>
              <a:custGeom>
                <a:avLst/>
                <a:gdLst>
                  <a:gd name="T0" fmla="*/ 0 w 47"/>
                  <a:gd name="T1" fmla="*/ 13 h 51"/>
                  <a:gd name="T2" fmla="*/ 14 w 47"/>
                  <a:gd name="T3" fmla="*/ 4 h 51"/>
                  <a:gd name="T4" fmla="*/ 22 w 47"/>
                  <a:gd name="T5" fmla="*/ 1 h 51"/>
                  <a:gd name="T6" fmla="*/ 29 w 47"/>
                  <a:gd name="T7" fmla="*/ 1 h 51"/>
                  <a:gd name="T8" fmla="*/ 37 w 47"/>
                  <a:gd name="T9" fmla="*/ 5 h 51"/>
                  <a:gd name="T10" fmla="*/ 43 w 47"/>
                  <a:gd name="T11" fmla="*/ 14 h 51"/>
                  <a:gd name="T12" fmla="*/ 47 w 47"/>
                  <a:gd name="T13" fmla="*/ 22 h 51"/>
                  <a:gd name="T14" fmla="*/ 46 w 47"/>
                  <a:gd name="T15" fmla="*/ 31 h 51"/>
                  <a:gd name="T16" fmla="*/ 43 w 47"/>
                  <a:gd name="T17" fmla="*/ 38 h 51"/>
                  <a:gd name="T18" fmla="*/ 36 w 47"/>
                  <a:gd name="T19" fmla="*/ 42 h 51"/>
                  <a:gd name="T20" fmla="*/ 22 w 47"/>
                  <a:gd name="T21" fmla="*/ 51 h 51"/>
                  <a:gd name="T22" fmla="*/ 0 w 47"/>
                  <a:gd name="T23" fmla="*/ 13 h 51"/>
                  <a:gd name="T24" fmla="*/ 11 w 47"/>
                  <a:gd name="T25" fmla="*/ 15 h 51"/>
                  <a:gd name="T26" fmla="*/ 26 w 47"/>
                  <a:gd name="T27" fmla="*/ 40 h 51"/>
                  <a:gd name="T28" fmla="*/ 32 w 47"/>
                  <a:gd name="T29" fmla="*/ 37 h 51"/>
                  <a:gd name="T30" fmla="*/ 36 w 47"/>
                  <a:gd name="T31" fmla="*/ 33 h 51"/>
                  <a:gd name="T32" fmla="*/ 38 w 47"/>
                  <a:gd name="T33" fmla="*/ 30 h 51"/>
                  <a:gd name="T34" fmla="*/ 38 w 47"/>
                  <a:gd name="T35" fmla="*/ 25 h 51"/>
                  <a:gd name="T36" fmla="*/ 35 w 47"/>
                  <a:gd name="T37" fmla="*/ 18 h 51"/>
                  <a:gd name="T38" fmla="*/ 30 w 47"/>
                  <a:gd name="T39" fmla="*/ 11 h 51"/>
                  <a:gd name="T40" fmla="*/ 26 w 47"/>
                  <a:gd name="T41" fmla="*/ 9 h 51"/>
                  <a:gd name="T42" fmla="*/ 21 w 47"/>
                  <a:gd name="T43" fmla="*/ 9 h 51"/>
                  <a:gd name="T44" fmla="*/ 15 w 47"/>
                  <a:gd name="T45" fmla="*/ 13 h 51"/>
                  <a:gd name="T46" fmla="*/ 11 w 47"/>
                  <a:gd name="T47" fmla="*/ 15 h 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47" h="51">
                    <a:moveTo>
                      <a:pt x="0" y="13"/>
                    </a:moveTo>
                    <a:cubicBezTo>
                      <a:pt x="14" y="4"/>
                      <a:pt x="14" y="4"/>
                      <a:pt x="14" y="4"/>
                    </a:cubicBezTo>
                    <a:cubicBezTo>
                      <a:pt x="17" y="3"/>
                      <a:pt x="20" y="1"/>
                      <a:pt x="22" y="1"/>
                    </a:cubicBezTo>
                    <a:cubicBezTo>
                      <a:pt x="24" y="0"/>
                      <a:pt x="27" y="0"/>
                      <a:pt x="29" y="1"/>
                    </a:cubicBezTo>
                    <a:cubicBezTo>
                      <a:pt x="32" y="2"/>
                      <a:pt x="34" y="3"/>
                      <a:pt x="37" y="5"/>
                    </a:cubicBezTo>
                    <a:cubicBezTo>
                      <a:pt x="39" y="7"/>
                      <a:pt x="41" y="10"/>
                      <a:pt x="43" y="14"/>
                    </a:cubicBezTo>
                    <a:cubicBezTo>
                      <a:pt x="45" y="17"/>
                      <a:pt x="46" y="20"/>
                      <a:pt x="47" y="22"/>
                    </a:cubicBezTo>
                    <a:cubicBezTo>
                      <a:pt x="47" y="26"/>
                      <a:pt x="47" y="29"/>
                      <a:pt x="46" y="31"/>
                    </a:cubicBezTo>
                    <a:cubicBezTo>
                      <a:pt x="46" y="34"/>
                      <a:pt x="45" y="36"/>
                      <a:pt x="43" y="38"/>
                    </a:cubicBezTo>
                    <a:cubicBezTo>
                      <a:pt x="41" y="39"/>
                      <a:pt x="39" y="41"/>
                      <a:pt x="36" y="42"/>
                    </a:cubicBezTo>
                    <a:cubicBezTo>
                      <a:pt x="22" y="51"/>
                      <a:pt x="22" y="51"/>
                      <a:pt x="22" y="51"/>
                    </a:cubicBezTo>
                    <a:lnTo>
                      <a:pt x="0" y="13"/>
                    </a:lnTo>
                    <a:close/>
                    <a:moveTo>
                      <a:pt x="11" y="15"/>
                    </a:moveTo>
                    <a:cubicBezTo>
                      <a:pt x="26" y="40"/>
                      <a:pt x="26" y="40"/>
                      <a:pt x="26" y="40"/>
                    </a:cubicBezTo>
                    <a:cubicBezTo>
                      <a:pt x="32" y="37"/>
                      <a:pt x="32" y="37"/>
                      <a:pt x="32" y="37"/>
                    </a:cubicBezTo>
                    <a:cubicBezTo>
                      <a:pt x="34" y="35"/>
                      <a:pt x="35" y="34"/>
                      <a:pt x="36" y="33"/>
                    </a:cubicBezTo>
                    <a:cubicBezTo>
                      <a:pt x="37" y="32"/>
                      <a:pt x="38" y="31"/>
                      <a:pt x="38" y="30"/>
                    </a:cubicBezTo>
                    <a:cubicBezTo>
                      <a:pt x="39" y="29"/>
                      <a:pt x="39" y="27"/>
                      <a:pt x="38" y="25"/>
                    </a:cubicBezTo>
                    <a:cubicBezTo>
                      <a:pt x="38" y="23"/>
                      <a:pt x="37" y="21"/>
                      <a:pt x="35" y="18"/>
                    </a:cubicBezTo>
                    <a:cubicBezTo>
                      <a:pt x="33" y="15"/>
                      <a:pt x="32" y="13"/>
                      <a:pt x="30" y="11"/>
                    </a:cubicBezTo>
                    <a:cubicBezTo>
                      <a:pt x="29" y="10"/>
                      <a:pt x="27" y="9"/>
                      <a:pt x="26" y="9"/>
                    </a:cubicBezTo>
                    <a:cubicBezTo>
                      <a:pt x="25" y="9"/>
                      <a:pt x="23" y="9"/>
                      <a:pt x="21" y="9"/>
                    </a:cubicBezTo>
                    <a:cubicBezTo>
                      <a:pt x="20" y="10"/>
                      <a:pt x="18" y="11"/>
                      <a:pt x="15" y="13"/>
                    </a:cubicBezTo>
                    <a:lnTo>
                      <a:pt x="11" y="1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51" name="ïṩḻiḍe"/>
              <p:cNvSpPr/>
              <p:nvPr/>
            </p:nvSpPr>
            <p:spPr bwMode="auto">
              <a:xfrm>
                <a:off x="2876447" y="5888628"/>
                <a:ext cx="80963" cy="88900"/>
              </a:xfrm>
              <a:custGeom>
                <a:avLst/>
                <a:gdLst>
                  <a:gd name="T0" fmla="*/ 43 w 51"/>
                  <a:gd name="T1" fmla="*/ 56 h 56"/>
                  <a:gd name="T2" fmla="*/ 16 w 51"/>
                  <a:gd name="T3" fmla="*/ 22 h 56"/>
                  <a:gd name="T4" fmla="*/ 5 w 51"/>
                  <a:gd name="T5" fmla="*/ 31 h 56"/>
                  <a:gd name="T6" fmla="*/ 0 w 51"/>
                  <a:gd name="T7" fmla="*/ 25 h 56"/>
                  <a:gd name="T8" fmla="*/ 31 w 51"/>
                  <a:gd name="T9" fmla="*/ 0 h 56"/>
                  <a:gd name="T10" fmla="*/ 37 w 51"/>
                  <a:gd name="T11" fmla="*/ 7 h 56"/>
                  <a:gd name="T12" fmla="*/ 24 w 51"/>
                  <a:gd name="T13" fmla="*/ 16 h 56"/>
                  <a:gd name="T14" fmla="*/ 51 w 51"/>
                  <a:gd name="T15" fmla="*/ 49 h 56"/>
                  <a:gd name="T16" fmla="*/ 43 w 51"/>
                  <a:gd name="T17" fmla="*/ 56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1" h="56">
                    <a:moveTo>
                      <a:pt x="43" y="56"/>
                    </a:moveTo>
                    <a:lnTo>
                      <a:pt x="16" y="22"/>
                    </a:lnTo>
                    <a:lnTo>
                      <a:pt x="5" y="31"/>
                    </a:lnTo>
                    <a:lnTo>
                      <a:pt x="0" y="25"/>
                    </a:lnTo>
                    <a:lnTo>
                      <a:pt x="31" y="0"/>
                    </a:lnTo>
                    <a:lnTo>
                      <a:pt x="37" y="7"/>
                    </a:lnTo>
                    <a:lnTo>
                      <a:pt x="24" y="16"/>
                    </a:lnTo>
                    <a:lnTo>
                      <a:pt x="51" y="49"/>
                    </a:lnTo>
                    <a:lnTo>
                      <a:pt x="43" y="56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52" name="íśļïḓè"/>
              <p:cNvSpPr/>
              <p:nvPr/>
            </p:nvSpPr>
            <p:spPr bwMode="auto">
              <a:xfrm>
                <a:off x="2925659" y="5845765"/>
                <a:ext cx="101600" cy="100013"/>
              </a:xfrm>
              <a:custGeom>
                <a:avLst/>
                <a:gdLst>
                  <a:gd name="T0" fmla="*/ 36 w 64"/>
                  <a:gd name="T1" fmla="*/ 63 h 63"/>
                  <a:gd name="T2" fmla="*/ 0 w 64"/>
                  <a:gd name="T3" fmla="*/ 26 h 63"/>
                  <a:gd name="T4" fmla="*/ 28 w 64"/>
                  <a:gd name="T5" fmla="*/ 0 h 63"/>
                  <a:gd name="T6" fmla="*/ 34 w 64"/>
                  <a:gd name="T7" fmla="*/ 6 h 63"/>
                  <a:gd name="T8" fmla="*/ 14 w 64"/>
                  <a:gd name="T9" fmla="*/ 26 h 63"/>
                  <a:gd name="T10" fmla="*/ 22 w 64"/>
                  <a:gd name="T11" fmla="*/ 34 h 63"/>
                  <a:gd name="T12" fmla="*/ 41 w 64"/>
                  <a:gd name="T13" fmla="*/ 16 h 63"/>
                  <a:gd name="T14" fmla="*/ 47 w 64"/>
                  <a:gd name="T15" fmla="*/ 22 h 63"/>
                  <a:gd name="T16" fmla="*/ 28 w 64"/>
                  <a:gd name="T17" fmla="*/ 39 h 63"/>
                  <a:gd name="T18" fmla="*/ 38 w 64"/>
                  <a:gd name="T19" fmla="*/ 50 h 63"/>
                  <a:gd name="T20" fmla="*/ 58 w 64"/>
                  <a:gd name="T21" fmla="*/ 30 h 63"/>
                  <a:gd name="T22" fmla="*/ 64 w 64"/>
                  <a:gd name="T23" fmla="*/ 36 h 63"/>
                  <a:gd name="T24" fmla="*/ 36 w 64"/>
                  <a:gd name="T25" fmla="*/ 63 h 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4" h="63">
                    <a:moveTo>
                      <a:pt x="36" y="63"/>
                    </a:moveTo>
                    <a:lnTo>
                      <a:pt x="0" y="26"/>
                    </a:lnTo>
                    <a:lnTo>
                      <a:pt x="28" y="0"/>
                    </a:lnTo>
                    <a:lnTo>
                      <a:pt x="34" y="6"/>
                    </a:lnTo>
                    <a:lnTo>
                      <a:pt x="14" y="26"/>
                    </a:lnTo>
                    <a:lnTo>
                      <a:pt x="22" y="34"/>
                    </a:lnTo>
                    <a:lnTo>
                      <a:pt x="41" y="16"/>
                    </a:lnTo>
                    <a:lnTo>
                      <a:pt x="47" y="22"/>
                    </a:lnTo>
                    <a:lnTo>
                      <a:pt x="28" y="39"/>
                    </a:lnTo>
                    <a:lnTo>
                      <a:pt x="38" y="50"/>
                    </a:lnTo>
                    <a:lnTo>
                      <a:pt x="58" y="30"/>
                    </a:lnTo>
                    <a:lnTo>
                      <a:pt x="64" y="36"/>
                    </a:lnTo>
                    <a:lnTo>
                      <a:pt x="36" y="6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53" name="íṩḻîde"/>
              <p:cNvSpPr/>
              <p:nvPr/>
            </p:nvSpPr>
            <p:spPr bwMode="auto">
              <a:xfrm>
                <a:off x="2985984" y="5801315"/>
                <a:ext cx="82550" cy="80963"/>
              </a:xfrm>
              <a:custGeom>
                <a:avLst/>
                <a:gdLst>
                  <a:gd name="T0" fmla="*/ 34 w 45"/>
                  <a:gd name="T1" fmla="*/ 19 h 44"/>
                  <a:gd name="T2" fmla="*/ 41 w 45"/>
                  <a:gd name="T3" fmla="*/ 14 h 44"/>
                  <a:gd name="T4" fmla="*/ 45 w 45"/>
                  <a:gd name="T5" fmla="*/ 26 h 44"/>
                  <a:gd name="T6" fmla="*/ 40 w 45"/>
                  <a:gd name="T7" fmla="*/ 37 h 44"/>
                  <a:gd name="T8" fmla="*/ 26 w 45"/>
                  <a:gd name="T9" fmla="*/ 44 h 44"/>
                  <a:gd name="T10" fmla="*/ 10 w 45"/>
                  <a:gd name="T11" fmla="*/ 38 h 44"/>
                  <a:gd name="T12" fmla="*/ 1 w 45"/>
                  <a:gd name="T13" fmla="*/ 22 h 44"/>
                  <a:gd name="T14" fmla="*/ 6 w 45"/>
                  <a:gd name="T15" fmla="*/ 7 h 44"/>
                  <a:gd name="T16" fmla="*/ 18 w 45"/>
                  <a:gd name="T17" fmla="*/ 0 h 44"/>
                  <a:gd name="T18" fmla="*/ 27 w 45"/>
                  <a:gd name="T19" fmla="*/ 2 h 44"/>
                  <a:gd name="T20" fmla="*/ 23 w 45"/>
                  <a:gd name="T21" fmla="*/ 10 h 44"/>
                  <a:gd name="T22" fmla="*/ 17 w 45"/>
                  <a:gd name="T23" fmla="*/ 9 h 44"/>
                  <a:gd name="T24" fmla="*/ 11 w 45"/>
                  <a:gd name="T25" fmla="*/ 12 h 44"/>
                  <a:gd name="T26" fmla="*/ 9 w 45"/>
                  <a:gd name="T27" fmla="*/ 21 h 44"/>
                  <a:gd name="T28" fmla="*/ 15 w 45"/>
                  <a:gd name="T29" fmla="*/ 30 h 44"/>
                  <a:gd name="T30" fmla="*/ 26 w 45"/>
                  <a:gd name="T31" fmla="*/ 36 h 44"/>
                  <a:gd name="T32" fmla="*/ 34 w 45"/>
                  <a:gd name="T33" fmla="*/ 32 h 44"/>
                  <a:gd name="T34" fmla="*/ 36 w 45"/>
                  <a:gd name="T35" fmla="*/ 26 h 44"/>
                  <a:gd name="T36" fmla="*/ 34 w 45"/>
                  <a:gd name="T37" fmla="*/ 19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45" h="44">
                    <a:moveTo>
                      <a:pt x="34" y="19"/>
                    </a:moveTo>
                    <a:cubicBezTo>
                      <a:pt x="41" y="14"/>
                      <a:pt x="41" y="14"/>
                      <a:pt x="41" y="14"/>
                    </a:cubicBezTo>
                    <a:cubicBezTo>
                      <a:pt x="44" y="18"/>
                      <a:pt x="45" y="22"/>
                      <a:pt x="45" y="26"/>
                    </a:cubicBezTo>
                    <a:cubicBezTo>
                      <a:pt x="45" y="30"/>
                      <a:pt x="43" y="34"/>
                      <a:pt x="40" y="37"/>
                    </a:cubicBezTo>
                    <a:cubicBezTo>
                      <a:pt x="36" y="42"/>
                      <a:pt x="31" y="44"/>
                      <a:pt x="26" y="44"/>
                    </a:cubicBezTo>
                    <a:cubicBezTo>
                      <a:pt x="21" y="44"/>
                      <a:pt x="15" y="42"/>
                      <a:pt x="10" y="38"/>
                    </a:cubicBezTo>
                    <a:cubicBezTo>
                      <a:pt x="4" y="33"/>
                      <a:pt x="1" y="28"/>
                      <a:pt x="1" y="22"/>
                    </a:cubicBezTo>
                    <a:cubicBezTo>
                      <a:pt x="0" y="17"/>
                      <a:pt x="2" y="12"/>
                      <a:pt x="6" y="7"/>
                    </a:cubicBezTo>
                    <a:cubicBezTo>
                      <a:pt x="10" y="3"/>
                      <a:pt x="14" y="1"/>
                      <a:pt x="18" y="0"/>
                    </a:cubicBezTo>
                    <a:cubicBezTo>
                      <a:pt x="21" y="0"/>
                      <a:pt x="24" y="1"/>
                      <a:pt x="27" y="2"/>
                    </a:cubicBezTo>
                    <a:cubicBezTo>
                      <a:pt x="23" y="10"/>
                      <a:pt x="23" y="10"/>
                      <a:pt x="23" y="10"/>
                    </a:cubicBezTo>
                    <a:cubicBezTo>
                      <a:pt x="21" y="9"/>
                      <a:pt x="19" y="9"/>
                      <a:pt x="17" y="9"/>
                    </a:cubicBezTo>
                    <a:cubicBezTo>
                      <a:pt x="15" y="9"/>
                      <a:pt x="13" y="11"/>
                      <a:pt x="11" y="12"/>
                    </a:cubicBezTo>
                    <a:cubicBezTo>
                      <a:pt x="9" y="15"/>
                      <a:pt x="8" y="18"/>
                      <a:pt x="9" y="21"/>
                    </a:cubicBezTo>
                    <a:cubicBezTo>
                      <a:pt x="9" y="24"/>
                      <a:pt x="12" y="27"/>
                      <a:pt x="15" y="30"/>
                    </a:cubicBezTo>
                    <a:cubicBezTo>
                      <a:pt x="20" y="34"/>
                      <a:pt x="23" y="36"/>
                      <a:pt x="26" y="36"/>
                    </a:cubicBezTo>
                    <a:cubicBezTo>
                      <a:pt x="29" y="36"/>
                      <a:pt x="32" y="35"/>
                      <a:pt x="34" y="32"/>
                    </a:cubicBezTo>
                    <a:cubicBezTo>
                      <a:pt x="36" y="31"/>
                      <a:pt x="36" y="29"/>
                      <a:pt x="36" y="26"/>
                    </a:cubicBezTo>
                    <a:cubicBezTo>
                      <a:pt x="36" y="24"/>
                      <a:pt x="35" y="22"/>
                      <a:pt x="34" y="1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54" name="îŝḷïḓê"/>
              <p:cNvSpPr/>
              <p:nvPr/>
            </p:nvSpPr>
            <p:spPr bwMode="auto">
              <a:xfrm>
                <a:off x="3022497" y="5733053"/>
                <a:ext cx="103188" cy="101600"/>
              </a:xfrm>
              <a:custGeom>
                <a:avLst/>
                <a:gdLst>
                  <a:gd name="T0" fmla="*/ 42 w 65"/>
                  <a:gd name="T1" fmla="*/ 64 h 64"/>
                  <a:gd name="T2" fmla="*/ 0 w 65"/>
                  <a:gd name="T3" fmla="*/ 34 h 64"/>
                  <a:gd name="T4" fmla="*/ 6 w 65"/>
                  <a:gd name="T5" fmla="*/ 26 h 64"/>
                  <a:gd name="T6" fmla="*/ 22 w 65"/>
                  <a:gd name="T7" fmla="*/ 37 h 64"/>
                  <a:gd name="T8" fmla="*/ 33 w 65"/>
                  <a:gd name="T9" fmla="*/ 21 h 64"/>
                  <a:gd name="T10" fmla="*/ 17 w 65"/>
                  <a:gd name="T11" fmla="*/ 9 h 64"/>
                  <a:gd name="T12" fmla="*/ 23 w 65"/>
                  <a:gd name="T13" fmla="*/ 0 h 64"/>
                  <a:gd name="T14" fmla="*/ 65 w 65"/>
                  <a:gd name="T15" fmla="*/ 30 h 64"/>
                  <a:gd name="T16" fmla="*/ 59 w 65"/>
                  <a:gd name="T17" fmla="*/ 38 h 64"/>
                  <a:gd name="T18" fmla="*/ 40 w 65"/>
                  <a:gd name="T19" fmla="*/ 26 h 64"/>
                  <a:gd name="T20" fmla="*/ 29 w 65"/>
                  <a:gd name="T21" fmla="*/ 42 h 64"/>
                  <a:gd name="T22" fmla="*/ 47 w 65"/>
                  <a:gd name="T23" fmla="*/ 55 h 64"/>
                  <a:gd name="T24" fmla="*/ 42 w 65"/>
                  <a:gd name="T25" fmla="*/ 64 h 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5" h="64">
                    <a:moveTo>
                      <a:pt x="42" y="64"/>
                    </a:moveTo>
                    <a:lnTo>
                      <a:pt x="0" y="34"/>
                    </a:lnTo>
                    <a:lnTo>
                      <a:pt x="6" y="26"/>
                    </a:lnTo>
                    <a:lnTo>
                      <a:pt x="22" y="37"/>
                    </a:lnTo>
                    <a:lnTo>
                      <a:pt x="33" y="21"/>
                    </a:lnTo>
                    <a:lnTo>
                      <a:pt x="17" y="9"/>
                    </a:lnTo>
                    <a:lnTo>
                      <a:pt x="23" y="0"/>
                    </a:lnTo>
                    <a:lnTo>
                      <a:pt x="65" y="30"/>
                    </a:lnTo>
                    <a:lnTo>
                      <a:pt x="59" y="38"/>
                    </a:lnTo>
                    <a:lnTo>
                      <a:pt x="40" y="26"/>
                    </a:lnTo>
                    <a:lnTo>
                      <a:pt x="29" y="42"/>
                    </a:lnTo>
                    <a:lnTo>
                      <a:pt x="47" y="55"/>
                    </a:lnTo>
                    <a:lnTo>
                      <a:pt x="42" y="6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55" name="îşḷîḑe"/>
              <p:cNvSpPr/>
              <p:nvPr/>
            </p:nvSpPr>
            <p:spPr bwMode="auto">
              <a:xfrm>
                <a:off x="3062184" y="5672728"/>
                <a:ext cx="103188" cy="95250"/>
              </a:xfrm>
              <a:custGeom>
                <a:avLst/>
                <a:gdLst>
                  <a:gd name="T0" fmla="*/ 44 w 65"/>
                  <a:gd name="T1" fmla="*/ 60 h 60"/>
                  <a:gd name="T2" fmla="*/ 0 w 65"/>
                  <a:gd name="T3" fmla="*/ 34 h 60"/>
                  <a:gd name="T4" fmla="*/ 5 w 65"/>
                  <a:gd name="T5" fmla="*/ 26 h 60"/>
                  <a:gd name="T6" fmla="*/ 46 w 65"/>
                  <a:gd name="T7" fmla="*/ 24 h 60"/>
                  <a:gd name="T8" fmla="*/ 15 w 65"/>
                  <a:gd name="T9" fmla="*/ 8 h 60"/>
                  <a:gd name="T10" fmla="*/ 20 w 65"/>
                  <a:gd name="T11" fmla="*/ 0 h 60"/>
                  <a:gd name="T12" fmla="*/ 65 w 65"/>
                  <a:gd name="T13" fmla="*/ 24 h 60"/>
                  <a:gd name="T14" fmla="*/ 59 w 65"/>
                  <a:gd name="T15" fmla="*/ 33 h 60"/>
                  <a:gd name="T16" fmla="*/ 20 w 65"/>
                  <a:gd name="T17" fmla="*/ 34 h 60"/>
                  <a:gd name="T18" fmla="*/ 49 w 65"/>
                  <a:gd name="T19" fmla="*/ 52 h 60"/>
                  <a:gd name="T20" fmla="*/ 44 w 65"/>
                  <a:gd name="T21" fmla="*/ 60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65" h="60">
                    <a:moveTo>
                      <a:pt x="44" y="60"/>
                    </a:moveTo>
                    <a:lnTo>
                      <a:pt x="0" y="34"/>
                    </a:lnTo>
                    <a:lnTo>
                      <a:pt x="5" y="26"/>
                    </a:lnTo>
                    <a:lnTo>
                      <a:pt x="46" y="24"/>
                    </a:lnTo>
                    <a:lnTo>
                      <a:pt x="15" y="8"/>
                    </a:lnTo>
                    <a:lnTo>
                      <a:pt x="20" y="0"/>
                    </a:lnTo>
                    <a:lnTo>
                      <a:pt x="65" y="24"/>
                    </a:lnTo>
                    <a:lnTo>
                      <a:pt x="59" y="33"/>
                    </a:lnTo>
                    <a:lnTo>
                      <a:pt x="20" y="34"/>
                    </a:lnTo>
                    <a:lnTo>
                      <a:pt x="49" y="52"/>
                    </a:lnTo>
                    <a:lnTo>
                      <a:pt x="44" y="6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56" name="îşḷïḋê"/>
              <p:cNvSpPr/>
              <p:nvPr/>
            </p:nvSpPr>
            <p:spPr bwMode="auto">
              <a:xfrm>
                <a:off x="3106634" y="5606053"/>
                <a:ext cx="87313" cy="84138"/>
              </a:xfrm>
              <a:custGeom>
                <a:avLst/>
                <a:gdLst>
                  <a:gd name="T0" fmla="*/ 15 w 47"/>
                  <a:gd name="T1" fmla="*/ 43 h 46"/>
                  <a:gd name="T2" fmla="*/ 5 w 47"/>
                  <a:gd name="T3" fmla="*/ 36 h 46"/>
                  <a:gd name="T4" fmla="*/ 2 w 47"/>
                  <a:gd name="T5" fmla="*/ 30 h 46"/>
                  <a:gd name="T6" fmla="*/ 0 w 47"/>
                  <a:gd name="T7" fmla="*/ 23 h 46"/>
                  <a:gd name="T8" fmla="*/ 2 w 47"/>
                  <a:gd name="T9" fmla="*/ 14 h 46"/>
                  <a:gd name="T10" fmla="*/ 14 w 47"/>
                  <a:gd name="T11" fmla="*/ 2 h 46"/>
                  <a:gd name="T12" fmla="*/ 32 w 47"/>
                  <a:gd name="T13" fmla="*/ 3 h 46"/>
                  <a:gd name="T14" fmla="*/ 45 w 47"/>
                  <a:gd name="T15" fmla="*/ 15 h 46"/>
                  <a:gd name="T16" fmla="*/ 44 w 47"/>
                  <a:gd name="T17" fmla="*/ 32 h 46"/>
                  <a:gd name="T18" fmla="*/ 32 w 47"/>
                  <a:gd name="T19" fmla="*/ 44 h 46"/>
                  <a:gd name="T20" fmla="*/ 15 w 47"/>
                  <a:gd name="T21" fmla="*/ 43 h 46"/>
                  <a:gd name="T22" fmla="*/ 18 w 47"/>
                  <a:gd name="T23" fmla="*/ 34 h 46"/>
                  <a:gd name="T24" fmla="*/ 30 w 47"/>
                  <a:gd name="T25" fmla="*/ 35 h 46"/>
                  <a:gd name="T26" fmla="*/ 37 w 47"/>
                  <a:gd name="T27" fmla="*/ 29 h 46"/>
                  <a:gd name="T28" fmla="*/ 37 w 47"/>
                  <a:gd name="T29" fmla="*/ 19 h 46"/>
                  <a:gd name="T30" fmla="*/ 28 w 47"/>
                  <a:gd name="T31" fmla="*/ 12 h 46"/>
                  <a:gd name="T32" fmla="*/ 16 w 47"/>
                  <a:gd name="T33" fmla="*/ 10 h 46"/>
                  <a:gd name="T34" fmla="*/ 9 w 47"/>
                  <a:gd name="T35" fmla="*/ 17 h 46"/>
                  <a:gd name="T36" fmla="*/ 9 w 47"/>
                  <a:gd name="T37" fmla="*/ 27 h 46"/>
                  <a:gd name="T38" fmla="*/ 18 w 47"/>
                  <a:gd name="T39" fmla="*/ 34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47" h="46">
                    <a:moveTo>
                      <a:pt x="15" y="43"/>
                    </a:moveTo>
                    <a:cubicBezTo>
                      <a:pt x="11" y="41"/>
                      <a:pt x="8" y="39"/>
                      <a:pt x="5" y="36"/>
                    </a:cubicBezTo>
                    <a:cubicBezTo>
                      <a:pt x="4" y="34"/>
                      <a:pt x="2" y="32"/>
                      <a:pt x="2" y="30"/>
                    </a:cubicBezTo>
                    <a:cubicBezTo>
                      <a:pt x="1" y="28"/>
                      <a:pt x="0" y="26"/>
                      <a:pt x="0" y="23"/>
                    </a:cubicBezTo>
                    <a:cubicBezTo>
                      <a:pt x="0" y="20"/>
                      <a:pt x="1" y="17"/>
                      <a:pt x="2" y="14"/>
                    </a:cubicBezTo>
                    <a:cubicBezTo>
                      <a:pt x="5" y="8"/>
                      <a:pt x="9" y="4"/>
                      <a:pt x="14" y="2"/>
                    </a:cubicBezTo>
                    <a:cubicBezTo>
                      <a:pt x="19" y="0"/>
                      <a:pt x="25" y="1"/>
                      <a:pt x="32" y="3"/>
                    </a:cubicBezTo>
                    <a:cubicBezTo>
                      <a:pt x="38" y="6"/>
                      <a:pt x="43" y="10"/>
                      <a:pt x="45" y="15"/>
                    </a:cubicBezTo>
                    <a:cubicBezTo>
                      <a:pt x="47" y="21"/>
                      <a:pt x="47" y="26"/>
                      <a:pt x="44" y="32"/>
                    </a:cubicBezTo>
                    <a:cubicBezTo>
                      <a:pt x="41" y="38"/>
                      <a:pt x="38" y="42"/>
                      <a:pt x="32" y="44"/>
                    </a:cubicBezTo>
                    <a:cubicBezTo>
                      <a:pt x="27" y="46"/>
                      <a:pt x="21" y="45"/>
                      <a:pt x="15" y="43"/>
                    </a:cubicBezTo>
                    <a:close/>
                    <a:moveTo>
                      <a:pt x="18" y="34"/>
                    </a:moveTo>
                    <a:cubicBezTo>
                      <a:pt x="23" y="36"/>
                      <a:pt x="27" y="37"/>
                      <a:pt x="30" y="35"/>
                    </a:cubicBezTo>
                    <a:cubicBezTo>
                      <a:pt x="33" y="34"/>
                      <a:pt x="36" y="32"/>
                      <a:pt x="37" y="29"/>
                    </a:cubicBezTo>
                    <a:cubicBezTo>
                      <a:pt x="39" y="26"/>
                      <a:pt x="39" y="23"/>
                      <a:pt x="37" y="19"/>
                    </a:cubicBezTo>
                    <a:cubicBezTo>
                      <a:pt x="36" y="16"/>
                      <a:pt x="33" y="14"/>
                      <a:pt x="28" y="12"/>
                    </a:cubicBezTo>
                    <a:cubicBezTo>
                      <a:pt x="23" y="10"/>
                      <a:pt x="19" y="9"/>
                      <a:pt x="16" y="10"/>
                    </a:cubicBezTo>
                    <a:cubicBezTo>
                      <a:pt x="13" y="11"/>
                      <a:pt x="11" y="14"/>
                      <a:pt x="9" y="17"/>
                    </a:cubicBezTo>
                    <a:cubicBezTo>
                      <a:pt x="8" y="20"/>
                      <a:pt x="8" y="23"/>
                      <a:pt x="9" y="27"/>
                    </a:cubicBezTo>
                    <a:cubicBezTo>
                      <a:pt x="11" y="30"/>
                      <a:pt x="14" y="32"/>
                      <a:pt x="18" y="3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57" name="îṣlïḍè"/>
              <p:cNvSpPr/>
              <p:nvPr/>
            </p:nvSpPr>
            <p:spPr bwMode="auto">
              <a:xfrm>
                <a:off x="3128859" y="5560015"/>
                <a:ext cx="93663" cy="57150"/>
              </a:xfrm>
              <a:custGeom>
                <a:avLst/>
                <a:gdLst>
                  <a:gd name="T0" fmla="*/ 49 w 59"/>
                  <a:gd name="T1" fmla="*/ 36 h 36"/>
                  <a:gd name="T2" fmla="*/ 0 w 59"/>
                  <a:gd name="T3" fmla="*/ 21 h 36"/>
                  <a:gd name="T4" fmla="*/ 4 w 59"/>
                  <a:gd name="T5" fmla="*/ 10 h 36"/>
                  <a:gd name="T6" fmla="*/ 43 w 59"/>
                  <a:gd name="T7" fmla="*/ 24 h 36"/>
                  <a:gd name="T8" fmla="*/ 51 w 59"/>
                  <a:gd name="T9" fmla="*/ 0 h 36"/>
                  <a:gd name="T10" fmla="*/ 59 w 59"/>
                  <a:gd name="T11" fmla="*/ 2 h 36"/>
                  <a:gd name="T12" fmla="*/ 49 w 59"/>
                  <a:gd name="T13" fmla="*/ 36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59" h="36">
                    <a:moveTo>
                      <a:pt x="49" y="36"/>
                    </a:moveTo>
                    <a:lnTo>
                      <a:pt x="0" y="21"/>
                    </a:lnTo>
                    <a:lnTo>
                      <a:pt x="4" y="10"/>
                    </a:lnTo>
                    <a:lnTo>
                      <a:pt x="43" y="24"/>
                    </a:lnTo>
                    <a:lnTo>
                      <a:pt x="51" y="0"/>
                    </a:lnTo>
                    <a:lnTo>
                      <a:pt x="59" y="2"/>
                    </a:lnTo>
                    <a:lnTo>
                      <a:pt x="49" y="36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58" name="ïṩḷîḓê"/>
              <p:cNvSpPr/>
              <p:nvPr/>
            </p:nvSpPr>
            <p:spPr bwMode="auto">
              <a:xfrm>
                <a:off x="3152672" y="5469528"/>
                <a:ext cx="85725" cy="80963"/>
              </a:xfrm>
              <a:custGeom>
                <a:avLst/>
                <a:gdLst>
                  <a:gd name="T0" fmla="*/ 18 w 46"/>
                  <a:gd name="T1" fmla="*/ 43 h 44"/>
                  <a:gd name="T2" fmla="*/ 8 w 46"/>
                  <a:gd name="T3" fmla="*/ 38 h 44"/>
                  <a:gd name="T4" fmla="*/ 3 w 46"/>
                  <a:gd name="T5" fmla="*/ 33 h 44"/>
                  <a:gd name="T6" fmla="*/ 0 w 46"/>
                  <a:gd name="T7" fmla="*/ 27 h 44"/>
                  <a:gd name="T8" fmla="*/ 1 w 46"/>
                  <a:gd name="T9" fmla="*/ 17 h 44"/>
                  <a:gd name="T10" fmla="*/ 10 w 46"/>
                  <a:gd name="T11" fmla="*/ 3 h 44"/>
                  <a:gd name="T12" fmla="*/ 28 w 46"/>
                  <a:gd name="T13" fmla="*/ 1 h 44"/>
                  <a:gd name="T14" fmla="*/ 43 w 46"/>
                  <a:gd name="T15" fmla="*/ 11 h 44"/>
                  <a:gd name="T16" fmla="*/ 45 w 46"/>
                  <a:gd name="T17" fmla="*/ 27 h 44"/>
                  <a:gd name="T18" fmla="*/ 36 w 46"/>
                  <a:gd name="T19" fmla="*/ 41 h 44"/>
                  <a:gd name="T20" fmla="*/ 18 w 46"/>
                  <a:gd name="T21" fmla="*/ 43 h 44"/>
                  <a:gd name="T22" fmla="*/ 20 w 46"/>
                  <a:gd name="T23" fmla="*/ 34 h 44"/>
                  <a:gd name="T24" fmla="*/ 32 w 46"/>
                  <a:gd name="T25" fmla="*/ 33 h 44"/>
                  <a:gd name="T26" fmla="*/ 38 w 46"/>
                  <a:gd name="T27" fmla="*/ 25 h 44"/>
                  <a:gd name="T28" fmla="*/ 36 w 46"/>
                  <a:gd name="T29" fmla="*/ 16 h 44"/>
                  <a:gd name="T30" fmla="*/ 25 w 46"/>
                  <a:gd name="T31" fmla="*/ 10 h 44"/>
                  <a:gd name="T32" fmla="*/ 14 w 46"/>
                  <a:gd name="T33" fmla="*/ 11 h 44"/>
                  <a:gd name="T34" fmla="*/ 8 w 46"/>
                  <a:gd name="T35" fmla="*/ 19 h 44"/>
                  <a:gd name="T36" fmla="*/ 10 w 46"/>
                  <a:gd name="T37" fmla="*/ 28 h 44"/>
                  <a:gd name="T38" fmla="*/ 20 w 46"/>
                  <a:gd name="T39" fmla="*/ 34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46" h="44">
                    <a:moveTo>
                      <a:pt x="18" y="43"/>
                    </a:moveTo>
                    <a:cubicBezTo>
                      <a:pt x="14" y="42"/>
                      <a:pt x="10" y="40"/>
                      <a:pt x="8" y="38"/>
                    </a:cubicBezTo>
                    <a:cubicBezTo>
                      <a:pt x="6" y="37"/>
                      <a:pt x="4" y="35"/>
                      <a:pt x="3" y="33"/>
                    </a:cubicBezTo>
                    <a:cubicBezTo>
                      <a:pt x="1" y="31"/>
                      <a:pt x="1" y="29"/>
                      <a:pt x="0" y="27"/>
                    </a:cubicBezTo>
                    <a:cubicBezTo>
                      <a:pt x="0" y="24"/>
                      <a:pt x="0" y="21"/>
                      <a:pt x="1" y="17"/>
                    </a:cubicBezTo>
                    <a:cubicBezTo>
                      <a:pt x="2" y="11"/>
                      <a:pt x="5" y="6"/>
                      <a:pt x="10" y="3"/>
                    </a:cubicBezTo>
                    <a:cubicBezTo>
                      <a:pt x="15" y="0"/>
                      <a:pt x="21" y="0"/>
                      <a:pt x="28" y="1"/>
                    </a:cubicBezTo>
                    <a:cubicBezTo>
                      <a:pt x="34" y="3"/>
                      <a:pt x="39" y="6"/>
                      <a:pt x="43" y="11"/>
                    </a:cubicBezTo>
                    <a:cubicBezTo>
                      <a:pt x="46" y="15"/>
                      <a:pt x="46" y="21"/>
                      <a:pt x="45" y="27"/>
                    </a:cubicBezTo>
                    <a:cubicBezTo>
                      <a:pt x="44" y="33"/>
                      <a:pt x="40" y="38"/>
                      <a:pt x="36" y="41"/>
                    </a:cubicBezTo>
                    <a:cubicBezTo>
                      <a:pt x="31" y="44"/>
                      <a:pt x="25" y="44"/>
                      <a:pt x="18" y="43"/>
                    </a:cubicBezTo>
                    <a:close/>
                    <a:moveTo>
                      <a:pt x="20" y="34"/>
                    </a:moveTo>
                    <a:cubicBezTo>
                      <a:pt x="25" y="35"/>
                      <a:pt x="29" y="35"/>
                      <a:pt x="32" y="33"/>
                    </a:cubicBezTo>
                    <a:cubicBezTo>
                      <a:pt x="35" y="31"/>
                      <a:pt x="37" y="29"/>
                      <a:pt x="38" y="25"/>
                    </a:cubicBezTo>
                    <a:cubicBezTo>
                      <a:pt x="38" y="22"/>
                      <a:pt x="38" y="19"/>
                      <a:pt x="36" y="16"/>
                    </a:cubicBezTo>
                    <a:cubicBezTo>
                      <a:pt x="34" y="13"/>
                      <a:pt x="30" y="11"/>
                      <a:pt x="25" y="10"/>
                    </a:cubicBezTo>
                    <a:cubicBezTo>
                      <a:pt x="20" y="9"/>
                      <a:pt x="16" y="9"/>
                      <a:pt x="14" y="11"/>
                    </a:cubicBezTo>
                    <a:cubicBezTo>
                      <a:pt x="11" y="13"/>
                      <a:pt x="9" y="15"/>
                      <a:pt x="8" y="19"/>
                    </a:cubicBezTo>
                    <a:cubicBezTo>
                      <a:pt x="7" y="22"/>
                      <a:pt x="8" y="25"/>
                      <a:pt x="10" y="28"/>
                    </a:cubicBezTo>
                    <a:cubicBezTo>
                      <a:pt x="12" y="31"/>
                      <a:pt x="15" y="33"/>
                      <a:pt x="20" y="3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59" name="ïSļiďé"/>
              <p:cNvSpPr/>
              <p:nvPr/>
            </p:nvSpPr>
            <p:spPr bwMode="auto">
              <a:xfrm>
                <a:off x="3165372" y="5390153"/>
                <a:ext cx="85725" cy="77788"/>
              </a:xfrm>
              <a:custGeom>
                <a:avLst/>
                <a:gdLst>
                  <a:gd name="T0" fmla="*/ 29 w 46"/>
                  <a:gd name="T1" fmla="*/ 21 h 42"/>
                  <a:gd name="T2" fmla="*/ 22 w 46"/>
                  <a:gd name="T3" fmla="*/ 20 h 42"/>
                  <a:gd name="T4" fmla="*/ 24 w 46"/>
                  <a:gd name="T5" fmla="*/ 1 h 42"/>
                  <a:gd name="T6" fmla="*/ 41 w 46"/>
                  <a:gd name="T7" fmla="*/ 3 h 42"/>
                  <a:gd name="T8" fmla="*/ 45 w 46"/>
                  <a:gd name="T9" fmla="*/ 11 h 42"/>
                  <a:gd name="T10" fmla="*/ 46 w 46"/>
                  <a:gd name="T11" fmla="*/ 22 h 42"/>
                  <a:gd name="T12" fmla="*/ 42 w 46"/>
                  <a:gd name="T13" fmla="*/ 34 h 42"/>
                  <a:gd name="T14" fmla="*/ 33 w 46"/>
                  <a:gd name="T15" fmla="*/ 41 h 42"/>
                  <a:gd name="T16" fmla="*/ 21 w 46"/>
                  <a:gd name="T17" fmla="*/ 42 h 42"/>
                  <a:gd name="T18" fmla="*/ 9 w 46"/>
                  <a:gd name="T19" fmla="*/ 38 h 42"/>
                  <a:gd name="T20" fmla="*/ 2 w 46"/>
                  <a:gd name="T21" fmla="*/ 28 h 42"/>
                  <a:gd name="T22" fmla="*/ 1 w 46"/>
                  <a:gd name="T23" fmla="*/ 18 h 42"/>
                  <a:gd name="T24" fmla="*/ 6 w 46"/>
                  <a:gd name="T25" fmla="*/ 5 h 42"/>
                  <a:gd name="T26" fmla="*/ 16 w 46"/>
                  <a:gd name="T27" fmla="*/ 0 h 42"/>
                  <a:gd name="T28" fmla="*/ 16 w 46"/>
                  <a:gd name="T29" fmla="*/ 9 h 42"/>
                  <a:gd name="T30" fmla="*/ 11 w 46"/>
                  <a:gd name="T31" fmla="*/ 12 h 42"/>
                  <a:gd name="T32" fmla="*/ 8 w 46"/>
                  <a:gd name="T33" fmla="*/ 18 h 42"/>
                  <a:gd name="T34" fmla="*/ 11 w 46"/>
                  <a:gd name="T35" fmla="*/ 28 h 42"/>
                  <a:gd name="T36" fmla="*/ 21 w 46"/>
                  <a:gd name="T37" fmla="*/ 33 h 42"/>
                  <a:gd name="T38" fmla="*/ 34 w 46"/>
                  <a:gd name="T39" fmla="*/ 31 h 42"/>
                  <a:gd name="T40" fmla="*/ 38 w 46"/>
                  <a:gd name="T41" fmla="*/ 22 h 42"/>
                  <a:gd name="T42" fmla="*/ 38 w 46"/>
                  <a:gd name="T43" fmla="*/ 16 h 42"/>
                  <a:gd name="T44" fmla="*/ 36 w 46"/>
                  <a:gd name="T45" fmla="*/ 11 h 42"/>
                  <a:gd name="T46" fmla="*/ 30 w 46"/>
                  <a:gd name="T47" fmla="*/ 11 h 42"/>
                  <a:gd name="T48" fmla="*/ 29 w 46"/>
                  <a:gd name="T49" fmla="*/ 21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46" h="42">
                    <a:moveTo>
                      <a:pt x="29" y="21"/>
                    </a:moveTo>
                    <a:cubicBezTo>
                      <a:pt x="22" y="20"/>
                      <a:pt x="22" y="20"/>
                      <a:pt x="22" y="20"/>
                    </a:cubicBezTo>
                    <a:cubicBezTo>
                      <a:pt x="24" y="1"/>
                      <a:pt x="24" y="1"/>
                      <a:pt x="24" y="1"/>
                    </a:cubicBezTo>
                    <a:cubicBezTo>
                      <a:pt x="41" y="3"/>
                      <a:pt x="41" y="3"/>
                      <a:pt x="41" y="3"/>
                    </a:cubicBezTo>
                    <a:cubicBezTo>
                      <a:pt x="43" y="5"/>
                      <a:pt x="44" y="8"/>
                      <a:pt x="45" y="11"/>
                    </a:cubicBezTo>
                    <a:cubicBezTo>
                      <a:pt x="46" y="15"/>
                      <a:pt x="46" y="19"/>
                      <a:pt x="46" y="22"/>
                    </a:cubicBezTo>
                    <a:cubicBezTo>
                      <a:pt x="46" y="27"/>
                      <a:pt x="44" y="31"/>
                      <a:pt x="42" y="34"/>
                    </a:cubicBezTo>
                    <a:cubicBezTo>
                      <a:pt x="39" y="37"/>
                      <a:pt x="36" y="39"/>
                      <a:pt x="33" y="41"/>
                    </a:cubicBezTo>
                    <a:cubicBezTo>
                      <a:pt x="29" y="42"/>
                      <a:pt x="25" y="42"/>
                      <a:pt x="21" y="42"/>
                    </a:cubicBezTo>
                    <a:cubicBezTo>
                      <a:pt x="16" y="41"/>
                      <a:pt x="12" y="40"/>
                      <a:pt x="9" y="38"/>
                    </a:cubicBezTo>
                    <a:cubicBezTo>
                      <a:pt x="6" y="35"/>
                      <a:pt x="3" y="32"/>
                      <a:pt x="2" y="28"/>
                    </a:cubicBezTo>
                    <a:cubicBezTo>
                      <a:pt x="1" y="25"/>
                      <a:pt x="0" y="22"/>
                      <a:pt x="1" y="18"/>
                    </a:cubicBezTo>
                    <a:cubicBezTo>
                      <a:pt x="1" y="12"/>
                      <a:pt x="3" y="8"/>
                      <a:pt x="6" y="5"/>
                    </a:cubicBezTo>
                    <a:cubicBezTo>
                      <a:pt x="8" y="2"/>
                      <a:pt x="12" y="1"/>
                      <a:pt x="16" y="0"/>
                    </a:cubicBezTo>
                    <a:cubicBezTo>
                      <a:pt x="16" y="9"/>
                      <a:pt x="16" y="9"/>
                      <a:pt x="16" y="9"/>
                    </a:cubicBezTo>
                    <a:cubicBezTo>
                      <a:pt x="14" y="10"/>
                      <a:pt x="12" y="11"/>
                      <a:pt x="11" y="12"/>
                    </a:cubicBezTo>
                    <a:cubicBezTo>
                      <a:pt x="10" y="14"/>
                      <a:pt x="9" y="16"/>
                      <a:pt x="8" y="18"/>
                    </a:cubicBezTo>
                    <a:cubicBezTo>
                      <a:pt x="8" y="22"/>
                      <a:pt x="9" y="25"/>
                      <a:pt x="11" y="28"/>
                    </a:cubicBezTo>
                    <a:cubicBezTo>
                      <a:pt x="13" y="31"/>
                      <a:pt x="17" y="32"/>
                      <a:pt x="21" y="33"/>
                    </a:cubicBezTo>
                    <a:cubicBezTo>
                      <a:pt x="27" y="33"/>
                      <a:pt x="31" y="33"/>
                      <a:pt x="34" y="31"/>
                    </a:cubicBezTo>
                    <a:cubicBezTo>
                      <a:pt x="36" y="29"/>
                      <a:pt x="38" y="26"/>
                      <a:pt x="38" y="22"/>
                    </a:cubicBezTo>
                    <a:cubicBezTo>
                      <a:pt x="39" y="20"/>
                      <a:pt x="39" y="18"/>
                      <a:pt x="38" y="16"/>
                    </a:cubicBezTo>
                    <a:cubicBezTo>
                      <a:pt x="37" y="14"/>
                      <a:pt x="37" y="13"/>
                      <a:pt x="36" y="11"/>
                    </a:cubicBezTo>
                    <a:cubicBezTo>
                      <a:pt x="30" y="11"/>
                      <a:pt x="30" y="11"/>
                      <a:pt x="30" y="11"/>
                    </a:cubicBezTo>
                    <a:lnTo>
                      <a:pt x="29" y="2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60" name="îSḷiḋè"/>
              <p:cNvSpPr/>
              <p:nvPr/>
            </p:nvSpPr>
            <p:spPr bwMode="auto">
              <a:xfrm>
                <a:off x="3173309" y="5313953"/>
                <a:ext cx="80963" cy="76200"/>
              </a:xfrm>
              <a:custGeom>
                <a:avLst/>
                <a:gdLst>
                  <a:gd name="T0" fmla="*/ 51 w 51"/>
                  <a:gd name="T1" fmla="*/ 30 h 48"/>
                  <a:gd name="T2" fmla="*/ 29 w 51"/>
                  <a:gd name="T3" fmla="*/ 29 h 48"/>
                  <a:gd name="T4" fmla="*/ 0 w 51"/>
                  <a:gd name="T5" fmla="*/ 48 h 48"/>
                  <a:gd name="T6" fmla="*/ 0 w 51"/>
                  <a:gd name="T7" fmla="*/ 36 h 48"/>
                  <a:gd name="T8" fmla="*/ 20 w 51"/>
                  <a:gd name="T9" fmla="*/ 24 h 48"/>
                  <a:gd name="T10" fmla="*/ 0 w 51"/>
                  <a:gd name="T11" fmla="*/ 12 h 48"/>
                  <a:gd name="T12" fmla="*/ 0 w 51"/>
                  <a:gd name="T13" fmla="*/ 0 h 48"/>
                  <a:gd name="T14" fmla="*/ 30 w 51"/>
                  <a:gd name="T15" fmla="*/ 20 h 48"/>
                  <a:gd name="T16" fmla="*/ 51 w 51"/>
                  <a:gd name="T17" fmla="*/ 20 h 48"/>
                  <a:gd name="T18" fmla="*/ 51 w 51"/>
                  <a:gd name="T19" fmla="*/ 30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51" h="48">
                    <a:moveTo>
                      <a:pt x="51" y="30"/>
                    </a:moveTo>
                    <a:lnTo>
                      <a:pt x="29" y="29"/>
                    </a:lnTo>
                    <a:lnTo>
                      <a:pt x="0" y="48"/>
                    </a:lnTo>
                    <a:lnTo>
                      <a:pt x="0" y="36"/>
                    </a:lnTo>
                    <a:lnTo>
                      <a:pt x="20" y="24"/>
                    </a:lnTo>
                    <a:lnTo>
                      <a:pt x="0" y="12"/>
                    </a:lnTo>
                    <a:lnTo>
                      <a:pt x="0" y="0"/>
                    </a:lnTo>
                    <a:lnTo>
                      <a:pt x="30" y="20"/>
                    </a:lnTo>
                    <a:lnTo>
                      <a:pt x="51" y="20"/>
                    </a:lnTo>
                    <a:lnTo>
                      <a:pt x="51" y="3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61" name="îṣḷíḋé"/>
              <p:cNvSpPr/>
              <p:nvPr/>
            </p:nvSpPr>
            <p:spPr bwMode="auto">
              <a:xfrm>
                <a:off x="3163784" y="5193303"/>
                <a:ext cx="87313" cy="76200"/>
              </a:xfrm>
              <a:custGeom>
                <a:avLst/>
                <a:gdLst>
                  <a:gd name="T0" fmla="*/ 4 w 47"/>
                  <a:gd name="T1" fmla="*/ 41 h 41"/>
                  <a:gd name="T2" fmla="*/ 1 w 47"/>
                  <a:gd name="T3" fmla="*/ 24 h 41"/>
                  <a:gd name="T4" fmla="*/ 0 w 47"/>
                  <a:gd name="T5" fmla="*/ 16 h 41"/>
                  <a:gd name="T6" fmla="*/ 2 w 47"/>
                  <a:gd name="T7" fmla="*/ 11 h 41"/>
                  <a:gd name="T8" fmla="*/ 5 w 47"/>
                  <a:gd name="T9" fmla="*/ 7 h 41"/>
                  <a:gd name="T10" fmla="*/ 10 w 47"/>
                  <a:gd name="T11" fmla="*/ 5 h 41"/>
                  <a:gd name="T12" fmla="*/ 16 w 47"/>
                  <a:gd name="T13" fmla="*/ 6 h 41"/>
                  <a:gd name="T14" fmla="*/ 20 w 47"/>
                  <a:gd name="T15" fmla="*/ 10 h 41"/>
                  <a:gd name="T16" fmla="*/ 23 w 47"/>
                  <a:gd name="T17" fmla="*/ 3 h 41"/>
                  <a:gd name="T18" fmla="*/ 29 w 47"/>
                  <a:gd name="T19" fmla="*/ 0 h 41"/>
                  <a:gd name="T20" fmla="*/ 35 w 47"/>
                  <a:gd name="T21" fmla="*/ 1 h 41"/>
                  <a:gd name="T22" fmla="*/ 40 w 47"/>
                  <a:gd name="T23" fmla="*/ 4 h 41"/>
                  <a:gd name="T24" fmla="*/ 43 w 47"/>
                  <a:gd name="T25" fmla="*/ 10 h 41"/>
                  <a:gd name="T26" fmla="*/ 45 w 47"/>
                  <a:gd name="T27" fmla="*/ 20 h 41"/>
                  <a:gd name="T28" fmla="*/ 47 w 47"/>
                  <a:gd name="T29" fmla="*/ 35 h 41"/>
                  <a:gd name="T30" fmla="*/ 4 w 47"/>
                  <a:gd name="T31" fmla="*/ 41 h 41"/>
                  <a:gd name="T32" fmla="*/ 10 w 47"/>
                  <a:gd name="T33" fmla="*/ 31 h 41"/>
                  <a:gd name="T34" fmla="*/ 20 w 47"/>
                  <a:gd name="T35" fmla="*/ 30 h 41"/>
                  <a:gd name="T36" fmla="*/ 19 w 47"/>
                  <a:gd name="T37" fmla="*/ 24 h 41"/>
                  <a:gd name="T38" fmla="*/ 18 w 47"/>
                  <a:gd name="T39" fmla="*/ 18 h 41"/>
                  <a:gd name="T40" fmla="*/ 16 w 47"/>
                  <a:gd name="T41" fmla="*/ 15 h 41"/>
                  <a:gd name="T42" fmla="*/ 12 w 47"/>
                  <a:gd name="T43" fmla="*/ 14 h 41"/>
                  <a:gd name="T44" fmla="*/ 9 w 47"/>
                  <a:gd name="T45" fmla="*/ 15 h 41"/>
                  <a:gd name="T46" fmla="*/ 8 w 47"/>
                  <a:gd name="T47" fmla="*/ 19 h 41"/>
                  <a:gd name="T48" fmla="*/ 9 w 47"/>
                  <a:gd name="T49" fmla="*/ 26 h 41"/>
                  <a:gd name="T50" fmla="*/ 10 w 47"/>
                  <a:gd name="T51" fmla="*/ 31 h 41"/>
                  <a:gd name="T52" fmla="*/ 27 w 47"/>
                  <a:gd name="T53" fmla="*/ 29 h 41"/>
                  <a:gd name="T54" fmla="*/ 39 w 47"/>
                  <a:gd name="T55" fmla="*/ 27 h 41"/>
                  <a:gd name="T56" fmla="*/ 37 w 47"/>
                  <a:gd name="T57" fmla="*/ 19 h 41"/>
                  <a:gd name="T58" fmla="*/ 36 w 47"/>
                  <a:gd name="T59" fmla="*/ 13 h 41"/>
                  <a:gd name="T60" fmla="*/ 34 w 47"/>
                  <a:gd name="T61" fmla="*/ 10 h 41"/>
                  <a:gd name="T62" fmla="*/ 30 w 47"/>
                  <a:gd name="T63" fmla="*/ 10 h 41"/>
                  <a:gd name="T64" fmla="*/ 27 w 47"/>
                  <a:gd name="T65" fmla="*/ 11 h 41"/>
                  <a:gd name="T66" fmla="*/ 25 w 47"/>
                  <a:gd name="T67" fmla="*/ 14 h 41"/>
                  <a:gd name="T68" fmla="*/ 26 w 47"/>
                  <a:gd name="T69" fmla="*/ 22 h 41"/>
                  <a:gd name="T70" fmla="*/ 27 w 47"/>
                  <a:gd name="T71" fmla="*/ 29 h 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47" h="41">
                    <a:moveTo>
                      <a:pt x="4" y="41"/>
                    </a:moveTo>
                    <a:cubicBezTo>
                      <a:pt x="1" y="24"/>
                      <a:pt x="1" y="24"/>
                      <a:pt x="1" y="24"/>
                    </a:cubicBezTo>
                    <a:cubicBezTo>
                      <a:pt x="1" y="20"/>
                      <a:pt x="0" y="18"/>
                      <a:pt x="0" y="16"/>
                    </a:cubicBezTo>
                    <a:cubicBezTo>
                      <a:pt x="1" y="14"/>
                      <a:pt x="1" y="13"/>
                      <a:pt x="2" y="11"/>
                    </a:cubicBezTo>
                    <a:cubicBezTo>
                      <a:pt x="2" y="10"/>
                      <a:pt x="3" y="9"/>
                      <a:pt x="5" y="7"/>
                    </a:cubicBezTo>
                    <a:cubicBezTo>
                      <a:pt x="6" y="6"/>
                      <a:pt x="8" y="6"/>
                      <a:pt x="10" y="5"/>
                    </a:cubicBezTo>
                    <a:cubicBezTo>
                      <a:pt x="12" y="5"/>
                      <a:pt x="14" y="5"/>
                      <a:pt x="16" y="6"/>
                    </a:cubicBezTo>
                    <a:cubicBezTo>
                      <a:pt x="17" y="7"/>
                      <a:pt x="19" y="8"/>
                      <a:pt x="20" y="10"/>
                    </a:cubicBezTo>
                    <a:cubicBezTo>
                      <a:pt x="20" y="7"/>
                      <a:pt x="21" y="5"/>
                      <a:pt x="23" y="3"/>
                    </a:cubicBezTo>
                    <a:cubicBezTo>
                      <a:pt x="25" y="2"/>
                      <a:pt x="27" y="1"/>
                      <a:pt x="29" y="0"/>
                    </a:cubicBezTo>
                    <a:cubicBezTo>
                      <a:pt x="31" y="0"/>
                      <a:pt x="33" y="0"/>
                      <a:pt x="35" y="1"/>
                    </a:cubicBezTo>
                    <a:cubicBezTo>
                      <a:pt x="37" y="2"/>
                      <a:pt x="39" y="3"/>
                      <a:pt x="40" y="4"/>
                    </a:cubicBezTo>
                    <a:cubicBezTo>
                      <a:pt x="42" y="5"/>
                      <a:pt x="43" y="7"/>
                      <a:pt x="43" y="10"/>
                    </a:cubicBezTo>
                    <a:cubicBezTo>
                      <a:pt x="44" y="11"/>
                      <a:pt x="44" y="15"/>
                      <a:pt x="45" y="20"/>
                    </a:cubicBezTo>
                    <a:cubicBezTo>
                      <a:pt x="47" y="35"/>
                      <a:pt x="47" y="35"/>
                      <a:pt x="47" y="35"/>
                    </a:cubicBezTo>
                    <a:lnTo>
                      <a:pt x="4" y="41"/>
                    </a:lnTo>
                    <a:close/>
                    <a:moveTo>
                      <a:pt x="10" y="31"/>
                    </a:moveTo>
                    <a:cubicBezTo>
                      <a:pt x="20" y="30"/>
                      <a:pt x="20" y="30"/>
                      <a:pt x="20" y="30"/>
                    </a:cubicBezTo>
                    <a:cubicBezTo>
                      <a:pt x="19" y="24"/>
                      <a:pt x="19" y="24"/>
                      <a:pt x="19" y="24"/>
                    </a:cubicBezTo>
                    <a:cubicBezTo>
                      <a:pt x="18" y="21"/>
                      <a:pt x="18" y="19"/>
                      <a:pt x="18" y="18"/>
                    </a:cubicBezTo>
                    <a:cubicBezTo>
                      <a:pt x="17" y="16"/>
                      <a:pt x="17" y="15"/>
                      <a:pt x="16" y="15"/>
                    </a:cubicBezTo>
                    <a:cubicBezTo>
                      <a:pt x="15" y="14"/>
                      <a:pt x="14" y="14"/>
                      <a:pt x="12" y="14"/>
                    </a:cubicBezTo>
                    <a:cubicBezTo>
                      <a:pt x="11" y="14"/>
                      <a:pt x="10" y="14"/>
                      <a:pt x="9" y="15"/>
                    </a:cubicBezTo>
                    <a:cubicBezTo>
                      <a:pt x="8" y="16"/>
                      <a:pt x="8" y="17"/>
                      <a:pt x="8" y="19"/>
                    </a:cubicBezTo>
                    <a:cubicBezTo>
                      <a:pt x="8" y="20"/>
                      <a:pt x="8" y="22"/>
                      <a:pt x="9" y="26"/>
                    </a:cubicBezTo>
                    <a:lnTo>
                      <a:pt x="10" y="31"/>
                    </a:lnTo>
                    <a:close/>
                    <a:moveTo>
                      <a:pt x="27" y="29"/>
                    </a:moveTo>
                    <a:cubicBezTo>
                      <a:pt x="39" y="27"/>
                      <a:pt x="39" y="27"/>
                      <a:pt x="39" y="27"/>
                    </a:cubicBezTo>
                    <a:cubicBezTo>
                      <a:pt x="37" y="19"/>
                      <a:pt x="37" y="19"/>
                      <a:pt x="37" y="19"/>
                    </a:cubicBezTo>
                    <a:cubicBezTo>
                      <a:pt x="37" y="16"/>
                      <a:pt x="37" y="14"/>
                      <a:pt x="36" y="13"/>
                    </a:cubicBezTo>
                    <a:cubicBezTo>
                      <a:pt x="36" y="12"/>
                      <a:pt x="35" y="11"/>
                      <a:pt x="34" y="10"/>
                    </a:cubicBezTo>
                    <a:cubicBezTo>
                      <a:pt x="33" y="10"/>
                      <a:pt x="32" y="9"/>
                      <a:pt x="30" y="10"/>
                    </a:cubicBezTo>
                    <a:cubicBezTo>
                      <a:pt x="29" y="10"/>
                      <a:pt x="28" y="10"/>
                      <a:pt x="27" y="11"/>
                    </a:cubicBezTo>
                    <a:cubicBezTo>
                      <a:pt x="26" y="12"/>
                      <a:pt x="26" y="13"/>
                      <a:pt x="25" y="14"/>
                    </a:cubicBezTo>
                    <a:cubicBezTo>
                      <a:pt x="25" y="15"/>
                      <a:pt x="25" y="18"/>
                      <a:pt x="26" y="22"/>
                    </a:cubicBezTo>
                    <a:lnTo>
                      <a:pt x="27" y="2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62" name="îṩliďè"/>
              <p:cNvSpPr/>
              <p:nvPr/>
            </p:nvSpPr>
            <p:spPr bwMode="auto">
              <a:xfrm>
                <a:off x="3146322" y="5120278"/>
                <a:ext cx="93663" cy="79375"/>
              </a:xfrm>
              <a:custGeom>
                <a:avLst/>
                <a:gdLst>
                  <a:gd name="T0" fmla="*/ 59 w 59"/>
                  <a:gd name="T1" fmla="*/ 37 h 50"/>
                  <a:gd name="T2" fmla="*/ 9 w 59"/>
                  <a:gd name="T3" fmla="*/ 50 h 50"/>
                  <a:gd name="T4" fmla="*/ 0 w 59"/>
                  <a:gd name="T5" fmla="*/ 13 h 50"/>
                  <a:gd name="T6" fmla="*/ 8 w 59"/>
                  <a:gd name="T7" fmla="*/ 10 h 50"/>
                  <a:gd name="T8" fmla="*/ 15 w 59"/>
                  <a:gd name="T9" fmla="*/ 37 h 50"/>
                  <a:gd name="T10" fmla="*/ 25 w 59"/>
                  <a:gd name="T11" fmla="*/ 35 h 50"/>
                  <a:gd name="T12" fmla="*/ 19 w 59"/>
                  <a:gd name="T13" fmla="*/ 9 h 50"/>
                  <a:gd name="T14" fmla="*/ 27 w 59"/>
                  <a:gd name="T15" fmla="*/ 8 h 50"/>
                  <a:gd name="T16" fmla="*/ 34 w 59"/>
                  <a:gd name="T17" fmla="*/ 32 h 50"/>
                  <a:gd name="T18" fmla="*/ 47 w 59"/>
                  <a:gd name="T19" fmla="*/ 29 h 50"/>
                  <a:gd name="T20" fmla="*/ 40 w 59"/>
                  <a:gd name="T21" fmla="*/ 1 h 50"/>
                  <a:gd name="T22" fmla="*/ 49 w 59"/>
                  <a:gd name="T23" fmla="*/ 0 h 50"/>
                  <a:gd name="T24" fmla="*/ 59 w 59"/>
                  <a:gd name="T25" fmla="*/ 37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59" h="50">
                    <a:moveTo>
                      <a:pt x="59" y="37"/>
                    </a:moveTo>
                    <a:lnTo>
                      <a:pt x="9" y="50"/>
                    </a:lnTo>
                    <a:lnTo>
                      <a:pt x="0" y="13"/>
                    </a:lnTo>
                    <a:lnTo>
                      <a:pt x="8" y="10"/>
                    </a:lnTo>
                    <a:lnTo>
                      <a:pt x="15" y="37"/>
                    </a:lnTo>
                    <a:lnTo>
                      <a:pt x="25" y="35"/>
                    </a:lnTo>
                    <a:lnTo>
                      <a:pt x="19" y="9"/>
                    </a:lnTo>
                    <a:lnTo>
                      <a:pt x="27" y="8"/>
                    </a:lnTo>
                    <a:lnTo>
                      <a:pt x="34" y="32"/>
                    </a:lnTo>
                    <a:lnTo>
                      <a:pt x="47" y="29"/>
                    </a:lnTo>
                    <a:lnTo>
                      <a:pt x="40" y="1"/>
                    </a:lnTo>
                    <a:lnTo>
                      <a:pt x="49" y="0"/>
                    </a:lnTo>
                    <a:lnTo>
                      <a:pt x="59" y="3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63" name="iṧlíḋè"/>
              <p:cNvSpPr/>
              <p:nvPr/>
            </p:nvSpPr>
            <p:spPr bwMode="auto">
              <a:xfrm>
                <a:off x="3138384" y="5096465"/>
                <a:ext cx="82550" cy="38100"/>
              </a:xfrm>
              <a:custGeom>
                <a:avLst/>
                <a:gdLst>
                  <a:gd name="T0" fmla="*/ 52 w 52"/>
                  <a:gd name="T1" fmla="*/ 9 h 24"/>
                  <a:gd name="T2" fmla="*/ 3 w 52"/>
                  <a:gd name="T3" fmla="*/ 24 h 24"/>
                  <a:gd name="T4" fmla="*/ 0 w 52"/>
                  <a:gd name="T5" fmla="*/ 15 h 24"/>
                  <a:gd name="T6" fmla="*/ 49 w 52"/>
                  <a:gd name="T7" fmla="*/ 0 h 24"/>
                  <a:gd name="T8" fmla="*/ 52 w 52"/>
                  <a:gd name="T9" fmla="*/ 9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2" h="24">
                    <a:moveTo>
                      <a:pt x="52" y="9"/>
                    </a:moveTo>
                    <a:lnTo>
                      <a:pt x="3" y="24"/>
                    </a:lnTo>
                    <a:lnTo>
                      <a:pt x="0" y="15"/>
                    </a:lnTo>
                    <a:lnTo>
                      <a:pt x="49" y="0"/>
                    </a:lnTo>
                    <a:lnTo>
                      <a:pt x="52" y="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64" name="islïḓè"/>
              <p:cNvSpPr/>
              <p:nvPr/>
            </p:nvSpPr>
            <p:spPr bwMode="auto">
              <a:xfrm>
                <a:off x="3120922" y="5047253"/>
                <a:ext cx="88900" cy="52388"/>
              </a:xfrm>
              <a:custGeom>
                <a:avLst/>
                <a:gdLst>
                  <a:gd name="T0" fmla="*/ 3 w 48"/>
                  <a:gd name="T1" fmla="*/ 20 h 28"/>
                  <a:gd name="T2" fmla="*/ 0 w 48"/>
                  <a:gd name="T3" fmla="*/ 12 h 28"/>
                  <a:gd name="T4" fmla="*/ 26 w 48"/>
                  <a:gd name="T5" fmla="*/ 2 h 28"/>
                  <a:gd name="T6" fmla="*/ 34 w 48"/>
                  <a:gd name="T7" fmla="*/ 0 h 28"/>
                  <a:gd name="T8" fmla="*/ 42 w 48"/>
                  <a:gd name="T9" fmla="*/ 3 h 28"/>
                  <a:gd name="T10" fmla="*/ 47 w 48"/>
                  <a:gd name="T11" fmla="*/ 10 h 28"/>
                  <a:gd name="T12" fmla="*/ 47 w 48"/>
                  <a:gd name="T13" fmla="*/ 21 h 28"/>
                  <a:gd name="T14" fmla="*/ 38 w 48"/>
                  <a:gd name="T15" fmla="*/ 28 h 28"/>
                  <a:gd name="T16" fmla="*/ 34 w 48"/>
                  <a:gd name="T17" fmla="*/ 20 h 28"/>
                  <a:gd name="T18" fmla="*/ 39 w 48"/>
                  <a:gd name="T19" fmla="*/ 17 h 28"/>
                  <a:gd name="T20" fmla="*/ 40 w 48"/>
                  <a:gd name="T21" fmla="*/ 13 h 28"/>
                  <a:gd name="T22" fmla="*/ 37 w 48"/>
                  <a:gd name="T23" fmla="*/ 9 h 28"/>
                  <a:gd name="T24" fmla="*/ 30 w 48"/>
                  <a:gd name="T25" fmla="*/ 10 h 28"/>
                  <a:gd name="T26" fmla="*/ 3 w 48"/>
                  <a:gd name="T27" fmla="*/ 20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48" h="28">
                    <a:moveTo>
                      <a:pt x="3" y="20"/>
                    </a:moveTo>
                    <a:cubicBezTo>
                      <a:pt x="0" y="12"/>
                      <a:pt x="0" y="12"/>
                      <a:pt x="0" y="12"/>
                    </a:cubicBezTo>
                    <a:cubicBezTo>
                      <a:pt x="26" y="2"/>
                      <a:pt x="26" y="2"/>
                      <a:pt x="26" y="2"/>
                    </a:cubicBezTo>
                    <a:cubicBezTo>
                      <a:pt x="29" y="1"/>
                      <a:pt x="32" y="0"/>
                      <a:pt x="34" y="0"/>
                    </a:cubicBezTo>
                    <a:cubicBezTo>
                      <a:pt x="37" y="0"/>
                      <a:pt x="39" y="1"/>
                      <a:pt x="42" y="3"/>
                    </a:cubicBezTo>
                    <a:cubicBezTo>
                      <a:pt x="44" y="4"/>
                      <a:pt x="46" y="7"/>
                      <a:pt x="47" y="10"/>
                    </a:cubicBezTo>
                    <a:cubicBezTo>
                      <a:pt x="48" y="14"/>
                      <a:pt x="48" y="18"/>
                      <a:pt x="47" y="21"/>
                    </a:cubicBezTo>
                    <a:cubicBezTo>
                      <a:pt x="45" y="24"/>
                      <a:pt x="42" y="26"/>
                      <a:pt x="38" y="28"/>
                    </a:cubicBezTo>
                    <a:cubicBezTo>
                      <a:pt x="34" y="20"/>
                      <a:pt x="34" y="20"/>
                      <a:pt x="34" y="20"/>
                    </a:cubicBezTo>
                    <a:cubicBezTo>
                      <a:pt x="37" y="19"/>
                      <a:pt x="38" y="18"/>
                      <a:pt x="39" y="17"/>
                    </a:cubicBezTo>
                    <a:cubicBezTo>
                      <a:pt x="40" y="16"/>
                      <a:pt x="40" y="14"/>
                      <a:pt x="40" y="13"/>
                    </a:cubicBezTo>
                    <a:cubicBezTo>
                      <a:pt x="39" y="11"/>
                      <a:pt x="38" y="10"/>
                      <a:pt x="37" y="9"/>
                    </a:cubicBezTo>
                    <a:cubicBezTo>
                      <a:pt x="35" y="9"/>
                      <a:pt x="33" y="9"/>
                      <a:pt x="30" y="10"/>
                    </a:cubicBezTo>
                    <a:lnTo>
                      <a:pt x="3" y="2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65" name="íṥ1iḍe"/>
              <p:cNvSpPr/>
              <p:nvPr/>
            </p:nvSpPr>
            <p:spPr bwMode="auto">
              <a:xfrm>
                <a:off x="3112984" y="5017090"/>
                <a:ext cx="80963" cy="46038"/>
              </a:xfrm>
              <a:custGeom>
                <a:avLst/>
                <a:gdLst>
                  <a:gd name="T0" fmla="*/ 51 w 51"/>
                  <a:gd name="T1" fmla="*/ 9 h 29"/>
                  <a:gd name="T2" fmla="*/ 3 w 51"/>
                  <a:gd name="T3" fmla="*/ 29 h 29"/>
                  <a:gd name="T4" fmla="*/ 0 w 51"/>
                  <a:gd name="T5" fmla="*/ 19 h 29"/>
                  <a:gd name="T6" fmla="*/ 46 w 51"/>
                  <a:gd name="T7" fmla="*/ 0 h 29"/>
                  <a:gd name="T8" fmla="*/ 51 w 51"/>
                  <a:gd name="T9" fmla="*/ 9 h 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1" h="29">
                    <a:moveTo>
                      <a:pt x="51" y="9"/>
                    </a:moveTo>
                    <a:lnTo>
                      <a:pt x="3" y="29"/>
                    </a:lnTo>
                    <a:lnTo>
                      <a:pt x="0" y="19"/>
                    </a:lnTo>
                    <a:lnTo>
                      <a:pt x="46" y="0"/>
                    </a:lnTo>
                    <a:lnTo>
                      <a:pt x="51" y="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66" name="iṥľîḋé"/>
              <p:cNvSpPr/>
              <p:nvPr/>
            </p:nvSpPr>
            <p:spPr bwMode="auto">
              <a:xfrm>
                <a:off x="3081234" y="4948828"/>
                <a:ext cx="101600" cy="93663"/>
              </a:xfrm>
              <a:custGeom>
                <a:avLst/>
                <a:gdLst>
                  <a:gd name="T0" fmla="*/ 64 w 64"/>
                  <a:gd name="T1" fmla="*/ 36 h 59"/>
                  <a:gd name="T2" fmla="*/ 18 w 64"/>
                  <a:gd name="T3" fmla="*/ 59 h 59"/>
                  <a:gd name="T4" fmla="*/ 14 w 64"/>
                  <a:gd name="T5" fmla="*/ 50 h 59"/>
                  <a:gd name="T6" fmla="*/ 35 w 64"/>
                  <a:gd name="T7" fmla="*/ 16 h 59"/>
                  <a:gd name="T8" fmla="*/ 3 w 64"/>
                  <a:gd name="T9" fmla="*/ 31 h 59"/>
                  <a:gd name="T10" fmla="*/ 0 w 64"/>
                  <a:gd name="T11" fmla="*/ 22 h 59"/>
                  <a:gd name="T12" fmla="*/ 45 w 64"/>
                  <a:gd name="T13" fmla="*/ 0 h 59"/>
                  <a:gd name="T14" fmla="*/ 50 w 64"/>
                  <a:gd name="T15" fmla="*/ 8 h 59"/>
                  <a:gd name="T16" fmla="*/ 29 w 64"/>
                  <a:gd name="T17" fmla="*/ 42 h 59"/>
                  <a:gd name="T18" fmla="*/ 59 w 64"/>
                  <a:gd name="T19" fmla="*/ 26 h 59"/>
                  <a:gd name="T20" fmla="*/ 64 w 64"/>
                  <a:gd name="T21" fmla="*/ 36 h 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64" h="59">
                    <a:moveTo>
                      <a:pt x="64" y="36"/>
                    </a:moveTo>
                    <a:lnTo>
                      <a:pt x="18" y="59"/>
                    </a:lnTo>
                    <a:lnTo>
                      <a:pt x="14" y="50"/>
                    </a:lnTo>
                    <a:lnTo>
                      <a:pt x="35" y="16"/>
                    </a:lnTo>
                    <a:lnTo>
                      <a:pt x="3" y="31"/>
                    </a:lnTo>
                    <a:lnTo>
                      <a:pt x="0" y="22"/>
                    </a:lnTo>
                    <a:lnTo>
                      <a:pt x="45" y="0"/>
                    </a:lnTo>
                    <a:lnTo>
                      <a:pt x="50" y="8"/>
                    </a:lnTo>
                    <a:lnTo>
                      <a:pt x="29" y="42"/>
                    </a:lnTo>
                    <a:lnTo>
                      <a:pt x="59" y="26"/>
                    </a:lnTo>
                    <a:lnTo>
                      <a:pt x="64" y="36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67" name="îślidè"/>
              <p:cNvSpPr/>
              <p:nvPr/>
            </p:nvSpPr>
            <p:spPr bwMode="auto">
              <a:xfrm>
                <a:off x="3047897" y="4877390"/>
                <a:ext cx="84138" cy="88900"/>
              </a:xfrm>
              <a:custGeom>
                <a:avLst/>
                <a:gdLst>
                  <a:gd name="T0" fmla="*/ 28 w 46"/>
                  <a:gd name="T1" fmla="*/ 21 h 48"/>
                  <a:gd name="T2" fmla="*/ 22 w 46"/>
                  <a:gd name="T3" fmla="*/ 25 h 48"/>
                  <a:gd name="T4" fmla="*/ 11 w 46"/>
                  <a:gd name="T5" fmla="*/ 9 h 48"/>
                  <a:gd name="T6" fmla="*/ 26 w 46"/>
                  <a:gd name="T7" fmla="*/ 0 h 48"/>
                  <a:gd name="T8" fmla="*/ 35 w 46"/>
                  <a:gd name="T9" fmla="*/ 4 h 48"/>
                  <a:gd name="T10" fmla="*/ 42 w 46"/>
                  <a:gd name="T11" fmla="*/ 12 h 48"/>
                  <a:gd name="T12" fmla="*/ 46 w 46"/>
                  <a:gd name="T13" fmla="*/ 24 h 48"/>
                  <a:gd name="T14" fmla="*/ 43 w 46"/>
                  <a:gd name="T15" fmla="*/ 35 h 48"/>
                  <a:gd name="T16" fmla="*/ 35 w 46"/>
                  <a:gd name="T17" fmla="*/ 43 h 48"/>
                  <a:gd name="T18" fmla="*/ 23 w 46"/>
                  <a:gd name="T19" fmla="*/ 47 h 48"/>
                  <a:gd name="T20" fmla="*/ 12 w 46"/>
                  <a:gd name="T21" fmla="*/ 45 h 48"/>
                  <a:gd name="T22" fmla="*/ 4 w 46"/>
                  <a:gd name="T23" fmla="*/ 37 h 48"/>
                  <a:gd name="T24" fmla="*/ 0 w 46"/>
                  <a:gd name="T25" fmla="*/ 24 h 48"/>
                  <a:gd name="T26" fmla="*/ 5 w 46"/>
                  <a:gd name="T27" fmla="*/ 14 h 48"/>
                  <a:gd name="T28" fmla="*/ 11 w 46"/>
                  <a:gd name="T29" fmla="*/ 21 h 48"/>
                  <a:gd name="T30" fmla="*/ 9 w 46"/>
                  <a:gd name="T31" fmla="*/ 27 h 48"/>
                  <a:gd name="T32" fmla="*/ 11 w 46"/>
                  <a:gd name="T33" fmla="*/ 33 h 48"/>
                  <a:gd name="T34" fmla="*/ 19 w 46"/>
                  <a:gd name="T35" fmla="*/ 39 h 48"/>
                  <a:gd name="T36" fmla="*/ 30 w 46"/>
                  <a:gd name="T37" fmla="*/ 36 h 48"/>
                  <a:gd name="T38" fmla="*/ 38 w 46"/>
                  <a:gd name="T39" fmla="*/ 26 h 48"/>
                  <a:gd name="T40" fmla="*/ 36 w 46"/>
                  <a:gd name="T41" fmla="*/ 17 h 48"/>
                  <a:gd name="T42" fmla="*/ 32 w 46"/>
                  <a:gd name="T43" fmla="*/ 13 h 48"/>
                  <a:gd name="T44" fmla="*/ 27 w 46"/>
                  <a:gd name="T45" fmla="*/ 10 h 48"/>
                  <a:gd name="T46" fmla="*/ 23 w 46"/>
                  <a:gd name="T47" fmla="*/ 13 h 48"/>
                  <a:gd name="T48" fmla="*/ 28 w 46"/>
                  <a:gd name="T49" fmla="*/ 21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46" h="48">
                    <a:moveTo>
                      <a:pt x="28" y="21"/>
                    </a:moveTo>
                    <a:cubicBezTo>
                      <a:pt x="22" y="25"/>
                      <a:pt x="22" y="25"/>
                      <a:pt x="22" y="25"/>
                    </a:cubicBezTo>
                    <a:cubicBezTo>
                      <a:pt x="11" y="9"/>
                      <a:pt x="11" y="9"/>
                      <a:pt x="11" y="9"/>
                    </a:cubicBezTo>
                    <a:cubicBezTo>
                      <a:pt x="26" y="0"/>
                      <a:pt x="26" y="0"/>
                      <a:pt x="26" y="0"/>
                    </a:cubicBezTo>
                    <a:cubicBezTo>
                      <a:pt x="29" y="1"/>
                      <a:pt x="31" y="2"/>
                      <a:pt x="35" y="4"/>
                    </a:cubicBezTo>
                    <a:cubicBezTo>
                      <a:pt x="38" y="6"/>
                      <a:pt x="40" y="9"/>
                      <a:pt x="42" y="12"/>
                    </a:cubicBezTo>
                    <a:cubicBezTo>
                      <a:pt x="45" y="16"/>
                      <a:pt x="46" y="20"/>
                      <a:pt x="46" y="24"/>
                    </a:cubicBezTo>
                    <a:cubicBezTo>
                      <a:pt x="46" y="28"/>
                      <a:pt x="45" y="31"/>
                      <a:pt x="43" y="35"/>
                    </a:cubicBezTo>
                    <a:cubicBezTo>
                      <a:pt x="41" y="38"/>
                      <a:pt x="38" y="41"/>
                      <a:pt x="35" y="43"/>
                    </a:cubicBezTo>
                    <a:cubicBezTo>
                      <a:pt x="31" y="46"/>
                      <a:pt x="27" y="47"/>
                      <a:pt x="23" y="47"/>
                    </a:cubicBezTo>
                    <a:cubicBezTo>
                      <a:pt x="19" y="48"/>
                      <a:pt x="15" y="47"/>
                      <a:pt x="12" y="45"/>
                    </a:cubicBezTo>
                    <a:cubicBezTo>
                      <a:pt x="9" y="43"/>
                      <a:pt x="6" y="41"/>
                      <a:pt x="4" y="37"/>
                    </a:cubicBezTo>
                    <a:cubicBezTo>
                      <a:pt x="1" y="32"/>
                      <a:pt x="0" y="28"/>
                      <a:pt x="0" y="24"/>
                    </a:cubicBezTo>
                    <a:cubicBezTo>
                      <a:pt x="0" y="21"/>
                      <a:pt x="2" y="17"/>
                      <a:pt x="5" y="14"/>
                    </a:cubicBezTo>
                    <a:cubicBezTo>
                      <a:pt x="11" y="21"/>
                      <a:pt x="11" y="21"/>
                      <a:pt x="11" y="21"/>
                    </a:cubicBezTo>
                    <a:cubicBezTo>
                      <a:pt x="10" y="23"/>
                      <a:pt x="9" y="24"/>
                      <a:pt x="9" y="27"/>
                    </a:cubicBezTo>
                    <a:cubicBezTo>
                      <a:pt x="8" y="29"/>
                      <a:pt x="9" y="31"/>
                      <a:pt x="11" y="33"/>
                    </a:cubicBezTo>
                    <a:cubicBezTo>
                      <a:pt x="13" y="36"/>
                      <a:pt x="15" y="38"/>
                      <a:pt x="19" y="39"/>
                    </a:cubicBezTo>
                    <a:cubicBezTo>
                      <a:pt x="22" y="39"/>
                      <a:pt x="26" y="38"/>
                      <a:pt x="30" y="36"/>
                    </a:cubicBezTo>
                    <a:cubicBezTo>
                      <a:pt x="34" y="33"/>
                      <a:pt x="37" y="30"/>
                      <a:pt x="38" y="26"/>
                    </a:cubicBezTo>
                    <a:cubicBezTo>
                      <a:pt x="39" y="23"/>
                      <a:pt x="38" y="20"/>
                      <a:pt x="36" y="17"/>
                    </a:cubicBezTo>
                    <a:cubicBezTo>
                      <a:pt x="35" y="15"/>
                      <a:pt x="34" y="14"/>
                      <a:pt x="32" y="13"/>
                    </a:cubicBezTo>
                    <a:cubicBezTo>
                      <a:pt x="30" y="11"/>
                      <a:pt x="29" y="10"/>
                      <a:pt x="27" y="10"/>
                    </a:cubicBezTo>
                    <a:cubicBezTo>
                      <a:pt x="23" y="13"/>
                      <a:pt x="23" y="13"/>
                      <a:pt x="23" y="13"/>
                    </a:cubicBezTo>
                    <a:lnTo>
                      <a:pt x="28" y="2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68" name="îŝ1ide"/>
              <p:cNvSpPr/>
              <p:nvPr/>
            </p:nvSpPr>
            <p:spPr bwMode="auto">
              <a:xfrm>
                <a:off x="1981097" y="4907553"/>
                <a:ext cx="931863" cy="969963"/>
              </a:xfrm>
              <a:custGeom>
                <a:avLst/>
                <a:gdLst>
                  <a:gd name="T0" fmla="*/ 488 w 506"/>
                  <a:gd name="T1" fmla="*/ 144 h 525"/>
                  <a:gd name="T2" fmla="*/ 449 w 506"/>
                  <a:gd name="T3" fmla="*/ 161 h 525"/>
                  <a:gd name="T4" fmla="*/ 473 w 506"/>
                  <a:gd name="T5" fmla="*/ 361 h 525"/>
                  <a:gd name="T6" fmla="*/ 434 w 506"/>
                  <a:gd name="T7" fmla="*/ 382 h 525"/>
                  <a:gd name="T8" fmla="*/ 463 w 506"/>
                  <a:gd name="T9" fmla="*/ 392 h 525"/>
                  <a:gd name="T10" fmla="*/ 434 w 506"/>
                  <a:gd name="T11" fmla="*/ 455 h 525"/>
                  <a:gd name="T12" fmla="*/ 418 w 506"/>
                  <a:gd name="T13" fmla="*/ 525 h 525"/>
                  <a:gd name="T14" fmla="*/ 328 w 506"/>
                  <a:gd name="T15" fmla="*/ 392 h 525"/>
                  <a:gd name="T16" fmla="*/ 200 w 506"/>
                  <a:gd name="T17" fmla="*/ 376 h 525"/>
                  <a:gd name="T18" fmla="*/ 179 w 506"/>
                  <a:gd name="T19" fmla="*/ 525 h 525"/>
                  <a:gd name="T20" fmla="*/ 72 w 506"/>
                  <a:gd name="T21" fmla="*/ 510 h 525"/>
                  <a:gd name="T22" fmla="*/ 44 w 506"/>
                  <a:gd name="T23" fmla="*/ 439 h 525"/>
                  <a:gd name="T24" fmla="*/ 72 w 506"/>
                  <a:gd name="T25" fmla="*/ 392 h 525"/>
                  <a:gd name="T26" fmla="*/ 57 w 506"/>
                  <a:gd name="T27" fmla="*/ 382 h 525"/>
                  <a:gd name="T28" fmla="*/ 18 w 506"/>
                  <a:gd name="T29" fmla="*/ 161 h 525"/>
                  <a:gd name="T30" fmla="*/ 56 w 506"/>
                  <a:gd name="T31" fmla="*/ 144 h 525"/>
                  <a:gd name="T32" fmla="*/ 0 w 506"/>
                  <a:gd name="T33" fmla="*/ 21 h 525"/>
                  <a:gd name="T34" fmla="*/ 92 w 506"/>
                  <a:gd name="T35" fmla="*/ 21 h 525"/>
                  <a:gd name="T36" fmla="*/ 403 w 506"/>
                  <a:gd name="T37" fmla="*/ 82 h 525"/>
                  <a:gd name="T38" fmla="*/ 457 w 506"/>
                  <a:gd name="T39" fmla="*/ 0 h 525"/>
                  <a:gd name="T40" fmla="*/ 461 w 506"/>
                  <a:gd name="T41" fmla="*/ 82 h 525"/>
                  <a:gd name="T42" fmla="*/ 455 w 506"/>
                  <a:gd name="T43" fmla="*/ 24 h 525"/>
                  <a:gd name="T44" fmla="*/ 435 w 506"/>
                  <a:gd name="T45" fmla="*/ 82 h 525"/>
                  <a:gd name="T46" fmla="*/ 454 w 506"/>
                  <a:gd name="T47" fmla="*/ 127 h 525"/>
                  <a:gd name="T48" fmla="*/ 49 w 506"/>
                  <a:gd name="T49" fmla="*/ 112 h 525"/>
                  <a:gd name="T50" fmla="*/ 78 w 506"/>
                  <a:gd name="T51" fmla="*/ 127 h 525"/>
                  <a:gd name="T52" fmla="*/ 81 w 506"/>
                  <a:gd name="T53" fmla="*/ 161 h 525"/>
                  <a:gd name="T54" fmla="*/ 426 w 506"/>
                  <a:gd name="T55" fmla="*/ 145 h 525"/>
                  <a:gd name="T56" fmla="*/ 454 w 506"/>
                  <a:gd name="T57" fmla="*/ 127 h 525"/>
                  <a:gd name="T58" fmla="*/ 450 w 506"/>
                  <a:gd name="T59" fmla="*/ 178 h 525"/>
                  <a:gd name="T60" fmla="*/ 65 w 506"/>
                  <a:gd name="T61" fmla="*/ 335 h 525"/>
                  <a:gd name="T62" fmla="*/ 421 w 506"/>
                  <a:gd name="T63" fmla="*/ 349 h 525"/>
                  <a:gd name="T64" fmla="*/ 398 w 506"/>
                  <a:gd name="T65" fmla="*/ 490 h 525"/>
                  <a:gd name="T66" fmla="*/ 356 w 506"/>
                  <a:gd name="T67" fmla="*/ 371 h 525"/>
                  <a:gd name="T68" fmla="*/ 389 w 506"/>
                  <a:gd name="T69" fmla="*/ 496 h 525"/>
                  <a:gd name="T70" fmla="*/ 150 w 506"/>
                  <a:gd name="T71" fmla="*/ 496 h 525"/>
                  <a:gd name="T72" fmla="*/ 108 w 506"/>
                  <a:gd name="T73" fmla="*/ 371 h 525"/>
                  <a:gd name="T74" fmla="*/ 117 w 506"/>
                  <a:gd name="T75" fmla="*/ 496 h 525"/>
                  <a:gd name="T76" fmla="*/ 71 w 506"/>
                  <a:gd name="T77" fmla="*/ 82 h 525"/>
                  <a:gd name="T78" fmla="*/ 51 w 506"/>
                  <a:gd name="T79" fmla="*/ 24 h 525"/>
                  <a:gd name="T80" fmla="*/ 45 w 506"/>
                  <a:gd name="T81" fmla="*/ 82 h 5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506" h="525">
                    <a:moveTo>
                      <a:pt x="506" y="21"/>
                    </a:moveTo>
                    <a:cubicBezTo>
                      <a:pt x="488" y="144"/>
                      <a:pt x="488" y="144"/>
                      <a:pt x="488" y="144"/>
                    </a:cubicBezTo>
                    <a:cubicBezTo>
                      <a:pt x="450" y="144"/>
                      <a:pt x="450" y="144"/>
                      <a:pt x="450" y="144"/>
                    </a:cubicBezTo>
                    <a:cubicBezTo>
                      <a:pt x="449" y="161"/>
                      <a:pt x="449" y="161"/>
                      <a:pt x="449" y="161"/>
                    </a:cubicBezTo>
                    <a:cubicBezTo>
                      <a:pt x="488" y="161"/>
                      <a:pt x="488" y="161"/>
                      <a:pt x="488" y="161"/>
                    </a:cubicBezTo>
                    <a:cubicBezTo>
                      <a:pt x="473" y="361"/>
                      <a:pt x="473" y="361"/>
                      <a:pt x="473" y="361"/>
                    </a:cubicBezTo>
                    <a:cubicBezTo>
                      <a:pt x="473" y="372"/>
                      <a:pt x="462" y="382"/>
                      <a:pt x="450" y="382"/>
                    </a:cubicBezTo>
                    <a:cubicBezTo>
                      <a:pt x="434" y="382"/>
                      <a:pt x="434" y="382"/>
                      <a:pt x="434" y="382"/>
                    </a:cubicBezTo>
                    <a:cubicBezTo>
                      <a:pt x="434" y="392"/>
                      <a:pt x="434" y="392"/>
                      <a:pt x="434" y="392"/>
                    </a:cubicBezTo>
                    <a:cubicBezTo>
                      <a:pt x="463" y="392"/>
                      <a:pt x="463" y="392"/>
                      <a:pt x="463" y="392"/>
                    </a:cubicBezTo>
                    <a:cubicBezTo>
                      <a:pt x="463" y="439"/>
                      <a:pt x="463" y="439"/>
                      <a:pt x="463" y="439"/>
                    </a:cubicBezTo>
                    <a:cubicBezTo>
                      <a:pt x="463" y="448"/>
                      <a:pt x="450" y="455"/>
                      <a:pt x="434" y="455"/>
                    </a:cubicBezTo>
                    <a:cubicBezTo>
                      <a:pt x="434" y="510"/>
                      <a:pt x="434" y="510"/>
                      <a:pt x="434" y="510"/>
                    </a:cubicBezTo>
                    <a:cubicBezTo>
                      <a:pt x="434" y="518"/>
                      <a:pt x="427" y="525"/>
                      <a:pt x="418" y="525"/>
                    </a:cubicBezTo>
                    <a:cubicBezTo>
                      <a:pt x="328" y="525"/>
                      <a:pt x="328" y="525"/>
                      <a:pt x="328" y="525"/>
                    </a:cubicBezTo>
                    <a:cubicBezTo>
                      <a:pt x="328" y="392"/>
                      <a:pt x="328" y="392"/>
                      <a:pt x="328" y="392"/>
                    </a:cubicBezTo>
                    <a:cubicBezTo>
                      <a:pt x="328" y="383"/>
                      <a:pt x="318" y="376"/>
                      <a:pt x="307" y="376"/>
                    </a:cubicBezTo>
                    <a:cubicBezTo>
                      <a:pt x="200" y="376"/>
                      <a:pt x="200" y="376"/>
                      <a:pt x="200" y="376"/>
                    </a:cubicBezTo>
                    <a:cubicBezTo>
                      <a:pt x="188" y="376"/>
                      <a:pt x="179" y="383"/>
                      <a:pt x="179" y="392"/>
                    </a:cubicBezTo>
                    <a:cubicBezTo>
                      <a:pt x="179" y="525"/>
                      <a:pt x="179" y="525"/>
                      <a:pt x="179" y="525"/>
                    </a:cubicBezTo>
                    <a:cubicBezTo>
                      <a:pt x="89" y="525"/>
                      <a:pt x="89" y="525"/>
                      <a:pt x="89" y="525"/>
                    </a:cubicBezTo>
                    <a:cubicBezTo>
                      <a:pt x="80" y="525"/>
                      <a:pt x="72" y="518"/>
                      <a:pt x="72" y="510"/>
                    </a:cubicBezTo>
                    <a:cubicBezTo>
                      <a:pt x="72" y="455"/>
                      <a:pt x="72" y="455"/>
                      <a:pt x="72" y="455"/>
                    </a:cubicBezTo>
                    <a:cubicBezTo>
                      <a:pt x="56" y="455"/>
                      <a:pt x="44" y="448"/>
                      <a:pt x="44" y="439"/>
                    </a:cubicBezTo>
                    <a:cubicBezTo>
                      <a:pt x="44" y="392"/>
                      <a:pt x="44" y="392"/>
                      <a:pt x="44" y="392"/>
                    </a:cubicBezTo>
                    <a:cubicBezTo>
                      <a:pt x="72" y="392"/>
                      <a:pt x="72" y="392"/>
                      <a:pt x="72" y="392"/>
                    </a:cubicBezTo>
                    <a:cubicBezTo>
                      <a:pt x="72" y="382"/>
                      <a:pt x="72" y="382"/>
                      <a:pt x="72" y="382"/>
                    </a:cubicBezTo>
                    <a:cubicBezTo>
                      <a:pt x="57" y="382"/>
                      <a:pt x="57" y="382"/>
                      <a:pt x="57" y="382"/>
                    </a:cubicBezTo>
                    <a:cubicBezTo>
                      <a:pt x="44" y="382"/>
                      <a:pt x="34" y="372"/>
                      <a:pt x="34" y="361"/>
                    </a:cubicBezTo>
                    <a:cubicBezTo>
                      <a:pt x="18" y="161"/>
                      <a:pt x="18" y="161"/>
                      <a:pt x="18" y="161"/>
                    </a:cubicBezTo>
                    <a:cubicBezTo>
                      <a:pt x="58" y="161"/>
                      <a:pt x="58" y="161"/>
                      <a:pt x="58" y="161"/>
                    </a:cubicBezTo>
                    <a:cubicBezTo>
                      <a:pt x="56" y="144"/>
                      <a:pt x="56" y="144"/>
                      <a:pt x="56" y="144"/>
                    </a:cubicBezTo>
                    <a:cubicBezTo>
                      <a:pt x="18" y="144"/>
                      <a:pt x="18" y="144"/>
                      <a:pt x="18" y="144"/>
                    </a:cubicBezTo>
                    <a:cubicBezTo>
                      <a:pt x="0" y="21"/>
                      <a:pt x="0" y="21"/>
                      <a:pt x="0" y="21"/>
                    </a:cubicBezTo>
                    <a:cubicBezTo>
                      <a:pt x="2" y="7"/>
                      <a:pt x="31" y="0"/>
                      <a:pt x="49" y="0"/>
                    </a:cubicBezTo>
                    <a:cubicBezTo>
                      <a:pt x="73" y="0"/>
                      <a:pt x="80" y="3"/>
                      <a:pt x="92" y="21"/>
                    </a:cubicBezTo>
                    <a:cubicBezTo>
                      <a:pt x="103" y="82"/>
                      <a:pt x="103" y="82"/>
                      <a:pt x="103" y="82"/>
                    </a:cubicBezTo>
                    <a:cubicBezTo>
                      <a:pt x="403" y="82"/>
                      <a:pt x="403" y="82"/>
                      <a:pt x="403" y="82"/>
                    </a:cubicBezTo>
                    <a:cubicBezTo>
                      <a:pt x="415" y="21"/>
                      <a:pt x="415" y="21"/>
                      <a:pt x="415" y="21"/>
                    </a:cubicBezTo>
                    <a:cubicBezTo>
                      <a:pt x="426" y="3"/>
                      <a:pt x="433" y="0"/>
                      <a:pt x="457" y="0"/>
                    </a:cubicBezTo>
                    <a:cubicBezTo>
                      <a:pt x="475" y="0"/>
                      <a:pt x="504" y="7"/>
                      <a:pt x="506" y="21"/>
                    </a:cubicBezTo>
                    <a:close/>
                    <a:moveTo>
                      <a:pt x="461" y="82"/>
                    </a:moveTo>
                    <a:cubicBezTo>
                      <a:pt x="469" y="32"/>
                      <a:pt x="469" y="32"/>
                      <a:pt x="469" y="32"/>
                    </a:cubicBezTo>
                    <a:cubicBezTo>
                      <a:pt x="469" y="24"/>
                      <a:pt x="463" y="24"/>
                      <a:pt x="455" y="24"/>
                    </a:cubicBezTo>
                    <a:cubicBezTo>
                      <a:pt x="450" y="24"/>
                      <a:pt x="447" y="26"/>
                      <a:pt x="445" y="32"/>
                    </a:cubicBezTo>
                    <a:cubicBezTo>
                      <a:pt x="435" y="82"/>
                      <a:pt x="435" y="82"/>
                      <a:pt x="435" y="82"/>
                    </a:cubicBezTo>
                    <a:lnTo>
                      <a:pt x="461" y="82"/>
                    </a:lnTo>
                    <a:close/>
                    <a:moveTo>
                      <a:pt x="454" y="127"/>
                    </a:moveTo>
                    <a:cubicBezTo>
                      <a:pt x="457" y="112"/>
                      <a:pt x="457" y="112"/>
                      <a:pt x="457" y="112"/>
                    </a:cubicBezTo>
                    <a:cubicBezTo>
                      <a:pt x="49" y="112"/>
                      <a:pt x="49" y="112"/>
                      <a:pt x="49" y="112"/>
                    </a:cubicBezTo>
                    <a:cubicBezTo>
                      <a:pt x="52" y="127"/>
                      <a:pt x="52" y="127"/>
                      <a:pt x="52" y="127"/>
                    </a:cubicBezTo>
                    <a:cubicBezTo>
                      <a:pt x="78" y="127"/>
                      <a:pt x="78" y="127"/>
                      <a:pt x="78" y="127"/>
                    </a:cubicBezTo>
                    <a:cubicBezTo>
                      <a:pt x="80" y="145"/>
                      <a:pt x="80" y="145"/>
                      <a:pt x="80" y="145"/>
                    </a:cubicBezTo>
                    <a:cubicBezTo>
                      <a:pt x="81" y="161"/>
                      <a:pt x="81" y="161"/>
                      <a:pt x="81" y="161"/>
                    </a:cubicBezTo>
                    <a:cubicBezTo>
                      <a:pt x="425" y="161"/>
                      <a:pt x="425" y="161"/>
                      <a:pt x="425" y="161"/>
                    </a:cubicBezTo>
                    <a:cubicBezTo>
                      <a:pt x="426" y="145"/>
                      <a:pt x="426" y="145"/>
                      <a:pt x="426" y="145"/>
                    </a:cubicBezTo>
                    <a:cubicBezTo>
                      <a:pt x="428" y="127"/>
                      <a:pt x="428" y="127"/>
                      <a:pt x="428" y="127"/>
                    </a:cubicBezTo>
                    <a:lnTo>
                      <a:pt x="454" y="127"/>
                    </a:lnTo>
                    <a:close/>
                    <a:moveTo>
                      <a:pt x="441" y="335"/>
                    </a:moveTo>
                    <a:cubicBezTo>
                      <a:pt x="450" y="178"/>
                      <a:pt x="450" y="178"/>
                      <a:pt x="450" y="178"/>
                    </a:cubicBezTo>
                    <a:cubicBezTo>
                      <a:pt x="56" y="178"/>
                      <a:pt x="56" y="178"/>
                      <a:pt x="56" y="178"/>
                    </a:cubicBezTo>
                    <a:cubicBezTo>
                      <a:pt x="65" y="335"/>
                      <a:pt x="65" y="335"/>
                      <a:pt x="65" y="335"/>
                    </a:cubicBezTo>
                    <a:cubicBezTo>
                      <a:pt x="65" y="343"/>
                      <a:pt x="74" y="349"/>
                      <a:pt x="85" y="349"/>
                    </a:cubicBezTo>
                    <a:cubicBezTo>
                      <a:pt x="421" y="349"/>
                      <a:pt x="421" y="349"/>
                      <a:pt x="421" y="349"/>
                    </a:cubicBezTo>
                    <a:cubicBezTo>
                      <a:pt x="432" y="349"/>
                      <a:pt x="441" y="343"/>
                      <a:pt x="441" y="335"/>
                    </a:cubicBezTo>
                    <a:close/>
                    <a:moveTo>
                      <a:pt x="398" y="490"/>
                    </a:moveTo>
                    <a:cubicBezTo>
                      <a:pt x="398" y="371"/>
                      <a:pt x="398" y="371"/>
                      <a:pt x="398" y="371"/>
                    </a:cubicBezTo>
                    <a:cubicBezTo>
                      <a:pt x="356" y="371"/>
                      <a:pt x="356" y="371"/>
                      <a:pt x="356" y="371"/>
                    </a:cubicBezTo>
                    <a:cubicBezTo>
                      <a:pt x="356" y="496"/>
                      <a:pt x="356" y="496"/>
                      <a:pt x="356" y="496"/>
                    </a:cubicBezTo>
                    <a:cubicBezTo>
                      <a:pt x="389" y="496"/>
                      <a:pt x="389" y="496"/>
                      <a:pt x="389" y="496"/>
                    </a:cubicBezTo>
                    <a:cubicBezTo>
                      <a:pt x="394" y="496"/>
                      <a:pt x="398" y="496"/>
                      <a:pt x="398" y="490"/>
                    </a:cubicBezTo>
                    <a:close/>
                    <a:moveTo>
                      <a:pt x="150" y="496"/>
                    </a:moveTo>
                    <a:cubicBezTo>
                      <a:pt x="150" y="371"/>
                      <a:pt x="150" y="371"/>
                      <a:pt x="150" y="371"/>
                    </a:cubicBezTo>
                    <a:cubicBezTo>
                      <a:pt x="108" y="371"/>
                      <a:pt x="108" y="371"/>
                      <a:pt x="108" y="371"/>
                    </a:cubicBezTo>
                    <a:cubicBezTo>
                      <a:pt x="108" y="490"/>
                      <a:pt x="108" y="490"/>
                      <a:pt x="108" y="490"/>
                    </a:cubicBezTo>
                    <a:cubicBezTo>
                      <a:pt x="108" y="496"/>
                      <a:pt x="112" y="496"/>
                      <a:pt x="117" y="496"/>
                    </a:cubicBezTo>
                    <a:lnTo>
                      <a:pt x="150" y="496"/>
                    </a:lnTo>
                    <a:close/>
                    <a:moveTo>
                      <a:pt x="71" y="82"/>
                    </a:moveTo>
                    <a:cubicBezTo>
                      <a:pt x="61" y="32"/>
                      <a:pt x="61" y="32"/>
                      <a:pt x="61" y="32"/>
                    </a:cubicBezTo>
                    <a:cubicBezTo>
                      <a:pt x="60" y="26"/>
                      <a:pt x="57" y="24"/>
                      <a:pt x="51" y="24"/>
                    </a:cubicBezTo>
                    <a:cubicBezTo>
                      <a:pt x="43" y="24"/>
                      <a:pt x="37" y="24"/>
                      <a:pt x="37" y="32"/>
                    </a:cubicBezTo>
                    <a:cubicBezTo>
                      <a:pt x="45" y="82"/>
                      <a:pt x="45" y="82"/>
                      <a:pt x="45" y="82"/>
                    </a:cubicBezTo>
                    <a:lnTo>
                      <a:pt x="71" y="8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69" name="í$ḻíde"/>
              <p:cNvSpPr/>
              <p:nvPr/>
            </p:nvSpPr>
            <p:spPr bwMode="auto">
              <a:xfrm>
                <a:off x="2144609" y="5142503"/>
                <a:ext cx="604838" cy="31750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</p:grpSp>
      </p:grp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97B5FA-0921-464F-AAE1-844C04324D75}" type="datetimeFigureOut">
              <a:rPr lang="zh-CN" altLang="en-US" smtClean="0"/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5CE74E-AB26-4998-AD42-012C4C1AD076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垂直排列标题与&#10;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/>
          <p:cNvSpPr>
            <a:spLocks noGrp="1"/>
          </p:cNvSpPr>
          <p:nvPr>
            <p:ph type="title" orient="vert"/>
          </p:nvPr>
        </p:nvSpPr>
        <p:spPr>
          <a:xfrm>
            <a:off x="6543675" y="365125"/>
            <a:ext cx="1971675" cy="5811838"/>
          </a:xfrm>
        </p:spPr>
        <p:txBody>
          <a:bodyPr vert="eaVert"/>
          <a:lstStyle/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628650" y="365125"/>
            <a:ext cx="5800725" cy="5811838"/>
          </a:xfrm>
        </p:spPr>
        <p:txBody>
          <a:bodyPr vert="eaVert"/>
          <a:lstStyle/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97B5FA-0921-464F-AAE1-844C04324D75}" type="datetimeFigureOut">
              <a:rPr lang="zh-CN" altLang="en-US" smtClean="0"/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5CE74E-AB26-4998-AD42-012C4C1AD076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9" name="文本框 68"/>
          <p:cNvSpPr txBox="1"/>
          <p:nvPr userDrawn="1"/>
        </p:nvSpPr>
        <p:spPr>
          <a:xfrm>
            <a:off x="5385803" y="1469569"/>
            <a:ext cx="780842" cy="17081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30000"/>
              </a:lnSpc>
            </a:pPr>
            <a:r>
              <a:rPr lang="zh-CN" altLang="en-US" sz="100" dirty="0">
                <a:solidFill>
                  <a:schemeClr val="bg1">
                    <a:alpha val="0"/>
                  </a:schemeClr>
                </a:solidFill>
                <a:latin typeface="思源宋体 CN Heavy" panose="02020900000000000000" pitchFamily="18" charset="-122"/>
                <a:ea typeface="思源宋体 CN Heavy" panose="02020900000000000000" pitchFamily="18" charset="-122"/>
              </a:rPr>
              <a:t>您好！我是本套</a:t>
            </a:r>
            <a:r>
              <a:rPr lang="en-US" altLang="zh-CN" sz="100" dirty="0">
                <a:solidFill>
                  <a:schemeClr val="bg1">
                    <a:alpha val="0"/>
                  </a:schemeClr>
                </a:solidFill>
                <a:latin typeface="思源宋体 CN Heavy" panose="02020900000000000000" pitchFamily="18" charset="-122"/>
                <a:ea typeface="思源宋体 CN Heavy" panose="02020900000000000000" pitchFamily="18" charset="-122"/>
              </a:rPr>
              <a:t>PPT</a:t>
            </a:r>
            <a:r>
              <a:rPr lang="zh-CN" altLang="en-US" sz="100" dirty="0">
                <a:solidFill>
                  <a:schemeClr val="bg1">
                    <a:alpha val="0"/>
                  </a:schemeClr>
                </a:solidFill>
                <a:latin typeface="思源宋体 CN Heavy" panose="02020900000000000000" pitchFamily="18" charset="-122"/>
                <a:ea typeface="思源宋体 CN Heavy" panose="02020900000000000000" pitchFamily="18" charset="-122"/>
              </a:rPr>
              <a:t>模板的作者王奕博，本套</a:t>
            </a:r>
            <a:r>
              <a:rPr lang="en-US" altLang="zh-CN" sz="100" dirty="0">
                <a:solidFill>
                  <a:schemeClr val="bg1">
                    <a:alpha val="0"/>
                  </a:schemeClr>
                </a:solidFill>
                <a:latin typeface="思源宋体 CN Heavy" panose="02020900000000000000" pitchFamily="18" charset="-122"/>
                <a:ea typeface="思源宋体 CN Heavy" panose="02020900000000000000" pitchFamily="18" charset="-122"/>
              </a:rPr>
              <a:t>PPT</a:t>
            </a:r>
            <a:r>
              <a:rPr lang="zh-CN" altLang="en-US" sz="100" dirty="0">
                <a:solidFill>
                  <a:schemeClr val="bg1">
                    <a:alpha val="0"/>
                  </a:schemeClr>
                </a:solidFill>
                <a:latin typeface="思源宋体 CN Heavy" panose="02020900000000000000" pitchFamily="18" charset="-122"/>
                <a:ea typeface="思源宋体 CN Heavy" panose="02020900000000000000" pitchFamily="18" charset="-122"/>
              </a:rPr>
              <a:t>模板是特别为北京科技大学同学朋友制作，方便各位的答辩工作。本模板内使用图片来自北京科技大学官方微信公众号</a:t>
            </a:r>
            <a:r>
              <a:rPr lang="en-US" altLang="zh-CN" sz="100" dirty="0">
                <a:solidFill>
                  <a:schemeClr val="bg1">
                    <a:alpha val="0"/>
                  </a:schemeClr>
                </a:solidFill>
                <a:latin typeface="思源宋体 CN Heavy" panose="02020900000000000000" pitchFamily="18" charset="-122"/>
                <a:ea typeface="思源宋体 CN Heavy" panose="02020900000000000000" pitchFamily="18" charset="-122"/>
              </a:rPr>
              <a:t>,</a:t>
            </a:r>
            <a:r>
              <a:rPr lang="zh-CN" altLang="en-US" sz="100" dirty="0">
                <a:solidFill>
                  <a:schemeClr val="bg1">
                    <a:alpha val="0"/>
                  </a:schemeClr>
                </a:solidFill>
                <a:latin typeface="思源宋体 CN Heavy" panose="02020900000000000000" pitchFamily="18" charset="-122"/>
                <a:ea typeface="思源宋体 CN Heavy" panose="02020900000000000000" pitchFamily="18" charset="-122"/>
              </a:rPr>
              <a:t>模板文案仅供参考，官方信息以北京科技大学官网为准。恶意修改、诋毁、扭曲北京科技大学形象的行为后果自负。</a:t>
            </a:r>
            <a:endParaRPr lang="en-US" altLang="zh-CN" sz="100" dirty="0">
              <a:solidFill>
                <a:schemeClr val="bg1">
                  <a:alpha val="0"/>
                </a:schemeClr>
              </a:solidFill>
              <a:latin typeface="思源宋体 CN Heavy" panose="02020900000000000000" pitchFamily="18" charset="-122"/>
              <a:ea typeface="思源宋体 CN Heavy" panose="02020900000000000000" pitchFamily="18" charset="-122"/>
            </a:endParaRPr>
          </a:p>
          <a:p>
            <a:pPr>
              <a:lnSpc>
                <a:spcPct val="130000"/>
              </a:lnSpc>
            </a:pPr>
            <a:r>
              <a:rPr lang="zh-CN" altLang="en-US" sz="100" dirty="0">
                <a:solidFill>
                  <a:schemeClr val="bg1">
                    <a:alpha val="0"/>
                  </a:schemeClr>
                </a:solidFill>
                <a:latin typeface="思源宋体 CN Heavy" panose="02020900000000000000" pitchFamily="18" charset="-122"/>
                <a:ea typeface="思源宋体 CN Heavy" panose="02020900000000000000" pitchFamily="18" charset="-122"/>
              </a:rPr>
              <a:t>最后，祝您答辩顺利，前程似锦！</a:t>
            </a:r>
            <a:endParaRPr lang="zh-CN" altLang="en-US" sz="100" dirty="0">
              <a:solidFill>
                <a:schemeClr val="bg1">
                  <a:alpha val="0"/>
                </a:schemeClr>
              </a:solidFill>
              <a:latin typeface="思源宋体 CN Heavy" panose="02020900000000000000" pitchFamily="18" charset="-122"/>
              <a:ea typeface="思源宋体 CN Heavy" panose="02020900000000000000" pitchFamily="18" charset="-122"/>
            </a:endParaRPr>
          </a:p>
        </p:txBody>
      </p:sp>
      <p:grpSp>
        <p:nvGrpSpPr>
          <p:cNvPr id="8" name="组合 7"/>
          <p:cNvGrpSpPr/>
          <p:nvPr/>
        </p:nvGrpSpPr>
        <p:grpSpPr>
          <a:xfrm>
            <a:off x="-1097308" y="-15557"/>
            <a:ext cx="5372351" cy="7169530"/>
            <a:chOff x="1560409" y="2069897"/>
            <a:chExt cx="1776413" cy="1778000"/>
          </a:xfrm>
        </p:grpSpPr>
        <p:sp>
          <p:nvSpPr>
            <p:cNvPr id="67" name="îS1îḋé"/>
            <p:cNvSpPr/>
            <p:nvPr/>
          </p:nvSpPr>
          <p:spPr bwMode="auto">
            <a:xfrm>
              <a:off x="1560409" y="2069897"/>
              <a:ext cx="1776413" cy="1778000"/>
            </a:xfrm>
            <a:prstGeom prst="ellipse">
              <a:avLst/>
            </a:prstGeom>
            <a:noFill/>
            <a:ln w="98425" cap="flat">
              <a:solidFill>
                <a:schemeClr val="bg1">
                  <a:lumMod val="95000"/>
                  <a:alpha val="21000"/>
                </a:schemeClr>
              </a:solidFill>
              <a:prstDash val="solid"/>
              <a:miter lim="800000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68" name="îṣḷïďé"/>
            <p:cNvSpPr/>
            <p:nvPr/>
          </p:nvSpPr>
          <p:spPr bwMode="auto">
            <a:xfrm>
              <a:off x="1779484" y="2288972"/>
              <a:ext cx="1336675" cy="1338263"/>
            </a:xfrm>
            <a:prstGeom prst="ellipse">
              <a:avLst/>
            </a:prstGeom>
            <a:noFill/>
            <a:ln w="19050" cap="flat">
              <a:solidFill>
                <a:schemeClr val="bg1">
                  <a:alpha val="21000"/>
                </a:schemeClr>
              </a:solidFill>
              <a:prstDash val="solid"/>
              <a:miter lim="800000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anchor="ctr"/>
            <a:lstStyle/>
            <a:p>
              <a:pPr algn="ctr"/>
              <a:endParaRPr sz="1350"/>
            </a:p>
          </p:txBody>
        </p:sp>
      </p:grpSp>
      <p:grpSp>
        <p:nvGrpSpPr>
          <p:cNvPr id="9" name="组合 8"/>
          <p:cNvGrpSpPr/>
          <p:nvPr/>
        </p:nvGrpSpPr>
        <p:grpSpPr>
          <a:xfrm>
            <a:off x="-852456" y="218094"/>
            <a:ext cx="4877843" cy="6702232"/>
            <a:chOff x="1641372" y="4491628"/>
            <a:chExt cx="1612900" cy="1662113"/>
          </a:xfrm>
          <a:solidFill>
            <a:schemeClr val="bg1">
              <a:lumMod val="95000"/>
              <a:alpha val="21000"/>
            </a:schemeClr>
          </a:solidFill>
        </p:grpSpPr>
        <p:sp>
          <p:nvSpPr>
            <p:cNvPr id="10" name="ïś1íďê"/>
            <p:cNvSpPr/>
            <p:nvPr/>
          </p:nvSpPr>
          <p:spPr bwMode="auto">
            <a:xfrm>
              <a:off x="2889147" y="4701178"/>
              <a:ext cx="153988" cy="138113"/>
            </a:xfrm>
            <a:custGeom>
              <a:avLst/>
              <a:gdLst>
                <a:gd name="T0" fmla="*/ 62 w 83"/>
                <a:gd name="T1" fmla="*/ 8 h 75"/>
                <a:gd name="T2" fmla="*/ 53 w 83"/>
                <a:gd name="T3" fmla="*/ 10 h 75"/>
                <a:gd name="T4" fmla="*/ 57 w 83"/>
                <a:gd name="T5" fmla="*/ 0 h 75"/>
                <a:gd name="T6" fmla="*/ 44 w 83"/>
                <a:gd name="T7" fmla="*/ 21 h 75"/>
                <a:gd name="T8" fmla="*/ 58 w 83"/>
                <a:gd name="T9" fmla="*/ 11 h 75"/>
                <a:gd name="T10" fmla="*/ 54 w 83"/>
                <a:gd name="T11" fmla="*/ 18 h 75"/>
                <a:gd name="T12" fmla="*/ 28 w 83"/>
                <a:gd name="T13" fmla="*/ 18 h 75"/>
                <a:gd name="T14" fmla="*/ 19 w 83"/>
                <a:gd name="T15" fmla="*/ 17 h 75"/>
                <a:gd name="T16" fmla="*/ 25 w 83"/>
                <a:gd name="T17" fmla="*/ 12 h 75"/>
                <a:gd name="T18" fmla="*/ 1 w 83"/>
                <a:gd name="T19" fmla="*/ 30 h 75"/>
                <a:gd name="T20" fmla="*/ 13 w 83"/>
                <a:gd name="T21" fmla="*/ 24 h 75"/>
                <a:gd name="T22" fmla="*/ 36 w 83"/>
                <a:gd name="T23" fmla="*/ 28 h 75"/>
                <a:gd name="T24" fmla="*/ 22 w 83"/>
                <a:gd name="T25" fmla="*/ 35 h 75"/>
                <a:gd name="T26" fmla="*/ 45 w 83"/>
                <a:gd name="T27" fmla="*/ 41 h 75"/>
                <a:gd name="T28" fmla="*/ 42 w 83"/>
                <a:gd name="T29" fmla="*/ 41 h 75"/>
                <a:gd name="T30" fmla="*/ 35 w 83"/>
                <a:gd name="T31" fmla="*/ 40 h 75"/>
                <a:gd name="T32" fmla="*/ 37 w 83"/>
                <a:gd name="T33" fmla="*/ 45 h 75"/>
                <a:gd name="T34" fmla="*/ 12 w 83"/>
                <a:gd name="T35" fmla="*/ 34 h 75"/>
                <a:gd name="T36" fmla="*/ 9 w 83"/>
                <a:gd name="T37" fmla="*/ 35 h 75"/>
                <a:gd name="T38" fmla="*/ 20 w 83"/>
                <a:gd name="T39" fmla="*/ 64 h 75"/>
                <a:gd name="T40" fmla="*/ 0 w 83"/>
                <a:gd name="T41" fmla="*/ 57 h 75"/>
                <a:gd name="T42" fmla="*/ 35 w 83"/>
                <a:gd name="T43" fmla="*/ 58 h 75"/>
                <a:gd name="T44" fmla="*/ 46 w 83"/>
                <a:gd name="T45" fmla="*/ 57 h 75"/>
                <a:gd name="T46" fmla="*/ 42 w 83"/>
                <a:gd name="T47" fmla="*/ 48 h 75"/>
                <a:gd name="T48" fmla="*/ 62 w 83"/>
                <a:gd name="T49" fmla="*/ 57 h 75"/>
                <a:gd name="T50" fmla="*/ 61 w 83"/>
                <a:gd name="T51" fmla="*/ 35 h 75"/>
                <a:gd name="T52" fmla="*/ 62 w 83"/>
                <a:gd name="T53" fmla="*/ 34 h 75"/>
                <a:gd name="T54" fmla="*/ 66 w 83"/>
                <a:gd name="T55" fmla="*/ 16 h 75"/>
                <a:gd name="T56" fmla="*/ 63 w 83"/>
                <a:gd name="T57" fmla="*/ 44 h 75"/>
                <a:gd name="T58" fmla="*/ 54 w 83"/>
                <a:gd name="T59" fmla="*/ 32 h 75"/>
                <a:gd name="T60" fmla="*/ 60 w 83"/>
                <a:gd name="T61" fmla="*/ 27 h 75"/>
                <a:gd name="T62" fmla="*/ 67 w 83"/>
                <a:gd name="T63" fmla="*/ 18 h 75"/>
                <a:gd name="T64" fmla="*/ 77 w 83"/>
                <a:gd name="T65" fmla="*/ 23 h 75"/>
                <a:gd name="T66" fmla="*/ 60 w 83"/>
                <a:gd name="T67" fmla="*/ 27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83" h="75">
                  <a:moveTo>
                    <a:pt x="66" y="16"/>
                  </a:moveTo>
                  <a:cubicBezTo>
                    <a:pt x="65" y="13"/>
                    <a:pt x="63" y="11"/>
                    <a:pt x="62" y="8"/>
                  </a:cubicBezTo>
                  <a:cubicBezTo>
                    <a:pt x="59" y="9"/>
                    <a:pt x="57" y="9"/>
                    <a:pt x="54" y="10"/>
                  </a:cubicBezTo>
                  <a:cubicBezTo>
                    <a:pt x="54" y="10"/>
                    <a:pt x="53" y="10"/>
                    <a:pt x="53" y="10"/>
                  </a:cubicBezTo>
                  <a:cubicBezTo>
                    <a:pt x="54" y="7"/>
                    <a:pt x="57" y="6"/>
                    <a:pt x="59" y="3"/>
                  </a:cubicBezTo>
                  <a:cubicBezTo>
                    <a:pt x="58" y="2"/>
                    <a:pt x="58" y="1"/>
                    <a:pt x="57" y="0"/>
                  </a:cubicBezTo>
                  <a:cubicBezTo>
                    <a:pt x="48" y="1"/>
                    <a:pt x="37" y="9"/>
                    <a:pt x="42" y="19"/>
                  </a:cubicBezTo>
                  <a:cubicBezTo>
                    <a:pt x="42" y="19"/>
                    <a:pt x="43" y="20"/>
                    <a:pt x="44" y="21"/>
                  </a:cubicBezTo>
                  <a:cubicBezTo>
                    <a:pt x="47" y="19"/>
                    <a:pt x="48" y="15"/>
                    <a:pt x="51" y="14"/>
                  </a:cubicBezTo>
                  <a:cubicBezTo>
                    <a:pt x="53" y="13"/>
                    <a:pt x="55" y="13"/>
                    <a:pt x="58" y="11"/>
                  </a:cubicBezTo>
                  <a:cubicBezTo>
                    <a:pt x="58" y="11"/>
                    <a:pt x="59" y="11"/>
                    <a:pt x="59" y="11"/>
                  </a:cubicBezTo>
                  <a:cubicBezTo>
                    <a:pt x="57" y="14"/>
                    <a:pt x="56" y="16"/>
                    <a:pt x="54" y="18"/>
                  </a:cubicBezTo>
                  <a:cubicBezTo>
                    <a:pt x="54" y="21"/>
                    <a:pt x="55" y="24"/>
                    <a:pt x="54" y="27"/>
                  </a:cubicBezTo>
                  <a:cubicBezTo>
                    <a:pt x="54" y="27"/>
                    <a:pt x="30" y="18"/>
                    <a:pt x="28" y="18"/>
                  </a:cubicBezTo>
                  <a:cubicBezTo>
                    <a:pt x="25" y="17"/>
                    <a:pt x="22" y="17"/>
                    <a:pt x="20" y="17"/>
                  </a:cubicBezTo>
                  <a:cubicBezTo>
                    <a:pt x="19" y="17"/>
                    <a:pt x="19" y="17"/>
                    <a:pt x="19" y="17"/>
                  </a:cubicBezTo>
                  <a:cubicBezTo>
                    <a:pt x="22" y="15"/>
                    <a:pt x="23" y="15"/>
                    <a:pt x="25" y="13"/>
                  </a:cubicBezTo>
                  <a:cubicBezTo>
                    <a:pt x="25" y="12"/>
                    <a:pt x="25" y="12"/>
                    <a:pt x="25" y="12"/>
                  </a:cubicBezTo>
                  <a:cubicBezTo>
                    <a:pt x="18" y="12"/>
                    <a:pt x="11" y="16"/>
                    <a:pt x="4" y="18"/>
                  </a:cubicBezTo>
                  <a:cubicBezTo>
                    <a:pt x="0" y="22"/>
                    <a:pt x="0" y="25"/>
                    <a:pt x="1" y="30"/>
                  </a:cubicBezTo>
                  <a:cubicBezTo>
                    <a:pt x="3" y="31"/>
                    <a:pt x="3" y="31"/>
                    <a:pt x="3" y="31"/>
                  </a:cubicBezTo>
                  <a:cubicBezTo>
                    <a:pt x="6" y="29"/>
                    <a:pt x="9" y="26"/>
                    <a:pt x="13" y="24"/>
                  </a:cubicBezTo>
                  <a:cubicBezTo>
                    <a:pt x="19" y="20"/>
                    <a:pt x="30" y="22"/>
                    <a:pt x="37" y="27"/>
                  </a:cubicBezTo>
                  <a:cubicBezTo>
                    <a:pt x="37" y="28"/>
                    <a:pt x="36" y="28"/>
                    <a:pt x="36" y="28"/>
                  </a:cubicBezTo>
                  <a:cubicBezTo>
                    <a:pt x="31" y="29"/>
                    <a:pt x="28" y="28"/>
                    <a:pt x="22" y="32"/>
                  </a:cubicBezTo>
                  <a:cubicBezTo>
                    <a:pt x="22" y="33"/>
                    <a:pt x="22" y="34"/>
                    <a:pt x="22" y="35"/>
                  </a:cubicBezTo>
                  <a:cubicBezTo>
                    <a:pt x="22" y="37"/>
                    <a:pt x="22" y="37"/>
                    <a:pt x="24" y="39"/>
                  </a:cubicBezTo>
                  <a:cubicBezTo>
                    <a:pt x="31" y="37"/>
                    <a:pt x="37" y="36"/>
                    <a:pt x="45" y="41"/>
                  </a:cubicBezTo>
                  <a:cubicBezTo>
                    <a:pt x="44" y="41"/>
                    <a:pt x="44" y="41"/>
                    <a:pt x="44" y="41"/>
                  </a:cubicBezTo>
                  <a:cubicBezTo>
                    <a:pt x="43" y="41"/>
                    <a:pt x="42" y="41"/>
                    <a:pt x="42" y="41"/>
                  </a:cubicBezTo>
                  <a:cubicBezTo>
                    <a:pt x="41" y="40"/>
                    <a:pt x="40" y="39"/>
                    <a:pt x="39" y="39"/>
                  </a:cubicBezTo>
                  <a:cubicBezTo>
                    <a:pt x="37" y="41"/>
                    <a:pt x="37" y="41"/>
                    <a:pt x="35" y="40"/>
                  </a:cubicBezTo>
                  <a:cubicBezTo>
                    <a:pt x="35" y="40"/>
                    <a:pt x="34" y="41"/>
                    <a:pt x="34" y="41"/>
                  </a:cubicBezTo>
                  <a:cubicBezTo>
                    <a:pt x="35" y="43"/>
                    <a:pt x="35" y="43"/>
                    <a:pt x="37" y="45"/>
                  </a:cubicBezTo>
                  <a:cubicBezTo>
                    <a:pt x="36" y="46"/>
                    <a:pt x="36" y="47"/>
                    <a:pt x="35" y="48"/>
                  </a:cubicBezTo>
                  <a:cubicBezTo>
                    <a:pt x="27" y="44"/>
                    <a:pt x="20" y="40"/>
                    <a:pt x="12" y="34"/>
                  </a:cubicBezTo>
                  <a:cubicBezTo>
                    <a:pt x="11" y="34"/>
                    <a:pt x="11" y="34"/>
                    <a:pt x="10" y="34"/>
                  </a:cubicBezTo>
                  <a:cubicBezTo>
                    <a:pt x="9" y="34"/>
                    <a:pt x="9" y="35"/>
                    <a:pt x="9" y="35"/>
                  </a:cubicBezTo>
                  <a:cubicBezTo>
                    <a:pt x="11" y="55"/>
                    <a:pt x="20" y="44"/>
                    <a:pt x="31" y="54"/>
                  </a:cubicBezTo>
                  <a:cubicBezTo>
                    <a:pt x="27" y="58"/>
                    <a:pt x="23" y="61"/>
                    <a:pt x="20" y="64"/>
                  </a:cubicBezTo>
                  <a:cubicBezTo>
                    <a:pt x="15" y="63"/>
                    <a:pt x="6" y="55"/>
                    <a:pt x="1" y="56"/>
                  </a:cubicBezTo>
                  <a:cubicBezTo>
                    <a:pt x="1" y="56"/>
                    <a:pt x="1" y="56"/>
                    <a:pt x="0" y="57"/>
                  </a:cubicBezTo>
                  <a:cubicBezTo>
                    <a:pt x="2" y="62"/>
                    <a:pt x="7" y="67"/>
                    <a:pt x="9" y="72"/>
                  </a:cubicBezTo>
                  <a:cubicBezTo>
                    <a:pt x="17" y="75"/>
                    <a:pt x="26" y="66"/>
                    <a:pt x="35" y="58"/>
                  </a:cubicBezTo>
                  <a:cubicBezTo>
                    <a:pt x="37" y="60"/>
                    <a:pt x="39" y="63"/>
                    <a:pt x="42" y="65"/>
                  </a:cubicBezTo>
                  <a:cubicBezTo>
                    <a:pt x="46" y="63"/>
                    <a:pt x="46" y="60"/>
                    <a:pt x="46" y="57"/>
                  </a:cubicBezTo>
                  <a:cubicBezTo>
                    <a:pt x="45" y="54"/>
                    <a:pt x="43" y="53"/>
                    <a:pt x="40" y="50"/>
                  </a:cubicBezTo>
                  <a:cubicBezTo>
                    <a:pt x="41" y="49"/>
                    <a:pt x="42" y="48"/>
                    <a:pt x="42" y="48"/>
                  </a:cubicBezTo>
                  <a:cubicBezTo>
                    <a:pt x="46" y="48"/>
                    <a:pt x="49" y="48"/>
                    <a:pt x="53" y="46"/>
                  </a:cubicBezTo>
                  <a:cubicBezTo>
                    <a:pt x="56" y="49"/>
                    <a:pt x="59" y="53"/>
                    <a:pt x="62" y="57"/>
                  </a:cubicBezTo>
                  <a:cubicBezTo>
                    <a:pt x="65" y="56"/>
                    <a:pt x="68" y="55"/>
                    <a:pt x="70" y="52"/>
                  </a:cubicBezTo>
                  <a:cubicBezTo>
                    <a:pt x="72" y="47"/>
                    <a:pt x="66" y="40"/>
                    <a:pt x="61" y="35"/>
                  </a:cubicBezTo>
                  <a:cubicBezTo>
                    <a:pt x="61" y="35"/>
                    <a:pt x="61" y="35"/>
                    <a:pt x="61" y="35"/>
                  </a:cubicBezTo>
                  <a:cubicBezTo>
                    <a:pt x="62" y="34"/>
                    <a:pt x="62" y="34"/>
                    <a:pt x="62" y="34"/>
                  </a:cubicBezTo>
                  <a:cubicBezTo>
                    <a:pt x="69" y="34"/>
                    <a:pt x="72" y="37"/>
                    <a:pt x="79" y="32"/>
                  </a:cubicBezTo>
                  <a:cubicBezTo>
                    <a:pt x="83" y="17"/>
                    <a:pt x="74" y="21"/>
                    <a:pt x="66" y="16"/>
                  </a:cubicBezTo>
                  <a:close/>
                  <a:moveTo>
                    <a:pt x="63" y="44"/>
                  </a:moveTo>
                  <a:cubicBezTo>
                    <a:pt x="63" y="44"/>
                    <a:pt x="63" y="44"/>
                    <a:pt x="63" y="44"/>
                  </a:cubicBezTo>
                  <a:cubicBezTo>
                    <a:pt x="55" y="42"/>
                    <a:pt x="46" y="34"/>
                    <a:pt x="38" y="32"/>
                  </a:cubicBezTo>
                  <a:cubicBezTo>
                    <a:pt x="43" y="28"/>
                    <a:pt x="48" y="31"/>
                    <a:pt x="54" y="32"/>
                  </a:cubicBezTo>
                  <a:cubicBezTo>
                    <a:pt x="57" y="36"/>
                    <a:pt x="60" y="40"/>
                    <a:pt x="63" y="44"/>
                  </a:cubicBezTo>
                  <a:close/>
                  <a:moveTo>
                    <a:pt x="60" y="27"/>
                  </a:moveTo>
                  <a:cubicBezTo>
                    <a:pt x="60" y="27"/>
                    <a:pt x="60" y="26"/>
                    <a:pt x="59" y="26"/>
                  </a:cubicBezTo>
                  <a:cubicBezTo>
                    <a:pt x="61" y="23"/>
                    <a:pt x="63" y="20"/>
                    <a:pt x="67" y="18"/>
                  </a:cubicBezTo>
                  <a:cubicBezTo>
                    <a:pt x="69" y="19"/>
                    <a:pt x="71" y="19"/>
                    <a:pt x="74" y="20"/>
                  </a:cubicBezTo>
                  <a:cubicBezTo>
                    <a:pt x="75" y="21"/>
                    <a:pt x="76" y="22"/>
                    <a:pt x="77" y="23"/>
                  </a:cubicBezTo>
                  <a:cubicBezTo>
                    <a:pt x="77" y="24"/>
                    <a:pt x="77" y="24"/>
                    <a:pt x="77" y="25"/>
                  </a:cubicBezTo>
                  <a:cubicBezTo>
                    <a:pt x="72" y="29"/>
                    <a:pt x="66" y="27"/>
                    <a:pt x="60" y="2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11" name="ïṩḻîḓé"/>
            <p:cNvSpPr/>
            <p:nvPr/>
          </p:nvSpPr>
          <p:spPr bwMode="auto">
            <a:xfrm>
              <a:off x="2728809" y="4582115"/>
              <a:ext cx="101600" cy="147638"/>
            </a:xfrm>
            <a:custGeom>
              <a:avLst/>
              <a:gdLst>
                <a:gd name="T0" fmla="*/ 47 w 55"/>
                <a:gd name="T1" fmla="*/ 0 h 80"/>
                <a:gd name="T2" fmla="*/ 49 w 55"/>
                <a:gd name="T3" fmla="*/ 20 h 80"/>
                <a:gd name="T4" fmla="*/ 51 w 55"/>
                <a:gd name="T5" fmla="*/ 34 h 80"/>
                <a:gd name="T6" fmla="*/ 28 w 55"/>
                <a:gd name="T7" fmla="*/ 38 h 80"/>
                <a:gd name="T8" fmla="*/ 41 w 55"/>
                <a:gd name="T9" fmla="*/ 68 h 80"/>
                <a:gd name="T10" fmla="*/ 25 w 55"/>
                <a:gd name="T11" fmla="*/ 74 h 80"/>
                <a:gd name="T12" fmla="*/ 26 w 55"/>
                <a:gd name="T13" fmla="*/ 39 h 80"/>
                <a:gd name="T14" fmla="*/ 23 w 55"/>
                <a:gd name="T15" fmla="*/ 40 h 80"/>
                <a:gd name="T16" fmla="*/ 7 w 55"/>
                <a:gd name="T17" fmla="*/ 54 h 80"/>
                <a:gd name="T18" fmla="*/ 0 w 55"/>
                <a:gd name="T19" fmla="*/ 43 h 80"/>
                <a:gd name="T20" fmla="*/ 14 w 55"/>
                <a:gd name="T21" fmla="*/ 28 h 80"/>
                <a:gd name="T22" fmla="*/ 6 w 55"/>
                <a:gd name="T23" fmla="*/ 15 h 80"/>
                <a:gd name="T24" fmla="*/ 7 w 55"/>
                <a:gd name="T25" fmla="*/ 15 h 80"/>
                <a:gd name="T26" fmla="*/ 26 w 55"/>
                <a:gd name="T27" fmla="*/ 18 h 80"/>
                <a:gd name="T28" fmla="*/ 47 w 55"/>
                <a:gd name="T29" fmla="*/ 0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55" h="80">
                  <a:moveTo>
                    <a:pt x="47" y="0"/>
                  </a:moveTo>
                  <a:cubicBezTo>
                    <a:pt x="55" y="7"/>
                    <a:pt x="49" y="11"/>
                    <a:pt x="49" y="20"/>
                  </a:cubicBezTo>
                  <a:cubicBezTo>
                    <a:pt x="49" y="25"/>
                    <a:pt x="55" y="25"/>
                    <a:pt x="51" y="34"/>
                  </a:cubicBezTo>
                  <a:cubicBezTo>
                    <a:pt x="44" y="37"/>
                    <a:pt x="34" y="32"/>
                    <a:pt x="28" y="38"/>
                  </a:cubicBezTo>
                  <a:cubicBezTo>
                    <a:pt x="38" y="44"/>
                    <a:pt x="45" y="59"/>
                    <a:pt x="41" y="68"/>
                  </a:cubicBezTo>
                  <a:cubicBezTo>
                    <a:pt x="39" y="74"/>
                    <a:pt x="28" y="80"/>
                    <a:pt x="25" y="74"/>
                  </a:cubicBezTo>
                  <a:cubicBezTo>
                    <a:pt x="19" y="62"/>
                    <a:pt x="39" y="55"/>
                    <a:pt x="26" y="39"/>
                  </a:cubicBezTo>
                  <a:cubicBezTo>
                    <a:pt x="25" y="39"/>
                    <a:pt x="25" y="39"/>
                    <a:pt x="23" y="40"/>
                  </a:cubicBezTo>
                  <a:cubicBezTo>
                    <a:pt x="17" y="44"/>
                    <a:pt x="14" y="52"/>
                    <a:pt x="7" y="54"/>
                  </a:cubicBezTo>
                  <a:cubicBezTo>
                    <a:pt x="2" y="51"/>
                    <a:pt x="2" y="48"/>
                    <a:pt x="0" y="43"/>
                  </a:cubicBezTo>
                  <a:cubicBezTo>
                    <a:pt x="3" y="39"/>
                    <a:pt x="14" y="30"/>
                    <a:pt x="14" y="28"/>
                  </a:cubicBezTo>
                  <a:cubicBezTo>
                    <a:pt x="14" y="25"/>
                    <a:pt x="7" y="19"/>
                    <a:pt x="6" y="15"/>
                  </a:cubicBezTo>
                  <a:cubicBezTo>
                    <a:pt x="6" y="15"/>
                    <a:pt x="7" y="15"/>
                    <a:pt x="7" y="15"/>
                  </a:cubicBezTo>
                  <a:cubicBezTo>
                    <a:pt x="13" y="15"/>
                    <a:pt x="20" y="18"/>
                    <a:pt x="26" y="18"/>
                  </a:cubicBezTo>
                  <a:cubicBezTo>
                    <a:pt x="34" y="17"/>
                    <a:pt x="41" y="5"/>
                    <a:pt x="47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12" name="išḷïḓe"/>
            <p:cNvSpPr/>
            <p:nvPr/>
          </p:nvSpPr>
          <p:spPr bwMode="auto">
            <a:xfrm>
              <a:off x="2490684" y="4510678"/>
              <a:ext cx="144463" cy="160338"/>
            </a:xfrm>
            <a:custGeom>
              <a:avLst/>
              <a:gdLst>
                <a:gd name="T0" fmla="*/ 55 w 78"/>
                <a:gd name="T1" fmla="*/ 64 h 87"/>
                <a:gd name="T2" fmla="*/ 62 w 78"/>
                <a:gd name="T3" fmla="*/ 50 h 87"/>
                <a:gd name="T4" fmla="*/ 54 w 78"/>
                <a:gd name="T5" fmla="*/ 43 h 87"/>
                <a:gd name="T6" fmla="*/ 69 w 78"/>
                <a:gd name="T7" fmla="*/ 29 h 87"/>
                <a:gd name="T8" fmla="*/ 67 w 78"/>
                <a:gd name="T9" fmla="*/ 21 h 87"/>
                <a:gd name="T10" fmla="*/ 70 w 78"/>
                <a:gd name="T11" fmla="*/ 11 h 87"/>
                <a:gd name="T12" fmla="*/ 69 w 78"/>
                <a:gd name="T13" fmla="*/ 3 h 87"/>
                <a:gd name="T14" fmla="*/ 64 w 78"/>
                <a:gd name="T15" fmla="*/ 0 h 87"/>
                <a:gd name="T16" fmla="*/ 63 w 78"/>
                <a:gd name="T17" fmla="*/ 0 h 87"/>
                <a:gd name="T18" fmla="*/ 63 w 78"/>
                <a:gd name="T19" fmla="*/ 12 h 87"/>
                <a:gd name="T20" fmla="*/ 42 w 78"/>
                <a:gd name="T21" fmla="*/ 25 h 87"/>
                <a:gd name="T22" fmla="*/ 42 w 78"/>
                <a:gd name="T23" fmla="*/ 33 h 87"/>
                <a:gd name="T24" fmla="*/ 33 w 78"/>
                <a:gd name="T25" fmla="*/ 36 h 87"/>
                <a:gd name="T26" fmla="*/ 39 w 78"/>
                <a:gd name="T27" fmla="*/ 33 h 87"/>
                <a:gd name="T28" fmla="*/ 39 w 78"/>
                <a:gd name="T29" fmla="*/ 23 h 87"/>
                <a:gd name="T30" fmla="*/ 36 w 78"/>
                <a:gd name="T31" fmla="*/ 0 h 87"/>
                <a:gd name="T32" fmla="*/ 36 w 78"/>
                <a:gd name="T33" fmla="*/ 0 h 87"/>
                <a:gd name="T34" fmla="*/ 36 w 78"/>
                <a:gd name="T35" fmla="*/ 8 h 87"/>
                <a:gd name="T36" fmla="*/ 30 w 78"/>
                <a:gd name="T37" fmla="*/ 24 h 87"/>
                <a:gd name="T38" fmla="*/ 1 w 78"/>
                <a:gd name="T39" fmla="*/ 29 h 87"/>
                <a:gd name="T40" fmla="*/ 0 w 78"/>
                <a:gd name="T41" fmla="*/ 31 h 87"/>
                <a:gd name="T42" fmla="*/ 18 w 78"/>
                <a:gd name="T43" fmla="*/ 39 h 87"/>
                <a:gd name="T44" fmla="*/ 25 w 78"/>
                <a:gd name="T45" fmla="*/ 36 h 87"/>
                <a:gd name="T46" fmla="*/ 25 w 78"/>
                <a:gd name="T47" fmla="*/ 36 h 87"/>
                <a:gd name="T48" fmla="*/ 3 w 78"/>
                <a:gd name="T49" fmla="*/ 62 h 87"/>
                <a:gd name="T50" fmla="*/ 5 w 78"/>
                <a:gd name="T51" fmla="*/ 67 h 87"/>
                <a:gd name="T52" fmla="*/ 12 w 78"/>
                <a:gd name="T53" fmla="*/ 66 h 87"/>
                <a:gd name="T54" fmla="*/ 22 w 78"/>
                <a:gd name="T55" fmla="*/ 74 h 87"/>
                <a:gd name="T56" fmla="*/ 25 w 78"/>
                <a:gd name="T57" fmla="*/ 61 h 87"/>
                <a:gd name="T58" fmla="*/ 30 w 78"/>
                <a:gd name="T59" fmla="*/ 49 h 87"/>
                <a:gd name="T60" fmla="*/ 48 w 78"/>
                <a:gd name="T61" fmla="*/ 63 h 87"/>
                <a:gd name="T62" fmla="*/ 24 w 78"/>
                <a:gd name="T63" fmla="*/ 71 h 87"/>
                <a:gd name="T64" fmla="*/ 48 w 78"/>
                <a:gd name="T65" fmla="*/ 71 h 87"/>
                <a:gd name="T66" fmla="*/ 51 w 78"/>
                <a:gd name="T67" fmla="*/ 69 h 87"/>
                <a:gd name="T68" fmla="*/ 77 w 78"/>
                <a:gd name="T69" fmla="*/ 87 h 87"/>
                <a:gd name="T70" fmla="*/ 78 w 78"/>
                <a:gd name="T71" fmla="*/ 86 h 87"/>
                <a:gd name="T72" fmla="*/ 55 w 78"/>
                <a:gd name="T73" fmla="*/ 64 h 87"/>
                <a:gd name="T74" fmla="*/ 15 w 78"/>
                <a:gd name="T75" fmla="*/ 64 h 87"/>
                <a:gd name="T76" fmla="*/ 15 w 78"/>
                <a:gd name="T77" fmla="*/ 65 h 87"/>
                <a:gd name="T78" fmla="*/ 11 w 78"/>
                <a:gd name="T79" fmla="*/ 63 h 87"/>
                <a:gd name="T80" fmla="*/ 12 w 78"/>
                <a:gd name="T81" fmla="*/ 60 h 87"/>
                <a:gd name="T82" fmla="*/ 15 w 78"/>
                <a:gd name="T83" fmla="*/ 57 h 87"/>
                <a:gd name="T84" fmla="*/ 17 w 78"/>
                <a:gd name="T85" fmla="*/ 58 h 87"/>
                <a:gd name="T86" fmla="*/ 15 w 78"/>
                <a:gd name="T87" fmla="*/ 64 h 87"/>
                <a:gd name="T88" fmla="*/ 32 w 78"/>
                <a:gd name="T89" fmla="*/ 46 h 87"/>
                <a:gd name="T90" fmla="*/ 44 w 78"/>
                <a:gd name="T91" fmla="*/ 34 h 87"/>
                <a:gd name="T92" fmla="*/ 52 w 78"/>
                <a:gd name="T93" fmla="*/ 35 h 87"/>
                <a:gd name="T94" fmla="*/ 46 w 78"/>
                <a:gd name="T95" fmla="*/ 50 h 87"/>
                <a:gd name="T96" fmla="*/ 48 w 78"/>
                <a:gd name="T97" fmla="*/ 52 h 87"/>
                <a:gd name="T98" fmla="*/ 56 w 78"/>
                <a:gd name="T99" fmla="*/ 50 h 87"/>
                <a:gd name="T100" fmla="*/ 52 w 78"/>
                <a:gd name="T101" fmla="*/ 61 h 87"/>
                <a:gd name="T102" fmla="*/ 32 w 78"/>
                <a:gd name="T103" fmla="*/ 46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78" h="87">
                  <a:moveTo>
                    <a:pt x="55" y="64"/>
                  </a:moveTo>
                  <a:cubicBezTo>
                    <a:pt x="58" y="60"/>
                    <a:pt x="60" y="55"/>
                    <a:pt x="62" y="50"/>
                  </a:cubicBezTo>
                  <a:cubicBezTo>
                    <a:pt x="61" y="47"/>
                    <a:pt x="58" y="44"/>
                    <a:pt x="54" y="43"/>
                  </a:cubicBezTo>
                  <a:cubicBezTo>
                    <a:pt x="57" y="36"/>
                    <a:pt x="64" y="33"/>
                    <a:pt x="69" y="29"/>
                  </a:cubicBezTo>
                  <a:cubicBezTo>
                    <a:pt x="69" y="25"/>
                    <a:pt x="67" y="24"/>
                    <a:pt x="67" y="21"/>
                  </a:cubicBezTo>
                  <a:cubicBezTo>
                    <a:pt x="68" y="18"/>
                    <a:pt x="69" y="15"/>
                    <a:pt x="70" y="11"/>
                  </a:cubicBezTo>
                  <a:cubicBezTo>
                    <a:pt x="70" y="9"/>
                    <a:pt x="69" y="6"/>
                    <a:pt x="69" y="3"/>
                  </a:cubicBezTo>
                  <a:cubicBezTo>
                    <a:pt x="68" y="2"/>
                    <a:pt x="67" y="1"/>
                    <a:pt x="64" y="0"/>
                  </a:cubicBezTo>
                  <a:cubicBezTo>
                    <a:pt x="64" y="0"/>
                    <a:pt x="63" y="0"/>
                    <a:pt x="63" y="0"/>
                  </a:cubicBezTo>
                  <a:cubicBezTo>
                    <a:pt x="61" y="5"/>
                    <a:pt x="63" y="8"/>
                    <a:pt x="63" y="12"/>
                  </a:cubicBezTo>
                  <a:cubicBezTo>
                    <a:pt x="63" y="24"/>
                    <a:pt x="52" y="26"/>
                    <a:pt x="42" y="25"/>
                  </a:cubicBezTo>
                  <a:cubicBezTo>
                    <a:pt x="41" y="28"/>
                    <a:pt x="41" y="31"/>
                    <a:pt x="42" y="33"/>
                  </a:cubicBezTo>
                  <a:cubicBezTo>
                    <a:pt x="39" y="34"/>
                    <a:pt x="36" y="35"/>
                    <a:pt x="33" y="36"/>
                  </a:cubicBezTo>
                  <a:cubicBezTo>
                    <a:pt x="34" y="32"/>
                    <a:pt x="36" y="32"/>
                    <a:pt x="39" y="33"/>
                  </a:cubicBezTo>
                  <a:cubicBezTo>
                    <a:pt x="41" y="29"/>
                    <a:pt x="38" y="27"/>
                    <a:pt x="39" y="23"/>
                  </a:cubicBezTo>
                  <a:cubicBezTo>
                    <a:pt x="39" y="14"/>
                    <a:pt x="53" y="6"/>
                    <a:pt x="36" y="0"/>
                  </a:cubicBezTo>
                  <a:cubicBezTo>
                    <a:pt x="36" y="0"/>
                    <a:pt x="36" y="0"/>
                    <a:pt x="36" y="0"/>
                  </a:cubicBezTo>
                  <a:cubicBezTo>
                    <a:pt x="35" y="3"/>
                    <a:pt x="36" y="5"/>
                    <a:pt x="36" y="8"/>
                  </a:cubicBezTo>
                  <a:cubicBezTo>
                    <a:pt x="34" y="14"/>
                    <a:pt x="32" y="19"/>
                    <a:pt x="30" y="24"/>
                  </a:cubicBezTo>
                  <a:cubicBezTo>
                    <a:pt x="22" y="26"/>
                    <a:pt x="9" y="26"/>
                    <a:pt x="1" y="29"/>
                  </a:cubicBezTo>
                  <a:cubicBezTo>
                    <a:pt x="1" y="30"/>
                    <a:pt x="1" y="30"/>
                    <a:pt x="0" y="31"/>
                  </a:cubicBezTo>
                  <a:cubicBezTo>
                    <a:pt x="1" y="35"/>
                    <a:pt x="12" y="39"/>
                    <a:pt x="18" y="39"/>
                  </a:cubicBezTo>
                  <a:cubicBezTo>
                    <a:pt x="20" y="38"/>
                    <a:pt x="22" y="37"/>
                    <a:pt x="25" y="36"/>
                  </a:cubicBezTo>
                  <a:cubicBezTo>
                    <a:pt x="25" y="36"/>
                    <a:pt x="25" y="36"/>
                    <a:pt x="25" y="36"/>
                  </a:cubicBezTo>
                  <a:cubicBezTo>
                    <a:pt x="21" y="52"/>
                    <a:pt x="9" y="50"/>
                    <a:pt x="3" y="62"/>
                  </a:cubicBezTo>
                  <a:cubicBezTo>
                    <a:pt x="4" y="63"/>
                    <a:pt x="4" y="65"/>
                    <a:pt x="5" y="67"/>
                  </a:cubicBezTo>
                  <a:cubicBezTo>
                    <a:pt x="7" y="67"/>
                    <a:pt x="10" y="67"/>
                    <a:pt x="12" y="66"/>
                  </a:cubicBezTo>
                  <a:cubicBezTo>
                    <a:pt x="17" y="68"/>
                    <a:pt x="17" y="72"/>
                    <a:pt x="22" y="74"/>
                  </a:cubicBezTo>
                  <a:cubicBezTo>
                    <a:pt x="25" y="71"/>
                    <a:pt x="24" y="66"/>
                    <a:pt x="25" y="61"/>
                  </a:cubicBezTo>
                  <a:cubicBezTo>
                    <a:pt x="25" y="56"/>
                    <a:pt x="28" y="52"/>
                    <a:pt x="30" y="49"/>
                  </a:cubicBezTo>
                  <a:cubicBezTo>
                    <a:pt x="40" y="53"/>
                    <a:pt x="42" y="58"/>
                    <a:pt x="48" y="63"/>
                  </a:cubicBezTo>
                  <a:cubicBezTo>
                    <a:pt x="44" y="74"/>
                    <a:pt x="29" y="63"/>
                    <a:pt x="24" y="71"/>
                  </a:cubicBezTo>
                  <a:cubicBezTo>
                    <a:pt x="39" y="78"/>
                    <a:pt x="36" y="74"/>
                    <a:pt x="48" y="71"/>
                  </a:cubicBezTo>
                  <a:cubicBezTo>
                    <a:pt x="49" y="70"/>
                    <a:pt x="50" y="70"/>
                    <a:pt x="51" y="69"/>
                  </a:cubicBezTo>
                  <a:cubicBezTo>
                    <a:pt x="58" y="79"/>
                    <a:pt x="58" y="87"/>
                    <a:pt x="77" y="87"/>
                  </a:cubicBezTo>
                  <a:cubicBezTo>
                    <a:pt x="77" y="87"/>
                    <a:pt x="78" y="86"/>
                    <a:pt x="78" y="86"/>
                  </a:cubicBezTo>
                  <a:cubicBezTo>
                    <a:pt x="74" y="76"/>
                    <a:pt x="60" y="73"/>
                    <a:pt x="55" y="64"/>
                  </a:cubicBezTo>
                  <a:close/>
                  <a:moveTo>
                    <a:pt x="15" y="64"/>
                  </a:moveTo>
                  <a:cubicBezTo>
                    <a:pt x="15" y="65"/>
                    <a:pt x="15" y="65"/>
                    <a:pt x="15" y="65"/>
                  </a:cubicBezTo>
                  <a:cubicBezTo>
                    <a:pt x="14" y="64"/>
                    <a:pt x="13" y="64"/>
                    <a:pt x="11" y="63"/>
                  </a:cubicBezTo>
                  <a:cubicBezTo>
                    <a:pt x="11" y="62"/>
                    <a:pt x="12" y="61"/>
                    <a:pt x="12" y="60"/>
                  </a:cubicBezTo>
                  <a:cubicBezTo>
                    <a:pt x="13" y="59"/>
                    <a:pt x="14" y="58"/>
                    <a:pt x="15" y="57"/>
                  </a:cubicBezTo>
                  <a:cubicBezTo>
                    <a:pt x="16" y="57"/>
                    <a:pt x="16" y="58"/>
                    <a:pt x="17" y="58"/>
                  </a:cubicBezTo>
                  <a:cubicBezTo>
                    <a:pt x="16" y="60"/>
                    <a:pt x="16" y="62"/>
                    <a:pt x="15" y="64"/>
                  </a:cubicBezTo>
                  <a:close/>
                  <a:moveTo>
                    <a:pt x="32" y="46"/>
                  </a:moveTo>
                  <a:cubicBezTo>
                    <a:pt x="35" y="43"/>
                    <a:pt x="44" y="37"/>
                    <a:pt x="44" y="34"/>
                  </a:cubicBezTo>
                  <a:cubicBezTo>
                    <a:pt x="47" y="34"/>
                    <a:pt x="49" y="35"/>
                    <a:pt x="52" y="35"/>
                  </a:cubicBezTo>
                  <a:cubicBezTo>
                    <a:pt x="50" y="40"/>
                    <a:pt x="45" y="44"/>
                    <a:pt x="46" y="50"/>
                  </a:cubicBezTo>
                  <a:cubicBezTo>
                    <a:pt x="46" y="51"/>
                    <a:pt x="47" y="51"/>
                    <a:pt x="48" y="52"/>
                  </a:cubicBezTo>
                  <a:cubicBezTo>
                    <a:pt x="50" y="51"/>
                    <a:pt x="53" y="49"/>
                    <a:pt x="56" y="50"/>
                  </a:cubicBezTo>
                  <a:cubicBezTo>
                    <a:pt x="55" y="54"/>
                    <a:pt x="53" y="57"/>
                    <a:pt x="52" y="61"/>
                  </a:cubicBezTo>
                  <a:cubicBezTo>
                    <a:pt x="45" y="56"/>
                    <a:pt x="44" y="49"/>
                    <a:pt x="32" y="4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13" name="ï$ľíḍe"/>
            <p:cNvSpPr/>
            <p:nvPr/>
          </p:nvSpPr>
          <p:spPr bwMode="auto">
            <a:xfrm>
              <a:off x="2255734" y="4491628"/>
              <a:ext cx="136525" cy="174625"/>
            </a:xfrm>
            <a:custGeom>
              <a:avLst/>
              <a:gdLst>
                <a:gd name="T0" fmla="*/ 74 w 74"/>
                <a:gd name="T1" fmla="*/ 41 h 94"/>
                <a:gd name="T2" fmla="*/ 64 w 74"/>
                <a:gd name="T3" fmla="*/ 35 h 94"/>
                <a:gd name="T4" fmla="*/ 51 w 74"/>
                <a:gd name="T5" fmla="*/ 5 h 94"/>
                <a:gd name="T6" fmla="*/ 58 w 74"/>
                <a:gd name="T7" fmla="*/ 39 h 94"/>
                <a:gd name="T8" fmla="*/ 47 w 74"/>
                <a:gd name="T9" fmla="*/ 47 h 94"/>
                <a:gd name="T10" fmla="*/ 55 w 74"/>
                <a:gd name="T11" fmla="*/ 34 h 94"/>
                <a:gd name="T12" fmla="*/ 47 w 74"/>
                <a:gd name="T13" fmla="*/ 29 h 94"/>
                <a:gd name="T14" fmla="*/ 54 w 74"/>
                <a:gd name="T15" fmla="*/ 22 h 94"/>
                <a:gd name="T16" fmla="*/ 54 w 74"/>
                <a:gd name="T17" fmla="*/ 20 h 94"/>
                <a:gd name="T18" fmla="*/ 54 w 74"/>
                <a:gd name="T19" fmla="*/ 19 h 94"/>
                <a:gd name="T20" fmla="*/ 41 w 74"/>
                <a:gd name="T21" fmla="*/ 19 h 94"/>
                <a:gd name="T22" fmla="*/ 44 w 74"/>
                <a:gd name="T23" fmla="*/ 22 h 94"/>
                <a:gd name="T24" fmla="*/ 44 w 74"/>
                <a:gd name="T25" fmla="*/ 32 h 94"/>
                <a:gd name="T26" fmla="*/ 48 w 74"/>
                <a:gd name="T27" fmla="*/ 37 h 94"/>
                <a:gd name="T28" fmla="*/ 40 w 74"/>
                <a:gd name="T29" fmla="*/ 58 h 94"/>
                <a:gd name="T30" fmla="*/ 44 w 74"/>
                <a:gd name="T31" fmla="*/ 61 h 94"/>
                <a:gd name="T32" fmla="*/ 59 w 74"/>
                <a:gd name="T33" fmla="*/ 46 h 94"/>
                <a:gd name="T34" fmla="*/ 59 w 74"/>
                <a:gd name="T35" fmla="*/ 46 h 94"/>
                <a:gd name="T36" fmla="*/ 66 w 74"/>
                <a:gd name="T37" fmla="*/ 93 h 94"/>
                <a:gd name="T38" fmla="*/ 68 w 74"/>
                <a:gd name="T39" fmla="*/ 93 h 94"/>
                <a:gd name="T40" fmla="*/ 65 w 74"/>
                <a:gd name="T41" fmla="*/ 42 h 94"/>
                <a:gd name="T42" fmla="*/ 73 w 74"/>
                <a:gd name="T43" fmla="*/ 41 h 94"/>
                <a:gd name="T44" fmla="*/ 74 w 74"/>
                <a:gd name="T45" fmla="*/ 41 h 94"/>
                <a:gd name="T46" fmla="*/ 43 w 74"/>
                <a:gd name="T47" fmla="*/ 42 h 94"/>
                <a:gd name="T48" fmla="*/ 35 w 74"/>
                <a:gd name="T49" fmla="*/ 48 h 94"/>
                <a:gd name="T50" fmla="*/ 39 w 74"/>
                <a:gd name="T51" fmla="*/ 38 h 94"/>
                <a:gd name="T52" fmla="*/ 37 w 74"/>
                <a:gd name="T53" fmla="*/ 29 h 94"/>
                <a:gd name="T54" fmla="*/ 40 w 74"/>
                <a:gd name="T55" fmla="*/ 27 h 94"/>
                <a:gd name="T56" fmla="*/ 34 w 74"/>
                <a:gd name="T57" fmla="*/ 16 h 94"/>
                <a:gd name="T58" fmla="*/ 32 w 74"/>
                <a:gd name="T59" fmla="*/ 15 h 94"/>
                <a:gd name="T60" fmla="*/ 4 w 74"/>
                <a:gd name="T61" fmla="*/ 46 h 94"/>
                <a:gd name="T62" fmla="*/ 30 w 74"/>
                <a:gd name="T63" fmla="*/ 29 h 94"/>
                <a:gd name="T64" fmla="*/ 8 w 74"/>
                <a:gd name="T65" fmla="*/ 52 h 94"/>
                <a:gd name="T66" fmla="*/ 0 w 74"/>
                <a:gd name="T67" fmla="*/ 56 h 94"/>
                <a:gd name="T68" fmla="*/ 3 w 74"/>
                <a:gd name="T69" fmla="*/ 61 h 94"/>
                <a:gd name="T70" fmla="*/ 23 w 74"/>
                <a:gd name="T71" fmla="*/ 54 h 94"/>
                <a:gd name="T72" fmla="*/ 25 w 74"/>
                <a:gd name="T73" fmla="*/ 53 h 94"/>
                <a:gd name="T74" fmla="*/ 25 w 74"/>
                <a:gd name="T75" fmla="*/ 53 h 94"/>
                <a:gd name="T76" fmla="*/ 20 w 74"/>
                <a:gd name="T77" fmla="*/ 72 h 94"/>
                <a:gd name="T78" fmla="*/ 25 w 74"/>
                <a:gd name="T79" fmla="*/ 76 h 94"/>
                <a:gd name="T80" fmla="*/ 26 w 74"/>
                <a:gd name="T81" fmla="*/ 76 h 94"/>
                <a:gd name="T82" fmla="*/ 30 w 74"/>
                <a:gd name="T83" fmla="*/ 67 h 94"/>
                <a:gd name="T84" fmla="*/ 31 w 74"/>
                <a:gd name="T85" fmla="*/ 66 h 94"/>
                <a:gd name="T86" fmla="*/ 32 w 74"/>
                <a:gd name="T87" fmla="*/ 75 h 94"/>
                <a:gd name="T88" fmla="*/ 35 w 74"/>
                <a:gd name="T89" fmla="*/ 76 h 94"/>
                <a:gd name="T90" fmla="*/ 38 w 74"/>
                <a:gd name="T91" fmla="*/ 76 h 94"/>
                <a:gd name="T92" fmla="*/ 35 w 74"/>
                <a:gd name="T93" fmla="*/ 61 h 94"/>
                <a:gd name="T94" fmla="*/ 43 w 74"/>
                <a:gd name="T95" fmla="*/ 42 h 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74" h="94">
                  <a:moveTo>
                    <a:pt x="74" y="41"/>
                  </a:moveTo>
                  <a:cubicBezTo>
                    <a:pt x="73" y="36"/>
                    <a:pt x="70" y="34"/>
                    <a:pt x="64" y="35"/>
                  </a:cubicBezTo>
                  <a:cubicBezTo>
                    <a:pt x="63" y="24"/>
                    <a:pt x="67" y="0"/>
                    <a:pt x="51" y="5"/>
                  </a:cubicBezTo>
                  <a:cubicBezTo>
                    <a:pt x="50" y="9"/>
                    <a:pt x="61" y="31"/>
                    <a:pt x="58" y="39"/>
                  </a:cubicBezTo>
                  <a:cubicBezTo>
                    <a:pt x="58" y="39"/>
                    <a:pt x="47" y="47"/>
                    <a:pt x="47" y="47"/>
                  </a:cubicBezTo>
                  <a:cubicBezTo>
                    <a:pt x="48" y="41"/>
                    <a:pt x="53" y="39"/>
                    <a:pt x="55" y="34"/>
                  </a:cubicBezTo>
                  <a:cubicBezTo>
                    <a:pt x="56" y="30"/>
                    <a:pt x="49" y="31"/>
                    <a:pt x="47" y="29"/>
                  </a:cubicBezTo>
                  <a:cubicBezTo>
                    <a:pt x="48" y="26"/>
                    <a:pt x="51" y="23"/>
                    <a:pt x="54" y="22"/>
                  </a:cubicBezTo>
                  <a:cubicBezTo>
                    <a:pt x="54" y="21"/>
                    <a:pt x="54" y="21"/>
                    <a:pt x="54" y="20"/>
                  </a:cubicBezTo>
                  <a:cubicBezTo>
                    <a:pt x="54" y="20"/>
                    <a:pt x="54" y="19"/>
                    <a:pt x="54" y="19"/>
                  </a:cubicBezTo>
                  <a:cubicBezTo>
                    <a:pt x="50" y="17"/>
                    <a:pt x="45" y="17"/>
                    <a:pt x="41" y="19"/>
                  </a:cubicBezTo>
                  <a:cubicBezTo>
                    <a:pt x="41" y="22"/>
                    <a:pt x="42" y="22"/>
                    <a:pt x="44" y="22"/>
                  </a:cubicBezTo>
                  <a:cubicBezTo>
                    <a:pt x="44" y="26"/>
                    <a:pt x="44" y="29"/>
                    <a:pt x="44" y="32"/>
                  </a:cubicBezTo>
                  <a:cubicBezTo>
                    <a:pt x="45" y="34"/>
                    <a:pt x="47" y="35"/>
                    <a:pt x="48" y="37"/>
                  </a:cubicBezTo>
                  <a:cubicBezTo>
                    <a:pt x="46" y="41"/>
                    <a:pt x="35" y="51"/>
                    <a:pt x="40" y="58"/>
                  </a:cubicBezTo>
                  <a:cubicBezTo>
                    <a:pt x="41" y="60"/>
                    <a:pt x="42" y="60"/>
                    <a:pt x="44" y="61"/>
                  </a:cubicBezTo>
                  <a:cubicBezTo>
                    <a:pt x="49" y="55"/>
                    <a:pt x="51" y="50"/>
                    <a:pt x="59" y="46"/>
                  </a:cubicBezTo>
                  <a:cubicBezTo>
                    <a:pt x="59" y="46"/>
                    <a:pt x="59" y="46"/>
                    <a:pt x="59" y="46"/>
                  </a:cubicBezTo>
                  <a:cubicBezTo>
                    <a:pt x="61" y="60"/>
                    <a:pt x="59" y="83"/>
                    <a:pt x="66" y="93"/>
                  </a:cubicBezTo>
                  <a:cubicBezTo>
                    <a:pt x="67" y="94"/>
                    <a:pt x="67" y="93"/>
                    <a:pt x="68" y="93"/>
                  </a:cubicBezTo>
                  <a:cubicBezTo>
                    <a:pt x="68" y="78"/>
                    <a:pt x="67" y="60"/>
                    <a:pt x="65" y="42"/>
                  </a:cubicBezTo>
                  <a:cubicBezTo>
                    <a:pt x="68" y="42"/>
                    <a:pt x="72" y="42"/>
                    <a:pt x="73" y="41"/>
                  </a:cubicBezTo>
                  <a:cubicBezTo>
                    <a:pt x="74" y="41"/>
                    <a:pt x="74" y="41"/>
                    <a:pt x="74" y="41"/>
                  </a:cubicBezTo>
                  <a:close/>
                  <a:moveTo>
                    <a:pt x="43" y="42"/>
                  </a:moveTo>
                  <a:cubicBezTo>
                    <a:pt x="39" y="44"/>
                    <a:pt x="38" y="46"/>
                    <a:pt x="35" y="48"/>
                  </a:cubicBezTo>
                  <a:cubicBezTo>
                    <a:pt x="35" y="42"/>
                    <a:pt x="39" y="42"/>
                    <a:pt x="39" y="38"/>
                  </a:cubicBezTo>
                  <a:cubicBezTo>
                    <a:pt x="40" y="35"/>
                    <a:pt x="37" y="33"/>
                    <a:pt x="37" y="29"/>
                  </a:cubicBezTo>
                  <a:cubicBezTo>
                    <a:pt x="38" y="28"/>
                    <a:pt x="39" y="28"/>
                    <a:pt x="40" y="27"/>
                  </a:cubicBezTo>
                  <a:cubicBezTo>
                    <a:pt x="41" y="24"/>
                    <a:pt x="36" y="16"/>
                    <a:pt x="34" y="16"/>
                  </a:cubicBezTo>
                  <a:cubicBezTo>
                    <a:pt x="33" y="16"/>
                    <a:pt x="32" y="15"/>
                    <a:pt x="32" y="15"/>
                  </a:cubicBezTo>
                  <a:cubicBezTo>
                    <a:pt x="22" y="28"/>
                    <a:pt x="10" y="30"/>
                    <a:pt x="4" y="46"/>
                  </a:cubicBezTo>
                  <a:cubicBezTo>
                    <a:pt x="13" y="41"/>
                    <a:pt x="17" y="31"/>
                    <a:pt x="30" y="29"/>
                  </a:cubicBezTo>
                  <a:cubicBezTo>
                    <a:pt x="29" y="39"/>
                    <a:pt x="16" y="48"/>
                    <a:pt x="8" y="52"/>
                  </a:cubicBezTo>
                  <a:cubicBezTo>
                    <a:pt x="4" y="54"/>
                    <a:pt x="2" y="52"/>
                    <a:pt x="0" y="56"/>
                  </a:cubicBezTo>
                  <a:cubicBezTo>
                    <a:pt x="0" y="59"/>
                    <a:pt x="1" y="60"/>
                    <a:pt x="3" y="61"/>
                  </a:cubicBezTo>
                  <a:cubicBezTo>
                    <a:pt x="10" y="63"/>
                    <a:pt x="22" y="58"/>
                    <a:pt x="23" y="54"/>
                  </a:cubicBezTo>
                  <a:cubicBezTo>
                    <a:pt x="24" y="54"/>
                    <a:pt x="24" y="53"/>
                    <a:pt x="25" y="53"/>
                  </a:cubicBezTo>
                  <a:cubicBezTo>
                    <a:pt x="25" y="53"/>
                    <a:pt x="25" y="53"/>
                    <a:pt x="25" y="53"/>
                  </a:cubicBezTo>
                  <a:cubicBezTo>
                    <a:pt x="23" y="59"/>
                    <a:pt x="22" y="66"/>
                    <a:pt x="20" y="72"/>
                  </a:cubicBezTo>
                  <a:cubicBezTo>
                    <a:pt x="21" y="74"/>
                    <a:pt x="23" y="75"/>
                    <a:pt x="25" y="76"/>
                  </a:cubicBezTo>
                  <a:cubicBezTo>
                    <a:pt x="25" y="76"/>
                    <a:pt x="26" y="76"/>
                    <a:pt x="26" y="76"/>
                  </a:cubicBezTo>
                  <a:cubicBezTo>
                    <a:pt x="28" y="73"/>
                    <a:pt x="29" y="70"/>
                    <a:pt x="30" y="67"/>
                  </a:cubicBezTo>
                  <a:cubicBezTo>
                    <a:pt x="31" y="67"/>
                    <a:pt x="31" y="67"/>
                    <a:pt x="31" y="66"/>
                  </a:cubicBezTo>
                  <a:cubicBezTo>
                    <a:pt x="32" y="69"/>
                    <a:pt x="32" y="72"/>
                    <a:pt x="32" y="75"/>
                  </a:cubicBezTo>
                  <a:cubicBezTo>
                    <a:pt x="33" y="75"/>
                    <a:pt x="34" y="76"/>
                    <a:pt x="35" y="76"/>
                  </a:cubicBezTo>
                  <a:cubicBezTo>
                    <a:pt x="36" y="76"/>
                    <a:pt x="37" y="76"/>
                    <a:pt x="38" y="76"/>
                  </a:cubicBezTo>
                  <a:cubicBezTo>
                    <a:pt x="37" y="71"/>
                    <a:pt x="36" y="66"/>
                    <a:pt x="35" y="61"/>
                  </a:cubicBezTo>
                  <a:cubicBezTo>
                    <a:pt x="38" y="54"/>
                    <a:pt x="40" y="48"/>
                    <a:pt x="43" y="4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14" name="î$ḻîḑe"/>
            <p:cNvSpPr/>
            <p:nvPr/>
          </p:nvSpPr>
          <p:spPr bwMode="auto">
            <a:xfrm>
              <a:off x="2055709" y="4566240"/>
              <a:ext cx="136525" cy="150813"/>
            </a:xfrm>
            <a:custGeom>
              <a:avLst/>
              <a:gdLst>
                <a:gd name="T0" fmla="*/ 55 w 74"/>
                <a:gd name="T1" fmla="*/ 53 h 82"/>
                <a:gd name="T2" fmla="*/ 54 w 74"/>
                <a:gd name="T3" fmla="*/ 51 h 82"/>
                <a:gd name="T4" fmla="*/ 57 w 74"/>
                <a:gd name="T5" fmla="*/ 49 h 82"/>
                <a:gd name="T6" fmla="*/ 56 w 74"/>
                <a:gd name="T7" fmla="*/ 45 h 82"/>
                <a:gd name="T8" fmla="*/ 52 w 74"/>
                <a:gd name="T9" fmla="*/ 45 h 82"/>
                <a:gd name="T10" fmla="*/ 51 w 74"/>
                <a:gd name="T11" fmla="*/ 44 h 82"/>
                <a:gd name="T12" fmla="*/ 60 w 74"/>
                <a:gd name="T13" fmla="*/ 32 h 82"/>
                <a:gd name="T14" fmla="*/ 60 w 74"/>
                <a:gd name="T15" fmla="*/ 30 h 82"/>
                <a:gd name="T16" fmla="*/ 34 w 74"/>
                <a:gd name="T17" fmla="*/ 38 h 82"/>
                <a:gd name="T18" fmla="*/ 33 w 74"/>
                <a:gd name="T19" fmla="*/ 38 h 82"/>
                <a:gd name="T20" fmla="*/ 60 w 74"/>
                <a:gd name="T21" fmla="*/ 16 h 82"/>
                <a:gd name="T22" fmla="*/ 61 w 74"/>
                <a:gd name="T23" fmla="*/ 10 h 82"/>
                <a:gd name="T24" fmla="*/ 42 w 74"/>
                <a:gd name="T25" fmla="*/ 11 h 82"/>
                <a:gd name="T26" fmla="*/ 27 w 74"/>
                <a:gd name="T27" fmla="*/ 0 h 82"/>
                <a:gd name="T28" fmla="*/ 24 w 74"/>
                <a:gd name="T29" fmla="*/ 0 h 82"/>
                <a:gd name="T30" fmla="*/ 29 w 74"/>
                <a:gd name="T31" fmla="*/ 21 h 82"/>
                <a:gd name="T32" fmla="*/ 11 w 74"/>
                <a:gd name="T33" fmla="*/ 39 h 82"/>
                <a:gd name="T34" fmla="*/ 1 w 74"/>
                <a:gd name="T35" fmla="*/ 44 h 82"/>
                <a:gd name="T36" fmla="*/ 0 w 74"/>
                <a:gd name="T37" fmla="*/ 47 h 82"/>
                <a:gd name="T38" fmla="*/ 35 w 74"/>
                <a:gd name="T39" fmla="*/ 26 h 82"/>
                <a:gd name="T40" fmla="*/ 35 w 74"/>
                <a:gd name="T41" fmla="*/ 26 h 82"/>
                <a:gd name="T42" fmla="*/ 30 w 74"/>
                <a:gd name="T43" fmla="*/ 48 h 82"/>
                <a:gd name="T44" fmla="*/ 40 w 74"/>
                <a:gd name="T45" fmla="*/ 57 h 82"/>
                <a:gd name="T46" fmla="*/ 35 w 74"/>
                <a:gd name="T47" fmla="*/ 78 h 82"/>
                <a:gd name="T48" fmla="*/ 45 w 74"/>
                <a:gd name="T49" fmla="*/ 82 h 82"/>
                <a:gd name="T50" fmla="*/ 47 w 74"/>
                <a:gd name="T51" fmla="*/ 80 h 82"/>
                <a:gd name="T52" fmla="*/ 46 w 74"/>
                <a:gd name="T53" fmla="*/ 67 h 82"/>
                <a:gd name="T54" fmla="*/ 47 w 74"/>
                <a:gd name="T55" fmla="*/ 66 h 82"/>
                <a:gd name="T56" fmla="*/ 50 w 74"/>
                <a:gd name="T57" fmla="*/ 73 h 82"/>
                <a:gd name="T58" fmla="*/ 58 w 74"/>
                <a:gd name="T59" fmla="*/ 79 h 82"/>
                <a:gd name="T60" fmla="*/ 59 w 74"/>
                <a:gd name="T61" fmla="*/ 79 h 82"/>
                <a:gd name="T62" fmla="*/ 53 w 74"/>
                <a:gd name="T63" fmla="*/ 57 h 82"/>
                <a:gd name="T64" fmla="*/ 56 w 74"/>
                <a:gd name="T65" fmla="*/ 55 h 82"/>
                <a:gd name="T66" fmla="*/ 56 w 74"/>
                <a:gd name="T67" fmla="*/ 55 h 82"/>
                <a:gd name="T68" fmla="*/ 69 w 74"/>
                <a:gd name="T69" fmla="*/ 69 h 82"/>
                <a:gd name="T70" fmla="*/ 74 w 74"/>
                <a:gd name="T71" fmla="*/ 64 h 82"/>
                <a:gd name="T72" fmla="*/ 55 w 74"/>
                <a:gd name="T73" fmla="*/ 53 h 82"/>
                <a:gd name="T74" fmla="*/ 40 w 74"/>
                <a:gd name="T75" fmla="*/ 46 h 82"/>
                <a:gd name="T76" fmla="*/ 39 w 74"/>
                <a:gd name="T77" fmla="*/ 46 h 82"/>
                <a:gd name="T78" fmla="*/ 38 w 74"/>
                <a:gd name="T79" fmla="*/ 46 h 82"/>
                <a:gd name="T80" fmla="*/ 37 w 74"/>
                <a:gd name="T81" fmla="*/ 44 h 82"/>
                <a:gd name="T82" fmla="*/ 44 w 74"/>
                <a:gd name="T83" fmla="*/ 36 h 82"/>
                <a:gd name="T84" fmla="*/ 46 w 74"/>
                <a:gd name="T85" fmla="*/ 35 h 82"/>
                <a:gd name="T86" fmla="*/ 46 w 74"/>
                <a:gd name="T87" fmla="*/ 35 h 82"/>
                <a:gd name="T88" fmla="*/ 40 w 74"/>
                <a:gd name="T89" fmla="*/ 46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74" h="82">
                  <a:moveTo>
                    <a:pt x="55" y="53"/>
                  </a:moveTo>
                  <a:cubicBezTo>
                    <a:pt x="55" y="53"/>
                    <a:pt x="54" y="52"/>
                    <a:pt x="54" y="51"/>
                  </a:cubicBezTo>
                  <a:cubicBezTo>
                    <a:pt x="55" y="51"/>
                    <a:pt x="56" y="50"/>
                    <a:pt x="57" y="49"/>
                  </a:cubicBezTo>
                  <a:cubicBezTo>
                    <a:pt x="57" y="48"/>
                    <a:pt x="56" y="47"/>
                    <a:pt x="56" y="45"/>
                  </a:cubicBezTo>
                  <a:cubicBezTo>
                    <a:pt x="54" y="45"/>
                    <a:pt x="53" y="45"/>
                    <a:pt x="52" y="45"/>
                  </a:cubicBezTo>
                  <a:cubicBezTo>
                    <a:pt x="51" y="45"/>
                    <a:pt x="51" y="44"/>
                    <a:pt x="51" y="44"/>
                  </a:cubicBezTo>
                  <a:cubicBezTo>
                    <a:pt x="53" y="40"/>
                    <a:pt x="59" y="36"/>
                    <a:pt x="60" y="32"/>
                  </a:cubicBezTo>
                  <a:cubicBezTo>
                    <a:pt x="60" y="31"/>
                    <a:pt x="60" y="31"/>
                    <a:pt x="60" y="30"/>
                  </a:cubicBezTo>
                  <a:cubicBezTo>
                    <a:pt x="50" y="21"/>
                    <a:pt x="41" y="31"/>
                    <a:pt x="34" y="38"/>
                  </a:cubicBezTo>
                  <a:cubicBezTo>
                    <a:pt x="33" y="38"/>
                    <a:pt x="33" y="38"/>
                    <a:pt x="33" y="38"/>
                  </a:cubicBezTo>
                  <a:cubicBezTo>
                    <a:pt x="34" y="30"/>
                    <a:pt x="48" y="16"/>
                    <a:pt x="60" y="16"/>
                  </a:cubicBezTo>
                  <a:cubicBezTo>
                    <a:pt x="61" y="14"/>
                    <a:pt x="61" y="12"/>
                    <a:pt x="61" y="10"/>
                  </a:cubicBezTo>
                  <a:cubicBezTo>
                    <a:pt x="50" y="3"/>
                    <a:pt x="52" y="11"/>
                    <a:pt x="42" y="11"/>
                  </a:cubicBezTo>
                  <a:cubicBezTo>
                    <a:pt x="38" y="10"/>
                    <a:pt x="32" y="1"/>
                    <a:pt x="27" y="0"/>
                  </a:cubicBezTo>
                  <a:cubicBezTo>
                    <a:pt x="26" y="0"/>
                    <a:pt x="25" y="0"/>
                    <a:pt x="24" y="0"/>
                  </a:cubicBezTo>
                  <a:cubicBezTo>
                    <a:pt x="21" y="5"/>
                    <a:pt x="30" y="14"/>
                    <a:pt x="29" y="21"/>
                  </a:cubicBezTo>
                  <a:cubicBezTo>
                    <a:pt x="19" y="27"/>
                    <a:pt x="17" y="33"/>
                    <a:pt x="11" y="39"/>
                  </a:cubicBezTo>
                  <a:cubicBezTo>
                    <a:pt x="8" y="42"/>
                    <a:pt x="4" y="42"/>
                    <a:pt x="1" y="44"/>
                  </a:cubicBezTo>
                  <a:cubicBezTo>
                    <a:pt x="1" y="45"/>
                    <a:pt x="0" y="46"/>
                    <a:pt x="0" y="47"/>
                  </a:cubicBezTo>
                  <a:cubicBezTo>
                    <a:pt x="11" y="69"/>
                    <a:pt x="23" y="30"/>
                    <a:pt x="35" y="26"/>
                  </a:cubicBezTo>
                  <a:cubicBezTo>
                    <a:pt x="35" y="26"/>
                    <a:pt x="35" y="26"/>
                    <a:pt x="35" y="26"/>
                  </a:cubicBezTo>
                  <a:cubicBezTo>
                    <a:pt x="33" y="33"/>
                    <a:pt x="28" y="39"/>
                    <a:pt x="30" y="48"/>
                  </a:cubicBezTo>
                  <a:cubicBezTo>
                    <a:pt x="30" y="51"/>
                    <a:pt x="37" y="56"/>
                    <a:pt x="40" y="57"/>
                  </a:cubicBezTo>
                  <a:cubicBezTo>
                    <a:pt x="37" y="64"/>
                    <a:pt x="32" y="69"/>
                    <a:pt x="35" y="78"/>
                  </a:cubicBezTo>
                  <a:cubicBezTo>
                    <a:pt x="39" y="79"/>
                    <a:pt x="42" y="80"/>
                    <a:pt x="45" y="82"/>
                  </a:cubicBezTo>
                  <a:cubicBezTo>
                    <a:pt x="46" y="81"/>
                    <a:pt x="46" y="81"/>
                    <a:pt x="47" y="80"/>
                  </a:cubicBezTo>
                  <a:cubicBezTo>
                    <a:pt x="49" y="77"/>
                    <a:pt x="45" y="70"/>
                    <a:pt x="46" y="67"/>
                  </a:cubicBezTo>
                  <a:cubicBezTo>
                    <a:pt x="46" y="66"/>
                    <a:pt x="46" y="66"/>
                    <a:pt x="47" y="66"/>
                  </a:cubicBezTo>
                  <a:cubicBezTo>
                    <a:pt x="48" y="67"/>
                    <a:pt x="49" y="71"/>
                    <a:pt x="50" y="73"/>
                  </a:cubicBezTo>
                  <a:cubicBezTo>
                    <a:pt x="52" y="76"/>
                    <a:pt x="55" y="77"/>
                    <a:pt x="58" y="79"/>
                  </a:cubicBezTo>
                  <a:cubicBezTo>
                    <a:pt x="58" y="79"/>
                    <a:pt x="58" y="79"/>
                    <a:pt x="59" y="79"/>
                  </a:cubicBezTo>
                  <a:cubicBezTo>
                    <a:pt x="60" y="72"/>
                    <a:pt x="53" y="64"/>
                    <a:pt x="53" y="57"/>
                  </a:cubicBezTo>
                  <a:cubicBezTo>
                    <a:pt x="54" y="56"/>
                    <a:pt x="55" y="56"/>
                    <a:pt x="56" y="55"/>
                  </a:cubicBezTo>
                  <a:cubicBezTo>
                    <a:pt x="56" y="55"/>
                    <a:pt x="56" y="55"/>
                    <a:pt x="56" y="55"/>
                  </a:cubicBezTo>
                  <a:cubicBezTo>
                    <a:pt x="63" y="60"/>
                    <a:pt x="59" y="67"/>
                    <a:pt x="69" y="69"/>
                  </a:cubicBezTo>
                  <a:cubicBezTo>
                    <a:pt x="71" y="67"/>
                    <a:pt x="72" y="66"/>
                    <a:pt x="74" y="64"/>
                  </a:cubicBezTo>
                  <a:cubicBezTo>
                    <a:pt x="71" y="56"/>
                    <a:pt x="63" y="51"/>
                    <a:pt x="55" y="53"/>
                  </a:cubicBezTo>
                  <a:close/>
                  <a:moveTo>
                    <a:pt x="40" y="46"/>
                  </a:moveTo>
                  <a:cubicBezTo>
                    <a:pt x="40" y="46"/>
                    <a:pt x="39" y="46"/>
                    <a:pt x="39" y="46"/>
                  </a:cubicBezTo>
                  <a:cubicBezTo>
                    <a:pt x="38" y="46"/>
                    <a:pt x="38" y="46"/>
                    <a:pt x="38" y="46"/>
                  </a:cubicBezTo>
                  <a:cubicBezTo>
                    <a:pt x="38" y="45"/>
                    <a:pt x="37" y="45"/>
                    <a:pt x="37" y="44"/>
                  </a:cubicBezTo>
                  <a:cubicBezTo>
                    <a:pt x="39" y="41"/>
                    <a:pt x="42" y="39"/>
                    <a:pt x="44" y="36"/>
                  </a:cubicBezTo>
                  <a:cubicBezTo>
                    <a:pt x="45" y="36"/>
                    <a:pt x="45" y="35"/>
                    <a:pt x="46" y="35"/>
                  </a:cubicBezTo>
                  <a:cubicBezTo>
                    <a:pt x="46" y="35"/>
                    <a:pt x="46" y="35"/>
                    <a:pt x="46" y="35"/>
                  </a:cubicBezTo>
                  <a:cubicBezTo>
                    <a:pt x="44" y="39"/>
                    <a:pt x="42" y="42"/>
                    <a:pt x="40" y="4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15" name="ïşḻíḍe"/>
            <p:cNvSpPr/>
            <p:nvPr/>
          </p:nvSpPr>
          <p:spPr bwMode="auto">
            <a:xfrm>
              <a:off x="1882672" y="4669428"/>
              <a:ext cx="160338" cy="169863"/>
            </a:xfrm>
            <a:custGeom>
              <a:avLst/>
              <a:gdLst>
                <a:gd name="T0" fmla="*/ 29 w 87"/>
                <a:gd name="T1" fmla="*/ 8 h 92"/>
                <a:gd name="T2" fmla="*/ 52 w 87"/>
                <a:gd name="T3" fmla="*/ 17 h 92"/>
                <a:gd name="T4" fmla="*/ 61 w 87"/>
                <a:gd name="T5" fmla="*/ 16 h 92"/>
                <a:gd name="T6" fmla="*/ 62 w 87"/>
                <a:gd name="T7" fmla="*/ 17 h 92"/>
                <a:gd name="T8" fmla="*/ 69 w 87"/>
                <a:gd name="T9" fmla="*/ 42 h 92"/>
                <a:gd name="T10" fmla="*/ 86 w 87"/>
                <a:gd name="T11" fmla="*/ 35 h 92"/>
                <a:gd name="T12" fmla="*/ 87 w 87"/>
                <a:gd name="T13" fmla="*/ 39 h 92"/>
                <a:gd name="T14" fmla="*/ 76 w 87"/>
                <a:gd name="T15" fmla="*/ 55 h 92"/>
                <a:gd name="T16" fmla="*/ 67 w 87"/>
                <a:gd name="T17" fmla="*/ 76 h 92"/>
                <a:gd name="T18" fmla="*/ 65 w 87"/>
                <a:gd name="T19" fmla="*/ 74 h 92"/>
                <a:gd name="T20" fmla="*/ 69 w 87"/>
                <a:gd name="T21" fmla="*/ 53 h 92"/>
                <a:gd name="T22" fmla="*/ 55 w 87"/>
                <a:gd name="T23" fmla="*/ 40 h 92"/>
                <a:gd name="T24" fmla="*/ 45 w 87"/>
                <a:gd name="T25" fmla="*/ 44 h 92"/>
                <a:gd name="T26" fmla="*/ 46 w 87"/>
                <a:gd name="T27" fmla="*/ 89 h 92"/>
                <a:gd name="T28" fmla="*/ 38 w 87"/>
                <a:gd name="T29" fmla="*/ 92 h 92"/>
                <a:gd name="T30" fmla="*/ 27 w 87"/>
                <a:gd name="T31" fmla="*/ 68 h 92"/>
                <a:gd name="T32" fmla="*/ 14 w 87"/>
                <a:gd name="T33" fmla="*/ 70 h 92"/>
                <a:gd name="T34" fmla="*/ 12 w 87"/>
                <a:gd name="T35" fmla="*/ 65 h 92"/>
                <a:gd name="T36" fmla="*/ 18 w 87"/>
                <a:gd name="T37" fmla="*/ 58 h 92"/>
                <a:gd name="T38" fmla="*/ 0 w 87"/>
                <a:gd name="T39" fmla="*/ 42 h 92"/>
                <a:gd name="T40" fmla="*/ 0 w 87"/>
                <a:gd name="T41" fmla="*/ 42 h 92"/>
                <a:gd name="T42" fmla="*/ 21 w 87"/>
                <a:gd name="T43" fmla="*/ 39 h 92"/>
                <a:gd name="T44" fmla="*/ 27 w 87"/>
                <a:gd name="T45" fmla="*/ 48 h 92"/>
                <a:gd name="T46" fmla="*/ 34 w 87"/>
                <a:gd name="T47" fmla="*/ 52 h 92"/>
                <a:gd name="T48" fmla="*/ 36 w 87"/>
                <a:gd name="T49" fmla="*/ 62 h 92"/>
                <a:gd name="T50" fmla="*/ 39 w 87"/>
                <a:gd name="T51" fmla="*/ 44 h 92"/>
                <a:gd name="T52" fmla="*/ 46 w 87"/>
                <a:gd name="T53" fmla="*/ 28 h 92"/>
                <a:gd name="T54" fmla="*/ 29 w 87"/>
                <a:gd name="T55" fmla="*/ 8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87" h="92">
                  <a:moveTo>
                    <a:pt x="29" y="8"/>
                  </a:moveTo>
                  <a:cubicBezTo>
                    <a:pt x="42" y="0"/>
                    <a:pt x="43" y="12"/>
                    <a:pt x="52" y="17"/>
                  </a:cubicBezTo>
                  <a:cubicBezTo>
                    <a:pt x="55" y="15"/>
                    <a:pt x="58" y="15"/>
                    <a:pt x="61" y="16"/>
                  </a:cubicBezTo>
                  <a:cubicBezTo>
                    <a:pt x="61" y="16"/>
                    <a:pt x="62" y="17"/>
                    <a:pt x="62" y="17"/>
                  </a:cubicBezTo>
                  <a:cubicBezTo>
                    <a:pt x="62" y="26"/>
                    <a:pt x="58" y="33"/>
                    <a:pt x="69" y="42"/>
                  </a:cubicBezTo>
                  <a:cubicBezTo>
                    <a:pt x="75" y="35"/>
                    <a:pt x="80" y="33"/>
                    <a:pt x="86" y="35"/>
                  </a:cubicBezTo>
                  <a:cubicBezTo>
                    <a:pt x="87" y="36"/>
                    <a:pt x="87" y="38"/>
                    <a:pt x="87" y="39"/>
                  </a:cubicBezTo>
                  <a:cubicBezTo>
                    <a:pt x="83" y="45"/>
                    <a:pt x="80" y="50"/>
                    <a:pt x="76" y="55"/>
                  </a:cubicBezTo>
                  <a:cubicBezTo>
                    <a:pt x="71" y="62"/>
                    <a:pt x="71" y="70"/>
                    <a:pt x="67" y="76"/>
                  </a:cubicBezTo>
                  <a:cubicBezTo>
                    <a:pt x="66" y="75"/>
                    <a:pt x="66" y="75"/>
                    <a:pt x="65" y="74"/>
                  </a:cubicBezTo>
                  <a:cubicBezTo>
                    <a:pt x="63" y="66"/>
                    <a:pt x="67" y="60"/>
                    <a:pt x="69" y="53"/>
                  </a:cubicBezTo>
                  <a:cubicBezTo>
                    <a:pt x="64" y="51"/>
                    <a:pt x="60" y="46"/>
                    <a:pt x="55" y="40"/>
                  </a:cubicBezTo>
                  <a:cubicBezTo>
                    <a:pt x="52" y="42"/>
                    <a:pt x="49" y="41"/>
                    <a:pt x="45" y="44"/>
                  </a:cubicBezTo>
                  <a:cubicBezTo>
                    <a:pt x="40" y="59"/>
                    <a:pt x="48" y="75"/>
                    <a:pt x="46" y="89"/>
                  </a:cubicBezTo>
                  <a:cubicBezTo>
                    <a:pt x="43" y="92"/>
                    <a:pt x="41" y="91"/>
                    <a:pt x="38" y="92"/>
                  </a:cubicBezTo>
                  <a:cubicBezTo>
                    <a:pt x="31" y="83"/>
                    <a:pt x="33" y="76"/>
                    <a:pt x="27" y="68"/>
                  </a:cubicBezTo>
                  <a:cubicBezTo>
                    <a:pt x="23" y="71"/>
                    <a:pt x="18" y="71"/>
                    <a:pt x="14" y="70"/>
                  </a:cubicBezTo>
                  <a:cubicBezTo>
                    <a:pt x="12" y="68"/>
                    <a:pt x="12" y="67"/>
                    <a:pt x="12" y="65"/>
                  </a:cubicBezTo>
                  <a:cubicBezTo>
                    <a:pt x="14" y="63"/>
                    <a:pt x="16" y="60"/>
                    <a:pt x="18" y="58"/>
                  </a:cubicBezTo>
                  <a:cubicBezTo>
                    <a:pt x="13" y="49"/>
                    <a:pt x="3" y="48"/>
                    <a:pt x="0" y="42"/>
                  </a:cubicBezTo>
                  <a:cubicBezTo>
                    <a:pt x="0" y="42"/>
                    <a:pt x="0" y="42"/>
                    <a:pt x="0" y="42"/>
                  </a:cubicBezTo>
                  <a:cubicBezTo>
                    <a:pt x="6" y="39"/>
                    <a:pt x="15" y="35"/>
                    <a:pt x="21" y="39"/>
                  </a:cubicBezTo>
                  <a:cubicBezTo>
                    <a:pt x="23" y="42"/>
                    <a:pt x="25" y="45"/>
                    <a:pt x="27" y="48"/>
                  </a:cubicBezTo>
                  <a:cubicBezTo>
                    <a:pt x="29" y="50"/>
                    <a:pt x="31" y="51"/>
                    <a:pt x="34" y="52"/>
                  </a:cubicBezTo>
                  <a:cubicBezTo>
                    <a:pt x="34" y="55"/>
                    <a:pt x="35" y="58"/>
                    <a:pt x="36" y="62"/>
                  </a:cubicBezTo>
                  <a:cubicBezTo>
                    <a:pt x="39" y="56"/>
                    <a:pt x="38" y="50"/>
                    <a:pt x="39" y="44"/>
                  </a:cubicBezTo>
                  <a:cubicBezTo>
                    <a:pt x="42" y="39"/>
                    <a:pt x="44" y="34"/>
                    <a:pt x="46" y="28"/>
                  </a:cubicBezTo>
                  <a:cubicBezTo>
                    <a:pt x="42" y="22"/>
                    <a:pt x="31" y="15"/>
                    <a:pt x="29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16" name="íṩľíḑè"/>
            <p:cNvSpPr/>
            <p:nvPr/>
          </p:nvSpPr>
          <p:spPr bwMode="auto">
            <a:xfrm>
              <a:off x="2243034" y="6066428"/>
              <a:ext cx="22225" cy="25400"/>
            </a:xfrm>
            <a:custGeom>
              <a:avLst/>
              <a:gdLst>
                <a:gd name="T0" fmla="*/ 0 w 14"/>
                <a:gd name="T1" fmla="*/ 12 h 16"/>
                <a:gd name="T2" fmla="*/ 2 w 14"/>
                <a:gd name="T3" fmla="*/ 0 h 16"/>
                <a:gd name="T4" fmla="*/ 14 w 14"/>
                <a:gd name="T5" fmla="*/ 4 h 16"/>
                <a:gd name="T6" fmla="*/ 11 w 14"/>
                <a:gd name="T7" fmla="*/ 16 h 16"/>
                <a:gd name="T8" fmla="*/ 0 w 14"/>
                <a:gd name="T9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" h="16">
                  <a:moveTo>
                    <a:pt x="0" y="12"/>
                  </a:moveTo>
                  <a:lnTo>
                    <a:pt x="2" y="0"/>
                  </a:lnTo>
                  <a:lnTo>
                    <a:pt x="14" y="4"/>
                  </a:lnTo>
                  <a:lnTo>
                    <a:pt x="11" y="16"/>
                  </a:lnTo>
                  <a:lnTo>
                    <a:pt x="0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17" name="îṣḷïḓê"/>
            <p:cNvSpPr/>
            <p:nvPr/>
          </p:nvSpPr>
          <p:spPr bwMode="auto">
            <a:xfrm>
              <a:off x="2292247" y="6042615"/>
              <a:ext cx="49213" cy="100013"/>
            </a:xfrm>
            <a:custGeom>
              <a:avLst/>
              <a:gdLst>
                <a:gd name="T0" fmla="*/ 17 w 27"/>
                <a:gd name="T1" fmla="*/ 54 h 54"/>
                <a:gd name="T2" fmla="*/ 7 w 27"/>
                <a:gd name="T3" fmla="*/ 52 h 54"/>
                <a:gd name="T4" fmla="*/ 14 w 27"/>
                <a:gd name="T5" fmla="*/ 15 h 54"/>
                <a:gd name="T6" fmla="*/ 0 w 27"/>
                <a:gd name="T7" fmla="*/ 20 h 54"/>
                <a:gd name="T8" fmla="*/ 1 w 27"/>
                <a:gd name="T9" fmla="*/ 11 h 54"/>
                <a:gd name="T10" fmla="*/ 11 w 27"/>
                <a:gd name="T11" fmla="*/ 7 h 54"/>
                <a:gd name="T12" fmla="*/ 18 w 27"/>
                <a:gd name="T13" fmla="*/ 0 h 54"/>
                <a:gd name="T14" fmla="*/ 27 w 27"/>
                <a:gd name="T15" fmla="*/ 2 h 54"/>
                <a:gd name="T16" fmla="*/ 17 w 27"/>
                <a:gd name="T17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7" h="54">
                  <a:moveTo>
                    <a:pt x="17" y="54"/>
                  </a:moveTo>
                  <a:cubicBezTo>
                    <a:pt x="7" y="52"/>
                    <a:pt x="7" y="52"/>
                    <a:pt x="7" y="52"/>
                  </a:cubicBezTo>
                  <a:cubicBezTo>
                    <a:pt x="14" y="15"/>
                    <a:pt x="14" y="15"/>
                    <a:pt x="14" y="15"/>
                  </a:cubicBezTo>
                  <a:cubicBezTo>
                    <a:pt x="10" y="17"/>
                    <a:pt x="5" y="19"/>
                    <a:pt x="0" y="20"/>
                  </a:cubicBezTo>
                  <a:cubicBezTo>
                    <a:pt x="1" y="11"/>
                    <a:pt x="1" y="11"/>
                    <a:pt x="1" y="11"/>
                  </a:cubicBezTo>
                  <a:cubicBezTo>
                    <a:pt x="4" y="10"/>
                    <a:pt x="7" y="9"/>
                    <a:pt x="11" y="7"/>
                  </a:cubicBezTo>
                  <a:cubicBezTo>
                    <a:pt x="14" y="6"/>
                    <a:pt x="17" y="3"/>
                    <a:pt x="18" y="0"/>
                  </a:cubicBezTo>
                  <a:cubicBezTo>
                    <a:pt x="27" y="2"/>
                    <a:pt x="27" y="2"/>
                    <a:pt x="27" y="2"/>
                  </a:cubicBezTo>
                  <a:lnTo>
                    <a:pt x="17" y="5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18" name="i$ḻîḓé"/>
            <p:cNvSpPr/>
            <p:nvPr/>
          </p:nvSpPr>
          <p:spPr bwMode="auto">
            <a:xfrm>
              <a:off x="2363684" y="6052140"/>
              <a:ext cx="66675" cy="100013"/>
            </a:xfrm>
            <a:custGeom>
              <a:avLst/>
              <a:gdLst>
                <a:gd name="T0" fmla="*/ 0 w 36"/>
                <a:gd name="T1" fmla="*/ 40 h 54"/>
                <a:gd name="T2" fmla="*/ 10 w 36"/>
                <a:gd name="T3" fmla="*/ 39 h 54"/>
                <a:gd name="T4" fmla="*/ 11 w 36"/>
                <a:gd name="T5" fmla="*/ 44 h 54"/>
                <a:gd name="T6" fmla="*/ 15 w 36"/>
                <a:gd name="T7" fmla="*/ 46 h 54"/>
                <a:gd name="T8" fmla="*/ 21 w 36"/>
                <a:gd name="T9" fmla="*/ 43 h 54"/>
                <a:gd name="T10" fmla="*/ 24 w 36"/>
                <a:gd name="T11" fmla="*/ 31 h 54"/>
                <a:gd name="T12" fmla="*/ 15 w 36"/>
                <a:gd name="T13" fmla="*/ 35 h 54"/>
                <a:gd name="T14" fmla="*/ 4 w 36"/>
                <a:gd name="T15" fmla="*/ 30 h 54"/>
                <a:gd name="T16" fmla="*/ 0 w 36"/>
                <a:gd name="T17" fmla="*/ 17 h 54"/>
                <a:gd name="T18" fmla="*/ 6 w 36"/>
                <a:gd name="T19" fmla="*/ 4 h 54"/>
                <a:gd name="T20" fmla="*/ 19 w 36"/>
                <a:gd name="T21" fmla="*/ 0 h 54"/>
                <a:gd name="T22" fmla="*/ 31 w 36"/>
                <a:gd name="T23" fmla="*/ 7 h 54"/>
                <a:gd name="T24" fmla="*/ 35 w 36"/>
                <a:gd name="T25" fmla="*/ 28 h 54"/>
                <a:gd name="T26" fmla="*/ 28 w 36"/>
                <a:gd name="T27" fmla="*/ 49 h 54"/>
                <a:gd name="T28" fmla="*/ 14 w 36"/>
                <a:gd name="T29" fmla="*/ 54 h 54"/>
                <a:gd name="T30" fmla="*/ 4 w 36"/>
                <a:gd name="T31" fmla="*/ 50 h 54"/>
                <a:gd name="T32" fmla="*/ 0 w 36"/>
                <a:gd name="T33" fmla="*/ 40 h 54"/>
                <a:gd name="T34" fmla="*/ 24 w 36"/>
                <a:gd name="T35" fmla="*/ 19 h 54"/>
                <a:gd name="T36" fmla="*/ 23 w 36"/>
                <a:gd name="T37" fmla="*/ 11 h 54"/>
                <a:gd name="T38" fmla="*/ 18 w 36"/>
                <a:gd name="T39" fmla="*/ 8 h 54"/>
                <a:gd name="T40" fmla="*/ 13 w 36"/>
                <a:gd name="T41" fmla="*/ 10 h 54"/>
                <a:gd name="T42" fmla="*/ 10 w 36"/>
                <a:gd name="T43" fmla="*/ 17 h 54"/>
                <a:gd name="T44" fmla="*/ 12 w 36"/>
                <a:gd name="T45" fmla="*/ 25 h 54"/>
                <a:gd name="T46" fmla="*/ 17 w 36"/>
                <a:gd name="T47" fmla="*/ 28 h 54"/>
                <a:gd name="T48" fmla="*/ 22 w 36"/>
                <a:gd name="T49" fmla="*/ 26 h 54"/>
                <a:gd name="T50" fmla="*/ 24 w 36"/>
                <a:gd name="T51" fmla="*/ 19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36" h="54">
                  <a:moveTo>
                    <a:pt x="0" y="40"/>
                  </a:moveTo>
                  <a:cubicBezTo>
                    <a:pt x="10" y="39"/>
                    <a:pt x="10" y="39"/>
                    <a:pt x="10" y="39"/>
                  </a:cubicBezTo>
                  <a:cubicBezTo>
                    <a:pt x="10" y="41"/>
                    <a:pt x="10" y="43"/>
                    <a:pt x="11" y="44"/>
                  </a:cubicBezTo>
                  <a:cubicBezTo>
                    <a:pt x="12" y="45"/>
                    <a:pt x="14" y="46"/>
                    <a:pt x="15" y="46"/>
                  </a:cubicBezTo>
                  <a:cubicBezTo>
                    <a:pt x="17" y="46"/>
                    <a:pt x="19" y="45"/>
                    <a:pt x="21" y="43"/>
                  </a:cubicBezTo>
                  <a:cubicBezTo>
                    <a:pt x="22" y="41"/>
                    <a:pt x="24" y="37"/>
                    <a:pt x="24" y="31"/>
                  </a:cubicBezTo>
                  <a:cubicBezTo>
                    <a:pt x="22" y="34"/>
                    <a:pt x="18" y="35"/>
                    <a:pt x="15" y="35"/>
                  </a:cubicBezTo>
                  <a:cubicBezTo>
                    <a:pt x="10" y="35"/>
                    <a:pt x="7" y="33"/>
                    <a:pt x="4" y="30"/>
                  </a:cubicBezTo>
                  <a:cubicBezTo>
                    <a:pt x="1" y="26"/>
                    <a:pt x="0" y="22"/>
                    <a:pt x="0" y="17"/>
                  </a:cubicBezTo>
                  <a:cubicBezTo>
                    <a:pt x="1" y="11"/>
                    <a:pt x="3" y="7"/>
                    <a:pt x="6" y="4"/>
                  </a:cubicBezTo>
                  <a:cubicBezTo>
                    <a:pt x="10" y="1"/>
                    <a:pt x="14" y="0"/>
                    <a:pt x="19" y="0"/>
                  </a:cubicBezTo>
                  <a:cubicBezTo>
                    <a:pt x="24" y="0"/>
                    <a:pt x="28" y="3"/>
                    <a:pt x="31" y="7"/>
                  </a:cubicBezTo>
                  <a:cubicBezTo>
                    <a:pt x="35" y="12"/>
                    <a:pt x="36" y="19"/>
                    <a:pt x="35" y="28"/>
                  </a:cubicBezTo>
                  <a:cubicBezTo>
                    <a:pt x="34" y="38"/>
                    <a:pt x="32" y="44"/>
                    <a:pt x="28" y="49"/>
                  </a:cubicBezTo>
                  <a:cubicBezTo>
                    <a:pt x="24" y="53"/>
                    <a:pt x="20" y="54"/>
                    <a:pt x="14" y="54"/>
                  </a:cubicBezTo>
                  <a:cubicBezTo>
                    <a:pt x="10" y="54"/>
                    <a:pt x="7" y="52"/>
                    <a:pt x="4" y="50"/>
                  </a:cubicBezTo>
                  <a:cubicBezTo>
                    <a:pt x="2" y="48"/>
                    <a:pt x="0" y="44"/>
                    <a:pt x="0" y="40"/>
                  </a:cubicBezTo>
                  <a:close/>
                  <a:moveTo>
                    <a:pt x="24" y="19"/>
                  </a:moveTo>
                  <a:cubicBezTo>
                    <a:pt x="25" y="16"/>
                    <a:pt x="24" y="13"/>
                    <a:pt x="23" y="11"/>
                  </a:cubicBezTo>
                  <a:cubicBezTo>
                    <a:pt x="21" y="10"/>
                    <a:pt x="20" y="9"/>
                    <a:pt x="18" y="8"/>
                  </a:cubicBezTo>
                  <a:cubicBezTo>
                    <a:pt x="16" y="8"/>
                    <a:pt x="14" y="9"/>
                    <a:pt x="13" y="10"/>
                  </a:cubicBezTo>
                  <a:cubicBezTo>
                    <a:pt x="11" y="12"/>
                    <a:pt x="11" y="14"/>
                    <a:pt x="10" y="17"/>
                  </a:cubicBezTo>
                  <a:cubicBezTo>
                    <a:pt x="10" y="21"/>
                    <a:pt x="11" y="23"/>
                    <a:pt x="12" y="25"/>
                  </a:cubicBezTo>
                  <a:cubicBezTo>
                    <a:pt x="13" y="27"/>
                    <a:pt x="15" y="28"/>
                    <a:pt x="17" y="28"/>
                  </a:cubicBezTo>
                  <a:cubicBezTo>
                    <a:pt x="19" y="28"/>
                    <a:pt x="20" y="27"/>
                    <a:pt x="22" y="26"/>
                  </a:cubicBezTo>
                  <a:cubicBezTo>
                    <a:pt x="23" y="24"/>
                    <a:pt x="24" y="22"/>
                    <a:pt x="24" y="1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19" name="îṧľîḋé"/>
            <p:cNvSpPr/>
            <p:nvPr/>
          </p:nvSpPr>
          <p:spPr bwMode="auto">
            <a:xfrm>
              <a:off x="2446234" y="6053728"/>
              <a:ext cx="66675" cy="100013"/>
            </a:xfrm>
            <a:custGeom>
              <a:avLst/>
              <a:gdLst>
                <a:gd name="T0" fmla="*/ 0 w 36"/>
                <a:gd name="T1" fmla="*/ 40 h 54"/>
                <a:gd name="T2" fmla="*/ 10 w 36"/>
                <a:gd name="T3" fmla="*/ 39 h 54"/>
                <a:gd name="T4" fmla="*/ 13 w 36"/>
                <a:gd name="T5" fmla="*/ 44 h 54"/>
                <a:gd name="T6" fmla="*/ 18 w 36"/>
                <a:gd name="T7" fmla="*/ 46 h 54"/>
                <a:gd name="T8" fmla="*/ 23 w 36"/>
                <a:gd name="T9" fmla="*/ 43 h 54"/>
                <a:gd name="T10" fmla="*/ 25 w 36"/>
                <a:gd name="T11" fmla="*/ 35 h 54"/>
                <a:gd name="T12" fmla="*/ 23 w 36"/>
                <a:gd name="T13" fmla="*/ 28 h 54"/>
                <a:gd name="T14" fmla="*/ 17 w 36"/>
                <a:gd name="T15" fmla="*/ 26 h 54"/>
                <a:gd name="T16" fmla="*/ 9 w 36"/>
                <a:gd name="T17" fmla="*/ 30 h 54"/>
                <a:gd name="T18" fmla="*/ 1 w 36"/>
                <a:gd name="T19" fmla="*/ 29 h 54"/>
                <a:gd name="T20" fmla="*/ 5 w 36"/>
                <a:gd name="T21" fmla="*/ 1 h 54"/>
                <a:gd name="T22" fmla="*/ 32 w 36"/>
                <a:gd name="T23" fmla="*/ 0 h 54"/>
                <a:gd name="T24" fmla="*/ 32 w 36"/>
                <a:gd name="T25" fmla="*/ 10 h 54"/>
                <a:gd name="T26" fmla="*/ 13 w 36"/>
                <a:gd name="T27" fmla="*/ 10 h 54"/>
                <a:gd name="T28" fmla="*/ 12 w 36"/>
                <a:gd name="T29" fmla="*/ 19 h 54"/>
                <a:gd name="T30" fmla="*/ 19 w 36"/>
                <a:gd name="T31" fmla="*/ 17 h 54"/>
                <a:gd name="T32" fmla="*/ 30 w 36"/>
                <a:gd name="T33" fmla="*/ 22 h 54"/>
                <a:gd name="T34" fmla="*/ 36 w 36"/>
                <a:gd name="T35" fmla="*/ 34 h 54"/>
                <a:gd name="T36" fmla="*/ 32 w 36"/>
                <a:gd name="T37" fmla="*/ 46 h 54"/>
                <a:gd name="T38" fmla="*/ 18 w 36"/>
                <a:gd name="T39" fmla="*/ 54 h 54"/>
                <a:gd name="T40" fmla="*/ 6 w 36"/>
                <a:gd name="T41" fmla="*/ 50 h 54"/>
                <a:gd name="T42" fmla="*/ 0 w 36"/>
                <a:gd name="T43" fmla="*/ 40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36" h="54">
                  <a:moveTo>
                    <a:pt x="0" y="40"/>
                  </a:moveTo>
                  <a:cubicBezTo>
                    <a:pt x="10" y="39"/>
                    <a:pt x="10" y="39"/>
                    <a:pt x="10" y="39"/>
                  </a:cubicBezTo>
                  <a:cubicBezTo>
                    <a:pt x="11" y="41"/>
                    <a:pt x="11" y="43"/>
                    <a:pt x="13" y="44"/>
                  </a:cubicBezTo>
                  <a:cubicBezTo>
                    <a:pt x="14" y="45"/>
                    <a:pt x="16" y="46"/>
                    <a:pt x="18" y="46"/>
                  </a:cubicBezTo>
                  <a:cubicBezTo>
                    <a:pt x="20" y="46"/>
                    <a:pt x="22" y="45"/>
                    <a:pt x="23" y="43"/>
                  </a:cubicBezTo>
                  <a:cubicBezTo>
                    <a:pt x="25" y="41"/>
                    <a:pt x="25" y="38"/>
                    <a:pt x="25" y="35"/>
                  </a:cubicBezTo>
                  <a:cubicBezTo>
                    <a:pt x="25" y="32"/>
                    <a:pt x="24" y="29"/>
                    <a:pt x="23" y="28"/>
                  </a:cubicBezTo>
                  <a:cubicBezTo>
                    <a:pt x="21" y="26"/>
                    <a:pt x="19" y="25"/>
                    <a:pt x="17" y="26"/>
                  </a:cubicBezTo>
                  <a:cubicBezTo>
                    <a:pt x="14" y="26"/>
                    <a:pt x="11" y="27"/>
                    <a:pt x="9" y="30"/>
                  </a:cubicBezTo>
                  <a:cubicBezTo>
                    <a:pt x="1" y="29"/>
                    <a:pt x="1" y="29"/>
                    <a:pt x="1" y="29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2" y="10"/>
                    <a:pt x="32" y="10"/>
                    <a:pt x="32" y="10"/>
                  </a:cubicBezTo>
                  <a:cubicBezTo>
                    <a:pt x="13" y="10"/>
                    <a:pt x="13" y="10"/>
                    <a:pt x="13" y="10"/>
                  </a:cubicBezTo>
                  <a:cubicBezTo>
                    <a:pt x="12" y="19"/>
                    <a:pt x="12" y="19"/>
                    <a:pt x="12" y="19"/>
                  </a:cubicBezTo>
                  <a:cubicBezTo>
                    <a:pt x="14" y="18"/>
                    <a:pt x="16" y="17"/>
                    <a:pt x="19" y="17"/>
                  </a:cubicBezTo>
                  <a:cubicBezTo>
                    <a:pt x="23" y="17"/>
                    <a:pt x="27" y="19"/>
                    <a:pt x="30" y="22"/>
                  </a:cubicBezTo>
                  <a:cubicBezTo>
                    <a:pt x="34" y="25"/>
                    <a:pt x="35" y="29"/>
                    <a:pt x="36" y="34"/>
                  </a:cubicBezTo>
                  <a:cubicBezTo>
                    <a:pt x="36" y="39"/>
                    <a:pt x="35" y="43"/>
                    <a:pt x="32" y="46"/>
                  </a:cubicBezTo>
                  <a:cubicBezTo>
                    <a:pt x="29" y="51"/>
                    <a:pt x="24" y="54"/>
                    <a:pt x="18" y="54"/>
                  </a:cubicBezTo>
                  <a:cubicBezTo>
                    <a:pt x="13" y="54"/>
                    <a:pt x="9" y="53"/>
                    <a:pt x="6" y="50"/>
                  </a:cubicBezTo>
                  <a:cubicBezTo>
                    <a:pt x="3" y="48"/>
                    <a:pt x="1" y="44"/>
                    <a:pt x="0" y="4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20" name="i$ḻïḑê"/>
            <p:cNvSpPr/>
            <p:nvPr/>
          </p:nvSpPr>
          <p:spPr bwMode="auto">
            <a:xfrm>
              <a:off x="2522434" y="6045790"/>
              <a:ext cx="74613" cy="103188"/>
            </a:xfrm>
            <a:custGeom>
              <a:avLst/>
              <a:gdLst>
                <a:gd name="T0" fmla="*/ 39 w 40"/>
                <a:gd name="T1" fmla="*/ 42 h 56"/>
                <a:gd name="T2" fmla="*/ 40 w 40"/>
                <a:gd name="T3" fmla="*/ 51 h 56"/>
                <a:gd name="T4" fmla="*/ 5 w 40"/>
                <a:gd name="T5" fmla="*/ 56 h 56"/>
                <a:gd name="T6" fmla="*/ 7 w 40"/>
                <a:gd name="T7" fmla="*/ 46 h 56"/>
                <a:gd name="T8" fmla="*/ 16 w 40"/>
                <a:gd name="T9" fmla="*/ 32 h 56"/>
                <a:gd name="T10" fmla="*/ 23 w 40"/>
                <a:gd name="T11" fmla="*/ 22 h 56"/>
                <a:gd name="T12" fmla="*/ 24 w 40"/>
                <a:gd name="T13" fmla="*/ 15 h 56"/>
                <a:gd name="T14" fmla="*/ 22 w 40"/>
                <a:gd name="T15" fmla="*/ 10 h 56"/>
                <a:gd name="T16" fmla="*/ 17 w 40"/>
                <a:gd name="T17" fmla="*/ 9 h 56"/>
                <a:gd name="T18" fmla="*/ 12 w 40"/>
                <a:gd name="T19" fmla="*/ 12 h 56"/>
                <a:gd name="T20" fmla="*/ 11 w 40"/>
                <a:gd name="T21" fmla="*/ 19 h 56"/>
                <a:gd name="T22" fmla="*/ 1 w 40"/>
                <a:gd name="T23" fmla="*/ 19 h 56"/>
                <a:gd name="T24" fmla="*/ 4 w 40"/>
                <a:gd name="T25" fmla="*/ 6 h 56"/>
                <a:gd name="T26" fmla="*/ 16 w 40"/>
                <a:gd name="T27" fmla="*/ 1 h 56"/>
                <a:gd name="T28" fmla="*/ 28 w 40"/>
                <a:gd name="T29" fmla="*/ 3 h 56"/>
                <a:gd name="T30" fmla="*/ 34 w 40"/>
                <a:gd name="T31" fmla="*/ 13 h 56"/>
                <a:gd name="T32" fmla="*/ 34 w 40"/>
                <a:gd name="T33" fmla="*/ 20 h 56"/>
                <a:gd name="T34" fmla="*/ 31 w 40"/>
                <a:gd name="T35" fmla="*/ 27 h 56"/>
                <a:gd name="T36" fmla="*/ 26 w 40"/>
                <a:gd name="T37" fmla="*/ 35 h 56"/>
                <a:gd name="T38" fmla="*/ 20 w 40"/>
                <a:gd name="T39" fmla="*/ 42 h 56"/>
                <a:gd name="T40" fmla="*/ 19 w 40"/>
                <a:gd name="T41" fmla="*/ 45 h 56"/>
                <a:gd name="T42" fmla="*/ 39 w 40"/>
                <a:gd name="T43" fmla="*/ 42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40" h="56">
                  <a:moveTo>
                    <a:pt x="39" y="42"/>
                  </a:moveTo>
                  <a:cubicBezTo>
                    <a:pt x="40" y="51"/>
                    <a:pt x="40" y="51"/>
                    <a:pt x="40" y="51"/>
                  </a:cubicBezTo>
                  <a:cubicBezTo>
                    <a:pt x="5" y="56"/>
                    <a:pt x="5" y="56"/>
                    <a:pt x="5" y="56"/>
                  </a:cubicBezTo>
                  <a:cubicBezTo>
                    <a:pt x="5" y="53"/>
                    <a:pt x="5" y="49"/>
                    <a:pt x="7" y="46"/>
                  </a:cubicBezTo>
                  <a:cubicBezTo>
                    <a:pt x="8" y="42"/>
                    <a:pt x="11" y="38"/>
                    <a:pt x="16" y="32"/>
                  </a:cubicBezTo>
                  <a:cubicBezTo>
                    <a:pt x="20" y="27"/>
                    <a:pt x="22" y="23"/>
                    <a:pt x="23" y="22"/>
                  </a:cubicBezTo>
                  <a:cubicBezTo>
                    <a:pt x="24" y="19"/>
                    <a:pt x="25" y="17"/>
                    <a:pt x="24" y="15"/>
                  </a:cubicBezTo>
                  <a:cubicBezTo>
                    <a:pt x="24" y="13"/>
                    <a:pt x="23" y="11"/>
                    <a:pt x="22" y="10"/>
                  </a:cubicBezTo>
                  <a:cubicBezTo>
                    <a:pt x="21" y="9"/>
                    <a:pt x="19" y="9"/>
                    <a:pt x="17" y="9"/>
                  </a:cubicBezTo>
                  <a:cubicBezTo>
                    <a:pt x="15" y="10"/>
                    <a:pt x="13" y="11"/>
                    <a:pt x="12" y="12"/>
                  </a:cubicBezTo>
                  <a:cubicBezTo>
                    <a:pt x="11" y="13"/>
                    <a:pt x="10" y="16"/>
                    <a:pt x="11" y="19"/>
                  </a:cubicBezTo>
                  <a:cubicBezTo>
                    <a:pt x="1" y="19"/>
                    <a:pt x="1" y="19"/>
                    <a:pt x="1" y="19"/>
                  </a:cubicBezTo>
                  <a:cubicBezTo>
                    <a:pt x="0" y="13"/>
                    <a:pt x="2" y="9"/>
                    <a:pt x="4" y="6"/>
                  </a:cubicBezTo>
                  <a:cubicBezTo>
                    <a:pt x="7" y="3"/>
                    <a:pt x="11" y="2"/>
                    <a:pt x="16" y="1"/>
                  </a:cubicBezTo>
                  <a:cubicBezTo>
                    <a:pt x="21" y="0"/>
                    <a:pt x="25" y="1"/>
                    <a:pt x="28" y="3"/>
                  </a:cubicBezTo>
                  <a:cubicBezTo>
                    <a:pt x="32" y="6"/>
                    <a:pt x="34" y="9"/>
                    <a:pt x="34" y="13"/>
                  </a:cubicBezTo>
                  <a:cubicBezTo>
                    <a:pt x="35" y="15"/>
                    <a:pt x="35" y="18"/>
                    <a:pt x="34" y="20"/>
                  </a:cubicBezTo>
                  <a:cubicBezTo>
                    <a:pt x="34" y="22"/>
                    <a:pt x="33" y="25"/>
                    <a:pt x="31" y="27"/>
                  </a:cubicBezTo>
                  <a:cubicBezTo>
                    <a:pt x="30" y="29"/>
                    <a:pt x="28" y="32"/>
                    <a:pt x="26" y="35"/>
                  </a:cubicBezTo>
                  <a:cubicBezTo>
                    <a:pt x="23" y="38"/>
                    <a:pt x="21" y="41"/>
                    <a:pt x="20" y="42"/>
                  </a:cubicBezTo>
                  <a:cubicBezTo>
                    <a:pt x="20" y="43"/>
                    <a:pt x="19" y="44"/>
                    <a:pt x="19" y="45"/>
                  </a:cubicBezTo>
                  <a:lnTo>
                    <a:pt x="39" y="4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21" name="íṧlíḍe"/>
            <p:cNvSpPr/>
            <p:nvPr/>
          </p:nvSpPr>
          <p:spPr bwMode="auto">
            <a:xfrm>
              <a:off x="2611334" y="6072778"/>
              <a:ext cx="22225" cy="23813"/>
            </a:xfrm>
            <a:custGeom>
              <a:avLst/>
              <a:gdLst>
                <a:gd name="T0" fmla="*/ 3 w 14"/>
                <a:gd name="T1" fmla="*/ 15 h 15"/>
                <a:gd name="T2" fmla="*/ 0 w 14"/>
                <a:gd name="T3" fmla="*/ 3 h 15"/>
                <a:gd name="T4" fmla="*/ 11 w 14"/>
                <a:gd name="T5" fmla="*/ 0 h 15"/>
                <a:gd name="T6" fmla="*/ 14 w 14"/>
                <a:gd name="T7" fmla="*/ 12 h 15"/>
                <a:gd name="T8" fmla="*/ 3 w 14"/>
                <a:gd name="T9" fmla="*/ 15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" h="15">
                  <a:moveTo>
                    <a:pt x="3" y="15"/>
                  </a:moveTo>
                  <a:lnTo>
                    <a:pt x="0" y="3"/>
                  </a:lnTo>
                  <a:lnTo>
                    <a:pt x="11" y="0"/>
                  </a:lnTo>
                  <a:lnTo>
                    <a:pt x="14" y="12"/>
                  </a:lnTo>
                  <a:lnTo>
                    <a:pt x="3" y="1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22" name="îŝľîḓê"/>
            <p:cNvSpPr/>
            <p:nvPr/>
          </p:nvSpPr>
          <p:spPr bwMode="auto">
            <a:xfrm>
              <a:off x="2108097" y="5261565"/>
              <a:ext cx="141288" cy="257175"/>
            </a:xfrm>
            <a:custGeom>
              <a:avLst/>
              <a:gdLst>
                <a:gd name="T0" fmla="*/ 12 w 77"/>
                <a:gd name="T1" fmla="*/ 25 h 139"/>
                <a:gd name="T2" fmla="*/ 9 w 77"/>
                <a:gd name="T3" fmla="*/ 21 h 139"/>
                <a:gd name="T4" fmla="*/ 12 w 77"/>
                <a:gd name="T5" fmla="*/ 17 h 139"/>
                <a:gd name="T6" fmla="*/ 39 w 77"/>
                <a:gd name="T7" fmla="*/ 21 h 139"/>
                <a:gd name="T8" fmla="*/ 46 w 77"/>
                <a:gd name="T9" fmla="*/ 36 h 139"/>
                <a:gd name="T10" fmla="*/ 46 w 77"/>
                <a:gd name="T11" fmla="*/ 39 h 139"/>
                <a:gd name="T12" fmla="*/ 61 w 77"/>
                <a:gd name="T13" fmla="*/ 33 h 139"/>
                <a:gd name="T14" fmla="*/ 57 w 77"/>
                <a:gd name="T15" fmla="*/ 16 h 139"/>
                <a:gd name="T16" fmla="*/ 35 w 77"/>
                <a:gd name="T17" fmla="*/ 9 h 139"/>
                <a:gd name="T18" fmla="*/ 27 w 77"/>
                <a:gd name="T19" fmla="*/ 3 h 139"/>
                <a:gd name="T20" fmla="*/ 32 w 77"/>
                <a:gd name="T21" fmla="*/ 0 h 139"/>
                <a:gd name="T22" fmla="*/ 61 w 77"/>
                <a:gd name="T23" fmla="*/ 9 h 139"/>
                <a:gd name="T24" fmla="*/ 72 w 77"/>
                <a:gd name="T25" fmla="*/ 30 h 139"/>
                <a:gd name="T26" fmla="*/ 48 w 77"/>
                <a:gd name="T27" fmla="*/ 45 h 139"/>
                <a:gd name="T28" fmla="*/ 45 w 77"/>
                <a:gd name="T29" fmla="*/ 46 h 139"/>
                <a:gd name="T30" fmla="*/ 45 w 77"/>
                <a:gd name="T31" fmla="*/ 54 h 139"/>
                <a:gd name="T32" fmla="*/ 59 w 77"/>
                <a:gd name="T33" fmla="*/ 61 h 139"/>
                <a:gd name="T34" fmla="*/ 77 w 77"/>
                <a:gd name="T35" fmla="*/ 80 h 139"/>
                <a:gd name="T36" fmla="*/ 75 w 77"/>
                <a:gd name="T37" fmla="*/ 84 h 139"/>
                <a:gd name="T38" fmla="*/ 71 w 77"/>
                <a:gd name="T39" fmla="*/ 83 h 139"/>
                <a:gd name="T40" fmla="*/ 59 w 77"/>
                <a:gd name="T41" fmla="*/ 70 h 139"/>
                <a:gd name="T42" fmla="*/ 45 w 77"/>
                <a:gd name="T43" fmla="*/ 63 h 139"/>
                <a:gd name="T44" fmla="*/ 45 w 77"/>
                <a:gd name="T45" fmla="*/ 77 h 139"/>
                <a:gd name="T46" fmla="*/ 53 w 77"/>
                <a:gd name="T47" fmla="*/ 83 h 139"/>
                <a:gd name="T48" fmla="*/ 66 w 77"/>
                <a:gd name="T49" fmla="*/ 102 h 139"/>
                <a:gd name="T50" fmla="*/ 72 w 77"/>
                <a:gd name="T51" fmla="*/ 121 h 139"/>
                <a:gd name="T52" fmla="*/ 70 w 77"/>
                <a:gd name="T53" fmla="*/ 124 h 139"/>
                <a:gd name="T54" fmla="*/ 67 w 77"/>
                <a:gd name="T55" fmla="*/ 122 h 139"/>
                <a:gd name="T56" fmla="*/ 64 w 77"/>
                <a:gd name="T57" fmla="*/ 115 h 139"/>
                <a:gd name="T58" fmla="*/ 55 w 77"/>
                <a:gd name="T59" fmla="*/ 97 h 139"/>
                <a:gd name="T60" fmla="*/ 45 w 77"/>
                <a:gd name="T61" fmla="*/ 87 h 139"/>
                <a:gd name="T62" fmla="*/ 45 w 77"/>
                <a:gd name="T63" fmla="*/ 102 h 139"/>
                <a:gd name="T64" fmla="*/ 44 w 77"/>
                <a:gd name="T65" fmla="*/ 136 h 139"/>
                <a:gd name="T66" fmla="*/ 41 w 77"/>
                <a:gd name="T67" fmla="*/ 139 h 139"/>
                <a:gd name="T68" fmla="*/ 38 w 77"/>
                <a:gd name="T69" fmla="*/ 137 h 139"/>
                <a:gd name="T70" fmla="*/ 37 w 77"/>
                <a:gd name="T71" fmla="*/ 103 h 139"/>
                <a:gd name="T72" fmla="*/ 37 w 77"/>
                <a:gd name="T73" fmla="*/ 86 h 139"/>
                <a:gd name="T74" fmla="*/ 28 w 77"/>
                <a:gd name="T75" fmla="*/ 92 h 139"/>
                <a:gd name="T76" fmla="*/ 19 w 77"/>
                <a:gd name="T77" fmla="*/ 109 h 139"/>
                <a:gd name="T78" fmla="*/ 12 w 77"/>
                <a:gd name="T79" fmla="*/ 121 h 139"/>
                <a:gd name="T80" fmla="*/ 8 w 77"/>
                <a:gd name="T81" fmla="*/ 122 h 139"/>
                <a:gd name="T82" fmla="*/ 7 w 77"/>
                <a:gd name="T83" fmla="*/ 120 h 139"/>
                <a:gd name="T84" fmla="*/ 8 w 77"/>
                <a:gd name="T85" fmla="*/ 117 h 139"/>
                <a:gd name="T86" fmla="*/ 11 w 77"/>
                <a:gd name="T87" fmla="*/ 106 h 139"/>
                <a:gd name="T88" fmla="*/ 22 w 77"/>
                <a:gd name="T89" fmla="*/ 86 h 139"/>
                <a:gd name="T90" fmla="*/ 37 w 77"/>
                <a:gd name="T91" fmla="*/ 76 h 139"/>
                <a:gd name="T92" fmla="*/ 37 w 77"/>
                <a:gd name="T93" fmla="*/ 68 h 139"/>
                <a:gd name="T94" fmla="*/ 37 w 77"/>
                <a:gd name="T95" fmla="*/ 63 h 139"/>
                <a:gd name="T96" fmla="*/ 24 w 77"/>
                <a:gd name="T97" fmla="*/ 69 h 139"/>
                <a:gd name="T98" fmla="*/ 16 w 77"/>
                <a:gd name="T99" fmla="*/ 77 h 139"/>
                <a:gd name="T100" fmla="*/ 9 w 77"/>
                <a:gd name="T101" fmla="*/ 85 h 139"/>
                <a:gd name="T102" fmla="*/ 6 w 77"/>
                <a:gd name="T103" fmla="*/ 86 h 139"/>
                <a:gd name="T104" fmla="*/ 5 w 77"/>
                <a:gd name="T105" fmla="*/ 82 h 139"/>
                <a:gd name="T106" fmla="*/ 22 w 77"/>
                <a:gd name="T107" fmla="*/ 60 h 139"/>
                <a:gd name="T108" fmla="*/ 37 w 77"/>
                <a:gd name="T109" fmla="*/ 54 h 139"/>
                <a:gd name="T110" fmla="*/ 37 w 77"/>
                <a:gd name="T111" fmla="*/ 47 h 139"/>
                <a:gd name="T112" fmla="*/ 3 w 77"/>
                <a:gd name="T113" fmla="*/ 45 h 139"/>
                <a:gd name="T114" fmla="*/ 0 w 77"/>
                <a:gd name="T115" fmla="*/ 40 h 139"/>
                <a:gd name="T116" fmla="*/ 5 w 77"/>
                <a:gd name="T117" fmla="*/ 38 h 139"/>
                <a:gd name="T118" fmla="*/ 37 w 77"/>
                <a:gd name="T119" fmla="*/ 39 h 139"/>
                <a:gd name="T120" fmla="*/ 37 w 77"/>
                <a:gd name="T121" fmla="*/ 39 h 139"/>
                <a:gd name="T122" fmla="*/ 33 w 77"/>
                <a:gd name="T123" fmla="*/ 28 h 139"/>
                <a:gd name="T124" fmla="*/ 12 w 77"/>
                <a:gd name="T125" fmla="*/ 25 h 1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77" h="139">
                  <a:moveTo>
                    <a:pt x="12" y="25"/>
                  </a:moveTo>
                  <a:cubicBezTo>
                    <a:pt x="10" y="25"/>
                    <a:pt x="9" y="24"/>
                    <a:pt x="9" y="21"/>
                  </a:cubicBezTo>
                  <a:cubicBezTo>
                    <a:pt x="9" y="18"/>
                    <a:pt x="10" y="17"/>
                    <a:pt x="12" y="17"/>
                  </a:cubicBezTo>
                  <a:cubicBezTo>
                    <a:pt x="24" y="17"/>
                    <a:pt x="33" y="18"/>
                    <a:pt x="39" y="21"/>
                  </a:cubicBezTo>
                  <a:cubicBezTo>
                    <a:pt x="45" y="24"/>
                    <a:pt x="47" y="28"/>
                    <a:pt x="46" y="36"/>
                  </a:cubicBezTo>
                  <a:cubicBezTo>
                    <a:pt x="46" y="37"/>
                    <a:pt x="46" y="38"/>
                    <a:pt x="46" y="39"/>
                  </a:cubicBezTo>
                  <a:cubicBezTo>
                    <a:pt x="53" y="38"/>
                    <a:pt x="58" y="35"/>
                    <a:pt x="61" y="33"/>
                  </a:cubicBezTo>
                  <a:cubicBezTo>
                    <a:pt x="65" y="27"/>
                    <a:pt x="64" y="22"/>
                    <a:pt x="57" y="16"/>
                  </a:cubicBezTo>
                  <a:cubicBezTo>
                    <a:pt x="52" y="12"/>
                    <a:pt x="44" y="9"/>
                    <a:pt x="35" y="9"/>
                  </a:cubicBezTo>
                  <a:cubicBezTo>
                    <a:pt x="30" y="8"/>
                    <a:pt x="28" y="6"/>
                    <a:pt x="27" y="3"/>
                  </a:cubicBezTo>
                  <a:cubicBezTo>
                    <a:pt x="27" y="1"/>
                    <a:pt x="29" y="0"/>
                    <a:pt x="32" y="0"/>
                  </a:cubicBezTo>
                  <a:cubicBezTo>
                    <a:pt x="44" y="0"/>
                    <a:pt x="53" y="3"/>
                    <a:pt x="61" y="9"/>
                  </a:cubicBezTo>
                  <a:cubicBezTo>
                    <a:pt x="69" y="16"/>
                    <a:pt x="73" y="23"/>
                    <a:pt x="72" y="30"/>
                  </a:cubicBezTo>
                  <a:cubicBezTo>
                    <a:pt x="68" y="37"/>
                    <a:pt x="60" y="43"/>
                    <a:pt x="48" y="45"/>
                  </a:cubicBezTo>
                  <a:cubicBezTo>
                    <a:pt x="47" y="46"/>
                    <a:pt x="46" y="46"/>
                    <a:pt x="45" y="46"/>
                  </a:cubicBezTo>
                  <a:cubicBezTo>
                    <a:pt x="45" y="48"/>
                    <a:pt x="45" y="51"/>
                    <a:pt x="45" y="54"/>
                  </a:cubicBezTo>
                  <a:cubicBezTo>
                    <a:pt x="49" y="54"/>
                    <a:pt x="54" y="57"/>
                    <a:pt x="59" y="61"/>
                  </a:cubicBezTo>
                  <a:cubicBezTo>
                    <a:pt x="66" y="66"/>
                    <a:pt x="72" y="72"/>
                    <a:pt x="77" y="80"/>
                  </a:cubicBezTo>
                  <a:cubicBezTo>
                    <a:pt x="77" y="82"/>
                    <a:pt x="77" y="83"/>
                    <a:pt x="75" y="84"/>
                  </a:cubicBezTo>
                  <a:cubicBezTo>
                    <a:pt x="74" y="85"/>
                    <a:pt x="72" y="85"/>
                    <a:pt x="71" y="83"/>
                  </a:cubicBezTo>
                  <a:cubicBezTo>
                    <a:pt x="69" y="80"/>
                    <a:pt x="65" y="76"/>
                    <a:pt x="59" y="70"/>
                  </a:cubicBezTo>
                  <a:cubicBezTo>
                    <a:pt x="54" y="66"/>
                    <a:pt x="49" y="64"/>
                    <a:pt x="45" y="63"/>
                  </a:cubicBezTo>
                  <a:cubicBezTo>
                    <a:pt x="45" y="77"/>
                    <a:pt x="45" y="77"/>
                    <a:pt x="45" y="77"/>
                  </a:cubicBezTo>
                  <a:cubicBezTo>
                    <a:pt x="48" y="78"/>
                    <a:pt x="51" y="80"/>
                    <a:pt x="53" y="83"/>
                  </a:cubicBezTo>
                  <a:cubicBezTo>
                    <a:pt x="59" y="88"/>
                    <a:pt x="63" y="94"/>
                    <a:pt x="66" y="102"/>
                  </a:cubicBezTo>
                  <a:cubicBezTo>
                    <a:pt x="71" y="109"/>
                    <a:pt x="73" y="116"/>
                    <a:pt x="72" y="121"/>
                  </a:cubicBezTo>
                  <a:cubicBezTo>
                    <a:pt x="72" y="122"/>
                    <a:pt x="72" y="123"/>
                    <a:pt x="70" y="124"/>
                  </a:cubicBezTo>
                  <a:cubicBezTo>
                    <a:pt x="69" y="124"/>
                    <a:pt x="68" y="124"/>
                    <a:pt x="67" y="122"/>
                  </a:cubicBezTo>
                  <a:cubicBezTo>
                    <a:pt x="67" y="121"/>
                    <a:pt x="66" y="118"/>
                    <a:pt x="64" y="115"/>
                  </a:cubicBezTo>
                  <a:cubicBezTo>
                    <a:pt x="60" y="107"/>
                    <a:pt x="57" y="102"/>
                    <a:pt x="55" y="97"/>
                  </a:cubicBezTo>
                  <a:cubicBezTo>
                    <a:pt x="51" y="91"/>
                    <a:pt x="48" y="88"/>
                    <a:pt x="45" y="87"/>
                  </a:cubicBezTo>
                  <a:cubicBezTo>
                    <a:pt x="45" y="102"/>
                    <a:pt x="45" y="102"/>
                    <a:pt x="45" y="102"/>
                  </a:cubicBezTo>
                  <a:cubicBezTo>
                    <a:pt x="45" y="117"/>
                    <a:pt x="45" y="128"/>
                    <a:pt x="44" y="136"/>
                  </a:cubicBezTo>
                  <a:cubicBezTo>
                    <a:pt x="43" y="137"/>
                    <a:pt x="42" y="138"/>
                    <a:pt x="41" y="139"/>
                  </a:cubicBezTo>
                  <a:cubicBezTo>
                    <a:pt x="40" y="139"/>
                    <a:pt x="39" y="139"/>
                    <a:pt x="38" y="137"/>
                  </a:cubicBezTo>
                  <a:cubicBezTo>
                    <a:pt x="37" y="135"/>
                    <a:pt x="37" y="123"/>
                    <a:pt x="37" y="103"/>
                  </a:cubicBezTo>
                  <a:cubicBezTo>
                    <a:pt x="37" y="97"/>
                    <a:pt x="37" y="92"/>
                    <a:pt x="37" y="86"/>
                  </a:cubicBezTo>
                  <a:cubicBezTo>
                    <a:pt x="34" y="87"/>
                    <a:pt x="31" y="89"/>
                    <a:pt x="28" y="92"/>
                  </a:cubicBezTo>
                  <a:cubicBezTo>
                    <a:pt x="24" y="98"/>
                    <a:pt x="21" y="103"/>
                    <a:pt x="19" y="109"/>
                  </a:cubicBezTo>
                  <a:cubicBezTo>
                    <a:pt x="17" y="113"/>
                    <a:pt x="15" y="117"/>
                    <a:pt x="12" y="121"/>
                  </a:cubicBezTo>
                  <a:cubicBezTo>
                    <a:pt x="11" y="122"/>
                    <a:pt x="9" y="122"/>
                    <a:pt x="8" y="122"/>
                  </a:cubicBezTo>
                  <a:cubicBezTo>
                    <a:pt x="7" y="122"/>
                    <a:pt x="7" y="121"/>
                    <a:pt x="7" y="120"/>
                  </a:cubicBezTo>
                  <a:cubicBezTo>
                    <a:pt x="7" y="119"/>
                    <a:pt x="7" y="118"/>
                    <a:pt x="8" y="117"/>
                  </a:cubicBezTo>
                  <a:cubicBezTo>
                    <a:pt x="9" y="112"/>
                    <a:pt x="10" y="108"/>
                    <a:pt x="11" y="106"/>
                  </a:cubicBezTo>
                  <a:cubicBezTo>
                    <a:pt x="13" y="101"/>
                    <a:pt x="17" y="94"/>
                    <a:pt x="22" y="86"/>
                  </a:cubicBezTo>
                  <a:cubicBezTo>
                    <a:pt x="27" y="80"/>
                    <a:pt x="32" y="77"/>
                    <a:pt x="37" y="76"/>
                  </a:cubicBezTo>
                  <a:cubicBezTo>
                    <a:pt x="37" y="68"/>
                    <a:pt x="37" y="68"/>
                    <a:pt x="37" y="68"/>
                  </a:cubicBezTo>
                  <a:cubicBezTo>
                    <a:pt x="37" y="63"/>
                    <a:pt x="37" y="63"/>
                    <a:pt x="37" y="63"/>
                  </a:cubicBezTo>
                  <a:cubicBezTo>
                    <a:pt x="33" y="64"/>
                    <a:pt x="29" y="66"/>
                    <a:pt x="24" y="69"/>
                  </a:cubicBezTo>
                  <a:cubicBezTo>
                    <a:pt x="23" y="70"/>
                    <a:pt x="20" y="72"/>
                    <a:pt x="16" y="77"/>
                  </a:cubicBezTo>
                  <a:cubicBezTo>
                    <a:pt x="13" y="81"/>
                    <a:pt x="11" y="83"/>
                    <a:pt x="9" y="85"/>
                  </a:cubicBezTo>
                  <a:cubicBezTo>
                    <a:pt x="8" y="86"/>
                    <a:pt x="7" y="87"/>
                    <a:pt x="6" y="86"/>
                  </a:cubicBezTo>
                  <a:cubicBezTo>
                    <a:pt x="5" y="86"/>
                    <a:pt x="5" y="84"/>
                    <a:pt x="5" y="82"/>
                  </a:cubicBezTo>
                  <a:cubicBezTo>
                    <a:pt x="10" y="73"/>
                    <a:pt x="15" y="65"/>
                    <a:pt x="22" y="60"/>
                  </a:cubicBezTo>
                  <a:cubicBezTo>
                    <a:pt x="27" y="56"/>
                    <a:pt x="32" y="54"/>
                    <a:pt x="37" y="54"/>
                  </a:cubicBezTo>
                  <a:cubicBezTo>
                    <a:pt x="37" y="47"/>
                    <a:pt x="37" y="47"/>
                    <a:pt x="37" y="47"/>
                  </a:cubicBezTo>
                  <a:cubicBezTo>
                    <a:pt x="22" y="49"/>
                    <a:pt x="10" y="48"/>
                    <a:pt x="3" y="45"/>
                  </a:cubicBezTo>
                  <a:cubicBezTo>
                    <a:pt x="1" y="44"/>
                    <a:pt x="0" y="42"/>
                    <a:pt x="0" y="40"/>
                  </a:cubicBezTo>
                  <a:cubicBezTo>
                    <a:pt x="1" y="38"/>
                    <a:pt x="3" y="38"/>
                    <a:pt x="5" y="38"/>
                  </a:cubicBezTo>
                  <a:cubicBezTo>
                    <a:pt x="12" y="40"/>
                    <a:pt x="22" y="40"/>
                    <a:pt x="37" y="39"/>
                  </a:cubicBezTo>
                  <a:cubicBezTo>
                    <a:pt x="37" y="39"/>
                    <a:pt x="37" y="39"/>
                    <a:pt x="37" y="39"/>
                  </a:cubicBezTo>
                  <a:cubicBezTo>
                    <a:pt x="38" y="32"/>
                    <a:pt x="36" y="29"/>
                    <a:pt x="33" y="28"/>
                  </a:cubicBezTo>
                  <a:cubicBezTo>
                    <a:pt x="26" y="25"/>
                    <a:pt x="19" y="24"/>
                    <a:pt x="12" y="2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23" name="íṣlíḑe"/>
            <p:cNvSpPr/>
            <p:nvPr/>
          </p:nvSpPr>
          <p:spPr bwMode="auto">
            <a:xfrm>
              <a:off x="2273197" y="5255215"/>
              <a:ext cx="163513" cy="263525"/>
            </a:xfrm>
            <a:custGeom>
              <a:avLst/>
              <a:gdLst>
                <a:gd name="T0" fmla="*/ 47 w 88"/>
                <a:gd name="T1" fmla="*/ 8 h 143"/>
                <a:gd name="T2" fmla="*/ 74 w 88"/>
                <a:gd name="T3" fmla="*/ 14 h 143"/>
                <a:gd name="T4" fmla="*/ 82 w 88"/>
                <a:gd name="T5" fmla="*/ 26 h 143"/>
                <a:gd name="T6" fmla="*/ 79 w 88"/>
                <a:gd name="T7" fmla="*/ 75 h 143"/>
                <a:gd name="T8" fmla="*/ 86 w 88"/>
                <a:gd name="T9" fmla="*/ 136 h 143"/>
                <a:gd name="T10" fmla="*/ 73 w 88"/>
                <a:gd name="T11" fmla="*/ 45 h 143"/>
                <a:gd name="T12" fmla="*/ 67 w 88"/>
                <a:gd name="T13" fmla="*/ 44 h 143"/>
                <a:gd name="T14" fmla="*/ 54 w 88"/>
                <a:gd name="T15" fmla="*/ 58 h 143"/>
                <a:gd name="T16" fmla="*/ 22 w 88"/>
                <a:gd name="T17" fmla="*/ 54 h 143"/>
                <a:gd name="T18" fmla="*/ 15 w 88"/>
                <a:gd name="T19" fmla="*/ 45 h 143"/>
                <a:gd name="T20" fmla="*/ 11 w 88"/>
                <a:gd name="T21" fmla="*/ 91 h 143"/>
                <a:gd name="T22" fmla="*/ 9 w 88"/>
                <a:gd name="T23" fmla="*/ 118 h 143"/>
                <a:gd name="T24" fmla="*/ 2 w 88"/>
                <a:gd name="T25" fmla="*/ 139 h 143"/>
                <a:gd name="T26" fmla="*/ 6 w 88"/>
                <a:gd name="T27" fmla="*/ 80 h 143"/>
                <a:gd name="T28" fmla="*/ 2 w 88"/>
                <a:gd name="T29" fmla="*/ 26 h 143"/>
                <a:gd name="T30" fmla="*/ 32 w 88"/>
                <a:gd name="T31" fmla="*/ 10 h 143"/>
                <a:gd name="T32" fmla="*/ 39 w 88"/>
                <a:gd name="T33" fmla="*/ 0 h 143"/>
                <a:gd name="T34" fmla="*/ 24 w 88"/>
                <a:gd name="T35" fmla="*/ 23 h 143"/>
                <a:gd name="T36" fmla="*/ 66 w 88"/>
                <a:gd name="T37" fmla="*/ 29 h 143"/>
                <a:gd name="T38" fmla="*/ 67 w 88"/>
                <a:gd name="T39" fmla="*/ 37 h 143"/>
                <a:gd name="T40" fmla="*/ 73 w 88"/>
                <a:gd name="T41" fmla="*/ 34 h 143"/>
                <a:gd name="T42" fmla="*/ 66 w 88"/>
                <a:gd name="T43" fmla="*/ 20 h 143"/>
                <a:gd name="T44" fmla="*/ 13 w 88"/>
                <a:gd name="T45" fmla="*/ 21 h 143"/>
                <a:gd name="T46" fmla="*/ 12 w 88"/>
                <a:gd name="T47" fmla="*/ 32 h 143"/>
                <a:gd name="T48" fmla="*/ 17 w 88"/>
                <a:gd name="T49" fmla="*/ 38 h 143"/>
                <a:gd name="T50" fmla="*/ 24 w 88"/>
                <a:gd name="T51" fmla="*/ 23 h 143"/>
                <a:gd name="T52" fmla="*/ 61 w 88"/>
                <a:gd name="T53" fmla="*/ 64 h 143"/>
                <a:gd name="T54" fmla="*/ 66 w 88"/>
                <a:gd name="T55" fmla="*/ 96 h 143"/>
                <a:gd name="T56" fmla="*/ 61 w 88"/>
                <a:gd name="T57" fmla="*/ 136 h 143"/>
                <a:gd name="T58" fmla="*/ 59 w 88"/>
                <a:gd name="T59" fmla="*/ 143 h 143"/>
                <a:gd name="T60" fmla="*/ 46 w 88"/>
                <a:gd name="T61" fmla="*/ 105 h 143"/>
                <a:gd name="T62" fmla="*/ 30 w 88"/>
                <a:gd name="T63" fmla="*/ 140 h 143"/>
                <a:gd name="T64" fmla="*/ 26 w 88"/>
                <a:gd name="T65" fmla="*/ 137 h 143"/>
                <a:gd name="T66" fmla="*/ 32 w 88"/>
                <a:gd name="T67" fmla="*/ 121 h 143"/>
                <a:gd name="T68" fmla="*/ 35 w 88"/>
                <a:gd name="T69" fmla="*/ 105 h 143"/>
                <a:gd name="T70" fmla="*/ 18 w 88"/>
                <a:gd name="T71" fmla="*/ 75 h 143"/>
                <a:gd name="T72" fmla="*/ 24 w 88"/>
                <a:gd name="T73" fmla="*/ 35 h 143"/>
                <a:gd name="T74" fmla="*/ 39 w 88"/>
                <a:gd name="T75" fmla="*/ 37 h 143"/>
                <a:gd name="T76" fmla="*/ 34 w 88"/>
                <a:gd name="T77" fmla="*/ 29 h 143"/>
                <a:gd name="T78" fmla="*/ 24 w 88"/>
                <a:gd name="T79" fmla="*/ 35 h 143"/>
                <a:gd name="T80" fmla="*/ 62 w 88"/>
                <a:gd name="T81" fmla="*/ 84 h 143"/>
                <a:gd name="T82" fmla="*/ 43 w 88"/>
                <a:gd name="T83" fmla="*/ 81 h 143"/>
                <a:gd name="T84" fmla="*/ 25 w 88"/>
                <a:gd name="T85" fmla="*/ 87 h 143"/>
                <a:gd name="T86" fmla="*/ 26 w 88"/>
                <a:gd name="T87" fmla="*/ 48 h 143"/>
                <a:gd name="T88" fmla="*/ 38 w 88"/>
                <a:gd name="T89" fmla="*/ 52 h 143"/>
                <a:gd name="T90" fmla="*/ 25 w 88"/>
                <a:gd name="T91" fmla="*/ 44 h 143"/>
                <a:gd name="T92" fmla="*/ 32 w 88"/>
                <a:gd name="T93" fmla="*/ 69 h 143"/>
                <a:gd name="T94" fmla="*/ 41 w 88"/>
                <a:gd name="T95" fmla="*/ 75 h 143"/>
                <a:gd name="T96" fmla="*/ 57 w 88"/>
                <a:gd name="T97" fmla="*/ 70 h 143"/>
                <a:gd name="T98" fmla="*/ 56 w 88"/>
                <a:gd name="T99" fmla="*/ 98 h 143"/>
                <a:gd name="T100" fmla="*/ 54 w 88"/>
                <a:gd name="T101" fmla="*/ 93 h 143"/>
                <a:gd name="T102" fmla="*/ 36 w 88"/>
                <a:gd name="T103" fmla="*/ 93 h 143"/>
                <a:gd name="T104" fmla="*/ 32 w 88"/>
                <a:gd name="T105" fmla="*/ 98 h 143"/>
                <a:gd name="T106" fmla="*/ 56 w 88"/>
                <a:gd name="T107" fmla="*/ 29 h 143"/>
                <a:gd name="T108" fmla="*/ 46 w 88"/>
                <a:gd name="T109" fmla="*/ 29 h 143"/>
                <a:gd name="T110" fmla="*/ 60 w 88"/>
                <a:gd name="T111" fmla="*/ 37 h 143"/>
                <a:gd name="T112" fmla="*/ 56 w 88"/>
                <a:gd name="T113" fmla="*/ 29 h 143"/>
                <a:gd name="T114" fmla="*/ 60 w 88"/>
                <a:gd name="T115" fmla="*/ 43 h 143"/>
                <a:gd name="T116" fmla="*/ 46 w 88"/>
                <a:gd name="T117" fmla="*/ 52 h 143"/>
                <a:gd name="T118" fmla="*/ 59 w 88"/>
                <a:gd name="T119" fmla="*/ 48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88" h="143">
                  <a:moveTo>
                    <a:pt x="43" y="2"/>
                  </a:moveTo>
                  <a:cubicBezTo>
                    <a:pt x="45" y="3"/>
                    <a:pt x="47" y="6"/>
                    <a:pt x="47" y="8"/>
                  </a:cubicBezTo>
                  <a:cubicBezTo>
                    <a:pt x="47" y="9"/>
                    <a:pt x="48" y="10"/>
                    <a:pt x="49" y="10"/>
                  </a:cubicBezTo>
                  <a:cubicBezTo>
                    <a:pt x="57" y="10"/>
                    <a:pt x="66" y="12"/>
                    <a:pt x="74" y="14"/>
                  </a:cubicBezTo>
                  <a:cubicBezTo>
                    <a:pt x="78" y="16"/>
                    <a:pt x="81" y="18"/>
                    <a:pt x="81" y="19"/>
                  </a:cubicBezTo>
                  <a:cubicBezTo>
                    <a:pt x="82" y="21"/>
                    <a:pt x="82" y="24"/>
                    <a:pt x="82" y="26"/>
                  </a:cubicBezTo>
                  <a:cubicBezTo>
                    <a:pt x="82" y="27"/>
                    <a:pt x="82" y="27"/>
                    <a:pt x="82" y="28"/>
                  </a:cubicBezTo>
                  <a:cubicBezTo>
                    <a:pt x="79" y="39"/>
                    <a:pt x="78" y="55"/>
                    <a:pt x="79" y="75"/>
                  </a:cubicBezTo>
                  <a:cubicBezTo>
                    <a:pt x="80" y="87"/>
                    <a:pt x="83" y="106"/>
                    <a:pt x="87" y="131"/>
                  </a:cubicBezTo>
                  <a:cubicBezTo>
                    <a:pt x="88" y="134"/>
                    <a:pt x="87" y="135"/>
                    <a:pt x="86" y="136"/>
                  </a:cubicBezTo>
                  <a:cubicBezTo>
                    <a:pt x="84" y="137"/>
                    <a:pt x="82" y="136"/>
                    <a:pt x="82" y="133"/>
                  </a:cubicBezTo>
                  <a:cubicBezTo>
                    <a:pt x="74" y="106"/>
                    <a:pt x="71" y="76"/>
                    <a:pt x="73" y="45"/>
                  </a:cubicBezTo>
                  <a:cubicBezTo>
                    <a:pt x="72" y="45"/>
                    <a:pt x="71" y="44"/>
                    <a:pt x="70" y="44"/>
                  </a:cubicBezTo>
                  <a:cubicBezTo>
                    <a:pt x="69" y="44"/>
                    <a:pt x="68" y="44"/>
                    <a:pt x="67" y="44"/>
                  </a:cubicBezTo>
                  <a:cubicBezTo>
                    <a:pt x="67" y="48"/>
                    <a:pt x="66" y="51"/>
                    <a:pt x="64" y="54"/>
                  </a:cubicBezTo>
                  <a:cubicBezTo>
                    <a:pt x="62" y="57"/>
                    <a:pt x="59" y="59"/>
                    <a:pt x="54" y="58"/>
                  </a:cubicBezTo>
                  <a:cubicBezTo>
                    <a:pt x="47" y="58"/>
                    <a:pt x="39" y="58"/>
                    <a:pt x="32" y="58"/>
                  </a:cubicBezTo>
                  <a:cubicBezTo>
                    <a:pt x="28" y="59"/>
                    <a:pt x="25" y="58"/>
                    <a:pt x="22" y="54"/>
                  </a:cubicBezTo>
                  <a:cubicBezTo>
                    <a:pt x="20" y="51"/>
                    <a:pt x="19" y="48"/>
                    <a:pt x="18" y="45"/>
                  </a:cubicBezTo>
                  <a:cubicBezTo>
                    <a:pt x="17" y="45"/>
                    <a:pt x="16" y="45"/>
                    <a:pt x="15" y="45"/>
                  </a:cubicBezTo>
                  <a:cubicBezTo>
                    <a:pt x="14" y="45"/>
                    <a:pt x="13" y="45"/>
                    <a:pt x="13" y="45"/>
                  </a:cubicBezTo>
                  <a:cubicBezTo>
                    <a:pt x="13" y="60"/>
                    <a:pt x="13" y="75"/>
                    <a:pt x="11" y="91"/>
                  </a:cubicBezTo>
                  <a:cubicBezTo>
                    <a:pt x="11" y="95"/>
                    <a:pt x="11" y="102"/>
                    <a:pt x="10" y="111"/>
                  </a:cubicBezTo>
                  <a:cubicBezTo>
                    <a:pt x="10" y="108"/>
                    <a:pt x="10" y="111"/>
                    <a:pt x="9" y="118"/>
                  </a:cubicBezTo>
                  <a:cubicBezTo>
                    <a:pt x="9" y="124"/>
                    <a:pt x="8" y="130"/>
                    <a:pt x="6" y="134"/>
                  </a:cubicBezTo>
                  <a:cubicBezTo>
                    <a:pt x="5" y="138"/>
                    <a:pt x="3" y="139"/>
                    <a:pt x="2" y="139"/>
                  </a:cubicBezTo>
                  <a:cubicBezTo>
                    <a:pt x="0" y="139"/>
                    <a:pt x="0" y="137"/>
                    <a:pt x="0" y="133"/>
                  </a:cubicBezTo>
                  <a:cubicBezTo>
                    <a:pt x="3" y="112"/>
                    <a:pt x="5" y="94"/>
                    <a:pt x="6" y="80"/>
                  </a:cubicBezTo>
                  <a:cubicBezTo>
                    <a:pt x="8" y="64"/>
                    <a:pt x="7" y="51"/>
                    <a:pt x="6" y="38"/>
                  </a:cubicBezTo>
                  <a:cubicBezTo>
                    <a:pt x="5" y="34"/>
                    <a:pt x="4" y="30"/>
                    <a:pt x="2" y="26"/>
                  </a:cubicBezTo>
                  <a:cubicBezTo>
                    <a:pt x="0" y="21"/>
                    <a:pt x="1" y="17"/>
                    <a:pt x="6" y="16"/>
                  </a:cubicBezTo>
                  <a:cubicBezTo>
                    <a:pt x="14" y="12"/>
                    <a:pt x="23" y="11"/>
                    <a:pt x="32" y="10"/>
                  </a:cubicBezTo>
                  <a:cubicBezTo>
                    <a:pt x="36" y="9"/>
                    <a:pt x="38" y="7"/>
                    <a:pt x="38" y="4"/>
                  </a:cubicBezTo>
                  <a:cubicBezTo>
                    <a:pt x="38" y="2"/>
                    <a:pt x="38" y="1"/>
                    <a:pt x="39" y="0"/>
                  </a:cubicBezTo>
                  <a:cubicBezTo>
                    <a:pt x="41" y="0"/>
                    <a:pt x="42" y="0"/>
                    <a:pt x="43" y="2"/>
                  </a:cubicBezTo>
                  <a:close/>
                  <a:moveTo>
                    <a:pt x="24" y="23"/>
                  </a:moveTo>
                  <a:cubicBezTo>
                    <a:pt x="33" y="22"/>
                    <a:pt x="44" y="22"/>
                    <a:pt x="58" y="23"/>
                  </a:cubicBezTo>
                  <a:cubicBezTo>
                    <a:pt x="63" y="24"/>
                    <a:pt x="66" y="26"/>
                    <a:pt x="66" y="29"/>
                  </a:cubicBezTo>
                  <a:cubicBezTo>
                    <a:pt x="66" y="30"/>
                    <a:pt x="66" y="30"/>
                    <a:pt x="67" y="31"/>
                  </a:cubicBezTo>
                  <a:cubicBezTo>
                    <a:pt x="67" y="33"/>
                    <a:pt x="67" y="35"/>
                    <a:pt x="67" y="37"/>
                  </a:cubicBezTo>
                  <a:cubicBezTo>
                    <a:pt x="69" y="38"/>
                    <a:pt x="71" y="38"/>
                    <a:pt x="73" y="38"/>
                  </a:cubicBezTo>
                  <a:cubicBezTo>
                    <a:pt x="73" y="37"/>
                    <a:pt x="73" y="36"/>
                    <a:pt x="73" y="34"/>
                  </a:cubicBezTo>
                  <a:cubicBezTo>
                    <a:pt x="73" y="32"/>
                    <a:pt x="73" y="30"/>
                    <a:pt x="74" y="29"/>
                  </a:cubicBezTo>
                  <a:cubicBezTo>
                    <a:pt x="75" y="25"/>
                    <a:pt x="72" y="21"/>
                    <a:pt x="66" y="20"/>
                  </a:cubicBezTo>
                  <a:cubicBezTo>
                    <a:pt x="58" y="17"/>
                    <a:pt x="50" y="16"/>
                    <a:pt x="40" y="16"/>
                  </a:cubicBezTo>
                  <a:cubicBezTo>
                    <a:pt x="29" y="16"/>
                    <a:pt x="20" y="18"/>
                    <a:pt x="13" y="21"/>
                  </a:cubicBezTo>
                  <a:cubicBezTo>
                    <a:pt x="11" y="22"/>
                    <a:pt x="11" y="24"/>
                    <a:pt x="11" y="26"/>
                  </a:cubicBezTo>
                  <a:cubicBezTo>
                    <a:pt x="11" y="28"/>
                    <a:pt x="12" y="30"/>
                    <a:pt x="12" y="32"/>
                  </a:cubicBezTo>
                  <a:cubicBezTo>
                    <a:pt x="12" y="35"/>
                    <a:pt x="12" y="37"/>
                    <a:pt x="12" y="38"/>
                  </a:cubicBezTo>
                  <a:cubicBezTo>
                    <a:pt x="14" y="38"/>
                    <a:pt x="15" y="38"/>
                    <a:pt x="17" y="38"/>
                  </a:cubicBezTo>
                  <a:cubicBezTo>
                    <a:pt x="17" y="35"/>
                    <a:pt x="17" y="32"/>
                    <a:pt x="17" y="30"/>
                  </a:cubicBezTo>
                  <a:cubicBezTo>
                    <a:pt x="18" y="26"/>
                    <a:pt x="20" y="24"/>
                    <a:pt x="24" y="23"/>
                  </a:cubicBezTo>
                  <a:close/>
                  <a:moveTo>
                    <a:pt x="28" y="64"/>
                  </a:moveTo>
                  <a:cubicBezTo>
                    <a:pt x="39" y="62"/>
                    <a:pt x="50" y="62"/>
                    <a:pt x="61" y="64"/>
                  </a:cubicBezTo>
                  <a:cubicBezTo>
                    <a:pt x="65" y="65"/>
                    <a:pt x="67" y="67"/>
                    <a:pt x="67" y="71"/>
                  </a:cubicBezTo>
                  <a:cubicBezTo>
                    <a:pt x="69" y="79"/>
                    <a:pt x="68" y="88"/>
                    <a:pt x="66" y="96"/>
                  </a:cubicBezTo>
                  <a:cubicBezTo>
                    <a:pt x="65" y="102"/>
                    <a:pt x="61" y="105"/>
                    <a:pt x="54" y="105"/>
                  </a:cubicBezTo>
                  <a:cubicBezTo>
                    <a:pt x="55" y="115"/>
                    <a:pt x="57" y="125"/>
                    <a:pt x="61" y="136"/>
                  </a:cubicBezTo>
                  <a:cubicBezTo>
                    <a:pt x="63" y="138"/>
                    <a:pt x="63" y="140"/>
                    <a:pt x="61" y="142"/>
                  </a:cubicBezTo>
                  <a:cubicBezTo>
                    <a:pt x="60" y="142"/>
                    <a:pt x="59" y="143"/>
                    <a:pt x="59" y="143"/>
                  </a:cubicBezTo>
                  <a:cubicBezTo>
                    <a:pt x="58" y="143"/>
                    <a:pt x="57" y="142"/>
                    <a:pt x="57" y="141"/>
                  </a:cubicBezTo>
                  <a:cubicBezTo>
                    <a:pt x="52" y="131"/>
                    <a:pt x="48" y="120"/>
                    <a:pt x="46" y="105"/>
                  </a:cubicBezTo>
                  <a:cubicBezTo>
                    <a:pt x="41" y="105"/>
                    <a:pt x="41" y="105"/>
                    <a:pt x="41" y="105"/>
                  </a:cubicBezTo>
                  <a:cubicBezTo>
                    <a:pt x="40" y="120"/>
                    <a:pt x="37" y="131"/>
                    <a:pt x="30" y="140"/>
                  </a:cubicBezTo>
                  <a:cubicBezTo>
                    <a:pt x="29" y="141"/>
                    <a:pt x="27" y="142"/>
                    <a:pt x="26" y="142"/>
                  </a:cubicBezTo>
                  <a:cubicBezTo>
                    <a:pt x="25" y="141"/>
                    <a:pt x="25" y="139"/>
                    <a:pt x="26" y="137"/>
                  </a:cubicBezTo>
                  <a:cubicBezTo>
                    <a:pt x="26" y="137"/>
                    <a:pt x="26" y="135"/>
                    <a:pt x="28" y="132"/>
                  </a:cubicBezTo>
                  <a:cubicBezTo>
                    <a:pt x="30" y="127"/>
                    <a:pt x="32" y="123"/>
                    <a:pt x="32" y="121"/>
                  </a:cubicBezTo>
                  <a:cubicBezTo>
                    <a:pt x="33" y="118"/>
                    <a:pt x="34" y="113"/>
                    <a:pt x="35" y="107"/>
                  </a:cubicBezTo>
                  <a:cubicBezTo>
                    <a:pt x="35" y="106"/>
                    <a:pt x="35" y="106"/>
                    <a:pt x="35" y="105"/>
                  </a:cubicBezTo>
                  <a:cubicBezTo>
                    <a:pt x="29" y="105"/>
                    <a:pt x="25" y="103"/>
                    <a:pt x="22" y="98"/>
                  </a:cubicBezTo>
                  <a:cubicBezTo>
                    <a:pt x="19" y="93"/>
                    <a:pt x="17" y="85"/>
                    <a:pt x="18" y="75"/>
                  </a:cubicBezTo>
                  <a:cubicBezTo>
                    <a:pt x="19" y="68"/>
                    <a:pt x="22" y="65"/>
                    <a:pt x="28" y="64"/>
                  </a:cubicBezTo>
                  <a:close/>
                  <a:moveTo>
                    <a:pt x="24" y="35"/>
                  </a:moveTo>
                  <a:cubicBezTo>
                    <a:pt x="24" y="36"/>
                    <a:pt x="24" y="36"/>
                    <a:pt x="24" y="37"/>
                  </a:cubicBezTo>
                  <a:cubicBezTo>
                    <a:pt x="29" y="37"/>
                    <a:pt x="34" y="37"/>
                    <a:pt x="39" y="37"/>
                  </a:cubicBezTo>
                  <a:cubicBezTo>
                    <a:pt x="39" y="34"/>
                    <a:pt x="38" y="31"/>
                    <a:pt x="38" y="29"/>
                  </a:cubicBezTo>
                  <a:cubicBezTo>
                    <a:pt x="37" y="29"/>
                    <a:pt x="36" y="29"/>
                    <a:pt x="34" y="29"/>
                  </a:cubicBezTo>
                  <a:cubicBezTo>
                    <a:pt x="31" y="29"/>
                    <a:pt x="30" y="29"/>
                    <a:pt x="28" y="29"/>
                  </a:cubicBezTo>
                  <a:cubicBezTo>
                    <a:pt x="25" y="31"/>
                    <a:pt x="24" y="32"/>
                    <a:pt x="24" y="35"/>
                  </a:cubicBezTo>
                  <a:close/>
                  <a:moveTo>
                    <a:pt x="61" y="87"/>
                  </a:moveTo>
                  <a:cubicBezTo>
                    <a:pt x="61" y="86"/>
                    <a:pt x="62" y="85"/>
                    <a:pt x="62" y="84"/>
                  </a:cubicBezTo>
                  <a:cubicBezTo>
                    <a:pt x="62" y="83"/>
                    <a:pt x="62" y="82"/>
                    <a:pt x="62" y="82"/>
                  </a:cubicBezTo>
                  <a:cubicBezTo>
                    <a:pt x="56" y="81"/>
                    <a:pt x="50" y="80"/>
                    <a:pt x="43" y="81"/>
                  </a:cubicBezTo>
                  <a:cubicBezTo>
                    <a:pt x="37" y="81"/>
                    <a:pt x="31" y="82"/>
                    <a:pt x="24" y="83"/>
                  </a:cubicBezTo>
                  <a:cubicBezTo>
                    <a:pt x="25" y="87"/>
                    <a:pt x="25" y="87"/>
                    <a:pt x="25" y="87"/>
                  </a:cubicBezTo>
                  <a:cubicBezTo>
                    <a:pt x="35" y="86"/>
                    <a:pt x="48" y="86"/>
                    <a:pt x="61" y="87"/>
                  </a:cubicBezTo>
                  <a:close/>
                  <a:moveTo>
                    <a:pt x="26" y="48"/>
                  </a:moveTo>
                  <a:cubicBezTo>
                    <a:pt x="28" y="51"/>
                    <a:pt x="30" y="52"/>
                    <a:pt x="35" y="52"/>
                  </a:cubicBezTo>
                  <a:cubicBezTo>
                    <a:pt x="38" y="52"/>
                    <a:pt x="38" y="52"/>
                    <a:pt x="38" y="52"/>
                  </a:cubicBezTo>
                  <a:cubicBezTo>
                    <a:pt x="38" y="49"/>
                    <a:pt x="39" y="46"/>
                    <a:pt x="39" y="44"/>
                  </a:cubicBezTo>
                  <a:cubicBezTo>
                    <a:pt x="34" y="44"/>
                    <a:pt x="30" y="44"/>
                    <a:pt x="25" y="44"/>
                  </a:cubicBezTo>
                  <a:cubicBezTo>
                    <a:pt x="25" y="46"/>
                    <a:pt x="25" y="47"/>
                    <a:pt x="26" y="48"/>
                  </a:cubicBezTo>
                  <a:close/>
                  <a:moveTo>
                    <a:pt x="32" y="69"/>
                  </a:moveTo>
                  <a:cubicBezTo>
                    <a:pt x="28" y="70"/>
                    <a:pt x="25" y="72"/>
                    <a:pt x="25" y="76"/>
                  </a:cubicBezTo>
                  <a:cubicBezTo>
                    <a:pt x="30" y="75"/>
                    <a:pt x="35" y="75"/>
                    <a:pt x="41" y="75"/>
                  </a:cubicBezTo>
                  <a:cubicBezTo>
                    <a:pt x="46" y="74"/>
                    <a:pt x="53" y="74"/>
                    <a:pt x="61" y="75"/>
                  </a:cubicBezTo>
                  <a:cubicBezTo>
                    <a:pt x="61" y="72"/>
                    <a:pt x="59" y="71"/>
                    <a:pt x="57" y="70"/>
                  </a:cubicBezTo>
                  <a:cubicBezTo>
                    <a:pt x="49" y="68"/>
                    <a:pt x="40" y="68"/>
                    <a:pt x="32" y="69"/>
                  </a:cubicBezTo>
                  <a:close/>
                  <a:moveTo>
                    <a:pt x="56" y="98"/>
                  </a:moveTo>
                  <a:cubicBezTo>
                    <a:pt x="59" y="97"/>
                    <a:pt x="60" y="96"/>
                    <a:pt x="61" y="93"/>
                  </a:cubicBezTo>
                  <a:cubicBezTo>
                    <a:pt x="60" y="93"/>
                    <a:pt x="57" y="93"/>
                    <a:pt x="54" y="93"/>
                  </a:cubicBezTo>
                  <a:cubicBezTo>
                    <a:pt x="48" y="92"/>
                    <a:pt x="44" y="92"/>
                    <a:pt x="41" y="92"/>
                  </a:cubicBezTo>
                  <a:cubicBezTo>
                    <a:pt x="40" y="92"/>
                    <a:pt x="38" y="92"/>
                    <a:pt x="36" y="93"/>
                  </a:cubicBezTo>
                  <a:cubicBezTo>
                    <a:pt x="31" y="93"/>
                    <a:pt x="28" y="94"/>
                    <a:pt x="26" y="94"/>
                  </a:cubicBezTo>
                  <a:cubicBezTo>
                    <a:pt x="27" y="96"/>
                    <a:pt x="29" y="98"/>
                    <a:pt x="32" y="98"/>
                  </a:cubicBezTo>
                  <a:cubicBezTo>
                    <a:pt x="39" y="99"/>
                    <a:pt x="47" y="99"/>
                    <a:pt x="56" y="98"/>
                  </a:cubicBezTo>
                  <a:close/>
                  <a:moveTo>
                    <a:pt x="56" y="29"/>
                  </a:moveTo>
                  <a:cubicBezTo>
                    <a:pt x="55" y="29"/>
                    <a:pt x="53" y="29"/>
                    <a:pt x="51" y="29"/>
                  </a:cubicBezTo>
                  <a:cubicBezTo>
                    <a:pt x="49" y="29"/>
                    <a:pt x="47" y="29"/>
                    <a:pt x="46" y="29"/>
                  </a:cubicBezTo>
                  <a:cubicBezTo>
                    <a:pt x="46" y="31"/>
                    <a:pt x="46" y="34"/>
                    <a:pt x="46" y="37"/>
                  </a:cubicBezTo>
                  <a:cubicBezTo>
                    <a:pt x="50" y="37"/>
                    <a:pt x="55" y="37"/>
                    <a:pt x="60" y="37"/>
                  </a:cubicBezTo>
                  <a:cubicBezTo>
                    <a:pt x="60" y="35"/>
                    <a:pt x="60" y="35"/>
                    <a:pt x="60" y="35"/>
                  </a:cubicBezTo>
                  <a:cubicBezTo>
                    <a:pt x="60" y="32"/>
                    <a:pt x="58" y="30"/>
                    <a:pt x="56" y="29"/>
                  </a:cubicBezTo>
                  <a:close/>
                  <a:moveTo>
                    <a:pt x="59" y="48"/>
                  </a:moveTo>
                  <a:cubicBezTo>
                    <a:pt x="59" y="47"/>
                    <a:pt x="59" y="45"/>
                    <a:pt x="60" y="43"/>
                  </a:cubicBezTo>
                  <a:cubicBezTo>
                    <a:pt x="55" y="43"/>
                    <a:pt x="51" y="43"/>
                    <a:pt x="46" y="43"/>
                  </a:cubicBezTo>
                  <a:cubicBezTo>
                    <a:pt x="46" y="52"/>
                    <a:pt x="46" y="52"/>
                    <a:pt x="46" y="52"/>
                  </a:cubicBezTo>
                  <a:cubicBezTo>
                    <a:pt x="48" y="52"/>
                    <a:pt x="51" y="52"/>
                    <a:pt x="54" y="52"/>
                  </a:cubicBezTo>
                  <a:cubicBezTo>
                    <a:pt x="57" y="51"/>
                    <a:pt x="59" y="49"/>
                    <a:pt x="59" y="4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24" name="îSḻide"/>
            <p:cNvSpPr/>
            <p:nvPr/>
          </p:nvSpPr>
          <p:spPr bwMode="auto">
            <a:xfrm>
              <a:off x="2449409" y="5256803"/>
              <a:ext cx="139700" cy="265113"/>
            </a:xfrm>
            <a:custGeom>
              <a:avLst/>
              <a:gdLst>
                <a:gd name="T0" fmla="*/ 56 w 76"/>
                <a:gd name="T1" fmla="*/ 3 h 144"/>
                <a:gd name="T2" fmla="*/ 61 w 76"/>
                <a:gd name="T3" fmla="*/ 45 h 144"/>
                <a:gd name="T4" fmla="*/ 50 w 76"/>
                <a:gd name="T5" fmla="*/ 74 h 144"/>
                <a:gd name="T6" fmla="*/ 68 w 76"/>
                <a:gd name="T7" fmla="*/ 65 h 144"/>
                <a:gd name="T8" fmla="*/ 70 w 76"/>
                <a:gd name="T9" fmla="*/ 31 h 144"/>
                <a:gd name="T10" fmla="*/ 74 w 76"/>
                <a:gd name="T11" fmla="*/ 31 h 144"/>
                <a:gd name="T12" fmla="*/ 74 w 76"/>
                <a:gd name="T13" fmla="*/ 64 h 144"/>
                <a:gd name="T14" fmla="*/ 50 w 76"/>
                <a:gd name="T15" fmla="*/ 81 h 144"/>
                <a:gd name="T16" fmla="*/ 69 w 76"/>
                <a:gd name="T17" fmla="*/ 103 h 144"/>
                <a:gd name="T18" fmla="*/ 74 w 76"/>
                <a:gd name="T19" fmla="*/ 140 h 144"/>
                <a:gd name="T20" fmla="*/ 63 w 76"/>
                <a:gd name="T21" fmla="*/ 105 h 144"/>
                <a:gd name="T22" fmla="*/ 52 w 76"/>
                <a:gd name="T23" fmla="*/ 138 h 144"/>
                <a:gd name="T24" fmla="*/ 46 w 76"/>
                <a:gd name="T25" fmla="*/ 139 h 144"/>
                <a:gd name="T26" fmla="*/ 42 w 76"/>
                <a:gd name="T27" fmla="*/ 57 h 144"/>
                <a:gd name="T28" fmla="*/ 35 w 76"/>
                <a:gd name="T29" fmla="*/ 132 h 144"/>
                <a:gd name="T30" fmla="*/ 27 w 76"/>
                <a:gd name="T31" fmla="*/ 136 h 144"/>
                <a:gd name="T32" fmla="*/ 29 w 76"/>
                <a:gd name="T33" fmla="*/ 95 h 144"/>
                <a:gd name="T34" fmla="*/ 5 w 76"/>
                <a:gd name="T35" fmla="*/ 135 h 144"/>
                <a:gd name="T36" fmla="*/ 0 w 76"/>
                <a:gd name="T37" fmla="*/ 135 h 144"/>
                <a:gd name="T38" fmla="*/ 30 w 76"/>
                <a:gd name="T39" fmla="*/ 86 h 144"/>
                <a:gd name="T40" fmla="*/ 26 w 76"/>
                <a:gd name="T41" fmla="*/ 80 h 144"/>
                <a:gd name="T42" fmla="*/ 5 w 76"/>
                <a:gd name="T43" fmla="*/ 66 h 144"/>
                <a:gd name="T44" fmla="*/ 3 w 76"/>
                <a:gd name="T45" fmla="*/ 29 h 144"/>
                <a:gd name="T46" fmla="*/ 9 w 76"/>
                <a:gd name="T47" fmla="*/ 59 h 144"/>
                <a:gd name="T48" fmla="*/ 31 w 76"/>
                <a:gd name="T49" fmla="*/ 74 h 144"/>
                <a:gd name="T50" fmla="*/ 32 w 76"/>
                <a:gd name="T51" fmla="*/ 57 h 144"/>
                <a:gd name="T52" fmla="*/ 16 w 76"/>
                <a:gd name="T53" fmla="*/ 14 h 144"/>
                <a:gd name="T54" fmla="*/ 22 w 76"/>
                <a:gd name="T55" fmla="*/ 19 h 144"/>
                <a:gd name="T56" fmla="*/ 57 w 76"/>
                <a:gd name="T57" fmla="*/ 19 h 144"/>
                <a:gd name="T58" fmla="*/ 50 w 76"/>
                <a:gd name="T59" fmla="*/ 9 h 144"/>
                <a:gd name="T60" fmla="*/ 22 w 76"/>
                <a:gd name="T61" fmla="*/ 19 h 144"/>
                <a:gd name="T62" fmla="*/ 23 w 76"/>
                <a:gd name="T63" fmla="*/ 31 h 144"/>
                <a:gd name="T64" fmla="*/ 57 w 76"/>
                <a:gd name="T65" fmla="*/ 34 h 144"/>
                <a:gd name="T66" fmla="*/ 22 w 76"/>
                <a:gd name="T67" fmla="*/ 27 h 144"/>
                <a:gd name="T68" fmla="*/ 48 w 76"/>
                <a:gd name="T69" fmla="*/ 50 h 144"/>
                <a:gd name="T70" fmla="*/ 57 w 76"/>
                <a:gd name="T71" fmla="*/ 41 h 144"/>
                <a:gd name="T72" fmla="*/ 25 w 76"/>
                <a:gd name="T73" fmla="*/ 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76" h="144">
                  <a:moveTo>
                    <a:pt x="27" y="2"/>
                  </a:moveTo>
                  <a:cubicBezTo>
                    <a:pt x="37" y="0"/>
                    <a:pt x="47" y="0"/>
                    <a:pt x="56" y="3"/>
                  </a:cubicBezTo>
                  <a:cubicBezTo>
                    <a:pt x="60" y="3"/>
                    <a:pt x="62" y="7"/>
                    <a:pt x="63" y="15"/>
                  </a:cubicBezTo>
                  <a:cubicBezTo>
                    <a:pt x="65" y="25"/>
                    <a:pt x="64" y="35"/>
                    <a:pt x="61" y="45"/>
                  </a:cubicBezTo>
                  <a:cubicBezTo>
                    <a:pt x="60" y="53"/>
                    <a:pt x="55" y="56"/>
                    <a:pt x="49" y="57"/>
                  </a:cubicBezTo>
                  <a:cubicBezTo>
                    <a:pt x="49" y="62"/>
                    <a:pt x="50" y="68"/>
                    <a:pt x="50" y="74"/>
                  </a:cubicBezTo>
                  <a:cubicBezTo>
                    <a:pt x="53" y="74"/>
                    <a:pt x="56" y="74"/>
                    <a:pt x="58" y="74"/>
                  </a:cubicBezTo>
                  <a:cubicBezTo>
                    <a:pt x="62" y="75"/>
                    <a:pt x="66" y="72"/>
                    <a:pt x="68" y="65"/>
                  </a:cubicBezTo>
                  <a:cubicBezTo>
                    <a:pt x="69" y="62"/>
                    <a:pt x="70" y="53"/>
                    <a:pt x="70" y="39"/>
                  </a:cubicBezTo>
                  <a:cubicBezTo>
                    <a:pt x="70" y="35"/>
                    <a:pt x="70" y="32"/>
                    <a:pt x="70" y="31"/>
                  </a:cubicBezTo>
                  <a:cubicBezTo>
                    <a:pt x="71" y="31"/>
                    <a:pt x="71" y="30"/>
                    <a:pt x="72" y="30"/>
                  </a:cubicBezTo>
                  <a:cubicBezTo>
                    <a:pt x="73" y="30"/>
                    <a:pt x="74" y="30"/>
                    <a:pt x="74" y="31"/>
                  </a:cubicBezTo>
                  <a:cubicBezTo>
                    <a:pt x="75" y="33"/>
                    <a:pt x="76" y="36"/>
                    <a:pt x="76" y="41"/>
                  </a:cubicBezTo>
                  <a:cubicBezTo>
                    <a:pt x="76" y="49"/>
                    <a:pt x="75" y="56"/>
                    <a:pt x="74" y="64"/>
                  </a:cubicBezTo>
                  <a:cubicBezTo>
                    <a:pt x="72" y="75"/>
                    <a:pt x="67" y="81"/>
                    <a:pt x="58" y="81"/>
                  </a:cubicBezTo>
                  <a:cubicBezTo>
                    <a:pt x="50" y="81"/>
                    <a:pt x="50" y="81"/>
                    <a:pt x="50" y="81"/>
                  </a:cubicBezTo>
                  <a:cubicBezTo>
                    <a:pt x="50" y="87"/>
                    <a:pt x="50" y="87"/>
                    <a:pt x="50" y="87"/>
                  </a:cubicBezTo>
                  <a:cubicBezTo>
                    <a:pt x="60" y="87"/>
                    <a:pt x="66" y="92"/>
                    <a:pt x="69" y="103"/>
                  </a:cubicBezTo>
                  <a:cubicBezTo>
                    <a:pt x="72" y="112"/>
                    <a:pt x="74" y="122"/>
                    <a:pt x="76" y="134"/>
                  </a:cubicBezTo>
                  <a:cubicBezTo>
                    <a:pt x="76" y="138"/>
                    <a:pt x="75" y="140"/>
                    <a:pt x="74" y="140"/>
                  </a:cubicBezTo>
                  <a:cubicBezTo>
                    <a:pt x="72" y="141"/>
                    <a:pt x="71" y="139"/>
                    <a:pt x="70" y="136"/>
                  </a:cubicBezTo>
                  <a:cubicBezTo>
                    <a:pt x="68" y="126"/>
                    <a:pt x="66" y="116"/>
                    <a:pt x="63" y="105"/>
                  </a:cubicBezTo>
                  <a:cubicBezTo>
                    <a:pt x="61" y="98"/>
                    <a:pt x="57" y="95"/>
                    <a:pt x="50" y="95"/>
                  </a:cubicBezTo>
                  <a:cubicBezTo>
                    <a:pt x="50" y="109"/>
                    <a:pt x="51" y="123"/>
                    <a:pt x="52" y="138"/>
                  </a:cubicBezTo>
                  <a:cubicBezTo>
                    <a:pt x="52" y="141"/>
                    <a:pt x="51" y="143"/>
                    <a:pt x="49" y="144"/>
                  </a:cubicBezTo>
                  <a:cubicBezTo>
                    <a:pt x="47" y="144"/>
                    <a:pt x="46" y="142"/>
                    <a:pt x="46" y="139"/>
                  </a:cubicBezTo>
                  <a:cubicBezTo>
                    <a:pt x="44" y="134"/>
                    <a:pt x="43" y="118"/>
                    <a:pt x="43" y="92"/>
                  </a:cubicBezTo>
                  <a:cubicBezTo>
                    <a:pt x="43" y="76"/>
                    <a:pt x="43" y="64"/>
                    <a:pt x="42" y="57"/>
                  </a:cubicBezTo>
                  <a:cubicBezTo>
                    <a:pt x="38" y="57"/>
                    <a:pt x="38" y="57"/>
                    <a:pt x="38" y="57"/>
                  </a:cubicBezTo>
                  <a:cubicBezTo>
                    <a:pt x="36" y="88"/>
                    <a:pt x="35" y="113"/>
                    <a:pt x="35" y="132"/>
                  </a:cubicBezTo>
                  <a:cubicBezTo>
                    <a:pt x="35" y="138"/>
                    <a:pt x="33" y="142"/>
                    <a:pt x="31" y="142"/>
                  </a:cubicBezTo>
                  <a:cubicBezTo>
                    <a:pt x="29" y="142"/>
                    <a:pt x="27" y="140"/>
                    <a:pt x="27" y="136"/>
                  </a:cubicBezTo>
                  <a:cubicBezTo>
                    <a:pt x="27" y="136"/>
                    <a:pt x="27" y="134"/>
                    <a:pt x="27" y="132"/>
                  </a:cubicBezTo>
                  <a:cubicBezTo>
                    <a:pt x="28" y="118"/>
                    <a:pt x="29" y="105"/>
                    <a:pt x="29" y="95"/>
                  </a:cubicBezTo>
                  <a:cubicBezTo>
                    <a:pt x="19" y="95"/>
                    <a:pt x="14" y="98"/>
                    <a:pt x="13" y="105"/>
                  </a:cubicBezTo>
                  <a:cubicBezTo>
                    <a:pt x="10" y="114"/>
                    <a:pt x="7" y="124"/>
                    <a:pt x="5" y="135"/>
                  </a:cubicBezTo>
                  <a:cubicBezTo>
                    <a:pt x="4" y="137"/>
                    <a:pt x="3" y="139"/>
                    <a:pt x="2" y="139"/>
                  </a:cubicBezTo>
                  <a:cubicBezTo>
                    <a:pt x="1" y="140"/>
                    <a:pt x="0" y="138"/>
                    <a:pt x="0" y="135"/>
                  </a:cubicBezTo>
                  <a:cubicBezTo>
                    <a:pt x="0" y="125"/>
                    <a:pt x="2" y="115"/>
                    <a:pt x="7" y="104"/>
                  </a:cubicBezTo>
                  <a:cubicBezTo>
                    <a:pt x="11" y="92"/>
                    <a:pt x="18" y="86"/>
                    <a:pt x="30" y="86"/>
                  </a:cubicBezTo>
                  <a:cubicBezTo>
                    <a:pt x="30" y="85"/>
                    <a:pt x="30" y="83"/>
                    <a:pt x="31" y="80"/>
                  </a:cubicBezTo>
                  <a:cubicBezTo>
                    <a:pt x="29" y="81"/>
                    <a:pt x="28" y="81"/>
                    <a:pt x="26" y="80"/>
                  </a:cubicBezTo>
                  <a:cubicBezTo>
                    <a:pt x="24" y="80"/>
                    <a:pt x="23" y="80"/>
                    <a:pt x="22" y="80"/>
                  </a:cubicBezTo>
                  <a:cubicBezTo>
                    <a:pt x="14" y="81"/>
                    <a:pt x="8" y="76"/>
                    <a:pt x="5" y="66"/>
                  </a:cubicBezTo>
                  <a:cubicBezTo>
                    <a:pt x="2" y="59"/>
                    <a:pt x="0" y="49"/>
                    <a:pt x="0" y="37"/>
                  </a:cubicBezTo>
                  <a:cubicBezTo>
                    <a:pt x="0" y="32"/>
                    <a:pt x="1" y="29"/>
                    <a:pt x="3" y="29"/>
                  </a:cubicBezTo>
                  <a:cubicBezTo>
                    <a:pt x="6" y="31"/>
                    <a:pt x="8" y="35"/>
                    <a:pt x="8" y="39"/>
                  </a:cubicBezTo>
                  <a:cubicBezTo>
                    <a:pt x="7" y="45"/>
                    <a:pt x="7" y="52"/>
                    <a:pt x="9" y="59"/>
                  </a:cubicBezTo>
                  <a:cubicBezTo>
                    <a:pt x="10" y="68"/>
                    <a:pt x="16" y="73"/>
                    <a:pt x="24" y="74"/>
                  </a:cubicBezTo>
                  <a:cubicBezTo>
                    <a:pt x="26" y="74"/>
                    <a:pt x="29" y="74"/>
                    <a:pt x="31" y="74"/>
                  </a:cubicBezTo>
                  <a:cubicBezTo>
                    <a:pt x="31" y="72"/>
                    <a:pt x="31" y="69"/>
                    <a:pt x="31" y="65"/>
                  </a:cubicBezTo>
                  <a:cubicBezTo>
                    <a:pt x="31" y="61"/>
                    <a:pt x="32" y="58"/>
                    <a:pt x="32" y="57"/>
                  </a:cubicBezTo>
                  <a:cubicBezTo>
                    <a:pt x="25" y="56"/>
                    <a:pt x="20" y="53"/>
                    <a:pt x="19" y="48"/>
                  </a:cubicBezTo>
                  <a:cubicBezTo>
                    <a:pt x="15" y="36"/>
                    <a:pt x="14" y="25"/>
                    <a:pt x="16" y="14"/>
                  </a:cubicBezTo>
                  <a:cubicBezTo>
                    <a:pt x="17" y="6"/>
                    <a:pt x="21" y="2"/>
                    <a:pt x="27" y="2"/>
                  </a:cubicBezTo>
                  <a:close/>
                  <a:moveTo>
                    <a:pt x="22" y="19"/>
                  </a:moveTo>
                  <a:cubicBezTo>
                    <a:pt x="22" y="20"/>
                    <a:pt x="22" y="20"/>
                    <a:pt x="22" y="20"/>
                  </a:cubicBezTo>
                  <a:cubicBezTo>
                    <a:pt x="30" y="20"/>
                    <a:pt x="42" y="19"/>
                    <a:pt x="57" y="19"/>
                  </a:cubicBezTo>
                  <a:cubicBezTo>
                    <a:pt x="57" y="18"/>
                    <a:pt x="57" y="17"/>
                    <a:pt x="57" y="16"/>
                  </a:cubicBezTo>
                  <a:cubicBezTo>
                    <a:pt x="56" y="13"/>
                    <a:pt x="54" y="10"/>
                    <a:pt x="50" y="9"/>
                  </a:cubicBezTo>
                  <a:cubicBezTo>
                    <a:pt x="44" y="8"/>
                    <a:pt x="37" y="7"/>
                    <a:pt x="31" y="9"/>
                  </a:cubicBezTo>
                  <a:cubicBezTo>
                    <a:pt x="25" y="11"/>
                    <a:pt x="22" y="14"/>
                    <a:pt x="22" y="19"/>
                  </a:cubicBezTo>
                  <a:close/>
                  <a:moveTo>
                    <a:pt x="22" y="27"/>
                  </a:moveTo>
                  <a:cubicBezTo>
                    <a:pt x="22" y="28"/>
                    <a:pt x="22" y="29"/>
                    <a:pt x="23" y="31"/>
                  </a:cubicBezTo>
                  <a:cubicBezTo>
                    <a:pt x="23" y="32"/>
                    <a:pt x="23" y="33"/>
                    <a:pt x="23" y="34"/>
                  </a:cubicBezTo>
                  <a:cubicBezTo>
                    <a:pt x="57" y="34"/>
                    <a:pt x="57" y="34"/>
                    <a:pt x="57" y="34"/>
                  </a:cubicBezTo>
                  <a:cubicBezTo>
                    <a:pt x="57" y="27"/>
                    <a:pt x="57" y="27"/>
                    <a:pt x="57" y="27"/>
                  </a:cubicBezTo>
                  <a:cubicBezTo>
                    <a:pt x="45" y="26"/>
                    <a:pt x="33" y="26"/>
                    <a:pt x="22" y="27"/>
                  </a:cubicBezTo>
                  <a:close/>
                  <a:moveTo>
                    <a:pt x="35" y="50"/>
                  </a:moveTo>
                  <a:cubicBezTo>
                    <a:pt x="48" y="50"/>
                    <a:pt x="48" y="50"/>
                    <a:pt x="48" y="50"/>
                  </a:cubicBezTo>
                  <a:cubicBezTo>
                    <a:pt x="53" y="50"/>
                    <a:pt x="55" y="47"/>
                    <a:pt x="57" y="42"/>
                  </a:cubicBezTo>
                  <a:cubicBezTo>
                    <a:pt x="57" y="41"/>
                    <a:pt x="57" y="41"/>
                    <a:pt x="57" y="41"/>
                  </a:cubicBezTo>
                  <a:cubicBezTo>
                    <a:pt x="43" y="41"/>
                    <a:pt x="32" y="41"/>
                    <a:pt x="24" y="42"/>
                  </a:cubicBezTo>
                  <a:cubicBezTo>
                    <a:pt x="24" y="43"/>
                    <a:pt x="24" y="43"/>
                    <a:pt x="25" y="44"/>
                  </a:cubicBezTo>
                  <a:cubicBezTo>
                    <a:pt x="27" y="48"/>
                    <a:pt x="30" y="50"/>
                    <a:pt x="35" y="5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25" name="iṣlîḋè"/>
            <p:cNvSpPr/>
            <p:nvPr/>
          </p:nvSpPr>
          <p:spPr bwMode="auto">
            <a:xfrm>
              <a:off x="2604984" y="5259978"/>
              <a:ext cx="177800" cy="255588"/>
            </a:xfrm>
            <a:custGeom>
              <a:avLst/>
              <a:gdLst>
                <a:gd name="T0" fmla="*/ 5 w 96"/>
                <a:gd name="T1" fmla="*/ 37 h 138"/>
                <a:gd name="T2" fmla="*/ 24 w 96"/>
                <a:gd name="T3" fmla="*/ 49 h 138"/>
                <a:gd name="T4" fmla="*/ 7 w 96"/>
                <a:gd name="T5" fmla="*/ 26 h 138"/>
                <a:gd name="T6" fmla="*/ 0 w 96"/>
                <a:gd name="T7" fmla="*/ 22 h 138"/>
                <a:gd name="T8" fmla="*/ 44 w 96"/>
                <a:gd name="T9" fmla="*/ 19 h 138"/>
                <a:gd name="T10" fmla="*/ 40 w 96"/>
                <a:gd name="T11" fmla="*/ 26 h 138"/>
                <a:gd name="T12" fmla="*/ 29 w 96"/>
                <a:gd name="T13" fmla="*/ 49 h 138"/>
                <a:gd name="T14" fmla="*/ 42 w 96"/>
                <a:gd name="T15" fmla="*/ 39 h 138"/>
                <a:gd name="T16" fmla="*/ 36 w 96"/>
                <a:gd name="T17" fmla="*/ 64 h 138"/>
                <a:gd name="T18" fmla="*/ 44 w 96"/>
                <a:gd name="T19" fmla="*/ 70 h 138"/>
                <a:gd name="T20" fmla="*/ 30 w 96"/>
                <a:gd name="T21" fmla="*/ 78 h 138"/>
                <a:gd name="T22" fmla="*/ 48 w 96"/>
                <a:gd name="T23" fmla="*/ 111 h 138"/>
                <a:gd name="T24" fmla="*/ 42 w 96"/>
                <a:gd name="T25" fmla="*/ 124 h 138"/>
                <a:gd name="T26" fmla="*/ 33 w 96"/>
                <a:gd name="T27" fmla="*/ 93 h 138"/>
                <a:gd name="T28" fmla="*/ 30 w 96"/>
                <a:gd name="T29" fmla="*/ 116 h 138"/>
                <a:gd name="T30" fmla="*/ 24 w 96"/>
                <a:gd name="T31" fmla="*/ 133 h 138"/>
                <a:gd name="T32" fmla="*/ 20 w 96"/>
                <a:gd name="T33" fmla="*/ 93 h 138"/>
                <a:gd name="T34" fmla="*/ 11 w 96"/>
                <a:gd name="T35" fmla="*/ 122 h 138"/>
                <a:gd name="T36" fmla="*/ 8 w 96"/>
                <a:gd name="T37" fmla="*/ 102 h 138"/>
                <a:gd name="T38" fmla="*/ 24 w 96"/>
                <a:gd name="T39" fmla="*/ 81 h 138"/>
                <a:gd name="T40" fmla="*/ 3 w 96"/>
                <a:gd name="T41" fmla="*/ 77 h 138"/>
                <a:gd name="T42" fmla="*/ 14 w 96"/>
                <a:gd name="T43" fmla="*/ 70 h 138"/>
                <a:gd name="T44" fmla="*/ 20 w 96"/>
                <a:gd name="T45" fmla="*/ 65 h 138"/>
                <a:gd name="T46" fmla="*/ 2 w 96"/>
                <a:gd name="T47" fmla="*/ 37 h 138"/>
                <a:gd name="T48" fmla="*/ 40 w 96"/>
                <a:gd name="T49" fmla="*/ 3 h 138"/>
                <a:gd name="T50" fmla="*/ 14 w 96"/>
                <a:gd name="T51" fmla="*/ 11 h 138"/>
                <a:gd name="T52" fmla="*/ 5 w 96"/>
                <a:gd name="T53" fmla="*/ 6 h 138"/>
                <a:gd name="T54" fmla="*/ 33 w 96"/>
                <a:gd name="T55" fmla="*/ 26 h 138"/>
                <a:gd name="T56" fmla="*/ 27 w 96"/>
                <a:gd name="T57" fmla="*/ 45 h 138"/>
                <a:gd name="T58" fmla="*/ 54 w 96"/>
                <a:gd name="T59" fmla="*/ 2 h 138"/>
                <a:gd name="T60" fmla="*/ 58 w 96"/>
                <a:gd name="T61" fmla="*/ 10 h 138"/>
                <a:gd name="T62" fmla="*/ 88 w 96"/>
                <a:gd name="T63" fmla="*/ 22 h 138"/>
                <a:gd name="T64" fmla="*/ 74 w 96"/>
                <a:gd name="T65" fmla="*/ 37 h 138"/>
                <a:gd name="T66" fmla="*/ 62 w 96"/>
                <a:gd name="T67" fmla="*/ 66 h 138"/>
                <a:gd name="T68" fmla="*/ 53 w 96"/>
                <a:gd name="T69" fmla="*/ 136 h 138"/>
                <a:gd name="T70" fmla="*/ 48 w 96"/>
                <a:gd name="T71" fmla="*/ 130 h 138"/>
                <a:gd name="T72" fmla="*/ 55 w 96"/>
                <a:gd name="T73" fmla="*/ 48 h 138"/>
                <a:gd name="T74" fmla="*/ 76 w 96"/>
                <a:gd name="T75" fmla="*/ 31 h 138"/>
                <a:gd name="T76" fmla="*/ 65 w 96"/>
                <a:gd name="T77" fmla="*/ 18 h 138"/>
                <a:gd name="T78" fmla="*/ 52 w 96"/>
                <a:gd name="T79" fmla="*/ 13 h 138"/>
                <a:gd name="T80" fmla="*/ 94 w 96"/>
                <a:gd name="T81" fmla="*/ 74 h 138"/>
                <a:gd name="T82" fmla="*/ 76 w 96"/>
                <a:gd name="T83" fmla="*/ 54 h 138"/>
                <a:gd name="T84" fmla="*/ 83 w 96"/>
                <a:gd name="T85" fmla="*/ 119 h 138"/>
                <a:gd name="T86" fmla="*/ 88 w 96"/>
                <a:gd name="T87" fmla="*/ 133 h 138"/>
                <a:gd name="T88" fmla="*/ 70 w 96"/>
                <a:gd name="T89" fmla="*/ 93 h 138"/>
                <a:gd name="T90" fmla="*/ 70 w 96"/>
                <a:gd name="T91" fmla="*/ 42 h 138"/>
                <a:gd name="T92" fmla="*/ 95 w 96"/>
                <a:gd name="T93" fmla="*/ 70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96" h="138">
                  <a:moveTo>
                    <a:pt x="2" y="37"/>
                  </a:moveTo>
                  <a:cubicBezTo>
                    <a:pt x="2" y="36"/>
                    <a:pt x="2" y="35"/>
                    <a:pt x="3" y="35"/>
                  </a:cubicBezTo>
                  <a:cubicBezTo>
                    <a:pt x="4" y="35"/>
                    <a:pt x="5" y="36"/>
                    <a:pt x="5" y="37"/>
                  </a:cubicBezTo>
                  <a:cubicBezTo>
                    <a:pt x="9" y="49"/>
                    <a:pt x="14" y="56"/>
                    <a:pt x="21" y="59"/>
                  </a:cubicBezTo>
                  <a:cubicBezTo>
                    <a:pt x="21" y="59"/>
                    <a:pt x="22" y="60"/>
                    <a:pt x="24" y="60"/>
                  </a:cubicBezTo>
                  <a:cubicBezTo>
                    <a:pt x="24" y="56"/>
                    <a:pt x="24" y="53"/>
                    <a:pt x="24" y="49"/>
                  </a:cubicBezTo>
                  <a:cubicBezTo>
                    <a:pt x="21" y="48"/>
                    <a:pt x="18" y="46"/>
                    <a:pt x="16" y="42"/>
                  </a:cubicBezTo>
                  <a:cubicBezTo>
                    <a:pt x="13" y="38"/>
                    <a:pt x="12" y="33"/>
                    <a:pt x="12" y="26"/>
                  </a:cubicBezTo>
                  <a:cubicBezTo>
                    <a:pt x="9" y="26"/>
                    <a:pt x="8" y="26"/>
                    <a:pt x="7" y="26"/>
                  </a:cubicBezTo>
                  <a:cubicBezTo>
                    <a:pt x="4" y="27"/>
                    <a:pt x="2" y="27"/>
                    <a:pt x="1" y="25"/>
                  </a:cubicBezTo>
                  <a:cubicBezTo>
                    <a:pt x="0" y="24"/>
                    <a:pt x="0" y="23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1" y="19"/>
                    <a:pt x="2" y="18"/>
                    <a:pt x="4" y="19"/>
                  </a:cubicBezTo>
                  <a:cubicBezTo>
                    <a:pt x="6" y="19"/>
                    <a:pt x="8" y="19"/>
                    <a:pt x="11" y="19"/>
                  </a:cubicBezTo>
                  <a:cubicBezTo>
                    <a:pt x="44" y="19"/>
                    <a:pt x="44" y="19"/>
                    <a:pt x="44" y="19"/>
                  </a:cubicBezTo>
                  <a:cubicBezTo>
                    <a:pt x="46" y="19"/>
                    <a:pt x="48" y="20"/>
                    <a:pt x="48" y="23"/>
                  </a:cubicBezTo>
                  <a:cubicBezTo>
                    <a:pt x="47" y="25"/>
                    <a:pt x="45" y="26"/>
                    <a:pt x="42" y="26"/>
                  </a:cubicBezTo>
                  <a:cubicBezTo>
                    <a:pt x="42" y="26"/>
                    <a:pt x="41" y="26"/>
                    <a:pt x="40" y="26"/>
                  </a:cubicBezTo>
                  <a:cubicBezTo>
                    <a:pt x="40" y="26"/>
                    <a:pt x="40" y="26"/>
                    <a:pt x="40" y="26"/>
                  </a:cubicBezTo>
                  <a:cubicBezTo>
                    <a:pt x="39" y="34"/>
                    <a:pt x="38" y="39"/>
                    <a:pt x="37" y="42"/>
                  </a:cubicBezTo>
                  <a:cubicBezTo>
                    <a:pt x="34" y="46"/>
                    <a:pt x="32" y="49"/>
                    <a:pt x="29" y="49"/>
                  </a:cubicBezTo>
                  <a:cubicBezTo>
                    <a:pt x="30" y="53"/>
                    <a:pt x="30" y="56"/>
                    <a:pt x="30" y="60"/>
                  </a:cubicBezTo>
                  <a:cubicBezTo>
                    <a:pt x="31" y="60"/>
                    <a:pt x="32" y="59"/>
                    <a:pt x="33" y="58"/>
                  </a:cubicBezTo>
                  <a:cubicBezTo>
                    <a:pt x="39" y="56"/>
                    <a:pt x="42" y="49"/>
                    <a:pt x="42" y="39"/>
                  </a:cubicBezTo>
                  <a:cubicBezTo>
                    <a:pt x="43" y="37"/>
                    <a:pt x="44" y="36"/>
                    <a:pt x="46" y="36"/>
                  </a:cubicBezTo>
                  <a:cubicBezTo>
                    <a:pt x="47" y="36"/>
                    <a:pt x="48" y="37"/>
                    <a:pt x="48" y="39"/>
                  </a:cubicBezTo>
                  <a:cubicBezTo>
                    <a:pt x="49" y="49"/>
                    <a:pt x="45" y="57"/>
                    <a:pt x="36" y="64"/>
                  </a:cubicBezTo>
                  <a:cubicBezTo>
                    <a:pt x="34" y="65"/>
                    <a:pt x="32" y="66"/>
                    <a:pt x="30" y="66"/>
                  </a:cubicBezTo>
                  <a:cubicBezTo>
                    <a:pt x="30" y="70"/>
                    <a:pt x="30" y="70"/>
                    <a:pt x="30" y="70"/>
                  </a:cubicBezTo>
                  <a:cubicBezTo>
                    <a:pt x="44" y="70"/>
                    <a:pt x="44" y="70"/>
                    <a:pt x="44" y="70"/>
                  </a:cubicBezTo>
                  <a:cubicBezTo>
                    <a:pt x="47" y="70"/>
                    <a:pt x="49" y="71"/>
                    <a:pt x="49" y="73"/>
                  </a:cubicBezTo>
                  <a:cubicBezTo>
                    <a:pt x="49" y="76"/>
                    <a:pt x="47" y="77"/>
                    <a:pt x="43" y="77"/>
                  </a:cubicBezTo>
                  <a:cubicBezTo>
                    <a:pt x="37" y="77"/>
                    <a:pt x="33" y="77"/>
                    <a:pt x="30" y="78"/>
                  </a:cubicBezTo>
                  <a:cubicBezTo>
                    <a:pt x="30" y="80"/>
                    <a:pt x="30" y="82"/>
                    <a:pt x="30" y="84"/>
                  </a:cubicBezTo>
                  <a:cubicBezTo>
                    <a:pt x="34" y="84"/>
                    <a:pt x="37" y="87"/>
                    <a:pt x="40" y="91"/>
                  </a:cubicBezTo>
                  <a:cubicBezTo>
                    <a:pt x="44" y="96"/>
                    <a:pt x="46" y="103"/>
                    <a:pt x="48" y="111"/>
                  </a:cubicBezTo>
                  <a:cubicBezTo>
                    <a:pt x="49" y="116"/>
                    <a:pt x="49" y="120"/>
                    <a:pt x="48" y="124"/>
                  </a:cubicBezTo>
                  <a:cubicBezTo>
                    <a:pt x="47" y="125"/>
                    <a:pt x="46" y="125"/>
                    <a:pt x="45" y="125"/>
                  </a:cubicBezTo>
                  <a:cubicBezTo>
                    <a:pt x="44" y="125"/>
                    <a:pt x="43" y="125"/>
                    <a:pt x="42" y="124"/>
                  </a:cubicBezTo>
                  <a:cubicBezTo>
                    <a:pt x="42" y="123"/>
                    <a:pt x="42" y="121"/>
                    <a:pt x="42" y="118"/>
                  </a:cubicBezTo>
                  <a:cubicBezTo>
                    <a:pt x="41" y="116"/>
                    <a:pt x="41" y="114"/>
                    <a:pt x="41" y="113"/>
                  </a:cubicBezTo>
                  <a:cubicBezTo>
                    <a:pt x="40" y="104"/>
                    <a:pt x="37" y="97"/>
                    <a:pt x="33" y="93"/>
                  </a:cubicBezTo>
                  <a:cubicBezTo>
                    <a:pt x="33" y="92"/>
                    <a:pt x="32" y="91"/>
                    <a:pt x="30" y="91"/>
                  </a:cubicBezTo>
                  <a:cubicBezTo>
                    <a:pt x="31" y="97"/>
                    <a:pt x="31" y="101"/>
                    <a:pt x="31" y="105"/>
                  </a:cubicBezTo>
                  <a:cubicBezTo>
                    <a:pt x="31" y="107"/>
                    <a:pt x="31" y="111"/>
                    <a:pt x="30" y="116"/>
                  </a:cubicBezTo>
                  <a:cubicBezTo>
                    <a:pt x="30" y="124"/>
                    <a:pt x="30" y="129"/>
                    <a:pt x="29" y="133"/>
                  </a:cubicBezTo>
                  <a:cubicBezTo>
                    <a:pt x="29" y="136"/>
                    <a:pt x="28" y="137"/>
                    <a:pt x="27" y="137"/>
                  </a:cubicBezTo>
                  <a:cubicBezTo>
                    <a:pt x="26" y="137"/>
                    <a:pt x="25" y="136"/>
                    <a:pt x="24" y="133"/>
                  </a:cubicBezTo>
                  <a:cubicBezTo>
                    <a:pt x="24" y="120"/>
                    <a:pt x="24" y="111"/>
                    <a:pt x="24" y="105"/>
                  </a:cubicBezTo>
                  <a:cubicBezTo>
                    <a:pt x="24" y="100"/>
                    <a:pt x="24" y="95"/>
                    <a:pt x="24" y="90"/>
                  </a:cubicBezTo>
                  <a:cubicBezTo>
                    <a:pt x="22" y="91"/>
                    <a:pt x="21" y="92"/>
                    <a:pt x="20" y="93"/>
                  </a:cubicBezTo>
                  <a:cubicBezTo>
                    <a:pt x="18" y="94"/>
                    <a:pt x="16" y="98"/>
                    <a:pt x="14" y="102"/>
                  </a:cubicBezTo>
                  <a:cubicBezTo>
                    <a:pt x="13" y="104"/>
                    <a:pt x="13" y="104"/>
                    <a:pt x="13" y="104"/>
                  </a:cubicBezTo>
                  <a:cubicBezTo>
                    <a:pt x="12" y="108"/>
                    <a:pt x="11" y="114"/>
                    <a:pt x="11" y="122"/>
                  </a:cubicBezTo>
                  <a:cubicBezTo>
                    <a:pt x="10" y="124"/>
                    <a:pt x="9" y="125"/>
                    <a:pt x="7" y="125"/>
                  </a:cubicBezTo>
                  <a:cubicBezTo>
                    <a:pt x="6" y="125"/>
                    <a:pt x="5" y="124"/>
                    <a:pt x="5" y="122"/>
                  </a:cubicBezTo>
                  <a:cubicBezTo>
                    <a:pt x="6" y="115"/>
                    <a:pt x="7" y="108"/>
                    <a:pt x="8" y="102"/>
                  </a:cubicBezTo>
                  <a:cubicBezTo>
                    <a:pt x="9" y="97"/>
                    <a:pt x="11" y="92"/>
                    <a:pt x="14" y="89"/>
                  </a:cubicBezTo>
                  <a:cubicBezTo>
                    <a:pt x="17" y="86"/>
                    <a:pt x="20" y="84"/>
                    <a:pt x="24" y="84"/>
                  </a:cubicBezTo>
                  <a:cubicBezTo>
                    <a:pt x="24" y="81"/>
                    <a:pt x="24" y="81"/>
                    <a:pt x="24" y="81"/>
                  </a:cubicBezTo>
                  <a:cubicBezTo>
                    <a:pt x="24" y="80"/>
                    <a:pt x="24" y="79"/>
                    <a:pt x="24" y="78"/>
                  </a:cubicBezTo>
                  <a:cubicBezTo>
                    <a:pt x="14" y="78"/>
                    <a:pt x="9" y="78"/>
                    <a:pt x="9" y="78"/>
                  </a:cubicBezTo>
                  <a:cubicBezTo>
                    <a:pt x="6" y="79"/>
                    <a:pt x="4" y="79"/>
                    <a:pt x="3" y="77"/>
                  </a:cubicBezTo>
                  <a:cubicBezTo>
                    <a:pt x="2" y="76"/>
                    <a:pt x="2" y="74"/>
                    <a:pt x="3" y="72"/>
                  </a:cubicBezTo>
                  <a:cubicBezTo>
                    <a:pt x="3" y="70"/>
                    <a:pt x="4" y="70"/>
                    <a:pt x="7" y="70"/>
                  </a:cubicBezTo>
                  <a:cubicBezTo>
                    <a:pt x="8" y="70"/>
                    <a:pt x="10" y="70"/>
                    <a:pt x="14" y="70"/>
                  </a:cubicBezTo>
                  <a:cubicBezTo>
                    <a:pt x="24" y="70"/>
                    <a:pt x="24" y="70"/>
                    <a:pt x="24" y="70"/>
                  </a:cubicBezTo>
                  <a:cubicBezTo>
                    <a:pt x="24" y="66"/>
                    <a:pt x="24" y="66"/>
                    <a:pt x="24" y="66"/>
                  </a:cubicBezTo>
                  <a:cubicBezTo>
                    <a:pt x="22" y="66"/>
                    <a:pt x="21" y="66"/>
                    <a:pt x="20" y="65"/>
                  </a:cubicBezTo>
                  <a:cubicBezTo>
                    <a:pt x="12" y="62"/>
                    <a:pt x="6" y="56"/>
                    <a:pt x="2" y="46"/>
                  </a:cubicBezTo>
                  <a:cubicBezTo>
                    <a:pt x="2" y="46"/>
                    <a:pt x="2" y="43"/>
                    <a:pt x="2" y="40"/>
                  </a:cubicBezTo>
                  <a:cubicBezTo>
                    <a:pt x="2" y="39"/>
                    <a:pt x="2" y="38"/>
                    <a:pt x="2" y="37"/>
                  </a:cubicBezTo>
                  <a:close/>
                  <a:moveTo>
                    <a:pt x="9" y="3"/>
                  </a:moveTo>
                  <a:cubicBezTo>
                    <a:pt x="11" y="3"/>
                    <a:pt x="15" y="3"/>
                    <a:pt x="19" y="3"/>
                  </a:cubicBezTo>
                  <a:cubicBezTo>
                    <a:pt x="40" y="3"/>
                    <a:pt x="40" y="3"/>
                    <a:pt x="40" y="3"/>
                  </a:cubicBezTo>
                  <a:cubicBezTo>
                    <a:pt x="43" y="3"/>
                    <a:pt x="44" y="5"/>
                    <a:pt x="44" y="7"/>
                  </a:cubicBezTo>
                  <a:cubicBezTo>
                    <a:pt x="44" y="9"/>
                    <a:pt x="42" y="10"/>
                    <a:pt x="39" y="10"/>
                  </a:cubicBezTo>
                  <a:cubicBezTo>
                    <a:pt x="34" y="10"/>
                    <a:pt x="25" y="10"/>
                    <a:pt x="14" y="11"/>
                  </a:cubicBezTo>
                  <a:cubicBezTo>
                    <a:pt x="13" y="11"/>
                    <a:pt x="12" y="11"/>
                    <a:pt x="11" y="11"/>
                  </a:cubicBezTo>
                  <a:cubicBezTo>
                    <a:pt x="7" y="11"/>
                    <a:pt x="5" y="11"/>
                    <a:pt x="5" y="9"/>
                  </a:cubicBezTo>
                  <a:cubicBezTo>
                    <a:pt x="5" y="9"/>
                    <a:pt x="4" y="8"/>
                    <a:pt x="5" y="6"/>
                  </a:cubicBezTo>
                  <a:cubicBezTo>
                    <a:pt x="5" y="5"/>
                    <a:pt x="5" y="5"/>
                    <a:pt x="5" y="5"/>
                  </a:cubicBezTo>
                  <a:cubicBezTo>
                    <a:pt x="5" y="3"/>
                    <a:pt x="6" y="3"/>
                    <a:pt x="9" y="3"/>
                  </a:cubicBezTo>
                  <a:close/>
                  <a:moveTo>
                    <a:pt x="33" y="26"/>
                  </a:moveTo>
                  <a:cubicBezTo>
                    <a:pt x="28" y="26"/>
                    <a:pt x="23" y="26"/>
                    <a:pt x="17" y="26"/>
                  </a:cubicBezTo>
                  <a:cubicBezTo>
                    <a:pt x="18" y="32"/>
                    <a:pt x="20" y="38"/>
                    <a:pt x="24" y="42"/>
                  </a:cubicBezTo>
                  <a:cubicBezTo>
                    <a:pt x="25" y="44"/>
                    <a:pt x="26" y="45"/>
                    <a:pt x="27" y="45"/>
                  </a:cubicBezTo>
                  <a:cubicBezTo>
                    <a:pt x="28" y="45"/>
                    <a:pt x="29" y="44"/>
                    <a:pt x="29" y="42"/>
                  </a:cubicBezTo>
                  <a:cubicBezTo>
                    <a:pt x="32" y="38"/>
                    <a:pt x="33" y="33"/>
                    <a:pt x="33" y="26"/>
                  </a:cubicBezTo>
                  <a:close/>
                  <a:moveTo>
                    <a:pt x="54" y="2"/>
                  </a:moveTo>
                  <a:cubicBezTo>
                    <a:pt x="55" y="0"/>
                    <a:pt x="57" y="0"/>
                    <a:pt x="58" y="1"/>
                  </a:cubicBezTo>
                  <a:cubicBezTo>
                    <a:pt x="59" y="2"/>
                    <a:pt x="60" y="4"/>
                    <a:pt x="59" y="6"/>
                  </a:cubicBezTo>
                  <a:cubicBezTo>
                    <a:pt x="57" y="8"/>
                    <a:pt x="57" y="9"/>
                    <a:pt x="58" y="10"/>
                  </a:cubicBezTo>
                  <a:cubicBezTo>
                    <a:pt x="59" y="11"/>
                    <a:pt x="61" y="12"/>
                    <a:pt x="63" y="11"/>
                  </a:cubicBezTo>
                  <a:cubicBezTo>
                    <a:pt x="67" y="9"/>
                    <a:pt x="73" y="9"/>
                    <a:pt x="80" y="11"/>
                  </a:cubicBezTo>
                  <a:cubicBezTo>
                    <a:pt x="84" y="13"/>
                    <a:pt x="87" y="16"/>
                    <a:pt x="88" y="22"/>
                  </a:cubicBezTo>
                  <a:cubicBezTo>
                    <a:pt x="89" y="27"/>
                    <a:pt x="88" y="32"/>
                    <a:pt x="85" y="35"/>
                  </a:cubicBezTo>
                  <a:cubicBezTo>
                    <a:pt x="84" y="38"/>
                    <a:pt x="81" y="39"/>
                    <a:pt x="75" y="37"/>
                  </a:cubicBezTo>
                  <a:cubicBezTo>
                    <a:pt x="75" y="37"/>
                    <a:pt x="74" y="37"/>
                    <a:pt x="74" y="37"/>
                  </a:cubicBezTo>
                  <a:cubicBezTo>
                    <a:pt x="69" y="37"/>
                    <a:pt x="66" y="37"/>
                    <a:pt x="63" y="38"/>
                  </a:cubicBezTo>
                  <a:cubicBezTo>
                    <a:pt x="62" y="38"/>
                    <a:pt x="61" y="40"/>
                    <a:pt x="61" y="43"/>
                  </a:cubicBezTo>
                  <a:cubicBezTo>
                    <a:pt x="62" y="48"/>
                    <a:pt x="62" y="56"/>
                    <a:pt x="62" y="66"/>
                  </a:cubicBezTo>
                  <a:cubicBezTo>
                    <a:pt x="62" y="70"/>
                    <a:pt x="61" y="76"/>
                    <a:pt x="61" y="84"/>
                  </a:cubicBezTo>
                  <a:cubicBezTo>
                    <a:pt x="59" y="99"/>
                    <a:pt x="58" y="110"/>
                    <a:pt x="57" y="116"/>
                  </a:cubicBezTo>
                  <a:cubicBezTo>
                    <a:pt x="57" y="122"/>
                    <a:pt x="55" y="128"/>
                    <a:pt x="53" y="136"/>
                  </a:cubicBezTo>
                  <a:cubicBezTo>
                    <a:pt x="52" y="137"/>
                    <a:pt x="51" y="138"/>
                    <a:pt x="50" y="138"/>
                  </a:cubicBezTo>
                  <a:cubicBezTo>
                    <a:pt x="48" y="138"/>
                    <a:pt x="48" y="137"/>
                    <a:pt x="48" y="136"/>
                  </a:cubicBezTo>
                  <a:cubicBezTo>
                    <a:pt x="48" y="135"/>
                    <a:pt x="48" y="133"/>
                    <a:pt x="48" y="130"/>
                  </a:cubicBezTo>
                  <a:cubicBezTo>
                    <a:pt x="49" y="127"/>
                    <a:pt x="49" y="126"/>
                    <a:pt x="49" y="125"/>
                  </a:cubicBezTo>
                  <a:cubicBezTo>
                    <a:pt x="53" y="104"/>
                    <a:pt x="55" y="85"/>
                    <a:pt x="55" y="68"/>
                  </a:cubicBezTo>
                  <a:cubicBezTo>
                    <a:pt x="56" y="60"/>
                    <a:pt x="56" y="54"/>
                    <a:pt x="55" y="48"/>
                  </a:cubicBezTo>
                  <a:cubicBezTo>
                    <a:pt x="54" y="45"/>
                    <a:pt x="53" y="42"/>
                    <a:pt x="52" y="40"/>
                  </a:cubicBezTo>
                  <a:cubicBezTo>
                    <a:pt x="50" y="38"/>
                    <a:pt x="51" y="36"/>
                    <a:pt x="54" y="34"/>
                  </a:cubicBezTo>
                  <a:cubicBezTo>
                    <a:pt x="58" y="30"/>
                    <a:pt x="66" y="29"/>
                    <a:pt x="76" y="31"/>
                  </a:cubicBezTo>
                  <a:cubicBezTo>
                    <a:pt x="81" y="32"/>
                    <a:pt x="83" y="30"/>
                    <a:pt x="83" y="25"/>
                  </a:cubicBezTo>
                  <a:cubicBezTo>
                    <a:pt x="83" y="21"/>
                    <a:pt x="81" y="18"/>
                    <a:pt x="77" y="18"/>
                  </a:cubicBezTo>
                  <a:cubicBezTo>
                    <a:pt x="70" y="17"/>
                    <a:pt x="66" y="17"/>
                    <a:pt x="65" y="18"/>
                  </a:cubicBezTo>
                  <a:cubicBezTo>
                    <a:pt x="63" y="19"/>
                    <a:pt x="60" y="19"/>
                    <a:pt x="57" y="19"/>
                  </a:cubicBezTo>
                  <a:cubicBezTo>
                    <a:pt x="57" y="18"/>
                    <a:pt x="55" y="17"/>
                    <a:pt x="53" y="15"/>
                  </a:cubicBezTo>
                  <a:cubicBezTo>
                    <a:pt x="53" y="14"/>
                    <a:pt x="52" y="14"/>
                    <a:pt x="52" y="13"/>
                  </a:cubicBezTo>
                  <a:cubicBezTo>
                    <a:pt x="50" y="10"/>
                    <a:pt x="51" y="6"/>
                    <a:pt x="54" y="2"/>
                  </a:cubicBezTo>
                  <a:close/>
                  <a:moveTo>
                    <a:pt x="95" y="70"/>
                  </a:moveTo>
                  <a:cubicBezTo>
                    <a:pt x="96" y="72"/>
                    <a:pt x="95" y="73"/>
                    <a:pt x="94" y="74"/>
                  </a:cubicBezTo>
                  <a:cubicBezTo>
                    <a:pt x="92" y="74"/>
                    <a:pt x="91" y="74"/>
                    <a:pt x="90" y="72"/>
                  </a:cubicBezTo>
                  <a:cubicBezTo>
                    <a:pt x="88" y="67"/>
                    <a:pt x="84" y="62"/>
                    <a:pt x="78" y="56"/>
                  </a:cubicBezTo>
                  <a:cubicBezTo>
                    <a:pt x="77" y="55"/>
                    <a:pt x="76" y="54"/>
                    <a:pt x="76" y="54"/>
                  </a:cubicBezTo>
                  <a:cubicBezTo>
                    <a:pt x="75" y="56"/>
                    <a:pt x="75" y="56"/>
                    <a:pt x="75" y="56"/>
                  </a:cubicBezTo>
                  <a:cubicBezTo>
                    <a:pt x="75" y="61"/>
                    <a:pt x="75" y="73"/>
                    <a:pt x="77" y="93"/>
                  </a:cubicBezTo>
                  <a:cubicBezTo>
                    <a:pt x="78" y="99"/>
                    <a:pt x="80" y="107"/>
                    <a:pt x="83" y="119"/>
                  </a:cubicBezTo>
                  <a:cubicBezTo>
                    <a:pt x="84" y="122"/>
                    <a:pt x="85" y="124"/>
                    <a:pt x="85" y="124"/>
                  </a:cubicBezTo>
                  <a:cubicBezTo>
                    <a:pt x="86" y="126"/>
                    <a:pt x="86" y="128"/>
                    <a:pt x="87" y="131"/>
                  </a:cubicBezTo>
                  <a:cubicBezTo>
                    <a:pt x="88" y="132"/>
                    <a:pt x="88" y="133"/>
                    <a:pt x="88" y="133"/>
                  </a:cubicBezTo>
                  <a:cubicBezTo>
                    <a:pt x="88" y="135"/>
                    <a:pt x="88" y="136"/>
                    <a:pt x="86" y="136"/>
                  </a:cubicBezTo>
                  <a:cubicBezTo>
                    <a:pt x="84" y="136"/>
                    <a:pt x="83" y="135"/>
                    <a:pt x="82" y="133"/>
                  </a:cubicBezTo>
                  <a:cubicBezTo>
                    <a:pt x="77" y="123"/>
                    <a:pt x="73" y="110"/>
                    <a:pt x="70" y="93"/>
                  </a:cubicBezTo>
                  <a:cubicBezTo>
                    <a:pt x="69" y="79"/>
                    <a:pt x="68" y="68"/>
                    <a:pt x="68" y="58"/>
                  </a:cubicBezTo>
                  <a:cubicBezTo>
                    <a:pt x="68" y="51"/>
                    <a:pt x="68" y="46"/>
                    <a:pt x="68" y="44"/>
                  </a:cubicBezTo>
                  <a:cubicBezTo>
                    <a:pt x="68" y="43"/>
                    <a:pt x="69" y="42"/>
                    <a:pt x="70" y="42"/>
                  </a:cubicBezTo>
                  <a:cubicBezTo>
                    <a:pt x="71" y="41"/>
                    <a:pt x="71" y="41"/>
                    <a:pt x="72" y="42"/>
                  </a:cubicBezTo>
                  <a:cubicBezTo>
                    <a:pt x="76" y="45"/>
                    <a:pt x="78" y="48"/>
                    <a:pt x="80" y="49"/>
                  </a:cubicBezTo>
                  <a:cubicBezTo>
                    <a:pt x="86" y="54"/>
                    <a:pt x="91" y="61"/>
                    <a:pt x="95" y="7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26" name="íṣ1ïḑe"/>
            <p:cNvSpPr/>
            <p:nvPr/>
          </p:nvSpPr>
          <p:spPr bwMode="auto">
            <a:xfrm>
              <a:off x="1750909" y="4905965"/>
              <a:ext cx="93663" cy="87313"/>
            </a:xfrm>
            <a:custGeom>
              <a:avLst/>
              <a:gdLst>
                <a:gd name="T0" fmla="*/ 51 w 51"/>
                <a:gd name="T1" fmla="*/ 17 h 47"/>
                <a:gd name="T2" fmla="*/ 46 w 51"/>
                <a:gd name="T3" fmla="*/ 25 h 47"/>
                <a:gd name="T4" fmla="*/ 26 w 51"/>
                <a:gd name="T5" fmla="*/ 13 h 47"/>
                <a:gd name="T6" fmla="*/ 20 w 51"/>
                <a:gd name="T7" fmla="*/ 9 h 47"/>
                <a:gd name="T8" fmla="*/ 14 w 51"/>
                <a:gd name="T9" fmla="*/ 9 h 47"/>
                <a:gd name="T10" fmla="*/ 10 w 51"/>
                <a:gd name="T11" fmla="*/ 13 h 47"/>
                <a:gd name="T12" fmla="*/ 8 w 51"/>
                <a:gd name="T13" fmla="*/ 19 h 47"/>
                <a:gd name="T14" fmla="*/ 10 w 51"/>
                <a:gd name="T15" fmla="*/ 23 h 47"/>
                <a:gd name="T16" fmla="*/ 17 w 51"/>
                <a:gd name="T17" fmla="*/ 27 h 47"/>
                <a:gd name="T18" fmla="*/ 37 w 51"/>
                <a:gd name="T19" fmla="*/ 40 h 47"/>
                <a:gd name="T20" fmla="*/ 33 w 51"/>
                <a:gd name="T21" fmla="*/ 47 h 47"/>
                <a:gd name="T22" fmla="*/ 13 w 51"/>
                <a:gd name="T23" fmla="*/ 35 h 47"/>
                <a:gd name="T24" fmla="*/ 4 w 51"/>
                <a:gd name="T25" fmla="*/ 29 h 47"/>
                <a:gd name="T26" fmla="*/ 1 w 51"/>
                <a:gd name="T27" fmla="*/ 24 h 47"/>
                <a:gd name="T28" fmla="*/ 0 w 51"/>
                <a:gd name="T29" fmla="*/ 18 h 47"/>
                <a:gd name="T30" fmla="*/ 3 w 51"/>
                <a:gd name="T31" fmla="*/ 10 h 47"/>
                <a:gd name="T32" fmla="*/ 10 w 51"/>
                <a:gd name="T33" fmla="*/ 2 h 47"/>
                <a:gd name="T34" fmla="*/ 15 w 51"/>
                <a:gd name="T35" fmla="*/ 0 h 47"/>
                <a:gd name="T36" fmla="*/ 21 w 51"/>
                <a:gd name="T37" fmla="*/ 0 h 47"/>
                <a:gd name="T38" fmla="*/ 31 w 51"/>
                <a:gd name="T39" fmla="*/ 5 h 47"/>
                <a:gd name="T40" fmla="*/ 51 w 51"/>
                <a:gd name="T41" fmla="*/ 17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51" h="47">
                  <a:moveTo>
                    <a:pt x="51" y="17"/>
                  </a:moveTo>
                  <a:cubicBezTo>
                    <a:pt x="46" y="25"/>
                    <a:pt x="46" y="25"/>
                    <a:pt x="46" y="25"/>
                  </a:cubicBezTo>
                  <a:cubicBezTo>
                    <a:pt x="26" y="13"/>
                    <a:pt x="26" y="13"/>
                    <a:pt x="26" y="13"/>
                  </a:cubicBezTo>
                  <a:cubicBezTo>
                    <a:pt x="23" y="11"/>
                    <a:pt x="21" y="10"/>
                    <a:pt x="20" y="9"/>
                  </a:cubicBezTo>
                  <a:cubicBezTo>
                    <a:pt x="18" y="9"/>
                    <a:pt x="16" y="9"/>
                    <a:pt x="14" y="9"/>
                  </a:cubicBezTo>
                  <a:cubicBezTo>
                    <a:pt x="13" y="10"/>
                    <a:pt x="11" y="11"/>
                    <a:pt x="10" y="13"/>
                  </a:cubicBezTo>
                  <a:cubicBezTo>
                    <a:pt x="9" y="16"/>
                    <a:pt x="8" y="17"/>
                    <a:pt x="8" y="19"/>
                  </a:cubicBezTo>
                  <a:cubicBezTo>
                    <a:pt x="9" y="21"/>
                    <a:pt x="9" y="22"/>
                    <a:pt x="10" y="23"/>
                  </a:cubicBezTo>
                  <a:cubicBezTo>
                    <a:pt x="12" y="24"/>
                    <a:pt x="14" y="25"/>
                    <a:pt x="17" y="27"/>
                  </a:cubicBezTo>
                  <a:cubicBezTo>
                    <a:pt x="37" y="40"/>
                    <a:pt x="37" y="40"/>
                    <a:pt x="37" y="40"/>
                  </a:cubicBezTo>
                  <a:cubicBezTo>
                    <a:pt x="33" y="47"/>
                    <a:pt x="33" y="47"/>
                    <a:pt x="33" y="47"/>
                  </a:cubicBezTo>
                  <a:cubicBezTo>
                    <a:pt x="13" y="35"/>
                    <a:pt x="13" y="35"/>
                    <a:pt x="13" y="35"/>
                  </a:cubicBezTo>
                  <a:cubicBezTo>
                    <a:pt x="9" y="33"/>
                    <a:pt x="6" y="31"/>
                    <a:pt x="4" y="29"/>
                  </a:cubicBezTo>
                  <a:cubicBezTo>
                    <a:pt x="2" y="28"/>
                    <a:pt x="1" y="26"/>
                    <a:pt x="1" y="24"/>
                  </a:cubicBezTo>
                  <a:cubicBezTo>
                    <a:pt x="0" y="22"/>
                    <a:pt x="0" y="20"/>
                    <a:pt x="0" y="18"/>
                  </a:cubicBezTo>
                  <a:cubicBezTo>
                    <a:pt x="0" y="15"/>
                    <a:pt x="2" y="13"/>
                    <a:pt x="3" y="10"/>
                  </a:cubicBezTo>
                  <a:cubicBezTo>
                    <a:pt x="6" y="6"/>
                    <a:pt x="8" y="4"/>
                    <a:pt x="10" y="2"/>
                  </a:cubicBezTo>
                  <a:cubicBezTo>
                    <a:pt x="11" y="1"/>
                    <a:pt x="13" y="0"/>
                    <a:pt x="15" y="0"/>
                  </a:cubicBezTo>
                  <a:cubicBezTo>
                    <a:pt x="17" y="0"/>
                    <a:pt x="19" y="0"/>
                    <a:pt x="21" y="0"/>
                  </a:cubicBezTo>
                  <a:cubicBezTo>
                    <a:pt x="23" y="1"/>
                    <a:pt x="27" y="3"/>
                    <a:pt x="31" y="5"/>
                  </a:cubicBezTo>
                  <a:lnTo>
                    <a:pt x="51" y="1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27" name="íṧḷîde"/>
            <p:cNvSpPr/>
            <p:nvPr/>
          </p:nvSpPr>
          <p:spPr bwMode="auto">
            <a:xfrm>
              <a:off x="1704872" y="4971053"/>
              <a:ext cx="100013" cy="92075"/>
            </a:xfrm>
            <a:custGeom>
              <a:avLst/>
              <a:gdLst>
                <a:gd name="T0" fmla="*/ 17 w 63"/>
                <a:gd name="T1" fmla="*/ 0 h 58"/>
                <a:gd name="T2" fmla="*/ 63 w 63"/>
                <a:gd name="T3" fmla="*/ 21 h 58"/>
                <a:gd name="T4" fmla="*/ 59 w 63"/>
                <a:gd name="T5" fmla="*/ 30 h 58"/>
                <a:gd name="T6" fmla="*/ 19 w 63"/>
                <a:gd name="T7" fmla="*/ 35 h 58"/>
                <a:gd name="T8" fmla="*/ 50 w 63"/>
                <a:gd name="T9" fmla="*/ 50 h 58"/>
                <a:gd name="T10" fmla="*/ 46 w 63"/>
                <a:gd name="T11" fmla="*/ 58 h 58"/>
                <a:gd name="T12" fmla="*/ 0 w 63"/>
                <a:gd name="T13" fmla="*/ 37 h 58"/>
                <a:gd name="T14" fmla="*/ 4 w 63"/>
                <a:gd name="T15" fmla="*/ 26 h 58"/>
                <a:gd name="T16" fmla="*/ 43 w 63"/>
                <a:gd name="T17" fmla="*/ 22 h 58"/>
                <a:gd name="T18" fmla="*/ 12 w 63"/>
                <a:gd name="T19" fmla="*/ 8 h 58"/>
                <a:gd name="T20" fmla="*/ 17 w 63"/>
                <a:gd name="T21" fmla="*/ 0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63" h="58">
                  <a:moveTo>
                    <a:pt x="17" y="0"/>
                  </a:moveTo>
                  <a:lnTo>
                    <a:pt x="63" y="21"/>
                  </a:lnTo>
                  <a:lnTo>
                    <a:pt x="59" y="30"/>
                  </a:lnTo>
                  <a:lnTo>
                    <a:pt x="19" y="35"/>
                  </a:lnTo>
                  <a:lnTo>
                    <a:pt x="50" y="50"/>
                  </a:lnTo>
                  <a:lnTo>
                    <a:pt x="46" y="58"/>
                  </a:lnTo>
                  <a:lnTo>
                    <a:pt x="0" y="37"/>
                  </a:lnTo>
                  <a:lnTo>
                    <a:pt x="4" y="26"/>
                  </a:lnTo>
                  <a:lnTo>
                    <a:pt x="43" y="22"/>
                  </a:lnTo>
                  <a:lnTo>
                    <a:pt x="12" y="8"/>
                  </a:lnTo>
                  <a:lnTo>
                    <a:pt x="1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28" name="íS1îḍé"/>
            <p:cNvSpPr/>
            <p:nvPr/>
          </p:nvSpPr>
          <p:spPr bwMode="auto">
            <a:xfrm>
              <a:off x="1690584" y="5045665"/>
              <a:ext cx="84138" cy="44450"/>
            </a:xfrm>
            <a:custGeom>
              <a:avLst/>
              <a:gdLst>
                <a:gd name="T0" fmla="*/ 5 w 53"/>
                <a:gd name="T1" fmla="*/ 0 h 28"/>
                <a:gd name="T2" fmla="*/ 53 w 53"/>
                <a:gd name="T3" fmla="*/ 19 h 28"/>
                <a:gd name="T4" fmla="*/ 49 w 53"/>
                <a:gd name="T5" fmla="*/ 28 h 28"/>
                <a:gd name="T6" fmla="*/ 0 w 53"/>
                <a:gd name="T7" fmla="*/ 10 h 28"/>
                <a:gd name="T8" fmla="*/ 5 w 53"/>
                <a:gd name="T9" fmla="*/ 0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3" h="28">
                  <a:moveTo>
                    <a:pt x="5" y="0"/>
                  </a:moveTo>
                  <a:lnTo>
                    <a:pt x="53" y="19"/>
                  </a:lnTo>
                  <a:lnTo>
                    <a:pt x="49" y="28"/>
                  </a:lnTo>
                  <a:lnTo>
                    <a:pt x="0" y="10"/>
                  </a:lnTo>
                  <a:lnTo>
                    <a:pt x="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29" name="íṧļïḋè"/>
            <p:cNvSpPr/>
            <p:nvPr/>
          </p:nvSpPr>
          <p:spPr bwMode="auto">
            <a:xfrm>
              <a:off x="1674709" y="5091703"/>
              <a:ext cx="92075" cy="73025"/>
            </a:xfrm>
            <a:custGeom>
              <a:avLst/>
              <a:gdLst>
                <a:gd name="T0" fmla="*/ 4 w 58"/>
                <a:gd name="T1" fmla="*/ 3 h 46"/>
                <a:gd name="T2" fmla="*/ 58 w 58"/>
                <a:gd name="T3" fmla="*/ 0 h 46"/>
                <a:gd name="T4" fmla="*/ 55 w 58"/>
                <a:gd name="T5" fmla="*/ 11 h 46"/>
                <a:gd name="T6" fmla="*/ 14 w 58"/>
                <a:gd name="T7" fmla="*/ 13 h 46"/>
                <a:gd name="T8" fmla="*/ 46 w 58"/>
                <a:gd name="T9" fmla="*/ 35 h 46"/>
                <a:gd name="T10" fmla="*/ 44 w 58"/>
                <a:gd name="T11" fmla="*/ 46 h 46"/>
                <a:gd name="T12" fmla="*/ 0 w 58"/>
                <a:gd name="T13" fmla="*/ 14 h 46"/>
                <a:gd name="T14" fmla="*/ 4 w 58"/>
                <a:gd name="T15" fmla="*/ 3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8" h="46">
                  <a:moveTo>
                    <a:pt x="4" y="3"/>
                  </a:moveTo>
                  <a:lnTo>
                    <a:pt x="58" y="0"/>
                  </a:lnTo>
                  <a:lnTo>
                    <a:pt x="55" y="11"/>
                  </a:lnTo>
                  <a:lnTo>
                    <a:pt x="14" y="13"/>
                  </a:lnTo>
                  <a:lnTo>
                    <a:pt x="46" y="35"/>
                  </a:lnTo>
                  <a:lnTo>
                    <a:pt x="44" y="46"/>
                  </a:lnTo>
                  <a:lnTo>
                    <a:pt x="0" y="14"/>
                  </a:lnTo>
                  <a:lnTo>
                    <a:pt x="4" y="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30" name="ïṡḷiḋé"/>
            <p:cNvSpPr/>
            <p:nvPr/>
          </p:nvSpPr>
          <p:spPr bwMode="auto">
            <a:xfrm>
              <a:off x="1652484" y="5153615"/>
              <a:ext cx="90488" cy="73025"/>
            </a:xfrm>
            <a:custGeom>
              <a:avLst/>
              <a:gdLst>
                <a:gd name="T0" fmla="*/ 7 w 57"/>
                <a:gd name="T1" fmla="*/ 0 h 46"/>
                <a:gd name="T2" fmla="*/ 57 w 57"/>
                <a:gd name="T3" fmla="*/ 10 h 46"/>
                <a:gd name="T4" fmla="*/ 50 w 57"/>
                <a:gd name="T5" fmla="*/ 46 h 46"/>
                <a:gd name="T6" fmla="*/ 42 w 57"/>
                <a:gd name="T7" fmla="*/ 45 h 46"/>
                <a:gd name="T8" fmla="*/ 47 w 57"/>
                <a:gd name="T9" fmla="*/ 18 h 46"/>
                <a:gd name="T10" fmla="*/ 36 w 57"/>
                <a:gd name="T11" fmla="*/ 16 h 46"/>
                <a:gd name="T12" fmla="*/ 30 w 57"/>
                <a:gd name="T13" fmla="*/ 40 h 46"/>
                <a:gd name="T14" fmla="*/ 22 w 57"/>
                <a:gd name="T15" fmla="*/ 39 h 46"/>
                <a:gd name="T16" fmla="*/ 27 w 57"/>
                <a:gd name="T17" fmla="*/ 14 h 46"/>
                <a:gd name="T18" fmla="*/ 14 w 57"/>
                <a:gd name="T19" fmla="*/ 11 h 46"/>
                <a:gd name="T20" fmla="*/ 8 w 57"/>
                <a:gd name="T21" fmla="*/ 39 h 46"/>
                <a:gd name="T22" fmla="*/ 0 w 57"/>
                <a:gd name="T23" fmla="*/ 38 h 46"/>
                <a:gd name="T24" fmla="*/ 7 w 57"/>
                <a:gd name="T25" fmla="*/ 0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57" h="46">
                  <a:moveTo>
                    <a:pt x="7" y="0"/>
                  </a:moveTo>
                  <a:lnTo>
                    <a:pt x="57" y="10"/>
                  </a:lnTo>
                  <a:lnTo>
                    <a:pt x="50" y="46"/>
                  </a:lnTo>
                  <a:lnTo>
                    <a:pt x="42" y="45"/>
                  </a:lnTo>
                  <a:lnTo>
                    <a:pt x="47" y="18"/>
                  </a:lnTo>
                  <a:lnTo>
                    <a:pt x="36" y="16"/>
                  </a:lnTo>
                  <a:lnTo>
                    <a:pt x="30" y="40"/>
                  </a:lnTo>
                  <a:lnTo>
                    <a:pt x="22" y="39"/>
                  </a:lnTo>
                  <a:lnTo>
                    <a:pt x="27" y="14"/>
                  </a:lnTo>
                  <a:lnTo>
                    <a:pt x="14" y="11"/>
                  </a:lnTo>
                  <a:lnTo>
                    <a:pt x="8" y="39"/>
                  </a:lnTo>
                  <a:lnTo>
                    <a:pt x="0" y="38"/>
                  </a:lnTo>
                  <a:lnTo>
                    <a:pt x="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31" name="ïşļiḋe"/>
            <p:cNvSpPr/>
            <p:nvPr/>
          </p:nvSpPr>
          <p:spPr bwMode="auto">
            <a:xfrm>
              <a:off x="1641372" y="5231403"/>
              <a:ext cx="88900" cy="71438"/>
            </a:xfrm>
            <a:custGeom>
              <a:avLst/>
              <a:gdLst>
                <a:gd name="T0" fmla="*/ 4 w 48"/>
                <a:gd name="T1" fmla="*/ 0 h 39"/>
                <a:gd name="T2" fmla="*/ 48 w 48"/>
                <a:gd name="T3" fmla="*/ 4 h 39"/>
                <a:gd name="T4" fmla="*/ 46 w 48"/>
                <a:gd name="T5" fmla="*/ 23 h 39"/>
                <a:gd name="T6" fmla="*/ 44 w 48"/>
                <a:gd name="T7" fmla="*/ 33 h 39"/>
                <a:gd name="T8" fmla="*/ 39 w 48"/>
                <a:gd name="T9" fmla="*/ 38 h 39"/>
                <a:gd name="T10" fmla="*/ 32 w 48"/>
                <a:gd name="T11" fmla="*/ 39 h 39"/>
                <a:gd name="T12" fmla="*/ 24 w 48"/>
                <a:gd name="T13" fmla="*/ 35 h 39"/>
                <a:gd name="T14" fmla="*/ 21 w 48"/>
                <a:gd name="T15" fmla="*/ 26 h 39"/>
                <a:gd name="T16" fmla="*/ 17 w 48"/>
                <a:gd name="T17" fmla="*/ 30 h 39"/>
                <a:gd name="T18" fmla="*/ 9 w 48"/>
                <a:gd name="T19" fmla="*/ 35 h 39"/>
                <a:gd name="T20" fmla="*/ 0 w 48"/>
                <a:gd name="T21" fmla="*/ 39 h 39"/>
                <a:gd name="T22" fmla="*/ 1 w 48"/>
                <a:gd name="T23" fmla="*/ 29 h 39"/>
                <a:gd name="T24" fmla="*/ 12 w 48"/>
                <a:gd name="T25" fmla="*/ 23 h 39"/>
                <a:gd name="T26" fmla="*/ 18 w 48"/>
                <a:gd name="T27" fmla="*/ 19 h 39"/>
                <a:gd name="T28" fmla="*/ 20 w 48"/>
                <a:gd name="T29" fmla="*/ 17 h 39"/>
                <a:gd name="T30" fmla="*/ 21 w 48"/>
                <a:gd name="T31" fmla="*/ 12 h 39"/>
                <a:gd name="T32" fmla="*/ 22 w 48"/>
                <a:gd name="T33" fmla="*/ 11 h 39"/>
                <a:gd name="T34" fmla="*/ 3 w 48"/>
                <a:gd name="T35" fmla="*/ 9 h 39"/>
                <a:gd name="T36" fmla="*/ 4 w 48"/>
                <a:gd name="T37" fmla="*/ 0 h 39"/>
                <a:gd name="T38" fmla="*/ 29 w 48"/>
                <a:gd name="T39" fmla="*/ 11 h 39"/>
                <a:gd name="T40" fmla="*/ 28 w 48"/>
                <a:gd name="T41" fmla="*/ 18 h 39"/>
                <a:gd name="T42" fmla="*/ 28 w 48"/>
                <a:gd name="T43" fmla="*/ 26 h 39"/>
                <a:gd name="T44" fmla="*/ 29 w 48"/>
                <a:gd name="T45" fmla="*/ 28 h 39"/>
                <a:gd name="T46" fmla="*/ 32 w 48"/>
                <a:gd name="T47" fmla="*/ 30 h 39"/>
                <a:gd name="T48" fmla="*/ 36 w 48"/>
                <a:gd name="T49" fmla="*/ 29 h 39"/>
                <a:gd name="T50" fmla="*/ 38 w 48"/>
                <a:gd name="T51" fmla="*/ 26 h 39"/>
                <a:gd name="T52" fmla="*/ 39 w 48"/>
                <a:gd name="T53" fmla="*/ 19 h 39"/>
                <a:gd name="T54" fmla="*/ 40 w 48"/>
                <a:gd name="T55" fmla="*/ 12 h 39"/>
                <a:gd name="T56" fmla="*/ 29 w 48"/>
                <a:gd name="T57" fmla="*/ 11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48" h="39">
                  <a:moveTo>
                    <a:pt x="4" y="0"/>
                  </a:moveTo>
                  <a:cubicBezTo>
                    <a:pt x="48" y="4"/>
                    <a:pt x="48" y="4"/>
                    <a:pt x="48" y="4"/>
                  </a:cubicBezTo>
                  <a:cubicBezTo>
                    <a:pt x="46" y="23"/>
                    <a:pt x="46" y="23"/>
                    <a:pt x="46" y="23"/>
                  </a:cubicBezTo>
                  <a:cubicBezTo>
                    <a:pt x="46" y="27"/>
                    <a:pt x="45" y="31"/>
                    <a:pt x="44" y="33"/>
                  </a:cubicBezTo>
                  <a:cubicBezTo>
                    <a:pt x="43" y="35"/>
                    <a:pt x="41" y="36"/>
                    <a:pt x="39" y="38"/>
                  </a:cubicBezTo>
                  <a:cubicBezTo>
                    <a:pt x="37" y="39"/>
                    <a:pt x="35" y="39"/>
                    <a:pt x="32" y="39"/>
                  </a:cubicBezTo>
                  <a:cubicBezTo>
                    <a:pt x="29" y="38"/>
                    <a:pt x="26" y="37"/>
                    <a:pt x="24" y="35"/>
                  </a:cubicBezTo>
                  <a:cubicBezTo>
                    <a:pt x="22" y="33"/>
                    <a:pt x="21" y="30"/>
                    <a:pt x="21" y="26"/>
                  </a:cubicBezTo>
                  <a:cubicBezTo>
                    <a:pt x="20" y="28"/>
                    <a:pt x="18" y="29"/>
                    <a:pt x="17" y="30"/>
                  </a:cubicBezTo>
                  <a:cubicBezTo>
                    <a:pt x="16" y="32"/>
                    <a:pt x="13" y="33"/>
                    <a:pt x="9" y="35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1" y="29"/>
                    <a:pt x="1" y="29"/>
                    <a:pt x="1" y="29"/>
                  </a:cubicBezTo>
                  <a:cubicBezTo>
                    <a:pt x="12" y="23"/>
                    <a:pt x="12" y="23"/>
                    <a:pt x="12" y="23"/>
                  </a:cubicBezTo>
                  <a:cubicBezTo>
                    <a:pt x="15" y="21"/>
                    <a:pt x="17" y="20"/>
                    <a:pt x="18" y="19"/>
                  </a:cubicBezTo>
                  <a:cubicBezTo>
                    <a:pt x="19" y="18"/>
                    <a:pt x="20" y="18"/>
                    <a:pt x="20" y="17"/>
                  </a:cubicBezTo>
                  <a:cubicBezTo>
                    <a:pt x="21" y="16"/>
                    <a:pt x="21" y="14"/>
                    <a:pt x="21" y="12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3" y="9"/>
                    <a:pt x="3" y="9"/>
                    <a:pt x="3" y="9"/>
                  </a:cubicBezTo>
                  <a:lnTo>
                    <a:pt x="4" y="0"/>
                  </a:lnTo>
                  <a:close/>
                  <a:moveTo>
                    <a:pt x="29" y="11"/>
                  </a:moveTo>
                  <a:cubicBezTo>
                    <a:pt x="28" y="18"/>
                    <a:pt x="28" y="18"/>
                    <a:pt x="28" y="18"/>
                  </a:cubicBezTo>
                  <a:cubicBezTo>
                    <a:pt x="28" y="22"/>
                    <a:pt x="27" y="25"/>
                    <a:pt x="28" y="26"/>
                  </a:cubicBezTo>
                  <a:cubicBezTo>
                    <a:pt x="28" y="27"/>
                    <a:pt x="28" y="28"/>
                    <a:pt x="29" y="28"/>
                  </a:cubicBezTo>
                  <a:cubicBezTo>
                    <a:pt x="30" y="29"/>
                    <a:pt x="31" y="30"/>
                    <a:pt x="32" y="30"/>
                  </a:cubicBezTo>
                  <a:cubicBezTo>
                    <a:pt x="34" y="30"/>
                    <a:pt x="35" y="30"/>
                    <a:pt x="36" y="29"/>
                  </a:cubicBezTo>
                  <a:cubicBezTo>
                    <a:pt x="37" y="28"/>
                    <a:pt x="38" y="27"/>
                    <a:pt x="38" y="26"/>
                  </a:cubicBezTo>
                  <a:cubicBezTo>
                    <a:pt x="38" y="25"/>
                    <a:pt x="39" y="23"/>
                    <a:pt x="39" y="19"/>
                  </a:cubicBezTo>
                  <a:cubicBezTo>
                    <a:pt x="40" y="12"/>
                    <a:pt x="40" y="12"/>
                    <a:pt x="40" y="12"/>
                  </a:cubicBezTo>
                  <a:lnTo>
                    <a:pt x="29" y="1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32" name="îś1iḓê"/>
            <p:cNvSpPr/>
            <p:nvPr/>
          </p:nvSpPr>
          <p:spPr bwMode="auto">
            <a:xfrm>
              <a:off x="1641372" y="5312365"/>
              <a:ext cx="82550" cy="66675"/>
            </a:xfrm>
            <a:custGeom>
              <a:avLst/>
              <a:gdLst>
                <a:gd name="T0" fmla="*/ 15 w 45"/>
                <a:gd name="T1" fmla="*/ 0 h 36"/>
                <a:gd name="T2" fmla="*/ 16 w 45"/>
                <a:gd name="T3" fmla="*/ 8 h 36"/>
                <a:gd name="T4" fmla="*/ 9 w 45"/>
                <a:gd name="T5" fmla="*/ 12 h 36"/>
                <a:gd name="T6" fmla="*/ 7 w 45"/>
                <a:gd name="T7" fmla="*/ 18 h 36"/>
                <a:gd name="T8" fmla="*/ 9 w 45"/>
                <a:gd name="T9" fmla="*/ 25 h 36"/>
                <a:gd name="T10" fmla="*/ 13 w 45"/>
                <a:gd name="T11" fmla="*/ 27 h 36"/>
                <a:gd name="T12" fmla="*/ 16 w 45"/>
                <a:gd name="T13" fmla="*/ 26 h 36"/>
                <a:gd name="T14" fmla="*/ 18 w 45"/>
                <a:gd name="T15" fmla="*/ 23 h 36"/>
                <a:gd name="T16" fmla="*/ 20 w 45"/>
                <a:gd name="T17" fmla="*/ 15 h 36"/>
                <a:gd name="T18" fmla="*/ 24 w 45"/>
                <a:gd name="T19" fmla="*/ 5 h 36"/>
                <a:gd name="T20" fmla="*/ 33 w 45"/>
                <a:gd name="T21" fmla="*/ 1 h 36"/>
                <a:gd name="T22" fmla="*/ 39 w 45"/>
                <a:gd name="T23" fmla="*/ 3 h 36"/>
                <a:gd name="T24" fmla="*/ 44 w 45"/>
                <a:gd name="T25" fmla="*/ 9 h 36"/>
                <a:gd name="T26" fmla="*/ 45 w 45"/>
                <a:gd name="T27" fmla="*/ 17 h 36"/>
                <a:gd name="T28" fmla="*/ 42 w 45"/>
                <a:gd name="T29" fmla="*/ 30 h 36"/>
                <a:gd name="T30" fmla="*/ 32 w 45"/>
                <a:gd name="T31" fmla="*/ 34 h 36"/>
                <a:gd name="T32" fmla="*/ 31 w 45"/>
                <a:gd name="T33" fmla="*/ 25 h 36"/>
                <a:gd name="T34" fmla="*/ 36 w 45"/>
                <a:gd name="T35" fmla="*/ 23 h 36"/>
                <a:gd name="T36" fmla="*/ 38 w 45"/>
                <a:gd name="T37" fmla="*/ 17 h 36"/>
                <a:gd name="T38" fmla="*/ 36 w 45"/>
                <a:gd name="T39" fmla="*/ 11 h 36"/>
                <a:gd name="T40" fmla="*/ 33 w 45"/>
                <a:gd name="T41" fmla="*/ 10 h 36"/>
                <a:gd name="T42" fmla="*/ 31 w 45"/>
                <a:gd name="T43" fmla="*/ 11 h 36"/>
                <a:gd name="T44" fmla="*/ 28 w 45"/>
                <a:gd name="T45" fmla="*/ 19 h 36"/>
                <a:gd name="T46" fmla="*/ 25 w 45"/>
                <a:gd name="T47" fmla="*/ 29 h 36"/>
                <a:gd name="T48" fmla="*/ 20 w 45"/>
                <a:gd name="T49" fmla="*/ 34 h 36"/>
                <a:gd name="T50" fmla="*/ 13 w 45"/>
                <a:gd name="T51" fmla="*/ 36 h 36"/>
                <a:gd name="T52" fmla="*/ 6 w 45"/>
                <a:gd name="T53" fmla="*/ 33 h 36"/>
                <a:gd name="T54" fmla="*/ 1 w 45"/>
                <a:gd name="T55" fmla="*/ 28 h 36"/>
                <a:gd name="T56" fmla="*/ 0 w 45"/>
                <a:gd name="T57" fmla="*/ 18 h 36"/>
                <a:gd name="T58" fmla="*/ 3 w 45"/>
                <a:gd name="T59" fmla="*/ 5 h 36"/>
                <a:gd name="T60" fmla="*/ 15 w 45"/>
                <a:gd name="T61" fmla="*/ 0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45" h="36">
                  <a:moveTo>
                    <a:pt x="15" y="0"/>
                  </a:moveTo>
                  <a:cubicBezTo>
                    <a:pt x="16" y="8"/>
                    <a:pt x="16" y="8"/>
                    <a:pt x="16" y="8"/>
                  </a:cubicBezTo>
                  <a:cubicBezTo>
                    <a:pt x="13" y="9"/>
                    <a:pt x="10" y="10"/>
                    <a:pt x="9" y="12"/>
                  </a:cubicBezTo>
                  <a:cubicBezTo>
                    <a:pt x="8" y="13"/>
                    <a:pt x="7" y="15"/>
                    <a:pt x="7" y="18"/>
                  </a:cubicBezTo>
                  <a:cubicBezTo>
                    <a:pt x="7" y="21"/>
                    <a:pt x="8" y="23"/>
                    <a:pt x="9" y="25"/>
                  </a:cubicBezTo>
                  <a:cubicBezTo>
                    <a:pt x="10" y="26"/>
                    <a:pt x="12" y="27"/>
                    <a:pt x="13" y="27"/>
                  </a:cubicBezTo>
                  <a:cubicBezTo>
                    <a:pt x="14" y="27"/>
                    <a:pt x="15" y="26"/>
                    <a:pt x="16" y="26"/>
                  </a:cubicBezTo>
                  <a:cubicBezTo>
                    <a:pt x="17" y="25"/>
                    <a:pt x="17" y="24"/>
                    <a:pt x="18" y="23"/>
                  </a:cubicBezTo>
                  <a:cubicBezTo>
                    <a:pt x="18" y="22"/>
                    <a:pt x="19" y="19"/>
                    <a:pt x="20" y="15"/>
                  </a:cubicBezTo>
                  <a:cubicBezTo>
                    <a:pt x="21" y="11"/>
                    <a:pt x="22" y="7"/>
                    <a:pt x="24" y="5"/>
                  </a:cubicBezTo>
                  <a:cubicBezTo>
                    <a:pt x="26" y="3"/>
                    <a:pt x="29" y="1"/>
                    <a:pt x="33" y="1"/>
                  </a:cubicBezTo>
                  <a:cubicBezTo>
                    <a:pt x="35" y="1"/>
                    <a:pt x="37" y="2"/>
                    <a:pt x="39" y="3"/>
                  </a:cubicBezTo>
                  <a:cubicBezTo>
                    <a:pt x="41" y="4"/>
                    <a:pt x="43" y="6"/>
                    <a:pt x="44" y="9"/>
                  </a:cubicBezTo>
                  <a:cubicBezTo>
                    <a:pt x="45" y="11"/>
                    <a:pt x="45" y="14"/>
                    <a:pt x="45" y="17"/>
                  </a:cubicBezTo>
                  <a:cubicBezTo>
                    <a:pt x="45" y="23"/>
                    <a:pt x="44" y="27"/>
                    <a:pt x="42" y="30"/>
                  </a:cubicBezTo>
                  <a:cubicBezTo>
                    <a:pt x="39" y="33"/>
                    <a:pt x="36" y="34"/>
                    <a:pt x="32" y="34"/>
                  </a:cubicBezTo>
                  <a:cubicBezTo>
                    <a:pt x="31" y="25"/>
                    <a:pt x="31" y="25"/>
                    <a:pt x="31" y="25"/>
                  </a:cubicBezTo>
                  <a:cubicBezTo>
                    <a:pt x="34" y="25"/>
                    <a:pt x="35" y="24"/>
                    <a:pt x="36" y="23"/>
                  </a:cubicBezTo>
                  <a:cubicBezTo>
                    <a:pt x="37" y="22"/>
                    <a:pt x="38" y="20"/>
                    <a:pt x="38" y="17"/>
                  </a:cubicBezTo>
                  <a:cubicBezTo>
                    <a:pt x="38" y="15"/>
                    <a:pt x="37" y="13"/>
                    <a:pt x="36" y="11"/>
                  </a:cubicBezTo>
                  <a:cubicBezTo>
                    <a:pt x="35" y="10"/>
                    <a:pt x="35" y="10"/>
                    <a:pt x="33" y="10"/>
                  </a:cubicBezTo>
                  <a:cubicBezTo>
                    <a:pt x="32" y="10"/>
                    <a:pt x="31" y="10"/>
                    <a:pt x="31" y="11"/>
                  </a:cubicBezTo>
                  <a:cubicBezTo>
                    <a:pt x="30" y="12"/>
                    <a:pt x="29" y="15"/>
                    <a:pt x="28" y="19"/>
                  </a:cubicBezTo>
                  <a:cubicBezTo>
                    <a:pt x="27" y="24"/>
                    <a:pt x="26" y="27"/>
                    <a:pt x="25" y="29"/>
                  </a:cubicBezTo>
                  <a:cubicBezTo>
                    <a:pt x="24" y="31"/>
                    <a:pt x="22" y="33"/>
                    <a:pt x="20" y="34"/>
                  </a:cubicBezTo>
                  <a:cubicBezTo>
                    <a:pt x="18" y="35"/>
                    <a:pt x="16" y="36"/>
                    <a:pt x="13" y="36"/>
                  </a:cubicBezTo>
                  <a:cubicBezTo>
                    <a:pt x="11" y="36"/>
                    <a:pt x="8" y="35"/>
                    <a:pt x="6" y="33"/>
                  </a:cubicBezTo>
                  <a:cubicBezTo>
                    <a:pt x="4" y="32"/>
                    <a:pt x="2" y="30"/>
                    <a:pt x="1" y="28"/>
                  </a:cubicBezTo>
                  <a:cubicBezTo>
                    <a:pt x="0" y="25"/>
                    <a:pt x="0" y="22"/>
                    <a:pt x="0" y="18"/>
                  </a:cubicBezTo>
                  <a:cubicBezTo>
                    <a:pt x="0" y="12"/>
                    <a:pt x="1" y="8"/>
                    <a:pt x="3" y="5"/>
                  </a:cubicBezTo>
                  <a:cubicBezTo>
                    <a:pt x="6" y="2"/>
                    <a:pt x="10" y="0"/>
                    <a:pt x="15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33" name="íş1ïḓe"/>
            <p:cNvSpPr/>
            <p:nvPr/>
          </p:nvSpPr>
          <p:spPr bwMode="auto">
            <a:xfrm>
              <a:off x="1642959" y="5385390"/>
              <a:ext cx="84138" cy="22225"/>
            </a:xfrm>
            <a:custGeom>
              <a:avLst/>
              <a:gdLst>
                <a:gd name="T0" fmla="*/ 0 w 53"/>
                <a:gd name="T1" fmla="*/ 5 h 14"/>
                <a:gd name="T2" fmla="*/ 51 w 53"/>
                <a:gd name="T3" fmla="*/ 0 h 14"/>
                <a:gd name="T4" fmla="*/ 53 w 53"/>
                <a:gd name="T5" fmla="*/ 11 h 14"/>
                <a:gd name="T6" fmla="*/ 1 w 53"/>
                <a:gd name="T7" fmla="*/ 14 h 14"/>
                <a:gd name="T8" fmla="*/ 0 w 53"/>
                <a:gd name="T9" fmla="*/ 5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3" h="14">
                  <a:moveTo>
                    <a:pt x="0" y="5"/>
                  </a:moveTo>
                  <a:lnTo>
                    <a:pt x="51" y="0"/>
                  </a:lnTo>
                  <a:lnTo>
                    <a:pt x="53" y="11"/>
                  </a:lnTo>
                  <a:lnTo>
                    <a:pt x="1" y="14"/>
                  </a:lnTo>
                  <a:lnTo>
                    <a:pt x="0" y="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34" name="ïṩlîḋè"/>
            <p:cNvSpPr/>
            <p:nvPr/>
          </p:nvSpPr>
          <p:spPr bwMode="auto">
            <a:xfrm>
              <a:off x="1649309" y="5407615"/>
              <a:ext cx="84138" cy="66675"/>
            </a:xfrm>
            <a:custGeom>
              <a:avLst/>
              <a:gdLst>
                <a:gd name="T0" fmla="*/ 0 w 53"/>
                <a:gd name="T1" fmla="*/ 22 h 42"/>
                <a:gd name="T2" fmla="*/ 42 w 53"/>
                <a:gd name="T3" fmla="*/ 17 h 42"/>
                <a:gd name="T4" fmla="*/ 39 w 53"/>
                <a:gd name="T5" fmla="*/ 1 h 42"/>
                <a:gd name="T6" fmla="*/ 49 w 53"/>
                <a:gd name="T7" fmla="*/ 0 h 42"/>
                <a:gd name="T8" fmla="*/ 53 w 53"/>
                <a:gd name="T9" fmla="*/ 41 h 42"/>
                <a:gd name="T10" fmla="*/ 45 w 53"/>
                <a:gd name="T11" fmla="*/ 42 h 42"/>
                <a:gd name="T12" fmla="*/ 43 w 53"/>
                <a:gd name="T13" fmla="*/ 27 h 42"/>
                <a:gd name="T14" fmla="*/ 1 w 53"/>
                <a:gd name="T15" fmla="*/ 33 h 42"/>
                <a:gd name="T16" fmla="*/ 0 w 53"/>
                <a:gd name="T17" fmla="*/ 22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3" h="42">
                  <a:moveTo>
                    <a:pt x="0" y="22"/>
                  </a:moveTo>
                  <a:lnTo>
                    <a:pt x="42" y="17"/>
                  </a:lnTo>
                  <a:lnTo>
                    <a:pt x="39" y="1"/>
                  </a:lnTo>
                  <a:lnTo>
                    <a:pt x="49" y="0"/>
                  </a:lnTo>
                  <a:lnTo>
                    <a:pt x="53" y="41"/>
                  </a:lnTo>
                  <a:lnTo>
                    <a:pt x="45" y="42"/>
                  </a:lnTo>
                  <a:lnTo>
                    <a:pt x="43" y="27"/>
                  </a:lnTo>
                  <a:lnTo>
                    <a:pt x="1" y="33"/>
                  </a:lnTo>
                  <a:lnTo>
                    <a:pt x="0" y="2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35" name="ïṣľîďe"/>
            <p:cNvSpPr/>
            <p:nvPr/>
          </p:nvSpPr>
          <p:spPr bwMode="auto">
            <a:xfrm>
              <a:off x="1662009" y="5471115"/>
              <a:ext cx="90488" cy="73025"/>
            </a:xfrm>
            <a:custGeom>
              <a:avLst/>
              <a:gdLst>
                <a:gd name="T0" fmla="*/ 0 w 57"/>
                <a:gd name="T1" fmla="*/ 29 h 46"/>
                <a:gd name="T2" fmla="*/ 21 w 57"/>
                <a:gd name="T3" fmla="*/ 24 h 46"/>
                <a:gd name="T4" fmla="*/ 45 w 57"/>
                <a:gd name="T5" fmla="*/ 0 h 46"/>
                <a:gd name="T6" fmla="*/ 49 w 57"/>
                <a:gd name="T7" fmla="*/ 11 h 46"/>
                <a:gd name="T8" fmla="*/ 31 w 57"/>
                <a:gd name="T9" fmla="*/ 28 h 46"/>
                <a:gd name="T10" fmla="*/ 53 w 57"/>
                <a:gd name="T11" fmla="*/ 35 h 46"/>
                <a:gd name="T12" fmla="*/ 57 w 57"/>
                <a:gd name="T13" fmla="*/ 46 h 46"/>
                <a:gd name="T14" fmla="*/ 23 w 57"/>
                <a:gd name="T15" fmla="*/ 35 h 46"/>
                <a:gd name="T16" fmla="*/ 2 w 57"/>
                <a:gd name="T17" fmla="*/ 39 h 46"/>
                <a:gd name="T18" fmla="*/ 0 w 57"/>
                <a:gd name="T19" fmla="*/ 29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7" h="46">
                  <a:moveTo>
                    <a:pt x="0" y="29"/>
                  </a:moveTo>
                  <a:lnTo>
                    <a:pt x="21" y="24"/>
                  </a:lnTo>
                  <a:lnTo>
                    <a:pt x="45" y="0"/>
                  </a:lnTo>
                  <a:lnTo>
                    <a:pt x="49" y="11"/>
                  </a:lnTo>
                  <a:lnTo>
                    <a:pt x="31" y="28"/>
                  </a:lnTo>
                  <a:lnTo>
                    <a:pt x="53" y="35"/>
                  </a:lnTo>
                  <a:lnTo>
                    <a:pt x="57" y="46"/>
                  </a:lnTo>
                  <a:lnTo>
                    <a:pt x="23" y="35"/>
                  </a:lnTo>
                  <a:lnTo>
                    <a:pt x="2" y="39"/>
                  </a:lnTo>
                  <a:lnTo>
                    <a:pt x="0" y="2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36" name="íśļiḓe"/>
            <p:cNvSpPr/>
            <p:nvPr/>
          </p:nvSpPr>
          <p:spPr bwMode="auto">
            <a:xfrm>
              <a:off x="1704872" y="5609228"/>
              <a:ext cx="85725" cy="80963"/>
            </a:xfrm>
            <a:custGeom>
              <a:avLst/>
              <a:gdLst>
                <a:gd name="T0" fmla="*/ 15 w 47"/>
                <a:gd name="T1" fmla="*/ 2 h 44"/>
                <a:gd name="T2" fmla="*/ 26 w 47"/>
                <a:gd name="T3" fmla="*/ 0 h 44"/>
                <a:gd name="T4" fmla="*/ 33 w 47"/>
                <a:gd name="T5" fmla="*/ 1 h 44"/>
                <a:gd name="T6" fmla="*/ 39 w 47"/>
                <a:gd name="T7" fmla="*/ 4 h 44"/>
                <a:gd name="T8" fmla="*/ 44 w 47"/>
                <a:gd name="T9" fmla="*/ 12 h 44"/>
                <a:gd name="T10" fmla="*/ 45 w 47"/>
                <a:gd name="T11" fmla="*/ 29 h 44"/>
                <a:gd name="T12" fmla="*/ 32 w 47"/>
                <a:gd name="T13" fmla="*/ 41 h 44"/>
                <a:gd name="T14" fmla="*/ 15 w 47"/>
                <a:gd name="T15" fmla="*/ 43 h 44"/>
                <a:gd name="T16" fmla="*/ 3 w 47"/>
                <a:gd name="T17" fmla="*/ 31 h 44"/>
                <a:gd name="T18" fmla="*/ 2 w 47"/>
                <a:gd name="T19" fmla="*/ 14 h 44"/>
                <a:gd name="T20" fmla="*/ 15 w 47"/>
                <a:gd name="T21" fmla="*/ 2 h 44"/>
                <a:gd name="T22" fmla="*/ 19 w 47"/>
                <a:gd name="T23" fmla="*/ 10 h 44"/>
                <a:gd name="T24" fmla="*/ 10 w 47"/>
                <a:gd name="T25" fmla="*/ 18 h 44"/>
                <a:gd name="T26" fmla="*/ 10 w 47"/>
                <a:gd name="T27" fmla="*/ 28 h 44"/>
                <a:gd name="T28" fmla="*/ 17 w 47"/>
                <a:gd name="T29" fmla="*/ 34 h 44"/>
                <a:gd name="T30" fmla="*/ 29 w 47"/>
                <a:gd name="T31" fmla="*/ 33 h 44"/>
                <a:gd name="T32" fmla="*/ 38 w 47"/>
                <a:gd name="T33" fmla="*/ 25 h 44"/>
                <a:gd name="T34" fmla="*/ 37 w 47"/>
                <a:gd name="T35" fmla="*/ 16 h 44"/>
                <a:gd name="T36" fmla="*/ 30 w 47"/>
                <a:gd name="T37" fmla="*/ 9 h 44"/>
                <a:gd name="T38" fmla="*/ 19 w 47"/>
                <a:gd name="T39" fmla="*/ 10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47" h="44">
                  <a:moveTo>
                    <a:pt x="15" y="2"/>
                  </a:moveTo>
                  <a:cubicBezTo>
                    <a:pt x="19" y="0"/>
                    <a:pt x="23" y="0"/>
                    <a:pt x="26" y="0"/>
                  </a:cubicBezTo>
                  <a:cubicBezTo>
                    <a:pt x="28" y="0"/>
                    <a:pt x="31" y="0"/>
                    <a:pt x="33" y="1"/>
                  </a:cubicBezTo>
                  <a:cubicBezTo>
                    <a:pt x="35" y="2"/>
                    <a:pt x="37" y="3"/>
                    <a:pt x="39" y="4"/>
                  </a:cubicBezTo>
                  <a:cubicBezTo>
                    <a:pt x="41" y="6"/>
                    <a:pt x="43" y="9"/>
                    <a:pt x="44" y="12"/>
                  </a:cubicBezTo>
                  <a:cubicBezTo>
                    <a:pt x="47" y="18"/>
                    <a:pt x="47" y="24"/>
                    <a:pt x="45" y="29"/>
                  </a:cubicBezTo>
                  <a:cubicBezTo>
                    <a:pt x="43" y="34"/>
                    <a:pt x="39" y="38"/>
                    <a:pt x="32" y="41"/>
                  </a:cubicBezTo>
                  <a:cubicBezTo>
                    <a:pt x="26" y="44"/>
                    <a:pt x="20" y="44"/>
                    <a:pt x="15" y="43"/>
                  </a:cubicBezTo>
                  <a:cubicBezTo>
                    <a:pt x="9" y="41"/>
                    <a:pt x="5" y="37"/>
                    <a:pt x="3" y="31"/>
                  </a:cubicBezTo>
                  <a:cubicBezTo>
                    <a:pt x="0" y="25"/>
                    <a:pt x="0" y="19"/>
                    <a:pt x="2" y="14"/>
                  </a:cubicBezTo>
                  <a:cubicBezTo>
                    <a:pt x="4" y="9"/>
                    <a:pt x="8" y="5"/>
                    <a:pt x="15" y="2"/>
                  </a:cubicBezTo>
                  <a:close/>
                  <a:moveTo>
                    <a:pt x="19" y="10"/>
                  </a:moveTo>
                  <a:cubicBezTo>
                    <a:pt x="14" y="12"/>
                    <a:pt x="11" y="15"/>
                    <a:pt x="10" y="18"/>
                  </a:cubicBezTo>
                  <a:cubicBezTo>
                    <a:pt x="8" y="21"/>
                    <a:pt x="8" y="24"/>
                    <a:pt x="10" y="28"/>
                  </a:cubicBezTo>
                  <a:cubicBezTo>
                    <a:pt x="11" y="31"/>
                    <a:pt x="13" y="33"/>
                    <a:pt x="17" y="34"/>
                  </a:cubicBezTo>
                  <a:cubicBezTo>
                    <a:pt x="20" y="35"/>
                    <a:pt x="24" y="35"/>
                    <a:pt x="29" y="33"/>
                  </a:cubicBezTo>
                  <a:cubicBezTo>
                    <a:pt x="33" y="31"/>
                    <a:pt x="36" y="28"/>
                    <a:pt x="38" y="25"/>
                  </a:cubicBezTo>
                  <a:cubicBezTo>
                    <a:pt x="39" y="22"/>
                    <a:pt x="39" y="19"/>
                    <a:pt x="37" y="16"/>
                  </a:cubicBezTo>
                  <a:cubicBezTo>
                    <a:pt x="36" y="12"/>
                    <a:pt x="34" y="10"/>
                    <a:pt x="30" y="9"/>
                  </a:cubicBezTo>
                  <a:cubicBezTo>
                    <a:pt x="27" y="8"/>
                    <a:pt x="23" y="8"/>
                    <a:pt x="19" y="1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37" name="î$ḷïďe"/>
            <p:cNvSpPr/>
            <p:nvPr/>
          </p:nvSpPr>
          <p:spPr bwMode="auto">
            <a:xfrm>
              <a:off x="1733447" y="5675903"/>
              <a:ext cx="98425" cy="66675"/>
            </a:xfrm>
            <a:custGeom>
              <a:avLst/>
              <a:gdLst>
                <a:gd name="T0" fmla="*/ 0 w 62"/>
                <a:gd name="T1" fmla="*/ 26 h 42"/>
                <a:gd name="T2" fmla="*/ 45 w 62"/>
                <a:gd name="T3" fmla="*/ 0 h 42"/>
                <a:gd name="T4" fmla="*/ 62 w 62"/>
                <a:gd name="T5" fmla="*/ 30 h 42"/>
                <a:gd name="T6" fmla="*/ 55 w 62"/>
                <a:gd name="T7" fmla="*/ 35 h 42"/>
                <a:gd name="T8" fmla="*/ 43 w 62"/>
                <a:gd name="T9" fmla="*/ 14 h 42"/>
                <a:gd name="T10" fmla="*/ 32 w 62"/>
                <a:gd name="T11" fmla="*/ 20 h 42"/>
                <a:gd name="T12" fmla="*/ 43 w 62"/>
                <a:gd name="T13" fmla="*/ 38 h 42"/>
                <a:gd name="T14" fmla="*/ 35 w 62"/>
                <a:gd name="T15" fmla="*/ 42 h 42"/>
                <a:gd name="T16" fmla="*/ 25 w 62"/>
                <a:gd name="T17" fmla="*/ 23 h 42"/>
                <a:gd name="T18" fmla="*/ 6 w 62"/>
                <a:gd name="T19" fmla="*/ 35 h 42"/>
                <a:gd name="T20" fmla="*/ 0 w 62"/>
                <a:gd name="T21" fmla="*/ 26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62" h="42">
                  <a:moveTo>
                    <a:pt x="0" y="26"/>
                  </a:moveTo>
                  <a:lnTo>
                    <a:pt x="45" y="0"/>
                  </a:lnTo>
                  <a:lnTo>
                    <a:pt x="62" y="30"/>
                  </a:lnTo>
                  <a:lnTo>
                    <a:pt x="55" y="35"/>
                  </a:lnTo>
                  <a:lnTo>
                    <a:pt x="43" y="14"/>
                  </a:lnTo>
                  <a:lnTo>
                    <a:pt x="32" y="20"/>
                  </a:lnTo>
                  <a:lnTo>
                    <a:pt x="43" y="38"/>
                  </a:lnTo>
                  <a:lnTo>
                    <a:pt x="35" y="42"/>
                  </a:lnTo>
                  <a:lnTo>
                    <a:pt x="25" y="23"/>
                  </a:lnTo>
                  <a:lnTo>
                    <a:pt x="6" y="35"/>
                  </a:lnTo>
                  <a:lnTo>
                    <a:pt x="0" y="2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38" name="îśḻîḍe"/>
            <p:cNvSpPr/>
            <p:nvPr/>
          </p:nvSpPr>
          <p:spPr bwMode="auto">
            <a:xfrm>
              <a:off x="1812822" y="5785440"/>
              <a:ext cx="85725" cy="82550"/>
            </a:xfrm>
            <a:custGeom>
              <a:avLst/>
              <a:gdLst>
                <a:gd name="T0" fmla="*/ 6 w 46"/>
                <a:gd name="T1" fmla="*/ 13 h 45"/>
                <a:gd name="T2" fmla="*/ 12 w 46"/>
                <a:gd name="T3" fmla="*/ 19 h 45"/>
                <a:gd name="T4" fmla="*/ 9 w 46"/>
                <a:gd name="T5" fmla="*/ 26 h 45"/>
                <a:gd name="T6" fmla="*/ 11 w 46"/>
                <a:gd name="T7" fmla="*/ 32 h 45"/>
                <a:gd name="T8" fmla="*/ 17 w 46"/>
                <a:gd name="T9" fmla="*/ 36 h 45"/>
                <a:gd name="T10" fmla="*/ 22 w 46"/>
                <a:gd name="T11" fmla="*/ 35 h 45"/>
                <a:gd name="T12" fmla="*/ 23 w 46"/>
                <a:gd name="T13" fmla="*/ 32 h 45"/>
                <a:gd name="T14" fmla="*/ 22 w 46"/>
                <a:gd name="T15" fmla="*/ 29 h 45"/>
                <a:gd name="T16" fmla="*/ 19 w 46"/>
                <a:gd name="T17" fmla="*/ 22 h 45"/>
                <a:gd name="T18" fmla="*/ 16 w 46"/>
                <a:gd name="T19" fmla="*/ 12 h 45"/>
                <a:gd name="T20" fmla="*/ 21 w 46"/>
                <a:gd name="T21" fmla="*/ 3 h 45"/>
                <a:gd name="T22" fmla="*/ 27 w 46"/>
                <a:gd name="T23" fmla="*/ 0 h 45"/>
                <a:gd name="T24" fmla="*/ 34 w 46"/>
                <a:gd name="T25" fmla="*/ 2 h 45"/>
                <a:gd name="T26" fmla="*/ 40 w 46"/>
                <a:gd name="T27" fmla="*/ 8 h 45"/>
                <a:gd name="T28" fmla="*/ 45 w 46"/>
                <a:gd name="T29" fmla="*/ 19 h 45"/>
                <a:gd name="T30" fmla="*/ 41 w 46"/>
                <a:gd name="T31" fmla="*/ 29 h 45"/>
                <a:gd name="T32" fmla="*/ 35 w 46"/>
                <a:gd name="T33" fmla="*/ 22 h 45"/>
                <a:gd name="T34" fmla="*/ 37 w 46"/>
                <a:gd name="T35" fmla="*/ 17 h 45"/>
                <a:gd name="T36" fmla="*/ 35 w 46"/>
                <a:gd name="T37" fmla="*/ 12 h 45"/>
                <a:gd name="T38" fmla="*/ 30 w 46"/>
                <a:gd name="T39" fmla="*/ 8 h 45"/>
                <a:gd name="T40" fmla="*/ 27 w 46"/>
                <a:gd name="T41" fmla="*/ 9 h 45"/>
                <a:gd name="T42" fmla="*/ 25 w 46"/>
                <a:gd name="T43" fmla="*/ 12 h 45"/>
                <a:gd name="T44" fmla="*/ 28 w 46"/>
                <a:gd name="T45" fmla="*/ 20 h 45"/>
                <a:gd name="T46" fmla="*/ 32 w 46"/>
                <a:gd name="T47" fmla="*/ 29 h 45"/>
                <a:gd name="T48" fmla="*/ 31 w 46"/>
                <a:gd name="T49" fmla="*/ 36 h 45"/>
                <a:gd name="T50" fmla="*/ 27 w 46"/>
                <a:gd name="T51" fmla="*/ 42 h 45"/>
                <a:gd name="T52" fmla="*/ 20 w 46"/>
                <a:gd name="T53" fmla="*/ 45 h 45"/>
                <a:gd name="T54" fmla="*/ 13 w 46"/>
                <a:gd name="T55" fmla="*/ 43 h 45"/>
                <a:gd name="T56" fmla="*/ 6 w 46"/>
                <a:gd name="T57" fmla="*/ 37 h 45"/>
                <a:gd name="T58" fmla="*/ 0 w 46"/>
                <a:gd name="T59" fmla="*/ 24 h 45"/>
                <a:gd name="T60" fmla="*/ 6 w 46"/>
                <a:gd name="T61" fmla="*/ 13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46" h="45">
                  <a:moveTo>
                    <a:pt x="6" y="13"/>
                  </a:moveTo>
                  <a:cubicBezTo>
                    <a:pt x="12" y="19"/>
                    <a:pt x="12" y="19"/>
                    <a:pt x="12" y="19"/>
                  </a:cubicBezTo>
                  <a:cubicBezTo>
                    <a:pt x="10" y="21"/>
                    <a:pt x="9" y="24"/>
                    <a:pt x="9" y="26"/>
                  </a:cubicBezTo>
                  <a:cubicBezTo>
                    <a:pt x="9" y="28"/>
                    <a:pt x="10" y="30"/>
                    <a:pt x="11" y="32"/>
                  </a:cubicBezTo>
                  <a:cubicBezTo>
                    <a:pt x="13" y="34"/>
                    <a:pt x="15" y="35"/>
                    <a:pt x="17" y="36"/>
                  </a:cubicBezTo>
                  <a:cubicBezTo>
                    <a:pt x="19" y="36"/>
                    <a:pt x="20" y="36"/>
                    <a:pt x="22" y="35"/>
                  </a:cubicBezTo>
                  <a:cubicBezTo>
                    <a:pt x="22" y="34"/>
                    <a:pt x="23" y="33"/>
                    <a:pt x="23" y="32"/>
                  </a:cubicBezTo>
                  <a:cubicBezTo>
                    <a:pt x="23" y="32"/>
                    <a:pt x="23" y="30"/>
                    <a:pt x="22" y="29"/>
                  </a:cubicBezTo>
                  <a:cubicBezTo>
                    <a:pt x="22" y="28"/>
                    <a:pt x="21" y="26"/>
                    <a:pt x="19" y="22"/>
                  </a:cubicBezTo>
                  <a:cubicBezTo>
                    <a:pt x="17" y="18"/>
                    <a:pt x="16" y="14"/>
                    <a:pt x="16" y="12"/>
                  </a:cubicBezTo>
                  <a:cubicBezTo>
                    <a:pt x="17" y="8"/>
                    <a:pt x="18" y="5"/>
                    <a:pt x="21" y="3"/>
                  </a:cubicBezTo>
                  <a:cubicBezTo>
                    <a:pt x="23" y="1"/>
                    <a:pt x="25" y="1"/>
                    <a:pt x="27" y="0"/>
                  </a:cubicBezTo>
                  <a:cubicBezTo>
                    <a:pt x="29" y="0"/>
                    <a:pt x="31" y="1"/>
                    <a:pt x="34" y="2"/>
                  </a:cubicBezTo>
                  <a:cubicBezTo>
                    <a:pt x="36" y="3"/>
                    <a:pt x="38" y="5"/>
                    <a:pt x="40" y="8"/>
                  </a:cubicBezTo>
                  <a:cubicBezTo>
                    <a:pt x="44" y="12"/>
                    <a:pt x="46" y="16"/>
                    <a:pt x="45" y="19"/>
                  </a:cubicBezTo>
                  <a:cubicBezTo>
                    <a:pt x="45" y="23"/>
                    <a:pt x="44" y="26"/>
                    <a:pt x="41" y="29"/>
                  </a:cubicBezTo>
                  <a:cubicBezTo>
                    <a:pt x="35" y="22"/>
                    <a:pt x="35" y="22"/>
                    <a:pt x="35" y="22"/>
                  </a:cubicBezTo>
                  <a:cubicBezTo>
                    <a:pt x="36" y="21"/>
                    <a:pt x="37" y="19"/>
                    <a:pt x="37" y="17"/>
                  </a:cubicBezTo>
                  <a:cubicBezTo>
                    <a:pt x="37" y="16"/>
                    <a:pt x="36" y="14"/>
                    <a:pt x="35" y="12"/>
                  </a:cubicBezTo>
                  <a:cubicBezTo>
                    <a:pt x="33" y="10"/>
                    <a:pt x="31" y="9"/>
                    <a:pt x="30" y="8"/>
                  </a:cubicBezTo>
                  <a:cubicBezTo>
                    <a:pt x="28" y="8"/>
                    <a:pt x="27" y="8"/>
                    <a:pt x="27" y="9"/>
                  </a:cubicBezTo>
                  <a:cubicBezTo>
                    <a:pt x="26" y="10"/>
                    <a:pt x="25" y="11"/>
                    <a:pt x="25" y="12"/>
                  </a:cubicBezTo>
                  <a:cubicBezTo>
                    <a:pt x="25" y="13"/>
                    <a:pt x="26" y="16"/>
                    <a:pt x="28" y="20"/>
                  </a:cubicBezTo>
                  <a:cubicBezTo>
                    <a:pt x="30" y="24"/>
                    <a:pt x="31" y="27"/>
                    <a:pt x="32" y="29"/>
                  </a:cubicBezTo>
                  <a:cubicBezTo>
                    <a:pt x="32" y="32"/>
                    <a:pt x="32" y="34"/>
                    <a:pt x="31" y="36"/>
                  </a:cubicBezTo>
                  <a:cubicBezTo>
                    <a:pt x="31" y="38"/>
                    <a:pt x="29" y="40"/>
                    <a:pt x="27" y="42"/>
                  </a:cubicBezTo>
                  <a:cubicBezTo>
                    <a:pt x="25" y="43"/>
                    <a:pt x="23" y="44"/>
                    <a:pt x="20" y="45"/>
                  </a:cubicBezTo>
                  <a:cubicBezTo>
                    <a:pt x="18" y="45"/>
                    <a:pt x="15" y="44"/>
                    <a:pt x="13" y="43"/>
                  </a:cubicBezTo>
                  <a:cubicBezTo>
                    <a:pt x="10" y="42"/>
                    <a:pt x="8" y="40"/>
                    <a:pt x="6" y="37"/>
                  </a:cubicBezTo>
                  <a:cubicBezTo>
                    <a:pt x="2" y="32"/>
                    <a:pt x="0" y="28"/>
                    <a:pt x="0" y="24"/>
                  </a:cubicBezTo>
                  <a:cubicBezTo>
                    <a:pt x="1" y="20"/>
                    <a:pt x="2" y="17"/>
                    <a:pt x="6" y="1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39" name="í$ļîḋê"/>
            <p:cNvSpPr/>
            <p:nvPr/>
          </p:nvSpPr>
          <p:spPr bwMode="auto">
            <a:xfrm>
              <a:off x="1868384" y="5844178"/>
              <a:ext cx="82550" cy="82550"/>
            </a:xfrm>
            <a:custGeom>
              <a:avLst/>
              <a:gdLst>
                <a:gd name="T0" fmla="*/ 25 w 45"/>
                <a:gd name="T1" fmla="*/ 33 h 45"/>
                <a:gd name="T2" fmla="*/ 29 w 45"/>
                <a:gd name="T3" fmla="*/ 41 h 45"/>
                <a:gd name="T4" fmla="*/ 17 w 45"/>
                <a:gd name="T5" fmla="*/ 44 h 45"/>
                <a:gd name="T6" fmla="*/ 6 w 45"/>
                <a:gd name="T7" fmla="*/ 38 h 45"/>
                <a:gd name="T8" fmla="*/ 0 w 45"/>
                <a:gd name="T9" fmla="*/ 24 h 45"/>
                <a:gd name="T10" fmla="*/ 8 w 45"/>
                <a:gd name="T11" fmla="*/ 8 h 45"/>
                <a:gd name="T12" fmla="*/ 24 w 45"/>
                <a:gd name="T13" fmla="*/ 0 h 45"/>
                <a:gd name="T14" fmla="*/ 39 w 45"/>
                <a:gd name="T15" fmla="*/ 7 h 45"/>
                <a:gd name="T16" fmla="*/ 45 w 45"/>
                <a:gd name="T17" fmla="*/ 19 h 45"/>
                <a:gd name="T18" fmla="*/ 42 w 45"/>
                <a:gd name="T19" fmla="*/ 28 h 45"/>
                <a:gd name="T20" fmla="*/ 34 w 45"/>
                <a:gd name="T21" fmla="*/ 23 h 45"/>
                <a:gd name="T22" fmla="*/ 36 w 45"/>
                <a:gd name="T23" fmla="*/ 17 h 45"/>
                <a:gd name="T24" fmla="*/ 33 w 45"/>
                <a:gd name="T25" fmla="*/ 12 h 45"/>
                <a:gd name="T26" fmla="*/ 25 w 45"/>
                <a:gd name="T27" fmla="*/ 9 h 45"/>
                <a:gd name="T28" fmla="*/ 15 w 45"/>
                <a:gd name="T29" fmla="*/ 14 h 45"/>
                <a:gd name="T30" fmla="*/ 8 w 45"/>
                <a:gd name="T31" fmla="*/ 25 h 45"/>
                <a:gd name="T32" fmla="*/ 11 w 45"/>
                <a:gd name="T33" fmla="*/ 33 h 45"/>
                <a:gd name="T34" fmla="*/ 17 w 45"/>
                <a:gd name="T35" fmla="*/ 36 h 45"/>
                <a:gd name="T36" fmla="*/ 25 w 45"/>
                <a:gd name="T37" fmla="*/ 33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5" h="45">
                  <a:moveTo>
                    <a:pt x="25" y="33"/>
                  </a:moveTo>
                  <a:cubicBezTo>
                    <a:pt x="29" y="41"/>
                    <a:pt x="29" y="41"/>
                    <a:pt x="29" y="41"/>
                  </a:cubicBezTo>
                  <a:cubicBezTo>
                    <a:pt x="25" y="44"/>
                    <a:pt x="21" y="45"/>
                    <a:pt x="17" y="44"/>
                  </a:cubicBezTo>
                  <a:cubicBezTo>
                    <a:pt x="13" y="44"/>
                    <a:pt x="9" y="42"/>
                    <a:pt x="6" y="38"/>
                  </a:cubicBezTo>
                  <a:cubicBezTo>
                    <a:pt x="2" y="34"/>
                    <a:pt x="0" y="29"/>
                    <a:pt x="0" y="24"/>
                  </a:cubicBezTo>
                  <a:cubicBezTo>
                    <a:pt x="0" y="19"/>
                    <a:pt x="3" y="13"/>
                    <a:pt x="8" y="8"/>
                  </a:cubicBezTo>
                  <a:cubicBezTo>
                    <a:pt x="13" y="3"/>
                    <a:pt x="18" y="1"/>
                    <a:pt x="24" y="0"/>
                  </a:cubicBezTo>
                  <a:cubicBezTo>
                    <a:pt x="29" y="0"/>
                    <a:pt x="34" y="2"/>
                    <a:pt x="39" y="7"/>
                  </a:cubicBezTo>
                  <a:cubicBezTo>
                    <a:pt x="42" y="10"/>
                    <a:pt x="44" y="15"/>
                    <a:pt x="45" y="19"/>
                  </a:cubicBezTo>
                  <a:cubicBezTo>
                    <a:pt x="45" y="22"/>
                    <a:pt x="44" y="25"/>
                    <a:pt x="42" y="28"/>
                  </a:cubicBezTo>
                  <a:cubicBezTo>
                    <a:pt x="34" y="23"/>
                    <a:pt x="34" y="23"/>
                    <a:pt x="34" y="23"/>
                  </a:cubicBezTo>
                  <a:cubicBezTo>
                    <a:pt x="36" y="21"/>
                    <a:pt x="36" y="19"/>
                    <a:pt x="36" y="17"/>
                  </a:cubicBezTo>
                  <a:cubicBezTo>
                    <a:pt x="36" y="15"/>
                    <a:pt x="35" y="13"/>
                    <a:pt x="33" y="12"/>
                  </a:cubicBezTo>
                  <a:cubicBezTo>
                    <a:pt x="31" y="9"/>
                    <a:pt x="28" y="8"/>
                    <a:pt x="25" y="9"/>
                  </a:cubicBezTo>
                  <a:cubicBezTo>
                    <a:pt x="22" y="9"/>
                    <a:pt x="18" y="11"/>
                    <a:pt x="15" y="14"/>
                  </a:cubicBezTo>
                  <a:cubicBezTo>
                    <a:pt x="11" y="18"/>
                    <a:pt x="9" y="22"/>
                    <a:pt x="8" y="25"/>
                  </a:cubicBezTo>
                  <a:cubicBezTo>
                    <a:pt x="8" y="28"/>
                    <a:pt x="9" y="31"/>
                    <a:pt x="11" y="33"/>
                  </a:cubicBezTo>
                  <a:cubicBezTo>
                    <a:pt x="13" y="35"/>
                    <a:pt x="15" y="36"/>
                    <a:pt x="17" y="36"/>
                  </a:cubicBezTo>
                  <a:cubicBezTo>
                    <a:pt x="20" y="36"/>
                    <a:pt x="22" y="35"/>
                    <a:pt x="25" y="3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40" name="íṩḷiḋé"/>
            <p:cNvSpPr/>
            <p:nvPr/>
          </p:nvSpPr>
          <p:spPr bwMode="auto">
            <a:xfrm>
              <a:off x="1916009" y="5887040"/>
              <a:ext cx="65088" cy="71438"/>
            </a:xfrm>
            <a:custGeom>
              <a:avLst/>
              <a:gdLst>
                <a:gd name="T0" fmla="*/ 0 w 41"/>
                <a:gd name="T1" fmla="*/ 38 h 45"/>
                <a:gd name="T2" fmla="*/ 34 w 41"/>
                <a:gd name="T3" fmla="*/ 0 h 45"/>
                <a:gd name="T4" fmla="*/ 41 w 41"/>
                <a:gd name="T5" fmla="*/ 6 h 45"/>
                <a:gd name="T6" fmla="*/ 8 w 41"/>
                <a:gd name="T7" fmla="*/ 45 h 45"/>
                <a:gd name="T8" fmla="*/ 0 w 41"/>
                <a:gd name="T9" fmla="*/ 38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1" h="45">
                  <a:moveTo>
                    <a:pt x="0" y="38"/>
                  </a:moveTo>
                  <a:lnTo>
                    <a:pt x="34" y="0"/>
                  </a:lnTo>
                  <a:lnTo>
                    <a:pt x="41" y="6"/>
                  </a:lnTo>
                  <a:lnTo>
                    <a:pt x="8" y="45"/>
                  </a:lnTo>
                  <a:lnTo>
                    <a:pt x="0" y="3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41" name="îsľïďé"/>
            <p:cNvSpPr/>
            <p:nvPr/>
          </p:nvSpPr>
          <p:spPr bwMode="auto">
            <a:xfrm>
              <a:off x="1941409" y="5904503"/>
              <a:ext cx="96838" cy="101600"/>
            </a:xfrm>
            <a:custGeom>
              <a:avLst/>
              <a:gdLst>
                <a:gd name="T0" fmla="*/ 0 w 61"/>
                <a:gd name="T1" fmla="*/ 41 h 64"/>
                <a:gd name="T2" fmla="*/ 31 w 61"/>
                <a:gd name="T3" fmla="*/ 0 h 64"/>
                <a:gd name="T4" fmla="*/ 61 w 61"/>
                <a:gd name="T5" fmla="*/ 22 h 64"/>
                <a:gd name="T6" fmla="*/ 56 w 61"/>
                <a:gd name="T7" fmla="*/ 29 h 64"/>
                <a:gd name="T8" fmla="*/ 34 w 61"/>
                <a:gd name="T9" fmla="*/ 13 h 64"/>
                <a:gd name="T10" fmla="*/ 27 w 61"/>
                <a:gd name="T11" fmla="*/ 22 h 64"/>
                <a:gd name="T12" fmla="*/ 47 w 61"/>
                <a:gd name="T13" fmla="*/ 37 h 64"/>
                <a:gd name="T14" fmla="*/ 42 w 61"/>
                <a:gd name="T15" fmla="*/ 44 h 64"/>
                <a:gd name="T16" fmla="*/ 21 w 61"/>
                <a:gd name="T17" fmla="*/ 29 h 64"/>
                <a:gd name="T18" fmla="*/ 13 w 61"/>
                <a:gd name="T19" fmla="*/ 40 h 64"/>
                <a:gd name="T20" fmla="*/ 36 w 61"/>
                <a:gd name="T21" fmla="*/ 57 h 64"/>
                <a:gd name="T22" fmla="*/ 31 w 61"/>
                <a:gd name="T23" fmla="*/ 64 h 64"/>
                <a:gd name="T24" fmla="*/ 0 w 61"/>
                <a:gd name="T25" fmla="*/ 41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1" h="64">
                  <a:moveTo>
                    <a:pt x="0" y="41"/>
                  </a:moveTo>
                  <a:lnTo>
                    <a:pt x="31" y="0"/>
                  </a:lnTo>
                  <a:lnTo>
                    <a:pt x="61" y="22"/>
                  </a:lnTo>
                  <a:lnTo>
                    <a:pt x="56" y="29"/>
                  </a:lnTo>
                  <a:lnTo>
                    <a:pt x="34" y="13"/>
                  </a:lnTo>
                  <a:lnTo>
                    <a:pt x="27" y="22"/>
                  </a:lnTo>
                  <a:lnTo>
                    <a:pt x="47" y="37"/>
                  </a:lnTo>
                  <a:lnTo>
                    <a:pt x="42" y="44"/>
                  </a:lnTo>
                  <a:lnTo>
                    <a:pt x="21" y="29"/>
                  </a:lnTo>
                  <a:lnTo>
                    <a:pt x="13" y="40"/>
                  </a:lnTo>
                  <a:lnTo>
                    <a:pt x="36" y="57"/>
                  </a:lnTo>
                  <a:lnTo>
                    <a:pt x="31" y="64"/>
                  </a:lnTo>
                  <a:lnTo>
                    <a:pt x="0" y="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42" name="íśliḋé"/>
            <p:cNvSpPr/>
            <p:nvPr/>
          </p:nvSpPr>
          <p:spPr bwMode="auto">
            <a:xfrm>
              <a:off x="2004909" y="5947365"/>
              <a:ext cx="96838" cy="101600"/>
            </a:xfrm>
            <a:custGeom>
              <a:avLst/>
              <a:gdLst>
                <a:gd name="T0" fmla="*/ 0 w 61"/>
                <a:gd name="T1" fmla="*/ 43 h 64"/>
                <a:gd name="T2" fmla="*/ 27 w 61"/>
                <a:gd name="T3" fmla="*/ 0 h 64"/>
                <a:gd name="T4" fmla="*/ 35 w 61"/>
                <a:gd name="T5" fmla="*/ 5 h 64"/>
                <a:gd name="T6" fmla="*/ 36 w 61"/>
                <a:gd name="T7" fmla="*/ 45 h 64"/>
                <a:gd name="T8" fmla="*/ 53 w 61"/>
                <a:gd name="T9" fmla="*/ 15 h 64"/>
                <a:gd name="T10" fmla="*/ 61 w 61"/>
                <a:gd name="T11" fmla="*/ 21 h 64"/>
                <a:gd name="T12" fmla="*/ 35 w 61"/>
                <a:gd name="T13" fmla="*/ 64 h 64"/>
                <a:gd name="T14" fmla="*/ 27 w 61"/>
                <a:gd name="T15" fmla="*/ 59 h 64"/>
                <a:gd name="T16" fmla="*/ 25 w 61"/>
                <a:gd name="T17" fmla="*/ 20 h 64"/>
                <a:gd name="T18" fmla="*/ 8 w 61"/>
                <a:gd name="T19" fmla="*/ 49 h 64"/>
                <a:gd name="T20" fmla="*/ 0 w 61"/>
                <a:gd name="T21" fmla="*/ 43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61" h="64">
                  <a:moveTo>
                    <a:pt x="0" y="43"/>
                  </a:moveTo>
                  <a:lnTo>
                    <a:pt x="27" y="0"/>
                  </a:lnTo>
                  <a:lnTo>
                    <a:pt x="35" y="5"/>
                  </a:lnTo>
                  <a:lnTo>
                    <a:pt x="36" y="45"/>
                  </a:lnTo>
                  <a:lnTo>
                    <a:pt x="53" y="15"/>
                  </a:lnTo>
                  <a:lnTo>
                    <a:pt x="61" y="21"/>
                  </a:lnTo>
                  <a:lnTo>
                    <a:pt x="35" y="64"/>
                  </a:lnTo>
                  <a:lnTo>
                    <a:pt x="27" y="59"/>
                  </a:lnTo>
                  <a:lnTo>
                    <a:pt x="25" y="20"/>
                  </a:lnTo>
                  <a:lnTo>
                    <a:pt x="8" y="49"/>
                  </a:lnTo>
                  <a:lnTo>
                    <a:pt x="0" y="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43" name="iSļiďê"/>
            <p:cNvSpPr/>
            <p:nvPr/>
          </p:nvSpPr>
          <p:spPr bwMode="auto">
            <a:xfrm>
              <a:off x="2087459" y="5993403"/>
              <a:ext cx="79375" cy="87313"/>
            </a:xfrm>
            <a:custGeom>
              <a:avLst/>
              <a:gdLst>
                <a:gd name="T0" fmla="*/ 28 w 43"/>
                <a:gd name="T1" fmla="*/ 33 h 47"/>
                <a:gd name="T2" fmla="*/ 34 w 43"/>
                <a:gd name="T3" fmla="*/ 39 h 47"/>
                <a:gd name="T4" fmla="*/ 24 w 43"/>
                <a:gd name="T5" fmla="*/ 46 h 47"/>
                <a:gd name="T6" fmla="*/ 12 w 43"/>
                <a:gd name="T7" fmla="*/ 44 h 47"/>
                <a:gd name="T8" fmla="*/ 1 w 43"/>
                <a:gd name="T9" fmla="*/ 33 h 47"/>
                <a:gd name="T10" fmla="*/ 3 w 43"/>
                <a:gd name="T11" fmla="*/ 15 h 47"/>
                <a:gd name="T12" fmla="*/ 15 w 43"/>
                <a:gd name="T13" fmla="*/ 2 h 47"/>
                <a:gd name="T14" fmla="*/ 32 w 43"/>
                <a:gd name="T15" fmla="*/ 3 h 47"/>
                <a:gd name="T16" fmla="*/ 41 w 43"/>
                <a:gd name="T17" fmla="*/ 13 h 47"/>
                <a:gd name="T18" fmla="*/ 42 w 43"/>
                <a:gd name="T19" fmla="*/ 22 h 47"/>
                <a:gd name="T20" fmla="*/ 33 w 43"/>
                <a:gd name="T21" fmla="*/ 20 h 47"/>
                <a:gd name="T22" fmla="*/ 33 w 43"/>
                <a:gd name="T23" fmla="*/ 14 h 47"/>
                <a:gd name="T24" fmla="*/ 28 w 43"/>
                <a:gd name="T25" fmla="*/ 10 h 47"/>
                <a:gd name="T26" fmla="*/ 19 w 43"/>
                <a:gd name="T27" fmla="*/ 10 h 47"/>
                <a:gd name="T28" fmla="*/ 12 w 43"/>
                <a:gd name="T29" fmla="*/ 19 h 47"/>
                <a:gd name="T30" fmla="*/ 9 w 43"/>
                <a:gd name="T31" fmla="*/ 31 h 47"/>
                <a:gd name="T32" fmla="*/ 15 w 43"/>
                <a:gd name="T33" fmla="*/ 37 h 47"/>
                <a:gd name="T34" fmla="*/ 22 w 43"/>
                <a:gd name="T35" fmla="*/ 38 h 47"/>
                <a:gd name="T36" fmla="*/ 28 w 43"/>
                <a:gd name="T37" fmla="*/ 33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3" h="47">
                  <a:moveTo>
                    <a:pt x="28" y="33"/>
                  </a:moveTo>
                  <a:cubicBezTo>
                    <a:pt x="34" y="39"/>
                    <a:pt x="34" y="39"/>
                    <a:pt x="34" y="39"/>
                  </a:cubicBezTo>
                  <a:cubicBezTo>
                    <a:pt x="31" y="43"/>
                    <a:pt x="28" y="45"/>
                    <a:pt x="24" y="46"/>
                  </a:cubicBezTo>
                  <a:cubicBezTo>
                    <a:pt x="20" y="47"/>
                    <a:pt x="16" y="46"/>
                    <a:pt x="12" y="44"/>
                  </a:cubicBezTo>
                  <a:cubicBezTo>
                    <a:pt x="7" y="42"/>
                    <a:pt x="3" y="38"/>
                    <a:pt x="1" y="33"/>
                  </a:cubicBezTo>
                  <a:cubicBezTo>
                    <a:pt x="0" y="27"/>
                    <a:pt x="0" y="22"/>
                    <a:pt x="3" y="15"/>
                  </a:cubicBezTo>
                  <a:cubicBezTo>
                    <a:pt x="6" y="9"/>
                    <a:pt x="10" y="4"/>
                    <a:pt x="15" y="2"/>
                  </a:cubicBezTo>
                  <a:cubicBezTo>
                    <a:pt x="21" y="0"/>
                    <a:pt x="26" y="1"/>
                    <a:pt x="32" y="3"/>
                  </a:cubicBezTo>
                  <a:cubicBezTo>
                    <a:pt x="36" y="5"/>
                    <a:pt x="40" y="9"/>
                    <a:pt x="41" y="13"/>
                  </a:cubicBezTo>
                  <a:cubicBezTo>
                    <a:pt x="42" y="16"/>
                    <a:pt x="43" y="19"/>
                    <a:pt x="42" y="22"/>
                  </a:cubicBezTo>
                  <a:cubicBezTo>
                    <a:pt x="33" y="20"/>
                    <a:pt x="33" y="20"/>
                    <a:pt x="33" y="20"/>
                  </a:cubicBezTo>
                  <a:cubicBezTo>
                    <a:pt x="34" y="18"/>
                    <a:pt x="34" y="16"/>
                    <a:pt x="33" y="14"/>
                  </a:cubicBezTo>
                  <a:cubicBezTo>
                    <a:pt x="32" y="12"/>
                    <a:pt x="30" y="11"/>
                    <a:pt x="28" y="10"/>
                  </a:cubicBezTo>
                  <a:cubicBezTo>
                    <a:pt x="25" y="8"/>
                    <a:pt x="22" y="8"/>
                    <a:pt x="19" y="10"/>
                  </a:cubicBezTo>
                  <a:cubicBezTo>
                    <a:pt x="16" y="11"/>
                    <a:pt x="14" y="14"/>
                    <a:pt x="12" y="19"/>
                  </a:cubicBezTo>
                  <a:cubicBezTo>
                    <a:pt x="9" y="24"/>
                    <a:pt x="9" y="28"/>
                    <a:pt x="9" y="31"/>
                  </a:cubicBezTo>
                  <a:cubicBezTo>
                    <a:pt x="10" y="34"/>
                    <a:pt x="12" y="36"/>
                    <a:pt x="15" y="37"/>
                  </a:cubicBezTo>
                  <a:cubicBezTo>
                    <a:pt x="17" y="38"/>
                    <a:pt x="19" y="38"/>
                    <a:pt x="22" y="38"/>
                  </a:cubicBezTo>
                  <a:cubicBezTo>
                    <a:pt x="24" y="37"/>
                    <a:pt x="26" y="35"/>
                    <a:pt x="28" y="3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44" name="íSliḋé"/>
            <p:cNvSpPr/>
            <p:nvPr/>
          </p:nvSpPr>
          <p:spPr bwMode="auto">
            <a:xfrm>
              <a:off x="2157309" y="6017215"/>
              <a:ext cx="82550" cy="96838"/>
            </a:xfrm>
            <a:custGeom>
              <a:avLst/>
              <a:gdLst>
                <a:gd name="T0" fmla="*/ 0 w 52"/>
                <a:gd name="T1" fmla="*/ 49 h 61"/>
                <a:gd name="T2" fmla="*/ 16 w 52"/>
                <a:gd name="T3" fmla="*/ 0 h 61"/>
                <a:gd name="T4" fmla="*/ 52 w 52"/>
                <a:gd name="T5" fmla="*/ 13 h 61"/>
                <a:gd name="T6" fmla="*/ 50 w 52"/>
                <a:gd name="T7" fmla="*/ 21 h 61"/>
                <a:gd name="T8" fmla="*/ 23 w 52"/>
                <a:gd name="T9" fmla="*/ 12 h 61"/>
                <a:gd name="T10" fmla="*/ 20 w 52"/>
                <a:gd name="T11" fmla="*/ 22 h 61"/>
                <a:gd name="T12" fmla="*/ 44 w 52"/>
                <a:gd name="T13" fmla="*/ 30 h 61"/>
                <a:gd name="T14" fmla="*/ 41 w 52"/>
                <a:gd name="T15" fmla="*/ 38 h 61"/>
                <a:gd name="T16" fmla="*/ 18 w 52"/>
                <a:gd name="T17" fmla="*/ 30 h 61"/>
                <a:gd name="T18" fmla="*/ 13 w 52"/>
                <a:gd name="T19" fmla="*/ 43 h 61"/>
                <a:gd name="T20" fmla="*/ 40 w 52"/>
                <a:gd name="T21" fmla="*/ 52 h 61"/>
                <a:gd name="T22" fmla="*/ 36 w 52"/>
                <a:gd name="T23" fmla="*/ 61 h 61"/>
                <a:gd name="T24" fmla="*/ 0 w 52"/>
                <a:gd name="T25" fmla="*/ 49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52" h="61">
                  <a:moveTo>
                    <a:pt x="0" y="49"/>
                  </a:moveTo>
                  <a:lnTo>
                    <a:pt x="16" y="0"/>
                  </a:lnTo>
                  <a:lnTo>
                    <a:pt x="52" y="13"/>
                  </a:lnTo>
                  <a:lnTo>
                    <a:pt x="50" y="21"/>
                  </a:lnTo>
                  <a:lnTo>
                    <a:pt x="23" y="12"/>
                  </a:lnTo>
                  <a:lnTo>
                    <a:pt x="20" y="22"/>
                  </a:lnTo>
                  <a:lnTo>
                    <a:pt x="44" y="30"/>
                  </a:lnTo>
                  <a:lnTo>
                    <a:pt x="41" y="38"/>
                  </a:lnTo>
                  <a:lnTo>
                    <a:pt x="18" y="30"/>
                  </a:lnTo>
                  <a:lnTo>
                    <a:pt x="13" y="43"/>
                  </a:lnTo>
                  <a:lnTo>
                    <a:pt x="40" y="52"/>
                  </a:lnTo>
                  <a:lnTo>
                    <a:pt x="36" y="61"/>
                  </a:lnTo>
                  <a:lnTo>
                    <a:pt x="0" y="4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45" name="îŝ1îḑè"/>
            <p:cNvSpPr/>
            <p:nvPr/>
          </p:nvSpPr>
          <p:spPr bwMode="auto">
            <a:xfrm>
              <a:off x="2663722" y="6026740"/>
              <a:ext cx="77788" cy="92075"/>
            </a:xfrm>
            <a:custGeom>
              <a:avLst/>
              <a:gdLst>
                <a:gd name="T0" fmla="*/ 49 w 49"/>
                <a:gd name="T1" fmla="*/ 42 h 58"/>
                <a:gd name="T2" fmla="*/ 39 w 49"/>
                <a:gd name="T3" fmla="*/ 45 h 58"/>
                <a:gd name="T4" fmla="*/ 31 w 49"/>
                <a:gd name="T5" fmla="*/ 36 h 58"/>
                <a:gd name="T6" fmla="*/ 11 w 49"/>
                <a:gd name="T7" fmla="*/ 43 h 58"/>
                <a:gd name="T8" fmla="*/ 11 w 49"/>
                <a:gd name="T9" fmla="*/ 55 h 58"/>
                <a:gd name="T10" fmla="*/ 0 w 49"/>
                <a:gd name="T11" fmla="*/ 58 h 58"/>
                <a:gd name="T12" fmla="*/ 3 w 49"/>
                <a:gd name="T13" fmla="*/ 3 h 58"/>
                <a:gd name="T14" fmla="*/ 13 w 49"/>
                <a:gd name="T15" fmla="*/ 0 h 58"/>
                <a:gd name="T16" fmla="*/ 49 w 49"/>
                <a:gd name="T17" fmla="*/ 42 h 58"/>
                <a:gd name="T18" fmla="*/ 25 w 49"/>
                <a:gd name="T19" fmla="*/ 29 h 58"/>
                <a:gd name="T20" fmla="*/ 12 w 49"/>
                <a:gd name="T21" fmla="*/ 14 h 58"/>
                <a:gd name="T22" fmla="*/ 11 w 49"/>
                <a:gd name="T23" fmla="*/ 34 h 58"/>
                <a:gd name="T24" fmla="*/ 25 w 49"/>
                <a:gd name="T25" fmla="*/ 29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8">
                  <a:moveTo>
                    <a:pt x="49" y="42"/>
                  </a:moveTo>
                  <a:lnTo>
                    <a:pt x="39" y="45"/>
                  </a:lnTo>
                  <a:lnTo>
                    <a:pt x="31" y="36"/>
                  </a:lnTo>
                  <a:lnTo>
                    <a:pt x="11" y="43"/>
                  </a:lnTo>
                  <a:lnTo>
                    <a:pt x="11" y="55"/>
                  </a:lnTo>
                  <a:lnTo>
                    <a:pt x="0" y="58"/>
                  </a:lnTo>
                  <a:lnTo>
                    <a:pt x="3" y="3"/>
                  </a:lnTo>
                  <a:lnTo>
                    <a:pt x="13" y="0"/>
                  </a:lnTo>
                  <a:lnTo>
                    <a:pt x="49" y="42"/>
                  </a:lnTo>
                  <a:close/>
                  <a:moveTo>
                    <a:pt x="25" y="29"/>
                  </a:moveTo>
                  <a:lnTo>
                    <a:pt x="12" y="14"/>
                  </a:lnTo>
                  <a:lnTo>
                    <a:pt x="11" y="34"/>
                  </a:lnTo>
                  <a:lnTo>
                    <a:pt x="25" y="2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46" name="íṩḻiḋê"/>
            <p:cNvSpPr/>
            <p:nvPr/>
          </p:nvSpPr>
          <p:spPr bwMode="auto">
            <a:xfrm>
              <a:off x="2714522" y="5990228"/>
              <a:ext cx="92075" cy="101600"/>
            </a:xfrm>
            <a:custGeom>
              <a:avLst/>
              <a:gdLst>
                <a:gd name="T0" fmla="*/ 21 w 58"/>
                <a:gd name="T1" fmla="*/ 64 h 64"/>
                <a:gd name="T2" fmla="*/ 0 w 58"/>
                <a:gd name="T3" fmla="*/ 17 h 64"/>
                <a:gd name="T4" fmla="*/ 9 w 58"/>
                <a:gd name="T5" fmla="*/ 12 h 64"/>
                <a:gd name="T6" fmla="*/ 43 w 58"/>
                <a:gd name="T7" fmla="*/ 36 h 64"/>
                <a:gd name="T8" fmla="*/ 29 w 58"/>
                <a:gd name="T9" fmla="*/ 4 h 64"/>
                <a:gd name="T10" fmla="*/ 37 w 58"/>
                <a:gd name="T11" fmla="*/ 0 h 64"/>
                <a:gd name="T12" fmla="*/ 58 w 58"/>
                <a:gd name="T13" fmla="*/ 46 h 64"/>
                <a:gd name="T14" fmla="*/ 49 w 58"/>
                <a:gd name="T15" fmla="*/ 51 h 64"/>
                <a:gd name="T16" fmla="*/ 16 w 58"/>
                <a:gd name="T17" fmla="*/ 29 h 64"/>
                <a:gd name="T18" fmla="*/ 30 w 58"/>
                <a:gd name="T19" fmla="*/ 59 h 64"/>
                <a:gd name="T20" fmla="*/ 21 w 58"/>
                <a:gd name="T21" fmla="*/ 64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8" h="64">
                  <a:moveTo>
                    <a:pt x="21" y="64"/>
                  </a:moveTo>
                  <a:lnTo>
                    <a:pt x="0" y="17"/>
                  </a:lnTo>
                  <a:lnTo>
                    <a:pt x="9" y="12"/>
                  </a:lnTo>
                  <a:lnTo>
                    <a:pt x="43" y="36"/>
                  </a:lnTo>
                  <a:lnTo>
                    <a:pt x="29" y="4"/>
                  </a:lnTo>
                  <a:lnTo>
                    <a:pt x="37" y="0"/>
                  </a:lnTo>
                  <a:lnTo>
                    <a:pt x="58" y="46"/>
                  </a:lnTo>
                  <a:lnTo>
                    <a:pt x="49" y="51"/>
                  </a:lnTo>
                  <a:lnTo>
                    <a:pt x="16" y="29"/>
                  </a:lnTo>
                  <a:lnTo>
                    <a:pt x="30" y="59"/>
                  </a:lnTo>
                  <a:lnTo>
                    <a:pt x="21" y="6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47" name="îṧľíḍe"/>
            <p:cNvSpPr/>
            <p:nvPr/>
          </p:nvSpPr>
          <p:spPr bwMode="auto">
            <a:xfrm>
              <a:off x="2781197" y="5963240"/>
              <a:ext cx="85725" cy="95250"/>
            </a:xfrm>
            <a:custGeom>
              <a:avLst/>
              <a:gdLst>
                <a:gd name="T0" fmla="*/ 0 w 47"/>
                <a:gd name="T1" fmla="*/ 13 h 51"/>
                <a:gd name="T2" fmla="*/ 14 w 47"/>
                <a:gd name="T3" fmla="*/ 4 h 51"/>
                <a:gd name="T4" fmla="*/ 22 w 47"/>
                <a:gd name="T5" fmla="*/ 1 h 51"/>
                <a:gd name="T6" fmla="*/ 29 w 47"/>
                <a:gd name="T7" fmla="*/ 1 h 51"/>
                <a:gd name="T8" fmla="*/ 37 w 47"/>
                <a:gd name="T9" fmla="*/ 5 h 51"/>
                <a:gd name="T10" fmla="*/ 43 w 47"/>
                <a:gd name="T11" fmla="*/ 14 h 51"/>
                <a:gd name="T12" fmla="*/ 47 w 47"/>
                <a:gd name="T13" fmla="*/ 22 h 51"/>
                <a:gd name="T14" fmla="*/ 46 w 47"/>
                <a:gd name="T15" fmla="*/ 31 h 51"/>
                <a:gd name="T16" fmla="*/ 43 w 47"/>
                <a:gd name="T17" fmla="*/ 38 h 51"/>
                <a:gd name="T18" fmla="*/ 36 w 47"/>
                <a:gd name="T19" fmla="*/ 42 h 51"/>
                <a:gd name="T20" fmla="*/ 22 w 47"/>
                <a:gd name="T21" fmla="*/ 51 h 51"/>
                <a:gd name="T22" fmla="*/ 0 w 47"/>
                <a:gd name="T23" fmla="*/ 13 h 51"/>
                <a:gd name="T24" fmla="*/ 11 w 47"/>
                <a:gd name="T25" fmla="*/ 15 h 51"/>
                <a:gd name="T26" fmla="*/ 26 w 47"/>
                <a:gd name="T27" fmla="*/ 40 h 51"/>
                <a:gd name="T28" fmla="*/ 32 w 47"/>
                <a:gd name="T29" fmla="*/ 37 h 51"/>
                <a:gd name="T30" fmla="*/ 36 w 47"/>
                <a:gd name="T31" fmla="*/ 33 h 51"/>
                <a:gd name="T32" fmla="*/ 38 w 47"/>
                <a:gd name="T33" fmla="*/ 30 h 51"/>
                <a:gd name="T34" fmla="*/ 38 w 47"/>
                <a:gd name="T35" fmla="*/ 25 h 51"/>
                <a:gd name="T36" fmla="*/ 35 w 47"/>
                <a:gd name="T37" fmla="*/ 18 h 51"/>
                <a:gd name="T38" fmla="*/ 30 w 47"/>
                <a:gd name="T39" fmla="*/ 11 h 51"/>
                <a:gd name="T40" fmla="*/ 26 w 47"/>
                <a:gd name="T41" fmla="*/ 9 h 51"/>
                <a:gd name="T42" fmla="*/ 21 w 47"/>
                <a:gd name="T43" fmla="*/ 9 h 51"/>
                <a:gd name="T44" fmla="*/ 15 w 47"/>
                <a:gd name="T45" fmla="*/ 13 h 51"/>
                <a:gd name="T46" fmla="*/ 11 w 47"/>
                <a:gd name="T47" fmla="*/ 15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47" h="51">
                  <a:moveTo>
                    <a:pt x="0" y="13"/>
                  </a:moveTo>
                  <a:cubicBezTo>
                    <a:pt x="14" y="4"/>
                    <a:pt x="14" y="4"/>
                    <a:pt x="14" y="4"/>
                  </a:cubicBezTo>
                  <a:cubicBezTo>
                    <a:pt x="17" y="3"/>
                    <a:pt x="20" y="1"/>
                    <a:pt x="22" y="1"/>
                  </a:cubicBezTo>
                  <a:cubicBezTo>
                    <a:pt x="24" y="0"/>
                    <a:pt x="27" y="0"/>
                    <a:pt x="29" y="1"/>
                  </a:cubicBezTo>
                  <a:cubicBezTo>
                    <a:pt x="32" y="2"/>
                    <a:pt x="34" y="3"/>
                    <a:pt x="37" y="5"/>
                  </a:cubicBezTo>
                  <a:cubicBezTo>
                    <a:pt x="39" y="7"/>
                    <a:pt x="41" y="10"/>
                    <a:pt x="43" y="14"/>
                  </a:cubicBezTo>
                  <a:cubicBezTo>
                    <a:pt x="45" y="17"/>
                    <a:pt x="46" y="20"/>
                    <a:pt x="47" y="22"/>
                  </a:cubicBezTo>
                  <a:cubicBezTo>
                    <a:pt x="47" y="26"/>
                    <a:pt x="47" y="29"/>
                    <a:pt x="46" y="31"/>
                  </a:cubicBezTo>
                  <a:cubicBezTo>
                    <a:pt x="46" y="34"/>
                    <a:pt x="45" y="36"/>
                    <a:pt x="43" y="38"/>
                  </a:cubicBezTo>
                  <a:cubicBezTo>
                    <a:pt x="41" y="39"/>
                    <a:pt x="39" y="41"/>
                    <a:pt x="36" y="42"/>
                  </a:cubicBezTo>
                  <a:cubicBezTo>
                    <a:pt x="22" y="51"/>
                    <a:pt x="22" y="51"/>
                    <a:pt x="22" y="51"/>
                  </a:cubicBezTo>
                  <a:lnTo>
                    <a:pt x="0" y="13"/>
                  </a:lnTo>
                  <a:close/>
                  <a:moveTo>
                    <a:pt x="11" y="15"/>
                  </a:moveTo>
                  <a:cubicBezTo>
                    <a:pt x="26" y="40"/>
                    <a:pt x="26" y="40"/>
                    <a:pt x="26" y="40"/>
                  </a:cubicBezTo>
                  <a:cubicBezTo>
                    <a:pt x="32" y="37"/>
                    <a:pt x="32" y="37"/>
                    <a:pt x="32" y="37"/>
                  </a:cubicBezTo>
                  <a:cubicBezTo>
                    <a:pt x="34" y="35"/>
                    <a:pt x="35" y="34"/>
                    <a:pt x="36" y="33"/>
                  </a:cubicBezTo>
                  <a:cubicBezTo>
                    <a:pt x="37" y="32"/>
                    <a:pt x="38" y="31"/>
                    <a:pt x="38" y="30"/>
                  </a:cubicBezTo>
                  <a:cubicBezTo>
                    <a:pt x="39" y="29"/>
                    <a:pt x="39" y="27"/>
                    <a:pt x="38" y="25"/>
                  </a:cubicBezTo>
                  <a:cubicBezTo>
                    <a:pt x="38" y="23"/>
                    <a:pt x="37" y="21"/>
                    <a:pt x="35" y="18"/>
                  </a:cubicBezTo>
                  <a:cubicBezTo>
                    <a:pt x="33" y="15"/>
                    <a:pt x="32" y="13"/>
                    <a:pt x="30" y="11"/>
                  </a:cubicBezTo>
                  <a:cubicBezTo>
                    <a:pt x="29" y="10"/>
                    <a:pt x="27" y="9"/>
                    <a:pt x="26" y="9"/>
                  </a:cubicBezTo>
                  <a:cubicBezTo>
                    <a:pt x="25" y="9"/>
                    <a:pt x="23" y="9"/>
                    <a:pt x="21" y="9"/>
                  </a:cubicBezTo>
                  <a:cubicBezTo>
                    <a:pt x="20" y="10"/>
                    <a:pt x="18" y="11"/>
                    <a:pt x="15" y="13"/>
                  </a:cubicBezTo>
                  <a:lnTo>
                    <a:pt x="11" y="1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48" name="ïṩḻiḍe"/>
            <p:cNvSpPr/>
            <p:nvPr/>
          </p:nvSpPr>
          <p:spPr bwMode="auto">
            <a:xfrm>
              <a:off x="2876447" y="5888628"/>
              <a:ext cx="80963" cy="88900"/>
            </a:xfrm>
            <a:custGeom>
              <a:avLst/>
              <a:gdLst>
                <a:gd name="T0" fmla="*/ 43 w 51"/>
                <a:gd name="T1" fmla="*/ 56 h 56"/>
                <a:gd name="T2" fmla="*/ 16 w 51"/>
                <a:gd name="T3" fmla="*/ 22 h 56"/>
                <a:gd name="T4" fmla="*/ 5 w 51"/>
                <a:gd name="T5" fmla="*/ 31 h 56"/>
                <a:gd name="T6" fmla="*/ 0 w 51"/>
                <a:gd name="T7" fmla="*/ 25 h 56"/>
                <a:gd name="T8" fmla="*/ 31 w 51"/>
                <a:gd name="T9" fmla="*/ 0 h 56"/>
                <a:gd name="T10" fmla="*/ 37 w 51"/>
                <a:gd name="T11" fmla="*/ 7 h 56"/>
                <a:gd name="T12" fmla="*/ 24 w 51"/>
                <a:gd name="T13" fmla="*/ 16 h 56"/>
                <a:gd name="T14" fmla="*/ 51 w 51"/>
                <a:gd name="T15" fmla="*/ 49 h 56"/>
                <a:gd name="T16" fmla="*/ 43 w 51"/>
                <a:gd name="T17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1" h="56">
                  <a:moveTo>
                    <a:pt x="43" y="56"/>
                  </a:moveTo>
                  <a:lnTo>
                    <a:pt x="16" y="22"/>
                  </a:lnTo>
                  <a:lnTo>
                    <a:pt x="5" y="31"/>
                  </a:lnTo>
                  <a:lnTo>
                    <a:pt x="0" y="25"/>
                  </a:lnTo>
                  <a:lnTo>
                    <a:pt x="31" y="0"/>
                  </a:lnTo>
                  <a:lnTo>
                    <a:pt x="37" y="7"/>
                  </a:lnTo>
                  <a:lnTo>
                    <a:pt x="24" y="16"/>
                  </a:lnTo>
                  <a:lnTo>
                    <a:pt x="51" y="49"/>
                  </a:lnTo>
                  <a:lnTo>
                    <a:pt x="43" y="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49" name="íśļïḓè"/>
            <p:cNvSpPr/>
            <p:nvPr/>
          </p:nvSpPr>
          <p:spPr bwMode="auto">
            <a:xfrm>
              <a:off x="2925659" y="5845765"/>
              <a:ext cx="101600" cy="100013"/>
            </a:xfrm>
            <a:custGeom>
              <a:avLst/>
              <a:gdLst>
                <a:gd name="T0" fmla="*/ 36 w 64"/>
                <a:gd name="T1" fmla="*/ 63 h 63"/>
                <a:gd name="T2" fmla="*/ 0 w 64"/>
                <a:gd name="T3" fmla="*/ 26 h 63"/>
                <a:gd name="T4" fmla="*/ 28 w 64"/>
                <a:gd name="T5" fmla="*/ 0 h 63"/>
                <a:gd name="T6" fmla="*/ 34 w 64"/>
                <a:gd name="T7" fmla="*/ 6 h 63"/>
                <a:gd name="T8" fmla="*/ 14 w 64"/>
                <a:gd name="T9" fmla="*/ 26 h 63"/>
                <a:gd name="T10" fmla="*/ 22 w 64"/>
                <a:gd name="T11" fmla="*/ 34 h 63"/>
                <a:gd name="T12" fmla="*/ 41 w 64"/>
                <a:gd name="T13" fmla="*/ 16 h 63"/>
                <a:gd name="T14" fmla="*/ 47 w 64"/>
                <a:gd name="T15" fmla="*/ 22 h 63"/>
                <a:gd name="T16" fmla="*/ 28 w 64"/>
                <a:gd name="T17" fmla="*/ 39 h 63"/>
                <a:gd name="T18" fmla="*/ 38 w 64"/>
                <a:gd name="T19" fmla="*/ 50 h 63"/>
                <a:gd name="T20" fmla="*/ 58 w 64"/>
                <a:gd name="T21" fmla="*/ 30 h 63"/>
                <a:gd name="T22" fmla="*/ 64 w 64"/>
                <a:gd name="T23" fmla="*/ 36 h 63"/>
                <a:gd name="T24" fmla="*/ 36 w 64"/>
                <a:gd name="T25" fmla="*/ 63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4" h="63">
                  <a:moveTo>
                    <a:pt x="36" y="63"/>
                  </a:moveTo>
                  <a:lnTo>
                    <a:pt x="0" y="26"/>
                  </a:lnTo>
                  <a:lnTo>
                    <a:pt x="28" y="0"/>
                  </a:lnTo>
                  <a:lnTo>
                    <a:pt x="34" y="6"/>
                  </a:lnTo>
                  <a:lnTo>
                    <a:pt x="14" y="26"/>
                  </a:lnTo>
                  <a:lnTo>
                    <a:pt x="22" y="34"/>
                  </a:lnTo>
                  <a:lnTo>
                    <a:pt x="41" y="16"/>
                  </a:lnTo>
                  <a:lnTo>
                    <a:pt x="47" y="22"/>
                  </a:lnTo>
                  <a:lnTo>
                    <a:pt x="28" y="39"/>
                  </a:lnTo>
                  <a:lnTo>
                    <a:pt x="38" y="50"/>
                  </a:lnTo>
                  <a:lnTo>
                    <a:pt x="58" y="30"/>
                  </a:lnTo>
                  <a:lnTo>
                    <a:pt x="64" y="36"/>
                  </a:lnTo>
                  <a:lnTo>
                    <a:pt x="36" y="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50" name="íṩḻîde"/>
            <p:cNvSpPr/>
            <p:nvPr/>
          </p:nvSpPr>
          <p:spPr bwMode="auto">
            <a:xfrm>
              <a:off x="2985984" y="5801315"/>
              <a:ext cx="82550" cy="80963"/>
            </a:xfrm>
            <a:custGeom>
              <a:avLst/>
              <a:gdLst>
                <a:gd name="T0" fmla="*/ 34 w 45"/>
                <a:gd name="T1" fmla="*/ 19 h 44"/>
                <a:gd name="T2" fmla="*/ 41 w 45"/>
                <a:gd name="T3" fmla="*/ 14 h 44"/>
                <a:gd name="T4" fmla="*/ 45 w 45"/>
                <a:gd name="T5" fmla="*/ 26 h 44"/>
                <a:gd name="T6" fmla="*/ 40 w 45"/>
                <a:gd name="T7" fmla="*/ 37 h 44"/>
                <a:gd name="T8" fmla="*/ 26 w 45"/>
                <a:gd name="T9" fmla="*/ 44 h 44"/>
                <a:gd name="T10" fmla="*/ 10 w 45"/>
                <a:gd name="T11" fmla="*/ 38 h 44"/>
                <a:gd name="T12" fmla="*/ 1 w 45"/>
                <a:gd name="T13" fmla="*/ 22 h 44"/>
                <a:gd name="T14" fmla="*/ 6 w 45"/>
                <a:gd name="T15" fmla="*/ 7 h 44"/>
                <a:gd name="T16" fmla="*/ 18 w 45"/>
                <a:gd name="T17" fmla="*/ 0 h 44"/>
                <a:gd name="T18" fmla="*/ 27 w 45"/>
                <a:gd name="T19" fmla="*/ 2 h 44"/>
                <a:gd name="T20" fmla="*/ 23 w 45"/>
                <a:gd name="T21" fmla="*/ 10 h 44"/>
                <a:gd name="T22" fmla="*/ 17 w 45"/>
                <a:gd name="T23" fmla="*/ 9 h 44"/>
                <a:gd name="T24" fmla="*/ 11 w 45"/>
                <a:gd name="T25" fmla="*/ 12 h 44"/>
                <a:gd name="T26" fmla="*/ 9 w 45"/>
                <a:gd name="T27" fmla="*/ 21 h 44"/>
                <a:gd name="T28" fmla="*/ 15 w 45"/>
                <a:gd name="T29" fmla="*/ 30 h 44"/>
                <a:gd name="T30" fmla="*/ 26 w 45"/>
                <a:gd name="T31" fmla="*/ 36 h 44"/>
                <a:gd name="T32" fmla="*/ 34 w 45"/>
                <a:gd name="T33" fmla="*/ 32 h 44"/>
                <a:gd name="T34" fmla="*/ 36 w 45"/>
                <a:gd name="T35" fmla="*/ 26 h 44"/>
                <a:gd name="T36" fmla="*/ 34 w 45"/>
                <a:gd name="T37" fmla="*/ 19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5" h="44">
                  <a:moveTo>
                    <a:pt x="34" y="19"/>
                  </a:moveTo>
                  <a:cubicBezTo>
                    <a:pt x="41" y="14"/>
                    <a:pt x="41" y="14"/>
                    <a:pt x="41" y="14"/>
                  </a:cubicBezTo>
                  <a:cubicBezTo>
                    <a:pt x="44" y="18"/>
                    <a:pt x="45" y="22"/>
                    <a:pt x="45" y="26"/>
                  </a:cubicBezTo>
                  <a:cubicBezTo>
                    <a:pt x="45" y="30"/>
                    <a:pt x="43" y="34"/>
                    <a:pt x="40" y="37"/>
                  </a:cubicBezTo>
                  <a:cubicBezTo>
                    <a:pt x="36" y="42"/>
                    <a:pt x="31" y="44"/>
                    <a:pt x="26" y="44"/>
                  </a:cubicBezTo>
                  <a:cubicBezTo>
                    <a:pt x="21" y="44"/>
                    <a:pt x="15" y="42"/>
                    <a:pt x="10" y="38"/>
                  </a:cubicBezTo>
                  <a:cubicBezTo>
                    <a:pt x="4" y="33"/>
                    <a:pt x="1" y="28"/>
                    <a:pt x="1" y="22"/>
                  </a:cubicBezTo>
                  <a:cubicBezTo>
                    <a:pt x="0" y="17"/>
                    <a:pt x="2" y="12"/>
                    <a:pt x="6" y="7"/>
                  </a:cubicBezTo>
                  <a:cubicBezTo>
                    <a:pt x="10" y="3"/>
                    <a:pt x="14" y="1"/>
                    <a:pt x="18" y="0"/>
                  </a:cubicBezTo>
                  <a:cubicBezTo>
                    <a:pt x="21" y="0"/>
                    <a:pt x="24" y="1"/>
                    <a:pt x="27" y="2"/>
                  </a:cubicBezTo>
                  <a:cubicBezTo>
                    <a:pt x="23" y="10"/>
                    <a:pt x="23" y="10"/>
                    <a:pt x="23" y="10"/>
                  </a:cubicBezTo>
                  <a:cubicBezTo>
                    <a:pt x="21" y="9"/>
                    <a:pt x="19" y="9"/>
                    <a:pt x="17" y="9"/>
                  </a:cubicBezTo>
                  <a:cubicBezTo>
                    <a:pt x="15" y="9"/>
                    <a:pt x="13" y="11"/>
                    <a:pt x="11" y="12"/>
                  </a:cubicBezTo>
                  <a:cubicBezTo>
                    <a:pt x="9" y="15"/>
                    <a:pt x="8" y="18"/>
                    <a:pt x="9" y="21"/>
                  </a:cubicBezTo>
                  <a:cubicBezTo>
                    <a:pt x="9" y="24"/>
                    <a:pt x="12" y="27"/>
                    <a:pt x="15" y="30"/>
                  </a:cubicBezTo>
                  <a:cubicBezTo>
                    <a:pt x="20" y="34"/>
                    <a:pt x="23" y="36"/>
                    <a:pt x="26" y="36"/>
                  </a:cubicBezTo>
                  <a:cubicBezTo>
                    <a:pt x="29" y="36"/>
                    <a:pt x="32" y="35"/>
                    <a:pt x="34" y="32"/>
                  </a:cubicBezTo>
                  <a:cubicBezTo>
                    <a:pt x="36" y="31"/>
                    <a:pt x="36" y="29"/>
                    <a:pt x="36" y="26"/>
                  </a:cubicBezTo>
                  <a:cubicBezTo>
                    <a:pt x="36" y="24"/>
                    <a:pt x="35" y="22"/>
                    <a:pt x="34" y="1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51" name="îŝḷïḓê"/>
            <p:cNvSpPr/>
            <p:nvPr/>
          </p:nvSpPr>
          <p:spPr bwMode="auto">
            <a:xfrm>
              <a:off x="3022497" y="5733053"/>
              <a:ext cx="103188" cy="101600"/>
            </a:xfrm>
            <a:custGeom>
              <a:avLst/>
              <a:gdLst>
                <a:gd name="T0" fmla="*/ 42 w 65"/>
                <a:gd name="T1" fmla="*/ 64 h 64"/>
                <a:gd name="T2" fmla="*/ 0 w 65"/>
                <a:gd name="T3" fmla="*/ 34 h 64"/>
                <a:gd name="T4" fmla="*/ 6 w 65"/>
                <a:gd name="T5" fmla="*/ 26 h 64"/>
                <a:gd name="T6" fmla="*/ 22 w 65"/>
                <a:gd name="T7" fmla="*/ 37 h 64"/>
                <a:gd name="T8" fmla="*/ 33 w 65"/>
                <a:gd name="T9" fmla="*/ 21 h 64"/>
                <a:gd name="T10" fmla="*/ 17 w 65"/>
                <a:gd name="T11" fmla="*/ 9 h 64"/>
                <a:gd name="T12" fmla="*/ 23 w 65"/>
                <a:gd name="T13" fmla="*/ 0 h 64"/>
                <a:gd name="T14" fmla="*/ 65 w 65"/>
                <a:gd name="T15" fmla="*/ 30 h 64"/>
                <a:gd name="T16" fmla="*/ 59 w 65"/>
                <a:gd name="T17" fmla="*/ 38 h 64"/>
                <a:gd name="T18" fmla="*/ 40 w 65"/>
                <a:gd name="T19" fmla="*/ 26 h 64"/>
                <a:gd name="T20" fmla="*/ 29 w 65"/>
                <a:gd name="T21" fmla="*/ 42 h 64"/>
                <a:gd name="T22" fmla="*/ 47 w 65"/>
                <a:gd name="T23" fmla="*/ 55 h 64"/>
                <a:gd name="T24" fmla="*/ 42 w 65"/>
                <a:gd name="T25" fmla="*/ 64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5" h="64">
                  <a:moveTo>
                    <a:pt x="42" y="64"/>
                  </a:moveTo>
                  <a:lnTo>
                    <a:pt x="0" y="34"/>
                  </a:lnTo>
                  <a:lnTo>
                    <a:pt x="6" y="26"/>
                  </a:lnTo>
                  <a:lnTo>
                    <a:pt x="22" y="37"/>
                  </a:lnTo>
                  <a:lnTo>
                    <a:pt x="33" y="21"/>
                  </a:lnTo>
                  <a:lnTo>
                    <a:pt x="17" y="9"/>
                  </a:lnTo>
                  <a:lnTo>
                    <a:pt x="23" y="0"/>
                  </a:lnTo>
                  <a:lnTo>
                    <a:pt x="65" y="30"/>
                  </a:lnTo>
                  <a:lnTo>
                    <a:pt x="59" y="38"/>
                  </a:lnTo>
                  <a:lnTo>
                    <a:pt x="40" y="26"/>
                  </a:lnTo>
                  <a:lnTo>
                    <a:pt x="29" y="42"/>
                  </a:lnTo>
                  <a:lnTo>
                    <a:pt x="47" y="55"/>
                  </a:lnTo>
                  <a:lnTo>
                    <a:pt x="42" y="6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52" name="îşḷîḑe"/>
            <p:cNvSpPr/>
            <p:nvPr/>
          </p:nvSpPr>
          <p:spPr bwMode="auto">
            <a:xfrm>
              <a:off x="3062184" y="5672728"/>
              <a:ext cx="103188" cy="95250"/>
            </a:xfrm>
            <a:custGeom>
              <a:avLst/>
              <a:gdLst>
                <a:gd name="T0" fmla="*/ 44 w 65"/>
                <a:gd name="T1" fmla="*/ 60 h 60"/>
                <a:gd name="T2" fmla="*/ 0 w 65"/>
                <a:gd name="T3" fmla="*/ 34 h 60"/>
                <a:gd name="T4" fmla="*/ 5 w 65"/>
                <a:gd name="T5" fmla="*/ 26 h 60"/>
                <a:gd name="T6" fmla="*/ 46 w 65"/>
                <a:gd name="T7" fmla="*/ 24 h 60"/>
                <a:gd name="T8" fmla="*/ 15 w 65"/>
                <a:gd name="T9" fmla="*/ 8 h 60"/>
                <a:gd name="T10" fmla="*/ 20 w 65"/>
                <a:gd name="T11" fmla="*/ 0 h 60"/>
                <a:gd name="T12" fmla="*/ 65 w 65"/>
                <a:gd name="T13" fmla="*/ 24 h 60"/>
                <a:gd name="T14" fmla="*/ 59 w 65"/>
                <a:gd name="T15" fmla="*/ 33 h 60"/>
                <a:gd name="T16" fmla="*/ 20 w 65"/>
                <a:gd name="T17" fmla="*/ 34 h 60"/>
                <a:gd name="T18" fmla="*/ 49 w 65"/>
                <a:gd name="T19" fmla="*/ 52 h 60"/>
                <a:gd name="T20" fmla="*/ 44 w 65"/>
                <a:gd name="T21" fmla="*/ 6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65" h="60">
                  <a:moveTo>
                    <a:pt x="44" y="60"/>
                  </a:moveTo>
                  <a:lnTo>
                    <a:pt x="0" y="34"/>
                  </a:lnTo>
                  <a:lnTo>
                    <a:pt x="5" y="26"/>
                  </a:lnTo>
                  <a:lnTo>
                    <a:pt x="46" y="24"/>
                  </a:lnTo>
                  <a:lnTo>
                    <a:pt x="15" y="8"/>
                  </a:lnTo>
                  <a:lnTo>
                    <a:pt x="20" y="0"/>
                  </a:lnTo>
                  <a:lnTo>
                    <a:pt x="65" y="24"/>
                  </a:lnTo>
                  <a:lnTo>
                    <a:pt x="59" y="33"/>
                  </a:lnTo>
                  <a:lnTo>
                    <a:pt x="20" y="34"/>
                  </a:lnTo>
                  <a:lnTo>
                    <a:pt x="49" y="52"/>
                  </a:lnTo>
                  <a:lnTo>
                    <a:pt x="44" y="6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53" name="îşḷïḋê"/>
            <p:cNvSpPr/>
            <p:nvPr/>
          </p:nvSpPr>
          <p:spPr bwMode="auto">
            <a:xfrm>
              <a:off x="3106634" y="5606053"/>
              <a:ext cx="87313" cy="84138"/>
            </a:xfrm>
            <a:custGeom>
              <a:avLst/>
              <a:gdLst>
                <a:gd name="T0" fmla="*/ 15 w 47"/>
                <a:gd name="T1" fmla="*/ 43 h 46"/>
                <a:gd name="T2" fmla="*/ 5 w 47"/>
                <a:gd name="T3" fmla="*/ 36 h 46"/>
                <a:gd name="T4" fmla="*/ 2 w 47"/>
                <a:gd name="T5" fmla="*/ 30 h 46"/>
                <a:gd name="T6" fmla="*/ 0 w 47"/>
                <a:gd name="T7" fmla="*/ 23 h 46"/>
                <a:gd name="T8" fmla="*/ 2 w 47"/>
                <a:gd name="T9" fmla="*/ 14 h 46"/>
                <a:gd name="T10" fmla="*/ 14 w 47"/>
                <a:gd name="T11" fmla="*/ 2 h 46"/>
                <a:gd name="T12" fmla="*/ 32 w 47"/>
                <a:gd name="T13" fmla="*/ 3 h 46"/>
                <a:gd name="T14" fmla="*/ 45 w 47"/>
                <a:gd name="T15" fmla="*/ 15 h 46"/>
                <a:gd name="T16" fmla="*/ 44 w 47"/>
                <a:gd name="T17" fmla="*/ 32 h 46"/>
                <a:gd name="T18" fmla="*/ 32 w 47"/>
                <a:gd name="T19" fmla="*/ 44 h 46"/>
                <a:gd name="T20" fmla="*/ 15 w 47"/>
                <a:gd name="T21" fmla="*/ 43 h 46"/>
                <a:gd name="T22" fmla="*/ 18 w 47"/>
                <a:gd name="T23" fmla="*/ 34 h 46"/>
                <a:gd name="T24" fmla="*/ 30 w 47"/>
                <a:gd name="T25" fmla="*/ 35 h 46"/>
                <a:gd name="T26" fmla="*/ 37 w 47"/>
                <a:gd name="T27" fmla="*/ 29 h 46"/>
                <a:gd name="T28" fmla="*/ 37 w 47"/>
                <a:gd name="T29" fmla="*/ 19 h 46"/>
                <a:gd name="T30" fmla="*/ 28 w 47"/>
                <a:gd name="T31" fmla="*/ 12 h 46"/>
                <a:gd name="T32" fmla="*/ 16 w 47"/>
                <a:gd name="T33" fmla="*/ 10 h 46"/>
                <a:gd name="T34" fmla="*/ 9 w 47"/>
                <a:gd name="T35" fmla="*/ 17 h 46"/>
                <a:gd name="T36" fmla="*/ 9 w 47"/>
                <a:gd name="T37" fmla="*/ 27 h 46"/>
                <a:gd name="T38" fmla="*/ 18 w 47"/>
                <a:gd name="T39" fmla="*/ 34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47" h="46">
                  <a:moveTo>
                    <a:pt x="15" y="43"/>
                  </a:moveTo>
                  <a:cubicBezTo>
                    <a:pt x="11" y="41"/>
                    <a:pt x="8" y="39"/>
                    <a:pt x="5" y="36"/>
                  </a:cubicBezTo>
                  <a:cubicBezTo>
                    <a:pt x="4" y="34"/>
                    <a:pt x="2" y="32"/>
                    <a:pt x="2" y="30"/>
                  </a:cubicBezTo>
                  <a:cubicBezTo>
                    <a:pt x="1" y="28"/>
                    <a:pt x="0" y="26"/>
                    <a:pt x="0" y="23"/>
                  </a:cubicBezTo>
                  <a:cubicBezTo>
                    <a:pt x="0" y="20"/>
                    <a:pt x="1" y="17"/>
                    <a:pt x="2" y="14"/>
                  </a:cubicBezTo>
                  <a:cubicBezTo>
                    <a:pt x="5" y="8"/>
                    <a:pt x="9" y="4"/>
                    <a:pt x="14" y="2"/>
                  </a:cubicBezTo>
                  <a:cubicBezTo>
                    <a:pt x="19" y="0"/>
                    <a:pt x="25" y="1"/>
                    <a:pt x="32" y="3"/>
                  </a:cubicBezTo>
                  <a:cubicBezTo>
                    <a:pt x="38" y="6"/>
                    <a:pt x="43" y="10"/>
                    <a:pt x="45" y="15"/>
                  </a:cubicBezTo>
                  <a:cubicBezTo>
                    <a:pt x="47" y="21"/>
                    <a:pt x="47" y="26"/>
                    <a:pt x="44" y="32"/>
                  </a:cubicBezTo>
                  <a:cubicBezTo>
                    <a:pt x="41" y="38"/>
                    <a:pt x="38" y="42"/>
                    <a:pt x="32" y="44"/>
                  </a:cubicBezTo>
                  <a:cubicBezTo>
                    <a:pt x="27" y="46"/>
                    <a:pt x="21" y="45"/>
                    <a:pt x="15" y="43"/>
                  </a:cubicBezTo>
                  <a:close/>
                  <a:moveTo>
                    <a:pt x="18" y="34"/>
                  </a:moveTo>
                  <a:cubicBezTo>
                    <a:pt x="23" y="36"/>
                    <a:pt x="27" y="37"/>
                    <a:pt x="30" y="35"/>
                  </a:cubicBezTo>
                  <a:cubicBezTo>
                    <a:pt x="33" y="34"/>
                    <a:pt x="36" y="32"/>
                    <a:pt x="37" y="29"/>
                  </a:cubicBezTo>
                  <a:cubicBezTo>
                    <a:pt x="39" y="26"/>
                    <a:pt x="39" y="23"/>
                    <a:pt x="37" y="19"/>
                  </a:cubicBezTo>
                  <a:cubicBezTo>
                    <a:pt x="36" y="16"/>
                    <a:pt x="33" y="14"/>
                    <a:pt x="28" y="12"/>
                  </a:cubicBezTo>
                  <a:cubicBezTo>
                    <a:pt x="23" y="10"/>
                    <a:pt x="19" y="9"/>
                    <a:pt x="16" y="10"/>
                  </a:cubicBezTo>
                  <a:cubicBezTo>
                    <a:pt x="13" y="11"/>
                    <a:pt x="11" y="14"/>
                    <a:pt x="9" y="17"/>
                  </a:cubicBezTo>
                  <a:cubicBezTo>
                    <a:pt x="8" y="20"/>
                    <a:pt x="8" y="23"/>
                    <a:pt x="9" y="27"/>
                  </a:cubicBezTo>
                  <a:cubicBezTo>
                    <a:pt x="11" y="30"/>
                    <a:pt x="14" y="32"/>
                    <a:pt x="18" y="3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54" name="îṣlïḍè"/>
            <p:cNvSpPr/>
            <p:nvPr/>
          </p:nvSpPr>
          <p:spPr bwMode="auto">
            <a:xfrm>
              <a:off x="3128859" y="5560015"/>
              <a:ext cx="93663" cy="57150"/>
            </a:xfrm>
            <a:custGeom>
              <a:avLst/>
              <a:gdLst>
                <a:gd name="T0" fmla="*/ 49 w 59"/>
                <a:gd name="T1" fmla="*/ 36 h 36"/>
                <a:gd name="T2" fmla="*/ 0 w 59"/>
                <a:gd name="T3" fmla="*/ 21 h 36"/>
                <a:gd name="T4" fmla="*/ 4 w 59"/>
                <a:gd name="T5" fmla="*/ 10 h 36"/>
                <a:gd name="T6" fmla="*/ 43 w 59"/>
                <a:gd name="T7" fmla="*/ 24 h 36"/>
                <a:gd name="T8" fmla="*/ 51 w 59"/>
                <a:gd name="T9" fmla="*/ 0 h 36"/>
                <a:gd name="T10" fmla="*/ 59 w 59"/>
                <a:gd name="T11" fmla="*/ 2 h 36"/>
                <a:gd name="T12" fmla="*/ 49 w 59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9" h="36">
                  <a:moveTo>
                    <a:pt x="49" y="36"/>
                  </a:moveTo>
                  <a:lnTo>
                    <a:pt x="0" y="21"/>
                  </a:lnTo>
                  <a:lnTo>
                    <a:pt x="4" y="10"/>
                  </a:lnTo>
                  <a:lnTo>
                    <a:pt x="43" y="24"/>
                  </a:lnTo>
                  <a:lnTo>
                    <a:pt x="51" y="0"/>
                  </a:lnTo>
                  <a:lnTo>
                    <a:pt x="59" y="2"/>
                  </a:lnTo>
                  <a:lnTo>
                    <a:pt x="49" y="3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55" name="ïṩḷîḓê"/>
            <p:cNvSpPr/>
            <p:nvPr/>
          </p:nvSpPr>
          <p:spPr bwMode="auto">
            <a:xfrm>
              <a:off x="3152672" y="5469528"/>
              <a:ext cx="85725" cy="80963"/>
            </a:xfrm>
            <a:custGeom>
              <a:avLst/>
              <a:gdLst>
                <a:gd name="T0" fmla="*/ 18 w 46"/>
                <a:gd name="T1" fmla="*/ 43 h 44"/>
                <a:gd name="T2" fmla="*/ 8 w 46"/>
                <a:gd name="T3" fmla="*/ 38 h 44"/>
                <a:gd name="T4" fmla="*/ 3 w 46"/>
                <a:gd name="T5" fmla="*/ 33 h 44"/>
                <a:gd name="T6" fmla="*/ 0 w 46"/>
                <a:gd name="T7" fmla="*/ 27 h 44"/>
                <a:gd name="T8" fmla="*/ 1 w 46"/>
                <a:gd name="T9" fmla="*/ 17 h 44"/>
                <a:gd name="T10" fmla="*/ 10 w 46"/>
                <a:gd name="T11" fmla="*/ 3 h 44"/>
                <a:gd name="T12" fmla="*/ 28 w 46"/>
                <a:gd name="T13" fmla="*/ 1 h 44"/>
                <a:gd name="T14" fmla="*/ 43 w 46"/>
                <a:gd name="T15" fmla="*/ 11 h 44"/>
                <a:gd name="T16" fmla="*/ 45 w 46"/>
                <a:gd name="T17" fmla="*/ 27 h 44"/>
                <a:gd name="T18" fmla="*/ 36 w 46"/>
                <a:gd name="T19" fmla="*/ 41 h 44"/>
                <a:gd name="T20" fmla="*/ 18 w 46"/>
                <a:gd name="T21" fmla="*/ 43 h 44"/>
                <a:gd name="T22" fmla="*/ 20 w 46"/>
                <a:gd name="T23" fmla="*/ 34 h 44"/>
                <a:gd name="T24" fmla="*/ 32 w 46"/>
                <a:gd name="T25" fmla="*/ 33 h 44"/>
                <a:gd name="T26" fmla="*/ 38 w 46"/>
                <a:gd name="T27" fmla="*/ 25 h 44"/>
                <a:gd name="T28" fmla="*/ 36 w 46"/>
                <a:gd name="T29" fmla="*/ 16 h 44"/>
                <a:gd name="T30" fmla="*/ 25 w 46"/>
                <a:gd name="T31" fmla="*/ 10 h 44"/>
                <a:gd name="T32" fmla="*/ 14 w 46"/>
                <a:gd name="T33" fmla="*/ 11 h 44"/>
                <a:gd name="T34" fmla="*/ 8 w 46"/>
                <a:gd name="T35" fmla="*/ 19 h 44"/>
                <a:gd name="T36" fmla="*/ 10 w 46"/>
                <a:gd name="T37" fmla="*/ 28 h 44"/>
                <a:gd name="T38" fmla="*/ 20 w 46"/>
                <a:gd name="T39" fmla="*/ 34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46" h="44">
                  <a:moveTo>
                    <a:pt x="18" y="43"/>
                  </a:moveTo>
                  <a:cubicBezTo>
                    <a:pt x="14" y="42"/>
                    <a:pt x="10" y="40"/>
                    <a:pt x="8" y="38"/>
                  </a:cubicBezTo>
                  <a:cubicBezTo>
                    <a:pt x="6" y="37"/>
                    <a:pt x="4" y="35"/>
                    <a:pt x="3" y="33"/>
                  </a:cubicBezTo>
                  <a:cubicBezTo>
                    <a:pt x="1" y="31"/>
                    <a:pt x="1" y="29"/>
                    <a:pt x="0" y="27"/>
                  </a:cubicBezTo>
                  <a:cubicBezTo>
                    <a:pt x="0" y="24"/>
                    <a:pt x="0" y="21"/>
                    <a:pt x="1" y="17"/>
                  </a:cubicBezTo>
                  <a:cubicBezTo>
                    <a:pt x="2" y="11"/>
                    <a:pt x="5" y="6"/>
                    <a:pt x="10" y="3"/>
                  </a:cubicBezTo>
                  <a:cubicBezTo>
                    <a:pt x="15" y="0"/>
                    <a:pt x="21" y="0"/>
                    <a:pt x="28" y="1"/>
                  </a:cubicBezTo>
                  <a:cubicBezTo>
                    <a:pt x="34" y="3"/>
                    <a:pt x="39" y="6"/>
                    <a:pt x="43" y="11"/>
                  </a:cubicBezTo>
                  <a:cubicBezTo>
                    <a:pt x="46" y="15"/>
                    <a:pt x="46" y="21"/>
                    <a:pt x="45" y="27"/>
                  </a:cubicBezTo>
                  <a:cubicBezTo>
                    <a:pt x="44" y="33"/>
                    <a:pt x="40" y="38"/>
                    <a:pt x="36" y="41"/>
                  </a:cubicBezTo>
                  <a:cubicBezTo>
                    <a:pt x="31" y="44"/>
                    <a:pt x="25" y="44"/>
                    <a:pt x="18" y="43"/>
                  </a:cubicBezTo>
                  <a:close/>
                  <a:moveTo>
                    <a:pt x="20" y="34"/>
                  </a:moveTo>
                  <a:cubicBezTo>
                    <a:pt x="25" y="35"/>
                    <a:pt x="29" y="35"/>
                    <a:pt x="32" y="33"/>
                  </a:cubicBezTo>
                  <a:cubicBezTo>
                    <a:pt x="35" y="31"/>
                    <a:pt x="37" y="29"/>
                    <a:pt x="38" y="25"/>
                  </a:cubicBezTo>
                  <a:cubicBezTo>
                    <a:pt x="38" y="22"/>
                    <a:pt x="38" y="19"/>
                    <a:pt x="36" y="16"/>
                  </a:cubicBezTo>
                  <a:cubicBezTo>
                    <a:pt x="34" y="13"/>
                    <a:pt x="30" y="11"/>
                    <a:pt x="25" y="10"/>
                  </a:cubicBezTo>
                  <a:cubicBezTo>
                    <a:pt x="20" y="9"/>
                    <a:pt x="16" y="9"/>
                    <a:pt x="14" y="11"/>
                  </a:cubicBezTo>
                  <a:cubicBezTo>
                    <a:pt x="11" y="13"/>
                    <a:pt x="9" y="15"/>
                    <a:pt x="8" y="19"/>
                  </a:cubicBezTo>
                  <a:cubicBezTo>
                    <a:pt x="7" y="22"/>
                    <a:pt x="8" y="25"/>
                    <a:pt x="10" y="28"/>
                  </a:cubicBezTo>
                  <a:cubicBezTo>
                    <a:pt x="12" y="31"/>
                    <a:pt x="15" y="33"/>
                    <a:pt x="20" y="3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56" name="ïSļiďé"/>
            <p:cNvSpPr/>
            <p:nvPr/>
          </p:nvSpPr>
          <p:spPr bwMode="auto">
            <a:xfrm>
              <a:off x="3165372" y="5390153"/>
              <a:ext cx="85725" cy="77788"/>
            </a:xfrm>
            <a:custGeom>
              <a:avLst/>
              <a:gdLst>
                <a:gd name="T0" fmla="*/ 29 w 46"/>
                <a:gd name="T1" fmla="*/ 21 h 42"/>
                <a:gd name="T2" fmla="*/ 22 w 46"/>
                <a:gd name="T3" fmla="*/ 20 h 42"/>
                <a:gd name="T4" fmla="*/ 24 w 46"/>
                <a:gd name="T5" fmla="*/ 1 h 42"/>
                <a:gd name="T6" fmla="*/ 41 w 46"/>
                <a:gd name="T7" fmla="*/ 3 h 42"/>
                <a:gd name="T8" fmla="*/ 45 w 46"/>
                <a:gd name="T9" fmla="*/ 11 h 42"/>
                <a:gd name="T10" fmla="*/ 46 w 46"/>
                <a:gd name="T11" fmla="*/ 22 h 42"/>
                <a:gd name="T12" fmla="*/ 42 w 46"/>
                <a:gd name="T13" fmla="*/ 34 h 42"/>
                <a:gd name="T14" fmla="*/ 33 w 46"/>
                <a:gd name="T15" fmla="*/ 41 h 42"/>
                <a:gd name="T16" fmla="*/ 21 w 46"/>
                <a:gd name="T17" fmla="*/ 42 h 42"/>
                <a:gd name="T18" fmla="*/ 9 w 46"/>
                <a:gd name="T19" fmla="*/ 38 h 42"/>
                <a:gd name="T20" fmla="*/ 2 w 46"/>
                <a:gd name="T21" fmla="*/ 28 h 42"/>
                <a:gd name="T22" fmla="*/ 1 w 46"/>
                <a:gd name="T23" fmla="*/ 18 h 42"/>
                <a:gd name="T24" fmla="*/ 6 w 46"/>
                <a:gd name="T25" fmla="*/ 5 h 42"/>
                <a:gd name="T26" fmla="*/ 16 w 46"/>
                <a:gd name="T27" fmla="*/ 0 h 42"/>
                <a:gd name="T28" fmla="*/ 16 w 46"/>
                <a:gd name="T29" fmla="*/ 9 h 42"/>
                <a:gd name="T30" fmla="*/ 11 w 46"/>
                <a:gd name="T31" fmla="*/ 12 h 42"/>
                <a:gd name="T32" fmla="*/ 8 w 46"/>
                <a:gd name="T33" fmla="*/ 18 h 42"/>
                <a:gd name="T34" fmla="*/ 11 w 46"/>
                <a:gd name="T35" fmla="*/ 28 h 42"/>
                <a:gd name="T36" fmla="*/ 21 w 46"/>
                <a:gd name="T37" fmla="*/ 33 h 42"/>
                <a:gd name="T38" fmla="*/ 34 w 46"/>
                <a:gd name="T39" fmla="*/ 31 h 42"/>
                <a:gd name="T40" fmla="*/ 38 w 46"/>
                <a:gd name="T41" fmla="*/ 22 h 42"/>
                <a:gd name="T42" fmla="*/ 38 w 46"/>
                <a:gd name="T43" fmla="*/ 16 h 42"/>
                <a:gd name="T44" fmla="*/ 36 w 46"/>
                <a:gd name="T45" fmla="*/ 11 h 42"/>
                <a:gd name="T46" fmla="*/ 30 w 46"/>
                <a:gd name="T47" fmla="*/ 11 h 42"/>
                <a:gd name="T48" fmla="*/ 29 w 46"/>
                <a:gd name="T49" fmla="*/ 21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46" h="42">
                  <a:moveTo>
                    <a:pt x="29" y="21"/>
                  </a:moveTo>
                  <a:cubicBezTo>
                    <a:pt x="22" y="20"/>
                    <a:pt x="22" y="20"/>
                    <a:pt x="22" y="20"/>
                  </a:cubicBezTo>
                  <a:cubicBezTo>
                    <a:pt x="24" y="1"/>
                    <a:pt x="24" y="1"/>
                    <a:pt x="24" y="1"/>
                  </a:cubicBezTo>
                  <a:cubicBezTo>
                    <a:pt x="41" y="3"/>
                    <a:pt x="41" y="3"/>
                    <a:pt x="41" y="3"/>
                  </a:cubicBezTo>
                  <a:cubicBezTo>
                    <a:pt x="43" y="5"/>
                    <a:pt x="44" y="8"/>
                    <a:pt x="45" y="11"/>
                  </a:cubicBezTo>
                  <a:cubicBezTo>
                    <a:pt x="46" y="15"/>
                    <a:pt x="46" y="19"/>
                    <a:pt x="46" y="22"/>
                  </a:cubicBezTo>
                  <a:cubicBezTo>
                    <a:pt x="46" y="27"/>
                    <a:pt x="44" y="31"/>
                    <a:pt x="42" y="34"/>
                  </a:cubicBezTo>
                  <a:cubicBezTo>
                    <a:pt x="39" y="37"/>
                    <a:pt x="36" y="39"/>
                    <a:pt x="33" y="41"/>
                  </a:cubicBezTo>
                  <a:cubicBezTo>
                    <a:pt x="29" y="42"/>
                    <a:pt x="25" y="42"/>
                    <a:pt x="21" y="42"/>
                  </a:cubicBezTo>
                  <a:cubicBezTo>
                    <a:pt x="16" y="41"/>
                    <a:pt x="12" y="40"/>
                    <a:pt x="9" y="38"/>
                  </a:cubicBezTo>
                  <a:cubicBezTo>
                    <a:pt x="6" y="35"/>
                    <a:pt x="3" y="32"/>
                    <a:pt x="2" y="28"/>
                  </a:cubicBezTo>
                  <a:cubicBezTo>
                    <a:pt x="1" y="25"/>
                    <a:pt x="0" y="22"/>
                    <a:pt x="1" y="18"/>
                  </a:cubicBezTo>
                  <a:cubicBezTo>
                    <a:pt x="1" y="12"/>
                    <a:pt x="3" y="8"/>
                    <a:pt x="6" y="5"/>
                  </a:cubicBezTo>
                  <a:cubicBezTo>
                    <a:pt x="8" y="2"/>
                    <a:pt x="12" y="1"/>
                    <a:pt x="16" y="0"/>
                  </a:cubicBezTo>
                  <a:cubicBezTo>
                    <a:pt x="16" y="9"/>
                    <a:pt x="16" y="9"/>
                    <a:pt x="16" y="9"/>
                  </a:cubicBezTo>
                  <a:cubicBezTo>
                    <a:pt x="14" y="10"/>
                    <a:pt x="12" y="11"/>
                    <a:pt x="11" y="12"/>
                  </a:cubicBezTo>
                  <a:cubicBezTo>
                    <a:pt x="10" y="14"/>
                    <a:pt x="9" y="16"/>
                    <a:pt x="8" y="18"/>
                  </a:cubicBezTo>
                  <a:cubicBezTo>
                    <a:pt x="8" y="22"/>
                    <a:pt x="9" y="25"/>
                    <a:pt x="11" y="28"/>
                  </a:cubicBezTo>
                  <a:cubicBezTo>
                    <a:pt x="13" y="31"/>
                    <a:pt x="17" y="32"/>
                    <a:pt x="21" y="33"/>
                  </a:cubicBezTo>
                  <a:cubicBezTo>
                    <a:pt x="27" y="33"/>
                    <a:pt x="31" y="33"/>
                    <a:pt x="34" y="31"/>
                  </a:cubicBezTo>
                  <a:cubicBezTo>
                    <a:pt x="36" y="29"/>
                    <a:pt x="38" y="26"/>
                    <a:pt x="38" y="22"/>
                  </a:cubicBezTo>
                  <a:cubicBezTo>
                    <a:pt x="39" y="20"/>
                    <a:pt x="39" y="18"/>
                    <a:pt x="38" y="16"/>
                  </a:cubicBezTo>
                  <a:cubicBezTo>
                    <a:pt x="37" y="14"/>
                    <a:pt x="37" y="13"/>
                    <a:pt x="36" y="11"/>
                  </a:cubicBezTo>
                  <a:cubicBezTo>
                    <a:pt x="30" y="11"/>
                    <a:pt x="30" y="11"/>
                    <a:pt x="30" y="11"/>
                  </a:cubicBezTo>
                  <a:lnTo>
                    <a:pt x="29" y="2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57" name="îSḷiḋè"/>
            <p:cNvSpPr/>
            <p:nvPr/>
          </p:nvSpPr>
          <p:spPr bwMode="auto">
            <a:xfrm>
              <a:off x="3173309" y="5313953"/>
              <a:ext cx="80963" cy="76200"/>
            </a:xfrm>
            <a:custGeom>
              <a:avLst/>
              <a:gdLst>
                <a:gd name="T0" fmla="*/ 51 w 51"/>
                <a:gd name="T1" fmla="*/ 30 h 48"/>
                <a:gd name="T2" fmla="*/ 29 w 51"/>
                <a:gd name="T3" fmla="*/ 29 h 48"/>
                <a:gd name="T4" fmla="*/ 0 w 51"/>
                <a:gd name="T5" fmla="*/ 48 h 48"/>
                <a:gd name="T6" fmla="*/ 0 w 51"/>
                <a:gd name="T7" fmla="*/ 36 h 48"/>
                <a:gd name="T8" fmla="*/ 20 w 51"/>
                <a:gd name="T9" fmla="*/ 24 h 48"/>
                <a:gd name="T10" fmla="*/ 0 w 51"/>
                <a:gd name="T11" fmla="*/ 12 h 48"/>
                <a:gd name="T12" fmla="*/ 0 w 51"/>
                <a:gd name="T13" fmla="*/ 0 h 48"/>
                <a:gd name="T14" fmla="*/ 30 w 51"/>
                <a:gd name="T15" fmla="*/ 20 h 48"/>
                <a:gd name="T16" fmla="*/ 51 w 51"/>
                <a:gd name="T17" fmla="*/ 20 h 48"/>
                <a:gd name="T18" fmla="*/ 51 w 51"/>
                <a:gd name="T19" fmla="*/ 30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" h="48">
                  <a:moveTo>
                    <a:pt x="51" y="30"/>
                  </a:moveTo>
                  <a:lnTo>
                    <a:pt x="29" y="29"/>
                  </a:lnTo>
                  <a:lnTo>
                    <a:pt x="0" y="48"/>
                  </a:lnTo>
                  <a:lnTo>
                    <a:pt x="0" y="36"/>
                  </a:lnTo>
                  <a:lnTo>
                    <a:pt x="20" y="24"/>
                  </a:lnTo>
                  <a:lnTo>
                    <a:pt x="0" y="12"/>
                  </a:lnTo>
                  <a:lnTo>
                    <a:pt x="0" y="0"/>
                  </a:lnTo>
                  <a:lnTo>
                    <a:pt x="30" y="20"/>
                  </a:lnTo>
                  <a:lnTo>
                    <a:pt x="51" y="20"/>
                  </a:lnTo>
                  <a:lnTo>
                    <a:pt x="51" y="3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58" name="îṣḷíḋé"/>
            <p:cNvSpPr/>
            <p:nvPr/>
          </p:nvSpPr>
          <p:spPr bwMode="auto">
            <a:xfrm>
              <a:off x="3163784" y="5193303"/>
              <a:ext cx="87313" cy="76200"/>
            </a:xfrm>
            <a:custGeom>
              <a:avLst/>
              <a:gdLst>
                <a:gd name="T0" fmla="*/ 4 w 47"/>
                <a:gd name="T1" fmla="*/ 41 h 41"/>
                <a:gd name="T2" fmla="*/ 1 w 47"/>
                <a:gd name="T3" fmla="*/ 24 h 41"/>
                <a:gd name="T4" fmla="*/ 0 w 47"/>
                <a:gd name="T5" fmla="*/ 16 h 41"/>
                <a:gd name="T6" fmla="*/ 2 w 47"/>
                <a:gd name="T7" fmla="*/ 11 h 41"/>
                <a:gd name="T8" fmla="*/ 5 w 47"/>
                <a:gd name="T9" fmla="*/ 7 h 41"/>
                <a:gd name="T10" fmla="*/ 10 w 47"/>
                <a:gd name="T11" fmla="*/ 5 h 41"/>
                <a:gd name="T12" fmla="*/ 16 w 47"/>
                <a:gd name="T13" fmla="*/ 6 h 41"/>
                <a:gd name="T14" fmla="*/ 20 w 47"/>
                <a:gd name="T15" fmla="*/ 10 h 41"/>
                <a:gd name="T16" fmla="*/ 23 w 47"/>
                <a:gd name="T17" fmla="*/ 3 h 41"/>
                <a:gd name="T18" fmla="*/ 29 w 47"/>
                <a:gd name="T19" fmla="*/ 0 h 41"/>
                <a:gd name="T20" fmla="*/ 35 w 47"/>
                <a:gd name="T21" fmla="*/ 1 h 41"/>
                <a:gd name="T22" fmla="*/ 40 w 47"/>
                <a:gd name="T23" fmla="*/ 4 h 41"/>
                <a:gd name="T24" fmla="*/ 43 w 47"/>
                <a:gd name="T25" fmla="*/ 10 h 41"/>
                <a:gd name="T26" fmla="*/ 45 w 47"/>
                <a:gd name="T27" fmla="*/ 20 h 41"/>
                <a:gd name="T28" fmla="*/ 47 w 47"/>
                <a:gd name="T29" fmla="*/ 35 h 41"/>
                <a:gd name="T30" fmla="*/ 4 w 47"/>
                <a:gd name="T31" fmla="*/ 41 h 41"/>
                <a:gd name="T32" fmla="*/ 10 w 47"/>
                <a:gd name="T33" fmla="*/ 31 h 41"/>
                <a:gd name="T34" fmla="*/ 20 w 47"/>
                <a:gd name="T35" fmla="*/ 30 h 41"/>
                <a:gd name="T36" fmla="*/ 19 w 47"/>
                <a:gd name="T37" fmla="*/ 24 h 41"/>
                <a:gd name="T38" fmla="*/ 18 w 47"/>
                <a:gd name="T39" fmla="*/ 18 h 41"/>
                <a:gd name="T40" fmla="*/ 16 w 47"/>
                <a:gd name="T41" fmla="*/ 15 h 41"/>
                <a:gd name="T42" fmla="*/ 12 w 47"/>
                <a:gd name="T43" fmla="*/ 14 h 41"/>
                <a:gd name="T44" fmla="*/ 9 w 47"/>
                <a:gd name="T45" fmla="*/ 15 h 41"/>
                <a:gd name="T46" fmla="*/ 8 w 47"/>
                <a:gd name="T47" fmla="*/ 19 h 41"/>
                <a:gd name="T48" fmla="*/ 9 w 47"/>
                <a:gd name="T49" fmla="*/ 26 h 41"/>
                <a:gd name="T50" fmla="*/ 10 w 47"/>
                <a:gd name="T51" fmla="*/ 31 h 41"/>
                <a:gd name="T52" fmla="*/ 27 w 47"/>
                <a:gd name="T53" fmla="*/ 29 h 41"/>
                <a:gd name="T54" fmla="*/ 39 w 47"/>
                <a:gd name="T55" fmla="*/ 27 h 41"/>
                <a:gd name="T56" fmla="*/ 37 w 47"/>
                <a:gd name="T57" fmla="*/ 19 h 41"/>
                <a:gd name="T58" fmla="*/ 36 w 47"/>
                <a:gd name="T59" fmla="*/ 13 h 41"/>
                <a:gd name="T60" fmla="*/ 34 w 47"/>
                <a:gd name="T61" fmla="*/ 10 h 41"/>
                <a:gd name="T62" fmla="*/ 30 w 47"/>
                <a:gd name="T63" fmla="*/ 10 h 41"/>
                <a:gd name="T64" fmla="*/ 27 w 47"/>
                <a:gd name="T65" fmla="*/ 11 h 41"/>
                <a:gd name="T66" fmla="*/ 25 w 47"/>
                <a:gd name="T67" fmla="*/ 14 h 41"/>
                <a:gd name="T68" fmla="*/ 26 w 47"/>
                <a:gd name="T69" fmla="*/ 22 h 41"/>
                <a:gd name="T70" fmla="*/ 27 w 47"/>
                <a:gd name="T71" fmla="*/ 29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47" h="41">
                  <a:moveTo>
                    <a:pt x="4" y="41"/>
                  </a:moveTo>
                  <a:cubicBezTo>
                    <a:pt x="1" y="24"/>
                    <a:pt x="1" y="24"/>
                    <a:pt x="1" y="24"/>
                  </a:cubicBezTo>
                  <a:cubicBezTo>
                    <a:pt x="1" y="20"/>
                    <a:pt x="0" y="18"/>
                    <a:pt x="0" y="16"/>
                  </a:cubicBezTo>
                  <a:cubicBezTo>
                    <a:pt x="1" y="14"/>
                    <a:pt x="1" y="13"/>
                    <a:pt x="2" y="11"/>
                  </a:cubicBezTo>
                  <a:cubicBezTo>
                    <a:pt x="2" y="10"/>
                    <a:pt x="3" y="9"/>
                    <a:pt x="5" y="7"/>
                  </a:cubicBezTo>
                  <a:cubicBezTo>
                    <a:pt x="6" y="6"/>
                    <a:pt x="8" y="6"/>
                    <a:pt x="10" y="5"/>
                  </a:cubicBezTo>
                  <a:cubicBezTo>
                    <a:pt x="12" y="5"/>
                    <a:pt x="14" y="5"/>
                    <a:pt x="16" y="6"/>
                  </a:cubicBezTo>
                  <a:cubicBezTo>
                    <a:pt x="17" y="7"/>
                    <a:pt x="19" y="8"/>
                    <a:pt x="20" y="10"/>
                  </a:cubicBezTo>
                  <a:cubicBezTo>
                    <a:pt x="20" y="7"/>
                    <a:pt x="21" y="5"/>
                    <a:pt x="23" y="3"/>
                  </a:cubicBezTo>
                  <a:cubicBezTo>
                    <a:pt x="25" y="2"/>
                    <a:pt x="27" y="1"/>
                    <a:pt x="29" y="0"/>
                  </a:cubicBezTo>
                  <a:cubicBezTo>
                    <a:pt x="31" y="0"/>
                    <a:pt x="33" y="0"/>
                    <a:pt x="35" y="1"/>
                  </a:cubicBezTo>
                  <a:cubicBezTo>
                    <a:pt x="37" y="2"/>
                    <a:pt x="39" y="3"/>
                    <a:pt x="40" y="4"/>
                  </a:cubicBezTo>
                  <a:cubicBezTo>
                    <a:pt x="42" y="5"/>
                    <a:pt x="43" y="7"/>
                    <a:pt x="43" y="10"/>
                  </a:cubicBezTo>
                  <a:cubicBezTo>
                    <a:pt x="44" y="11"/>
                    <a:pt x="44" y="15"/>
                    <a:pt x="45" y="20"/>
                  </a:cubicBezTo>
                  <a:cubicBezTo>
                    <a:pt x="47" y="35"/>
                    <a:pt x="47" y="35"/>
                    <a:pt x="47" y="35"/>
                  </a:cubicBezTo>
                  <a:lnTo>
                    <a:pt x="4" y="41"/>
                  </a:lnTo>
                  <a:close/>
                  <a:moveTo>
                    <a:pt x="10" y="31"/>
                  </a:moveTo>
                  <a:cubicBezTo>
                    <a:pt x="20" y="30"/>
                    <a:pt x="20" y="30"/>
                    <a:pt x="20" y="30"/>
                  </a:cubicBezTo>
                  <a:cubicBezTo>
                    <a:pt x="19" y="24"/>
                    <a:pt x="19" y="24"/>
                    <a:pt x="19" y="24"/>
                  </a:cubicBezTo>
                  <a:cubicBezTo>
                    <a:pt x="18" y="21"/>
                    <a:pt x="18" y="19"/>
                    <a:pt x="18" y="18"/>
                  </a:cubicBezTo>
                  <a:cubicBezTo>
                    <a:pt x="17" y="16"/>
                    <a:pt x="17" y="15"/>
                    <a:pt x="16" y="15"/>
                  </a:cubicBezTo>
                  <a:cubicBezTo>
                    <a:pt x="15" y="14"/>
                    <a:pt x="14" y="14"/>
                    <a:pt x="12" y="14"/>
                  </a:cubicBezTo>
                  <a:cubicBezTo>
                    <a:pt x="11" y="14"/>
                    <a:pt x="10" y="14"/>
                    <a:pt x="9" y="15"/>
                  </a:cubicBezTo>
                  <a:cubicBezTo>
                    <a:pt x="8" y="16"/>
                    <a:pt x="8" y="17"/>
                    <a:pt x="8" y="19"/>
                  </a:cubicBezTo>
                  <a:cubicBezTo>
                    <a:pt x="8" y="20"/>
                    <a:pt x="8" y="22"/>
                    <a:pt x="9" y="26"/>
                  </a:cubicBezTo>
                  <a:lnTo>
                    <a:pt x="10" y="31"/>
                  </a:lnTo>
                  <a:close/>
                  <a:moveTo>
                    <a:pt x="27" y="29"/>
                  </a:moveTo>
                  <a:cubicBezTo>
                    <a:pt x="39" y="27"/>
                    <a:pt x="39" y="27"/>
                    <a:pt x="39" y="27"/>
                  </a:cubicBezTo>
                  <a:cubicBezTo>
                    <a:pt x="37" y="19"/>
                    <a:pt x="37" y="19"/>
                    <a:pt x="37" y="19"/>
                  </a:cubicBezTo>
                  <a:cubicBezTo>
                    <a:pt x="37" y="16"/>
                    <a:pt x="37" y="14"/>
                    <a:pt x="36" y="13"/>
                  </a:cubicBezTo>
                  <a:cubicBezTo>
                    <a:pt x="36" y="12"/>
                    <a:pt x="35" y="11"/>
                    <a:pt x="34" y="10"/>
                  </a:cubicBezTo>
                  <a:cubicBezTo>
                    <a:pt x="33" y="10"/>
                    <a:pt x="32" y="9"/>
                    <a:pt x="30" y="10"/>
                  </a:cubicBezTo>
                  <a:cubicBezTo>
                    <a:pt x="29" y="10"/>
                    <a:pt x="28" y="10"/>
                    <a:pt x="27" y="11"/>
                  </a:cubicBezTo>
                  <a:cubicBezTo>
                    <a:pt x="26" y="12"/>
                    <a:pt x="26" y="13"/>
                    <a:pt x="25" y="14"/>
                  </a:cubicBezTo>
                  <a:cubicBezTo>
                    <a:pt x="25" y="15"/>
                    <a:pt x="25" y="18"/>
                    <a:pt x="26" y="22"/>
                  </a:cubicBezTo>
                  <a:lnTo>
                    <a:pt x="27" y="2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59" name="îṩliďè"/>
            <p:cNvSpPr/>
            <p:nvPr/>
          </p:nvSpPr>
          <p:spPr bwMode="auto">
            <a:xfrm>
              <a:off x="3146322" y="5120278"/>
              <a:ext cx="93663" cy="79375"/>
            </a:xfrm>
            <a:custGeom>
              <a:avLst/>
              <a:gdLst>
                <a:gd name="T0" fmla="*/ 59 w 59"/>
                <a:gd name="T1" fmla="*/ 37 h 50"/>
                <a:gd name="T2" fmla="*/ 9 w 59"/>
                <a:gd name="T3" fmla="*/ 50 h 50"/>
                <a:gd name="T4" fmla="*/ 0 w 59"/>
                <a:gd name="T5" fmla="*/ 13 h 50"/>
                <a:gd name="T6" fmla="*/ 8 w 59"/>
                <a:gd name="T7" fmla="*/ 10 h 50"/>
                <a:gd name="T8" fmla="*/ 15 w 59"/>
                <a:gd name="T9" fmla="*/ 37 h 50"/>
                <a:gd name="T10" fmla="*/ 25 w 59"/>
                <a:gd name="T11" fmla="*/ 35 h 50"/>
                <a:gd name="T12" fmla="*/ 19 w 59"/>
                <a:gd name="T13" fmla="*/ 9 h 50"/>
                <a:gd name="T14" fmla="*/ 27 w 59"/>
                <a:gd name="T15" fmla="*/ 8 h 50"/>
                <a:gd name="T16" fmla="*/ 34 w 59"/>
                <a:gd name="T17" fmla="*/ 32 h 50"/>
                <a:gd name="T18" fmla="*/ 47 w 59"/>
                <a:gd name="T19" fmla="*/ 29 h 50"/>
                <a:gd name="T20" fmla="*/ 40 w 59"/>
                <a:gd name="T21" fmla="*/ 1 h 50"/>
                <a:gd name="T22" fmla="*/ 49 w 59"/>
                <a:gd name="T23" fmla="*/ 0 h 50"/>
                <a:gd name="T24" fmla="*/ 59 w 59"/>
                <a:gd name="T25" fmla="*/ 37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59" h="50">
                  <a:moveTo>
                    <a:pt x="59" y="37"/>
                  </a:moveTo>
                  <a:lnTo>
                    <a:pt x="9" y="50"/>
                  </a:lnTo>
                  <a:lnTo>
                    <a:pt x="0" y="13"/>
                  </a:lnTo>
                  <a:lnTo>
                    <a:pt x="8" y="10"/>
                  </a:lnTo>
                  <a:lnTo>
                    <a:pt x="15" y="37"/>
                  </a:lnTo>
                  <a:lnTo>
                    <a:pt x="25" y="35"/>
                  </a:lnTo>
                  <a:lnTo>
                    <a:pt x="19" y="9"/>
                  </a:lnTo>
                  <a:lnTo>
                    <a:pt x="27" y="8"/>
                  </a:lnTo>
                  <a:lnTo>
                    <a:pt x="34" y="32"/>
                  </a:lnTo>
                  <a:lnTo>
                    <a:pt x="47" y="29"/>
                  </a:lnTo>
                  <a:lnTo>
                    <a:pt x="40" y="1"/>
                  </a:lnTo>
                  <a:lnTo>
                    <a:pt x="49" y="0"/>
                  </a:lnTo>
                  <a:lnTo>
                    <a:pt x="59" y="3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60" name="iṧlíḋè"/>
            <p:cNvSpPr/>
            <p:nvPr/>
          </p:nvSpPr>
          <p:spPr bwMode="auto">
            <a:xfrm>
              <a:off x="3138384" y="5096465"/>
              <a:ext cx="82550" cy="38100"/>
            </a:xfrm>
            <a:custGeom>
              <a:avLst/>
              <a:gdLst>
                <a:gd name="T0" fmla="*/ 52 w 52"/>
                <a:gd name="T1" fmla="*/ 9 h 24"/>
                <a:gd name="T2" fmla="*/ 3 w 52"/>
                <a:gd name="T3" fmla="*/ 24 h 24"/>
                <a:gd name="T4" fmla="*/ 0 w 52"/>
                <a:gd name="T5" fmla="*/ 15 h 24"/>
                <a:gd name="T6" fmla="*/ 49 w 52"/>
                <a:gd name="T7" fmla="*/ 0 h 24"/>
                <a:gd name="T8" fmla="*/ 52 w 52"/>
                <a:gd name="T9" fmla="*/ 9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2" h="24">
                  <a:moveTo>
                    <a:pt x="52" y="9"/>
                  </a:moveTo>
                  <a:lnTo>
                    <a:pt x="3" y="24"/>
                  </a:lnTo>
                  <a:lnTo>
                    <a:pt x="0" y="15"/>
                  </a:lnTo>
                  <a:lnTo>
                    <a:pt x="49" y="0"/>
                  </a:lnTo>
                  <a:lnTo>
                    <a:pt x="52" y="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61" name="islïḓè"/>
            <p:cNvSpPr/>
            <p:nvPr/>
          </p:nvSpPr>
          <p:spPr bwMode="auto">
            <a:xfrm>
              <a:off x="3120922" y="5047253"/>
              <a:ext cx="88900" cy="52388"/>
            </a:xfrm>
            <a:custGeom>
              <a:avLst/>
              <a:gdLst>
                <a:gd name="T0" fmla="*/ 3 w 48"/>
                <a:gd name="T1" fmla="*/ 20 h 28"/>
                <a:gd name="T2" fmla="*/ 0 w 48"/>
                <a:gd name="T3" fmla="*/ 12 h 28"/>
                <a:gd name="T4" fmla="*/ 26 w 48"/>
                <a:gd name="T5" fmla="*/ 2 h 28"/>
                <a:gd name="T6" fmla="*/ 34 w 48"/>
                <a:gd name="T7" fmla="*/ 0 h 28"/>
                <a:gd name="T8" fmla="*/ 42 w 48"/>
                <a:gd name="T9" fmla="*/ 3 h 28"/>
                <a:gd name="T10" fmla="*/ 47 w 48"/>
                <a:gd name="T11" fmla="*/ 10 h 28"/>
                <a:gd name="T12" fmla="*/ 47 w 48"/>
                <a:gd name="T13" fmla="*/ 21 h 28"/>
                <a:gd name="T14" fmla="*/ 38 w 48"/>
                <a:gd name="T15" fmla="*/ 28 h 28"/>
                <a:gd name="T16" fmla="*/ 34 w 48"/>
                <a:gd name="T17" fmla="*/ 20 h 28"/>
                <a:gd name="T18" fmla="*/ 39 w 48"/>
                <a:gd name="T19" fmla="*/ 17 h 28"/>
                <a:gd name="T20" fmla="*/ 40 w 48"/>
                <a:gd name="T21" fmla="*/ 13 h 28"/>
                <a:gd name="T22" fmla="*/ 37 w 48"/>
                <a:gd name="T23" fmla="*/ 9 h 28"/>
                <a:gd name="T24" fmla="*/ 30 w 48"/>
                <a:gd name="T25" fmla="*/ 10 h 28"/>
                <a:gd name="T26" fmla="*/ 3 w 48"/>
                <a:gd name="T27" fmla="*/ 20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8" h="28">
                  <a:moveTo>
                    <a:pt x="3" y="20"/>
                  </a:moveTo>
                  <a:cubicBezTo>
                    <a:pt x="0" y="12"/>
                    <a:pt x="0" y="12"/>
                    <a:pt x="0" y="12"/>
                  </a:cubicBezTo>
                  <a:cubicBezTo>
                    <a:pt x="26" y="2"/>
                    <a:pt x="26" y="2"/>
                    <a:pt x="26" y="2"/>
                  </a:cubicBezTo>
                  <a:cubicBezTo>
                    <a:pt x="29" y="1"/>
                    <a:pt x="32" y="0"/>
                    <a:pt x="34" y="0"/>
                  </a:cubicBezTo>
                  <a:cubicBezTo>
                    <a:pt x="37" y="0"/>
                    <a:pt x="39" y="1"/>
                    <a:pt x="42" y="3"/>
                  </a:cubicBezTo>
                  <a:cubicBezTo>
                    <a:pt x="44" y="4"/>
                    <a:pt x="46" y="7"/>
                    <a:pt x="47" y="10"/>
                  </a:cubicBezTo>
                  <a:cubicBezTo>
                    <a:pt x="48" y="14"/>
                    <a:pt x="48" y="18"/>
                    <a:pt x="47" y="21"/>
                  </a:cubicBezTo>
                  <a:cubicBezTo>
                    <a:pt x="45" y="24"/>
                    <a:pt x="42" y="26"/>
                    <a:pt x="38" y="28"/>
                  </a:cubicBezTo>
                  <a:cubicBezTo>
                    <a:pt x="34" y="20"/>
                    <a:pt x="34" y="20"/>
                    <a:pt x="34" y="20"/>
                  </a:cubicBezTo>
                  <a:cubicBezTo>
                    <a:pt x="37" y="19"/>
                    <a:pt x="38" y="18"/>
                    <a:pt x="39" y="17"/>
                  </a:cubicBezTo>
                  <a:cubicBezTo>
                    <a:pt x="40" y="16"/>
                    <a:pt x="40" y="14"/>
                    <a:pt x="40" y="13"/>
                  </a:cubicBezTo>
                  <a:cubicBezTo>
                    <a:pt x="39" y="11"/>
                    <a:pt x="38" y="10"/>
                    <a:pt x="37" y="9"/>
                  </a:cubicBezTo>
                  <a:cubicBezTo>
                    <a:pt x="35" y="9"/>
                    <a:pt x="33" y="9"/>
                    <a:pt x="30" y="10"/>
                  </a:cubicBezTo>
                  <a:lnTo>
                    <a:pt x="3" y="2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62" name="íṥ1iḍe"/>
            <p:cNvSpPr/>
            <p:nvPr/>
          </p:nvSpPr>
          <p:spPr bwMode="auto">
            <a:xfrm>
              <a:off x="3112984" y="5017090"/>
              <a:ext cx="80963" cy="46038"/>
            </a:xfrm>
            <a:custGeom>
              <a:avLst/>
              <a:gdLst>
                <a:gd name="T0" fmla="*/ 51 w 51"/>
                <a:gd name="T1" fmla="*/ 9 h 29"/>
                <a:gd name="T2" fmla="*/ 3 w 51"/>
                <a:gd name="T3" fmla="*/ 29 h 29"/>
                <a:gd name="T4" fmla="*/ 0 w 51"/>
                <a:gd name="T5" fmla="*/ 19 h 29"/>
                <a:gd name="T6" fmla="*/ 46 w 51"/>
                <a:gd name="T7" fmla="*/ 0 h 29"/>
                <a:gd name="T8" fmla="*/ 51 w 51"/>
                <a:gd name="T9" fmla="*/ 9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1" h="29">
                  <a:moveTo>
                    <a:pt x="51" y="9"/>
                  </a:moveTo>
                  <a:lnTo>
                    <a:pt x="3" y="29"/>
                  </a:lnTo>
                  <a:lnTo>
                    <a:pt x="0" y="19"/>
                  </a:lnTo>
                  <a:lnTo>
                    <a:pt x="46" y="0"/>
                  </a:lnTo>
                  <a:lnTo>
                    <a:pt x="51" y="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63" name="iṥľîḋé"/>
            <p:cNvSpPr/>
            <p:nvPr/>
          </p:nvSpPr>
          <p:spPr bwMode="auto">
            <a:xfrm>
              <a:off x="3081234" y="4948828"/>
              <a:ext cx="101600" cy="93663"/>
            </a:xfrm>
            <a:custGeom>
              <a:avLst/>
              <a:gdLst>
                <a:gd name="T0" fmla="*/ 64 w 64"/>
                <a:gd name="T1" fmla="*/ 36 h 59"/>
                <a:gd name="T2" fmla="*/ 18 w 64"/>
                <a:gd name="T3" fmla="*/ 59 h 59"/>
                <a:gd name="T4" fmla="*/ 14 w 64"/>
                <a:gd name="T5" fmla="*/ 50 h 59"/>
                <a:gd name="T6" fmla="*/ 35 w 64"/>
                <a:gd name="T7" fmla="*/ 16 h 59"/>
                <a:gd name="T8" fmla="*/ 3 w 64"/>
                <a:gd name="T9" fmla="*/ 31 h 59"/>
                <a:gd name="T10" fmla="*/ 0 w 64"/>
                <a:gd name="T11" fmla="*/ 22 h 59"/>
                <a:gd name="T12" fmla="*/ 45 w 64"/>
                <a:gd name="T13" fmla="*/ 0 h 59"/>
                <a:gd name="T14" fmla="*/ 50 w 64"/>
                <a:gd name="T15" fmla="*/ 8 h 59"/>
                <a:gd name="T16" fmla="*/ 29 w 64"/>
                <a:gd name="T17" fmla="*/ 42 h 59"/>
                <a:gd name="T18" fmla="*/ 59 w 64"/>
                <a:gd name="T19" fmla="*/ 26 h 59"/>
                <a:gd name="T20" fmla="*/ 64 w 64"/>
                <a:gd name="T21" fmla="*/ 36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64" h="59">
                  <a:moveTo>
                    <a:pt x="64" y="36"/>
                  </a:moveTo>
                  <a:lnTo>
                    <a:pt x="18" y="59"/>
                  </a:lnTo>
                  <a:lnTo>
                    <a:pt x="14" y="50"/>
                  </a:lnTo>
                  <a:lnTo>
                    <a:pt x="35" y="16"/>
                  </a:lnTo>
                  <a:lnTo>
                    <a:pt x="3" y="31"/>
                  </a:lnTo>
                  <a:lnTo>
                    <a:pt x="0" y="22"/>
                  </a:lnTo>
                  <a:lnTo>
                    <a:pt x="45" y="0"/>
                  </a:lnTo>
                  <a:lnTo>
                    <a:pt x="50" y="8"/>
                  </a:lnTo>
                  <a:lnTo>
                    <a:pt x="29" y="42"/>
                  </a:lnTo>
                  <a:lnTo>
                    <a:pt x="59" y="26"/>
                  </a:lnTo>
                  <a:lnTo>
                    <a:pt x="64" y="3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64" name="îślidè"/>
            <p:cNvSpPr/>
            <p:nvPr/>
          </p:nvSpPr>
          <p:spPr bwMode="auto">
            <a:xfrm>
              <a:off x="3047897" y="4877390"/>
              <a:ext cx="84138" cy="88900"/>
            </a:xfrm>
            <a:custGeom>
              <a:avLst/>
              <a:gdLst>
                <a:gd name="T0" fmla="*/ 28 w 46"/>
                <a:gd name="T1" fmla="*/ 21 h 48"/>
                <a:gd name="T2" fmla="*/ 22 w 46"/>
                <a:gd name="T3" fmla="*/ 25 h 48"/>
                <a:gd name="T4" fmla="*/ 11 w 46"/>
                <a:gd name="T5" fmla="*/ 9 h 48"/>
                <a:gd name="T6" fmla="*/ 26 w 46"/>
                <a:gd name="T7" fmla="*/ 0 h 48"/>
                <a:gd name="T8" fmla="*/ 35 w 46"/>
                <a:gd name="T9" fmla="*/ 4 h 48"/>
                <a:gd name="T10" fmla="*/ 42 w 46"/>
                <a:gd name="T11" fmla="*/ 12 h 48"/>
                <a:gd name="T12" fmla="*/ 46 w 46"/>
                <a:gd name="T13" fmla="*/ 24 h 48"/>
                <a:gd name="T14" fmla="*/ 43 w 46"/>
                <a:gd name="T15" fmla="*/ 35 h 48"/>
                <a:gd name="T16" fmla="*/ 35 w 46"/>
                <a:gd name="T17" fmla="*/ 43 h 48"/>
                <a:gd name="T18" fmla="*/ 23 w 46"/>
                <a:gd name="T19" fmla="*/ 47 h 48"/>
                <a:gd name="T20" fmla="*/ 12 w 46"/>
                <a:gd name="T21" fmla="*/ 45 h 48"/>
                <a:gd name="T22" fmla="*/ 4 w 46"/>
                <a:gd name="T23" fmla="*/ 37 h 48"/>
                <a:gd name="T24" fmla="*/ 0 w 46"/>
                <a:gd name="T25" fmla="*/ 24 h 48"/>
                <a:gd name="T26" fmla="*/ 5 w 46"/>
                <a:gd name="T27" fmla="*/ 14 h 48"/>
                <a:gd name="T28" fmla="*/ 11 w 46"/>
                <a:gd name="T29" fmla="*/ 21 h 48"/>
                <a:gd name="T30" fmla="*/ 9 w 46"/>
                <a:gd name="T31" fmla="*/ 27 h 48"/>
                <a:gd name="T32" fmla="*/ 11 w 46"/>
                <a:gd name="T33" fmla="*/ 33 h 48"/>
                <a:gd name="T34" fmla="*/ 19 w 46"/>
                <a:gd name="T35" fmla="*/ 39 h 48"/>
                <a:gd name="T36" fmla="*/ 30 w 46"/>
                <a:gd name="T37" fmla="*/ 36 h 48"/>
                <a:gd name="T38" fmla="*/ 38 w 46"/>
                <a:gd name="T39" fmla="*/ 26 h 48"/>
                <a:gd name="T40" fmla="*/ 36 w 46"/>
                <a:gd name="T41" fmla="*/ 17 h 48"/>
                <a:gd name="T42" fmla="*/ 32 w 46"/>
                <a:gd name="T43" fmla="*/ 13 h 48"/>
                <a:gd name="T44" fmla="*/ 27 w 46"/>
                <a:gd name="T45" fmla="*/ 10 h 48"/>
                <a:gd name="T46" fmla="*/ 23 w 46"/>
                <a:gd name="T47" fmla="*/ 13 h 48"/>
                <a:gd name="T48" fmla="*/ 28 w 46"/>
                <a:gd name="T49" fmla="*/ 21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46" h="48">
                  <a:moveTo>
                    <a:pt x="28" y="21"/>
                  </a:moveTo>
                  <a:cubicBezTo>
                    <a:pt x="22" y="25"/>
                    <a:pt x="22" y="25"/>
                    <a:pt x="22" y="25"/>
                  </a:cubicBezTo>
                  <a:cubicBezTo>
                    <a:pt x="11" y="9"/>
                    <a:pt x="11" y="9"/>
                    <a:pt x="11" y="9"/>
                  </a:cubicBezTo>
                  <a:cubicBezTo>
                    <a:pt x="26" y="0"/>
                    <a:pt x="26" y="0"/>
                    <a:pt x="26" y="0"/>
                  </a:cubicBezTo>
                  <a:cubicBezTo>
                    <a:pt x="29" y="1"/>
                    <a:pt x="31" y="2"/>
                    <a:pt x="35" y="4"/>
                  </a:cubicBezTo>
                  <a:cubicBezTo>
                    <a:pt x="38" y="6"/>
                    <a:pt x="40" y="9"/>
                    <a:pt x="42" y="12"/>
                  </a:cubicBezTo>
                  <a:cubicBezTo>
                    <a:pt x="45" y="16"/>
                    <a:pt x="46" y="20"/>
                    <a:pt x="46" y="24"/>
                  </a:cubicBezTo>
                  <a:cubicBezTo>
                    <a:pt x="46" y="28"/>
                    <a:pt x="45" y="31"/>
                    <a:pt x="43" y="35"/>
                  </a:cubicBezTo>
                  <a:cubicBezTo>
                    <a:pt x="41" y="38"/>
                    <a:pt x="38" y="41"/>
                    <a:pt x="35" y="43"/>
                  </a:cubicBezTo>
                  <a:cubicBezTo>
                    <a:pt x="31" y="46"/>
                    <a:pt x="27" y="47"/>
                    <a:pt x="23" y="47"/>
                  </a:cubicBezTo>
                  <a:cubicBezTo>
                    <a:pt x="19" y="48"/>
                    <a:pt x="15" y="47"/>
                    <a:pt x="12" y="45"/>
                  </a:cubicBezTo>
                  <a:cubicBezTo>
                    <a:pt x="9" y="43"/>
                    <a:pt x="6" y="41"/>
                    <a:pt x="4" y="37"/>
                  </a:cubicBezTo>
                  <a:cubicBezTo>
                    <a:pt x="1" y="32"/>
                    <a:pt x="0" y="28"/>
                    <a:pt x="0" y="24"/>
                  </a:cubicBezTo>
                  <a:cubicBezTo>
                    <a:pt x="0" y="21"/>
                    <a:pt x="2" y="17"/>
                    <a:pt x="5" y="14"/>
                  </a:cubicBezTo>
                  <a:cubicBezTo>
                    <a:pt x="11" y="21"/>
                    <a:pt x="11" y="21"/>
                    <a:pt x="11" y="21"/>
                  </a:cubicBezTo>
                  <a:cubicBezTo>
                    <a:pt x="10" y="23"/>
                    <a:pt x="9" y="24"/>
                    <a:pt x="9" y="27"/>
                  </a:cubicBezTo>
                  <a:cubicBezTo>
                    <a:pt x="8" y="29"/>
                    <a:pt x="9" y="31"/>
                    <a:pt x="11" y="33"/>
                  </a:cubicBezTo>
                  <a:cubicBezTo>
                    <a:pt x="13" y="36"/>
                    <a:pt x="15" y="38"/>
                    <a:pt x="19" y="39"/>
                  </a:cubicBezTo>
                  <a:cubicBezTo>
                    <a:pt x="22" y="39"/>
                    <a:pt x="26" y="38"/>
                    <a:pt x="30" y="36"/>
                  </a:cubicBezTo>
                  <a:cubicBezTo>
                    <a:pt x="34" y="33"/>
                    <a:pt x="37" y="30"/>
                    <a:pt x="38" y="26"/>
                  </a:cubicBezTo>
                  <a:cubicBezTo>
                    <a:pt x="39" y="23"/>
                    <a:pt x="38" y="20"/>
                    <a:pt x="36" y="17"/>
                  </a:cubicBezTo>
                  <a:cubicBezTo>
                    <a:pt x="35" y="15"/>
                    <a:pt x="34" y="14"/>
                    <a:pt x="32" y="13"/>
                  </a:cubicBezTo>
                  <a:cubicBezTo>
                    <a:pt x="30" y="11"/>
                    <a:pt x="29" y="10"/>
                    <a:pt x="27" y="10"/>
                  </a:cubicBezTo>
                  <a:cubicBezTo>
                    <a:pt x="23" y="13"/>
                    <a:pt x="23" y="13"/>
                    <a:pt x="23" y="13"/>
                  </a:cubicBezTo>
                  <a:lnTo>
                    <a:pt x="28" y="2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65" name="îŝ1ide"/>
            <p:cNvSpPr/>
            <p:nvPr/>
          </p:nvSpPr>
          <p:spPr bwMode="auto">
            <a:xfrm>
              <a:off x="1981097" y="4907553"/>
              <a:ext cx="931863" cy="969963"/>
            </a:xfrm>
            <a:custGeom>
              <a:avLst/>
              <a:gdLst>
                <a:gd name="T0" fmla="*/ 488 w 506"/>
                <a:gd name="T1" fmla="*/ 144 h 525"/>
                <a:gd name="T2" fmla="*/ 449 w 506"/>
                <a:gd name="T3" fmla="*/ 161 h 525"/>
                <a:gd name="T4" fmla="*/ 473 w 506"/>
                <a:gd name="T5" fmla="*/ 361 h 525"/>
                <a:gd name="T6" fmla="*/ 434 w 506"/>
                <a:gd name="T7" fmla="*/ 382 h 525"/>
                <a:gd name="T8" fmla="*/ 463 w 506"/>
                <a:gd name="T9" fmla="*/ 392 h 525"/>
                <a:gd name="T10" fmla="*/ 434 w 506"/>
                <a:gd name="T11" fmla="*/ 455 h 525"/>
                <a:gd name="T12" fmla="*/ 418 w 506"/>
                <a:gd name="T13" fmla="*/ 525 h 525"/>
                <a:gd name="T14" fmla="*/ 328 w 506"/>
                <a:gd name="T15" fmla="*/ 392 h 525"/>
                <a:gd name="T16" fmla="*/ 200 w 506"/>
                <a:gd name="T17" fmla="*/ 376 h 525"/>
                <a:gd name="T18" fmla="*/ 179 w 506"/>
                <a:gd name="T19" fmla="*/ 525 h 525"/>
                <a:gd name="T20" fmla="*/ 72 w 506"/>
                <a:gd name="T21" fmla="*/ 510 h 525"/>
                <a:gd name="T22" fmla="*/ 44 w 506"/>
                <a:gd name="T23" fmla="*/ 439 h 525"/>
                <a:gd name="T24" fmla="*/ 72 w 506"/>
                <a:gd name="T25" fmla="*/ 392 h 525"/>
                <a:gd name="T26" fmla="*/ 57 w 506"/>
                <a:gd name="T27" fmla="*/ 382 h 525"/>
                <a:gd name="T28" fmla="*/ 18 w 506"/>
                <a:gd name="T29" fmla="*/ 161 h 525"/>
                <a:gd name="T30" fmla="*/ 56 w 506"/>
                <a:gd name="T31" fmla="*/ 144 h 525"/>
                <a:gd name="T32" fmla="*/ 0 w 506"/>
                <a:gd name="T33" fmla="*/ 21 h 525"/>
                <a:gd name="T34" fmla="*/ 92 w 506"/>
                <a:gd name="T35" fmla="*/ 21 h 525"/>
                <a:gd name="T36" fmla="*/ 403 w 506"/>
                <a:gd name="T37" fmla="*/ 82 h 525"/>
                <a:gd name="T38" fmla="*/ 457 w 506"/>
                <a:gd name="T39" fmla="*/ 0 h 525"/>
                <a:gd name="T40" fmla="*/ 461 w 506"/>
                <a:gd name="T41" fmla="*/ 82 h 525"/>
                <a:gd name="T42" fmla="*/ 455 w 506"/>
                <a:gd name="T43" fmla="*/ 24 h 525"/>
                <a:gd name="T44" fmla="*/ 435 w 506"/>
                <a:gd name="T45" fmla="*/ 82 h 525"/>
                <a:gd name="T46" fmla="*/ 454 w 506"/>
                <a:gd name="T47" fmla="*/ 127 h 525"/>
                <a:gd name="T48" fmla="*/ 49 w 506"/>
                <a:gd name="T49" fmla="*/ 112 h 525"/>
                <a:gd name="T50" fmla="*/ 78 w 506"/>
                <a:gd name="T51" fmla="*/ 127 h 525"/>
                <a:gd name="T52" fmla="*/ 81 w 506"/>
                <a:gd name="T53" fmla="*/ 161 h 525"/>
                <a:gd name="T54" fmla="*/ 426 w 506"/>
                <a:gd name="T55" fmla="*/ 145 h 525"/>
                <a:gd name="T56" fmla="*/ 454 w 506"/>
                <a:gd name="T57" fmla="*/ 127 h 525"/>
                <a:gd name="T58" fmla="*/ 450 w 506"/>
                <a:gd name="T59" fmla="*/ 178 h 525"/>
                <a:gd name="T60" fmla="*/ 65 w 506"/>
                <a:gd name="T61" fmla="*/ 335 h 525"/>
                <a:gd name="T62" fmla="*/ 421 w 506"/>
                <a:gd name="T63" fmla="*/ 349 h 525"/>
                <a:gd name="T64" fmla="*/ 398 w 506"/>
                <a:gd name="T65" fmla="*/ 490 h 525"/>
                <a:gd name="T66" fmla="*/ 356 w 506"/>
                <a:gd name="T67" fmla="*/ 371 h 525"/>
                <a:gd name="T68" fmla="*/ 389 w 506"/>
                <a:gd name="T69" fmla="*/ 496 h 525"/>
                <a:gd name="T70" fmla="*/ 150 w 506"/>
                <a:gd name="T71" fmla="*/ 496 h 525"/>
                <a:gd name="T72" fmla="*/ 108 w 506"/>
                <a:gd name="T73" fmla="*/ 371 h 525"/>
                <a:gd name="T74" fmla="*/ 117 w 506"/>
                <a:gd name="T75" fmla="*/ 496 h 525"/>
                <a:gd name="T76" fmla="*/ 71 w 506"/>
                <a:gd name="T77" fmla="*/ 82 h 525"/>
                <a:gd name="T78" fmla="*/ 51 w 506"/>
                <a:gd name="T79" fmla="*/ 24 h 525"/>
                <a:gd name="T80" fmla="*/ 45 w 506"/>
                <a:gd name="T81" fmla="*/ 82 h 5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506" h="525">
                  <a:moveTo>
                    <a:pt x="506" y="21"/>
                  </a:moveTo>
                  <a:cubicBezTo>
                    <a:pt x="488" y="144"/>
                    <a:pt x="488" y="144"/>
                    <a:pt x="488" y="144"/>
                  </a:cubicBezTo>
                  <a:cubicBezTo>
                    <a:pt x="450" y="144"/>
                    <a:pt x="450" y="144"/>
                    <a:pt x="450" y="144"/>
                  </a:cubicBezTo>
                  <a:cubicBezTo>
                    <a:pt x="449" y="161"/>
                    <a:pt x="449" y="161"/>
                    <a:pt x="449" y="161"/>
                  </a:cubicBezTo>
                  <a:cubicBezTo>
                    <a:pt x="488" y="161"/>
                    <a:pt x="488" y="161"/>
                    <a:pt x="488" y="161"/>
                  </a:cubicBezTo>
                  <a:cubicBezTo>
                    <a:pt x="473" y="361"/>
                    <a:pt x="473" y="361"/>
                    <a:pt x="473" y="361"/>
                  </a:cubicBezTo>
                  <a:cubicBezTo>
                    <a:pt x="473" y="372"/>
                    <a:pt x="462" y="382"/>
                    <a:pt x="450" y="382"/>
                  </a:cubicBezTo>
                  <a:cubicBezTo>
                    <a:pt x="434" y="382"/>
                    <a:pt x="434" y="382"/>
                    <a:pt x="434" y="382"/>
                  </a:cubicBezTo>
                  <a:cubicBezTo>
                    <a:pt x="434" y="392"/>
                    <a:pt x="434" y="392"/>
                    <a:pt x="434" y="392"/>
                  </a:cubicBezTo>
                  <a:cubicBezTo>
                    <a:pt x="463" y="392"/>
                    <a:pt x="463" y="392"/>
                    <a:pt x="463" y="392"/>
                  </a:cubicBezTo>
                  <a:cubicBezTo>
                    <a:pt x="463" y="439"/>
                    <a:pt x="463" y="439"/>
                    <a:pt x="463" y="439"/>
                  </a:cubicBezTo>
                  <a:cubicBezTo>
                    <a:pt x="463" y="448"/>
                    <a:pt x="450" y="455"/>
                    <a:pt x="434" y="455"/>
                  </a:cubicBezTo>
                  <a:cubicBezTo>
                    <a:pt x="434" y="510"/>
                    <a:pt x="434" y="510"/>
                    <a:pt x="434" y="510"/>
                  </a:cubicBezTo>
                  <a:cubicBezTo>
                    <a:pt x="434" y="518"/>
                    <a:pt x="427" y="525"/>
                    <a:pt x="418" y="525"/>
                  </a:cubicBezTo>
                  <a:cubicBezTo>
                    <a:pt x="328" y="525"/>
                    <a:pt x="328" y="525"/>
                    <a:pt x="328" y="525"/>
                  </a:cubicBezTo>
                  <a:cubicBezTo>
                    <a:pt x="328" y="392"/>
                    <a:pt x="328" y="392"/>
                    <a:pt x="328" y="392"/>
                  </a:cubicBezTo>
                  <a:cubicBezTo>
                    <a:pt x="328" y="383"/>
                    <a:pt x="318" y="376"/>
                    <a:pt x="307" y="376"/>
                  </a:cubicBezTo>
                  <a:cubicBezTo>
                    <a:pt x="200" y="376"/>
                    <a:pt x="200" y="376"/>
                    <a:pt x="200" y="376"/>
                  </a:cubicBezTo>
                  <a:cubicBezTo>
                    <a:pt x="188" y="376"/>
                    <a:pt x="179" y="383"/>
                    <a:pt x="179" y="392"/>
                  </a:cubicBezTo>
                  <a:cubicBezTo>
                    <a:pt x="179" y="525"/>
                    <a:pt x="179" y="525"/>
                    <a:pt x="179" y="525"/>
                  </a:cubicBezTo>
                  <a:cubicBezTo>
                    <a:pt x="89" y="525"/>
                    <a:pt x="89" y="525"/>
                    <a:pt x="89" y="525"/>
                  </a:cubicBezTo>
                  <a:cubicBezTo>
                    <a:pt x="80" y="525"/>
                    <a:pt x="72" y="518"/>
                    <a:pt x="72" y="510"/>
                  </a:cubicBezTo>
                  <a:cubicBezTo>
                    <a:pt x="72" y="455"/>
                    <a:pt x="72" y="455"/>
                    <a:pt x="72" y="455"/>
                  </a:cubicBezTo>
                  <a:cubicBezTo>
                    <a:pt x="56" y="455"/>
                    <a:pt x="44" y="448"/>
                    <a:pt x="44" y="439"/>
                  </a:cubicBezTo>
                  <a:cubicBezTo>
                    <a:pt x="44" y="392"/>
                    <a:pt x="44" y="392"/>
                    <a:pt x="44" y="392"/>
                  </a:cubicBezTo>
                  <a:cubicBezTo>
                    <a:pt x="72" y="392"/>
                    <a:pt x="72" y="392"/>
                    <a:pt x="72" y="392"/>
                  </a:cubicBezTo>
                  <a:cubicBezTo>
                    <a:pt x="72" y="382"/>
                    <a:pt x="72" y="382"/>
                    <a:pt x="72" y="382"/>
                  </a:cubicBezTo>
                  <a:cubicBezTo>
                    <a:pt x="57" y="382"/>
                    <a:pt x="57" y="382"/>
                    <a:pt x="57" y="382"/>
                  </a:cubicBezTo>
                  <a:cubicBezTo>
                    <a:pt x="44" y="382"/>
                    <a:pt x="34" y="372"/>
                    <a:pt x="34" y="361"/>
                  </a:cubicBezTo>
                  <a:cubicBezTo>
                    <a:pt x="18" y="161"/>
                    <a:pt x="18" y="161"/>
                    <a:pt x="18" y="161"/>
                  </a:cubicBezTo>
                  <a:cubicBezTo>
                    <a:pt x="58" y="161"/>
                    <a:pt x="58" y="161"/>
                    <a:pt x="58" y="161"/>
                  </a:cubicBezTo>
                  <a:cubicBezTo>
                    <a:pt x="56" y="144"/>
                    <a:pt x="56" y="144"/>
                    <a:pt x="56" y="144"/>
                  </a:cubicBezTo>
                  <a:cubicBezTo>
                    <a:pt x="18" y="144"/>
                    <a:pt x="18" y="144"/>
                    <a:pt x="18" y="144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2" y="7"/>
                    <a:pt x="31" y="0"/>
                    <a:pt x="49" y="0"/>
                  </a:cubicBezTo>
                  <a:cubicBezTo>
                    <a:pt x="73" y="0"/>
                    <a:pt x="80" y="3"/>
                    <a:pt x="92" y="21"/>
                  </a:cubicBezTo>
                  <a:cubicBezTo>
                    <a:pt x="103" y="82"/>
                    <a:pt x="103" y="82"/>
                    <a:pt x="103" y="82"/>
                  </a:cubicBezTo>
                  <a:cubicBezTo>
                    <a:pt x="403" y="82"/>
                    <a:pt x="403" y="82"/>
                    <a:pt x="403" y="82"/>
                  </a:cubicBezTo>
                  <a:cubicBezTo>
                    <a:pt x="415" y="21"/>
                    <a:pt x="415" y="21"/>
                    <a:pt x="415" y="21"/>
                  </a:cubicBezTo>
                  <a:cubicBezTo>
                    <a:pt x="426" y="3"/>
                    <a:pt x="433" y="0"/>
                    <a:pt x="457" y="0"/>
                  </a:cubicBezTo>
                  <a:cubicBezTo>
                    <a:pt x="475" y="0"/>
                    <a:pt x="504" y="7"/>
                    <a:pt x="506" y="21"/>
                  </a:cubicBezTo>
                  <a:close/>
                  <a:moveTo>
                    <a:pt x="461" y="82"/>
                  </a:moveTo>
                  <a:cubicBezTo>
                    <a:pt x="469" y="32"/>
                    <a:pt x="469" y="32"/>
                    <a:pt x="469" y="32"/>
                  </a:cubicBezTo>
                  <a:cubicBezTo>
                    <a:pt x="469" y="24"/>
                    <a:pt x="463" y="24"/>
                    <a:pt x="455" y="24"/>
                  </a:cubicBezTo>
                  <a:cubicBezTo>
                    <a:pt x="450" y="24"/>
                    <a:pt x="447" y="26"/>
                    <a:pt x="445" y="32"/>
                  </a:cubicBezTo>
                  <a:cubicBezTo>
                    <a:pt x="435" y="82"/>
                    <a:pt x="435" y="82"/>
                    <a:pt x="435" y="82"/>
                  </a:cubicBezTo>
                  <a:lnTo>
                    <a:pt x="461" y="82"/>
                  </a:lnTo>
                  <a:close/>
                  <a:moveTo>
                    <a:pt x="454" y="127"/>
                  </a:moveTo>
                  <a:cubicBezTo>
                    <a:pt x="457" y="112"/>
                    <a:pt x="457" y="112"/>
                    <a:pt x="457" y="112"/>
                  </a:cubicBezTo>
                  <a:cubicBezTo>
                    <a:pt x="49" y="112"/>
                    <a:pt x="49" y="112"/>
                    <a:pt x="49" y="112"/>
                  </a:cubicBezTo>
                  <a:cubicBezTo>
                    <a:pt x="52" y="127"/>
                    <a:pt x="52" y="127"/>
                    <a:pt x="52" y="127"/>
                  </a:cubicBezTo>
                  <a:cubicBezTo>
                    <a:pt x="78" y="127"/>
                    <a:pt x="78" y="127"/>
                    <a:pt x="78" y="127"/>
                  </a:cubicBezTo>
                  <a:cubicBezTo>
                    <a:pt x="80" y="145"/>
                    <a:pt x="80" y="145"/>
                    <a:pt x="80" y="145"/>
                  </a:cubicBezTo>
                  <a:cubicBezTo>
                    <a:pt x="81" y="161"/>
                    <a:pt x="81" y="161"/>
                    <a:pt x="81" y="161"/>
                  </a:cubicBezTo>
                  <a:cubicBezTo>
                    <a:pt x="425" y="161"/>
                    <a:pt x="425" y="161"/>
                    <a:pt x="425" y="161"/>
                  </a:cubicBezTo>
                  <a:cubicBezTo>
                    <a:pt x="426" y="145"/>
                    <a:pt x="426" y="145"/>
                    <a:pt x="426" y="145"/>
                  </a:cubicBezTo>
                  <a:cubicBezTo>
                    <a:pt x="428" y="127"/>
                    <a:pt x="428" y="127"/>
                    <a:pt x="428" y="127"/>
                  </a:cubicBezTo>
                  <a:lnTo>
                    <a:pt x="454" y="127"/>
                  </a:lnTo>
                  <a:close/>
                  <a:moveTo>
                    <a:pt x="441" y="335"/>
                  </a:moveTo>
                  <a:cubicBezTo>
                    <a:pt x="450" y="178"/>
                    <a:pt x="450" y="178"/>
                    <a:pt x="450" y="178"/>
                  </a:cubicBezTo>
                  <a:cubicBezTo>
                    <a:pt x="56" y="178"/>
                    <a:pt x="56" y="178"/>
                    <a:pt x="56" y="178"/>
                  </a:cubicBezTo>
                  <a:cubicBezTo>
                    <a:pt x="65" y="335"/>
                    <a:pt x="65" y="335"/>
                    <a:pt x="65" y="335"/>
                  </a:cubicBezTo>
                  <a:cubicBezTo>
                    <a:pt x="65" y="343"/>
                    <a:pt x="74" y="349"/>
                    <a:pt x="85" y="349"/>
                  </a:cubicBezTo>
                  <a:cubicBezTo>
                    <a:pt x="421" y="349"/>
                    <a:pt x="421" y="349"/>
                    <a:pt x="421" y="349"/>
                  </a:cubicBezTo>
                  <a:cubicBezTo>
                    <a:pt x="432" y="349"/>
                    <a:pt x="441" y="343"/>
                    <a:pt x="441" y="335"/>
                  </a:cubicBezTo>
                  <a:close/>
                  <a:moveTo>
                    <a:pt x="398" y="490"/>
                  </a:moveTo>
                  <a:cubicBezTo>
                    <a:pt x="398" y="371"/>
                    <a:pt x="398" y="371"/>
                    <a:pt x="398" y="371"/>
                  </a:cubicBezTo>
                  <a:cubicBezTo>
                    <a:pt x="356" y="371"/>
                    <a:pt x="356" y="371"/>
                    <a:pt x="356" y="371"/>
                  </a:cubicBezTo>
                  <a:cubicBezTo>
                    <a:pt x="356" y="496"/>
                    <a:pt x="356" y="496"/>
                    <a:pt x="356" y="496"/>
                  </a:cubicBezTo>
                  <a:cubicBezTo>
                    <a:pt x="389" y="496"/>
                    <a:pt x="389" y="496"/>
                    <a:pt x="389" y="496"/>
                  </a:cubicBezTo>
                  <a:cubicBezTo>
                    <a:pt x="394" y="496"/>
                    <a:pt x="398" y="496"/>
                    <a:pt x="398" y="490"/>
                  </a:cubicBezTo>
                  <a:close/>
                  <a:moveTo>
                    <a:pt x="150" y="496"/>
                  </a:moveTo>
                  <a:cubicBezTo>
                    <a:pt x="150" y="371"/>
                    <a:pt x="150" y="371"/>
                    <a:pt x="150" y="371"/>
                  </a:cubicBezTo>
                  <a:cubicBezTo>
                    <a:pt x="108" y="371"/>
                    <a:pt x="108" y="371"/>
                    <a:pt x="108" y="371"/>
                  </a:cubicBezTo>
                  <a:cubicBezTo>
                    <a:pt x="108" y="490"/>
                    <a:pt x="108" y="490"/>
                    <a:pt x="108" y="490"/>
                  </a:cubicBezTo>
                  <a:cubicBezTo>
                    <a:pt x="108" y="496"/>
                    <a:pt x="112" y="496"/>
                    <a:pt x="117" y="496"/>
                  </a:cubicBezTo>
                  <a:lnTo>
                    <a:pt x="150" y="496"/>
                  </a:lnTo>
                  <a:close/>
                  <a:moveTo>
                    <a:pt x="71" y="82"/>
                  </a:moveTo>
                  <a:cubicBezTo>
                    <a:pt x="61" y="32"/>
                    <a:pt x="61" y="32"/>
                    <a:pt x="61" y="32"/>
                  </a:cubicBezTo>
                  <a:cubicBezTo>
                    <a:pt x="60" y="26"/>
                    <a:pt x="57" y="24"/>
                    <a:pt x="51" y="24"/>
                  </a:cubicBezTo>
                  <a:cubicBezTo>
                    <a:pt x="43" y="24"/>
                    <a:pt x="37" y="24"/>
                    <a:pt x="37" y="32"/>
                  </a:cubicBezTo>
                  <a:cubicBezTo>
                    <a:pt x="45" y="82"/>
                    <a:pt x="45" y="82"/>
                    <a:pt x="45" y="82"/>
                  </a:cubicBezTo>
                  <a:lnTo>
                    <a:pt x="71" y="8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66" name="í$ḻíde"/>
            <p:cNvSpPr/>
            <p:nvPr/>
          </p:nvSpPr>
          <p:spPr bwMode="auto">
            <a:xfrm>
              <a:off x="2144609" y="5142503"/>
              <a:ext cx="604838" cy="3175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sz="1350"/>
            </a:p>
          </p:txBody>
        </p:sp>
      </p:grpSp>
      <p:pic>
        <p:nvPicPr>
          <p:cNvPr id="73" name="图片 72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622" t="7796" r="24414" b="7796"/>
          <a:stretch>
            <a:fillRect/>
          </a:stretch>
        </p:blipFill>
        <p:spPr>
          <a:xfrm>
            <a:off x="4563325" y="0"/>
            <a:ext cx="4568678" cy="6858000"/>
          </a:xfrm>
          <a:custGeom>
            <a:avLst/>
            <a:gdLst>
              <a:gd name="connsiteX0" fmla="*/ 516982 w 6091570"/>
              <a:gd name="connsiteY0" fmla="*/ 0 h 6858000"/>
              <a:gd name="connsiteX1" fmla="*/ 6091570 w 6091570"/>
              <a:gd name="connsiteY1" fmla="*/ 0 h 6858000"/>
              <a:gd name="connsiteX2" fmla="*/ 6091570 w 6091570"/>
              <a:gd name="connsiteY2" fmla="*/ 6858000 h 6858000"/>
              <a:gd name="connsiteX3" fmla="*/ 516982 w 6091570"/>
              <a:gd name="connsiteY3" fmla="*/ 6858000 h 6858000"/>
              <a:gd name="connsiteX4" fmla="*/ 429910 w 6091570"/>
              <a:gd name="connsiteY4" fmla="*/ 6575030 h 6858000"/>
              <a:gd name="connsiteX5" fmla="*/ 0 w 6091570"/>
              <a:gd name="connsiteY5" fmla="*/ 3429000 h 6858000"/>
              <a:gd name="connsiteX6" fmla="*/ 429910 w 6091570"/>
              <a:gd name="connsiteY6" fmla="*/ 282971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091570" h="6858000">
                <a:moveTo>
                  <a:pt x="516982" y="0"/>
                </a:moveTo>
                <a:lnTo>
                  <a:pt x="6091570" y="0"/>
                </a:lnTo>
                <a:lnTo>
                  <a:pt x="6091570" y="6858000"/>
                </a:lnTo>
                <a:lnTo>
                  <a:pt x="516982" y="6858000"/>
                </a:lnTo>
                <a:lnTo>
                  <a:pt x="429910" y="6575030"/>
                </a:lnTo>
                <a:cubicBezTo>
                  <a:pt x="154398" y="5623308"/>
                  <a:pt x="0" y="4556166"/>
                  <a:pt x="0" y="3429000"/>
                </a:cubicBezTo>
                <a:cubicBezTo>
                  <a:pt x="0" y="2301834"/>
                  <a:pt x="154398" y="1234692"/>
                  <a:pt x="429910" y="282971"/>
                </a:cubicBezTo>
                <a:close/>
              </a:path>
            </a:pathLst>
          </a:custGeom>
        </p:spPr>
      </p:pic>
      <p:sp>
        <p:nvSpPr>
          <p:cNvPr id="74" name="椭圆 73"/>
          <p:cNvSpPr/>
          <p:nvPr userDrawn="1"/>
        </p:nvSpPr>
        <p:spPr>
          <a:xfrm>
            <a:off x="4552526" y="-3827584"/>
            <a:ext cx="6539490" cy="14513168"/>
          </a:xfrm>
          <a:prstGeom prst="ellipse">
            <a:avLst/>
          </a:prstGeom>
          <a:gradFill flip="none" rotWithShape="1">
            <a:gsLst>
              <a:gs pos="0">
                <a:srgbClr val="A22B17">
                  <a:lumMod val="94000"/>
                  <a:lumOff val="6000"/>
                </a:srgbClr>
              </a:gs>
              <a:gs pos="100000">
                <a:srgbClr val="A22B17">
                  <a:alpha val="72000"/>
                  <a:lumMod val="85000"/>
                  <a:lumOff val="15000"/>
                </a:srgb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zh-CN" altLang="en-US" sz="1350"/>
          </a:p>
        </p:txBody>
      </p:sp>
      <p:sp>
        <p:nvSpPr>
          <p:cNvPr id="75" name="椭圆 74"/>
          <p:cNvSpPr/>
          <p:nvPr userDrawn="1"/>
        </p:nvSpPr>
        <p:spPr>
          <a:xfrm>
            <a:off x="4457482" y="-3767391"/>
            <a:ext cx="6539490" cy="14513168"/>
          </a:xfrm>
          <a:prstGeom prst="ellipse">
            <a:avLst/>
          </a:prstGeom>
          <a:gradFill flip="none" rotWithShape="1">
            <a:gsLst>
              <a:gs pos="0">
                <a:srgbClr val="A22B17">
                  <a:alpha val="47000"/>
                  <a:lumMod val="91000"/>
                </a:srgbClr>
              </a:gs>
              <a:gs pos="100000">
                <a:srgbClr val="A22B17">
                  <a:alpha val="14000"/>
                  <a:lumMod val="92000"/>
                  <a:lumOff val="8000"/>
                </a:srgb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zh-CN" altLang="en-US" sz="1350" dirty="0"/>
          </a:p>
        </p:txBody>
      </p:sp>
    </p:spTree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图片 16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796" b="7796"/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18" name="矩形 17"/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bg1">
              <a:alpha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350"/>
          </a:p>
        </p:txBody>
      </p:sp>
      <p:sp>
        <p:nvSpPr>
          <p:cNvPr id="128" name="矩形 127"/>
          <p:cNvSpPr/>
          <p:nvPr userDrawn="1"/>
        </p:nvSpPr>
        <p:spPr>
          <a:xfrm>
            <a:off x="9064520" y="319741"/>
            <a:ext cx="89822" cy="274912"/>
          </a:xfrm>
          <a:prstGeom prst="rect">
            <a:avLst/>
          </a:prstGeom>
          <a:gradFill flip="none" rotWithShape="1">
            <a:gsLst>
              <a:gs pos="0">
                <a:srgbClr val="A22B17">
                  <a:lumMod val="94000"/>
                  <a:lumOff val="6000"/>
                </a:srgbClr>
              </a:gs>
              <a:gs pos="100000">
                <a:srgbClr val="A22B17">
                  <a:alpha val="72000"/>
                  <a:lumMod val="85000"/>
                  <a:lumOff val="15000"/>
                </a:srgb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zh-CN" altLang="en-US" sz="1350"/>
          </a:p>
        </p:txBody>
      </p:sp>
      <p:sp>
        <p:nvSpPr>
          <p:cNvPr id="3" name="矩形 2"/>
          <p:cNvSpPr/>
          <p:nvPr userDrawn="1"/>
        </p:nvSpPr>
        <p:spPr>
          <a:xfrm>
            <a:off x="236765" y="-108856"/>
            <a:ext cx="98046" cy="847024"/>
          </a:xfrm>
          <a:prstGeom prst="rect">
            <a:avLst/>
          </a:prstGeom>
          <a:gradFill flip="none" rotWithShape="1">
            <a:gsLst>
              <a:gs pos="0">
                <a:srgbClr val="A22B17">
                  <a:lumMod val="94000"/>
                  <a:lumOff val="6000"/>
                </a:srgbClr>
              </a:gs>
              <a:gs pos="100000">
                <a:srgbClr val="A22B17">
                  <a:alpha val="72000"/>
                  <a:lumMod val="85000"/>
                  <a:lumOff val="15000"/>
                </a:srgb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zh-CN" altLang="en-US" sz="1350"/>
          </a:p>
        </p:txBody>
      </p:sp>
      <p:grpSp>
        <p:nvGrpSpPr>
          <p:cNvPr id="242" name="组合 241"/>
          <p:cNvGrpSpPr/>
          <p:nvPr userDrawn="1"/>
        </p:nvGrpSpPr>
        <p:grpSpPr>
          <a:xfrm>
            <a:off x="6906260" y="225425"/>
            <a:ext cx="2011680" cy="453390"/>
            <a:chOff x="9721458" y="225521"/>
            <a:chExt cx="2169381" cy="453584"/>
          </a:xfrm>
        </p:grpSpPr>
        <p:sp>
          <p:nvSpPr>
            <p:cNvPr id="243" name="îS1îḋé"/>
            <p:cNvSpPr/>
            <p:nvPr/>
          </p:nvSpPr>
          <p:spPr bwMode="auto">
            <a:xfrm>
              <a:off x="9721458" y="225521"/>
              <a:ext cx="453179" cy="453584"/>
            </a:xfrm>
            <a:prstGeom prst="ellipse">
              <a:avLst/>
            </a:prstGeom>
            <a:noFill/>
            <a:ln w="15875" cap="flat">
              <a:solidFill>
                <a:srgbClr val="CA351C"/>
              </a:solidFill>
              <a:prstDash val="solid"/>
              <a:miter lim="800000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anchor="ctr"/>
            <a:lstStyle/>
            <a:p>
              <a:pPr algn="r"/>
              <a:endParaRPr sz="1350"/>
            </a:p>
          </p:txBody>
        </p:sp>
        <p:sp>
          <p:nvSpPr>
            <p:cNvPr id="244" name="îṣḷïďé"/>
            <p:cNvSpPr/>
            <p:nvPr/>
          </p:nvSpPr>
          <p:spPr bwMode="auto">
            <a:xfrm>
              <a:off x="9777346" y="281409"/>
              <a:ext cx="340998" cy="341403"/>
            </a:xfrm>
            <a:prstGeom prst="ellipse">
              <a:avLst/>
            </a:prstGeom>
            <a:noFill/>
            <a:ln w="9525" cap="flat">
              <a:solidFill>
                <a:srgbClr val="B8311A"/>
              </a:solidFill>
              <a:prstDash val="solid"/>
              <a:miter lim="800000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anchor="ctr"/>
            <a:lstStyle/>
            <a:p>
              <a:pPr algn="r"/>
              <a:endParaRPr sz="1350"/>
            </a:p>
          </p:txBody>
        </p:sp>
        <p:grpSp>
          <p:nvGrpSpPr>
            <p:cNvPr id="245" name="组合 244"/>
            <p:cNvGrpSpPr/>
            <p:nvPr userDrawn="1"/>
          </p:nvGrpSpPr>
          <p:grpSpPr>
            <a:xfrm>
              <a:off x="9742315" y="240303"/>
              <a:ext cx="411466" cy="424020"/>
              <a:chOff x="1641372" y="4491628"/>
              <a:chExt cx="1612900" cy="1662113"/>
            </a:xfrm>
            <a:solidFill>
              <a:srgbClr val="CA351C"/>
            </a:solidFill>
          </p:grpSpPr>
          <p:sp>
            <p:nvSpPr>
              <p:cNvPr id="298" name="ïś1íďê"/>
              <p:cNvSpPr/>
              <p:nvPr/>
            </p:nvSpPr>
            <p:spPr bwMode="auto">
              <a:xfrm>
                <a:off x="2889147" y="4701178"/>
                <a:ext cx="153988" cy="138113"/>
              </a:xfrm>
              <a:custGeom>
                <a:avLst/>
                <a:gdLst>
                  <a:gd name="T0" fmla="*/ 62 w 83"/>
                  <a:gd name="T1" fmla="*/ 8 h 75"/>
                  <a:gd name="T2" fmla="*/ 53 w 83"/>
                  <a:gd name="T3" fmla="*/ 10 h 75"/>
                  <a:gd name="T4" fmla="*/ 57 w 83"/>
                  <a:gd name="T5" fmla="*/ 0 h 75"/>
                  <a:gd name="T6" fmla="*/ 44 w 83"/>
                  <a:gd name="T7" fmla="*/ 21 h 75"/>
                  <a:gd name="T8" fmla="*/ 58 w 83"/>
                  <a:gd name="T9" fmla="*/ 11 h 75"/>
                  <a:gd name="T10" fmla="*/ 54 w 83"/>
                  <a:gd name="T11" fmla="*/ 18 h 75"/>
                  <a:gd name="T12" fmla="*/ 28 w 83"/>
                  <a:gd name="T13" fmla="*/ 18 h 75"/>
                  <a:gd name="T14" fmla="*/ 19 w 83"/>
                  <a:gd name="T15" fmla="*/ 17 h 75"/>
                  <a:gd name="T16" fmla="*/ 25 w 83"/>
                  <a:gd name="T17" fmla="*/ 12 h 75"/>
                  <a:gd name="T18" fmla="*/ 1 w 83"/>
                  <a:gd name="T19" fmla="*/ 30 h 75"/>
                  <a:gd name="T20" fmla="*/ 13 w 83"/>
                  <a:gd name="T21" fmla="*/ 24 h 75"/>
                  <a:gd name="T22" fmla="*/ 36 w 83"/>
                  <a:gd name="T23" fmla="*/ 28 h 75"/>
                  <a:gd name="T24" fmla="*/ 22 w 83"/>
                  <a:gd name="T25" fmla="*/ 35 h 75"/>
                  <a:gd name="T26" fmla="*/ 45 w 83"/>
                  <a:gd name="T27" fmla="*/ 41 h 75"/>
                  <a:gd name="T28" fmla="*/ 42 w 83"/>
                  <a:gd name="T29" fmla="*/ 41 h 75"/>
                  <a:gd name="T30" fmla="*/ 35 w 83"/>
                  <a:gd name="T31" fmla="*/ 40 h 75"/>
                  <a:gd name="T32" fmla="*/ 37 w 83"/>
                  <a:gd name="T33" fmla="*/ 45 h 75"/>
                  <a:gd name="T34" fmla="*/ 12 w 83"/>
                  <a:gd name="T35" fmla="*/ 34 h 75"/>
                  <a:gd name="T36" fmla="*/ 9 w 83"/>
                  <a:gd name="T37" fmla="*/ 35 h 75"/>
                  <a:gd name="T38" fmla="*/ 20 w 83"/>
                  <a:gd name="T39" fmla="*/ 64 h 75"/>
                  <a:gd name="T40" fmla="*/ 0 w 83"/>
                  <a:gd name="T41" fmla="*/ 57 h 75"/>
                  <a:gd name="T42" fmla="*/ 35 w 83"/>
                  <a:gd name="T43" fmla="*/ 58 h 75"/>
                  <a:gd name="T44" fmla="*/ 46 w 83"/>
                  <a:gd name="T45" fmla="*/ 57 h 75"/>
                  <a:gd name="T46" fmla="*/ 42 w 83"/>
                  <a:gd name="T47" fmla="*/ 48 h 75"/>
                  <a:gd name="T48" fmla="*/ 62 w 83"/>
                  <a:gd name="T49" fmla="*/ 57 h 75"/>
                  <a:gd name="T50" fmla="*/ 61 w 83"/>
                  <a:gd name="T51" fmla="*/ 35 h 75"/>
                  <a:gd name="T52" fmla="*/ 62 w 83"/>
                  <a:gd name="T53" fmla="*/ 34 h 75"/>
                  <a:gd name="T54" fmla="*/ 66 w 83"/>
                  <a:gd name="T55" fmla="*/ 16 h 75"/>
                  <a:gd name="T56" fmla="*/ 63 w 83"/>
                  <a:gd name="T57" fmla="*/ 44 h 75"/>
                  <a:gd name="T58" fmla="*/ 54 w 83"/>
                  <a:gd name="T59" fmla="*/ 32 h 75"/>
                  <a:gd name="T60" fmla="*/ 60 w 83"/>
                  <a:gd name="T61" fmla="*/ 27 h 75"/>
                  <a:gd name="T62" fmla="*/ 67 w 83"/>
                  <a:gd name="T63" fmla="*/ 18 h 75"/>
                  <a:gd name="T64" fmla="*/ 77 w 83"/>
                  <a:gd name="T65" fmla="*/ 23 h 75"/>
                  <a:gd name="T66" fmla="*/ 60 w 83"/>
                  <a:gd name="T67" fmla="*/ 27 h 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83" h="75">
                    <a:moveTo>
                      <a:pt x="66" y="16"/>
                    </a:moveTo>
                    <a:cubicBezTo>
                      <a:pt x="65" y="13"/>
                      <a:pt x="63" y="11"/>
                      <a:pt x="62" y="8"/>
                    </a:cubicBezTo>
                    <a:cubicBezTo>
                      <a:pt x="59" y="9"/>
                      <a:pt x="57" y="9"/>
                      <a:pt x="54" y="10"/>
                    </a:cubicBezTo>
                    <a:cubicBezTo>
                      <a:pt x="54" y="10"/>
                      <a:pt x="53" y="10"/>
                      <a:pt x="53" y="10"/>
                    </a:cubicBezTo>
                    <a:cubicBezTo>
                      <a:pt x="54" y="7"/>
                      <a:pt x="57" y="6"/>
                      <a:pt x="59" y="3"/>
                    </a:cubicBezTo>
                    <a:cubicBezTo>
                      <a:pt x="58" y="2"/>
                      <a:pt x="58" y="1"/>
                      <a:pt x="57" y="0"/>
                    </a:cubicBezTo>
                    <a:cubicBezTo>
                      <a:pt x="48" y="1"/>
                      <a:pt x="37" y="9"/>
                      <a:pt x="42" y="19"/>
                    </a:cubicBezTo>
                    <a:cubicBezTo>
                      <a:pt x="42" y="19"/>
                      <a:pt x="43" y="20"/>
                      <a:pt x="44" y="21"/>
                    </a:cubicBezTo>
                    <a:cubicBezTo>
                      <a:pt x="47" y="19"/>
                      <a:pt x="48" y="15"/>
                      <a:pt x="51" y="14"/>
                    </a:cubicBezTo>
                    <a:cubicBezTo>
                      <a:pt x="53" y="13"/>
                      <a:pt x="55" y="13"/>
                      <a:pt x="58" y="11"/>
                    </a:cubicBezTo>
                    <a:cubicBezTo>
                      <a:pt x="58" y="11"/>
                      <a:pt x="59" y="11"/>
                      <a:pt x="59" y="11"/>
                    </a:cubicBezTo>
                    <a:cubicBezTo>
                      <a:pt x="57" y="14"/>
                      <a:pt x="56" y="16"/>
                      <a:pt x="54" y="18"/>
                    </a:cubicBezTo>
                    <a:cubicBezTo>
                      <a:pt x="54" y="21"/>
                      <a:pt x="55" y="24"/>
                      <a:pt x="54" y="27"/>
                    </a:cubicBezTo>
                    <a:cubicBezTo>
                      <a:pt x="54" y="27"/>
                      <a:pt x="30" y="18"/>
                      <a:pt x="28" y="18"/>
                    </a:cubicBezTo>
                    <a:cubicBezTo>
                      <a:pt x="25" y="17"/>
                      <a:pt x="22" y="17"/>
                      <a:pt x="20" y="17"/>
                    </a:cubicBezTo>
                    <a:cubicBezTo>
                      <a:pt x="19" y="17"/>
                      <a:pt x="19" y="17"/>
                      <a:pt x="19" y="17"/>
                    </a:cubicBezTo>
                    <a:cubicBezTo>
                      <a:pt x="22" y="15"/>
                      <a:pt x="23" y="15"/>
                      <a:pt x="25" y="13"/>
                    </a:cubicBezTo>
                    <a:cubicBezTo>
                      <a:pt x="25" y="12"/>
                      <a:pt x="25" y="12"/>
                      <a:pt x="25" y="12"/>
                    </a:cubicBezTo>
                    <a:cubicBezTo>
                      <a:pt x="18" y="12"/>
                      <a:pt x="11" y="16"/>
                      <a:pt x="4" y="18"/>
                    </a:cubicBezTo>
                    <a:cubicBezTo>
                      <a:pt x="0" y="22"/>
                      <a:pt x="0" y="25"/>
                      <a:pt x="1" y="30"/>
                    </a:cubicBezTo>
                    <a:cubicBezTo>
                      <a:pt x="3" y="31"/>
                      <a:pt x="3" y="31"/>
                      <a:pt x="3" y="31"/>
                    </a:cubicBezTo>
                    <a:cubicBezTo>
                      <a:pt x="6" y="29"/>
                      <a:pt x="9" y="26"/>
                      <a:pt x="13" y="24"/>
                    </a:cubicBezTo>
                    <a:cubicBezTo>
                      <a:pt x="19" y="20"/>
                      <a:pt x="30" y="22"/>
                      <a:pt x="37" y="27"/>
                    </a:cubicBezTo>
                    <a:cubicBezTo>
                      <a:pt x="37" y="28"/>
                      <a:pt x="36" y="28"/>
                      <a:pt x="36" y="28"/>
                    </a:cubicBezTo>
                    <a:cubicBezTo>
                      <a:pt x="31" y="29"/>
                      <a:pt x="28" y="28"/>
                      <a:pt x="22" y="32"/>
                    </a:cubicBezTo>
                    <a:cubicBezTo>
                      <a:pt x="22" y="33"/>
                      <a:pt x="22" y="34"/>
                      <a:pt x="22" y="35"/>
                    </a:cubicBezTo>
                    <a:cubicBezTo>
                      <a:pt x="22" y="37"/>
                      <a:pt x="22" y="37"/>
                      <a:pt x="24" y="39"/>
                    </a:cubicBezTo>
                    <a:cubicBezTo>
                      <a:pt x="31" y="37"/>
                      <a:pt x="37" y="36"/>
                      <a:pt x="45" y="41"/>
                    </a:cubicBezTo>
                    <a:cubicBezTo>
                      <a:pt x="44" y="41"/>
                      <a:pt x="44" y="41"/>
                      <a:pt x="44" y="41"/>
                    </a:cubicBezTo>
                    <a:cubicBezTo>
                      <a:pt x="43" y="41"/>
                      <a:pt x="42" y="41"/>
                      <a:pt x="42" y="41"/>
                    </a:cubicBezTo>
                    <a:cubicBezTo>
                      <a:pt x="41" y="40"/>
                      <a:pt x="40" y="39"/>
                      <a:pt x="39" y="39"/>
                    </a:cubicBezTo>
                    <a:cubicBezTo>
                      <a:pt x="37" y="41"/>
                      <a:pt x="37" y="41"/>
                      <a:pt x="35" y="40"/>
                    </a:cubicBezTo>
                    <a:cubicBezTo>
                      <a:pt x="35" y="40"/>
                      <a:pt x="34" y="41"/>
                      <a:pt x="34" y="41"/>
                    </a:cubicBezTo>
                    <a:cubicBezTo>
                      <a:pt x="35" y="43"/>
                      <a:pt x="35" y="43"/>
                      <a:pt x="37" y="45"/>
                    </a:cubicBezTo>
                    <a:cubicBezTo>
                      <a:pt x="36" y="46"/>
                      <a:pt x="36" y="47"/>
                      <a:pt x="35" y="48"/>
                    </a:cubicBezTo>
                    <a:cubicBezTo>
                      <a:pt x="27" y="44"/>
                      <a:pt x="20" y="40"/>
                      <a:pt x="12" y="34"/>
                    </a:cubicBezTo>
                    <a:cubicBezTo>
                      <a:pt x="11" y="34"/>
                      <a:pt x="11" y="34"/>
                      <a:pt x="10" y="34"/>
                    </a:cubicBezTo>
                    <a:cubicBezTo>
                      <a:pt x="9" y="34"/>
                      <a:pt x="9" y="35"/>
                      <a:pt x="9" y="35"/>
                    </a:cubicBezTo>
                    <a:cubicBezTo>
                      <a:pt x="11" y="55"/>
                      <a:pt x="20" y="44"/>
                      <a:pt x="31" y="54"/>
                    </a:cubicBezTo>
                    <a:cubicBezTo>
                      <a:pt x="27" y="58"/>
                      <a:pt x="23" y="61"/>
                      <a:pt x="20" y="64"/>
                    </a:cubicBezTo>
                    <a:cubicBezTo>
                      <a:pt x="15" y="63"/>
                      <a:pt x="6" y="55"/>
                      <a:pt x="1" y="56"/>
                    </a:cubicBezTo>
                    <a:cubicBezTo>
                      <a:pt x="1" y="56"/>
                      <a:pt x="1" y="56"/>
                      <a:pt x="0" y="57"/>
                    </a:cubicBezTo>
                    <a:cubicBezTo>
                      <a:pt x="2" y="62"/>
                      <a:pt x="7" y="67"/>
                      <a:pt x="9" y="72"/>
                    </a:cubicBezTo>
                    <a:cubicBezTo>
                      <a:pt x="17" y="75"/>
                      <a:pt x="26" y="66"/>
                      <a:pt x="35" y="58"/>
                    </a:cubicBezTo>
                    <a:cubicBezTo>
                      <a:pt x="37" y="60"/>
                      <a:pt x="39" y="63"/>
                      <a:pt x="42" y="65"/>
                    </a:cubicBezTo>
                    <a:cubicBezTo>
                      <a:pt x="46" y="63"/>
                      <a:pt x="46" y="60"/>
                      <a:pt x="46" y="57"/>
                    </a:cubicBezTo>
                    <a:cubicBezTo>
                      <a:pt x="45" y="54"/>
                      <a:pt x="43" y="53"/>
                      <a:pt x="40" y="50"/>
                    </a:cubicBezTo>
                    <a:cubicBezTo>
                      <a:pt x="41" y="49"/>
                      <a:pt x="42" y="48"/>
                      <a:pt x="42" y="48"/>
                    </a:cubicBezTo>
                    <a:cubicBezTo>
                      <a:pt x="46" y="48"/>
                      <a:pt x="49" y="48"/>
                      <a:pt x="53" y="46"/>
                    </a:cubicBezTo>
                    <a:cubicBezTo>
                      <a:pt x="56" y="49"/>
                      <a:pt x="59" y="53"/>
                      <a:pt x="62" y="57"/>
                    </a:cubicBezTo>
                    <a:cubicBezTo>
                      <a:pt x="65" y="56"/>
                      <a:pt x="68" y="55"/>
                      <a:pt x="70" y="52"/>
                    </a:cubicBezTo>
                    <a:cubicBezTo>
                      <a:pt x="72" y="47"/>
                      <a:pt x="66" y="40"/>
                      <a:pt x="61" y="35"/>
                    </a:cubicBezTo>
                    <a:cubicBezTo>
                      <a:pt x="61" y="35"/>
                      <a:pt x="61" y="35"/>
                      <a:pt x="61" y="35"/>
                    </a:cubicBezTo>
                    <a:cubicBezTo>
                      <a:pt x="62" y="34"/>
                      <a:pt x="62" y="34"/>
                      <a:pt x="62" y="34"/>
                    </a:cubicBezTo>
                    <a:cubicBezTo>
                      <a:pt x="69" y="34"/>
                      <a:pt x="72" y="37"/>
                      <a:pt x="79" y="32"/>
                    </a:cubicBezTo>
                    <a:cubicBezTo>
                      <a:pt x="83" y="17"/>
                      <a:pt x="74" y="21"/>
                      <a:pt x="66" y="16"/>
                    </a:cubicBezTo>
                    <a:close/>
                    <a:moveTo>
                      <a:pt x="63" y="44"/>
                    </a:moveTo>
                    <a:cubicBezTo>
                      <a:pt x="63" y="44"/>
                      <a:pt x="63" y="44"/>
                      <a:pt x="63" y="44"/>
                    </a:cubicBezTo>
                    <a:cubicBezTo>
                      <a:pt x="55" y="42"/>
                      <a:pt x="46" y="34"/>
                      <a:pt x="38" y="32"/>
                    </a:cubicBezTo>
                    <a:cubicBezTo>
                      <a:pt x="43" y="28"/>
                      <a:pt x="48" y="31"/>
                      <a:pt x="54" y="32"/>
                    </a:cubicBezTo>
                    <a:cubicBezTo>
                      <a:pt x="57" y="36"/>
                      <a:pt x="60" y="40"/>
                      <a:pt x="63" y="44"/>
                    </a:cubicBezTo>
                    <a:close/>
                    <a:moveTo>
                      <a:pt x="60" y="27"/>
                    </a:moveTo>
                    <a:cubicBezTo>
                      <a:pt x="60" y="27"/>
                      <a:pt x="60" y="26"/>
                      <a:pt x="59" y="26"/>
                    </a:cubicBezTo>
                    <a:cubicBezTo>
                      <a:pt x="61" y="23"/>
                      <a:pt x="63" y="20"/>
                      <a:pt x="67" y="18"/>
                    </a:cubicBezTo>
                    <a:cubicBezTo>
                      <a:pt x="69" y="19"/>
                      <a:pt x="71" y="19"/>
                      <a:pt x="74" y="20"/>
                    </a:cubicBezTo>
                    <a:cubicBezTo>
                      <a:pt x="75" y="21"/>
                      <a:pt x="76" y="22"/>
                      <a:pt x="77" y="23"/>
                    </a:cubicBezTo>
                    <a:cubicBezTo>
                      <a:pt x="77" y="24"/>
                      <a:pt x="77" y="24"/>
                      <a:pt x="77" y="25"/>
                    </a:cubicBezTo>
                    <a:cubicBezTo>
                      <a:pt x="72" y="29"/>
                      <a:pt x="66" y="27"/>
                      <a:pt x="60" y="2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299" name="ïṩḻîḓé"/>
              <p:cNvSpPr/>
              <p:nvPr/>
            </p:nvSpPr>
            <p:spPr bwMode="auto">
              <a:xfrm>
                <a:off x="2728809" y="4582115"/>
                <a:ext cx="101600" cy="147638"/>
              </a:xfrm>
              <a:custGeom>
                <a:avLst/>
                <a:gdLst>
                  <a:gd name="T0" fmla="*/ 47 w 55"/>
                  <a:gd name="T1" fmla="*/ 0 h 80"/>
                  <a:gd name="T2" fmla="*/ 49 w 55"/>
                  <a:gd name="T3" fmla="*/ 20 h 80"/>
                  <a:gd name="T4" fmla="*/ 51 w 55"/>
                  <a:gd name="T5" fmla="*/ 34 h 80"/>
                  <a:gd name="T6" fmla="*/ 28 w 55"/>
                  <a:gd name="T7" fmla="*/ 38 h 80"/>
                  <a:gd name="T8" fmla="*/ 41 w 55"/>
                  <a:gd name="T9" fmla="*/ 68 h 80"/>
                  <a:gd name="T10" fmla="*/ 25 w 55"/>
                  <a:gd name="T11" fmla="*/ 74 h 80"/>
                  <a:gd name="T12" fmla="*/ 26 w 55"/>
                  <a:gd name="T13" fmla="*/ 39 h 80"/>
                  <a:gd name="T14" fmla="*/ 23 w 55"/>
                  <a:gd name="T15" fmla="*/ 40 h 80"/>
                  <a:gd name="T16" fmla="*/ 7 w 55"/>
                  <a:gd name="T17" fmla="*/ 54 h 80"/>
                  <a:gd name="T18" fmla="*/ 0 w 55"/>
                  <a:gd name="T19" fmla="*/ 43 h 80"/>
                  <a:gd name="T20" fmla="*/ 14 w 55"/>
                  <a:gd name="T21" fmla="*/ 28 h 80"/>
                  <a:gd name="T22" fmla="*/ 6 w 55"/>
                  <a:gd name="T23" fmla="*/ 15 h 80"/>
                  <a:gd name="T24" fmla="*/ 7 w 55"/>
                  <a:gd name="T25" fmla="*/ 15 h 80"/>
                  <a:gd name="T26" fmla="*/ 26 w 55"/>
                  <a:gd name="T27" fmla="*/ 18 h 80"/>
                  <a:gd name="T28" fmla="*/ 47 w 55"/>
                  <a:gd name="T29" fmla="*/ 0 h 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55" h="80">
                    <a:moveTo>
                      <a:pt x="47" y="0"/>
                    </a:moveTo>
                    <a:cubicBezTo>
                      <a:pt x="55" y="7"/>
                      <a:pt x="49" y="11"/>
                      <a:pt x="49" y="20"/>
                    </a:cubicBezTo>
                    <a:cubicBezTo>
                      <a:pt x="49" y="25"/>
                      <a:pt x="55" y="25"/>
                      <a:pt x="51" y="34"/>
                    </a:cubicBezTo>
                    <a:cubicBezTo>
                      <a:pt x="44" y="37"/>
                      <a:pt x="34" y="32"/>
                      <a:pt x="28" y="38"/>
                    </a:cubicBezTo>
                    <a:cubicBezTo>
                      <a:pt x="38" y="44"/>
                      <a:pt x="45" y="59"/>
                      <a:pt x="41" y="68"/>
                    </a:cubicBezTo>
                    <a:cubicBezTo>
                      <a:pt x="39" y="74"/>
                      <a:pt x="28" y="80"/>
                      <a:pt x="25" y="74"/>
                    </a:cubicBezTo>
                    <a:cubicBezTo>
                      <a:pt x="19" y="62"/>
                      <a:pt x="39" y="55"/>
                      <a:pt x="26" y="39"/>
                    </a:cubicBezTo>
                    <a:cubicBezTo>
                      <a:pt x="25" y="39"/>
                      <a:pt x="25" y="39"/>
                      <a:pt x="23" y="40"/>
                    </a:cubicBezTo>
                    <a:cubicBezTo>
                      <a:pt x="17" y="44"/>
                      <a:pt x="14" y="52"/>
                      <a:pt x="7" y="54"/>
                    </a:cubicBezTo>
                    <a:cubicBezTo>
                      <a:pt x="2" y="51"/>
                      <a:pt x="2" y="48"/>
                      <a:pt x="0" y="43"/>
                    </a:cubicBezTo>
                    <a:cubicBezTo>
                      <a:pt x="3" y="39"/>
                      <a:pt x="14" y="30"/>
                      <a:pt x="14" y="28"/>
                    </a:cubicBezTo>
                    <a:cubicBezTo>
                      <a:pt x="14" y="25"/>
                      <a:pt x="7" y="19"/>
                      <a:pt x="6" y="15"/>
                    </a:cubicBezTo>
                    <a:cubicBezTo>
                      <a:pt x="6" y="15"/>
                      <a:pt x="7" y="15"/>
                      <a:pt x="7" y="15"/>
                    </a:cubicBezTo>
                    <a:cubicBezTo>
                      <a:pt x="13" y="15"/>
                      <a:pt x="20" y="18"/>
                      <a:pt x="26" y="18"/>
                    </a:cubicBezTo>
                    <a:cubicBezTo>
                      <a:pt x="34" y="17"/>
                      <a:pt x="41" y="5"/>
                      <a:pt x="47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300" name="išḷïḓe"/>
              <p:cNvSpPr/>
              <p:nvPr/>
            </p:nvSpPr>
            <p:spPr bwMode="auto">
              <a:xfrm>
                <a:off x="2490684" y="4510678"/>
                <a:ext cx="144463" cy="160338"/>
              </a:xfrm>
              <a:custGeom>
                <a:avLst/>
                <a:gdLst>
                  <a:gd name="T0" fmla="*/ 55 w 78"/>
                  <a:gd name="T1" fmla="*/ 64 h 87"/>
                  <a:gd name="T2" fmla="*/ 62 w 78"/>
                  <a:gd name="T3" fmla="*/ 50 h 87"/>
                  <a:gd name="T4" fmla="*/ 54 w 78"/>
                  <a:gd name="T5" fmla="*/ 43 h 87"/>
                  <a:gd name="T6" fmla="*/ 69 w 78"/>
                  <a:gd name="T7" fmla="*/ 29 h 87"/>
                  <a:gd name="T8" fmla="*/ 67 w 78"/>
                  <a:gd name="T9" fmla="*/ 21 h 87"/>
                  <a:gd name="T10" fmla="*/ 70 w 78"/>
                  <a:gd name="T11" fmla="*/ 11 h 87"/>
                  <a:gd name="T12" fmla="*/ 69 w 78"/>
                  <a:gd name="T13" fmla="*/ 3 h 87"/>
                  <a:gd name="T14" fmla="*/ 64 w 78"/>
                  <a:gd name="T15" fmla="*/ 0 h 87"/>
                  <a:gd name="T16" fmla="*/ 63 w 78"/>
                  <a:gd name="T17" fmla="*/ 0 h 87"/>
                  <a:gd name="T18" fmla="*/ 63 w 78"/>
                  <a:gd name="T19" fmla="*/ 12 h 87"/>
                  <a:gd name="T20" fmla="*/ 42 w 78"/>
                  <a:gd name="T21" fmla="*/ 25 h 87"/>
                  <a:gd name="T22" fmla="*/ 42 w 78"/>
                  <a:gd name="T23" fmla="*/ 33 h 87"/>
                  <a:gd name="T24" fmla="*/ 33 w 78"/>
                  <a:gd name="T25" fmla="*/ 36 h 87"/>
                  <a:gd name="T26" fmla="*/ 39 w 78"/>
                  <a:gd name="T27" fmla="*/ 33 h 87"/>
                  <a:gd name="T28" fmla="*/ 39 w 78"/>
                  <a:gd name="T29" fmla="*/ 23 h 87"/>
                  <a:gd name="T30" fmla="*/ 36 w 78"/>
                  <a:gd name="T31" fmla="*/ 0 h 87"/>
                  <a:gd name="T32" fmla="*/ 36 w 78"/>
                  <a:gd name="T33" fmla="*/ 0 h 87"/>
                  <a:gd name="T34" fmla="*/ 36 w 78"/>
                  <a:gd name="T35" fmla="*/ 8 h 87"/>
                  <a:gd name="T36" fmla="*/ 30 w 78"/>
                  <a:gd name="T37" fmla="*/ 24 h 87"/>
                  <a:gd name="T38" fmla="*/ 1 w 78"/>
                  <a:gd name="T39" fmla="*/ 29 h 87"/>
                  <a:gd name="T40" fmla="*/ 0 w 78"/>
                  <a:gd name="T41" fmla="*/ 31 h 87"/>
                  <a:gd name="T42" fmla="*/ 18 w 78"/>
                  <a:gd name="T43" fmla="*/ 39 h 87"/>
                  <a:gd name="T44" fmla="*/ 25 w 78"/>
                  <a:gd name="T45" fmla="*/ 36 h 87"/>
                  <a:gd name="T46" fmla="*/ 25 w 78"/>
                  <a:gd name="T47" fmla="*/ 36 h 87"/>
                  <a:gd name="T48" fmla="*/ 3 w 78"/>
                  <a:gd name="T49" fmla="*/ 62 h 87"/>
                  <a:gd name="T50" fmla="*/ 5 w 78"/>
                  <a:gd name="T51" fmla="*/ 67 h 87"/>
                  <a:gd name="T52" fmla="*/ 12 w 78"/>
                  <a:gd name="T53" fmla="*/ 66 h 87"/>
                  <a:gd name="T54" fmla="*/ 22 w 78"/>
                  <a:gd name="T55" fmla="*/ 74 h 87"/>
                  <a:gd name="T56" fmla="*/ 25 w 78"/>
                  <a:gd name="T57" fmla="*/ 61 h 87"/>
                  <a:gd name="T58" fmla="*/ 30 w 78"/>
                  <a:gd name="T59" fmla="*/ 49 h 87"/>
                  <a:gd name="T60" fmla="*/ 48 w 78"/>
                  <a:gd name="T61" fmla="*/ 63 h 87"/>
                  <a:gd name="T62" fmla="*/ 24 w 78"/>
                  <a:gd name="T63" fmla="*/ 71 h 87"/>
                  <a:gd name="T64" fmla="*/ 48 w 78"/>
                  <a:gd name="T65" fmla="*/ 71 h 87"/>
                  <a:gd name="T66" fmla="*/ 51 w 78"/>
                  <a:gd name="T67" fmla="*/ 69 h 87"/>
                  <a:gd name="T68" fmla="*/ 77 w 78"/>
                  <a:gd name="T69" fmla="*/ 87 h 87"/>
                  <a:gd name="T70" fmla="*/ 78 w 78"/>
                  <a:gd name="T71" fmla="*/ 86 h 87"/>
                  <a:gd name="T72" fmla="*/ 55 w 78"/>
                  <a:gd name="T73" fmla="*/ 64 h 87"/>
                  <a:gd name="T74" fmla="*/ 15 w 78"/>
                  <a:gd name="T75" fmla="*/ 64 h 87"/>
                  <a:gd name="T76" fmla="*/ 15 w 78"/>
                  <a:gd name="T77" fmla="*/ 65 h 87"/>
                  <a:gd name="T78" fmla="*/ 11 w 78"/>
                  <a:gd name="T79" fmla="*/ 63 h 87"/>
                  <a:gd name="T80" fmla="*/ 12 w 78"/>
                  <a:gd name="T81" fmla="*/ 60 h 87"/>
                  <a:gd name="T82" fmla="*/ 15 w 78"/>
                  <a:gd name="T83" fmla="*/ 57 h 87"/>
                  <a:gd name="T84" fmla="*/ 17 w 78"/>
                  <a:gd name="T85" fmla="*/ 58 h 87"/>
                  <a:gd name="T86" fmla="*/ 15 w 78"/>
                  <a:gd name="T87" fmla="*/ 64 h 87"/>
                  <a:gd name="T88" fmla="*/ 32 w 78"/>
                  <a:gd name="T89" fmla="*/ 46 h 87"/>
                  <a:gd name="T90" fmla="*/ 44 w 78"/>
                  <a:gd name="T91" fmla="*/ 34 h 87"/>
                  <a:gd name="T92" fmla="*/ 52 w 78"/>
                  <a:gd name="T93" fmla="*/ 35 h 87"/>
                  <a:gd name="T94" fmla="*/ 46 w 78"/>
                  <a:gd name="T95" fmla="*/ 50 h 87"/>
                  <a:gd name="T96" fmla="*/ 48 w 78"/>
                  <a:gd name="T97" fmla="*/ 52 h 87"/>
                  <a:gd name="T98" fmla="*/ 56 w 78"/>
                  <a:gd name="T99" fmla="*/ 50 h 87"/>
                  <a:gd name="T100" fmla="*/ 52 w 78"/>
                  <a:gd name="T101" fmla="*/ 61 h 87"/>
                  <a:gd name="T102" fmla="*/ 32 w 78"/>
                  <a:gd name="T103" fmla="*/ 46 h 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78" h="87">
                    <a:moveTo>
                      <a:pt x="55" y="64"/>
                    </a:moveTo>
                    <a:cubicBezTo>
                      <a:pt x="58" y="60"/>
                      <a:pt x="60" y="55"/>
                      <a:pt x="62" y="50"/>
                    </a:cubicBezTo>
                    <a:cubicBezTo>
                      <a:pt x="61" y="47"/>
                      <a:pt x="58" y="44"/>
                      <a:pt x="54" y="43"/>
                    </a:cubicBezTo>
                    <a:cubicBezTo>
                      <a:pt x="57" y="36"/>
                      <a:pt x="64" y="33"/>
                      <a:pt x="69" y="29"/>
                    </a:cubicBezTo>
                    <a:cubicBezTo>
                      <a:pt x="69" y="25"/>
                      <a:pt x="67" y="24"/>
                      <a:pt x="67" y="21"/>
                    </a:cubicBezTo>
                    <a:cubicBezTo>
                      <a:pt x="68" y="18"/>
                      <a:pt x="69" y="15"/>
                      <a:pt x="70" y="11"/>
                    </a:cubicBezTo>
                    <a:cubicBezTo>
                      <a:pt x="70" y="9"/>
                      <a:pt x="69" y="6"/>
                      <a:pt x="69" y="3"/>
                    </a:cubicBezTo>
                    <a:cubicBezTo>
                      <a:pt x="68" y="2"/>
                      <a:pt x="67" y="1"/>
                      <a:pt x="64" y="0"/>
                    </a:cubicBezTo>
                    <a:cubicBezTo>
                      <a:pt x="64" y="0"/>
                      <a:pt x="63" y="0"/>
                      <a:pt x="63" y="0"/>
                    </a:cubicBezTo>
                    <a:cubicBezTo>
                      <a:pt x="61" y="5"/>
                      <a:pt x="63" y="8"/>
                      <a:pt x="63" y="12"/>
                    </a:cubicBezTo>
                    <a:cubicBezTo>
                      <a:pt x="63" y="24"/>
                      <a:pt x="52" y="26"/>
                      <a:pt x="42" y="25"/>
                    </a:cubicBezTo>
                    <a:cubicBezTo>
                      <a:pt x="41" y="28"/>
                      <a:pt x="41" y="31"/>
                      <a:pt x="42" y="33"/>
                    </a:cubicBezTo>
                    <a:cubicBezTo>
                      <a:pt x="39" y="34"/>
                      <a:pt x="36" y="35"/>
                      <a:pt x="33" y="36"/>
                    </a:cubicBezTo>
                    <a:cubicBezTo>
                      <a:pt x="34" y="32"/>
                      <a:pt x="36" y="32"/>
                      <a:pt x="39" y="33"/>
                    </a:cubicBezTo>
                    <a:cubicBezTo>
                      <a:pt x="41" y="29"/>
                      <a:pt x="38" y="27"/>
                      <a:pt x="39" y="23"/>
                    </a:cubicBezTo>
                    <a:cubicBezTo>
                      <a:pt x="39" y="14"/>
                      <a:pt x="53" y="6"/>
                      <a:pt x="36" y="0"/>
                    </a:cubicBezTo>
                    <a:cubicBezTo>
                      <a:pt x="36" y="0"/>
                      <a:pt x="36" y="0"/>
                      <a:pt x="36" y="0"/>
                    </a:cubicBezTo>
                    <a:cubicBezTo>
                      <a:pt x="35" y="3"/>
                      <a:pt x="36" y="5"/>
                      <a:pt x="36" y="8"/>
                    </a:cubicBezTo>
                    <a:cubicBezTo>
                      <a:pt x="34" y="14"/>
                      <a:pt x="32" y="19"/>
                      <a:pt x="30" y="24"/>
                    </a:cubicBezTo>
                    <a:cubicBezTo>
                      <a:pt x="22" y="26"/>
                      <a:pt x="9" y="26"/>
                      <a:pt x="1" y="29"/>
                    </a:cubicBezTo>
                    <a:cubicBezTo>
                      <a:pt x="1" y="30"/>
                      <a:pt x="1" y="30"/>
                      <a:pt x="0" y="31"/>
                    </a:cubicBezTo>
                    <a:cubicBezTo>
                      <a:pt x="1" y="35"/>
                      <a:pt x="12" y="39"/>
                      <a:pt x="18" y="39"/>
                    </a:cubicBezTo>
                    <a:cubicBezTo>
                      <a:pt x="20" y="38"/>
                      <a:pt x="22" y="37"/>
                      <a:pt x="25" y="36"/>
                    </a:cubicBezTo>
                    <a:cubicBezTo>
                      <a:pt x="25" y="36"/>
                      <a:pt x="25" y="36"/>
                      <a:pt x="25" y="36"/>
                    </a:cubicBezTo>
                    <a:cubicBezTo>
                      <a:pt x="21" y="52"/>
                      <a:pt x="9" y="50"/>
                      <a:pt x="3" y="62"/>
                    </a:cubicBezTo>
                    <a:cubicBezTo>
                      <a:pt x="4" y="63"/>
                      <a:pt x="4" y="65"/>
                      <a:pt x="5" y="67"/>
                    </a:cubicBezTo>
                    <a:cubicBezTo>
                      <a:pt x="7" y="67"/>
                      <a:pt x="10" y="67"/>
                      <a:pt x="12" y="66"/>
                    </a:cubicBezTo>
                    <a:cubicBezTo>
                      <a:pt x="17" y="68"/>
                      <a:pt x="17" y="72"/>
                      <a:pt x="22" y="74"/>
                    </a:cubicBezTo>
                    <a:cubicBezTo>
                      <a:pt x="25" y="71"/>
                      <a:pt x="24" y="66"/>
                      <a:pt x="25" y="61"/>
                    </a:cubicBezTo>
                    <a:cubicBezTo>
                      <a:pt x="25" y="56"/>
                      <a:pt x="28" y="52"/>
                      <a:pt x="30" y="49"/>
                    </a:cubicBezTo>
                    <a:cubicBezTo>
                      <a:pt x="40" y="53"/>
                      <a:pt x="42" y="58"/>
                      <a:pt x="48" y="63"/>
                    </a:cubicBezTo>
                    <a:cubicBezTo>
                      <a:pt x="44" y="74"/>
                      <a:pt x="29" y="63"/>
                      <a:pt x="24" y="71"/>
                    </a:cubicBezTo>
                    <a:cubicBezTo>
                      <a:pt x="39" y="78"/>
                      <a:pt x="36" y="74"/>
                      <a:pt x="48" y="71"/>
                    </a:cubicBezTo>
                    <a:cubicBezTo>
                      <a:pt x="49" y="70"/>
                      <a:pt x="50" y="70"/>
                      <a:pt x="51" y="69"/>
                    </a:cubicBezTo>
                    <a:cubicBezTo>
                      <a:pt x="58" y="79"/>
                      <a:pt x="58" y="87"/>
                      <a:pt x="77" y="87"/>
                    </a:cubicBezTo>
                    <a:cubicBezTo>
                      <a:pt x="77" y="87"/>
                      <a:pt x="78" y="86"/>
                      <a:pt x="78" y="86"/>
                    </a:cubicBezTo>
                    <a:cubicBezTo>
                      <a:pt x="74" y="76"/>
                      <a:pt x="60" y="73"/>
                      <a:pt x="55" y="64"/>
                    </a:cubicBezTo>
                    <a:close/>
                    <a:moveTo>
                      <a:pt x="15" y="64"/>
                    </a:moveTo>
                    <a:cubicBezTo>
                      <a:pt x="15" y="65"/>
                      <a:pt x="15" y="65"/>
                      <a:pt x="15" y="65"/>
                    </a:cubicBezTo>
                    <a:cubicBezTo>
                      <a:pt x="14" y="64"/>
                      <a:pt x="13" y="64"/>
                      <a:pt x="11" y="63"/>
                    </a:cubicBezTo>
                    <a:cubicBezTo>
                      <a:pt x="11" y="62"/>
                      <a:pt x="12" y="61"/>
                      <a:pt x="12" y="60"/>
                    </a:cubicBezTo>
                    <a:cubicBezTo>
                      <a:pt x="13" y="59"/>
                      <a:pt x="14" y="58"/>
                      <a:pt x="15" y="57"/>
                    </a:cubicBezTo>
                    <a:cubicBezTo>
                      <a:pt x="16" y="57"/>
                      <a:pt x="16" y="58"/>
                      <a:pt x="17" y="58"/>
                    </a:cubicBezTo>
                    <a:cubicBezTo>
                      <a:pt x="16" y="60"/>
                      <a:pt x="16" y="62"/>
                      <a:pt x="15" y="64"/>
                    </a:cubicBezTo>
                    <a:close/>
                    <a:moveTo>
                      <a:pt x="32" y="46"/>
                    </a:moveTo>
                    <a:cubicBezTo>
                      <a:pt x="35" y="43"/>
                      <a:pt x="44" y="37"/>
                      <a:pt x="44" y="34"/>
                    </a:cubicBezTo>
                    <a:cubicBezTo>
                      <a:pt x="47" y="34"/>
                      <a:pt x="49" y="35"/>
                      <a:pt x="52" y="35"/>
                    </a:cubicBezTo>
                    <a:cubicBezTo>
                      <a:pt x="50" y="40"/>
                      <a:pt x="45" y="44"/>
                      <a:pt x="46" y="50"/>
                    </a:cubicBezTo>
                    <a:cubicBezTo>
                      <a:pt x="46" y="51"/>
                      <a:pt x="47" y="51"/>
                      <a:pt x="48" y="52"/>
                    </a:cubicBezTo>
                    <a:cubicBezTo>
                      <a:pt x="50" y="51"/>
                      <a:pt x="53" y="49"/>
                      <a:pt x="56" y="50"/>
                    </a:cubicBezTo>
                    <a:cubicBezTo>
                      <a:pt x="55" y="54"/>
                      <a:pt x="53" y="57"/>
                      <a:pt x="52" y="61"/>
                    </a:cubicBezTo>
                    <a:cubicBezTo>
                      <a:pt x="45" y="56"/>
                      <a:pt x="44" y="49"/>
                      <a:pt x="32" y="4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301" name="ï$ľíḍe"/>
              <p:cNvSpPr/>
              <p:nvPr/>
            </p:nvSpPr>
            <p:spPr bwMode="auto">
              <a:xfrm>
                <a:off x="2255734" y="4491628"/>
                <a:ext cx="136525" cy="174625"/>
              </a:xfrm>
              <a:custGeom>
                <a:avLst/>
                <a:gdLst>
                  <a:gd name="T0" fmla="*/ 74 w 74"/>
                  <a:gd name="T1" fmla="*/ 41 h 94"/>
                  <a:gd name="T2" fmla="*/ 64 w 74"/>
                  <a:gd name="T3" fmla="*/ 35 h 94"/>
                  <a:gd name="T4" fmla="*/ 51 w 74"/>
                  <a:gd name="T5" fmla="*/ 5 h 94"/>
                  <a:gd name="T6" fmla="*/ 58 w 74"/>
                  <a:gd name="T7" fmla="*/ 39 h 94"/>
                  <a:gd name="T8" fmla="*/ 47 w 74"/>
                  <a:gd name="T9" fmla="*/ 47 h 94"/>
                  <a:gd name="T10" fmla="*/ 55 w 74"/>
                  <a:gd name="T11" fmla="*/ 34 h 94"/>
                  <a:gd name="T12" fmla="*/ 47 w 74"/>
                  <a:gd name="T13" fmla="*/ 29 h 94"/>
                  <a:gd name="T14" fmla="*/ 54 w 74"/>
                  <a:gd name="T15" fmla="*/ 22 h 94"/>
                  <a:gd name="T16" fmla="*/ 54 w 74"/>
                  <a:gd name="T17" fmla="*/ 20 h 94"/>
                  <a:gd name="T18" fmla="*/ 54 w 74"/>
                  <a:gd name="T19" fmla="*/ 19 h 94"/>
                  <a:gd name="T20" fmla="*/ 41 w 74"/>
                  <a:gd name="T21" fmla="*/ 19 h 94"/>
                  <a:gd name="T22" fmla="*/ 44 w 74"/>
                  <a:gd name="T23" fmla="*/ 22 h 94"/>
                  <a:gd name="T24" fmla="*/ 44 w 74"/>
                  <a:gd name="T25" fmla="*/ 32 h 94"/>
                  <a:gd name="T26" fmla="*/ 48 w 74"/>
                  <a:gd name="T27" fmla="*/ 37 h 94"/>
                  <a:gd name="T28" fmla="*/ 40 w 74"/>
                  <a:gd name="T29" fmla="*/ 58 h 94"/>
                  <a:gd name="T30" fmla="*/ 44 w 74"/>
                  <a:gd name="T31" fmla="*/ 61 h 94"/>
                  <a:gd name="T32" fmla="*/ 59 w 74"/>
                  <a:gd name="T33" fmla="*/ 46 h 94"/>
                  <a:gd name="T34" fmla="*/ 59 w 74"/>
                  <a:gd name="T35" fmla="*/ 46 h 94"/>
                  <a:gd name="T36" fmla="*/ 66 w 74"/>
                  <a:gd name="T37" fmla="*/ 93 h 94"/>
                  <a:gd name="T38" fmla="*/ 68 w 74"/>
                  <a:gd name="T39" fmla="*/ 93 h 94"/>
                  <a:gd name="T40" fmla="*/ 65 w 74"/>
                  <a:gd name="T41" fmla="*/ 42 h 94"/>
                  <a:gd name="T42" fmla="*/ 73 w 74"/>
                  <a:gd name="T43" fmla="*/ 41 h 94"/>
                  <a:gd name="T44" fmla="*/ 74 w 74"/>
                  <a:gd name="T45" fmla="*/ 41 h 94"/>
                  <a:gd name="T46" fmla="*/ 43 w 74"/>
                  <a:gd name="T47" fmla="*/ 42 h 94"/>
                  <a:gd name="T48" fmla="*/ 35 w 74"/>
                  <a:gd name="T49" fmla="*/ 48 h 94"/>
                  <a:gd name="T50" fmla="*/ 39 w 74"/>
                  <a:gd name="T51" fmla="*/ 38 h 94"/>
                  <a:gd name="T52" fmla="*/ 37 w 74"/>
                  <a:gd name="T53" fmla="*/ 29 h 94"/>
                  <a:gd name="T54" fmla="*/ 40 w 74"/>
                  <a:gd name="T55" fmla="*/ 27 h 94"/>
                  <a:gd name="T56" fmla="*/ 34 w 74"/>
                  <a:gd name="T57" fmla="*/ 16 h 94"/>
                  <a:gd name="T58" fmla="*/ 32 w 74"/>
                  <a:gd name="T59" fmla="*/ 15 h 94"/>
                  <a:gd name="T60" fmla="*/ 4 w 74"/>
                  <a:gd name="T61" fmla="*/ 46 h 94"/>
                  <a:gd name="T62" fmla="*/ 30 w 74"/>
                  <a:gd name="T63" fmla="*/ 29 h 94"/>
                  <a:gd name="T64" fmla="*/ 8 w 74"/>
                  <a:gd name="T65" fmla="*/ 52 h 94"/>
                  <a:gd name="T66" fmla="*/ 0 w 74"/>
                  <a:gd name="T67" fmla="*/ 56 h 94"/>
                  <a:gd name="T68" fmla="*/ 3 w 74"/>
                  <a:gd name="T69" fmla="*/ 61 h 94"/>
                  <a:gd name="T70" fmla="*/ 23 w 74"/>
                  <a:gd name="T71" fmla="*/ 54 h 94"/>
                  <a:gd name="T72" fmla="*/ 25 w 74"/>
                  <a:gd name="T73" fmla="*/ 53 h 94"/>
                  <a:gd name="T74" fmla="*/ 25 w 74"/>
                  <a:gd name="T75" fmla="*/ 53 h 94"/>
                  <a:gd name="T76" fmla="*/ 20 w 74"/>
                  <a:gd name="T77" fmla="*/ 72 h 94"/>
                  <a:gd name="T78" fmla="*/ 25 w 74"/>
                  <a:gd name="T79" fmla="*/ 76 h 94"/>
                  <a:gd name="T80" fmla="*/ 26 w 74"/>
                  <a:gd name="T81" fmla="*/ 76 h 94"/>
                  <a:gd name="T82" fmla="*/ 30 w 74"/>
                  <a:gd name="T83" fmla="*/ 67 h 94"/>
                  <a:gd name="T84" fmla="*/ 31 w 74"/>
                  <a:gd name="T85" fmla="*/ 66 h 94"/>
                  <a:gd name="T86" fmla="*/ 32 w 74"/>
                  <a:gd name="T87" fmla="*/ 75 h 94"/>
                  <a:gd name="T88" fmla="*/ 35 w 74"/>
                  <a:gd name="T89" fmla="*/ 76 h 94"/>
                  <a:gd name="T90" fmla="*/ 38 w 74"/>
                  <a:gd name="T91" fmla="*/ 76 h 94"/>
                  <a:gd name="T92" fmla="*/ 35 w 74"/>
                  <a:gd name="T93" fmla="*/ 61 h 94"/>
                  <a:gd name="T94" fmla="*/ 43 w 74"/>
                  <a:gd name="T95" fmla="*/ 42 h 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74" h="94">
                    <a:moveTo>
                      <a:pt x="74" y="41"/>
                    </a:moveTo>
                    <a:cubicBezTo>
                      <a:pt x="73" y="36"/>
                      <a:pt x="70" y="34"/>
                      <a:pt x="64" y="35"/>
                    </a:cubicBezTo>
                    <a:cubicBezTo>
                      <a:pt x="63" y="24"/>
                      <a:pt x="67" y="0"/>
                      <a:pt x="51" y="5"/>
                    </a:cubicBezTo>
                    <a:cubicBezTo>
                      <a:pt x="50" y="9"/>
                      <a:pt x="61" y="31"/>
                      <a:pt x="58" y="39"/>
                    </a:cubicBezTo>
                    <a:cubicBezTo>
                      <a:pt x="58" y="39"/>
                      <a:pt x="47" y="47"/>
                      <a:pt x="47" y="47"/>
                    </a:cubicBezTo>
                    <a:cubicBezTo>
                      <a:pt x="48" y="41"/>
                      <a:pt x="53" y="39"/>
                      <a:pt x="55" y="34"/>
                    </a:cubicBezTo>
                    <a:cubicBezTo>
                      <a:pt x="56" y="30"/>
                      <a:pt x="49" y="31"/>
                      <a:pt x="47" y="29"/>
                    </a:cubicBezTo>
                    <a:cubicBezTo>
                      <a:pt x="48" y="26"/>
                      <a:pt x="51" y="23"/>
                      <a:pt x="54" y="22"/>
                    </a:cubicBezTo>
                    <a:cubicBezTo>
                      <a:pt x="54" y="21"/>
                      <a:pt x="54" y="21"/>
                      <a:pt x="54" y="20"/>
                    </a:cubicBezTo>
                    <a:cubicBezTo>
                      <a:pt x="54" y="20"/>
                      <a:pt x="54" y="19"/>
                      <a:pt x="54" y="19"/>
                    </a:cubicBezTo>
                    <a:cubicBezTo>
                      <a:pt x="50" y="17"/>
                      <a:pt x="45" y="17"/>
                      <a:pt x="41" y="19"/>
                    </a:cubicBezTo>
                    <a:cubicBezTo>
                      <a:pt x="41" y="22"/>
                      <a:pt x="42" y="22"/>
                      <a:pt x="44" y="22"/>
                    </a:cubicBezTo>
                    <a:cubicBezTo>
                      <a:pt x="44" y="26"/>
                      <a:pt x="44" y="29"/>
                      <a:pt x="44" y="32"/>
                    </a:cubicBezTo>
                    <a:cubicBezTo>
                      <a:pt x="45" y="34"/>
                      <a:pt x="47" y="35"/>
                      <a:pt x="48" y="37"/>
                    </a:cubicBezTo>
                    <a:cubicBezTo>
                      <a:pt x="46" y="41"/>
                      <a:pt x="35" y="51"/>
                      <a:pt x="40" y="58"/>
                    </a:cubicBezTo>
                    <a:cubicBezTo>
                      <a:pt x="41" y="60"/>
                      <a:pt x="42" y="60"/>
                      <a:pt x="44" y="61"/>
                    </a:cubicBezTo>
                    <a:cubicBezTo>
                      <a:pt x="49" y="55"/>
                      <a:pt x="51" y="50"/>
                      <a:pt x="59" y="46"/>
                    </a:cubicBezTo>
                    <a:cubicBezTo>
                      <a:pt x="59" y="46"/>
                      <a:pt x="59" y="46"/>
                      <a:pt x="59" y="46"/>
                    </a:cubicBezTo>
                    <a:cubicBezTo>
                      <a:pt x="61" y="60"/>
                      <a:pt x="59" y="83"/>
                      <a:pt x="66" y="93"/>
                    </a:cubicBezTo>
                    <a:cubicBezTo>
                      <a:pt x="67" y="94"/>
                      <a:pt x="67" y="93"/>
                      <a:pt x="68" y="93"/>
                    </a:cubicBezTo>
                    <a:cubicBezTo>
                      <a:pt x="68" y="78"/>
                      <a:pt x="67" y="60"/>
                      <a:pt x="65" y="42"/>
                    </a:cubicBezTo>
                    <a:cubicBezTo>
                      <a:pt x="68" y="42"/>
                      <a:pt x="72" y="42"/>
                      <a:pt x="73" y="41"/>
                    </a:cubicBezTo>
                    <a:cubicBezTo>
                      <a:pt x="74" y="41"/>
                      <a:pt x="74" y="41"/>
                      <a:pt x="74" y="41"/>
                    </a:cubicBezTo>
                    <a:close/>
                    <a:moveTo>
                      <a:pt x="43" y="42"/>
                    </a:moveTo>
                    <a:cubicBezTo>
                      <a:pt x="39" y="44"/>
                      <a:pt x="38" y="46"/>
                      <a:pt x="35" y="48"/>
                    </a:cubicBezTo>
                    <a:cubicBezTo>
                      <a:pt x="35" y="42"/>
                      <a:pt x="39" y="42"/>
                      <a:pt x="39" y="38"/>
                    </a:cubicBezTo>
                    <a:cubicBezTo>
                      <a:pt x="40" y="35"/>
                      <a:pt x="37" y="33"/>
                      <a:pt x="37" y="29"/>
                    </a:cubicBezTo>
                    <a:cubicBezTo>
                      <a:pt x="38" y="28"/>
                      <a:pt x="39" y="28"/>
                      <a:pt x="40" y="27"/>
                    </a:cubicBezTo>
                    <a:cubicBezTo>
                      <a:pt x="41" y="24"/>
                      <a:pt x="36" y="16"/>
                      <a:pt x="34" y="16"/>
                    </a:cubicBezTo>
                    <a:cubicBezTo>
                      <a:pt x="33" y="16"/>
                      <a:pt x="32" y="15"/>
                      <a:pt x="32" y="15"/>
                    </a:cubicBezTo>
                    <a:cubicBezTo>
                      <a:pt x="22" y="28"/>
                      <a:pt x="10" y="30"/>
                      <a:pt x="4" y="46"/>
                    </a:cubicBezTo>
                    <a:cubicBezTo>
                      <a:pt x="13" y="41"/>
                      <a:pt x="17" y="31"/>
                      <a:pt x="30" y="29"/>
                    </a:cubicBezTo>
                    <a:cubicBezTo>
                      <a:pt x="29" y="39"/>
                      <a:pt x="16" y="48"/>
                      <a:pt x="8" y="52"/>
                    </a:cubicBezTo>
                    <a:cubicBezTo>
                      <a:pt x="4" y="54"/>
                      <a:pt x="2" y="52"/>
                      <a:pt x="0" y="56"/>
                    </a:cubicBezTo>
                    <a:cubicBezTo>
                      <a:pt x="0" y="59"/>
                      <a:pt x="1" y="60"/>
                      <a:pt x="3" y="61"/>
                    </a:cubicBezTo>
                    <a:cubicBezTo>
                      <a:pt x="10" y="63"/>
                      <a:pt x="22" y="58"/>
                      <a:pt x="23" y="54"/>
                    </a:cubicBezTo>
                    <a:cubicBezTo>
                      <a:pt x="24" y="54"/>
                      <a:pt x="24" y="53"/>
                      <a:pt x="25" y="53"/>
                    </a:cubicBezTo>
                    <a:cubicBezTo>
                      <a:pt x="25" y="53"/>
                      <a:pt x="25" y="53"/>
                      <a:pt x="25" y="53"/>
                    </a:cubicBezTo>
                    <a:cubicBezTo>
                      <a:pt x="23" y="59"/>
                      <a:pt x="22" y="66"/>
                      <a:pt x="20" y="72"/>
                    </a:cubicBezTo>
                    <a:cubicBezTo>
                      <a:pt x="21" y="74"/>
                      <a:pt x="23" y="75"/>
                      <a:pt x="25" y="76"/>
                    </a:cubicBezTo>
                    <a:cubicBezTo>
                      <a:pt x="25" y="76"/>
                      <a:pt x="26" y="76"/>
                      <a:pt x="26" y="76"/>
                    </a:cubicBezTo>
                    <a:cubicBezTo>
                      <a:pt x="28" y="73"/>
                      <a:pt x="29" y="70"/>
                      <a:pt x="30" y="67"/>
                    </a:cubicBezTo>
                    <a:cubicBezTo>
                      <a:pt x="31" y="67"/>
                      <a:pt x="31" y="67"/>
                      <a:pt x="31" y="66"/>
                    </a:cubicBezTo>
                    <a:cubicBezTo>
                      <a:pt x="32" y="69"/>
                      <a:pt x="32" y="72"/>
                      <a:pt x="32" y="75"/>
                    </a:cubicBezTo>
                    <a:cubicBezTo>
                      <a:pt x="33" y="75"/>
                      <a:pt x="34" y="76"/>
                      <a:pt x="35" y="76"/>
                    </a:cubicBezTo>
                    <a:cubicBezTo>
                      <a:pt x="36" y="76"/>
                      <a:pt x="37" y="76"/>
                      <a:pt x="38" y="76"/>
                    </a:cubicBezTo>
                    <a:cubicBezTo>
                      <a:pt x="37" y="71"/>
                      <a:pt x="36" y="66"/>
                      <a:pt x="35" y="61"/>
                    </a:cubicBezTo>
                    <a:cubicBezTo>
                      <a:pt x="38" y="54"/>
                      <a:pt x="40" y="48"/>
                      <a:pt x="43" y="4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302" name="î$ḻîḑe"/>
              <p:cNvSpPr/>
              <p:nvPr/>
            </p:nvSpPr>
            <p:spPr bwMode="auto">
              <a:xfrm>
                <a:off x="2055709" y="4566240"/>
                <a:ext cx="136525" cy="150813"/>
              </a:xfrm>
              <a:custGeom>
                <a:avLst/>
                <a:gdLst>
                  <a:gd name="T0" fmla="*/ 55 w 74"/>
                  <a:gd name="T1" fmla="*/ 53 h 82"/>
                  <a:gd name="T2" fmla="*/ 54 w 74"/>
                  <a:gd name="T3" fmla="*/ 51 h 82"/>
                  <a:gd name="T4" fmla="*/ 57 w 74"/>
                  <a:gd name="T5" fmla="*/ 49 h 82"/>
                  <a:gd name="T6" fmla="*/ 56 w 74"/>
                  <a:gd name="T7" fmla="*/ 45 h 82"/>
                  <a:gd name="T8" fmla="*/ 52 w 74"/>
                  <a:gd name="T9" fmla="*/ 45 h 82"/>
                  <a:gd name="T10" fmla="*/ 51 w 74"/>
                  <a:gd name="T11" fmla="*/ 44 h 82"/>
                  <a:gd name="T12" fmla="*/ 60 w 74"/>
                  <a:gd name="T13" fmla="*/ 32 h 82"/>
                  <a:gd name="T14" fmla="*/ 60 w 74"/>
                  <a:gd name="T15" fmla="*/ 30 h 82"/>
                  <a:gd name="T16" fmla="*/ 34 w 74"/>
                  <a:gd name="T17" fmla="*/ 38 h 82"/>
                  <a:gd name="T18" fmla="*/ 33 w 74"/>
                  <a:gd name="T19" fmla="*/ 38 h 82"/>
                  <a:gd name="T20" fmla="*/ 60 w 74"/>
                  <a:gd name="T21" fmla="*/ 16 h 82"/>
                  <a:gd name="T22" fmla="*/ 61 w 74"/>
                  <a:gd name="T23" fmla="*/ 10 h 82"/>
                  <a:gd name="T24" fmla="*/ 42 w 74"/>
                  <a:gd name="T25" fmla="*/ 11 h 82"/>
                  <a:gd name="T26" fmla="*/ 27 w 74"/>
                  <a:gd name="T27" fmla="*/ 0 h 82"/>
                  <a:gd name="T28" fmla="*/ 24 w 74"/>
                  <a:gd name="T29" fmla="*/ 0 h 82"/>
                  <a:gd name="T30" fmla="*/ 29 w 74"/>
                  <a:gd name="T31" fmla="*/ 21 h 82"/>
                  <a:gd name="T32" fmla="*/ 11 w 74"/>
                  <a:gd name="T33" fmla="*/ 39 h 82"/>
                  <a:gd name="T34" fmla="*/ 1 w 74"/>
                  <a:gd name="T35" fmla="*/ 44 h 82"/>
                  <a:gd name="T36" fmla="*/ 0 w 74"/>
                  <a:gd name="T37" fmla="*/ 47 h 82"/>
                  <a:gd name="T38" fmla="*/ 35 w 74"/>
                  <a:gd name="T39" fmla="*/ 26 h 82"/>
                  <a:gd name="T40" fmla="*/ 35 w 74"/>
                  <a:gd name="T41" fmla="*/ 26 h 82"/>
                  <a:gd name="T42" fmla="*/ 30 w 74"/>
                  <a:gd name="T43" fmla="*/ 48 h 82"/>
                  <a:gd name="T44" fmla="*/ 40 w 74"/>
                  <a:gd name="T45" fmla="*/ 57 h 82"/>
                  <a:gd name="T46" fmla="*/ 35 w 74"/>
                  <a:gd name="T47" fmla="*/ 78 h 82"/>
                  <a:gd name="T48" fmla="*/ 45 w 74"/>
                  <a:gd name="T49" fmla="*/ 82 h 82"/>
                  <a:gd name="T50" fmla="*/ 47 w 74"/>
                  <a:gd name="T51" fmla="*/ 80 h 82"/>
                  <a:gd name="T52" fmla="*/ 46 w 74"/>
                  <a:gd name="T53" fmla="*/ 67 h 82"/>
                  <a:gd name="T54" fmla="*/ 47 w 74"/>
                  <a:gd name="T55" fmla="*/ 66 h 82"/>
                  <a:gd name="T56" fmla="*/ 50 w 74"/>
                  <a:gd name="T57" fmla="*/ 73 h 82"/>
                  <a:gd name="T58" fmla="*/ 58 w 74"/>
                  <a:gd name="T59" fmla="*/ 79 h 82"/>
                  <a:gd name="T60" fmla="*/ 59 w 74"/>
                  <a:gd name="T61" fmla="*/ 79 h 82"/>
                  <a:gd name="T62" fmla="*/ 53 w 74"/>
                  <a:gd name="T63" fmla="*/ 57 h 82"/>
                  <a:gd name="T64" fmla="*/ 56 w 74"/>
                  <a:gd name="T65" fmla="*/ 55 h 82"/>
                  <a:gd name="T66" fmla="*/ 56 w 74"/>
                  <a:gd name="T67" fmla="*/ 55 h 82"/>
                  <a:gd name="T68" fmla="*/ 69 w 74"/>
                  <a:gd name="T69" fmla="*/ 69 h 82"/>
                  <a:gd name="T70" fmla="*/ 74 w 74"/>
                  <a:gd name="T71" fmla="*/ 64 h 82"/>
                  <a:gd name="T72" fmla="*/ 55 w 74"/>
                  <a:gd name="T73" fmla="*/ 53 h 82"/>
                  <a:gd name="T74" fmla="*/ 40 w 74"/>
                  <a:gd name="T75" fmla="*/ 46 h 82"/>
                  <a:gd name="T76" fmla="*/ 39 w 74"/>
                  <a:gd name="T77" fmla="*/ 46 h 82"/>
                  <a:gd name="T78" fmla="*/ 38 w 74"/>
                  <a:gd name="T79" fmla="*/ 46 h 82"/>
                  <a:gd name="T80" fmla="*/ 37 w 74"/>
                  <a:gd name="T81" fmla="*/ 44 h 82"/>
                  <a:gd name="T82" fmla="*/ 44 w 74"/>
                  <a:gd name="T83" fmla="*/ 36 h 82"/>
                  <a:gd name="T84" fmla="*/ 46 w 74"/>
                  <a:gd name="T85" fmla="*/ 35 h 82"/>
                  <a:gd name="T86" fmla="*/ 46 w 74"/>
                  <a:gd name="T87" fmla="*/ 35 h 82"/>
                  <a:gd name="T88" fmla="*/ 40 w 74"/>
                  <a:gd name="T89" fmla="*/ 46 h 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74" h="82">
                    <a:moveTo>
                      <a:pt x="55" y="53"/>
                    </a:moveTo>
                    <a:cubicBezTo>
                      <a:pt x="55" y="53"/>
                      <a:pt x="54" y="52"/>
                      <a:pt x="54" y="51"/>
                    </a:cubicBezTo>
                    <a:cubicBezTo>
                      <a:pt x="55" y="51"/>
                      <a:pt x="56" y="50"/>
                      <a:pt x="57" y="49"/>
                    </a:cubicBezTo>
                    <a:cubicBezTo>
                      <a:pt x="57" y="48"/>
                      <a:pt x="56" y="47"/>
                      <a:pt x="56" y="45"/>
                    </a:cubicBezTo>
                    <a:cubicBezTo>
                      <a:pt x="54" y="45"/>
                      <a:pt x="53" y="45"/>
                      <a:pt x="52" y="45"/>
                    </a:cubicBezTo>
                    <a:cubicBezTo>
                      <a:pt x="51" y="45"/>
                      <a:pt x="51" y="44"/>
                      <a:pt x="51" y="44"/>
                    </a:cubicBezTo>
                    <a:cubicBezTo>
                      <a:pt x="53" y="40"/>
                      <a:pt x="59" y="36"/>
                      <a:pt x="60" y="32"/>
                    </a:cubicBezTo>
                    <a:cubicBezTo>
                      <a:pt x="60" y="31"/>
                      <a:pt x="60" y="31"/>
                      <a:pt x="60" y="30"/>
                    </a:cubicBezTo>
                    <a:cubicBezTo>
                      <a:pt x="50" y="21"/>
                      <a:pt x="41" y="31"/>
                      <a:pt x="34" y="38"/>
                    </a:cubicBezTo>
                    <a:cubicBezTo>
                      <a:pt x="33" y="38"/>
                      <a:pt x="33" y="38"/>
                      <a:pt x="33" y="38"/>
                    </a:cubicBezTo>
                    <a:cubicBezTo>
                      <a:pt x="34" y="30"/>
                      <a:pt x="48" y="16"/>
                      <a:pt x="60" y="16"/>
                    </a:cubicBezTo>
                    <a:cubicBezTo>
                      <a:pt x="61" y="14"/>
                      <a:pt x="61" y="12"/>
                      <a:pt x="61" y="10"/>
                    </a:cubicBezTo>
                    <a:cubicBezTo>
                      <a:pt x="50" y="3"/>
                      <a:pt x="52" y="11"/>
                      <a:pt x="42" y="11"/>
                    </a:cubicBezTo>
                    <a:cubicBezTo>
                      <a:pt x="38" y="10"/>
                      <a:pt x="32" y="1"/>
                      <a:pt x="27" y="0"/>
                    </a:cubicBezTo>
                    <a:cubicBezTo>
                      <a:pt x="26" y="0"/>
                      <a:pt x="25" y="0"/>
                      <a:pt x="24" y="0"/>
                    </a:cubicBezTo>
                    <a:cubicBezTo>
                      <a:pt x="21" y="5"/>
                      <a:pt x="30" y="14"/>
                      <a:pt x="29" y="21"/>
                    </a:cubicBezTo>
                    <a:cubicBezTo>
                      <a:pt x="19" y="27"/>
                      <a:pt x="17" y="33"/>
                      <a:pt x="11" y="39"/>
                    </a:cubicBezTo>
                    <a:cubicBezTo>
                      <a:pt x="8" y="42"/>
                      <a:pt x="4" y="42"/>
                      <a:pt x="1" y="44"/>
                    </a:cubicBezTo>
                    <a:cubicBezTo>
                      <a:pt x="1" y="45"/>
                      <a:pt x="0" y="46"/>
                      <a:pt x="0" y="47"/>
                    </a:cubicBezTo>
                    <a:cubicBezTo>
                      <a:pt x="11" y="69"/>
                      <a:pt x="23" y="30"/>
                      <a:pt x="35" y="26"/>
                    </a:cubicBezTo>
                    <a:cubicBezTo>
                      <a:pt x="35" y="26"/>
                      <a:pt x="35" y="26"/>
                      <a:pt x="35" y="26"/>
                    </a:cubicBezTo>
                    <a:cubicBezTo>
                      <a:pt x="33" y="33"/>
                      <a:pt x="28" y="39"/>
                      <a:pt x="30" y="48"/>
                    </a:cubicBezTo>
                    <a:cubicBezTo>
                      <a:pt x="30" y="51"/>
                      <a:pt x="37" y="56"/>
                      <a:pt x="40" y="57"/>
                    </a:cubicBezTo>
                    <a:cubicBezTo>
                      <a:pt x="37" y="64"/>
                      <a:pt x="32" y="69"/>
                      <a:pt x="35" y="78"/>
                    </a:cubicBezTo>
                    <a:cubicBezTo>
                      <a:pt x="39" y="79"/>
                      <a:pt x="42" y="80"/>
                      <a:pt x="45" y="82"/>
                    </a:cubicBezTo>
                    <a:cubicBezTo>
                      <a:pt x="46" y="81"/>
                      <a:pt x="46" y="81"/>
                      <a:pt x="47" y="80"/>
                    </a:cubicBezTo>
                    <a:cubicBezTo>
                      <a:pt x="49" y="77"/>
                      <a:pt x="45" y="70"/>
                      <a:pt x="46" y="67"/>
                    </a:cubicBezTo>
                    <a:cubicBezTo>
                      <a:pt x="46" y="66"/>
                      <a:pt x="46" y="66"/>
                      <a:pt x="47" y="66"/>
                    </a:cubicBezTo>
                    <a:cubicBezTo>
                      <a:pt x="48" y="67"/>
                      <a:pt x="49" y="71"/>
                      <a:pt x="50" y="73"/>
                    </a:cubicBezTo>
                    <a:cubicBezTo>
                      <a:pt x="52" y="76"/>
                      <a:pt x="55" y="77"/>
                      <a:pt x="58" y="79"/>
                    </a:cubicBezTo>
                    <a:cubicBezTo>
                      <a:pt x="58" y="79"/>
                      <a:pt x="58" y="79"/>
                      <a:pt x="59" y="79"/>
                    </a:cubicBezTo>
                    <a:cubicBezTo>
                      <a:pt x="60" y="72"/>
                      <a:pt x="53" y="64"/>
                      <a:pt x="53" y="57"/>
                    </a:cubicBezTo>
                    <a:cubicBezTo>
                      <a:pt x="54" y="56"/>
                      <a:pt x="55" y="56"/>
                      <a:pt x="56" y="55"/>
                    </a:cubicBezTo>
                    <a:cubicBezTo>
                      <a:pt x="56" y="55"/>
                      <a:pt x="56" y="55"/>
                      <a:pt x="56" y="55"/>
                    </a:cubicBezTo>
                    <a:cubicBezTo>
                      <a:pt x="63" y="60"/>
                      <a:pt x="59" y="67"/>
                      <a:pt x="69" y="69"/>
                    </a:cubicBezTo>
                    <a:cubicBezTo>
                      <a:pt x="71" y="67"/>
                      <a:pt x="72" y="66"/>
                      <a:pt x="74" y="64"/>
                    </a:cubicBezTo>
                    <a:cubicBezTo>
                      <a:pt x="71" y="56"/>
                      <a:pt x="63" y="51"/>
                      <a:pt x="55" y="53"/>
                    </a:cubicBezTo>
                    <a:close/>
                    <a:moveTo>
                      <a:pt x="40" y="46"/>
                    </a:moveTo>
                    <a:cubicBezTo>
                      <a:pt x="40" y="46"/>
                      <a:pt x="39" y="46"/>
                      <a:pt x="39" y="46"/>
                    </a:cubicBezTo>
                    <a:cubicBezTo>
                      <a:pt x="38" y="46"/>
                      <a:pt x="38" y="46"/>
                      <a:pt x="38" y="46"/>
                    </a:cubicBezTo>
                    <a:cubicBezTo>
                      <a:pt x="38" y="45"/>
                      <a:pt x="37" y="45"/>
                      <a:pt x="37" y="44"/>
                    </a:cubicBezTo>
                    <a:cubicBezTo>
                      <a:pt x="39" y="41"/>
                      <a:pt x="42" y="39"/>
                      <a:pt x="44" y="36"/>
                    </a:cubicBezTo>
                    <a:cubicBezTo>
                      <a:pt x="45" y="36"/>
                      <a:pt x="45" y="35"/>
                      <a:pt x="46" y="35"/>
                    </a:cubicBezTo>
                    <a:cubicBezTo>
                      <a:pt x="46" y="35"/>
                      <a:pt x="46" y="35"/>
                      <a:pt x="46" y="35"/>
                    </a:cubicBezTo>
                    <a:cubicBezTo>
                      <a:pt x="44" y="39"/>
                      <a:pt x="42" y="42"/>
                      <a:pt x="40" y="4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303" name="ïşḻíḍe"/>
              <p:cNvSpPr/>
              <p:nvPr/>
            </p:nvSpPr>
            <p:spPr bwMode="auto">
              <a:xfrm>
                <a:off x="1882672" y="4669428"/>
                <a:ext cx="160338" cy="169863"/>
              </a:xfrm>
              <a:custGeom>
                <a:avLst/>
                <a:gdLst>
                  <a:gd name="T0" fmla="*/ 29 w 87"/>
                  <a:gd name="T1" fmla="*/ 8 h 92"/>
                  <a:gd name="T2" fmla="*/ 52 w 87"/>
                  <a:gd name="T3" fmla="*/ 17 h 92"/>
                  <a:gd name="T4" fmla="*/ 61 w 87"/>
                  <a:gd name="T5" fmla="*/ 16 h 92"/>
                  <a:gd name="T6" fmla="*/ 62 w 87"/>
                  <a:gd name="T7" fmla="*/ 17 h 92"/>
                  <a:gd name="T8" fmla="*/ 69 w 87"/>
                  <a:gd name="T9" fmla="*/ 42 h 92"/>
                  <a:gd name="T10" fmla="*/ 86 w 87"/>
                  <a:gd name="T11" fmla="*/ 35 h 92"/>
                  <a:gd name="T12" fmla="*/ 87 w 87"/>
                  <a:gd name="T13" fmla="*/ 39 h 92"/>
                  <a:gd name="T14" fmla="*/ 76 w 87"/>
                  <a:gd name="T15" fmla="*/ 55 h 92"/>
                  <a:gd name="T16" fmla="*/ 67 w 87"/>
                  <a:gd name="T17" fmla="*/ 76 h 92"/>
                  <a:gd name="T18" fmla="*/ 65 w 87"/>
                  <a:gd name="T19" fmla="*/ 74 h 92"/>
                  <a:gd name="T20" fmla="*/ 69 w 87"/>
                  <a:gd name="T21" fmla="*/ 53 h 92"/>
                  <a:gd name="T22" fmla="*/ 55 w 87"/>
                  <a:gd name="T23" fmla="*/ 40 h 92"/>
                  <a:gd name="T24" fmla="*/ 45 w 87"/>
                  <a:gd name="T25" fmla="*/ 44 h 92"/>
                  <a:gd name="T26" fmla="*/ 46 w 87"/>
                  <a:gd name="T27" fmla="*/ 89 h 92"/>
                  <a:gd name="T28" fmla="*/ 38 w 87"/>
                  <a:gd name="T29" fmla="*/ 92 h 92"/>
                  <a:gd name="T30" fmla="*/ 27 w 87"/>
                  <a:gd name="T31" fmla="*/ 68 h 92"/>
                  <a:gd name="T32" fmla="*/ 14 w 87"/>
                  <a:gd name="T33" fmla="*/ 70 h 92"/>
                  <a:gd name="T34" fmla="*/ 12 w 87"/>
                  <a:gd name="T35" fmla="*/ 65 h 92"/>
                  <a:gd name="T36" fmla="*/ 18 w 87"/>
                  <a:gd name="T37" fmla="*/ 58 h 92"/>
                  <a:gd name="T38" fmla="*/ 0 w 87"/>
                  <a:gd name="T39" fmla="*/ 42 h 92"/>
                  <a:gd name="T40" fmla="*/ 0 w 87"/>
                  <a:gd name="T41" fmla="*/ 42 h 92"/>
                  <a:gd name="T42" fmla="*/ 21 w 87"/>
                  <a:gd name="T43" fmla="*/ 39 h 92"/>
                  <a:gd name="T44" fmla="*/ 27 w 87"/>
                  <a:gd name="T45" fmla="*/ 48 h 92"/>
                  <a:gd name="T46" fmla="*/ 34 w 87"/>
                  <a:gd name="T47" fmla="*/ 52 h 92"/>
                  <a:gd name="T48" fmla="*/ 36 w 87"/>
                  <a:gd name="T49" fmla="*/ 62 h 92"/>
                  <a:gd name="T50" fmla="*/ 39 w 87"/>
                  <a:gd name="T51" fmla="*/ 44 h 92"/>
                  <a:gd name="T52" fmla="*/ 46 w 87"/>
                  <a:gd name="T53" fmla="*/ 28 h 92"/>
                  <a:gd name="T54" fmla="*/ 29 w 87"/>
                  <a:gd name="T55" fmla="*/ 8 h 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87" h="92">
                    <a:moveTo>
                      <a:pt x="29" y="8"/>
                    </a:moveTo>
                    <a:cubicBezTo>
                      <a:pt x="42" y="0"/>
                      <a:pt x="43" y="12"/>
                      <a:pt x="52" y="17"/>
                    </a:cubicBezTo>
                    <a:cubicBezTo>
                      <a:pt x="55" y="15"/>
                      <a:pt x="58" y="15"/>
                      <a:pt x="61" y="16"/>
                    </a:cubicBezTo>
                    <a:cubicBezTo>
                      <a:pt x="61" y="16"/>
                      <a:pt x="62" y="17"/>
                      <a:pt x="62" y="17"/>
                    </a:cubicBezTo>
                    <a:cubicBezTo>
                      <a:pt x="62" y="26"/>
                      <a:pt x="58" y="33"/>
                      <a:pt x="69" y="42"/>
                    </a:cubicBezTo>
                    <a:cubicBezTo>
                      <a:pt x="75" y="35"/>
                      <a:pt x="80" y="33"/>
                      <a:pt x="86" y="35"/>
                    </a:cubicBezTo>
                    <a:cubicBezTo>
                      <a:pt x="87" y="36"/>
                      <a:pt x="87" y="38"/>
                      <a:pt x="87" y="39"/>
                    </a:cubicBezTo>
                    <a:cubicBezTo>
                      <a:pt x="83" y="45"/>
                      <a:pt x="80" y="50"/>
                      <a:pt x="76" y="55"/>
                    </a:cubicBezTo>
                    <a:cubicBezTo>
                      <a:pt x="71" y="62"/>
                      <a:pt x="71" y="70"/>
                      <a:pt x="67" y="76"/>
                    </a:cubicBezTo>
                    <a:cubicBezTo>
                      <a:pt x="66" y="75"/>
                      <a:pt x="66" y="75"/>
                      <a:pt x="65" y="74"/>
                    </a:cubicBezTo>
                    <a:cubicBezTo>
                      <a:pt x="63" y="66"/>
                      <a:pt x="67" y="60"/>
                      <a:pt x="69" y="53"/>
                    </a:cubicBezTo>
                    <a:cubicBezTo>
                      <a:pt x="64" y="51"/>
                      <a:pt x="60" y="46"/>
                      <a:pt x="55" y="40"/>
                    </a:cubicBezTo>
                    <a:cubicBezTo>
                      <a:pt x="52" y="42"/>
                      <a:pt x="49" y="41"/>
                      <a:pt x="45" y="44"/>
                    </a:cubicBezTo>
                    <a:cubicBezTo>
                      <a:pt x="40" y="59"/>
                      <a:pt x="48" y="75"/>
                      <a:pt x="46" y="89"/>
                    </a:cubicBezTo>
                    <a:cubicBezTo>
                      <a:pt x="43" y="92"/>
                      <a:pt x="41" y="91"/>
                      <a:pt x="38" y="92"/>
                    </a:cubicBezTo>
                    <a:cubicBezTo>
                      <a:pt x="31" y="83"/>
                      <a:pt x="33" y="76"/>
                      <a:pt x="27" y="68"/>
                    </a:cubicBezTo>
                    <a:cubicBezTo>
                      <a:pt x="23" y="71"/>
                      <a:pt x="18" y="71"/>
                      <a:pt x="14" y="70"/>
                    </a:cubicBezTo>
                    <a:cubicBezTo>
                      <a:pt x="12" y="68"/>
                      <a:pt x="12" y="67"/>
                      <a:pt x="12" y="65"/>
                    </a:cubicBezTo>
                    <a:cubicBezTo>
                      <a:pt x="14" y="63"/>
                      <a:pt x="16" y="60"/>
                      <a:pt x="18" y="58"/>
                    </a:cubicBezTo>
                    <a:cubicBezTo>
                      <a:pt x="13" y="49"/>
                      <a:pt x="3" y="48"/>
                      <a:pt x="0" y="42"/>
                    </a:cubicBezTo>
                    <a:cubicBezTo>
                      <a:pt x="0" y="42"/>
                      <a:pt x="0" y="42"/>
                      <a:pt x="0" y="42"/>
                    </a:cubicBezTo>
                    <a:cubicBezTo>
                      <a:pt x="6" y="39"/>
                      <a:pt x="15" y="35"/>
                      <a:pt x="21" y="39"/>
                    </a:cubicBezTo>
                    <a:cubicBezTo>
                      <a:pt x="23" y="42"/>
                      <a:pt x="25" y="45"/>
                      <a:pt x="27" y="48"/>
                    </a:cubicBezTo>
                    <a:cubicBezTo>
                      <a:pt x="29" y="50"/>
                      <a:pt x="31" y="51"/>
                      <a:pt x="34" y="52"/>
                    </a:cubicBezTo>
                    <a:cubicBezTo>
                      <a:pt x="34" y="55"/>
                      <a:pt x="35" y="58"/>
                      <a:pt x="36" y="62"/>
                    </a:cubicBezTo>
                    <a:cubicBezTo>
                      <a:pt x="39" y="56"/>
                      <a:pt x="38" y="50"/>
                      <a:pt x="39" y="44"/>
                    </a:cubicBezTo>
                    <a:cubicBezTo>
                      <a:pt x="42" y="39"/>
                      <a:pt x="44" y="34"/>
                      <a:pt x="46" y="28"/>
                    </a:cubicBezTo>
                    <a:cubicBezTo>
                      <a:pt x="42" y="22"/>
                      <a:pt x="31" y="15"/>
                      <a:pt x="29" y="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304" name="íṩľíḑè"/>
              <p:cNvSpPr/>
              <p:nvPr/>
            </p:nvSpPr>
            <p:spPr bwMode="auto">
              <a:xfrm>
                <a:off x="2243034" y="6066428"/>
                <a:ext cx="22225" cy="25400"/>
              </a:xfrm>
              <a:custGeom>
                <a:avLst/>
                <a:gdLst>
                  <a:gd name="T0" fmla="*/ 0 w 14"/>
                  <a:gd name="T1" fmla="*/ 12 h 16"/>
                  <a:gd name="T2" fmla="*/ 2 w 14"/>
                  <a:gd name="T3" fmla="*/ 0 h 16"/>
                  <a:gd name="T4" fmla="*/ 14 w 14"/>
                  <a:gd name="T5" fmla="*/ 4 h 16"/>
                  <a:gd name="T6" fmla="*/ 11 w 14"/>
                  <a:gd name="T7" fmla="*/ 16 h 16"/>
                  <a:gd name="T8" fmla="*/ 0 w 14"/>
                  <a:gd name="T9" fmla="*/ 12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4" h="16">
                    <a:moveTo>
                      <a:pt x="0" y="12"/>
                    </a:moveTo>
                    <a:lnTo>
                      <a:pt x="2" y="0"/>
                    </a:lnTo>
                    <a:lnTo>
                      <a:pt x="14" y="4"/>
                    </a:lnTo>
                    <a:lnTo>
                      <a:pt x="11" y="16"/>
                    </a:lnTo>
                    <a:lnTo>
                      <a:pt x="0" y="1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305" name="îṣḷïḓê"/>
              <p:cNvSpPr/>
              <p:nvPr/>
            </p:nvSpPr>
            <p:spPr bwMode="auto">
              <a:xfrm>
                <a:off x="2292247" y="6042615"/>
                <a:ext cx="49213" cy="100013"/>
              </a:xfrm>
              <a:custGeom>
                <a:avLst/>
                <a:gdLst>
                  <a:gd name="T0" fmla="*/ 17 w 27"/>
                  <a:gd name="T1" fmla="*/ 54 h 54"/>
                  <a:gd name="T2" fmla="*/ 7 w 27"/>
                  <a:gd name="T3" fmla="*/ 52 h 54"/>
                  <a:gd name="T4" fmla="*/ 14 w 27"/>
                  <a:gd name="T5" fmla="*/ 15 h 54"/>
                  <a:gd name="T6" fmla="*/ 0 w 27"/>
                  <a:gd name="T7" fmla="*/ 20 h 54"/>
                  <a:gd name="T8" fmla="*/ 1 w 27"/>
                  <a:gd name="T9" fmla="*/ 11 h 54"/>
                  <a:gd name="T10" fmla="*/ 11 w 27"/>
                  <a:gd name="T11" fmla="*/ 7 h 54"/>
                  <a:gd name="T12" fmla="*/ 18 w 27"/>
                  <a:gd name="T13" fmla="*/ 0 h 54"/>
                  <a:gd name="T14" fmla="*/ 27 w 27"/>
                  <a:gd name="T15" fmla="*/ 2 h 54"/>
                  <a:gd name="T16" fmla="*/ 17 w 27"/>
                  <a:gd name="T17" fmla="*/ 54 h 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7" h="54">
                    <a:moveTo>
                      <a:pt x="17" y="54"/>
                    </a:moveTo>
                    <a:cubicBezTo>
                      <a:pt x="7" y="52"/>
                      <a:pt x="7" y="52"/>
                      <a:pt x="7" y="52"/>
                    </a:cubicBezTo>
                    <a:cubicBezTo>
                      <a:pt x="14" y="15"/>
                      <a:pt x="14" y="15"/>
                      <a:pt x="14" y="15"/>
                    </a:cubicBezTo>
                    <a:cubicBezTo>
                      <a:pt x="10" y="17"/>
                      <a:pt x="5" y="19"/>
                      <a:pt x="0" y="20"/>
                    </a:cubicBezTo>
                    <a:cubicBezTo>
                      <a:pt x="1" y="11"/>
                      <a:pt x="1" y="11"/>
                      <a:pt x="1" y="11"/>
                    </a:cubicBezTo>
                    <a:cubicBezTo>
                      <a:pt x="4" y="10"/>
                      <a:pt x="7" y="9"/>
                      <a:pt x="11" y="7"/>
                    </a:cubicBezTo>
                    <a:cubicBezTo>
                      <a:pt x="14" y="6"/>
                      <a:pt x="17" y="3"/>
                      <a:pt x="18" y="0"/>
                    </a:cubicBezTo>
                    <a:cubicBezTo>
                      <a:pt x="27" y="2"/>
                      <a:pt x="27" y="2"/>
                      <a:pt x="27" y="2"/>
                    </a:cubicBezTo>
                    <a:lnTo>
                      <a:pt x="17" y="5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306" name="i$ḻîḓé"/>
              <p:cNvSpPr/>
              <p:nvPr/>
            </p:nvSpPr>
            <p:spPr bwMode="auto">
              <a:xfrm>
                <a:off x="2363684" y="6052140"/>
                <a:ext cx="66675" cy="100013"/>
              </a:xfrm>
              <a:custGeom>
                <a:avLst/>
                <a:gdLst>
                  <a:gd name="T0" fmla="*/ 0 w 36"/>
                  <a:gd name="T1" fmla="*/ 40 h 54"/>
                  <a:gd name="T2" fmla="*/ 10 w 36"/>
                  <a:gd name="T3" fmla="*/ 39 h 54"/>
                  <a:gd name="T4" fmla="*/ 11 w 36"/>
                  <a:gd name="T5" fmla="*/ 44 h 54"/>
                  <a:gd name="T6" fmla="*/ 15 w 36"/>
                  <a:gd name="T7" fmla="*/ 46 h 54"/>
                  <a:gd name="T8" fmla="*/ 21 w 36"/>
                  <a:gd name="T9" fmla="*/ 43 h 54"/>
                  <a:gd name="T10" fmla="*/ 24 w 36"/>
                  <a:gd name="T11" fmla="*/ 31 h 54"/>
                  <a:gd name="T12" fmla="*/ 15 w 36"/>
                  <a:gd name="T13" fmla="*/ 35 h 54"/>
                  <a:gd name="T14" fmla="*/ 4 w 36"/>
                  <a:gd name="T15" fmla="*/ 30 h 54"/>
                  <a:gd name="T16" fmla="*/ 0 w 36"/>
                  <a:gd name="T17" fmla="*/ 17 h 54"/>
                  <a:gd name="T18" fmla="*/ 6 w 36"/>
                  <a:gd name="T19" fmla="*/ 4 h 54"/>
                  <a:gd name="T20" fmla="*/ 19 w 36"/>
                  <a:gd name="T21" fmla="*/ 0 h 54"/>
                  <a:gd name="T22" fmla="*/ 31 w 36"/>
                  <a:gd name="T23" fmla="*/ 7 h 54"/>
                  <a:gd name="T24" fmla="*/ 35 w 36"/>
                  <a:gd name="T25" fmla="*/ 28 h 54"/>
                  <a:gd name="T26" fmla="*/ 28 w 36"/>
                  <a:gd name="T27" fmla="*/ 49 h 54"/>
                  <a:gd name="T28" fmla="*/ 14 w 36"/>
                  <a:gd name="T29" fmla="*/ 54 h 54"/>
                  <a:gd name="T30" fmla="*/ 4 w 36"/>
                  <a:gd name="T31" fmla="*/ 50 h 54"/>
                  <a:gd name="T32" fmla="*/ 0 w 36"/>
                  <a:gd name="T33" fmla="*/ 40 h 54"/>
                  <a:gd name="T34" fmla="*/ 24 w 36"/>
                  <a:gd name="T35" fmla="*/ 19 h 54"/>
                  <a:gd name="T36" fmla="*/ 23 w 36"/>
                  <a:gd name="T37" fmla="*/ 11 h 54"/>
                  <a:gd name="T38" fmla="*/ 18 w 36"/>
                  <a:gd name="T39" fmla="*/ 8 h 54"/>
                  <a:gd name="T40" fmla="*/ 13 w 36"/>
                  <a:gd name="T41" fmla="*/ 10 h 54"/>
                  <a:gd name="T42" fmla="*/ 10 w 36"/>
                  <a:gd name="T43" fmla="*/ 17 h 54"/>
                  <a:gd name="T44" fmla="*/ 12 w 36"/>
                  <a:gd name="T45" fmla="*/ 25 h 54"/>
                  <a:gd name="T46" fmla="*/ 17 w 36"/>
                  <a:gd name="T47" fmla="*/ 28 h 54"/>
                  <a:gd name="T48" fmla="*/ 22 w 36"/>
                  <a:gd name="T49" fmla="*/ 26 h 54"/>
                  <a:gd name="T50" fmla="*/ 24 w 36"/>
                  <a:gd name="T51" fmla="*/ 19 h 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6" h="54">
                    <a:moveTo>
                      <a:pt x="0" y="40"/>
                    </a:moveTo>
                    <a:cubicBezTo>
                      <a:pt x="10" y="39"/>
                      <a:pt x="10" y="39"/>
                      <a:pt x="10" y="39"/>
                    </a:cubicBezTo>
                    <a:cubicBezTo>
                      <a:pt x="10" y="41"/>
                      <a:pt x="10" y="43"/>
                      <a:pt x="11" y="44"/>
                    </a:cubicBezTo>
                    <a:cubicBezTo>
                      <a:pt x="12" y="45"/>
                      <a:pt x="14" y="46"/>
                      <a:pt x="15" y="46"/>
                    </a:cubicBezTo>
                    <a:cubicBezTo>
                      <a:pt x="17" y="46"/>
                      <a:pt x="19" y="45"/>
                      <a:pt x="21" y="43"/>
                    </a:cubicBezTo>
                    <a:cubicBezTo>
                      <a:pt x="22" y="41"/>
                      <a:pt x="24" y="37"/>
                      <a:pt x="24" y="31"/>
                    </a:cubicBezTo>
                    <a:cubicBezTo>
                      <a:pt x="22" y="34"/>
                      <a:pt x="18" y="35"/>
                      <a:pt x="15" y="35"/>
                    </a:cubicBezTo>
                    <a:cubicBezTo>
                      <a:pt x="10" y="35"/>
                      <a:pt x="7" y="33"/>
                      <a:pt x="4" y="30"/>
                    </a:cubicBezTo>
                    <a:cubicBezTo>
                      <a:pt x="1" y="26"/>
                      <a:pt x="0" y="22"/>
                      <a:pt x="0" y="17"/>
                    </a:cubicBezTo>
                    <a:cubicBezTo>
                      <a:pt x="1" y="11"/>
                      <a:pt x="3" y="7"/>
                      <a:pt x="6" y="4"/>
                    </a:cubicBezTo>
                    <a:cubicBezTo>
                      <a:pt x="10" y="1"/>
                      <a:pt x="14" y="0"/>
                      <a:pt x="19" y="0"/>
                    </a:cubicBezTo>
                    <a:cubicBezTo>
                      <a:pt x="24" y="0"/>
                      <a:pt x="28" y="3"/>
                      <a:pt x="31" y="7"/>
                    </a:cubicBezTo>
                    <a:cubicBezTo>
                      <a:pt x="35" y="12"/>
                      <a:pt x="36" y="19"/>
                      <a:pt x="35" y="28"/>
                    </a:cubicBezTo>
                    <a:cubicBezTo>
                      <a:pt x="34" y="38"/>
                      <a:pt x="32" y="44"/>
                      <a:pt x="28" y="49"/>
                    </a:cubicBezTo>
                    <a:cubicBezTo>
                      <a:pt x="24" y="53"/>
                      <a:pt x="20" y="54"/>
                      <a:pt x="14" y="54"/>
                    </a:cubicBezTo>
                    <a:cubicBezTo>
                      <a:pt x="10" y="54"/>
                      <a:pt x="7" y="52"/>
                      <a:pt x="4" y="50"/>
                    </a:cubicBezTo>
                    <a:cubicBezTo>
                      <a:pt x="2" y="48"/>
                      <a:pt x="0" y="44"/>
                      <a:pt x="0" y="40"/>
                    </a:cubicBezTo>
                    <a:close/>
                    <a:moveTo>
                      <a:pt x="24" y="19"/>
                    </a:moveTo>
                    <a:cubicBezTo>
                      <a:pt x="25" y="16"/>
                      <a:pt x="24" y="13"/>
                      <a:pt x="23" y="11"/>
                    </a:cubicBezTo>
                    <a:cubicBezTo>
                      <a:pt x="21" y="10"/>
                      <a:pt x="20" y="9"/>
                      <a:pt x="18" y="8"/>
                    </a:cubicBezTo>
                    <a:cubicBezTo>
                      <a:pt x="16" y="8"/>
                      <a:pt x="14" y="9"/>
                      <a:pt x="13" y="10"/>
                    </a:cubicBezTo>
                    <a:cubicBezTo>
                      <a:pt x="11" y="12"/>
                      <a:pt x="11" y="14"/>
                      <a:pt x="10" y="17"/>
                    </a:cubicBezTo>
                    <a:cubicBezTo>
                      <a:pt x="10" y="21"/>
                      <a:pt x="11" y="23"/>
                      <a:pt x="12" y="25"/>
                    </a:cubicBezTo>
                    <a:cubicBezTo>
                      <a:pt x="13" y="27"/>
                      <a:pt x="15" y="28"/>
                      <a:pt x="17" y="28"/>
                    </a:cubicBezTo>
                    <a:cubicBezTo>
                      <a:pt x="19" y="28"/>
                      <a:pt x="20" y="27"/>
                      <a:pt x="22" y="26"/>
                    </a:cubicBezTo>
                    <a:cubicBezTo>
                      <a:pt x="23" y="24"/>
                      <a:pt x="24" y="22"/>
                      <a:pt x="24" y="1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307" name="îṧľîḋé"/>
              <p:cNvSpPr/>
              <p:nvPr/>
            </p:nvSpPr>
            <p:spPr bwMode="auto">
              <a:xfrm>
                <a:off x="2446234" y="6053728"/>
                <a:ext cx="66675" cy="100013"/>
              </a:xfrm>
              <a:custGeom>
                <a:avLst/>
                <a:gdLst>
                  <a:gd name="T0" fmla="*/ 0 w 36"/>
                  <a:gd name="T1" fmla="*/ 40 h 54"/>
                  <a:gd name="T2" fmla="*/ 10 w 36"/>
                  <a:gd name="T3" fmla="*/ 39 h 54"/>
                  <a:gd name="T4" fmla="*/ 13 w 36"/>
                  <a:gd name="T5" fmla="*/ 44 h 54"/>
                  <a:gd name="T6" fmla="*/ 18 w 36"/>
                  <a:gd name="T7" fmla="*/ 46 h 54"/>
                  <a:gd name="T8" fmla="*/ 23 w 36"/>
                  <a:gd name="T9" fmla="*/ 43 h 54"/>
                  <a:gd name="T10" fmla="*/ 25 w 36"/>
                  <a:gd name="T11" fmla="*/ 35 h 54"/>
                  <a:gd name="T12" fmla="*/ 23 w 36"/>
                  <a:gd name="T13" fmla="*/ 28 h 54"/>
                  <a:gd name="T14" fmla="*/ 17 w 36"/>
                  <a:gd name="T15" fmla="*/ 26 h 54"/>
                  <a:gd name="T16" fmla="*/ 9 w 36"/>
                  <a:gd name="T17" fmla="*/ 30 h 54"/>
                  <a:gd name="T18" fmla="*/ 1 w 36"/>
                  <a:gd name="T19" fmla="*/ 29 h 54"/>
                  <a:gd name="T20" fmla="*/ 5 w 36"/>
                  <a:gd name="T21" fmla="*/ 1 h 54"/>
                  <a:gd name="T22" fmla="*/ 32 w 36"/>
                  <a:gd name="T23" fmla="*/ 0 h 54"/>
                  <a:gd name="T24" fmla="*/ 32 w 36"/>
                  <a:gd name="T25" fmla="*/ 10 h 54"/>
                  <a:gd name="T26" fmla="*/ 13 w 36"/>
                  <a:gd name="T27" fmla="*/ 10 h 54"/>
                  <a:gd name="T28" fmla="*/ 12 w 36"/>
                  <a:gd name="T29" fmla="*/ 19 h 54"/>
                  <a:gd name="T30" fmla="*/ 19 w 36"/>
                  <a:gd name="T31" fmla="*/ 17 h 54"/>
                  <a:gd name="T32" fmla="*/ 30 w 36"/>
                  <a:gd name="T33" fmla="*/ 22 h 54"/>
                  <a:gd name="T34" fmla="*/ 36 w 36"/>
                  <a:gd name="T35" fmla="*/ 34 h 54"/>
                  <a:gd name="T36" fmla="*/ 32 w 36"/>
                  <a:gd name="T37" fmla="*/ 46 h 54"/>
                  <a:gd name="T38" fmla="*/ 18 w 36"/>
                  <a:gd name="T39" fmla="*/ 54 h 54"/>
                  <a:gd name="T40" fmla="*/ 6 w 36"/>
                  <a:gd name="T41" fmla="*/ 50 h 54"/>
                  <a:gd name="T42" fmla="*/ 0 w 36"/>
                  <a:gd name="T43" fmla="*/ 40 h 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36" h="54">
                    <a:moveTo>
                      <a:pt x="0" y="40"/>
                    </a:moveTo>
                    <a:cubicBezTo>
                      <a:pt x="10" y="39"/>
                      <a:pt x="10" y="39"/>
                      <a:pt x="10" y="39"/>
                    </a:cubicBezTo>
                    <a:cubicBezTo>
                      <a:pt x="11" y="41"/>
                      <a:pt x="11" y="43"/>
                      <a:pt x="13" y="44"/>
                    </a:cubicBezTo>
                    <a:cubicBezTo>
                      <a:pt x="14" y="45"/>
                      <a:pt x="16" y="46"/>
                      <a:pt x="18" y="46"/>
                    </a:cubicBezTo>
                    <a:cubicBezTo>
                      <a:pt x="20" y="46"/>
                      <a:pt x="22" y="45"/>
                      <a:pt x="23" y="43"/>
                    </a:cubicBezTo>
                    <a:cubicBezTo>
                      <a:pt x="25" y="41"/>
                      <a:pt x="25" y="38"/>
                      <a:pt x="25" y="35"/>
                    </a:cubicBezTo>
                    <a:cubicBezTo>
                      <a:pt x="25" y="32"/>
                      <a:pt x="24" y="29"/>
                      <a:pt x="23" y="28"/>
                    </a:cubicBezTo>
                    <a:cubicBezTo>
                      <a:pt x="21" y="26"/>
                      <a:pt x="19" y="25"/>
                      <a:pt x="17" y="26"/>
                    </a:cubicBezTo>
                    <a:cubicBezTo>
                      <a:pt x="14" y="26"/>
                      <a:pt x="11" y="27"/>
                      <a:pt x="9" y="30"/>
                    </a:cubicBezTo>
                    <a:cubicBezTo>
                      <a:pt x="1" y="29"/>
                      <a:pt x="1" y="29"/>
                      <a:pt x="1" y="29"/>
                    </a:cubicBezTo>
                    <a:cubicBezTo>
                      <a:pt x="5" y="1"/>
                      <a:pt x="5" y="1"/>
                      <a:pt x="5" y="1"/>
                    </a:cubicBezTo>
                    <a:cubicBezTo>
                      <a:pt x="32" y="0"/>
                      <a:pt x="32" y="0"/>
                      <a:pt x="32" y="0"/>
                    </a:cubicBezTo>
                    <a:cubicBezTo>
                      <a:pt x="32" y="10"/>
                      <a:pt x="32" y="10"/>
                      <a:pt x="32" y="10"/>
                    </a:cubicBezTo>
                    <a:cubicBezTo>
                      <a:pt x="13" y="10"/>
                      <a:pt x="13" y="10"/>
                      <a:pt x="13" y="10"/>
                    </a:cubicBezTo>
                    <a:cubicBezTo>
                      <a:pt x="12" y="19"/>
                      <a:pt x="12" y="19"/>
                      <a:pt x="12" y="19"/>
                    </a:cubicBezTo>
                    <a:cubicBezTo>
                      <a:pt x="14" y="18"/>
                      <a:pt x="16" y="17"/>
                      <a:pt x="19" y="17"/>
                    </a:cubicBezTo>
                    <a:cubicBezTo>
                      <a:pt x="23" y="17"/>
                      <a:pt x="27" y="19"/>
                      <a:pt x="30" y="22"/>
                    </a:cubicBezTo>
                    <a:cubicBezTo>
                      <a:pt x="34" y="25"/>
                      <a:pt x="35" y="29"/>
                      <a:pt x="36" y="34"/>
                    </a:cubicBezTo>
                    <a:cubicBezTo>
                      <a:pt x="36" y="39"/>
                      <a:pt x="35" y="43"/>
                      <a:pt x="32" y="46"/>
                    </a:cubicBezTo>
                    <a:cubicBezTo>
                      <a:pt x="29" y="51"/>
                      <a:pt x="24" y="54"/>
                      <a:pt x="18" y="54"/>
                    </a:cubicBezTo>
                    <a:cubicBezTo>
                      <a:pt x="13" y="54"/>
                      <a:pt x="9" y="53"/>
                      <a:pt x="6" y="50"/>
                    </a:cubicBezTo>
                    <a:cubicBezTo>
                      <a:pt x="3" y="48"/>
                      <a:pt x="1" y="44"/>
                      <a:pt x="0" y="4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308" name="i$ḻïḑê"/>
              <p:cNvSpPr/>
              <p:nvPr/>
            </p:nvSpPr>
            <p:spPr bwMode="auto">
              <a:xfrm>
                <a:off x="2522434" y="6045790"/>
                <a:ext cx="74613" cy="103188"/>
              </a:xfrm>
              <a:custGeom>
                <a:avLst/>
                <a:gdLst>
                  <a:gd name="T0" fmla="*/ 39 w 40"/>
                  <a:gd name="T1" fmla="*/ 42 h 56"/>
                  <a:gd name="T2" fmla="*/ 40 w 40"/>
                  <a:gd name="T3" fmla="*/ 51 h 56"/>
                  <a:gd name="T4" fmla="*/ 5 w 40"/>
                  <a:gd name="T5" fmla="*/ 56 h 56"/>
                  <a:gd name="T6" fmla="*/ 7 w 40"/>
                  <a:gd name="T7" fmla="*/ 46 h 56"/>
                  <a:gd name="T8" fmla="*/ 16 w 40"/>
                  <a:gd name="T9" fmla="*/ 32 h 56"/>
                  <a:gd name="T10" fmla="*/ 23 w 40"/>
                  <a:gd name="T11" fmla="*/ 22 h 56"/>
                  <a:gd name="T12" fmla="*/ 24 w 40"/>
                  <a:gd name="T13" fmla="*/ 15 h 56"/>
                  <a:gd name="T14" fmla="*/ 22 w 40"/>
                  <a:gd name="T15" fmla="*/ 10 h 56"/>
                  <a:gd name="T16" fmla="*/ 17 w 40"/>
                  <a:gd name="T17" fmla="*/ 9 h 56"/>
                  <a:gd name="T18" fmla="*/ 12 w 40"/>
                  <a:gd name="T19" fmla="*/ 12 h 56"/>
                  <a:gd name="T20" fmla="*/ 11 w 40"/>
                  <a:gd name="T21" fmla="*/ 19 h 56"/>
                  <a:gd name="T22" fmla="*/ 1 w 40"/>
                  <a:gd name="T23" fmla="*/ 19 h 56"/>
                  <a:gd name="T24" fmla="*/ 4 w 40"/>
                  <a:gd name="T25" fmla="*/ 6 h 56"/>
                  <a:gd name="T26" fmla="*/ 16 w 40"/>
                  <a:gd name="T27" fmla="*/ 1 h 56"/>
                  <a:gd name="T28" fmla="*/ 28 w 40"/>
                  <a:gd name="T29" fmla="*/ 3 h 56"/>
                  <a:gd name="T30" fmla="*/ 34 w 40"/>
                  <a:gd name="T31" fmla="*/ 13 h 56"/>
                  <a:gd name="T32" fmla="*/ 34 w 40"/>
                  <a:gd name="T33" fmla="*/ 20 h 56"/>
                  <a:gd name="T34" fmla="*/ 31 w 40"/>
                  <a:gd name="T35" fmla="*/ 27 h 56"/>
                  <a:gd name="T36" fmla="*/ 26 w 40"/>
                  <a:gd name="T37" fmla="*/ 35 h 56"/>
                  <a:gd name="T38" fmla="*/ 20 w 40"/>
                  <a:gd name="T39" fmla="*/ 42 h 56"/>
                  <a:gd name="T40" fmla="*/ 19 w 40"/>
                  <a:gd name="T41" fmla="*/ 45 h 56"/>
                  <a:gd name="T42" fmla="*/ 39 w 40"/>
                  <a:gd name="T43" fmla="*/ 42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40" h="56">
                    <a:moveTo>
                      <a:pt x="39" y="42"/>
                    </a:moveTo>
                    <a:cubicBezTo>
                      <a:pt x="40" y="51"/>
                      <a:pt x="40" y="51"/>
                      <a:pt x="40" y="51"/>
                    </a:cubicBezTo>
                    <a:cubicBezTo>
                      <a:pt x="5" y="56"/>
                      <a:pt x="5" y="56"/>
                      <a:pt x="5" y="56"/>
                    </a:cubicBezTo>
                    <a:cubicBezTo>
                      <a:pt x="5" y="53"/>
                      <a:pt x="5" y="49"/>
                      <a:pt x="7" y="46"/>
                    </a:cubicBezTo>
                    <a:cubicBezTo>
                      <a:pt x="8" y="42"/>
                      <a:pt x="11" y="38"/>
                      <a:pt x="16" y="32"/>
                    </a:cubicBezTo>
                    <a:cubicBezTo>
                      <a:pt x="20" y="27"/>
                      <a:pt x="22" y="23"/>
                      <a:pt x="23" y="22"/>
                    </a:cubicBezTo>
                    <a:cubicBezTo>
                      <a:pt x="24" y="19"/>
                      <a:pt x="25" y="17"/>
                      <a:pt x="24" y="15"/>
                    </a:cubicBezTo>
                    <a:cubicBezTo>
                      <a:pt x="24" y="13"/>
                      <a:pt x="23" y="11"/>
                      <a:pt x="22" y="10"/>
                    </a:cubicBezTo>
                    <a:cubicBezTo>
                      <a:pt x="21" y="9"/>
                      <a:pt x="19" y="9"/>
                      <a:pt x="17" y="9"/>
                    </a:cubicBezTo>
                    <a:cubicBezTo>
                      <a:pt x="15" y="10"/>
                      <a:pt x="13" y="11"/>
                      <a:pt x="12" y="12"/>
                    </a:cubicBezTo>
                    <a:cubicBezTo>
                      <a:pt x="11" y="13"/>
                      <a:pt x="10" y="16"/>
                      <a:pt x="11" y="19"/>
                    </a:cubicBezTo>
                    <a:cubicBezTo>
                      <a:pt x="1" y="19"/>
                      <a:pt x="1" y="19"/>
                      <a:pt x="1" y="19"/>
                    </a:cubicBezTo>
                    <a:cubicBezTo>
                      <a:pt x="0" y="13"/>
                      <a:pt x="2" y="9"/>
                      <a:pt x="4" y="6"/>
                    </a:cubicBezTo>
                    <a:cubicBezTo>
                      <a:pt x="7" y="3"/>
                      <a:pt x="11" y="2"/>
                      <a:pt x="16" y="1"/>
                    </a:cubicBezTo>
                    <a:cubicBezTo>
                      <a:pt x="21" y="0"/>
                      <a:pt x="25" y="1"/>
                      <a:pt x="28" y="3"/>
                    </a:cubicBezTo>
                    <a:cubicBezTo>
                      <a:pt x="32" y="6"/>
                      <a:pt x="34" y="9"/>
                      <a:pt x="34" y="13"/>
                    </a:cubicBezTo>
                    <a:cubicBezTo>
                      <a:pt x="35" y="15"/>
                      <a:pt x="35" y="18"/>
                      <a:pt x="34" y="20"/>
                    </a:cubicBezTo>
                    <a:cubicBezTo>
                      <a:pt x="34" y="22"/>
                      <a:pt x="33" y="25"/>
                      <a:pt x="31" y="27"/>
                    </a:cubicBezTo>
                    <a:cubicBezTo>
                      <a:pt x="30" y="29"/>
                      <a:pt x="28" y="32"/>
                      <a:pt x="26" y="35"/>
                    </a:cubicBezTo>
                    <a:cubicBezTo>
                      <a:pt x="23" y="38"/>
                      <a:pt x="21" y="41"/>
                      <a:pt x="20" y="42"/>
                    </a:cubicBezTo>
                    <a:cubicBezTo>
                      <a:pt x="20" y="43"/>
                      <a:pt x="19" y="44"/>
                      <a:pt x="19" y="45"/>
                    </a:cubicBezTo>
                    <a:lnTo>
                      <a:pt x="39" y="4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309" name="íṧlíḍe"/>
              <p:cNvSpPr/>
              <p:nvPr/>
            </p:nvSpPr>
            <p:spPr bwMode="auto">
              <a:xfrm>
                <a:off x="2611334" y="6072778"/>
                <a:ext cx="22225" cy="23813"/>
              </a:xfrm>
              <a:custGeom>
                <a:avLst/>
                <a:gdLst>
                  <a:gd name="T0" fmla="*/ 3 w 14"/>
                  <a:gd name="T1" fmla="*/ 15 h 15"/>
                  <a:gd name="T2" fmla="*/ 0 w 14"/>
                  <a:gd name="T3" fmla="*/ 3 h 15"/>
                  <a:gd name="T4" fmla="*/ 11 w 14"/>
                  <a:gd name="T5" fmla="*/ 0 h 15"/>
                  <a:gd name="T6" fmla="*/ 14 w 14"/>
                  <a:gd name="T7" fmla="*/ 12 h 15"/>
                  <a:gd name="T8" fmla="*/ 3 w 14"/>
                  <a:gd name="T9" fmla="*/ 15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4" h="15">
                    <a:moveTo>
                      <a:pt x="3" y="15"/>
                    </a:moveTo>
                    <a:lnTo>
                      <a:pt x="0" y="3"/>
                    </a:lnTo>
                    <a:lnTo>
                      <a:pt x="11" y="0"/>
                    </a:lnTo>
                    <a:lnTo>
                      <a:pt x="14" y="12"/>
                    </a:lnTo>
                    <a:lnTo>
                      <a:pt x="3" y="1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310" name="îŝľîḓê"/>
              <p:cNvSpPr/>
              <p:nvPr/>
            </p:nvSpPr>
            <p:spPr bwMode="auto">
              <a:xfrm>
                <a:off x="2108097" y="5261565"/>
                <a:ext cx="141288" cy="257175"/>
              </a:xfrm>
              <a:custGeom>
                <a:avLst/>
                <a:gdLst>
                  <a:gd name="T0" fmla="*/ 12 w 77"/>
                  <a:gd name="T1" fmla="*/ 25 h 139"/>
                  <a:gd name="T2" fmla="*/ 9 w 77"/>
                  <a:gd name="T3" fmla="*/ 21 h 139"/>
                  <a:gd name="T4" fmla="*/ 12 w 77"/>
                  <a:gd name="T5" fmla="*/ 17 h 139"/>
                  <a:gd name="T6" fmla="*/ 39 w 77"/>
                  <a:gd name="T7" fmla="*/ 21 h 139"/>
                  <a:gd name="T8" fmla="*/ 46 w 77"/>
                  <a:gd name="T9" fmla="*/ 36 h 139"/>
                  <a:gd name="T10" fmla="*/ 46 w 77"/>
                  <a:gd name="T11" fmla="*/ 39 h 139"/>
                  <a:gd name="T12" fmla="*/ 61 w 77"/>
                  <a:gd name="T13" fmla="*/ 33 h 139"/>
                  <a:gd name="T14" fmla="*/ 57 w 77"/>
                  <a:gd name="T15" fmla="*/ 16 h 139"/>
                  <a:gd name="T16" fmla="*/ 35 w 77"/>
                  <a:gd name="T17" fmla="*/ 9 h 139"/>
                  <a:gd name="T18" fmla="*/ 27 w 77"/>
                  <a:gd name="T19" fmla="*/ 3 h 139"/>
                  <a:gd name="T20" fmla="*/ 32 w 77"/>
                  <a:gd name="T21" fmla="*/ 0 h 139"/>
                  <a:gd name="T22" fmla="*/ 61 w 77"/>
                  <a:gd name="T23" fmla="*/ 9 h 139"/>
                  <a:gd name="T24" fmla="*/ 72 w 77"/>
                  <a:gd name="T25" fmla="*/ 30 h 139"/>
                  <a:gd name="T26" fmla="*/ 48 w 77"/>
                  <a:gd name="T27" fmla="*/ 45 h 139"/>
                  <a:gd name="T28" fmla="*/ 45 w 77"/>
                  <a:gd name="T29" fmla="*/ 46 h 139"/>
                  <a:gd name="T30" fmla="*/ 45 w 77"/>
                  <a:gd name="T31" fmla="*/ 54 h 139"/>
                  <a:gd name="T32" fmla="*/ 59 w 77"/>
                  <a:gd name="T33" fmla="*/ 61 h 139"/>
                  <a:gd name="T34" fmla="*/ 77 w 77"/>
                  <a:gd name="T35" fmla="*/ 80 h 139"/>
                  <a:gd name="T36" fmla="*/ 75 w 77"/>
                  <a:gd name="T37" fmla="*/ 84 h 139"/>
                  <a:gd name="T38" fmla="*/ 71 w 77"/>
                  <a:gd name="T39" fmla="*/ 83 h 139"/>
                  <a:gd name="T40" fmla="*/ 59 w 77"/>
                  <a:gd name="T41" fmla="*/ 70 h 139"/>
                  <a:gd name="T42" fmla="*/ 45 w 77"/>
                  <a:gd name="T43" fmla="*/ 63 h 139"/>
                  <a:gd name="T44" fmla="*/ 45 w 77"/>
                  <a:gd name="T45" fmla="*/ 77 h 139"/>
                  <a:gd name="T46" fmla="*/ 53 w 77"/>
                  <a:gd name="T47" fmla="*/ 83 h 139"/>
                  <a:gd name="T48" fmla="*/ 66 w 77"/>
                  <a:gd name="T49" fmla="*/ 102 h 139"/>
                  <a:gd name="T50" fmla="*/ 72 w 77"/>
                  <a:gd name="T51" fmla="*/ 121 h 139"/>
                  <a:gd name="T52" fmla="*/ 70 w 77"/>
                  <a:gd name="T53" fmla="*/ 124 h 139"/>
                  <a:gd name="T54" fmla="*/ 67 w 77"/>
                  <a:gd name="T55" fmla="*/ 122 h 139"/>
                  <a:gd name="T56" fmla="*/ 64 w 77"/>
                  <a:gd name="T57" fmla="*/ 115 h 139"/>
                  <a:gd name="T58" fmla="*/ 55 w 77"/>
                  <a:gd name="T59" fmla="*/ 97 h 139"/>
                  <a:gd name="T60" fmla="*/ 45 w 77"/>
                  <a:gd name="T61" fmla="*/ 87 h 139"/>
                  <a:gd name="T62" fmla="*/ 45 w 77"/>
                  <a:gd name="T63" fmla="*/ 102 h 139"/>
                  <a:gd name="T64" fmla="*/ 44 w 77"/>
                  <a:gd name="T65" fmla="*/ 136 h 139"/>
                  <a:gd name="T66" fmla="*/ 41 w 77"/>
                  <a:gd name="T67" fmla="*/ 139 h 139"/>
                  <a:gd name="T68" fmla="*/ 38 w 77"/>
                  <a:gd name="T69" fmla="*/ 137 h 139"/>
                  <a:gd name="T70" fmla="*/ 37 w 77"/>
                  <a:gd name="T71" fmla="*/ 103 h 139"/>
                  <a:gd name="T72" fmla="*/ 37 w 77"/>
                  <a:gd name="T73" fmla="*/ 86 h 139"/>
                  <a:gd name="T74" fmla="*/ 28 w 77"/>
                  <a:gd name="T75" fmla="*/ 92 h 139"/>
                  <a:gd name="T76" fmla="*/ 19 w 77"/>
                  <a:gd name="T77" fmla="*/ 109 h 139"/>
                  <a:gd name="T78" fmla="*/ 12 w 77"/>
                  <a:gd name="T79" fmla="*/ 121 h 139"/>
                  <a:gd name="T80" fmla="*/ 8 w 77"/>
                  <a:gd name="T81" fmla="*/ 122 h 139"/>
                  <a:gd name="T82" fmla="*/ 7 w 77"/>
                  <a:gd name="T83" fmla="*/ 120 h 139"/>
                  <a:gd name="T84" fmla="*/ 8 w 77"/>
                  <a:gd name="T85" fmla="*/ 117 h 139"/>
                  <a:gd name="T86" fmla="*/ 11 w 77"/>
                  <a:gd name="T87" fmla="*/ 106 h 139"/>
                  <a:gd name="T88" fmla="*/ 22 w 77"/>
                  <a:gd name="T89" fmla="*/ 86 h 139"/>
                  <a:gd name="T90" fmla="*/ 37 w 77"/>
                  <a:gd name="T91" fmla="*/ 76 h 139"/>
                  <a:gd name="T92" fmla="*/ 37 w 77"/>
                  <a:gd name="T93" fmla="*/ 68 h 139"/>
                  <a:gd name="T94" fmla="*/ 37 w 77"/>
                  <a:gd name="T95" fmla="*/ 63 h 139"/>
                  <a:gd name="T96" fmla="*/ 24 w 77"/>
                  <a:gd name="T97" fmla="*/ 69 h 139"/>
                  <a:gd name="T98" fmla="*/ 16 w 77"/>
                  <a:gd name="T99" fmla="*/ 77 h 139"/>
                  <a:gd name="T100" fmla="*/ 9 w 77"/>
                  <a:gd name="T101" fmla="*/ 85 h 139"/>
                  <a:gd name="T102" fmla="*/ 6 w 77"/>
                  <a:gd name="T103" fmla="*/ 86 h 139"/>
                  <a:gd name="T104" fmla="*/ 5 w 77"/>
                  <a:gd name="T105" fmla="*/ 82 h 139"/>
                  <a:gd name="T106" fmla="*/ 22 w 77"/>
                  <a:gd name="T107" fmla="*/ 60 h 139"/>
                  <a:gd name="T108" fmla="*/ 37 w 77"/>
                  <a:gd name="T109" fmla="*/ 54 h 139"/>
                  <a:gd name="T110" fmla="*/ 37 w 77"/>
                  <a:gd name="T111" fmla="*/ 47 h 139"/>
                  <a:gd name="T112" fmla="*/ 3 w 77"/>
                  <a:gd name="T113" fmla="*/ 45 h 139"/>
                  <a:gd name="T114" fmla="*/ 0 w 77"/>
                  <a:gd name="T115" fmla="*/ 40 h 139"/>
                  <a:gd name="T116" fmla="*/ 5 w 77"/>
                  <a:gd name="T117" fmla="*/ 38 h 139"/>
                  <a:gd name="T118" fmla="*/ 37 w 77"/>
                  <a:gd name="T119" fmla="*/ 39 h 139"/>
                  <a:gd name="T120" fmla="*/ 37 w 77"/>
                  <a:gd name="T121" fmla="*/ 39 h 139"/>
                  <a:gd name="T122" fmla="*/ 33 w 77"/>
                  <a:gd name="T123" fmla="*/ 28 h 139"/>
                  <a:gd name="T124" fmla="*/ 12 w 77"/>
                  <a:gd name="T125" fmla="*/ 25 h 1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77" h="139">
                    <a:moveTo>
                      <a:pt x="12" y="25"/>
                    </a:moveTo>
                    <a:cubicBezTo>
                      <a:pt x="10" y="25"/>
                      <a:pt x="9" y="24"/>
                      <a:pt x="9" y="21"/>
                    </a:cubicBezTo>
                    <a:cubicBezTo>
                      <a:pt x="9" y="18"/>
                      <a:pt x="10" y="17"/>
                      <a:pt x="12" y="17"/>
                    </a:cubicBezTo>
                    <a:cubicBezTo>
                      <a:pt x="24" y="17"/>
                      <a:pt x="33" y="18"/>
                      <a:pt x="39" y="21"/>
                    </a:cubicBezTo>
                    <a:cubicBezTo>
                      <a:pt x="45" y="24"/>
                      <a:pt x="47" y="28"/>
                      <a:pt x="46" y="36"/>
                    </a:cubicBezTo>
                    <a:cubicBezTo>
                      <a:pt x="46" y="37"/>
                      <a:pt x="46" y="38"/>
                      <a:pt x="46" y="39"/>
                    </a:cubicBezTo>
                    <a:cubicBezTo>
                      <a:pt x="53" y="38"/>
                      <a:pt x="58" y="35"/>
                      <a:pt x="61" y="33"/>
                    </a:cubicBezTo>
                    <a:cubicBezTo>
                      <a:pt x="65" y="27"/>
                      <a:pt x="64" y="22"/>
                      <a:pt x="57" y="16"/>
                    </a:cubicBezTo>
                    <a:cubicBezTo>
                      <a:pt x="52" y="12"/>
                      <a:pt x="44" y="9"/>
                      <a:pt x="35" y="9"/>
                    </a:cubicBezTo>
                    <a:cubicBezTo>
                      <a:pt x="30" y="8"/>
                      <a:pt x="28" y="6"/>
                      <a:pt x="27" y="3"/>
                    </a:cubicBezTo>
                    <a:cubicBezTo>
                      <a:pt x="27" y="1"/>
                      <a:pt x="29" y="0"/>
                      <a:pt x="32" y="0"/>
                    </a:cubicBezTo>
                    <a:cubicBezTo>
                      <a:pt x="44" y="0"/>
                      <a:pt x="53" y="3"/>
                      <a:pt x="61" y="9"/>
                    </a:cubicBezTo>
                    <a:cubicBezTo>
                      <a:pt x="69" y="16"/>
                      <a:pt x="73" y="23"/>
                      <a:pt x="72" y="30"/>
                    </a:cubicBezTo>
                    <a:cubicBezTo>
                      <a:pt x="68" y="37"/>
                      <a:pt x="60" y="43"/>
                      <a:pt x="48" y="45"/>
                    </a:cubicBezTo>
                    <a:cubicBezTo>
                      <a:pt x="47" y="46"/>
                      <a:pt x="46" y="46"/>
                      <a:pt x="45" y="46"/>
                    </a:cubicBezTo>
                    <a:cubicBezTo>
                      <a:pt x="45" y="48"/>
                      <a:pt x="45" y="51"/>
                      <a:pt x="45" y="54"/>
                    </a:cubicBezTo>
                    <a:cubicBezTo>
                      <a:pt x="49" y="54"/>
                      <a:pt x="54" y="57"/>
                      <a:pt x="59" y="61"/>
                    </a:cubicBezTo>
                    <a:cubicBezTo>
                      <a:pt x="66" y="66"/>
                      <a:pt x="72" y="72"/>
                      <a:pt x="77" y="80"/>
                    </a:cubicBezTo>
                    <a:cubicBezTo>
                      <a:pt x="77" y="82"/>
                      <a:pt x="77" y="83"/>
                      <a:pt x="75" y="84"/>
                    </a:cubicBezTo>
                    <a:cubicBezTo>
                      <a:pt x="74" y="85"/>
                      <a:pt x="72" y="85"/>
                      <a:pt x="71" y="83"/>
                    </a:cubicBezTo>
                    <a:cubicBezTo>
                      <a:pt x="69" y="80"/>
                      <a:pt x="65" y="76"/>
                      <a:pt x="59" y="70"/>
                    </a:cubicBezTo>
                    <a:cubicBezTo>
                      <a:pt x="54" y="66"/>
                      <a:pt x="49" y="64"/>
                      <a:pt x="45" y="63"/>
                    </a:cubicBezTo>
                    <a:cubicBezTo>
                      <a:pt x="45" y="77"/>
                      <a:pt x="45" y="77"/>
                      <a:pt x="45" y="77"/>
                    </a:cubicBezTo>
                    <a:cubicBezTo>
                      <a:pt x="48" y="78"/>
                      <a:pt x="51" y="80"/>
                      <a:pt x="53" y="83"/>
                    </a:cubicBezTo>
                    <a:cubicBezTo>
                      <a:pt x="59" y="88"/>
                      <a:pt x="63" y="94"/>
                      <a:pt x="66" y="102"/>
                    </a:cubicBezTo>
                    <a:cubicBezTo>
                      <a:pt x="71" y="109"/>
                      <a:pt x="73" y="116"/>
                      <a:pt x="72" y="121"/>
                    </a:cubicBezTo>
                    <a:cubicBezTo>
                      <a:pt x="72" y="122"/>
                      <a:pt x="72" y="123"/>
                      <a:pt x="70" y="124"/>
                    </a:cubicBezTo>
                    <a:cubicBezTo>
                      <a:pt x="69" y="124"/>
                      <a:pt x="68" y="124"/>
                      <a:pt x="67" y="122"/>
                    </a:cubicBezTo>
                    <a:cubicBezTo>
                      <a:pt x="67" y="121"/>
                      <a:pt x="66" y="118"/>
                      <a:pt x="64" y="115"/>
                    </a:cubicBezTo>
                    <a:cubicBezTo>
                      <a:pt x="60" y="107"/>
                      <a:pt x="57" y="102"/>
                      <a:pt x="55" y="97"/>
                    </a:cubicBezTo>
                    <a:cubicBezTo>
                      <a:pt x="51" y="91"/>
                      <a:pt x="48" y="88"/>
                      <a:pt x="45" y="87"/>
                    </a:cubicBezTo>
                    <a:cubicBezTo>
                      <a:pt x="45" y="102"/>
                      <a:pt x="45" y="102"/>
                      <a:pt x="45" y="102"/>
                    </a:cubicBezTo>
                    <a:cubicBezTo>
                      <a:pt x="45" y="117"/>
                      <a:pt x="45" y="128"/>
                      <a:pt x="44" y="136"/>
                    </a:cubicBezTo>
                    <a:cubicBezTo>
                      <a:pt x="43" y="137"/>
                      <a:pt x="42" y="138"/>
                      <a:pt x="41" y="139"/>
                    </a:cubicBezTo>
                    <a:cubicBezTo>
                      <a:pt x="40" y="139"/>
                      <a:pt x="39" y="139"/>
                      <a:pt x="38" y="137"/>
                    </a:cubicBezTo>
                    <a:cubicBezTo>
                      <a:pt x="37" y="135"/>
                      <a:pt x="37" y="123"/>
                      <a:pt x="37" y="103"/>
                    </a:cubicBezTo>
                    <a:cubicBezTo>
                      <a:pt x="37" y="97"/>
                      <a:pt x="37" y="92"/>
                      <a:pt x="37" y="86"/>
                    </a:cubicBezTo>
                    <a:cubicBezTo>
                      <a:pt x="34" y="87"/>
                      <a:pt x="31" y="89"/>
                      <a:pt x="28" y="92"/>
                    </a:cubicBezTo>
                    <a:cubicBezTo>
                      <a:pt x="24" y="98"/>
                      <a:pt x="21" y="103"/>
                      <a:pt x="19" y="109"/>
                    </a:cubicBezTo>
                    <a:cubicBezTo>
                      <a:pt x="17" y="113"/>
                      <a:pt x="15" y="117"/>
                      <a:pt x="12" y="121"/>
                    </a:cubicBezTo>
                    <a:cubicBezTo>
                      <a:pt x="11" y="122"/>
                      <a:pt x="9" y="122"/>
                      <a:pt x="8" y="122"/>
                    </a:cubicBezTo>
                    <a:cubicBezTo>
                      <a:pt x="7" y="122"/>
                      <a:pt x="7" y="121"/>
                      <a:pt x="7" y="120"/>
                    </a:cubicBezTo>
                    <a:cubicBezTo>
                      <a:pt x="7" y="119"/>
                      <a:pt x="7" y="118"/>
                      <a:pt x="8" y="117"/>
                    </a:cubicBezTo>
                    <a:cubicBezTo>
                      <a:pt x="9" y="112"/>
                      <a:pt x="10" y="108"/>
                      <a:pt x="11" y="106"/>
                    </a:cubicBezTo>
                    <a:cubicBezTo>
                      <a:pt x="13" y="101"/>
                      <a:pt x="17" y="94"/>
                      <a:pt x="22" y="86"/>
                    </a:cubicBezTo>
                    <a:cubicBezTo>
                      <a:pt x="27" y="80"/>
                      <a:pt x="32" y="77"/>
                      <a:pt x="37" y="76"/>
                    </a:cubicBezTo>
                    <a:cubicBezTo>
                      <a:pt x="37" y="68"/>
                      <a:pt x="37" y="68"/>
                      <a:pt x="37" y="68"/>
                    </a:cubicBezTo>
                    <a:cubicBezTo>
                      <a:pt x="37" y="63"/>
                      <a:pt x="37" y="63"/>
                      <a:pt x="37" y="63"/>
                    </a:cubicBezTo>
                    <a:cubicBezTo>
                      <a:pt x="33" y="64"/>
                      <a:pt x="29" y="66"/>
                      <a:pt x="24" y="69"/>
                    </a:cubicBezTo>
                    <a:cubicBezTo>
                      <a:pt x="23" y="70"/>
                      <a:pt x="20" y="72"/>
                      <a:pt x="16" y="77"/>
                    </a:cubicBezTo>
                    <a:cubicBezTo>
                      <a:pt x="13" y="81"/>
                      <a:pt x="11" y="83"/>
                      <a:pt x="9" y="85"/>
                    </a:cubicBezTo>
                    <a:cubicBezTo>
                      <a:pt x="8" y="86"/>
                      <a:pt x="7" y="87"/>
                      <a:pt x="6" y="86"/>
                    </a:cubicBezTo>
                    <a:cubicBezTo>
                      <a:pt x="5" y="86"/>
                      <a:pt x="5" y="84"/>
                      <a:pt x="5" y="82"/>
                    </a:cubicBezTo>
                    <a:cubicBezTo>
                      <a:pt x="10" y="73"/>
                      <a:pt x="15" y="65"/>
                      <a:pt x="22" y="60"/>
                    </a:cubicBezTo>
                    <a:cubicBezTo>
                      <a:pt x="27" y="56"/>
                      <a:pt x="32" y="54"/>
                      <a:pt x="37" y="54"/>
                    </a:cubicBezTo>
                    <a:cubicBezTo>
                      <a:pt x="37" y="47"/>
                      <a:pt x="37" y="47"/>
                      <a:pt x="37" y="47"/>
                    </a:cubicBezTo>
                    <a:cubicBezTo>
                      <a:pt x="22" y="49"/>
                      <a:pt x="10" y="48"/>
                      <a:pt x="3" y="45"/>
                    </a:cubicBezTo>
                    <a:cubicBezTo>
                      <a:pt x="1" y="44"/>
                      <a:pt x="0" y="42"/>
                      <a:pt x="0" y="40"/>
                    </a:cubicBezTo>
                    <a:cubicBezTo>
                      <a:pt x="1" y="38"/>
                      <a:pt x="3" y="38"/>
                      <a:pt x="5" y="38"/>
                    </a:cubicBezTo>
                    <a:cubicBezTo>
                      <a:pt x="12" y="40"/>
                      <a:pt x="22" y="40"/>
                      <a:pt x="37" y="39"/>
                    </a:cubicBezTo>
                    <a:cubicBezTo>
                      <a:pt x="37" y="39"/>
                      <a:pt x="37" y="39"/>
                      <a:pt x="37" y="39"/>
                    </a:cubicBezTo>
                    <a:cubicBezTo>
                      <a:pt x="38" y="32"/>
                      <a:pt x="36" y="29"/>
                      <a:pt x="33" y="28"/>
                    </a:cubicBezTo>
                    <a:cubicBezTo>
                      <a:pt x="26" y="25"/>
                      <a:pt x="19" y="24"/>
                      <a:pt x="12" y="2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311" name="íṣlíḑe"/>
              <p:cNvSpPr/>
              <p:nvPr/>
            </p:nvSpPr>
            <p:spPr bwMode="auto">
              <a:xfrm>
                <a:off x="2273197" y="5255215"/>
                <a:ext cx="163513" cy="263525"/>
              </a:xfrm>
              <a:custGeom>
                <a:avLst/>
                <a:gdLst>
                  <a:gd name="T0" fmla="*/ 47 w 88"/>
                  <a:gd name="T1" fmla="*/ 8 h 143"/>
                  <a:gd name="T2" fmla="*/ 74 w 88"/>
                  <a:gd name="T3" fmla="*/ 14 h 143"/>
                  <a:gd name="T4" fmla="*/ 82 w 88"/>
                  <a:gd name="T5" fmla="*/ 26 h 143"/>
                  <a:gd name="T6" fmla="*/ 79 w 88"/>
                  <a:gd name="T7" fmla="*/ 75 h 143"/>
                  <a:gd name="T8" fmla="*/ 86 w 88"/>
                  <a:gd name="T9" fmla="*/ 136 h 143"/>
                  <a:gd name="T10" fmla="*/ 73 w 88"/>
                  <a:gd name="T11" fmla="*/ 45 h 143"/>
                  <a:gd name="T12" fmla="*/ 67 w 88"/>
                  <a:gd name="T13" fmla="*/ 44 h 143"/>
                  <a:gd name="T14" fmla="*/ 54 w 88"/>
                  <a:gd name="T15" fmla="*/ 58 h 143"/>
                  <a:gd name="T16" fmla="*/ 22 w 88"/>
                  <a:gd name="T17" fmla="*/ 54 h 143"/>
                  <a:gd name="T18" fmla="*/ 15 w 88"/>
                  <a:gd name="T19" fmla="*/ 45 h 143"/>
                  <a:gd name="T20" fmla="*/ 11 w 88"/>
                  <a:gd name="T21" fmla="*/ 91 h 143"/>
                  <a:gd name="T22" fmla="*/ 9 w 88"/>
                  <a:gd name="T23" fmla="*/ 118 h 143"/>
                  <a:gd name="T24" fmla="*/ 2 w 88"/>
                  <a:gd name="T25" fmla="*/ 139 h 143"/>
                  <a:gd name="T26" fmla="*/ 6 w 88"/>
                  <a:gd name="T27" fmla="*/ 80 h 143"/>
                  <a:gd name="T28" fmla="*/ 2 w 88"/>
                  <a:gd name="T29" fmla="*/ 26 h 143"/>
                  <a:gd name="T30" fmla="*/ 32 w 88"/>
                  <a:gd name="T31" fmla="*/ 10 h 143"/>
                  <a:gd name="T32" fmla="*/ 39 w 88"/>
                  <a:gd name="T33" fmla="*/ 0 h 143"/>
                  <a:gd name="T34" fmla="*/ 24 w 88"/>
                  <a:gd name="T35" fmla="*/ 23 h 143"/>
                  <a:gd name="T36" fmla="*/ 66 w 88"/>
                  <a:gd name="T37" fmla="*/ 29 h 143"/>
                  <a:gd name="T38" fmla="*/ 67 w 88"/>
                  <a:gd name="T39" fmla="*/ 37 h 143"/>
                  <a:gd name="T40" fmla="*/ 73 w 88"/>
                  <a:gd name="T41" fmla="*/ 34 h 143"/>
                  <a:gd name="T42" fmla="*/ 66 w 88"/>
                  <a:gd name="T43" fmla="*/ 20 h 143"/>
                  <a:gd name="T44" fmla="*/ 13 w 88"/>
                  <a:gd name="T45" fmla="*/ 21 h 143"/>
                  <a:gd name="T46" fmla="*/ 12 w 88"/>
                  <a:gd name="T47" fmla="*/ 32 h 143"/>
                  <a:gd name="T48" fmla="*/ 17 w 88"/>
                  <a:gd name="T49" fmla="*/ 38 h 143"/>
                  <a:gd name="T50" fmla="*/ 24 w 88"/>
                  <a:gd name="T51" fmla="*/ 23 h 143"/>
                  <a:gd name="T52" fmla="*/ 61 w 88"/>
                  <a:gd name="T53" fmla="*/ 64 h 143"/>
                  <a:gd name="T54" fmla="*/ 66 w 88"/>
                  <a:gd name="T55" fmla="*/ 96 h 143"/>
                  <a:gd name="T56" fmla="*/ 61 w 88"/>
                  <a:gd name="T57" fmla="*/ 136 h 143"/>
                  <a:gd name="T58" fmla="*/ 59 w 88"/>
                  <a:gd name="T59" fmla="*/ 143 h 143"/>
                  <a:gd name="T60" fmla="*/ 46 w 88"/>
                  <a:gd name="T61" fmla="*/ 105 h 143"/>
                  <a:gd name="T62" fmla="*/ 30 w 88"/>
                  <a:gd name="T63" fmla="*/ 140 h 143"/>
                  <a:gd name="T64" fmla="*/ 26 w 88"/>
                  <a:gd name="T65" fmla="*/ 137 h 143"/>
                  <a:gd name="T66" fmla="*/ 32 w 88"/>
                  <a:gd name="T67" fmla="*/ 121 h 143"/>
                  <a:gd name="T68" fmla="*/ 35 w 88"/>
                  <a:gd name="T69" fmla="*/ 105 h 143"/>
                  <a:gd name="T70" fmla="*/ 18 w 88"/>
                  <a:gd name="T71" fmla="*/ 75 h 143"/>
                  <a:gd name="T72" fmla="*/ 24 w 88"/>
                  <a:gd name="T73" fmla="*/ 35 h 143"/>
                  <a:gd name="T74" fmla="*/ 39 w 88"/>
                  <a:gd name="T75" fmla="*/ 37 h 143"/>
                  <a:gd name="T76" fmla="*/ 34 w 88"/>
                  <a:gd name="T77" fmla="*/ 29 h 143"/>
                  <a:gd name="T78" fmla="*/ 24 w 88"/>
                  <a:gd name="T79" fmla="*/ 35 h 143"/>
                  <a:gd name="T80" fmla="*/ 62 w 88"/>
                  <a:gd name="T81" fmla="*/ 84 h 143"/>
                  <a:gd name="T82" fmla="*/ 43 w 88"/>
                  <a:gd name="T83" fmla="*/ 81 h 143"/>
                  <a:gd name="T84" fmla="*/ 25 w 88"/>
                  <a:gd name="T85" fmla="*/ 87 h 143"/>
                  <a:gd name="T86" fmla="*/ 26 w 88"/>
                  <a:gd name="T87" fmla="*/ 48 h 143"/>
                  <a:gd name="T88" fmla="*/ 38 w 88"/>
                  <a:gd name="T89" fmla="*/ 52 h 143"/>
                  <a:gd name="T90" fmla="*/ 25 w 88"/>
                  <a:gd name="T91" fmla="*/ 44 h 143"/>
                  <a:gd name="T92" fmla="*/ 32 w 88"/>
                  <a:gd name="T93" fmla="*/ 69 h 143"/>
                  <a:gd name="T94" fmla="*/ 41 w 88"/>
                  <a:gd name="T95" fmla="*/ 75 h 143"/>
                  <a:gd name="T96" fmla="*/ 57 w 88"/>
                  <a:gd name="T97" fmla="*/ 70 h 143"/>
                  <a:gd name="T98" fmla="*/ 56 w 88"/>
                  <a:gd name="T99" fmla="*/ 98 h 143"/>
                  <a:gd name="T100" fmla="*/ 54 w 88"/>
                  <a:gd name="T101" fmla="*/ 93 h 143"/>
                  <a:gd name="T102" fmla="*/ 36 w 88"/>
                  <a:gd name="T103" fmla="*/ 93 h 143"/>
                  <a:gd name="T104" fmla="*/ 32 w 88"/>
                  <a:gd name="T105" fmla="*/ 98 h 143"/>
                  <a:gd name="T106" fmla="*/ 56 w 88"/>
                  <a:gd name="T107" fmla="*/ 29 h 143"/>
                  <a:gd name="T108" fmla="*/ 46 w 88"/>
                  <a:gd name="T109" fmla="*/ 29 h 143"/>
                  <a:gd name="T110" fmla="*/ 60 w 88"/>
                  <a:gd name="T111" fmla="*/ 37 h 143"/>
                  <a:gd name="T112" fmla="*/ 56 w 88"/>
                  <a:gd name="T113" fmla="*/ 29 h 143"/>
                  <a:gd name="T114" fmla="*/ 60 w 88"/>
                  <a:gd name="T115" fmla="*/ 43 h 143"/>
                  <a:gd name="T116" fmla="*/ 46 w 88"/>
                  <a:gd name="T117" fmla="*/ 52 h 143"/>
                  <a:gd name="T118" fmla="*/ 59 w 88"/>
                  <a:gd name="T119" fmla="*/ 48 h 1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88" h="143">
                    <a:moveTo>
                      <a:pt x="43" y="2"/>
                    </a:moveTo>
                    <a:cubicBezTo>
                      <a:pt x="45" y="3"/>
                      <a:pt x="47" y="6"/>
                      <a:pt x="47" y="8"/>
                    </a:cubicBezTo>
                    <a:cubicBezTo>
                      <a:pt x="47" y="9"/>
                      <a:pt x="48" y="10"/>
                      <a:pt x="49" y="10"/>
                    </a:cubicBezTo>
                    <a:cubicBezTo>
                      <a:pt x="57" y="10"/>
                      <a:pt x="66" y="12"/>
                      <a:pt x="74" y="14"/>
                    </a:cubicBezTo>
                    <a:cubicBezTo>
                      <a:pt x="78" y="16"/>
                      <a:pt x="81" y="18"/>
                      <a:pt x="81" y="19"/>
                    </a:cubicBezTo>
                    <a:cubicBezTo>
                      <a:pt x="82" y="21"/>
                      <a:pt x="82" y="24"/>
                      <a:pt x="82" y="26"/>
                    </a:cubicBezTo>
                    <a:cubicBezTo>
                      <a:pt x="82" y="27"/>
                      <a:pt x="82" y="27"/>
                      <a:pt x="82" y="28"/>
                    </a:cubicBezTo>
                    <a:cubicBezTo>
                      <a:pt x="79" y="39"/>
                      <a:pt x="78" y="55"/>
                      <a:pt x="79" y="75"/>
                    </a:cubicBezTo>
                    <a:cubicBezTo>
                      <a:pt x="80" y="87"/>
                      <a:pt x="83" y="106"/>
                      <a:pt x="87" y="131"/>
                    </a:cubicBezTo>
                    <a:cubicBezTo>
                      <a:pt x="88" y="134"/>
                      <a:pt x="87" y="135"/>
                      <a:pt x="86" y="136"/>
                    </a:cubicBezTo>
                    <a:cubicBezTo>
                      <a:pt x="84" y="137"/>
                      <a:pt x="82" y="136"/>
                      <a:pt x="82" y="133"/>
                    </a:cubicBezTo>
                    <a:cubicBezTo>
                      <a:pt x="74" y="106"/>
                      <a:pt x="71" y="76"/>
                      <a:pt x="73" y="45"/>
                    </a:cubicBezTo>
                    <a:cubicBezTo>
                      <a:pt x="72" y="45"/>
                      <a:pt x="71" y="44"/>
                      <a:pt x="70" y="44"/>
                    </a:cubicBezTo>
                    <a:cubicBezTo>
                      <a:pt x="69" y="44"/>
                      <a:pt x="68" y="44"/>
                      <a:pt x="67" y="44"/>
                    </a:cubicBezTo>
                    <a:cubicBezTo>
                      <a:pt x="67" y="48"/>
                      <a:pt x="66" y="51"/>
                      <a:pt x="64" y="54"/>
                    </a:cubicBezTo>
                    <a:cubicBezTo>
                      <a:pt x="62" y="57"/>
                      <a:pt x="59" y="59"/>
                      <a:pt x="54" y="58"/>
                    </a:cubicBezTo>
                    <a:cubicBezTo>
                      <a:pt x="47" y="58"/>
                      <a:pt x="39" y="58"/>
                      <a:pt x="32" y="58"/>
                    </a:cubicBezTo>
                    <a:cubicBezTo>
                      <a:pt x="28" y="59"/>
                      <a:pt x="25" y="58"/>
                      <a:pt x="22" y="54"/>
                    </a:cubicBezTo>
                    <a:cubicBezTo>
                      <a:pt x="20" y="51"/>
                      <a:pt x="19" y="48"/>
                      <a:pt x="18" y="45"/>
                    </a:cubicBezTo>
                    <a:cubicBezTo>
                      <a:pt x="17" y="45"/>
                      <a:pt x="16" y="45"/>
                      <a:pt x="15" y="45"/>
                    </a:cubicBezTo>
                    <a:cubicBezTo>
                      <a:pt x="14" y="45"/>
                      <a:pt x="13" y="45"/>
                      <a:pt x="13" y="45"/>
                    </a:cubicBezTo>
                    <a:cubicBezTo>
                      <a:pt x="13" y="60"/>
                      <a:pt x="13" y="75"/>
                      <a:pt x="11" y="91"/>
                    </a:cubicBezTo>
                    <a:cubicBezTo>
                      <a:pt x="11" y="95"/>
                      <a:pt x="11" y="102"/>
                      <a:pt x="10" y="111"/>
                    </a:cubicBezTo>
                    <a:cubicBezTo>
                      <a:pt x="10" y="108"/>
                      <a:pt x="10" y="111"/>
                      <a:pt x="9" y="118"/>
                    </a:cubicBezTo>
                    <a:cubicBezTo>
                      <a:pt x="9" y="124"/>
                      <a:pt x="8" y="130"/>
                      <a:pt x="6" y="134"/>
                    </a:cubicBezTo>
                    <a:cubicBezTo>
                      <a:pt x="5" y="138"/>
                      <a:pt x="3" y="139"/>
                      <a:pt x="2" y="139"/>
                    </a:cubicBezTo>
                    <a:cubicBezTo>
                      <a:pt x="0" y="139"/>
                      <a:pt x="0" y="137"/>
                      <a:pt x="0" y="133"/>
                    </a:cubicBezTo>
                    <a:cubicBezTo>
                      <a:pt x="3" y="112"/>
                      <a:pt x="5" y="94"/>
                      <a:pt x="6" y="80"/>
                    </a:cubicBezTo>
                    <a:cubicBezTo>
                      <a:pt x="8" y="64"/>
                      <a:pt x="7" y="51"/>
                      <a:pt x="6" y="38"/>
                    </a:cubicBezTo>
                    <a:cubicBezTo>
                      <a:pt x="5" y="34"/>
                      <a:pt x="4" y="30"/>
                      <a:pt x="2" y="26"/>
                    </a:cubicBezTo>
                    <a:cubicBezTo>
                      <a:pt x="0" y="21"/>
                      <a:pt x="1" y="17"/>
                      <a:pt x="6" y="16"/>
                    </a:cubicBezTo>
                    <a:cubicBezTo>
                      <a:pt x="14" y="12"/>
                      <a:pt x="23" y="11"/>
                      <a:pt x="32" y="10"/>
                    </a:cubicBezTo>
                    <a:cubicBezTo>
                      <a:pt x="36" y="9"/>
                      <a:pt x="38" y="7"/>
                      <a:pt x="38" y="4"/>
                    </a:cubicBezTo>
                    <a:cubicBezTo>
                      <a:pt x="38" y="2"/>
                      <a:pt x="38" y="1"/>
                      <a:pt x="39" y="0"/>
                    </a:cubicBezTo>
                    <a:cubicBezTo>
                      <a:pt x="41" y="0"/>
                      <a:pt x="42" y="0"/>
                      <a:pt x="43" y="2"/>
                    </a:cubicBezTo>
                    <a:close/>
                    <a:moveTo>
                      <a:pt x="24" y="23"/>
                    </a:moveTo>
                    <a:cubicBezTo>
                      <a:pt x="33" y="22"/>
                      <a:pt x="44" y="22"/>
                      <a:pt x="58" y="23"/>
                    </a:cubicBezTo>
                    <a:cubicBezTo>
                      <a:pt x="63" y="24"/>
                      <a:pt x="66" y="26"/>
                      <a:pt x="66" y="29"/>
                    </a:cubicBezTo>
                    <a:cubicBezTo>
                      <a:pt x="66" y="30"/>
                      <a:pt x="66" y="30"/>
                      <a:pt x="67" y="31"/>
                    </a:cubicBezTo>
                    <a:cubicBezTo>
                      <a:pt x="67" y="33"/>
                      <a:pt x="67" y="35"/>
                      <a:pt x="67" y="37"/>
                    </a:cubicBezTo>
                    <a:cubicBezTo>
                      <a:pt x="69" y="38"/>
                      <a:pt x="71" y="38"/>
                      <a:pt x="73" y="38"/>
                    </a:cubicBezTo>
                    <a:cubicBezTo>
                      <a:pt x="73" y="37"/>
                      <a:pt x="73" y="36"/>
                      <a:pt x="73" y="34"/>
                    </a:cubicBezTo>
                    <a:cubicBezTo>
                      <a:pt x="73" y="32"/>
                      <a:pt x="73" y="30"/>
                      <a:pt x="74" y="29"/>
                    </a:cubicBezTo>
                    <a:cubicBezTo>
                      <a:pt x="75" y="25"/>
                      <a:pt x="72" y="21"/>
                      <a:pt x="66" y="20"/>
                    </a:cubicBezTo>
                    <a:cubicBezTo>
                      <a:pt x="58" y="17"/>
                      <a:pt x="50" y="16"/>
                      <a:pt x="40" y="16"/>
                    </a:cubicBezTo>
                    <a:cubicBezTo>
                      <a:pt x="29" y="16"/>
                      <a:pt x="20" y="18"/>
                      <a:pt x="13" y="21"/>
                    </a:cubicBezTo>
                    <a:cubicBezTo>
                      <a:pt x="11" y="22"/>
                      <a:pt x="11" y="24"/>
                      <a:pt x="11" y="26"/>
                    </a:cubicBezTo>
                    <a:cubicBezTo>
                      <a:pt x="11" y="28"/>
                      <a:pt x="12" y="30"/>
                      <a:pt x="12" y="32"/>
                    </a:cubicBezTo>
                    <a:cubicBezTo>
                      <a:pt x="12" y="35"/>
                      <a:pt x="12" y="37"/>
                      <a:pt x="12" y="38"/>
                    </a:cubicBezTo>
                    <a:cubicBezTo>
                      <a:pt x="14" y="38"/>
                      <a:pt x="15" y="38"/>
                      <a:pt x="17" y="38"/>
                    </a:cubicBezTo>
                    <a:cubicBezTo>
                      <a:pt x="17" y="35"/>
                      <a:pt x="17" y="32"/>
                      <a:pt x="17" y="30"/>
                    </a:cubicBezTo>
                    <a:cubicBezTo>
                      <a:pt x="18" y="26"/>
                      <a:pt x="20" y="24"/>
                      <a:pt x="24" y="23"/>
                    </a:cubicBezTo>
                    <a:close/>
                    <a:moveTo>
                      <a:pt x="28" y="64"/>
                    </a:moveTo>
                    <a:cubicBezTo>
                      <a:pt x="39" y="62"/>
                      <a:pt x="50" y="62"/>
                      <a:pt x="61" y="64"/>
                    </a:cubicBezTo>
                    <a:cubicBezTo>
                      <a:pt x="65" y="65"/>
                      <a:pt x="67" y="67"/>
                      <a:pt x="67" y="71"/>
                    </a:cubicBezTo>
                    <a:cubicBezTo>
                      <a:pt x="69" y="79"/>
                      <a:pt x="68" y="88"/>
                      <a:pt x="66" y="96"/>
                    </a:cubicBezTo>
                    <a:cubicBezTo>
                      <a:pt x="65" y="102"/>
                      <a:pt x="61" y="105"/>
                      <a:pt x="54" y="105"/>
                    </a:cubicBezTo>
                    <a:cubicBezTo>
                      <a:pt x="55" y="115"/>
                      <a:pt x="57" y="125"/>
                      <a:pt x="61" y="136"/>
                    </a:cubicBezTo>
                    <a:cubicBezTo>
                      <a:pt x="63" y="138"/>
                      <a:pt x="63" y="140"/>
                      <a:pt x="61" y="142"/>
                    </a:cubicBezTo>
                    <a:cubicBezTo>
                      <a:pt x="60" y="142"/>
                      <a:pt x="59" y="143"/>
                      <a:pt x="59" y="143"/>
                    </a:cubicBezTo>
                    <a:cubicBezTo>
                      <a:pt x="58" y="143"/>
                      <a:pt x="57" y="142"/>
                      <a:pt x="57" y="141"/>
                    </a:cubicBezTo>
                    <a:cubicBezTo>
                      <a:pt x="52" y="131"/>
                      <a:pt x="48" y="120"/>
                      <a:pt x="46" y="105"/>
                    </a:cubicBezTo>
                    <a:cubicBezTo>
                      <a:pt x="41" y="105"/>
                      <a:pt x="41" y="105"/>
                      <a:pt x="41" y="105"/>
                    </a:cubicBezTo>
                    <a:cubicBezTo>
                      <a:pt x="40" y="120"/>
                      <a:pt x="37" y="131"/>
                      <a:pt x="30" y="140"/>
                    </a:cubicBezTo>
                    <a:cubicBezTo>
                      <a:pt x="29" y="141"/>
                      <a:pt x="27" y="142"/>
                      <a:pt x="26" y="142"/>
                    </a:cubicBezTo>
                    <a:cubicBezTo>
                      <a:pt x="25" y="141"/>
                      <a:pt x="25" y="139"/>
                      <a:pt x="26" y="137"/>
                    </a:cubicBezTo>
                    <a:cubicBezTo>
                      <a:pt x="26" y="137"/>
                      <a:pt x="26" y="135"/>
                      <a:pt x="28" y="132"/>
                    </a:cubicBezTo>
                    <a:cubicBezTo>
                      <a:pt x="30" y="127"/>
                      <a:pt x="32" y="123"/>
                      <a:pt x="32" y="121"/>
                    </a:cubicBezTo>
                    <a:cubicBezTo>
                      <a:pt x="33" y="118"/>
                      <a:pt x="34" y="113"/>
                      <a:pt x="35" y="107"/>
                    </a:cubicBezTo>
                    <a:cubicBezTo>
                      <a:pt x="35" y="106"/>
                      <a:pt x="35" y="106"/>
                      <a:pt x="35" y="105"/>
                    </a:cubicBezTo>
                    <a:cubicBezTo>
                      <a:pt x="29" y="105"/>
                      <a:pt x="25" y="103"/>
                      <a:pt x="22" y="98"/>
                    </a:cubicBezTo>
                    <a:cubicBezTo>
                      <a:pt x="19" y="93"/>
                      <a:pt x="17" y="85"/>
                      <a:pt x="18" y="75"/>
                    </a:cubicBezTo>
                    <a:cubicBezTo>
                      <a:pt x="19" y="68"/>
                      <a:pt x="22" y="65"/>
                      <a:pt x="28" y="64"/>
                    </a:cubicBezTo>
                    <a:close/>
                    <a:moveTo>
                      <a:pt x="24" y="35"/>
                    </a:moveTo>
                    <a:cubicBezTo>
                      <a:pt x="24" y="36"/>
                      <a:pt x="24" y="36"/>
                      <a:pt x="24" y="37"/>
                    </a:cubicBezTo>
                    <a:cubicBezTo>
                      <a:pt x="29" y="37"/>
                      <a:pt x="34" y="37"/>
                      <a:pt x="39" y="37"/>
                    </a:cubicBezTo>
                    <a:cubicBezTo>
                      <a:pt x="39" y="34"/>
                      <a:pt x="38" y="31"/>
                      <a:pt x="38" y="29"/>
                    </a:cubicBezTo>
                    <a:cubicBezTo>
                      <a:pt x="37" y="29"/>
                      <a:pt x="36" y="29"/>
                      <a:pt x="34" y="29"/>
                    </a:cubicBezTo>
                    <a:cubicBezTo>
                      <a:pt x="31" y="29"/>
                      <a:pt x="30" y="29"/>
                      <a:pt x="28" y="29"/>
                    </a:cubicBezTo>
                    <a:cubicBezTo>
                      <a:pt x="25" y="31"/>
                      <a:pt x="24" y="32"/>
                      <a:pt x="24" y="35"/>
                    </a:cubicBezTo>
                    <a:close/>
                    <a:moveTo>
                      <a:pt x="61" y="87"/>
                    </a:moveTo>
                    <a:cubicBezTo>
                      <a:pt x="61" y="86"/>
                      <a:pt x="62" y="85"/>
                      <a:pt x="62" y="84"/>
                    </a:cubicBezTo>
                    <a:cubicBezTo>
                      <a:pt x="62" y="83"/>
                      <a:pt x="62" y="82"/>
                      <a:pt x="62" y="82"/>
                    </a:cubicBezTo>
                    <a:cubicBezTo>
                      <a:pt x="56" y="81"/>
                      <a:pt x="50" y="80"/>
                      <a:pt x="43" y="81"/>
                    </a:cubicBezTo>
                    <a:cubicBezTo>
                      <a:pt x="37" y="81"/>
                      <a:pt x="31" y="82"/>
                      <a:pt x="24" y="83"/>
                    </a:cubicBezTo>
                    <a:cubicBezTo>
                      <a:pt x="25" y="87"/>
                      <a:pt x="25" y="87"/>
                      <a:pt x="25" y="87"/>
                    </a:cubicBezTo>
                    <a:cubicBezTo>
                      <a:pt x="35" y="86"/>
                      <a:pt x="48" y="86"/>
                      <a:pt x="61" y="87"/>
                    </a:cubicBezTo>
                    <a:close/>
                    <a:moveTo>
                      <a:pt x="26" y="48"/>
                    </a:moveTo>
                    <a:cubicBezTo>
                      <a:pt x="28" y="51"/>
                      <a:pt x="30" y="52"/>
                      <a:pt x="35" y="52"/>
                    </a:cubicBezTo>
                    <a:cubicBezTo>
                      <a:pt x="38" y="52"/>
                      <a:pt x="38" y="52"/>
                      <a:pt x="38" y="52"/>
                    </a:cubicBezTo>
                    <a:cubicBezTo>
                      <a:pt x="38" y="49"/>
                      <a:pt x="39" y="46"/>
                      <a:pt x="39" y="44"/>
                    </a:cubicBezTo>
                    <a:cubicBezTo>
                      <a:pt x="34" y="44"/>
                      <a:pt x="30" y="44"/>
                      <a:pt x="25" y="44"/>
                    </a:cubicBezTo>
                    <a:cubicBezTo>
                      <a:pt x="25" y="46"/>
                      <a:pt x="25" y="47"/>
                      <a:pt x="26" y="48"/>
                    </a:cubicBezTo>
                    <a:close/>
                    <a:moveTo>
                      <a:pt x="32" y="69"/>
                    </a:moveTo>
                    <a:cubicBezTo>
                      <a:pt x="28" y="70"/>
                      <a:pt x="25" y="72"/>
                      <a:pt x="25" y="76"/>
                    </a:cubicBezTo>
                    <a:cubicBezTo>
                      <a:pt x="30" y="75"/>
                      <a:pt x="35" y="75"/>
                      <a:pt x="41" y="75"/>
                    </a:cubicBezTo>
                    <a:cubicBezTo>
                      <a:pt x="46" y="74"/>
                      <a:pt x="53" y="74"/>
                      <a:pt x="61" y="75"/>
                    </a:cubicBezTo>
                    <a:cubicBezTo>
                      <a:pt x="61" y="72"/>
                      <a:pt x="59" y="71"/>
                      <a:pt x="57" y="70"/>
                    </a:cubicBezTo>
                    <a:cubicBezTo>
                      <a:pt x="49" y="68"/>
                      <a:pt x="40" y="68"/>
                      <a:pt x="32" y="69"/>
                    </a:cubicBezTo>
                    <a:close/>
                    <a:moveTo>
                      <a:pt x="56" y="98"/>
                    </a:moveTo>
                    <a:cubicBezTo>
                      <a:pt x="59" y="97"/>
                      <a:pt x="60" y="96"/>
                      <a:pt x="61" y="93"/>
                    </a:cubicBezTo>
                    <a:cubicBezTo>
                      <a:pt x="60" y="93"/>
                      <a:pt x="57" y="93"/>
                      <a:pt x="54" y="93"/>
                    </a:cubicBezTo>
                    <a:cubicBezTo>
                      <a:pt x="48" y="92"/>
                      <a:pt x="44" y="92"/>
                      <a:pt x="41" y="92"/>
                    </a:cubicBezTo>
                    <a:cubicBezTo>
                      <a:pt x="40" y="92"/>
                      <a:pt x="38" y="92"/>
                      <a:pt x="36" y="93"/>
                    </a:cubicBezTo>
                    <a:cubicBezTo>
                      <a:pt x="31" y="93"/>
                      <a:pt x="28" y="94"/>
                      <a:pt x="26" y="94"/>
                    </a:cubicBezTo>
                    <a:cubicBezTo>
                      <a:pt x="27" y="96"/>
                      <a:pt x="29" y="98"/>
                      <a:pt x="32" y="98"/>
                    </a:cubicBezTo>
                    <a:cubicBezTo>
                      <a:pt x="39" y="99"/>
                      <a:pt x="47" y="99"/>
                      <a:pt x="56" y="98"/>
                    </a:cubicBezTo>
                    <a:close/>
                    <a:moveTo>
                      <a:pt x="56" y="29"/>
                    </a:moveTo>
                    <a:cubicBezTo>
                      <a:pt x="55" y="29"/>
                      <a:pt x="53" y="29"/>
                      <a:pt x="51" y="29"/>
                    </a:cubicBezTo>
                    <a:cubicBezTo>
                      <a:pt x="49" y="29"/>
                      <a:pt x="47" y="29"/>
                      <a:pt x="46" y="29"/>
                    </a:cubicBezTo>
                    <a:cubicBezTo>
                      <a:pt x="46" y="31"/>
                      <a:pt x="46" y="34"/>
                      <a:pt x="46" y="37"/>
                    </a:cubicBezTo>
                    <a:cubicBezTo>
                      <a:pt x="50" y="37"/>
                      <a:pt x="55" y="37"/>
                      <a:pt x="60" y="37"/>
                    </a:cubicBezTo>
                    <a:cubicBezTo>
                      <a:pt x="60" y="35"/>
                      <a:pt x="60" y="35"/>
                      <a:pt x="60" y="35"/>
                    </a:cubicBezTo>
                    <a:cubicBezTo>
                      <a:pt x="60" y="32"/>
                      <a:pt x="58" y="30"/>
                      <a:pt x="56" y="29"/>
                    </a:cubicBezTo>
                    <a:close/>
                    <a:moveTo>
                      <a:pt x="59" y="48"/>
                    </a:moveTo>
                    <a:cubicBezTo>
                      <a:pt x="59" y="47"/>
                      <a:pt x="59" y="45"/>
                      <a:pt x="60" y="43"/>
                    </a:cubicBezTo>
                    <a:cubicBezTo>
                      <a:pt x="55" y="43"/>
                      <a:pt x="51" y="43"/>
                      <a:pt x="46" y="43"/>
                    </a:cubicBezTo>
                    <a:cubicBezTo>
                      <a:pt x="46" y="52"/>
                      <a:pt x="46" y="52"/>
                      <a:pt x="46" y="52"/>
                    </a:cubicBezTo>
                    <a:cubicBezTo>
                      <a:pt x="48" y="52"/>
                      <a:pt x="51" y="52"/>
                      <a:pt x="54" y="52"/>
                    </a:cubicBezTo>
                    <a:cubicBezTo>
                      <a:pt x="57" y="51"/>
                      <a:pt x="59" y="49"/>
                      <a:pt x="59" y="4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312" name="îSḻide"/>
              <p:cNvSpPr/>
              <p:nvPr/>
            </p:nvSpPr>
            <p:spPr bwMode="auto">
              <a:xfrm>
                <a:off x="2449409" y="5256803"/>
                <a:ext cx="139700" cy="265113"/>
              </a:xfrm>
              <a:custGeom>
                <a:avLst/>
                <a:gdLst>
                  <a:gd name="T0" fmla="*/ 56 w 76"/>
                  <a:gd name="T1" fmla="*/ 3 h 144"/>
                  <a:gd name="T2" fmla="*/ 61 w 76"/>
                  <a:gd name="T3" fmla="*/ 45 h 144"/>
                  <a:gd name="T4" fmla="*/ 50 w 76"/>
                  <a:gd name="T5" fmla="*/ 74 h 144"/>
                  <a:gd name="T6" fmla="*/ 68 w 76"/>
                  <a:gd name="T7" fmla="*/ 65 h 144"/>
                  <a:gd name="T8" fmla="*/ 70 w 76"/>
                  <a:gd name="T9" fmla="*/ 31 h 144"/>
                  <a:gd name="T10" fmla="*/ 74 w 76"/>
                  <a:gd name="T11" fmla="*/ 31 h 144"/>
                  <a:gd name="T12" fmla="*/ 74 w 76"/>
                  <a:gd name="T13" fmla="*/ 64 h 144"/>
                  <a:gd name="T14" fmla="*/ 50 w 76"/>
                  <a:gd name="T15" fmla="*/ 81 h 144"/>
                  <a:gd name="T16" fmla="*/ 69 w 76"/>
                  <a:gd name="T17" fmla="*/ 103 h 144"/>
                  <a:gd name="T18" fmla="*/ 74 w 76"/>
                  <a:gd name="T19" fmla="*/ 140 h 144"/>
                  <a:gd name="T20" fmla="*/ 63 w 76"/>
                  <a:gd name="T21" fmla="*/ 105 h 144"/>
                  <a:gd name="T22" fmla="*/ 52 w 76"/>
                  <a:gd name="T23" fmla="*/ 138 h 144"/>
                  <a:gd name="T24" fmla="*/ 46 w 76"/>
                  <a:gd name="T25" fmla="*/ 139 h 144"/>
                  <a:gd name="T26" fmla="*/ 42 w 76"/>
                  <a:gd name="T27" fmla="*/ 57 h 144"/>
                  <a:gd name="T28" fmla="*/ 35 w 76"/>
                  <a:gd name="T29" fmla="*/ 132 h 144"/>
                  <a:gd name="T30" fmla="*/ 27 w 76"/>
                  <a:gd name="T31" fmla="*/ 136 h 144"/>
                  <a:gd name="T32" fmla="*/ 29 w 76"/>
                  <a:gd name="T33" fmla="*/ 95 h 144"/>
                  <a:gd name="T34" fmla="*/ 5 w 76"/>
                  <a:gd name="T35" fmla="*/ 135 h 144"/>
                  <a:gd name="T36" fmla="*/ 0 w 76"/>
                  <a:gd name="T37" fmla="*/ 135 h 144"/>
                  <a:gd name="T38" fmla="*/ 30 w 76"/>
                  <a:gd name="T39" fmla="*/ 86 h 144"/>
                  <a:gd name="T40" fmla="*/ 26 w 76"/>
                  <a:gd name="T41" fmla="*/ 80 h 144"/>
                  <a:gd name="T42" fmla="*/ 5 w 76"/>
                  <a:gd name="T43" fmla="*/ 66 h 144"/>
                  <a:gd name="T44" fmla="*/ 3 w 76"/>
                  <a:gd name="T45" fmla="*/ 29 h 144"/>
                  <a:gd name="T46" fmla="*/ 9 w 76"/>
                  <a:gd name="T47" fmla="*/ 59 h 144"/>
                  <a:gd name="T48" fmla="*/ 31 w 76"/>
                  <a:gd name="T49" fmla="*/ 74 h 144"/>
                  <a:gd name="T50" fmla="*/ 32 w 76"/>
                  <a:gd name="T51" fmla="*/ 57 h 144"/>
                  <a:gd name="T52" fmla="*/ 16 w 76"/>
                  <a:gd name="T53" fmla="*/ 14 h 144"/>
                  <a:gd name="T54" fmla="*/ 22 w 76"/>
                  <a:gd name="T55" fmla="*/ 19 h 144"/>
                  <a:gd name="T56" fmla="*/ 57 w 76"/>
                  <a:gd name="T57" fmla="*/ 19 h 144"/>
                  <a:gd name="T58" fmla="*/ 50 w 76"/>
                  <a:gd name="T59" fmla="*/ 9 h 144"/>
                  <a:gd name="T60" fmla="*/ 22 w 76"/>
                  <a:gd name="T61" fmla="*/ 19 h 144"/>
                  <a:gd name="T62" fmla="*/ 23 w 76"/>
                  <a:gd name="T63" fmla="*/ 31 h 144"/>
                  <a:gd name="T64" fmla="*/ 57 w 76"/>
                  <a:gd name="T65" fmla="*/ 34 h 144"/>
                  <a:gd name="T66" fmla="*/ 22 w 76"/>
                  <a:gd name="T67" fmla="*/ 27 h 144"/>
                  <a:gd name="T68" fmla="*/ 48 w 76"/>
                  <a:gd name="T69" fmla="*/ 50 h 144"/>
                  <a:gd name="T70" fmla="*/ 57 w 76"/>
                  <a:gd name="T71" fmla="*/ 41 h 144"/>
                  <a:gd name="T72" fmla="*/ 25 w 76"/>
                  <a:gd name="T73" fmla="*/ 44 h 1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76" h="144">
                    <a:moveTo>
                      <a:pt x="27" y="2"/>
                    </a:moveTo>
                    <a:cubicBezTo>
                      <a:pt x="37" y="0"/>
                      <a:pt x="47" y="0"/>
                      <a:pt x="56" y="3"/>
                    </a:cubicBezTo>
                    <a:cubicBezTo>
                      <a:pt x="60" y="3"/>
                      <a:pt x="62" y="7"/>
                      <a:pt x="63" y="15"/>
                    </a:cubicBezTo>
                    <a:cubicBezTo>
                      <a:pt x="65" y="25"/>
                      <a:pt x="64" y="35"/>
                      <a:pt x="61" y="45"/>
                    </a:cubicBezTo>
                    <a:cubicBezTo>
                      <a:pt x="60" y="53"/>
                      <a:pt x="55" y="56"/>
                      <a:pt x="49" y="57"/>
                    </a:cubicBezTo>
                    <a:cubicBezTo>
                      <a:pt x="49" y="62"/>
                      <a:pt x="50" y="68"/>
                      <a:pt x="50" y="74"/>
                    </a:cubicBezTo>
                    <a:cubicBezTo>
                      <a:pt x="53" y="74"/>
                      <a:pt x="56" y="74"/>
                      <a:pt x="58" y="74"/>
                    </a:cubicBezTo>
                    <a:cubicBezTo>
                      <a:pt x="62" y="75"/>
                      <a:pt x="66" y="72"/>
                      <a:pt x="68" y="65"/>
                    </a:cubicBezTo>
                    <a:cubicBezTo>
                      <a:pt x="69" y="62"/>
                      <a:pt x="70" y="53"/>
                      <a:pt x="70" y="39"/>
                    </a:cubicBezTo>
                    <a:cubicBezTo>
                      <a:pt x="70" y="35"/>
                      <a:pt x="70" y="32"/>
                      <a:pt x="70" y="31"/>
                    </a:cubicBezTo>
                    <a:cubicBezTo>
                      <a:pt x="71" y="31"/>
                      <a:pt x="71" y="30"/>
                      <a:pt x="72" y="30"/>
                    </a:cubicBezTo>
                    <a:cubicBezTo>
                      <a:pt x="73" y="30"/>
                      <a:pt x="74" y="30"/>
                      <a:pt x="74" y="31"/>
                    </a:cubicBezTo>
                    <a:cubicBezTo>
                      <a:pt x="75" y="33"/>
                      <a:pt x="76" y="36"/>
                      <a:pt x="76" y="41"/>
                    </a:cubicBezTo>
                    <a:cubicBezTo>
                      <a:pt x="76" y="49"/>
                      <a:pt x="75" y="56"/>
                      <a:pt x="74" y="64"/>
                    </a:cubicBezTo>
                    <a:cubicBezTo>
                      <a:pt x="72" y="75"/>
                      <a:pt x="67" y="81"/>
                      <a:pt x="58" y="81"/>
                    </a:cubicBezTo>
                    <a:cubicBezTo>
                      <a:pt x="50" y="81"/>
                      <a:pt x="50" y="81"/>
                      <a:pt x="50" y="81"/>
                    </a:cubicBezTo>
                    <a:cubicBezTo>
                      <a:pt x="50" y="87"/>
                      <a:pt x="50" y="87"/>
                      <a:pt x="50" y="87"/>
                    </a:cubicBezTo>
                    <a:cubicBezTo>
                      <a:pt x="60" y="87"/>
                      <a:pt x="66" y="92"/>
                      <a:pt x="69" y="103"/>
                    </a:cubicBezTo>
                    <a:cubicBezTo>
                      <a:pt x="72" y="112"/>
                      <a:pt x="74" y="122"/>
                      <a:pt x="76" y="134"/>
                    </a:cubicBezTo>
                    <a:cubicBezTo>
                      <a:pt x="76" y="138"/>
                      <a:pt x="75" y="140"/>
                      <a:pt x="74" y="140"/>
                    </a:cubicBezTo>
                    <a:cubicBezTo>
                      <a:pt x="72" y="141"/>
                      <a:pt x="71" y="139"/>
                      <a:pt x="70" y="136"/>
                    </a:cubicBezTo>
                    <a:cubicBezTo>
                      <a:pt x="68" y="126"/>
                      <a:pt x="66" y="116"/>
                      <a:pt x="63" y="105"/>
                    </a:cubicBezTo>
                    <a:cubicBezTo>
                      <a:pt x="61" y="98"/>
                      <a:pt x="57" y="95"/>
                      <a:pt x="50" y="95"/>
                    </a:cubicBezTo>
                    <a:cubicBezTo>
                      <a:pt x="50" y="109"/>
                      <a:pt x="51" y="123"/>
                      <a:pt x="52" y="138"/>
                    </a:cubicBezTo>
                    <a:cubicBezTo>
                      <a:pt x="52" y="141"/>
                      <a:pt x="51" y="143"/>
                      <a:pt x="49" y="144"/>
                    </a:cubicBezTo>
                    <a:cubicBezTo>
                      <a:pt x="47" y="144"/>
                      <a:pt x="46" y="142"/>
                      <a:pt x="46" y="139"/>
                    </a:cubicBezTo>
                    <a:cubicBezTo>
                      <a:pt x="44" y="134"/>
                      <a:pt x="43" y="118"/>
                      <a:pt x="43" y="92"/>
                    </a:cubicBezTo>
                    <a:cubicBezTo>
                      <a:pt x="43" y="76"/>
                      <a:pt x="43" y="64"/>
                      <a:pt x="42" y="57"/>
                    </a:cubicBezTo>
                    <a:cubicBezTo>
                      <a:pt x="38" y="57"/>
                      <a:pt x="38" y="57"/>
                      <a:pt x="38" y="57"/>
                    </a:cubicBezTo>
                    <a:cubicBezTo>
                      <a:pt x="36" y="88"/>
                      <a:pt x="35" y="113"/>
                      <a:pt x="35" y="132"/>
                    </a:cubicBezTo>
                    <a:cubicBezTo>
                      <a:pt x="35" y="138"/>
                      <a:pt x="33" y="142"/>
                      <a:pt x="31" y="142"/>
                    </a:cubicBezTo>
                    <a:cubicBezTo>
                      <a:pt x="29" y="142"/>
                      <a:pt x="27" y="140"/>
                      <a:pt x="27" y="136"/>
                    </a:cubicBezTo>
                    <a:cubicBezTo>
                      <a:pt x="27" y="136"/>
                      <a:pt x="27" y="134"/>
                      <a:pt x="27" y="132"/>
                    </a:cubicBezTo>
                    <a:cubicBezTo>
                      <a:pt x="28" y="118"/>
                      <a:pt x="29" y="105"/>
                      <a:pt x="29" y="95"/>
                    </a:cubicBezTo>
                    <a:cubicBezTo>
                      <a:pt x="19" y="95"/>
                      <a:pt x="14" y="98"/>
                      <a:pt x="13" y="105"/>
                    </a:cubicBezTo>
                    <a:cubicBezTo>
                      <a:pt x="10" y="114"/>
                      <a:pt x="7" y="124"/>
                      <a:pt x="5" y="135"/>
                    </a:cubicBezTo>
                    <a:cubicBezTo>
                      <a:pt x="4" y="137"/>
                      <a:pt x="3" y="139"/>
                      <a:pt x="2" y="139"/>
                    </a:cubicBezTo>
                    <a:cubicBezTo>
                      <a:pt x="1" y="140"/>
                      <a:pt x="0" y="138"/>
                      <a:pt x="0" y="135"/>
                    </a:cubicBezTo>
                    <a:cubicBezTo>
                      <a:pt x="0" y="125"/>
                      <a:pt x="2" y="115"/>
                      <a:pt x="7" y="104"/>
                    </a:cubicBezTo>
                    <a:cubicBezTo>
                      <a:pt x="11" y="92"/>
                      <a:pt x="18" y="86"/>
                      <a:pt x="30" y="86"/>
                    </a:cubicBezTo>
                    <a:cubicBezTo>
                      <a:pt x="30" y="85"/>
                      <a:pt x="30" y="83"/>
                      <a:pt x="31" y="80"/>
                    </a:cubicBezTo>
                    <a:cubicBezTo>
                      <a:pt x="29" y="81"/>
                      <a:pt x="28" y="81"/>
                      <a:pt x="26" y="80"/>
                    </a:cubicBezTo>
                    <a:cubicBezTo>
                      <a:pt x="24" y="80"/>
                      <a:pt x="23" y="80"/>
                      <a:pt x="22" y="80"/>
                    </a:cubicBezTo>
                    <a:cubicBezTo>
                      <a:pt x="14" y="81"/>
                      <a:pt x="8" y="76"/>
                      <a:pt x="5" y="66"/>
                    </a:cubicBezTo>
                    <a:cubicBezTo>
                      <a:pt x="2" y="59"/>
                      <a:pt x="0" y="49"/>
                      <a:pt x="0" y="37"/>
                    </a:cubicBezTo>
                    <a:cubicBezTo>
                      <a:pt x="0" y="32"/>
                      <a:pt x="1" y="29"/>
                      <a:pt x="3" y="29"/>
                    </a:cubicBezTo>
                    <a:cubicBezTo>
                      <a:pt x="6" y="31"/>
                      <a:pt x="8" y="35"/>
                      <a:pt x="8" y="39"/>
                    </a:cubicBezTo>
                    <a:cubicBezTo>
                      <a:pt x="7" y="45"/>
                      <a:pt x="7" y="52"/>
                      <a:pt x="9" y="59"/>
                    </a:cubicBezTo>
                    <a:cubicBezTo>
                      <a:pt x="10" y="68"/>
                      <a:pt x="16" y="73"/>
                      <a:pt x="24" y="74"/>
                    </a:cubicBezTo>
                    <a:cubicBezTo>
                      <a:pt x="26" y="74"/>
                      <a:pt x="29" y="74"/>
                      <a:pt x="31" y="74"/>
                    </a:cubicBezTo>
                    <a:cubicBezTo>
                      <a:pt x="31" y="72"/>
                      <a:pt x="31" y="69"/>
                      <a:pt x="31" y="65"/>
                    </a:cubicBezTo>
                    <a:cubicBezTo>
                      <a:pt x="31" y="61"/>
                      <a:pt x="32" y="58"/>
                      <a:pt x="32" y="57"/>
                    </a:cubicBezTo>
                    <a:cubicBezTo>
                      <a:pt x="25" y="56"/>
                      <a:pt x="20" y="53"/>
                      <a:pt x="19" y="48"/>
                    </a:cubicBezTo>
                    <a:cubicBezTo>
                      <a:pt x="15" y="36"/>
                      <a:pt x="14" y="25"/>
                      <a:pt x="16" y="14"/>
                    </a:cubicBezTo>
                    <a:cubicBezTo>
                      <a:pt x="17" y="6"/>
                      <a:pt x="21" y="2"/>
                      <a:pt x="27" y="2"/>
                    </a:cubicBezTo>
                    <a:close/>
                    <a:moveTo>
                      <a:pt x="22" y="19"/>
                    </a:moveTo>
                    <a:cubicBezTo>
                      <a:pt x="22" y="20"/>
                      <a:pt x="22" y="20"/>
                      <a:pt x="22" y="20"/>
                    </a:cubicBezTo>
                    <a:cubicBezTo>
                      <a:pt x="30" y="20"/>
                      <a:pt x="42" y="19"/>
                      <a:pt x="57" y="19"/>
                    </a:cubicBezTo>
                    <a:cubicBezTo>
                      <a:pt x="57" y="18"/>
                      <a:pt x="57" y="17"/>
                      <a:pt x="57" y="16"/>
                    </a:cubicBezTo>
                    <a:cubicBezTo>
                      <a:pt x="56" y="13"/>
                      <a:pt x="54" y="10"/>
                      <a:pt x="50" y="9"/>
                    </a:cubicBezTo>
                    <a:cubicBezTo>
                      <a:pt x="44" y="8"/>
                      <a:pt x="37" y="7"/>
                      <a:pt x="31" y="9"/>
                    </a:cubicBezTo>
                    <a:cubicBezTo>
                      <a:pt x="25" y="11"/>
                      <a:pt x="22" y="14"/>
                      <a:pt x="22" y="19"/>
                    </a:cubicBezTo>
                    <a:close/>
                    <a:moveTo>
                      <a:pt x="22" y="27"/>
                    </a:moveTo>
                    <a:cubicBezTo>
                      <a:pt x="22" y="28"/>
                      <a:pt x="22" y="29"/>
                      <a:pt x="23" y="31"/>
                    </a:cubicBezTo>
                    <a:cubicBezTo>
                      <a:pt x="23" y="32"/>
                      <a:pt x="23" y="33"/>
                      <a:pt x="23" y="34"/>
                    </a:cubicBezTo>
                    <a:cubicBezTo>
                      <a:pt x="57" y="34"/>
                      <a:pt x="57" y="34"/>
                      <a:pt x="57" y="34"/>
                    </a:cubicBezTo>
                    <a:cubicBezTo>
                      <a:pt x="57" y="27"/>
                      <a:pt x="57" y="27"/>
                      <a:pt x="57" y="27"/>
                    </a:cubicBezTo>
                    <a:cubicBezTo>
                      <a:pt x="45" y="26"/>
                      <a:pt x="33" y="26"/>
                      <a:pt x="22" y="27"/>
                    </a:cubicBezTo>
                    <a:close/>
                    <a:moveTo>
                      <a:pt x="35" y="50"/>
                    </a:moveTo>
                    <a:cubicBezTo>
                      <a:pt x="48" y="50"/>
                      <a:pt x="48" y="50"/>
                      <a:pt x="48" y="50"/>
                    </a:cubicBezTo>
                    <a:cubicBezTo>
                      <a:pt x="53" y="50"/>
                      <a:pt x="55" y="47"/>
                      <a:pt x="57" y="42"/>
                    </a:cubicBezTo>
                    <a:cubicBezTo>
                      <a:pt x="57" y="41"/>
                      <a:pt x="57" y="41"/>
                      <a:pt x="57" y="41"/>
                    </a:cubicBezTo>
                    <a:cubicBezTo>
                      <a:pt x="43" y="41"/>
                      <a:pt x="32" y="41"/>
                      <a:pt x="24" y="42"/>
                    </a:cubicBezTo>
                    <a:cubicBezTo>
                      <a:pt x="24" y="43"/>
                      <a:pt x="24" y="43"/>
                      <a:pt x="25" y="44"/>
                    </a:cubicBezTo>
                    <a:cubicBezTo>
                      <a:pt x="27" y="48"/>
                      <a:pt x="30" y="50"/>
                      <a:pt x="35" y="5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313" name="iṣlîḋè"/>
              <p:cNvSpPr/>
              <p:nvPr/>
            </p:nvSpPr>
            <p:spPr bwMode="auto">
              <a:xfrm>
                <a:off x="2604984" y="5259978"/>
                <a:ext cx="177800" cy="255588"/>
              </a:xfrm>
              <a:custGeom>
                <a:avLst/>
                <a:gdLst>
                  <a:gd name="T0" fmla="*/ 5 w 96"/>
                  <a:gd name="T1" fmla="*/ 37 h 138"/>
                  <a:gd name="T2" fmla="*/ 24 w 96"/>
                  <a:gd name="T3" fmla="*/ 49 h 138"/>
                  <a:gd name="T4" fmla="*/ 7 w 96"/>
                  <a:gd name="T5" fmla="*/ 26 h 138"/>
                  <a:gd name="T6" fmla="*/ 0 w 96"/>
                  <a:gd name="T7" fmla="*/ 22 h 138"/>
                  <a:gd name="T8" fmla="*/ 44 w 96"/>
                  <a:gd name="T9" fmla="*/ 19 h 138"/>
                  <a:gd name="T10" fmla="*/ 40 w 96"/>
                  <a:gd name="T11" fmla="*/ 26 h 138"/>
                  <a:gd name="T12" fmla="*/ 29 w 96"/>
                  <a:gd name="T13" fmla="*/ 49 h 138"/>
                  <a:gd name="T14" fmla="*/ 42 w 96"/>
                  <a:gd name="T15" fmla="*/ 39 h 138"/>
                  <a:gd name="T16" fmla="*/ 36 w 96"/>
                  <a:gd name="T17" fmla="*/ 64 h 138"/>
                  <a:gd name="T18" fmla="*/ 44 w 96"/>
                  <a:gd name="T19" fmla="*/ 70 h 138"/>
                  <a:gd name="T20" fmla="*/ 30 w 96"/>
                  <a:gd name="T21" fmla="*/ 78 h 138"/>
                  <a:gd name="T22" fmla="*/ 48 w 96"/>
                  <a:gd name="T23" fmla="*/ 111 h 138"/>
                  <a:gd name="T24" fmla="*/ 42 w 96"/>
                  <a:gd name="T25" fmla="*/ 124 h 138"/>
                  <a:gd name="T26" fmla="*/ 33 w 96"/>
                  <a:gd name="T27" fmla="*/ 93 h 138"/>
                  <a:gd name="T28" fmla="*/ 30 w 96"/>
                  <a:gd name="T29" fmla="*/ 116 h 138"/>
                  <a:gd name="T30" fmla="*/ 24 w 96"/>
                  <a:gd name="T31" fmla="*/ 133 h 138"/>
                  <a:gd name="T32" fmla="*/ 20 w 96"/>
                  <a:gd name="T33" fmla="*/ 93 h 138"/>
                  <a:gd name="T34" fmla="*/ 11 w 96"/>
                  <a:gd name="T35" fmla="*/ 122 h 138"/>
                  <a:gd name="T36" fmla="*/ 8 w 96"/>
                  <a:gd name="T37" fmla="*/ 102 h 138"/>
                  <a:gd name="T38" fmla="*/ 24 w 96"/>
                  <a:gd name="T39" fmla="*/ 81 h 138"/>
                  <a:gd name="T40" fmla="*/ 3 w 96"/>
                  <a:gd name="T41" fmla="*/ 77 h 138"/>
                  <a:gd name="T42" fmla="*/ 14 w 96"/>
                  <a:gd name="T43" fmla="*/ 70 h 138"/>
                  <a:gd name="T44" fmla="*/ 20 w 96"/>
                  <a:gd name="T45" fmla="*/ 65 h 138"/>
                  <a:gd name="T46" fmla="*/ 2 w 96"/>
                  <a:gd name="T47" fmla="*/ 37 h 138"/>
                  <a:gd name="T48" fmla="*/ 40 w 96"/>
                  <a:gd name="T49" fmla="*/ 3 h 138"/>
                  <a:gd name="T50" fmla="*/ 14 w 96"/>
                  <a:gd name="T51" fmla="*/ 11 h 138"/>
                  <a:gd name="T52" fmla="*/ 5 w 96"/>
                  <a:gd name="T53" fmla="*/ 6 h 138"/>
                  <a:gd name="T54" fmla="*/ 33 w 96"/>
                  <a:gd name="T55" fmla="*/ 26 h 138"/>
                  <a:gd name="T56" fmla="*/ 27 w 96"/>
                  <a:gd name="T57" fmla="*/ 45 h 138"/>
                  <a:gd name="T58" fmla="*/ 54 w 96"/>
                  <a:gd name="T59" fmla="*/ 2 h 138"/>
                  <a:gd name="T60" fmla="*/ 58 w 96"/>
                  <a:gd name="T61" fmla="*/ 10 h 138"/>
                  <a:gd name="T62" fmla="*/ 88 w 96"/>
                  <a:gd name="T63" fmla="*/ 22 h 138"/>
                  <a:gd name="T64" fmla="*/ 74 w 96"/>
                  <a:gd name="T65" fmla="*/ 37 h 138"/>
                  <a:gd name="T66" fmla="*/ 62 w 96"/>
                  <a:gd name="T67" fmla="*/ 66 h 138"/>
                  <a:gd name="T68" fmla="*/ 53 w 96"/>
                  <a:gd name="T69" fmla="*/ 136 h 138"/>
                  <a:gd name="T70" fmla="*/ 48 w 96"/>
                  <a:gd name="T71" fmla="*/ 130 h 138"/>
                  <a:gd name="T72" fmla="*/ 55 w 96"/>
                  <a:gd name="T73" fmla="*/ 48 h 138"/>
                  <a:gd name="T74" fmla="*/ 76 w 96"/>
                  <a:gd name="T75" fmla="*/ 31 h 138"/>
                  <a:gd name="T76" fmla="*/ 65 w 96"/>
                  <a:gd name="T77" fmla="*/ 18 h 138"/>
                  <a:gd name="T78" fmla="*/ 52 w 96"/>
                  <a:gd name="T79" fmla="*/ 13 h 138"/>
                  <a:gd name="T80" fmla="*/ 94 w 96"/>
                  <a:gd name="T81" fmla="*/ 74 h 138"/>
                  <a:gd name="T82" fmla="*/ 76 w 96"/>
                  <a:gd name="T83" fmla="*/ 54 h 138"/>
                  <a:gd name="T84" fmla="*/ 83 w 96"/>
                  <a:gd name="T85" fmla="*/ 119 h 138"/>
                  <a:gd name="T86" fmla="*/ 88 w 96"/>
                  <a:gd name="T87" fmla="*/ 133 h 138"/>
                  <a:gd name="T88" fmla="*/ 70 w 96"/>
                  <a:gd name="T89" fmla="*/ 93 h 138"/>
                  <a:gd name="T90" fmla="*/ 70 w 96"/>
                  <a:gd name="T91" fmla="*/ 42 h 138"/>
                  <a:gd name="T92" fmla="*/ 95 w 96"/>
                  <a:gd name="T93" fmla="*/ 70 h 1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96" h="138">
                    <a:moveTo>
                      <a:pt x="2" y="37"/>
                    </a:moveTo>
                    <a:cubicBezTo>
                      <a:pt x="2" y="36"/>
                      <a:pt x="2" y="35"/>
                      <a:pt x="3" y="35"/>
                    </a:cubicBezTo>
                    <a:cubicBezTo>
                      <a:pt x="4" y="35"/>
                      <a:pt x="5" y="36"/>
                      <a:pt x="5" y="37"/>
                    </a:cubicBezTo>
                    <a:cubicBezTo>
                      <a:pt x="9" y="49"/>
                      <a:pt x="14" y="56"/>
                      <a:pt x="21" y="59"/>
                    </a:cubicBezTo>
                    <a:cubicBezTo>
                      <a:pt x="21" y="59"/>
                      <a:pt x="22" y="60"/>
                      <a:pt x="24" y="60"/>
                    </a:cubicBezTo>
                    <a:cubicBezTo>
                      <a:pt x="24" y="56"/>
                      <a:pt x="24" y="53"/>
                      <a:pt x="24" y="49"/>
                    </a:cubicBezTo>
                    <a:cubicBezTo>
                      <a:pt x="21" y="48"/>
                      <a:pt x="18" y="46"/>
                      <a:pt x="16" y="42"/>
                    </a:cubicBezTo>
                    <a:cubicBezTo>
                      <a:pt x="13" y="38"/>
                      <a:pt x="12" y="33"/>
                      <a:pt x="12" y="26"/>
                    </a:cubicBezTo>
                    <a:cubicBezTo>
                      <a:pt x="9" y="26"/>
                      <a:pt x="8" y="26"/>
                      <a:pt x="7" y="26"/>
                    </a:cubicBezTo>
                    <a:cubicBezTo>
                      <a:pt x="4" y="27"/>
                      <a:pt x="2" y="27"/>
                      <a:pt x="1" y="25"/>
                    </a:cubicBezTo>
                    <a:cubicBezTo>
                      <a:pt x="0" y="24"/>
                      <a:pt x="0" y="23"/>
                      <a:pt x="0" y="22"/>
                    </a:cubicBezTo>
                    <a:cubicBezTo>
                      <a:pt x="0" y="22"/>
                      <a:pt x="0" y="22"/>
                      <a:pt x="0" y="22"/>
                    </a:cubicBezTo>
                    <a:cubicBezTo>
                      <a:pt x="1" y="19"/>
                      <a:pt x="2" y="18"/>
                      <a:pt x="4" y="19"/>
                    </a:cubicBezTo>
                    <a:cubicBezTo>
                      <a:pt x="6" y="19"/>
                      <a:pt x="8" y="19"/>
                      <a:pt x="11" y="19"/>
                    </a:cubicBezTo>
                    <a:cubicBezTo>
                      <a:pt x="44" y="19"/>
                      <a:pt x="44" y="19"/>
                      <a:pt x="44" y="19"/>
                    </a:cubicBezTo>
                    <a:cubicBezTo>
                      <a:pt x="46" y="19"/>
                      <a:pt x="48" y="20"/>
                      <a:pt x="48" y="23"/>
                    </a:cubicBezTo>
                    <a:cubicBezTo>
                      <a:pt x="47" y="25"/>
                      <a:pt x="45" y="26"/>
                      <a:pt x="42" y="26"/>
                    </a:cubicBezTo>
                    <a:cubicBezTo>
                      <a:pt x="42" y="26"/>
                      <a:pt x="41" y="26"/>
                      <a:pt x="40" y="26"/>
                    </a:cubicBezTo>
                    <a:cubicBezTo>
                      <a:pt x="40" y="26"/>
                      <a:pt x="40" y="26"/>
                      <a:pt x="40" y="26"/>
                    </a:cubicBezTo>
                    <a:cubicBezTo>
                      <a:pt x="39" y="34"/>
                      <a:pt x="38" y="39"/>
                      <a:pt x="37" y="42"/>
                    </a:cubicBezTo>
                    <a:cubicBezTo>
                      <a:pt x="34" y="46"/>
                      <a:pt x="32" y="49"/>
                      <a:pt x="29" y="49"/>
                    </a:cubicBezTo>
                    <a:cubicBezTo>
                      <a:pt x="30" y="53"/>
                      <a:pt x="30" y="56"/>
                      <a:pt x="30" y="60"/>
                    </a:cubicBezTo>
                    <a:cubicBezTo>
                      <a:pt x="31" y="60"/>
                      <a:pt x="32" y="59"/>
                      <a:pt x="33" y="58"/>
                    </a:cubicBezTo>
                    <a:cubicBezTo>
                      <a:pt x="39" y="56"/>
                      <a:pt x="42" y="49"/>
                      <a:pt x="42" y="39"/>
                    </a:cubicBezTo>
                    <a:cubicBezTo>
                      <a:pt x="43" y="37"/>
                      <a:pt x="44" y="36"/>
                      <a:pt x="46" y="36"/>
                    </a:cubicBezTo>
                    <a:cubicBezTo>
                      <a:pt x="47" y="36"/>
                      <a:pt x="48" y="37"/>
                      <a:pt x="48" y="39"/>
                    </a:cubicBezTo>
                    <a:cubicBezTo>
                      <a:pt x="49" y="49"/>
                      <a:pt x="45" y="57"/>
                      <a:pt x="36" y="64"/>
                    </a:cubicBezTo>
                    <a:cubicBezTo>
                      <a:pt x="34" y="65"/>
                      <a:pt x="32" y="66"/>
                      <a:pt x="30" y="66"/>
                    </a:cubicBezTo>
                    <a:cubicBezTo>
                      <a:pt x="30" y="70"/>
                      <a:pt x="30" y="70"/>
                      <a:pt x="30" y="70"/>
                    </a:cubicBezTo>
                    <a:cubicBezTo>
                      <a:pt x="44" y="70"/>
                      <a:pt x="44" y="70"/>
                      <a:pt x="44" y="70"/>
                    </a:cubicBezTo>
                    <a:cubicBezTo>
                      <a:pt x="47" y="70"/>
                      <a:pt x="49" y="71"/>
                      <a:pt x="49" y="73"/>
                    </a:cubicBezTo>
                    <a:cubicBezTo>
                      <a:pt x="49" y="76"/>
                      <a:pt x="47" y="77"/>
                      <a:pt x="43" y="77"/>
                    </a:cubicBezTo>
                    <a:cubicBezTo>
                      <a:pt x="37" y="77"/>
                      <a:pt x="33" y="77"/>
                      <a:pt x="30" y="78"/>
                    </a:cubicBezTo>
                    <a:cubicBezTo>
                      <a:pt x="30" y="80"/>
                      <a:pt x="30" y="82"/>
                      <a:pt x="30" y="84"/>
                    </a:cubicBezTo>
                    <a:cubicBezTo>
                      <a:pt x="34" y="84"/>
                      <a:pt x="37" y="87"/>
                      <a:pt x="40" y="91"/>
                    </a:cubicBezTo>
                    <a:cubicBezTo>
                      <a:pt x="44" y="96"/>
                      <a:pt x="46" y="103"/>
                      <a:pt x="48" y="111"/>
                    </a:cubicBezTo>
                    <a:cubicBezTo>
                      <a:pt x="49" y="116"/>
                      <a:pt x="49" y="120"/>
                      <a:pt x="48" y="124"/>
                    </a:cubicBezTo>
                    <a:cubicBezTo>
                      <a:pt x="47" y="125"/>
                      <a:pt x="46" y="125"/>
                      <a:pt x="45" y="125"/>
                    </a:cubicBezTo>
                    <a:cubicBezTo>
                      <a:pt x="44" y="125"/>
                      <a:pt x="43" y="125"/>
                      <a:pt x="42" y="124"/>
                    </a:cubicBezTo>
                    <a:cubicBezTo>
                      <a:pt x="42" y="123"/>
                      <a:pt x="42" y="121"/>
                      <a:pt x="42" y="118"/>
                    </a:cubicBezTo>
                    <a:cubicBezTo>
                      <a:pt x="41" y="116"/>
                      <a:pt x="41" y="114"/>
                      <a:pt x="41" y="113"/>
                    </a:cubicBezTo>
                    <a:cubicBezTo>
                      <a:pt x="40" y="104"/>
                      <a:pt x="37" y="97"/>
                      <a:pt x="33" y="93"/>
                    </a:cubicBezTo>
                    <a:cubicBezTo>
                      <a:pt x="33" y="92"/>
                      <a:pt x="32" y="91"/>
                      <a:pt x="30" y="91"/>
                    </a:cubicBezTo>
                    <a:cubicBezTo>
                      <a:pt x="31" y="97"/>
                      <a:pt x="31" y="101"/>
                      <a:pt x="31" y="105"/>
                    </a:cubicBezTo>
                    <a:cubicBezTo>
                      <a:pt x="31" y="107"/>
                      <a:pt x="31" y="111"/>
                      <a:pt x="30" y="116"/>
                    </a:cubicBezTo>
                    <a:cubicBezTo>
                      <a:pt x="30" y="124"/>
                      <a:pt x="30" y="129"/>
                      <a:pt x="29" y="133"/>
                    </a:cubicBezTo>
                    <a:cubicBezTo>
                      <a:pt x="29" y="136"/>
                      <a:pt x="28" y="137"/>
                      <a:pt x="27" y="137"/>
                    </a:cubicBezTo>
                    <a:cubicBezTo>
                      <a:pt x="26" y="137"/>
                      <a:pt x="25" y="136"/>
                      <a:pt x="24" y="133"/>
                    </a:cubicBezTo>
                    <a:cubicBezTo>
                      <a:pt x="24" y="120"/>
                      <a:pt x="24" y="111"/>
                      <a:pt x="24" y="105"/>
                    </a:cubicBezTo>
                    <a:cubicBezTo>
                      <a:pt x="24" y="100"/>
                      <a:pt x="24" y="95"/>
                      <a:pt x="24" y="90"/>
                    </a:cubicBezTo>
                    <a:cubicBezTo>
                      <a:pt x="22" y="91"/>
                      <a:pt x="21" y="92"/>
                      <a:pt x="20" y="93"/>
                    </a:cubicBezTo>
                    <a:cubicBezTo>
                      <a:pt x="18" y="94"/>
                      <a:pt x="16" y="98"/>
                      <a:pt x="14" y="102"/>
                    </a:cubicBezTo>
                    <a:cubicBezTo>
                      <a:pt x="13" y="104"/>
                      <a:pt x="13" y="104"/>
                      <a:pt x="13" y="104"/>
                    </a:cubicBezTo>
                    <a:cubicBezTo>
                      <a:pt x="12" y="108"/>
                      <a:pt x="11" y="114"/>
                      <a:pt x="11" y="122"/>
                    </a:cubicBezTo>
                    <a:cubicBezTo>
                      <a:pt x="10" y="124"/>
                      <a:pt x="9" y="125"/>
                      <a:pt x="7" y="125"/>
                    </a:cubicBezTo>
                    <a:cubicBezTo>
                      <a:pt x="6" y="125"/>
                      <a:pt x="5" y="124"/>
                      <a:pt x="5" y="122"/>
                    </a:cubicBezTo>
                    <a:cubicBezTo>
                      <a:pt x="6" y="115"/>
                      <a:pt x="7" y="108"/>
                      <a:pt x="8" y="102"/>
                    </a:cubicBezTo>
                    <a:cubicBezTo>
                      <a:pt x="9" y="97"/>
                      <a:pt x="11" y="92"/>
                      <a:pt x="14" y="89"/>
                    </a:cubicBezTo>
                    <a:cubicBezTo>
                      <a:pt x="17" y="86"/>
                      <a:pt x="20" y="84"/>
                      <a:pt x="24" y="84"/>
                    </a:cubicBezTo>
                    <a:cubicBezTo>
                      <a:pt x="24" y="81"/>
                      <a:pt x="24" y="81"/>
                      <a:pt x="24" y="81"/>
                    </a:cubicBezTo>
                    <a:cubicBezTo>
                      <a:pt x="24" y="80"/>
                      <a:pt x="24" y="79"/>
                      <a:pt x="24" y="78"/>
                    </a:cubicBezTo>
                    <a:cubicBezTo>
                      <a:pt x="14" y="78"/>
                      <a:pt x="9" y="78"/>
                      <a:pt x="9" y="78"/>
                    </a:cubicBezTo>
                    <a:cubicBezTo>
                      <a:pt x="6" y="79"/>
                      <a:pt x="4" y="79"/>
                      <a:pt x="3" y="77"/>
                    </a:cubicBezTo>
                    <a:cubicBezTo>
                      <a:pt x="2" y="76"/>
                      <a:pt x="2" y="74"/>
                      <a:pt x="3" y="72"/>
                    </a:cubicBezTo>
                    <a:cubicBezTo>
                      <a:pt x="3" y="70"/>
                      <a:pt x="4" y="70"/>
                      <a:pt x="7" y="70"/>
                    </a:cubicBezTo>
                    <a:cubicBezTo>
                      <a:pt x="8" y="70"/>
                      <a:pt x="10" y="70"/>
                      <a:pt x="14" y="70"/>
                    </a:cubicBezTo>
                    <a:cubicBezTo>
                      <a:pt x="24" y="70"/>
                      <a:pt x="24" y="70"/>
                      <a:pt x="24" y="70"/>
                    </a:cubicBezTo>
                    <a:cubicBezTo>
                      <a:pt x="24" y="66"/>
                      <a:pt x="24" y="66"/>
                      <a:pt x="24" y="66"/>
                    </a:cubicBezTo>
                    <a:cubicBezTo>
                      <a:pt x="22" y="66"/>
                      <a:pt x="21" y="66"/>
                      <a:pt x="20" y="65"/>
                    </a:cubicBezTo>
                    <a:cubicBezTo>
                      <a:pt x="12" y="62"/>
                      <a:pt x="6" y="56"/>
                      <a:pt x="2" y="46"/>
                    </a:cubicBezTo>
                    <a:cubicBezTo>
                      <a:pt x="2" y="46"/>
                      <a:pt x="2" y="43"/>
                      <a:pt x="2" y="40"/>
                    </a:cubicBezTo>
                    <a:cubicBezTo>
                      <a:pt x="2" y="39"/>
                      <a:pt x="2" y="38"/>
                      <a:pt x="2" y="37"/>
                    </a:cubicBezTo>
                    <a:close/>
                    <a:moveTo>
                      <a:pt x="9" y="3"/>
                    </a:moveTo>
                    <a:cubicBezTo>
                      <a:pt x="11" y="3"/>
                      <a:pt x="15" y="3"/>
                      <a:pt x="19" y="3"/>
                    </a:cubicBezTo>
                    <a:cubicBezTo>
                      <a:pt x="40" y="3"/>
                      <a:pt x="40" y="3"/>
                      <a:pt x="40" y="3"/>
                    </a:cubicBezTo>
                    <a:cubicBezTo>
                      <a:pt x="43" y="3"/>
                      <a:pt x="44" y="5"/>
                      <a:pt x="44" y="7"/>
                    </a:cubicBezTo>
                    <a:cubicBezTo>
                      <a:pt x="44" y="9"/>
                      <a:pt x="42" y="10"/>
                      <a:pt x="39" y="10"/>
                    </a:cubicBezTo>
                    <a:cubicBezTo>
                      <a:pt x="34" y="10"/>
                      <a:pt x="25" y="10"/>
                      <a:pt x="14" y="11"/>
                    </a:cubicBezTo>
                    <a:cubicBezTo>
                      <a:pt x="13" y="11"/>
                      <a:pt x="12" y="11"/>
                      <a:pt x="11" y="11"/>
                    </a:cubicBezTo>
                    <a:cubicBezTo>
                      <a:pt x="7" y="11"/>
                      <a:pt x="5" y="11"/>
                      <a:pt x="5" y="9"/>
                    </a:cubicBezTo>
                    <a:cubicBezTo>
                      <a:pt x="5" y="9"/>
                      <a:pt x="4" y="8"/>
                      <a:pt x="5" y="6"/>
                    </a:cubicBezTo>
                    <a:cubicBezTo>
                      <a:pt x="5" y="5"/>
                      <a:pt x="5" y="5"/>
                      <a:pt x="5" y="5"/>
                    </a:cubicBezTo>
                    <a:cubicBezTo>
                      <a:pt x="5" y="3"/>
                      <a:pt x="6" y="3"/>
                      <a:pt x="9" y="3"/>
                    </a:cubicBezTo>
                    <a:close/>
                    <a:moveTo>
                      <a:pt x="33" y="26"/>
                    </a:moveTo>
                    <a:cubicBezTo>
                      <a:pt x="28" y="26"/>
                      <a:pt x="23" y="26"/>
                      <a:pt x="17" y="26"/>
                    </a:cubicBezTo>
                    <a:cubicBezTo>
                      <a:pt x="18" y="32"/>
                      <a:pt x="20" y="38"/>
                      <a:pt x="24" y="42"/>
                    </a:cubicBezTo>
                    <a:cubicBezTo>
                      <a:pt x="25" y="44"/>
                      <a:pt x="26" y="45"/>
                      <a:pt x="27" y="45"/>
                    </a:cubicBezTo>
                    <a:cubicBezTo>
                      <a:pt x="28" y="45"/>
                      <a:pt x="29" y="44"/>
                      <a:pt x="29" y="42"/>
                    </a:cubicBezTo>
                    <a:cubicBezTo>
                      <a:pt x="32" y="38"/>
                      <a:pt x="33" y="33"/>
                      <a:pt x="33" y="26"/>
                    </a:cubicBezTo>
                    <a:close/>
                    <a:moveTo>
                      <a:pt x="54" y="2"/>
                    </a:moveTo>
                    <a:cubicBezTo>
                      <a:pt x="55" y="0"/>
                      <a:pt x="57" y="0"/>
                      <a:pt x="58" y="1"/>
                    </a:cubicBezTo>
                    <a:cubicBezTo>
                      <a:pt x="59" y="2"/>
                      <a:pt x="60" y="4"/>
                      <a:pt x="59" y="6"/>
                    </a:cubicBezTo>
                    <a:cubicBezTo>
                      <a:pt x="57" y="8"/>
                      <a:pt x="57" y="9"/>
                      <a:pt x="58" y="10"/>
                    </a:cubicBezTo>
                    <a:cubicBezTo>
                      <a:pt x="59" y="11"/>
                      <a:pt x="61" y="12"/>
                      <a:pt x="63" y="11"/>
                    </a:cubicBezTo>
                    <a:cubicBezTo>
                      <a:pt x="67" y="9"/>
                      <a:pt x="73" y="9"/>
                      <a:pt x="80" y="11"/>
                    </a:cubicBezTo>
                    <a:cubicBezTo>
                      <a:pt x="84" y="13"/>
                      <a:pt x="87" y="16"/>
                      <a:pt x="88" y="22"/>
                    </a:cubicBezTo>
                    <a:cubicBezTo>
                      <a:pt x="89" y="27"/>
                      <a:pt x="88" y="32"/>
                      <a:pt x="85" y="35"/>
                    </a:cubicBezTo>
                    <a:cubicBezTo>
                      <a:pt x="84" y="38"/>
                      <a:pt x="81" y="39"/>
                      <a:pt x="75" y="37"/>
                    </a:cubicBezTo>
                    <a:cubicBezTo>
                      <a:pt x="75" y="37"/>
                      <a:pt x="74" y="37"/>
                      <a:pt x="74" y="37"/>
                    </a:cubicBezTo>
                    <a:cubicBezTo>
                      <a:pt x="69" y="37"/>
                      <a:pt x="66" y="37"/>
                      <a:pt x="63" y="38"/>
                    </a:cubicBezTo>
                    <a:cubicBezTo>
                      <a:pt x="62" y="38"/>
                      <a:pt x="61" y="40"/>
                      <a:pt x="61" y="43"/>
                    </a:cubicBezTo>
                    <a:cubicBezTo>
                      <a:pt x="62" y="48"/>
                      <a:pt x="62" y="56"/>
                      <a:pt x="62" y="66"/>
                    </a:cubicBezTo>
                    <a:cubicBezTo>
                      <a:pt x="62" y="70"/>
                      <a:pt x="61" y="76"/>
                      <a:pt x="61" y="84"/>
                    </a:cubicBezTo>
                    <a:cubicBezTo>
                      <a:pt x="59" y="99"/>
                      <a:pt x="58" y="110"/>
                      <a:pt x="57" y="116"/>
                    </a:cubicBezTo>
                    <a:cubicBezTo>
                      <a:pt x="57" y="122"/>
                      <a:pt x="55" y="128"/>
                      <a:pt x="53" y="136"/>
                    </a:cubicBezTo>
                    <a:cubicBezTo>
                      <a:pt x="52" y="137"/>
                      <a:pt x="51" y="138"/>
                      <a:pt x="50" y="138"/>
                    </a:cubicBezTo>
                    <a:cubicBezTo>
                      <a:pt x="48" y="138"/>
                      <a:pt x="48" y="137"/>
                      <a:pt x="48" y="136"/>
                    </a:cubicBezTo>
                    <a:cubicBezTo>
                      <a:pt x="48" y="135"/>
                      <a:pt x="48" y="133"/>
                      <a:pt x="48" y="130"/>
                    </a:cubicBezTo>
                    <a:cubicBezTo>
                      <a:pt x="49" y="127"/>
                      <a:pt x="49" y="126"/>
                      <a:pt x="49" y="125"/>
                    </a:cubicBezTo>
                    <a:cubicBezTo>
                      <a:pt x="53" y="104"/>
                      <a:pt x="55" y="85"/>
                      <a:pt x="55" y="68"/>
                    </a:cubicBezTo>
                    <a:cubicBezTo>
                      <a:pt x="56" y="60"/>
                      <a:pt x="56" y="54"/>
                      <a:pt x="55" y="48"/>
                    </a:cubicBezTo>
                    <a:cubicBezTo>
                      <a:pt x="54" y="45"/>
                      <a:pt x="53" y="42"/>
                      <a:pt x="52" y="40"/>
                    </a:cubicBezTo>
                    <a:cubicBezTo>
                      <a:pt x="50" y="38"/>
                      <a:pt x="51" y="36"/>
                      <a:pt x="54" y="34"/>
                    </a:cubicBezTo>
                    <a:cubicBezTo>
                      <a:pt x="58" y="30"/>
                      <a:pt x="66" y="29"/>
                      <a:pt x="76" y="31"/>
                    </a:cubicBezTo>
                    <a:cubicBezTo>
                      <a:pt x="81" y="32"/>
                      <a:pt x="83" y="30"/>
                      <a:pt x="83" y="25"/>
                    </a:cubicBezTo>
                    <a:cubicBezTo>
                      <a:pt x="83" y="21"/>
                      <a:pt x="81" y="18"/>
                      <a:pt x="77" y="18"/>
                    </a:cubicBezTo>
                    <a:cubicBezTo>
                      <a:pt x="70" y="17"/>
                      <a:pt x="66" y="17"/>
                      <a:pt x="65" y="18"/>
                    </a:cubicBezTo>
                    <a:cubicBezTo>
                      <a:pt x="63" y="19"/>
                      <a:pt x="60" y="19"/>
                      <a:pt x="57" y="19"/>
                    </a:cubicBezTo>
                    <a:cubicBezTo>
                      <a:pt x="57" y="18"/>
                      <a:pt x="55" y="17"/>
                      <a:pt x="53" y="15"/>
                    </a:cubicBezTo>
                    <a:cubicBezTo>
                      <a:pt x="53" y="14"/>
                      <a:pt x="52" y="14"/>
                      <a:pt x="52" y="13"/>
                    </a:cubicBezTo>
                    <a:cubicBezTo>
                      <a:pt x="50" y="10"/>
                      <a:pt x="51" y="6"/>
                      <a:pt x="54" y="2"/>
                    </a:cubicBezTo>
                    <a:close/>
                    <a:moveTo>
                      <a:pt x="95" y="70"/>
                    </a:moveTo>
                    <a:cubicBezTo>
                      <a:pt x="96" y="72"/>
                      <a:pt x="95" y="73"/>
                      <a:pt x="94" y="74"/>
                    </a:cubicBezTo>
                    <a:cubicBezTo>
                      <a:pt x="92" y="74"/>
                      <a:pt x="91" y="74"/>
                      <a:pt x="90" y="72"/>
                    </a:cubicBezTo>
                    <a:cubicBezTo>
                      <a:pt x="88" y="67"/>
                      <a:pt x="84" y="62"/>
                      <a:pt x="78" y="56"/>
                    </a:cubicBezTo>
                    <a:cubicBezTo>
                      <a:pt x="77" y="55"/>
                      <a:pt x="76" y="54"/>
                      <a:pt x="76" y="54"/>
                    </a:cubicBezTo>
                    <a:cubicBezTo>
                      <a:pt x="75" y="56"/>
                      <a:pt x="75" y="56"/>
                      <a:pt x="75" y="56"/>
                    </a:cubicBezTo>
                    <a:cubicBezTo>
                      <a:pt x="75" y="61"/>
                      <a:pt x="75" y="73"/>
                      <a:pt x="77" y="93"/>
                    </a:cubicBezTo>
                    <a:cubicBezTo>
                      <a:pt x="78" y="99"/>
                      <a:pt x="80" y="107"/>
                      <a:pt x="83" y="119"/>
                    </a:cubicBezTo>
                    <a:cubicBezTo>
                      <a:pt x="84" y="122"/>
                      <a:pt x="85" y="124"/>
                      <a:pt x="85" y="124"/>
                    </a:cubicBezTo>
                    <a:cubicBezTo>
                      <a:pt x="86" y="126"/>
                      <a:pt x="86" y="128"/>
                      <a:pt x="87" y="131"/>
                    </a:cubicBezTo>
                    <a:cubicBezTo>
                      <a:pt x="88" y="132"/>
                      <a:pt x="88" y="133"/>
                      <a:pt x="88" y="133"/>
                    </a:cubicBezTo>
                    <a:cubicBezTo>
                      <a:pt x="88" y="135"/>
                      <a:pt x="88" y="136"/>
                      <a:pt x="86" y="136"/>
                    </a:cubicBezTo>
                    <a:cubicBezTo>
                      <a:pt x="84" y="136"/>
                      <a:pt x="83" y="135"/>
                      <a:pt x="82" y="133"/>
                    </a:cubicBezTo>
                    <a:cubicBezTo>
                      <a:pt x="77" y="123"/>
                      <a:pt x="73" y="110"/>
                      <a:pt x="70" y="93"/>
                    </a:cubicBezTo>
                    <a:cubicBezTo>
                      <a:pt x="69" y="79"/>
                      <a:pt x="68" y="68"/>
                      <a:pt x="68" y="58"/>
                    </a:cubicBezTo>
                    <a:cubicBezTo>
                      <a:pt x="68" y="51"/>
                      <a:pt x="68" y="46"/>
                      <a:pt x="68" y="44"/>
                    </a:cubicBezTo>
                    <a:cubicBezTo>
                      <a:pt x="68" y="43"/>
                      <a:pt x="69" y="42"/>
                      <a:pt x="70" y="42"/>
                    </a:cubicBezTo>
                    <a:cubicBezTo>
                      <a:pt x="71" y="41"/>
                      <a:pt x="71" y="41"/>
                      <a:pt x="72" y="42"/>
                    </a:cubicBezTo>
                    <a:cubicBezTo>
                      <a:pt x="76" y="45"/>
                      <a:pt x="78" y="48"/>
                      <a:pt x="80" y="49"/>
                    </a:cubicBezTo>
                    <a:cubicBezTo>
                      <a:pt x="86" y="54"/>
                      <a:pt x="91" y="61"/>
                      <a:pt x="95" y="7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314" name="íṣ1ïḑe"/>
              <p:cNvSpPr/>
              <p:nvPr/>
            </p:nvSpPr>
            <p:spPr bwMode="auto">
              <a:xfrm>
                <a:off x="1750909" y="4905965"/>
                <a:ext cx="93663" cy="87313"/>
              </a:xfrm>
              <a:custGeom>
                <a:avLst/>
                <a:gdLst>
                  <a:gd name="T0" fmla="*/ 51 w 51"/>
                  <a:gd name="T1" fmla="*/ 17 h 47"/>
                  <a:gd name="T2" fmla="*/ 46 w 51"/>
                  <a:gd name="T3" fmla="*/ 25 h 47"/>
                  <a:gd name="T4" fmla="*/ 26 w 51"/>
                  <a:gd name="T5" fmla="*/ 13 h 47"/>
                  <a:gd name="T6" fmla="*/ 20 w 51"/>
                  <a:gd name="T7" fmla="*/ 9 h 47"/>
                  <a:gd name="T8" fmla="*/ 14 w 51"/>
                  <a:gd name="T9" fmla="*/ 9 h 47"/>
                  <a:gd name="T10" fmla="*/ 10 w 51"/>
                  <a:gd name="T11" fmla="*/ 13 h 47"/>
                  <a:gd name="T12" fmla="*/ 8 w 51"/>
                  <a:gd name="T13" fmla="*/ 19 h 47"/>
                  <a:gd name="T14" fmla="*/ 10 w 51"/>
                  <a:gd name="T15" fmla="*/ 23 h 47"/>
                  <a:gd name="T16" fmla="*/ 17 w 51"/>
                  <a:gd name="T17" fmla="*/ 27 h 47"/>
                  <a:gd name="T18" fmla="*/ 37 w 51"/>
                  <a:gd name="T19" fmla="*/ 40 h 47"/>
                  <a:gd name="T20" fmla="*/ 33 w 51"/>
                  <a:gd name="T21" fmla="*/ 47 h 47"/>
                  <a:gd name="T22" fmla="*/ 13 w 51"/>
                  <a:gd name="T23" fmla="*/ 35 h 47"/>
                  <a:gd name="T24" fmla="*/ 4 w 51"/>
                  <a:gd name="T25" fmla="*/ 29 h 47"/>
                  <a:gd name="T26" fmla="*/ 1 w 51"/>
                  <a:gd name="T27" fmla="*/ 24 h 47"/>
                  <a:gd name="T28" fmla="*/ 0 w 51"/>
                  <a:gd name="T29" fmla="*/ 18 h 47"/>
                  <a:gd name="T30" fmla="*/ 3 w 51"/>
                  <a:gd name="T31" fmla="*/ 10 h 47"/>
                  <a:gd name="T32" fmla="*/ 10 w 51"/>
                  <a:gd name="T33" fmla="*/ 2 h 47"/>
                  <a:gd name="T34" fmla="*/ 15 w 51"/>
                  <a:gd name="T35" fmla="*/ 0 h 47"/>
                  <a:gd name="T36" fmla="*/ 21 w 51"/>
                  <a:gd name="T37" fmla="*/ 0 h 47"/>
                  <a:gd name="T38" fmla="*/ 31 w 51"/>
                  <a:gd name="T39" fmla="*/ 5 h 47"/>
                  <a:gd name="T40" fmla="*/ 51 w 51"/>
                  <a:gd name="T41" fmla="*/ 17 h 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51" h="47">
                    <a:moveTo>
                      <a:pt x="51" y="17"/>
                    </a:moveTo>
                    <a:cubicBezTo>
                      <a:pt x="46" y="25"/>
                      <a:pt x="46" y="25"/>
                      <a:pt x="46" y="25"/>
                    </a:cubicBezTo>
                    <a:cubicBezTo>
                      <a:pt x="26" y="13"/>
                      <a:pt x="26" y="13"/>
                      <a:pt x="26" y="13"/>
                    </a:cubicBezTo>
                    <a:cubicBezTo>
                      <a:pt x="23" y="11"/>
                      <a:pt x="21" y="10"/>
                      <a:pt x="20" y="9"/>
                    </a:cubicBezTo>
                    <a:cubicBezTo>
                      <a:pt x="18" y="9"/>
                      <a:pt x="16" y="9"/>
                      <a:pt x="14" y="9"/>
                    </a:cubicBezTo>
                    <a:cubicBezTo>
                      <a:pt x="13" y="10"/>
                      <a:pt x="11" y="11"/>
                      <a:pt x="10" y="13"/>
                    </a:cubicBezTo>
                    <a:cubicBezTo>
                      <a:pt x="9" y="16"/>
                      <a:pt x="8" y="17"/>
                      <a:pt x="8" y="19"/>
                    </a:cubicBezTo>
                    <a:cubicBezTo>
                      <a:pt x="9" y="21"/>
                      <a:pt x="9" y="22"/>
                      <a:pt x="10" y="23"/>
                    </a:cubicBezTo>
                    <a:cubicBezTo>
                      <a:pt x="12" y="24"/>
                      <a:pt x="14" y="25"/>
                      <a:pt x="17" y="27"/>
                    </a:cubicBezTo>
                    <a:cubicBezTo>
                      <a:pt x="37" y="40"/>
                      <a:pt x="37" y="40"/>
                      <a:pt x="37" y="40"/>
                    </a:cubicBezTo>
                    <a:cubicBezTo>
                      <a:pt x="33" y="47"/>
                      <a:pt x="33" y="47"/>
                      <a:pt x="33" y="47"/>
                    </a:cubicBezTo>
                    <a:cubicBezTo>
                      <a:pt x="13" y="35"/>
                      <a:pt x="13" y="35"/>
                      <a:pt x="13" y="35"/>
                    </a:cubicBezTo>
                    <a:cubicBezTo>
                      <a:pt x="9" y="33"/>
                      <a:pt x="6" y="31"/>
                      <a:pt x="4" y="29"/>
                    </a:cubicBezTo>
                    <a:cubicBezTo>
                      <a:pt x="2" y="28"/>
                      <a:pt x="1" y="26"/>
                      <a:pt x="1" y="24"/>
                    </a:cubicBezTo>
                    <a:cubicBezTo>
                      <a:pt x="0" y="22"/>
                      <a:pt x="0" y="20"/>
                      <a:pt x="0" y="18"/>
                    </a:cubicBezTo>
                    <a:cubicBezTo>
                      <a:pt x="0" y="15"/>
                      <a:pt x="2" y="13"/>
                      <a:pt x="3" y="10"/>
                    </a:cubicBezTo>
                    <a:cubicBezTo>
                      <a:pt x="6" y="6"/>
                      <a:pt x="8" y="4"/>
                      <a:pt x="10" y="2"/>
                    </a:cubicBezTo>
                    <a:cubicBezTo>
                      <a:pt x="11" y="1"/>
                      <a:pt x="13" y="0"/>
                      <a:pt x="15" y="0"/>
                    </a:cubicBezTo>
                    <a:cubicBezTo>
                      <a:pt x="17" y="0"/>
                      <a:pt x="19" y="0"/>
                      <a:pt x="21" y="0"/>
                    </a:cubicBezTo>
                    <a:cubicBezTo>
                      <a:pt x="23" y="1"/>
                      <a:pt x="27" y="3"/>
                      <a:pt x="31" y="5"/>
                    </a:cubicBezTo>
                    <a:lnTo>
                      <a:pt x="51" y="1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315" name="íṧḷîde"/>
              <p:cNvSpPr/>
              <p:nvPr/>
            </p:nvSpPr>
            <p:spPr bwMode="auto">
              <a:xfrm>
                <a:off x="1704872" y="4971053"/>
                <a:ext cx="100013" cy="92075"/>
              </a:xfrm>
              <a:custGeom>
                <a:avLst/>
                <a:gdLst>
                  <a:gd name="T0" fmla="*/ 17 w 63"/>
                  <a:gd name="T1" fmla="*/ 0 h 58"/>
                  <a:gd name="T2" fmla="*/ 63 w 63"/>
                  <a:gd name="T3" fmla="*/ 21 h 58"/>
                  <a:gd name="T4" fmla="*/ 59 w 63"/>
                  <a:gd name="T5" fmla="*/ 30 h 58"/>
                  <a:gd name="T6" fmla="*/ 19 w 63"/>
                  <a:gd name="T7" fmla="*/ 35 h 58"/>
                  <a:gd name="T8" fmla="*/ 50 w 63"/>
                  <a:gd name="T9" fmla="*/ 50 h 58"/>
                  <a:gd name="T10" fmla="*/ 46 w 63"/>
                  <a:gd name="T11" fmla="*/ 58 h 58"/>
                  <a:gd name="T12" fmla="*/ 0 w 63"/>
                  <a:gd name="T13" fmla="*/ 37 h 58"/>
                  <a:gd name="T14" fmla="*/ 4 w 63"/>
                  <a:gd name="T15" fmla="*/ 26 h 58"/>
                  <a:gd name="T16" fmla="*/ 43 w 63"/>
                  <a:gd name="T17" fmla="*/ 22 h 58"/>
                  <a:gd name="T18" fmla="*/ 12 w 63"/>
                  <a:gd name="T19" fmla="*/ 8 h 58"/>
                  <a:gd name="T20" fmla="*/ 17 w 63"/>
                  <a:gd name="T21" fmla="*/ 0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63" h="58">
                    <a:moveTo>
                      <a:pt x="17" y="0"/>
                    </a:moveTo>
                    <a:lnTo>
                      <a:pt x="63" y="21"/>
                    </a:lnTo>
                    <a:lnTo>
                      <a:pt x="59" y="30"/>
                    </a:lnTo>
                    <a:lnTo>
                      <a:pt x="19" y="35"/>
                    </a:lnTo>
                    <a:lnTo>
                      <a:pt x="50" y="50"/>
                    </a:lnTo>
                    <a:lnTo>
                      <a:pt x="46" y="58"/>
                    </a:lnTo>
                    <a:lnTo>
                      <a:pt x="0" y="37"/>
                    </a:lnTo>
                    <a:lnTo>
                      <a:pt x="4" y="26"/>
                    </a:lnTo>
                    <a:lnTo>
                      <a:pt x="43" y="22"/>
                    </a:lnTo>
                    <a:lnTo>
                      <a:pt x="12" y="8"/>
                    </a:lnTo>
                    <a:lnTo>
                      <a:pt x="17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316" name="íS1îḍé"/>
              <p:cNvSpPr/>
              <p:nvPr/>
            </p:nvSpPr>
            <p:spPr bwMode="auto">
              <a:xfrm>
                <a:off x="1690584" y="5045665"/>
                <a:ext cx="84138" cy="44450"/>
              </a:xfrm>
              <a:custGeom>
                <a:avLst/>
                <a:gdLst>
                  <a:gd name="T0" fmla="*/ 5 w 53"/>
                  <a:gd name="T1" fmla="*/ 0 h 28"/>
                  <a:gd name="T2" fmla="*/ 53 w 53"/>
                  <a:gd name="T3" fmla="*/ 19 h 28"/>
                  <a:gd name="T4" fmla="*/ 49 w 53"/>
                  <a:gd name="T5" fmla="*/ 28 h 28"/>
                  <a:gd name="T6" fmla="*/ 0 w 53"/>
                  <a:gd name="T7" fmla="*/ 10 h 28"/>
                  <a:gd name="T8" fmla="*/ 5 w 53"/>
                  <a:gd name="T9" fmla="*/ 0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3" h="28">
                    <a:moveTo>
                      <a:pt x="5" y="0"/>
                    </a:moveTo>
                    <a:lnTo>
                      <a:pt x="53" y="19"/>
                    </a:lnTo>
                    <a:lnTo>
                      <a:pt x="49" y="28"/>
                    </a:lnTo>
                    <a:lnTo>
                      <a:pt x="0" y="10"/>
                    </a:lnTo>
                    <a:lnTo>
                      <a:pt x="5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317" name="íṧļïḋè"/>
              <p:cNvSpPr/>
              <p:nvPr/>
            </p:nvSpPr>
            <p:spPr bwMode="auto">
              <a:xfrm>
                <a:off x="1674709" y="5091703"/>
                <a:ext cx="92075" cy="73025"/>
              </a:xfrm>
              <a:custGeom>
                <a:avLst/>
                <a:gdLst>
                  <a:gd name="T0" fmla="*/ 4 w 58"/>
                  <a:gd name="T1" fmla="*/ 3 h 46"/>
                  <a:gd name="T2" fmla="*/ 58 w 58"/>
                  <a:gd name="T3" fmla="*/ 0 h 46"/>
                  <a:gd name="T4" fmla="*/ 55 w 58"/>
                  <a:gd name="T5" fmla="*/ 11 h 46"/>
                  <a:gd name="T6" fmla="*/ 14 w 58"/>
                  <a:gd name="T7" fmla="*/ 13 h 46"/>
                  <a:gd name="T8" fmla="*/ 46 w 58"/>
                  <a:gd name="T9" fmla="*/ 35 h 46"/>
                  <a:gd name="T10" fmla="*/ 44 w 58"/>
                  <a:gd name="T11" fmla="*/ 46 h 46"/>
                  <a:gd name="T12" fmla="*/ 0 w 58"/>
                  <a:gd name="T13" fmla="*/ 14 h 46"/>
                  <a:gd name="T14" fmla="*/ 4 w 58"/>
                  <a:gd name="T15" fmla="*/ 3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58" h="46">
                    <a:moveTo>
                      <a:pt x="4" y="3"/>
                    </a:moveTo>
                    <a:lnTo>
                      <a:pt x="58" y="0"/>
                    </a:lnTo>
                    <a:lnTo>
                      <a:pt x="55" y="11"/>
                    </a:lnTo>
                    <a:lnTo>
                      <a:pt x="14" y="13"/>
                    </a:lnTo>
                    <a:lnTo>
                      <a:pt x="46" y="35"/>
                    </a:lnTo>
                    <a:lnTo>
                      <a:pt x="44" y="46"/>
                    </a:lnTo>
                    <a:lnTo>
                      <a:pt x="0" y="14"/>
                    </a:lnTo>
                    <a:lnTo>
                      <a:pt x="4" y="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318" name="ïṡḷiḋé"/>
              <p:cNvSpPr/>
              <p:nvPr/>
            </p:nvSpPr>
            <p:spPr bwMode="auto">
              <a:xfrm>
                <a:off x="1652484" y="5153615"/>
                <a:ext cx="90488" cy="73025"/>
              </a:xfrm>
              <a:custGeom>
                <a:avLst/>
                <a:gdLst>
                  <a:gd name="T0" fmla="*/ 7 w 57"/>
                  <a:gd name="T1" fmla="*/ 0 h 46"/>
                  <a:gd name="T2" fmla="*/ 57 w 57"/>
                  <a:gd name="T3" fmla="*/ 10 h 46"/>
                  <a:gd name="T4" fmla="*/ 50 w 57"/>
                  <a:gd name="T5" fmla="*/ 46 h 46"/>
                  <a:gd name="T6" fmla="*/ 42 w 57"/>
                  <a:gd name="T7" fmla="*/ 45 h 46"/>
                  <a:gd name="T8" fmla="*/ 47 w 57"/>
                  <a:gd name="T9" fmla="*/ 18 h 46"/>
                  <a:gd name="T10" fmla="*/ 36 w 57"/>
                  <a:gd name="T11" fmla="*/ 16 h 46"/>
                  <a:gd name="T12" fmla="*/ 30 w 57"/>
                  <a:gd name="T13" fmla="*/ 40 h 46"/>
                  <a:gd name="T14" fmla="*/ 22 w 57"/>
                  <a:gd name="T15" fmla="*/ 39 h 46"/>
                  <a:gd name="T16" fmla="*/ 27 w 57"/>
                  <a:gd name="T17" fmla="*/ 14 h 46"/>
                  <a:gd name="T18" fmla="*/ 14 w 57"/>
                  <a:gd name="T19" fmla="*/ 11 h 46"/>
                  <a:gd name="T20" fmla="*/ 8 w 57"/>
                  <a:gd name="T21" fmla="*/ 39 h 46"/>
                  <a:gd name="T22" fmla="*/ 0 w 57"/>
                  <a:gd name="T23" fmla="*/ 38 h 46"/>
                  <a:gd name="T24" fmla="*/ 7 w 57"/>
                  <a:gd name="T25" fmla="*/ 0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57" h="46">
                    <a:moveTo>
                      <a:pt x="7" y="0"/>
                    </a:moveTo>
                    <a:lnTo>
                      <a:pt x="57" y="10"/>
                    </a:lnTo>
                    <a:lnTo>
                      <a:pt x="50" y="46"/>
                    </a:lnTo>
                    <a:lnTo>
                      <a:pt x="42" y="45"/>
                    </a:lnTo>
                    <a:lnTo>
                      <a:pt x="47" y="18"/>
                    </a:lnTo>
                    <a:lnTo>
                      <a:pt x="36" y="16"/>
                    </a:lnTo>
                    <a:lnTo>
                      <a:pt x="30" y="40"/>
                    </a:lnTo>
                    <a:lnTo>
                      <a:pt x="22" y="39"/>
                    </a:lnTo>
                    <a:lnTo>
                      <a:pt x="27" y="14"/>
                    </a:lnTo>
                    <a:lnTo>
                      <a:pt x="14" y="11"/>
                    </a:lnTo>
                    <a:lnTo>
                      <a:pt x="8" y="39"/>
                    </a:lnTo>
                    <a:lnTo>
                      <a:pt x="0" y="38"/>
                    </a:lnTo>
                    <a:lnTo>
                      <a:pt x="7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319" name="ïşļiḋe"/>
              <p:cNvSpPr/>
              <p:nvPr/>
            </p:nvSpPr>
            <p:spPr bwMode="auto">
              <a:xfrm>
                <a:off x="1641372" y="5231403"/>
                <a:ext cx="88900" cy="71438"/>
              </a:xfrm>
              <a:custGeom>
                <a:avLst/>
                <a:gdLst>
                  <a:gd name="T0" fmla="*/ 4 w 48"/>
                  <a:gd name="T1" fmla="*/ 0 h 39"/>
                  <a:gd name="T2" fmla="*/ 48 w 48"/>
                  <a:gd name="T3" fmla="*/ 4 h 39"/>
                  <a:gd name="T4" fmla="*/ 46 w 48"/>
                  <a:gd name="T5" fmla="*/ 23 h 39"/>
                  <a:gd name="T6" fmla="*/ 44 w 48"/>
                  <a:gd name="T7" fmla="*/ 33 h 39"/>
                  <a:gd name="T8" fmla="*/ 39 w 48"/>
                  <a:gd name="T9" fmla="*/ 38 h 39"/>
                  <a:gd name="T10" fmla="*/ 32 w 48"/>
                  <a:gd name="T11" fmla="*/ 39 h 39"/>
                  <a:gd name="T12" fmla="*/ 24 w 48"/>
                  <a:gd name="T13" fmla="*/ 35 h 39"/>
                  <a:gd name="T14" fmla="*/ 21 w 48"/>
                  <a:gd name="T15" fmla="*/ 26 h 39"/>
                  <a:gd name="T16" fmla="*/ 17 w 48"/>
                  <a:gd name="T17" fmla="*/ 30 h 39"/>
                  <a:gd name="T18" fmla="*/ 9 w 48"/>
                  <a:gd name="T19" fmla="*/ 35 h 39"/>
                  <a:gd name="T20" fmla="*/ 0 w 48"/>
                  <a:gd name="T21" fmla="*/ 39 h 39"/>
                  <a:gd name="T22" fmla="*/ 1 w 48"/>
                  <a:gd name="T23" fmla="*/ 29 h 39"/>
                  <a:gd name="T24" fmla="*/ 12 w 48"/>
                  <a:gd name="T25" fmla="*/ 23 h 39"/>
                  <a:gd name="T26" fmla="*/ 18 w 48"/>
                  <a:gd name="T27" fmla="*/ 19 h 39"/>
                  <a:gd name="T28" fmla="*/ 20 w 48"/>
                  <a:gd name="T29" fmla="*/ 17 h 39"/>
                  <a:gd name="T30" fmla="*/ 21 w 48"/>
                  <a:gd name="T31" fmla="*/ 12 h 39"/>
                  <a:gd name="T32" fmla="*/ 22 w 48"/>
                  <a:gd name="T33" fmla="*/ 11 h 39"/>
                  <a:gd name="T34" fmla="*/ 3 w 48"/>
                  <a:gd name="T35" fmla="*/ 9 h 39"/>
                  <a:gd name="T36" fmla="*/ 4 w 48"/>
                  <a:gd name="T37" fmla="*/ 0 h 39"/>
                  <a:gd name="T38" fmla="*/ 29 w 48"/>
                  <a:gd name="T39" fmla="*/ 11 h 39"/>
                  <a:gd name="T40" fmla="*/ 28 w 48"/>
                  <a:gd name="T41" fmla="*/ 18 h 39"/>
                  <a:gd name="T42" fmla="*/ 28 w 48"/>
                  <a:gd name="T43" fmla="*/ 26 h 39"/>
                  <a:gd name="T44" fmla="*/ 29 w 48"/>
                  <a:gd name="T45" fmla="*/ 28 h 39"/>
                  <a:gd name="T46" fmla="*/ 32 w 48"/>
                  <a:gd name="T47" fmla="*/ 30 h 39"/>
                  <a:gd name="T48" fmla="*/ 36 w 48"/>
                  <a:gd name="T49" fmla="*/ 29 h 39"/>
                  <a:gd name="T50" fmla="*/ 38 w 48"/>
                  <a:gd name="T51" fmla="*/ 26 h 39"/>
                  <a:gd name="T52" fmla="*/ 39 w 48"/>
                  <a:gd name="T53" fmla="*/ 19 h 39"/>
                  <a:gd name="T54" fmla="*/ 40 w 48"/>
                  <a:gd name="T55" fmla="*/ 12 h 39"/>
                  <a:gd name="T56" fmla="*/ 29 w 48"/>
                  <a:gd name="T57" fmla="*/ 11 h 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48" h="39">
                    <a:moveTo>
                      <a:pt x="4" y="0"/>
                    </a:moveTo>
                    <a:cubicBezTo>
                      <a:pt x="48" y="4"/>
                      <a:pt x="48" y="4"/>
                      <a:pt x="48" y="4"/>
                    </a:cubicBezTo>
                    <a:cubicBezTo>
                      <a:pt x="46" y="23"/>
                      <a:pt x="46" y="23"/>
                      <a:pt x="46" y="23"/>
                    </a:cubicBezTo>
                    <a:cubicBezTo>
                      <a:pt x="46" y="27"/>
                      <a:pt x="45" y="31"/>
                      <a:pt x="44" y="33"/>
                    </a:cubicBezTo>
                    <a:cubicBezTo>
                      <a:pt x="43" y="35"/>
                      <a:pt x="41" y="36"/>
                      <a:pt x="39" y="38"/>
                    </a:cubicBezTo>
                    <a:cubicBezTo>
                      <a:pt x="37" y="39"/>
                      <a:pt x="35" y="39"/>
                      <a:pt x="32" y="39"/>
                    </a:cubicBezTo>
                    <a:cubicBezTo>
                      <a:pt x="29" y="38"/>
                      <a:pt x="26" y="37"/>
                      <a:pt x="24" y="35"/>
                    </a:cubicBezTo>
                    <a:cubicBezTo>
                      <a:pt x="22" y="33"/>
                      <a:pt x="21" y="30"/>
                      <a:pt x="21" y="26"/>
                    </a:cubicBezTo>
                    <a:cubicBezTo>
                      <a:pt x="20" y="28"/>
                      <a:pt x="18" y="29"/>
                      <a:pt x="17" y="30"/>
                    </a:cubicBezTo>
                    <a:cubicBezTo>
                      <a:pt x="16" y="32"/>
                      <a:pt x="13" y="33"/>
                      <a:pt x="9" y="35"/>
                    </a:cubicBezTo>
                    <a:cubicBezTo>
                      <a:pt x="0" y="39"/>
                      <a:pt x="0" y="39"/>
                      <a:pt x="0" y="39"/>
                    </a:cubicBezTo>
                    <a:cubicBezTo>
                      <a:pt x="1" y="29"/>
                      <a:pt x="1" y="29"/>
                      <a:pt x="1" y="29"/>
                    </a:cubicBezTo>
                    <a:cubicBezTo>
                      <a:pt x="12" y="23"/>
                      <a:pt x="12" y="23"/>
                      <a:pt x="12" y="23"/>
                    </a:cubicBezTo>
                    <a:cubicBezTo>
                      <a:pt x="15" y="21"/>
                      <a:pt x="17" y="20"/>
                      <a:pt x="18" y="19"/>
                    </a:cubicBezTo>
                    <a:cubicBezTo>
                      <a:pt x="19" y="18"/>
                      <a:pt x="20" y="18"/>
                      <a:pt x="20" y="17"/>
                    </a:cubicBezTo>
                    <a:cubicBezTo>
                      <a:pt x="21" y="16"/>
                      <a:pt x="21" y="14"/>
                      <a:pt x="21" y="12"/>
                    </a:cubicBezTo>
                    <a:cubicBezTo>
                      <a:pt x="22" y="11"/>
                      <a:pt x="22" y="11"/>
                      <a:pt x="22" y="11"/>
                    </a:cubicBezTo>
                    <a:cubicBezTo>
                      <a:pt x="3" y="9"/>
                      <a:pt x="3" y="9"/>
                      <a:pt x="3" y="9"/>
                    </a:cubicBezTo>
                    <a:lnTo>
                      <a:pt x="4" y="0"/>
                    </a:lnTo>
                    <a:close/>
                    <a:moveTo>
                      <a:pt x="29" y="11"/>
                    </a:moveTo>
                    <a:cubicBezTo>
                      <a:pt x="28" y="18"/>
                      <a:pt x="28" y="18"/>
                      <a:pt x="28" y="18"/>
                    </a:cubicBezTo>
                    <a:cubicBezTo>
                      <a:pt x="28" y="22"/>
                      <a:pt x="27" y="25"/>
                      <a:pt x="28" y="26"/>
                    </a:cubicBezTo>
                    <a:cubicBezTo>
                      <a:pt x="28" y="27"/>
                      <a:pt x="28" y="28"/>
                      <a:pt x="29" y="28"/>
                    </a:cubicBezTo>
                    <a:cubicBezTo>
                      <a:pt x="30" y="29"/>
                      <a:pt x="31" y="30"/>
                      <a:pt x="32" y="30"/>
                    </a:cubicBezTo>
                    <a:cubicBezTo>
                      <a:pt x="34" y="30"/>
                      <a:pt x="35" y="30"/>
                      <a:pt x="36" y="29"/>
                    </a:cubicBezTo>
                    <a:cubicBezTo>
                      <a:pt x="37" y="28"/>
                      <a:pt x="38" y="27"/>
                      <a:pt x="38" y="26"/>
                    </a:cubicBezTo>
                    <a:cubicBezTo>
                      <a:pt x="38" y="25"/>
                      <a:pt x="39" y="23"/>
                      <a:pt x="39" y="19"/>
                    </a:cubicBezTo>
                    <a:cubicBezTo>
                      <a:pt x="40" y="12"/>
                      <a:pt x="40" y="12"/>
                      <a:pt x="40" y="12"/>
                    </a:cubicBezTo>
                    <a:lnTo>
                      <a:pt x="29" y="1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320" name="îś1iḓê"/>
              <p:cNvSpPr/>
              <p:nvPr/>
            </p:nvSpPr>
            <p:spPr bwMode="auto">
              <a:xfrm>
                <a:off x="1641372" y="5312365"/>
                <a:ext cx="82550" cy="66675"/>
              </a:xfrm>
              <a:custGeom>
                <a:avLst/>
                <a:gdLst>
                  <a:gd name="T0" fmla="*/ 15 w 45"/>
                  <a:gd name="T1" fmla="*/ 0 h 36"/>
                  <a:gd name="T2" fmla="*/ 16 w 45"/>
                  <a:gd name="T3" fmla="*/ 8 h 36"/>
                  <a:gd name="T4" fmla="*/ 9 w 45"/>
                  <a:gd name="T5" fmla="*/ 12 h 36"/>
                  <a:gd name="T6" fmla="*/ 7 w 45"/>
                  <a:gd name="T7" fmla="*/ 18 h 36"/>
                  <a:gd name="T8" fmla="*/ 9 w 45"/>
                  <a:gd name="T9" fmla="*/ 25 h 36"/>
                  <a:gd name="T10" fmla="*/ 13 w 45"/>
                  <a:gd name="T11" fmla="*/ 27 h 36"/>
                  <a:gd name="T12" fmla="*/ 16 w 45"/>
                  <a:gd name="T13" fmla="*/ 26 h 36"/>
                  <a:gd name="T14" fmla="*/ 18 w 45"/>
                  <a:gd name="T15" fmla="*/ 23 h 36"/>
                  <a:gd name="T16" fmla="*/ 20 w 45"/>
                  <a:gd name="T17" fmla="*/ 15 h 36"/>
                  <a:gd name="T18" fmla="*/ 24 w 45"/>
                  <a:gd name="T19" fmla="*/ 5 h 36"/>
                  <a:gd name="T20" fmla="*/ 33 w 45"/>
                  <a:gd name="T21" fmla="*/ 1 h 36"/>
                  <a:gd name="T22" fmla="*/ 39 w 45"/>
                  <a:gd name="T23" fmla="*/ 3 h 36"/>
                  <a:gd name="T24" fmla="*/ 44 w 45"/>
                  <a:gd name="T25" fmla="*/ 9 h 36"/>
                  <a:gd name="T26" fmla="*/ 45 w 45"/>
                  <a:gd name="T27" fmla="*/ 17 h 36"/>
                  <a:gd name="T28" fmla="*/ 42 w 45"/>
                  <a:gd name="T29" fmla="*/ 30 h 36"/>
                  <a:gd name="T30" fmla="*/ 32 w 45"/>
                  <a:gd name="T31" fmla="*/ 34 h 36"/>
                  <a:gd name="T32" fmla="*/ 31 w 45"/>
                  <a:gd name="T33" fmla="*/ 25 h 36"/>
                  <a:gd name="T34" fmla="*/ 36 w 45"/>
                  <a:gd name="T35" fmla="*/ 23 h 36"/>
                  <a:gd name="T36" fmla="*/ 38 w 45"/>
                  <a:gd name="T37" fmla="*/ 17 h 36"/>
                  <a:gd name="T38" fmla="*/ 36 w 45"/>
                  <a:gd name="T39" fmla="*/ 11 h 36"/>
                  <a:gd name="T40" fmla="*/ 33 w 45"/>
                  <a:gd name="T41" fmla="*/ 10 h 36"/>
                  <a:gd name="T42" fmla="*/ 31 w 45"/>
                  <a:gd name="T43" fmla="*/ 11 h 36"/>
                  <a:gd name="T44" fmla="*/ 28 w 45"/>
                  <a:gd name="T45" fmla="*/ 19 h 36"/>
                  <a:gd name="T46" fmla="*/ 25 w 45"/>
                  <a:gd name="T47" fmla="*/ 29 h 36"/>
                  <a:gd name="T48" fmla="*/ 20 w 45"/>
                  <a:gd name="T49" fmla="*/ 34 h 36"/>
                  <a:gd name="T50" fmla="*/ 13 w 45"/>
                  <a:gd name="T51" fmla="*/ 36 h 36"/>
                  <a:gd name="T52" fmla="*/ 6 w 45"/>
                  <a:gd name="T53" fmla="*/ 33 h 36"/>
                  <a:gd name="T54" fmla="*/ 1 w 45"/>
                  <a:gd name="T55" fmla="*/ 28 h 36"/>
                  <a:gd name="T56" fmla="*/ 0 w 45"/>
                  <a:gd name="T57" fmla="*/ 18 h 36"/>
                  <a:gd name="T58" fmla="*/ 3 w 45"/>
                  <a:gd name="T59" fmla="*/ 5 h 36"/>
                  <a:gd name="T60" fmla="*/ 15 w 45"/>
                  <a:gd name="T61" fmla="*/ 0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45" h="36">
                    <a:moveTo>
                      <a:pt x="15" y="0"/>
                    </a:moveTo>
                    <a:cubicBezTo>
                      <a:pt x="16" y="8"/>
                      <a:pt x="16" y="8"/>
                      <a:pt x="16" y="8"/>
                    </a:cubicBezTo>
                    <a:cubicBezTo>
                      <a:pt x="13" y="9"/>
                      <a:pt x="10" y="10"/>
                      <a:pt x="9" y="12"/>
                    </a:cubicBezTo>
                    <a:cubicBezTo>
                      <a:pt x="8" y="13"/>
                      <a:pt x="7" y="15"/>
                      <a:pt x="7" y="18"/>
                    </a:cubicBezTo>
                    <a:cubicBezTo>
                      <a:pt x="7" y="21"/>
                      <a:pt x="8" y="23"/>
                      <a:pt x="9" y="25"/>
                    </a:cubicBezTo>
                    <a:cubicBezTo>
                      <a:pt x="10" y="26"/>
                      <a:pt x="12" y="27"/>
                      <a:pt x="13" y="27"/>
                    </a:cubicBezTo>
                    <a:cubicBezTo>
                      <a:pt x="14" y="27"/>
                      <a:pt x="15" y="26"/>
                      <a:pt x="16" y="26"/>
                    </a:cubicBezTo>
                    <a:cubicBezTo>
                      <a:pt x="17" y="25"/>
                      <a:pt x="17" y="24"/>
                      <a:pt x="18" y="23"/>
                    </a:cubicBezTo>
                    <a:cubicBezTo>
                      <a:pt x="18" y="22"/>
                      <a:pt x="19" y="19"/>
                      <a:pt x="20" y="15"/>
                    </a:cubicBezTo>
                    <a:cubicBezTo>
                      <a:pt x="21" y="11"/>
                      <a:pt x="22" y="7"/>
                      <a:pt x="24" y="5"/>
                    </a:cubicBezTo>
                    <a:cubicBezTo>
                      <a:pt x="26" y="3"/>
                      <a:pt x="29" y="1"/>
                      <a:pt x="33" y="1"/>
                    </a:cubicBezTo>
                    <a:cubicBezTo>
                      <a:pt x="35" y="1"/>
                      <a:pt x="37" y="2"/>
                      <a:pt x="39" y="3"/>
                    </a:cubicBezTo>
                    <a:cubicBezTo>
                      <a:pt x="41" y="4"/>
                      <a:pt x="43" y="6"/>
                      <a:pt x="44" y="9"/>
                    </a:cubicBezTo>
                    <a:cubicBezTo>
                      <a:pt x="45" y="11"/>
                      <a:pt x="45" y="14"/>
                      <a:pt x="45" y="17"/>
                    </a:cubicBezTo>
                    <a:cubicBezTo>
                      <a:pt x="45" y="23"/>
                      <a:pt x="44" y="27"/>
                      <a:pt x="42" y="30"/>
                    </a:cubicBezTo>
                    <a:cubicBezTo>
                      <a:pt x="39" y="33"/>
                      <a:pt x="36" y="34"/>
                      <a:pt x="32" y="34"/>
                    </a:cubicBezTo>
                    <a:cubicBezTo>
                      <a:pt x="31" y="25"/>
                      <a:pt x="31" y="25"/>
                      <a:pt x="31" y="25"/>
                    </a:cubicBezTo>
                    <a:cubicBezTo>
                      <a:pt x="34" y="25"/>
                      <a:pt x="35" y="24"/>
                      <a:pt x="36" y="23"/>
                    </a:cubicBezTo>
                    <a:cubicBezTo>
                      <a:pt x="37" y="22"/>
                      <a:pt x="38" y="20"/>
                      <a:pt x="38" y="17"/>
                    </a:cubicBezTo>
                    <a:cubicBezTo>
                      <a:pt x="38" y="15"/>
                      <a:pt x="37" y="13"/>
                      <a:pt x="36" y="11"/>
                    </a:cubicBezTo>
                    <a:cubicBezTo>
                      <a:pt x="35" y="10"/>
                      <a:pt x="35" y="10"/>
                      <a:pt x="33" y="10"/>
                    </a:cubicBezTo>
                    <a:cubicBezTo>
                      <a:pt x="32" y="10"/>
                      <a:pt x="31" y="10"/>
                      <a:pt x="31" y="11"/>
                    </a:cubicBezTo>
                    <a:cubicBezTo>
                      <a:pt x="30" y="12"/>
                      <a:pt x="29" y="15"/>
                      <a:pt x="28" y="19"/>
                    </a:cubicBezTo>
                    <a:cubicBezTo>
                      <a:pt x="27" y="24"/>
                      <a:pt x="26" y="27"/>
                      <a:pt x="25" y="29"/>
                    </a:cubicBezTo>
                    <a:cubicBezTo>
                      <a:pt x="24" y="31"/>
                      <a:pt x="22" y="33"/>
                      <a:pt x="20" y="34"/>
                    </a:cubicBezTo>
                    <a:cubicBezTo>
                      <a:pt x="18" y="35"/>
                      <a:pt x="16" y="36"/>
                      <a:pt x="13" y="36"/>
                    </a:cubicBezTo>
                    <a:cubicBezTo>
                      <a:pt x="11" y="36"/>
                      <a:pt x="8" y="35"/>
                      <a:pt x="6" y="33"/>
                    </a:cubicBezTo>
                    <a:cubicBezTo>
                      <a:pt x="4" y="32"/>
                      <a:pt x="2" y="30"/>
                      <a:pt x="1" y="28"/>
                    </a:cubicBezTo>
                    <a:cubicBezTo>
                      <a:pt x="0" y="25"/>
                      <a:pt x="0" y="22"/>
                      <a:pt x="0" y="18"/>
                    </a:cubicBezTo>
                    <a:cubicBezTo>
                      <a:pt x="0" y="12"/>
                      <a:pt x="1" y="8"/>
                      <a:pt x="3" y="5"/>
                    </a:cubicBezTo>
                    <a:cubicBezTo>
                      <a:pt x="6" y="2"/>
                      <a:pt x="10" y="0"/>
                      <a:pt x="15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321" name="íş1ïḓe"/>
              <p:cNvSpPr/>
              <p:nvPr/>
            </p:nvSpPr>
            <p:spPr bwMode="auto">
              <a:xfrm>
                <a:off x="1642959" y="5385390"/>
                <a:ext cx="84138" cy="22225"/>
              </a:xfrm>
              <a:custGeom>
                <a:avLst/>
                <a:gdLst>
                  <a:gd name="T0" fmla="*/ 0 w 53"/>
                  <a:gd name="T1" fmla="*/ 5 h 14"/>
                  <a:gd name="T2" fmla="*/ 51 w 53"/>
                  <a:gd name="T3" fmla="*/ 0 h 14"/>
                  <a:gd name="T4" fmla="*/ 53 w 53"/>
                  <a:gd name="T5" fmla="*/ 11 h 14"/>
                  <a:gd name="T6" fmla="*/ 1 w 53"/>
                  <a:gd name="T7" fmla="*/ 14 h 14"/>
                  <a:gd name="T8" fmla="*/ 0 w 53"/>
                  <a:gd name="T9" fmla="*/ 5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3" h="14">
                    <a:moveTo>
                      <a:pt x="0" y="5"/>
                    </a:moveTo>
                    <a:lnTo>
                      <a:pt x="51" y="0"/>
                    </a:lnTo>
                    <a:lnTo>
                      <a:pt x="53" y="11"/>
                    </a:lnTo>
                    <a:lnTo>
                      <a:pt x="1" y="14"/>
                    </a:lnTo>
                    <a:lnTo>
                      <a:pt x="0" y="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322" name="ïṩlîḋè"/>
              <p:cNvSpPr/>
              <p:nvPr/>
            </p:nvSpPr>
            <p:spPr bwMode="auto">
              <a:xfrm>
                <a:off x="1649309" y="5407615"/>
                <a:ext cx="84138" cy="66675"/>
              </a:xfrm>
              <a:custGeom>
                <a:avLst/>
                <a:gdLst>
                  <a:gd name="T0" fmla="*/ 0 w 53"/>
                  <a:gd name="T1" fmla="*/ 22 h 42"/>
                  <a:gd name="T2" fmla="*/ 42 w 53"/>
                  <a:gd name="T3" fmla="*/ 17 h 42"/>
                  <a:gd name="T4" fmla="*/ 39 w 53"/>
                  <a:gd name="T5" fmla="*/ 1 h 42"/>
                  <a:gd name="T6" fmla="*/ 49 w 53"/>
                  <a:gd name="T7" fmla="*/ 0 h 42"/>
                  <a:gd name="T8" fmla="*/ 53 w 53"/>
                  <a:gd name="T9" fmla="*/ 41 h 42"/>
                  <a:gd name="T10" fmla="*/ 45 w 53"/>
                  <a:gd name="T11" fmla="*/ 42 h 42"/>
                  <a:gd name="T12" fmla="*/ 43 w 53"/>
                  <a:gd name="T13" fmla="*/ 27 h 42"/>
                  <a:gd name="T14" fmla="*/ 1 w 53"/>
                  <a:gd name="T15" fmla="*/ 33 h 42"/>
                  <a:gd name="T16" fmla="*/ 0 w 53"/>
                  <a:gd name="T17" fmla="*/ 22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3" h="42">
                    <a:moveTo>
                      <a:pt x="0" y="22"/>
                    </a:moveTo>
                    <a:lnTo>
                      <a:pt x="42" y="17"/>
                    </a:lnTo>
                    <a:lnTo>
                      <a:pt x="39" y="1"/>
                    </a:lnTo>
                    <a:lnTo>
                      <a:pt x="49" y="0"/>
                    </a:lnTo>
                    <a:lnTo>
                      <a:pt x="53" y="41"/>
                    </a:lnTo>
                    <a:lnTo>
                      <a:pt x="45" y="42"/>
                    </a:lnTo>
                    <a:lnTo>
                      <a:pt x="43" y="27"/>
                    </a:lnTo>
                    <a:lnTo>
                      <a:pt x="1" y="33"/>
                    </a:lnTo>
                    <a:lnTo>
                      <a:pt x="0" y="2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323" name="ïṣľîďe"/>
              <p:cNvSpPr/>
              <p:nvPr/>
            </p:nvSpPr>
            <p:spPr bwMode="auto">
              <a:xfrm>
                <a:off x="1662009" y="5471115"/>
                <a:ext cx="90488" cy="73025"/>
              </a:xfrm>
              <a:custGeom>
                <a:avLst/>
                <a:gdLst>
                  <a:gd name="T0" fmla="*/ 0 w 57"/>
                  <a:gd name="T1" fmla="*/ 29 h 46"/>
                  <a:gd name="T2" fmla="*/ 21 w 57"/>
                  <a:gd name="T3" fmla="*/ 24 h 46"/>
                  <a:gd name="T4" fmla="*/ 45 w 57"/>
                  <a:gd name="T5" fmla="*/ 0 h 46"/>
                  <a:gd name="T6" fmla="*/ 49 w 57"/>
                  <a:gd name="T7" fmla="*/ 11 h 46"/>
                  <a:gd name="T8" fmla="*/ 31 w 57"/>
                  <a:gd name="T9" fmla="*/ 28 h 46"/>
                  <a:gd name="T10" fmla="*/ 53 w 57"/>
                  <a:gd name="T11" fmla="*/ 35 h 46"/>
                  <a:gd name="T12" fmla="*/ 57 w 57"/>
                  <a:gd name="T13" fmla="*/ 46 h 46"/>
                  <a:gd name="T14" fmla="*/ 23 w 57"/>
                  <a:gd name="T15" fmla="*/ 35 h 46"/>
                  <a:gd name="T16" fmla="*/ 2 w 57"/>
                  <a:gd name="T17" fmla="*/ 39 h 46"/>
                  <a:gd name="T18" fmla="*/ 0 w 57"/>
                  <a:gd name="T19" fmla="*/ 29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57" h="46">
                    <a:moveTo>
                      <a:pt x="0" y="29"/>
                    </a:moveTo>
                    <a:lnTo>
                      <a:pt x="21" y="24"/>
                    </a:lnTo>
                    <a:lnTo>
                      <a:pt x="45" y="0"/>
                    </a:lnTo>
                    <a:lnTo>
                      <a:pt x="49" y="11"/>
                    </a:lnTo>
                    <a:lnTo>
                      <a:pt x="31" y="28"/>
                    </a:lnTo>
                    <a:lnTo>
                      <a:pt x="53" y="35"/>
                    </a:lnTo>
                    <a:lnTo>
                      <a:pt x="57" y="46"/>
                    </a:lnTo>
                    <a:lnTo>
                      <a:pt x="23" y="35"/>
                    </a:lnTo>
                    <a:lnTo>
                      <a:pt x="2" y="39"/>
                    </a:lnTo>
                    <a:lnTo>
                      <a:pt x="0" y="2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324" name="íśļiḓe"/>
              <p:cNvSpPr/>
              <p:nvPr/>
            </p:nvSpPr>
            <p:spPr bwMode="auto">
              <a:xfrm>
                <a:off x="1704872" y="5609228"/>
                <a:ext cx="85725" cy="80963"/>
              </a:xfrm>
              <a:custGeom>
                <a:avLst/>
                <a:gdLst>
                  <a:gd name="T0" fmla="*/ 15 w 47"/>
                  <a:gd name="T1" fmla="*/ 2 h 44"/>
                  <a:gd name="T2" fmla="*/ 26 w 47"/>
                  <a:gd name="T3" fmla="*/ 0 h 44"/>
                  <a:gd name="T4" fmla="*/ 33 w 47"/>
                  <a:gd name="T5" fmla="*/ 1 h 44"/>
                  <a:gd name="T6" fmla="*/ 39 w 47"/>
                  <a:gd name="T7" fmla="*/ 4 h 44"/>
                  <a:gd name="T8" fmla="*/ 44 w 47"/>
                  <a:gd name="T9" fmla="*/ 12 h 44"/>
                  <a:gd name="T10" fmla="*/ 45 w 47"/>
                  <a:gd name="T11" fmla="*/ 29 h 44"/>
                  <a:gd name="T12" fmla="*/ 32 w 47"/>
                  <a:gd name="T13" fmla="*/ 41 h 44"/>
                  <a:gd name="T14" fmla="*/ 15 w 47"/>
                  <a:gd name="T15" fmla="*/ 43 h 44"/>
                  <a:gd name="T16" fmla="*/ 3 w 47"/>
                  <a:gd name="T17" fmla="*/ 31 h 44"/>
                  <a:gd name="T18" fmla="*/ 2 w 47"/>
                  <a:gd name="T19" fmla="*/ 14 h 44"/>
                  <a:gd name="T20" fmla="*/ 15 w 47"/>
                  <a:gd name="T21" fmla="*/ 2 h 44"/>
                  <a:gd name="T22" fmla="*/ 19 w 47"/>
                  <a:gd name="T23" fmla="*/ 10 h 44"/>
                  <a:gd name="T24" fmla="*/ 10 w 47"/>
                  <a:gd name="T25" fmla="*/ 18 h 44"/>
                  <a:gd name="T26" fmla="*/ 10 w 47"/>
                  <a:gd name="T27" fmla="*/ 28 h 44"/>
                  <a:gd name="T28" fmla="*/ 17 w 47"/>
                  <a:gd name="T29" fmla="*/ 34 h 44"/>
                  <a:gd name="T30" fmla="*/ 29 w 47"/>
                  <a:gd name="T31" fmla="*/ 33 h 44"/>
                  <a:gd name="T32" fmla="*/ 38 w 47"/>
                  <a:gd name="T33" fmla="*/ 25 h 44"/>
                  <a:gd name="T34" fmla="*/ 37 w 47"/>
                  <a:gd name="T35" fmla="*/ 16 h 44"/>
                  <a:gd name="T36" fmla="*/ 30 w 47"/>
                  <a:gd name="T37" fmla="*/ 9 h 44"/>
                  <a:gd name="T38" fmla="*/ 19 w 47"/>
                  <a:gd name="T39" fmla="*/ 10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47" h="44">
                    <a:moveTo>
                      <a:pt x="15" y="2"/>
                    </a:moveTo>
                    <a:cubicBezTo>
                      <a:pt x="19" y="0"/>
                      <a:pt x="23" y="0"/>
                      <a:pt x="26" y="0"/>
                    </a:cubicBezTo>
                    <a:cubicBezTo>
                      <a:pt x="28" y="0"/>
                      <a:pt x="31" y="0"/>
                      <a:pt x="33" y="1"/>
                    </a:cubicBezTo>
                    <a:cubicBezTo>
                      <a:pt x="35" y="2"/>
                      <a:pt x="37" y="3"/>
                      <a:pt x="39" y="4"/>
                    </a:cubicBezTo>
                    <a:cubicBezTo>
                      <a:pt x="41" y="6"/>
                      <a:pt x="43" y="9"/>
                      <a:pt x="44" y="12"/>
                    </a:cubicBezTo>
                    <a:cubicBezTo>
                      <a:pt x="47" y="18"/>
                      <a:pt x="47" y="24"/>
                      <a:pt x="45" y="29"/>
                    </a:cubicBezTo>
                    <a:cubicBezTo>
                      <a:pt x="43" y="34"/>
                      <a:pt x="39" y="38"/>
                      <a:pt x="32" y="41"/>
                    </a:cubicBezTo>
                    <a:cubicBezTo>
                      <a:pt x="26" y="44"/>
                      <a:pt x="20" y="44"/>
                      <a:pt x="15" y="43"/>
                    </a:cubicBezTo>
                    <a:cubicBezTo>
                      <a:pt x="9" y="41"/>
                      <a:pt x="5" y="37"/>
                      <a:pt x="3" y="31"/>
                    </a:cubicBezTo>
                    <a:cubicBezTo>
                      <a:pt x="0" y="25"/>
                      <a:pt x="0" y="19"/>
                      <a:pt x="2" y="14"/>
                    </a:cubicBezTo>
                    <a:cubicBezTo>
                      <a:pt x="4" y="9"/>
                      <a:pt x="8" y="5"/>
                      <a:pt x="15" y="2"/>
                    </a:cubicBezTo>
                    <a:close/>
                    <a:moveTo>
                      <a:pt x="19" y="10"/>
                    </a:moveTo>
                    <a:cubicBezTo>
                      <a:pt x="14" y="12"/>
                      <a:pt x="11" y="15"/>
                      <a:pt x="10" y="18"/>
                    </a:cubicBezTo>
                    <a:cubicBezTo>
                      <a:pt x="8" y="21"/>
                      <a:pt x="8" y="24"/>
                      <a:pt x="10" y="28"/>
                    </a:cubicBezTo>
                    <a:cubicBezTo>
                      <a:pt x="11" y="31"/>
                      <a:pt x="13" y="33"/>
                      <a:pt x="17" y="34"/>
                    </a:cubicBezTo>
                    <a:cubicBezTo>
                      <a:pt x="20" y="35"/>
                      <a:pt x="24" y="35"/>
                      <a:pt x="29" y="33"/>
                    </a:cubicBezTo>
                    <a:cubicBezTo>
                      <a:pt x="33" y="31"/>
                      <a:pt x="36" y="28"/>
                      <a:pt x="38" y="25"/>
                    </a:cubicBezTo>
                    <a:cubicBezTo>
                      <a:pt x="39" y="22"/>
                      <a:pt x="39" y="19"/>
                      <a:pt x="37" y="16"/>
                    </a:cubicBezTo>
                    <a:cubicBezTo>
                      <a:pt x="36" y="12"/>
                      <a:pt x="34" y="10"/>
                      <a:pt x="30" y="9"/>
                    </a:cubicBezTo>
                    <a:cubicBezTo>
                      <a:pt x="27" y="8"/>
                      <a:pt x="23" y="8"/>
                      <a:pt x="19" y="1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325" name="î$ḷïďe"/>
              <p:cNvSpPr/>
              <p:nvPr/>
            </p:nvSpPr>
            <p:spPr bwMode="auto">
              <a:xfrm>
                <a:off x="1733447" y="5675903"/>
                <a:ext cx="98425" cy="66675"/>
              </a:xfrm>
              <a:custGeom>
                <a:avLst/>
                <a:gdLst>
                  <a:gd name="T0" fmla="*/ 0 w 62"/>
                  <a:gd name="T1" fmla="*/ 26 h 42"/>
                  <a:gd name="T2" fmla="*/ 45 w 62"/>
                  <a:gd name="T3" fmla="*/ 0 h 42"/>
                  <a:gd name="T4" fmla="*/ 62 w 62"/>
                  <a:gd name="T5" fmla="*/ 30 h 42"/>
                  <a:gd name="T6" fmla="*/ 55 w 62"/>
                  <a:gd name="T7" fmla="*/ 35 h 42"/>
                  <a:gd name="T8" fmla="*/ 43 w 62"/>
                  <a:gd name="T9" fmla="*/ 14 h 42"/>
                  <a:gd name="T10" fmla="*/ 32 w 62"/>
                  <a:gd name="T11" fmla="*/ 20 h 42"/>
                  <a:gd name="T12" fmla="*/ 43 w 62"/>
                  <a:gd name="T13" fmla="*/ 38 h 42"/>
                  <a:gd name="T14" fmla="*/ 35 w 62"/>
                  <a:gd name="T15" fmla="*/ 42 h 42"/>
                  <a:gd name="T16" fmla="*/ 25 w 62"/>
                  <a:gd name="T17" fmla="*/ 23 h 42"/>
                  <a:gd name="T18" fmla="*/ 6 w 62"/>
                  <a:gd name="T19" fmla="*/ 35 h 42"/>
                  <a:gd name="T20" fmla="*/ 0 w 62"/>
                  <a:gd name="T21" fmla="*/ 26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62" h="42">
                    <a:moveTo>
                      <a:pt x="0" y="26"/>
                    </a:moveTo>
                    <a:lnTo>
                      <a:pt x="45" y="0"/>
                    </a:lnTo>
                    <a:lnTo>
                      <a:pt x="62" y="30"/>
                    </a:lnTo>
                    <a:lnTo>
                      <a:pt x="55" y="35"/>
                    </a:lnTo>
                    <a:lnTo>
                      <a:pt x="43" y="14"/>
                    </a:lnTo>
                    <a:lnTo>
                      <a:pt x="32" y="20"/>
                    </a:lnTo>
                    <a:lnTo>
                      <a:pt x="43" y="38"/>
                    </a:lnTo>
                    <a:lnTo>
                      <a:pt x="35" y="42"/>
                    </a:lnTo>
                    <a:lnTo>
                      <a:pt x="25" y="23"/>
                    </a:lnTo>
                    <a:lnTo>
                      <a:pt x="6" y="35"/>
                    </a:lnTo>
                    <a:lnTo>
                      <a:pt x="0" y="26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326" name="îśḻîḍe"/>
              <p:cNvSpPr/>
              <p:nvPr/>
            </p:nvSpPr>
            <p:spPr bwMode="auto">
              <a:xfrm>
                <a:off x="1812822" y="5785440"/>
                <a:ext cx="85725" cy="82550"/>
              </a:xfrm>
              <a:custGeom>
                <a:avLst/>
                <a:gdLst>
                  <a:gd name="T0" fmla="*/ 6 w 46"/>
                  <a:gd name="T1" fmla="*/ 13 h 45"/>
                  <a:gd name="T2" fmla="*/ 12 w 46"/>
                  <a:gd name="T3" fmla="*/ 19 h 45"/>
                  <a:gd name="T4" fmla="*/ 9 w 46"/>
                  <a:gd name="T5" fmla="*/ 26 h 45"/>
                  <a:gd name="T6" fmla="*/ 11 w 46"/>
                  <a:gd name="T7" fmla="*/ 32 h 45"/>
                  <a:gd name="T8" fmla="*/ 17 w 46"/>
                  <a:gd name="T9" fmla="*/ 36 h 45"/>
                  <a:gd name="T10" fmla="*/ 22 w 46"/>
                  <a:gd name="T11" fmla="*/ 35 h 45"/>
                  <a:gd name="T12" fmla="*/ 23 w 46"/>
                  <a:gd name="T13" fmla="*/ 32 h 45"/>
                  <a:gd name="T14" fmla="*/ 22 w 46"/>
                  <a:gd name="T15" fmla="*/ 29 h 45"/>
                  <a:gd name="T16" fmla="*/ 19 w 46"/>
                  <a:gd name="T17" fmla="*/ 22 h 45"/>
                  <a:gd name="T18" fmla="*/ 16 w 46"/>
                  <a:gd name="T19" fmla="*/ 12 h 45"/>
                  <a:gd name="T20" fmla="*/ 21 w 46"/>
                  <a:gd name="T21" fmla="*/ 3 h 45"/>
                  <a:gd name="T22" fmla="*/ 27 w 46"/>
                  <a:gd name="T23" fmla="*/ 0 h 45"/>
                  <a:gd name="T24" fmla="*/ 34 w 46"/>
                  <a:gd name="T25" fmla="*/ 2 h 45"/>
                  <a:gd name="T26" fmla="*/ 40 w 46"/>
                  <a:gd name="T27" fmla="*/ 8 h 45"/>
                  <a:gd name="T28" fmla="*/ 45 w 46"/>
                  <a:gd name="T29" fmla="*/ 19 h 45"/>
                  <a:gd name="T30" fmla="*/ 41 w 46"/>
                  <a:gd name="T31" fmla="*/ 29 h 45"/>
                  <a:gd name="T32" fmla="*/ 35 w 46"/>
                  <a:gd name="T33" fmla="*/ 22 h 45"/>
                  <a:gd name="T34" fmla="*/ 37 w 46"/>
                  <a:gd name="T35" fmla="*/ 17 h 45"/>
                  <a:gd name="T36" fmla="*/ 35 w 46"/>
                  <a:gd name="T37" fmla="*/ 12 h 45"/>
                  <a:gd name="T38" fmla="*/ 30 w 46"/>
                  <a:gd name="T39" fmla="*/ 8 h 45"/>
                  <a:gd name="T40" fmla="*/ 27 w 46"/>
                  <a:gd name="T41" fmla="*/ 9 h 45"/>
                  <a:gd name="T42" fmla="*/ 25 w 46"/>
                  <a:gd name="T43" fmla="*/ 12 h 45"/>
                  <a:gd name="T44" fmla="*/ 28 w 46"/>
                  <a:gd name="T45" fmla="*/ 20 h 45"/>
                  <a:gd name="T46" fmla="*/ 32 w 46"/>
                  <a:gd name="T47" fmla="*/ 29 h 45"/>
                  <a:gd name="T48" fmla="*/ 31 w 46"/>
                  <a:gd name="T49" fmla="*/ 36 h 45"/>
                  <a:gd name="T50" fmla="*/ 27 w 46"/>
                  <a:gd name="T51" fmla="*/ 42 h 45"/>
                  <a:gd name="T52" fmla="*/ 20 w 46"/>
                  <a:gd name="T53" fmla="*/ 45 h 45"/>
                  <a:gd name="T54" fmla="*/ 13 w 46"/>
                  <a:gd name="T55" fmla="*/ 43 h 45"/>
                  <a:gd name="T56" fmla="*/ 6 w 46"/>
                  <a:gd name="T57" fmla="*/ 37 h 45"/>
                  <a:gd name="T58" fmla="*/ 0 w 46"/>
                  <a:gd name="T59" fmla="*/ 24 h 45"/>
                  <a:gd name="T60" fmla="*/ 6 w 46"/>
                  <a:gd name="T61" fmla="*/ 13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46" h="45">
                    <a:moveTo>
                      <a:pt x="6" y="13"/>
                    </a:moveTo>
                    <a:cubicBezTo>
                      <a:pt x="12" y="19"/>
                      <a:pt x="12" y="19"/>
                      <a:pt x="12" y="19"/>
                    </a:cubicBezTo>
                    <a:cubicBezTo>
                      <a:pt x="10" y="21"/>
                      <a:pt x="9" y="24"/>
                      <a:pt x="9" y="26"/>
                    </a:cubicBezTo>
                    <a:cubicBezTo>
                      <a:pt x="9" y="28"/>
                      <a:pt x="10" y="30"/>
                      <a:pt x="11" y="32"/>
                    </a:cubicBezTo>
                    <a:cubicBezTo>
                      <a:pt x="13" y="34"/>
                      <a:pt x="15" y="35"/>
                      <a:pt x="17" y="36"/>
                    </a:cubicBezTo>
                    <a:cubicBezTo>
                      <a:pt x="19" y="36"/>
                      <a:pt x="20" y="36"/>
                      <a:pt x="22" y="35"/>
                    </a:cubicBezTo>
                    <a:cubicBezTo>
                      <a:pt x="22" y="34"/>
                      <a:pt x="23" y="33"/>
                      <a:pt x="23" y="32"/>
                    </a:cubicBezTo>
                    <a:cubicBezTo>
                      <a:pt x="23" y="32"/>
                      <a:pt x="23" y="30"/>
                      <a:pt x="22" y="29"/>
                    </a:cubicBezTo>
                    <a:cubicBezTo>
                      <a:pt x="22" y="28"/>
                      <a:pt x="21" y="26"/>
                      <a:pt x="19" y="22"/>
                    </a:cubicBezTo>
                    <a:cubicBezTo>
                      <a:pt x="17" y="18"/>
                      <a:pt x="16" y="14"/>
                      <a:pt x="16" y="12"/>
                    </a:cubicBezTo>
                    <a:cubicBezTo>
                      <a:pt x="17" y="8"/>
                      <a:pt x="18" y="5"/>
                      <a:pt x="21" y="3"/>
                    </a:cubicBezTo>
                    <a:cubicBezTo>
                      <a:pt x="23" y="1"/>
                      <a:pt x="25" y="1"/>
                      <a:pt x="27" y="0"/>
                    </a:cubicBezTo>
                    <a:cubicBezTo>
                      <a:pt x="29" y="0"/>
                      <a:pt x="31" y="1"/>
                      <a:pt x="34" y="2"/>
                    </a:cubicBezTo>
                    <a:cubicBezTo>
                      <a:pt x="36" y="3"/>
                      <a:pt x="38" y="5"/>
                      <a:pt x="40" y="8"/>
                    </a:cubicBezTo>
                    <a:cubicBezTo>
                      <a:pt x="44" y="12"/>
                      <a:pt x="46" y="16"/>
                      <a:pt x="45" y="19"/>
                    </a:cubicBezTo>
                    <a:cubicBezTo>
                      <a:pt x="45" y="23"/>
                      <a:pt x="44" y="26"/>
                      <a:pt x="41" y="29"/>
                    </a:cubicBezTo>
                    <a:cubicBezTo>
                      <a:pt x="35" y="22"/>
                      <a:pt x="35" y="22"/>
                      <a:pt x="35" y="22"/>
                    </a:cubicBezTo>
                    <a:cubicBezTo>
                      <a:pt x="36" y="21"/>
                      <a:pt x="37" y="19"/>
                      <a:pt x="37" y="17"/>
                    </a:cubicBezTo>
                    <a:cubicBezTo>
                      <a:pt x="37" y="16"/>
                      <a:pt x="36" y="14"/>
                      <a:pt x="35" y="12"/>
                    </a:cubicBezTo>
                    <a:cubicBezTo>
                      <a:pt x="33" y="10"/>
                      <a:pt x="31" y="9"/>
                      <a:pt x="30" y="8"/>
                    </a:cubicBezTo>
                    <a:cubicBezTo>
                      <a:pt x="28" y="8"/>
                      <a:pt x="27" y="8"/>
                      <a:pt x="27" y="9"/>
                    </a:cubicBezTo>
                    <a:cubicBezTo>
                      <a:pt x="26" y="10"/>
                      <a:pt x="25" y="11"/>
                      <a:pt x="25" y="12"/>
                    </a:cubicBezTo>
                    <a:cubicBezTo>
                      <a:pt x="25" y="13"/>
                      <a:pt x="26" y="16"/>
                      <a:pt x="28" y="20"/>
                    </a:cubicBezTo>
                    <a:cubicBezTo>
                      <a:pt x="30" y="24"/>
                      <a:pt x="31" y="27"/>
                      <a:pt x="32" y="29"/>
                    </a:cubicBezTo>
                    <a:cubicBezTo>
                      <a:pt x="32" y="32"/>
                      <a:pt x="32" y="34"/>
                      <a:pt x="31" y="36"/>
                    </a:cubicBezTo>
                    <a:cubicBezTo>
                      <a:pt x="31" y="38"/>
                      <a:pt x="29" y="40"/>
                      <a:pt x="27" y="42"/>
                    </a:cubicBezTo>
                    <a:cubicBezTo>
                      <a:pt x="25" y="43"/>
                      <a:pt x="23" y="44"/>
                      <a:pt x="20" y="45"/>
                    </a:cubicBezTo>
                    <a:cubicBezTo>
                      <a:pt x="18" y="45"/>
                      <a:pt x="15" y="44"/>
                      <a:pt x="13" y="43"/>
                    </a:cubicBezTo>
                    <a:cubicBezTo>
                      <a:pt x="10" y="42"/>
                      <a:pt x="8" y="40"/>
                      <a:pt x="6" y="37"/>
                    </a:cubicBezTo>
                    <a:cubicBezTo>
                      <a:pt x="2" y="32"/>
                      <a:pt x="0" y="28"/>
                      <a:pt x="0" y="24"/>
                    </a:cubicBezTo>
                    <a:cubicBezTo>
                      <a:pt x="1" y="20"/>
                      <a:pt x="2" y="17"/>
                      <a:pt x="6" y="1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327" name="í$ļîḋê"/>
              <p:cNvSpPr/>
              <p:nvPr/>
            </p:nvSpPr>
            <p:spPr bwMode="auto">
              <a:xfrm>
                <a:off x="1868384" y="5844178"/>
                <a:ext cx="82550" cy="82550"/>
              </a:xfrm>
              <a:custGeom>
                <a:avLst/>
                <a:gdLst>
                  <a:gd name="T0" fmla="*/ 25 w 45"/>
                  <a:gd name="T1" fmla="*/ 33 h 45"/>
                  <a:gd name="T2" fmla="*/ 29 w 45"/>
                  <a:gd name="T3" fmla="*/ 41 h 45"/>
                  <a:gd name="T4" fmla="*/ 17 w 45"/>
                  <a:gd name="T5" fmla="*/ 44 h 45"/>
                  <a:gd name="T6" fmla="*/ 6 w 45"/>
                  <a:gd name="T7" fmla="*/ 38 h 45"/>
                  <a:gd name="T8" fmla="*/ 0 w 45"/>
                  <a:gd name="T9" fmla="*/ 24 h 45"/>
                  <a:gd name="T10" fmla="*/ 8 w 45"/>
                  <a:gd name="T11" fmla="*/ 8 h 45"/>
                  <a:gd name="T12" fmla="*/ 24 w 45"/>
                  <a:gd name="T13" fmla="*/ 0 h 45"/>
                  <a:gd name="T14" fmla="*/ 39 w 45"/>
                  <a:gd name="T15" fmla="*/ 7 h 45"/>
                  <a:gd name="T16" fmla="*/ 45 w 45"/>
                  <a:gd name="T17" fmla="*/ 19 h 45"/>
                  <a:gd name="T18" fmla="*/ 42 w 45"/>
                  <a:gd name="T19" fmla="*/ 28 h 45"/>
                  <a:gd name="T20" fmla="*/ 34 w 45"/>
                  <a:gd name="T21" fmla="*/ 23 h 45"/>
                  <a:gd name="T22" fmla="*/ 36 w 45"/>
                  <a:gd name="T23" fmla="*/ 17 h 45"/>
                  <a:gd name="T24" fmla="*/ 33 w 45"/>
                  <a:gd name="T25" fmla="*/ 12 h 45"/>
                  <a:gd name="T26" fmla="*/ 25 w 45"/>
                  <a:gd name="T27" fmla="*/ 9 h 45"/>
                  <a:gd name="T28" fmla="*/ 15 w 45"/>
                  <a:gd name="T29" fmla="*/ 14 h 45"/>
                  <a:gd name="T30" fmla="*/ 8 w 45"/>
                  <a:gd name="T31" fmla="*/ 25 h 45"/>
                  <a:gd name="T32" fmla="*/ 11 w 45"/>
                  <a:gd name="T33" fmla="*/ 33 h 45"/>
                  <a:gd name="T34" fmla="*/ 17 w 45"/>
                  <a:gd name="T35" fmla="*/ 36 h 45"/>
                  <a:gd name="T36" fmla="*/ 25 w 45"/>
                  <a:gd name="T37" fmla="*/ 33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45" h="45">
                    <a:moveTo>
                      <a:pt x="25" y="33"/>
                    </a:moveTo>
                    <a:cubicBezTo>
                      <a:pt x="29" y="41"/>
                      <a:pt x="29" y="41"/>
                      <a:pt x="29" y="41"/>
                    </a:cubicBezTo>
                    <a:cubicBezTo>
                      <a:pt x="25" y="44"/>
                      <a:pt x="21" y="45"/>
                      <a:pt x="17" y="44"/>
                    </a:cubicBezTo>
                    <a:cubicBezTo>
                      <a:pt x="13" y="44"/>
                      <a:pt x="9" y="42"/>
                      <a:pt x="6" y="38"/>
                    </a:cubicBezTo>
                    <a:cubicBezTo>
                      <a:pt x="2" y="34"/>
                      <a:pt x="0" y="29"/>
                      <a:pt x="0" y="24"/>
                    </a:cubicBezTo>
                    <a:cubicBezTo>
                      <a:pt x="0" y="19"/>
                      <a:pt x="3" y="13"/>
                      <a:pt x="8" y="8"/>
                    </a:cubicBezTo>
                    <a:cubicBezTo>
                      <a:pt x="13" y="3"/>
                      <a:pt x="18" y="1"/>
                      <a:pt x="24" y="0"/>
                    </a:cubicBezTo>
                    <a:cubicBezTo>
                      <a:pt x="29" y="0"/>
                      <a:pt x="34" y="2"/>
                      <a:pt x="39" y="7"/>
                    </a:cubicBezTo>
                    <a:cubicBezTo>
                      <a:pt x="42" y="10"/>
                      <a:pt x="44" y="15"/>
                      <a:pt x="45" y="19"/>
                    </a:cubicBezTo>
                    <a:cubicBezTo>
                      <a:pt x="45" y="22"/>
                      <a:pt x="44" y="25"/>
                      <a:pt x="42" y="28"/>
                    </a:cubicBezTo>
                    <a:cubicBezTo>
                      <a:pt x="34" y="23"/>
                      <a:pt x="34" y="23"/>
                      <a:pt x="34" y="23"/>
                    </a:cubicBezTo>
                    <a:cubicBezTo>
                      <a:pt x="36" y="21"/>
                      <a:pt x="36" y="19"/>
                      <a:pt x="36" y="17"/>
                    </a:cubicBezTo>
                    <a:cubicBezTo>
                      <a:pt x="36" y="15"/>
                      <a:pt x="35" y="13"/>
                      <a:pt x="33" y="12"/>
                    </a:cubicBezTo>
                    <a:cubicBezTo>
                      <a:pt x="31" y="9"/>
                      <a:pt x="28" y="8"/>
                      <a:pt x="25" y="9"/>
                    </a:cubicBezTo>
                    <a:cubicBezTo>
                      <a:pt x="22" y="9"/>
                      <a:pt x="18" y="11"/>
                      <a:pt x="15" y="14"/>
                    </a:cubicBezTo>
                    <a:cubicBezTo>
                      <a:pt x="11" y="18"/>
                      <a:pt x="9" y="22"/>
                      <a:pt x="8" y="25"/>
                    </a:cubicBezTo>
                    <a:cubicBezTo>
                      <a:pt x="8" y="28"/>
                      <a:pt x="9" y="31"/>
                      <a:pt x="11" y="33"/>
                    </a:cubicBezTo>
                    <a:cubicBezTo>
                      <a:pt x="13" y="35"/>
                      <a:pt x="15" y="36"/>
                      <a:pt x="17" y="36"/>
                    </a:cubicBezTo>
                    <a:cubicBezTo>
                      <a:pt x="20" y="36"/>
                      <a:pt x="22" y="35"/>
                      <a:pt x="25" y="3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328" name="íṩḷiḋé"/>
              <p:cNvSpPr/>
              <p:nvPr/>
            </p:nvSpPr>
            <p:spPr bwMode="auto">
              <a:xfrm>
                <a:off x="1916009" y="5887040"/>
                <a:ext cx="65088" cy="71438"/>
              </a:xfrm>
              <a:custGeom>
                <a:avLst/>
                <a:gdLst>
                  <a:gd name="T0" fmla="*/ 0 w 41"/>
                  <a:gd name="T1" fmla="*/ 38 h 45"/>
                  <a:gd name="T2" fmla="*/ 34 w 41"/>
                  <a:gd name="T3" fmla="*/ 0 h 45"/>
                  <a:gd name="T4" fmla="*/ 41 w 41"/>
                  <a:gd name="T5" fmla="*/ 6 h 45"/>
                  <a:gd name="T6" fmla="*/ 8 w 41"/>
                  <a:gd name="T7" fmla="*/ 45 h 45"/>
                  <a:gd name="T8" fmla="*/ 0 w 41"/>
                  <a:gd name="T9" fmla="*/ 38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1" h="45">
                    <a:moveTo>
                      <a:pt x="0" y="38"/>
                    </a:moveTo>
                    <a:lnTo>
                      <a:pt x="34" y="0"/>
                    </a:lnTo>
                    <a:lnTo>
                      <a:pt x="41" y="6"/>
                    </a:lnTo>
                    <a:lnTo>
                      <a:pt x="8" y="45"/>
                    </a:lnTo>
                    <a:lnTo>
                      <a:pt x="0" y="3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329" name="îsľïďé"/>
              <p:cNvSpPr/>
              <p:nvPr/>
            </p:nvSpPr>
            <p:spPr bwMode="auto">
              <a:xfrm>
                <a:off x="1941409" y="5904503"/>
                <a:ext cx="96838" cy="101600"/>
              </a:xfrm>
              <a:custGeom>
                <a:avLst/>
                <a:gdLst>
                  <a:gd name="T0" fmla="*/ 0 w 61"/>
                  <a:gd name="T1" fmla="*/ 41 h 64"/>
                  <a:gd name="T2" fmla="*/ 31 w 61"/>
                  <a:gd name="T3" fmla="*/ 0 h 64"/>
                  <a:gd name="T4" fmla="*/ 61 w 61"/>
                  <a:gd name="T5" fmla="*/ 22 h 64"/>
                  <a:gd name="T6" fmla="*/ 56 w 61"/>
                  <a:gd name="T7" fmla="*/ 29 h 64"/>
                  <a:gd name="T8" fmla="*/ 34 w 61"/>
                  <a:gd name="T9" fmla="*/ 13 h 64"/>
                  <a:gd name="T10" fmla="*/ 27 w 61"/>
                  <a:gd name="T11" fmla="*/ 22 h 64"/>
                  <a:gd name="T12" fmla="*/ 47 w 61"/>
                  <a:gd name="T13" fmla="*/ 37 h 64"/>
                  <a:gd name="T14" fmla="*/ 42 w 61"/>
                  <a:gd name="T15" fmla="*/ 44 h 64"/>
                  <a:gd name="T16" fmla="*/ 21 w 61"/>
                  <a:gd name="T17" fmla="*/ 29 h 64"/>
                  <a:gd name="T18" fmla="*/ 13 w 61"/>
                  <a:gd name="T19" fmla="*/ 40 h 64"/>
                  <a:gd name="T20" fmla="*/ 36 w 61"/>
                  <a:gd name="T21" fmla="*/ 57 h 64"/>
                  <a:gd name="T22" fmla="*/ 31 w 61"/>
                  <a:gd name="T23" fmla="*/ 64 h 64"/>
                  <a:gd name="T24" fmla="*/ 0 w 61"/>
                  <a:gd name="T25" fmla="*/ 41 h 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1" h="64">
                    <a:moveTo>
                      <a:pt x="0" y="41"/>
                    </a:moveTo>
                    <a:lnTo>
                      <a:pt x="31" y="0"/>
                    </a:lnTo>
                    <a:lnTo>
                      <a:pt x="61" y="22"/>
                    </a:lnTo>
                    <a:lnTo>
                      <a:pt x="56" y="29"/>
                    </a:lnTo>
                    <a:lnTo>
                      <a:pt x="34" y="13"/>
                    </a:lnTo>
                    <a:lnTo>
                      <a:pt x="27" y="22"/>
                    </a:lnTo>
                    <a:lnTo>
                      <a:pt x="47" y="37"/>
                    </a:lnTo>
                    <a:lnTo>
                      <a:pt x="42" y="44"/>
                    </a:lnTo>
                    <a:lnTo>
                      <a:pt x="21" y="29"/>
                    </a:lnTo>
                    <a:lnTo>
                      <a:pt x="13" y="40"/>
                    </a:lnTo>
                    <a:lnTo>
                      <a:pt x="36" y="57"/>
                    </a:lnTo>
                    <a:lnTo>
                      <a:pt x="31" y="64"/>
                    </a:lnTo>
                    <a:lnTo>
                      <a:pt x="0" y="4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330" name="íśliḋé"/>
              <p:cNvSpPr/>
              <p:nvPr/>
            </p:nvSpPr>
            <p:spPr bwMode="auto">
              <a:xfrm>
                <a:off x="2004909" y="5947365"/>
                <a:ext cx="96838" cy="101600"/>
              </a:xfrm>
              <a:custGeom>
                <a:avLst/>
                <a:gdLst>
                  <a:gd name="T0" fmla="*/ 0 w 61"/>
                  <a:gd name="T1" fmla="*/ 43 h 64"/>
                  <a:gd name="T2" fmla="*/ 27 w 61"/>
                  <a:gd name="T3" fmla="*/ 0 h 64"/>
                  <a:gd name="T4" fmla="*/ 35 w 61"/>
                  <a:gd name="T5" fmla="*/ 5 h 64"/>
                  <a:gd name="T6" fmla="*/ 36 w 61"/>
                  <a:gd name="T7" fmla="*/ 45 h 64"/>
                  <a:gd name="T8" fmla="*/ 53 w 61"/>
                  <a:gd name="T9" fmla="*/ 15 h 64"/>
                  <a:gd name="T10" fmla="*/ 61 w 61"/>
                  <a:gd name="T11" fmla="*/ 21 h 64"/>
                  <a:gd name="T12" fmla="*/ 35 w 61"/>
                  <a:gd name="T13" fmla="*/ 64 h 64"/>
                  <a:gd name="T14" fmla="*/ 27 w 61"/>
                  <a:gd name="T15" fmla="*/ 59 h 64"/>
                  <a:gd name="T16" fmla="*/ 25 w 61"/>
                  <a:gd name="T17" fmla="*/ 20 h 64"/>
                  <a:gd name="T18" fmla="*/ 8 w 61"/>
                  <a:gd name="T19" fmla="*/ 49 h 64"/>
                  <a:gd name="T20" fmla="*/ 0 w 61"/>
                  <a:gd name="T21" fmla="*/ 43 h 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61" h="64">
                    <a:moveTo>
                      <a:pt x="0" y="43"/>
                    </a:moveTo>
                    <a:lnTo>
                      <a:pt x="27" y="0"/>
                    </a:lnTo>
                    <a:lnTo>
                      <a:pt x="35" y="5"/>
                    </a:lnTo>
                    <a:lnTo>
                      <a:pt x="36" y="45"/>
                    </a:lnTo>
                    <a:lnTo>
                      <a:pt x="53" y="15"/>
                    </a:lnTo>
                    <a:lnTo>
                      <a:pt x="61" y="21"/>
                    </a:lnTo>
                    <a:lnTo>
                      <a:pt x="35" y="64"/>
                    </a:lnTo>
                    <a:lnTo>
                      <a:pt x="27" y="59"/>
                    </a:lnTo>
                    <a:lnTo>
                      <a:pt x="25" y="20"/>
                    </a:lnTo>
                    <a:lnTo>
                      <a:pt x="8" y="49"/>
                    </a:lnTo>
                    <a:lnTo>
                      <a:pt x="0" y="4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331" name="iSļiďê"/>
              <p:cNvSpPr/>
              <p:nvPr/>
            </p:nvSpPr>
            <p:spPr bwMode="auto">
              <a:xfrm>
                <a:off x="2087459" y="5993403"/>
                <a:ext cx="79375" cy="87313"/>
              </a:xfrm>
              <a:custGeom>
                <a:avLst/>
                <a:gdLst>
                  <a:gd name="T0" fmla="*/ 28 w 43"/>
                  <a:gd name="T1" fmla="*/ 33 h 47"/>
                  <a:gd name="T2" fmla="*/ 34 w 43"/>
                  <a:gd name="T3" fmla="*/ 39 h 47"/>
                  <a:gd name="T4" fmla="*/ 24 w 43"/>
                  <a:gd name="T5" fmla="*/ 46 h 47"/>
                  <a:gd name="T6" fmla="*/ 12 w 43"/>
                  <a:gd name="T7" fmla="*/ 44 h 47"/>
                  <a:gd name="T8" fmla="*/ 1 w 43"/>
                  <a:gd name="T9" fmla="*/ 33 h 47"/>
                  <a:gd name="T10" fmla="*/ 3 w 43"/>
                  <a:gd name="T11" fmla="*/ 15 h 47"/>
                  <a:gd name="T12" fmla="*/ 15 w 43"/>
                  <a:gd name="T13" fmla="*/ 2 h 47"/>
                  <a:gd name="T14" fmla="*/ 32 w 43"/>
                  <a:gd name="T15" fmla="*/ 3 h 47"/>
                  <a:gd name="T16" fmla="*/ 41 w 43"/>
                  <a:gd name="T17" fmla="*/ 13 h 47"/>
                  <a:gd name="T18" fmla="*/ 42 w 43"/>
                  <a:gd name="T19" fmla="*/ 22 h 47"/>
                  <a:gd name="T20" fmla="*/ 33 w 43"/>
                  <a:gd name="T21" fmla="*/ 20 h 47"/>
                  <a:gd name="T22" fmla="*/ 33 w 43"/>
                  <a:gd name="T23" fmla="*/ 14 h 47"/>
                  <a:gd name="T24" fmla="*/ 28 w 43"/>
                  <a:gd name="T25" fmla="*/ 10 h 47"/>
                  <a:gd name="T26" fmla="*/ 19 w 43"/>
                  <a:gd name="T27" fmla="*/ 10 h 47"/>
                  <a:gd name="T28" fmla="*/ 12 w 43"/>
                  <a:gd name="T29" fmla="*/ 19 h 47"/>
                  <a:gd name="T30" fmla="*/ 9 w 43"/>
                  <a:gd name="T31" fmla="*/ 31 h 47"/>
                  <a:gd name="T32" fmla="*/ 15 w 43"/>
                  <a:gd name="T33" fmla="*/ 37 h 47"/>
                  <a:gd name="T34" fmla="*/ 22 w 43"/>
                  <a:gd name="T35" fmla="*/ 38 h 47"/>
                  <a:gd name="T36" fmla="*/ 28 w 43"/>
                  <a:gd name="T37" fmla="*/ 33 h 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43" h="47">
                    <a:moveTo>
                      <a:pt x="28" y="33"/>
                    </a:moveTo>
                    <a:cubicBezTo>
                      <a:pt x="34" y="39"/>
                      <a:pt x="34" y="39"/>
                      <a:pt x="34" y="39"/>
                    </a:cubicBezTo>
                    <a:cubicBezTo>
                      <a:pt x="31" y="43"/>
                      <a:pt x="28" y="45"/>
                      <a:pt x="24" y="46"/>
                    </a:cubicBezTo>
                    <a:cubicBezTo>
                      <a:pt x="20" y="47"/>
                      <a:pt x="16" y="46"/>
                      <a:pt x="12" y="44"/>
                    </a:cubicBezTo>
                    <a:cubicBezTo>
                      <a:pt x="7" y="42"/>
                      <a:pt x="3" y="38"/>
                      <a:pt x="1" y="33"/>
                    </a:cubicBezTo>
                    <a:cubicBezTo>
                      <a:pt x="0" y="27"/>
                      <a:pt x="0" y="22"/>
                      <a:pt x="3" y="15"/>
                    </a:cubicBezTo>
                    <a:cubicBezTo>
                      <a:pt x="6" y="9"/>
                      <a:pt x="10" y="4"/>
                      <a:pt x="15" y="2"/>
                    </a:cubicBezTo>
                    <a:cubicBezTo>
                      <a:pt x="21" y="0"/>
                      <a:pt x="26" y="1"/>
                      <a:pt x="32" y="3"/>
                    </a:cubicBezTo>
                    <a:cubicBezTo>
                      <a:pt x="36" y="5"/>
                      <a:pt x="40" y="9"/>
                      <a:pt x="41" y="13"/>
                    </a:cubicBezTo>
                    <a:cubicBezTo>
                      <a:pt x="42" y="16"/>
                      <a:pt x="43" y="19"/>
                      <a:pt x="42" y="22"/>
                    </a:cubicBezTo>
                    <a:cubicBezTo>
                      <a:pt x="33" y="20"/>
                      <a:pt x="33" y="20"/>
                      <a:pt x="33" y="20"/>
                    </a:cubicBezTo>
                    <a:cubicBezTo>
                      <a:pt x="34" y="18"/>
                      <a:pt x="34" y="16"/>
                      <a:pt x="33" y="14"/>
                    </a:cubicBezTo>
                    <a:cubicBezTo>
                      <a:pt x="32" y="12"/>
                      <a:pt x="30" y="11"/>
                      <a:pt x="28" y="10"/>
                    </a:cubicBezTo>
                    <a:cubicBezTo>
                      <a:pt x="25" y="8"/>
                      <a:pt x="22" y="8"/>
                      <a:pt x="19" y="10"/>
                    </a:cubicBezTo>
                    <a:cubicBezTo>
                      <a:pt x="16" y="11"/>
                      <a:pt x="14" y="14"/>
                      <a:pt x="12" y="19"/>
                    </a:cubicBezTo>
                    <a:cubicBezTo>
                      <a:pt x="9" y="24"/>
                      <a:pt x="9" y="28"/>
                      <a:pt x="9" y="31"/>
                    </a:cubicBezTo>
                    <a:cubicBezTo>
                      <a:pt x="10" y="34"/>
                      <a:pt x="12" y="36"/>
                      <a:pt x="15" y="37"/>
                    </a:cubicBezTo>
                    <a:cubicBezTo>
                      <a:pt x="17" y="38"/>
                      <a:pt x="19" y="38"/>
                      <a:pt x="22" y="38"/>
                    </a:cubicBezTo>
                    <a:cubicBezTo>
                      <a:pt x="24" y="37"/>
                      <a:pt x="26" y="35"/>
                      <a:pt x="28" y="3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332" name="íSliḋé"/>
              <p:cNvSpPr/>
              <p:nvPr/>
            </p:nvSpPr>
            <p:spPr bwMode="auto">
              <a:xfrm>
                <a:off x="2157309" y="6017215"/>
                <a:ext cx="82550" cy="96838"/>
              </a:xfrm>
              <a:custGeom>
                <a:avLst/>
                <a:gdLst>
                  <a:gd name="T0" fmla="*/ 0 w 52"/>
                  <a:gd name="T1" fmla="*/ 49 h 61"/>
                  <a:gd name="T2" fmla="*/ 16 w 52"/>
                  <a:gd name="T3" fmla="*/ 0 h 61"/>
                  <a:gd name="T4" fmla="*/ 52 w 52"/>
                  <a:gd name="T5" fmla="*/ 13 h 61"/>
                  <a:gd name="T6" fmla="*/ 50 w 52"/>
                  <a:gd name="T7" fmla="*/ 21 h 61"/>
                  <a:gd name="T8" fmla="*/ 23 w 52"/>
                  <a:gd name="T9" fmla="*/ 12 h 61"/>
                  <a:gd name="T10" fmla="*/ 20 w 52"/>
                  <a:gd name="T11" fmla="*/ 22 h 61"/>
                  <a:gd name="T12" fmla="*/ 44 w 52"/>
                  <a:gd name="T13" fmla="*/ 30 h 61"/>
                  <a:gd name="T14" fmla="*/ 41 w 52"/>
                  <a:gd name="T15" fmla="*/ 38 h 61"/>
                  <a:gd name="T16" fmla="*/ 18 w 52"/>
                  <a:gd name="T17" fmla="*/ 30 h 61"/>
                  <a:gd name="T18" fmla="*/ 13 w 52"/>
                  <a:gd name="T19" fmla="*/ 43 h 61"/>
                  <a:gd name="T20" fmla="*/ 40 w 52"/>
                  <a:gd name="T21" fmla="*/ 52 h 61"/>
                  <a:gd name="T22" fmla="*/ 36 w 52"/>
                  <a:gd name="T23" fmla="*/ 61 h 61"/>
                  <a:gd name="T24" fmla="*/ 0 w 52"/>
                  <a:gd name="T25" fmla="*/ 49 h 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52" h="61">
                    <a:moveTo>
                      <a:pt x="0" y="49"/>
                    </a:moveTo>
                    <a:lnTo>
                      <a:pt x="16" y="0"/>
                    </a:lnTo>
                    <a:lnTo>
                      <a:pt x="52" y="13"/>
                    </a:lnTo>
                    <a:lnTo>
                      <a:pt x="50" y="21"/>
                    </a:lnTo>
                    <a:lnTo>
                      <a:pt x="23" y="12"/>
                    </a:lnTo>
                    <a:lnTo>
                      <a:pt x="20" y="22"/>
                    </a:lnTo>
                    <a:lnTo>
                      <a:pt x="44" y="30"/>
                    </a:lnTo>
                    <a:lnTo>
                      <a:pt x="41" y="38"/>
                    </a:lnTo>
                    <a:lnTo>
                      <a:pt x="18" y="30"/>
                    </a:lnTo>
                    <a:lnTo>
                      <a:pt x="13" y="43"/>
                    </a:lnTo>
                    <a:lnTo>
                      <a:pt x="40" y="52"/>
                    </a:lnTo>
                    <a:lnTo>
                      <a:pt x="36" y="61"/>
                    </a:lnTo>
                    <a:lnTo>
                      <a:pt x="0" y="4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333" name="îŝ1îḑè"/>
              <p:cNvSpPr/>
              <p:nvPr/>
            </p:nvSpPr>
            <p:spPr bwMode="auto">
              <a:xfrm>
                <a:off x="2663722" y="6026740"/>
                <a:ext cx="77788" cy="92075"/>
              </a:xfrm>
              <a:custGeom>
                <a:avLst/>
                <a:gdLst>
                  <a:gd name="T0" fmla="*/ 49 w 49"/>
                  <a:gd name="T1" fmla="*/ 42 h 58"/>
                  <a:gd name="T2" fmla="*/ 39 w 49"/>
                  <a:gd name="T3" fmla="*/ 45 h 58"/>
                  <a:gd name="T4" fmla="*/ 31 w 49"/>
                  <a:gd name="T5" fmla="*/ 36 h 58"/>
                  <a:gd name="T6" fmla="*/ 11 w 49"/>
                  <a:gd name="T7" fmla="*/ 43 h 58"/>
                  <a:gd name="T8" fmla="*/ 11 w 49"/>
                  <a:gd name="T9" fmla="*/ 55 h 58"/>
                  <a:gd name="T10" fmla="*/ 0 w 49"/>
                  <a:gd name="T11" fmla="*/ 58 h 58"/>
                  <a:gd name="T12" fmla="*/ 3 w 49"/>
                  <a:gd name="T13" fmla="*/ 3 h 58"/>
                  <a:gd name="T14" fmla="*/ 13 w 49"/>
                  <a:gd name="T15" fmla="*/ 0 h 58"/>
                  <a:gd name="T16" fmla="*/ 49 w 49"/>
                  <a:gd name="T17" fmla="*/ 42 h 58"/>
                  <a:gd name="T18" fmla="*/ 25 w 49"/>
                  <a:gd name="T19" fmla="*/ 29 h 58"/>
                  <a:gd name="T20" fmla="*/ 12 w 49"/>
                  <a:gd name="T21" fmla="*/ 14 h 58"/>
                  <a:gd name="T22" fmla="*/ 11 w 49"/>
                  <a:gd name="T23" fmla="*/ 34 h 58"/>
                  <a:gd name="T24" fmla="*/ 25 w 49"/>
                  <a:gd name="T25" fmla="*/ 29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49" h="58">
                    <a:moveTo>
                      <a:pt x="49" y="42"/>
                    </a:moveTo>
                    <a:lnTo>
                      <a:pt x="39" y="45"/>
                    </a:lnTo>
                    <a:lnTo>
                      <a:pt x="31" y="36"/>
                    </a:lnTo>
                    <a:lnTo>
                      <a:pt x="11" y="43"/>
                    </a:lnTo>
                    <a:lnTo>
                      <a:pt x="11" y="55"/>
                    </a:lnTo>
                    <a:lnTo>
                      <a:pt x="0" y="58"/>
                    </a:lnTo>
                    <a:lnTo>
                      <a:pt x="3" y="3"/>
                    </a:lnTo>
                    <a:lnTo>
                      <a:pt x="13" y="0"/>
                    </a:lnTo>
                    <a:lnTo>
                      <a:pt x="49" y="42"/>
                    </a:lnTo>
                    <a:close/>
                    <a:moveTo>
                      <a:pt x="25" y="29"/>
                    </a:moveTo>
                    <a:lnTo>
                      <a:pt x="12" y="14"/>
                    </a:lnTo>
                    <a:lnTo>
                      <a:pt x="11" y="34"/>
                    </a:lnTo>
                    <a:lnTo>
                      <a:pt x="25" y="2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334" name="íṩḻiḋê"/>
              <p:cNvSpPr/>
              <p:nvPr/>
            </p:nvSpPr>
            <p:spPr bwMode="auto">
              <a:xfrm>
                <a:off x="2714522" y="5990228"/>
                <a:ext cx="92075" cy="101600"/>
              </a:xfrm>
              <a:custGeom>
                <a:avLst/>
                <a:gdLst>
                  <a:gd name="T0" fmla="*/ 21 w 58"/>
                  <a:gd name="T1" fmla="*/ 64 h 64"/>
                  <a:gd name="T2" fmla="*/ 0 w 58"/>
                  <a:gd name="T3" fmla="*/ 17 h 64"/>
                  <a:gd name="T4" fmla="*/ 9 w 58"/>
                  <a:gd name="T5" fmla="*/ 12 h 64"/>
                  <a:gd name="T6" fmla="*/ 43 w 58"/>
                  <a:gd name="T7" fmla="*/ 36 h 64"/>
                  <a:gd name="T8" fmla="*/ 29 w 58"/>
                  <a:gd name="T9" fmla="*/ 4 h 64"/>
                  <a:gd name="T10" fmla="*/ 37 w 58"/>
                  <a:gd name="T11" fmla="*/ 0 h 64"/>
                  <a:gd name="T12" fmla="*/ 58 w 58"/>
                  <a:gd name="T13" fmla="*/ 46 h 64"/>
                  <a:gd name="T14" fmla="*/ 49 w 58"/>
                  <a:gd name="T15" fmla="*/ 51 h 64"/>
                  <a:gd name="T16" fmla="*/ 16 w 58"/>
                  <a:gd name="T17" fmla="*/ 29 h 64"/>
                  <a:gd name="T18" fmla="*/ 30 w 58"/>
                  <a:gd name="T19" fmla="*/ 59 h 64"/>
                  <a:gd name="T20" fmla="*/ 21 w 58"/>
                  <a:gd name="T21" fmla="*/ 64 h 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58" h="64">
                    <a:moveTo>
                      <a:pt x="21" y="64"/>
                    </a:moveTo>
                    <a:lnTo>
                      <a:pt x="0" y="17"/>
                    </a:lnTo>
                    <a:lnTo>
                      <a:pt x="9" y="12"/>
                    </a:lnTo>
                    <a:lnTo>
                      <a:pt x="43" y="36"/>
                    </a:lnTo>
                    <a:lnTo>
                      <a:pt x="29" y="4"/>
                    </a:lnTo>
                    <a:lnTo>
                      <a:pt x="37" y="0"/>
                    </a:lnTo>
                    <a:lnTo>
                      <a:pt x="58" y="46"/>
                    </a:lnTo>
                    <a:lnTo>
                      <a:pt x="49" y="51"/>
                    </a:lnTo>
                    <a:lnTo>
                      <a:pt x="16" y="29"/>
                    </a:lnTo>
                    <a:lnTo>
                      <a:pt x="30" y="59"/>
                    </a:lnTo>
                    <a:lnTo>
                      <a:pt x="21" y="6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335" name="îṧľíḍe"/>
              <p:cNvSpPr/>
              <p:nvPr/>
            </p:nvSpPr>
            <p:spPr bwMode="auto">
              <a:xfrm>
                <a:off x="2781197" y="5963240"/>
                <a:ext cx="85725" cy="95250"/>
              </a:xfrm>
              <a:custGeom>
                <a:avLst/>
                <a:gdLst>
                  <a:gd name="T0" fmla="*/ 0 w 47"/>
                  <a:gd name="T1" fmla="*/ 13 h 51"/>
                  <a:gd name="T2" fmla="*/ 14 w 47"/>
                  <a:gd name="T3" fmla="*/ 4 h 51"/>
                  <a:gd name="T4" fmla="*/ 22 w 47"/>
                  <a:gd name="T5" fmla="*/ 1 h 51"/>
                  <a:gd name="T6" fmla="*/ 29 w 47"/>
                  <a:gd name="T7" fmla="*/ 1 h 51"/>
                  <a:gd name="T8" fmla="*/ 37 w 47"/>
                  <a:gd name="T9" fmla="*/ 5 h 51"/>
                  <a:gd name="T10" fmla="*/ 43 w 47"/>
                  <a:gd name="T11" fmla="*/ 14 h 51"/>
                  <a:gd name="T12" fmla="*/ 47 w 47"/>
                  <a:gd name="T13" fmla="*/ 22 h 51"/>
                  <a:gd name="T14" fmla="*/ 46 w 47"/>
                  <a:gd name="T15" fmla="*/ 31 h 51"/>
                  <a:gd name="T16" fmla="*/ 43 w 47"/>
                  <a:gd name="T17" fmla="*/ 38 h 51"/>
                  <a:gd name="T18" fmla="*/ 36 w 47"/>
                  <a:gd name="T19" fmla="*/ 42 h 51"/>
                  <a:gd name="T20" fmla="*/ 22 w 47"/>
                  <a:gd name="T21" fmla="*/ 51 h 51"/>
                  <a:gd name="T22" fmla="*/ 0 w 47"/>
                  <a:gd name="T23" fmla="*/ 13 h 51"/>
                  <a:gd name="T24" fmla="*/ 11 w 47"/>
                  <a:gd name="T25" fmla="*/ 15 h 51"/>
                  <a:gd name="T26" fmla="*/ 26 w 47"/>
                  <a:gd name="T27" fmla="*/ 40 h 51"/>
                  <a:gd name="T28" fmla="*/ 32 w 47"/>
                  <a:gd name="T29" fmla="*/ 37 h 51"/>
                  <a:gd name="T30" fmla="*/ 36 w 47"/>
                  <a:gd name="T31" fmla="*/ 33 h 51"/>
                  <a:gd name="T32" fmla="*/ 38 w 47"/>
                  <a:gd name="T33" fmla="*/ 30 h 51"/>
                  <a:gd name="T34" fmla="*/ 38 w 47"/>
                  <a:gd name="T35" fmla="*/ 25 h 51"/>
                  <a:gd name="T36" fmla="*/ 35 w 47"/>
                  <a:gd name="T37" fmla="*/ 18 h 51"/>
                  <a:gd name="T38" fmla="*/ 30 w 47"/>
                  <a:gd name="T39" fmla="*/ 11 h 51"/>
                  <a:gd name="T40" fmla="*/ 26 w 47"/>
                  <a:gd name="T41" fmla="*/ 9 h 51"/>
                  <a:gd name="T42" fmla="*/ 21 w 47"/>
                  <a:gd name="T43" fmla="*/ 9 h 51"/>
                  <a:gd name="T44" fmla="*/ 15 w 47"/>
                  <a:gd name="T45" fmla="*/ 13 h 51"/>
                  <a:gd name="T46" fmla="*/ 11 w 47"/>
                  <a:gd name="T47" fmla="*/ 15 h 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47" h="51">
                    <a:moveTo>
                      <a:pt x="0" y="13"/>
                    </a:moveTo>
                    <a:cubicBezTo>
                      <a:pt x="14" y="4"/>
                      <a:pt x="14" y="4"/>
                      <a:pt x="14" y="4"/>
                    </a:cubicBezTo>
                    <a:cubicBezTo>
                      <a:pt x="17" y="3"/>
                      <a:pt x="20" y="1"/>
                      <a:pt x="22" y="1"/>
                    </a:cubicBezTo>
                    <a:cubicBezTo>
                      <a:pt x="24" y="0"/>
                      <a:pt x="27" y="0"/>
                      <a:pt x="29" y="1"/>
                    </a:cubicBezTo>
                    <a:cubicBezTo>
                      <a:pt x="32" y="2"/>
                      <a:pt x="34" y="3"/>
                      <a:pt x="37" y="5"/>
                    </a:cubicBezTo>
                    <a:cubicBezTo>
                      <a:pt x="39" y="7"/>
                      <a:pt x="41" y="10"/>
                      <a:pt x="43" y="14"/>
                    </a:cubicBezTo>
                    <a:cubicBezTo>
                      <a:pt x="45" y="17"/>
                      <a:pt x="46" y="20"/>
                      <a:pt x="47" y="22"/>
                    </a:cubicBezTo>
                    <a:cubicBezTo>
                      <a:pt x="47" y="26"/>
                      <a:pt x="47" y="29"/>
                      <a:pt x="46" y="31"/>
                    </a:cubicBezTo>
                    <a:cubicBezTo>
                      <a:pt x="46" y="34"/>
                      <a:pt x="45" y="36"/>
                      <a:pt x="43" y="38"/>
                    </a:cubicBezTo>
                    <a:cubicBezTo>
                      <a:pt x="41" y="39"/>
                      <a:pt x="39" y="41"/>
                      <a:pt x="36" y="42"/>
                    </a:cubicBezTo>
                    <a:cubicBezTo>
                      <a:pt x="22" y="51"/>
                      <a:pt x="22" y="51"/>
                      <a:pt x="22" y="51"/>
                    </a:cubicBezTo>
                    <a:lnTo>
                      <a:pt x="0" y="13"/>
                    </a:lnTo>
                    <a:close/>
                    <a:moveTo>
                      <a:pt x="11" y="15"/>
                    </a:moveTo>
                    <a:cubicBezTo>
                      <a:pt x="26" y="40"/>
                      <a:pt x="26" y="40"/>
                      <a:pt x="26" y="40"/>
                    </a:cubicBezTo>
                    <a:cubicBezTo>
                      <a:pt x="32" y="37"/>
                      <a:pt x="32" y="37"/>
                      <a:pt x="32" y="37"/>
                    </a:cubicBezTo>
                    <a:cubicBezTo>
                      <a:pt x="34" y="35"/>
                      <a:pt x="35" y="34"/>
                      <a:pt x="36" y="33"/>
                    </a:cubicBezTo>
                    <a:cubicBezTo>
                      <a:pt x="37" y="32"/>
                      <a:pt x="38" y="31"/>
                      <a:pt x="38" y="30"/>
                    </a:cubicBezTo>
                    <a:cubicBezTo>
                      <a:pt x="39" y="29"/>
                      <a:pt x="39" y="27"/>
                      <a:pt x="38" y="25"/>
                    </a:cubicBezTo>
                    <a:cubicBezTo>
                      <a:pt x="38" y="23"/>
                      <a:pt x="37" y="21"/>
                      <a:pt x="35" y="18"/>
                    </a:cubicBezTo>
                    <a:cubicBezTo>
                      <a:pt x="33" y="15"/>
                      <a:pt x="32" y="13"/>
                      <a:pt x="30" y="11"/>
                    </a:cubicBezTo>
                    <a:cubicBezTo>
                      <a:pt x="29" y="10"/>
                      <a:pt x="27" y="9"/>
                      <a:pt x="26" y="9"/>
                    </a:cubicBezTo>
                    <a:cubicBezTo>
                      <a:pt x="25" y="9"/>
                      <a:pt x="23" y="9"/>
                      <a:pt x="21" y="9"/>
                    </a:cubicBezTo>
                    <a:cubicBezTo>
                      <a:pt x="20" y="10"/>
                      <a:pt x="18" y="11"/>
                      <a:pt x="15" y="13"/>
                    </a:cubicBezTo>
                    <a:lnTo>
                      <a:pt x="11" y="1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336" name="ïṩḻiḍe"/>
              <p:cNvSpPr/>
              <p:nvPr/>
            </p:nvSpPr>
            <p:spPr bwMode="auto">
              <a:xfrm>
                <a:off x="2876447" y="5888628"/>
                <a:ext cx="80963" cy="88900"/>
              </a:xfrm>
              <a:custGeom>
                <a:avLst/>
                <a:gdLst>
                  <a:gd name="T0" fmla="*/ 43 w 51"/>
                  <a:gd name="T1" fmla="*/ 56 h 56"/>
                  <a:gd name="T2" fmla="*/ 16 w 51"/>
                  <a:gd name="T3" fmla="*/ 22 h 56"/>
                  <a:gd name="T4" fmla="*/ 5 w 51"/>
                  <a:gd name="T5" fmla="*/ 31 h 56"/>
                  <a:gd name="T6" fmla="*/ 0 w 51"/>
                  <a:gd name="T7" fmla="*/ 25 h 56"/>
                  <a:gd name="T8" fmla="*/ 31 w 51"/>
                  <a:gd name="T9" fmla="*/ 0 h 56"/>
                  <a:gd name="T10" fmla="*/ 37 w 51"/>
                  <a:gd name="T11" fmla="*/ 7 h 56"/>
                  <a:gd name="T12" fmla="*/ 24 w 51"/>
                  <a:gd name="T13" fmla="*/ 16 h 56"/>
                  <a:gd name="T14" fmla="*/ 51 w 51"/>
                  <a:gd name="T15" fmla="*/ 49 h 56"/>
                  <a:gd name="T16" fmla="*/ 43 w 51"/>
                  <a:gd name="T17" fmla="*/ 56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1" h="56">
                    <a:moveTo>
                      <a:pt x="43" y="56"/>
                    </a:moveTo>
                    <a:lnTo>
                      <a:pt x="16" y="22"/>
                    </a:lnTo>
                    <a:lnTo>
                      <a:pt x="5" y="31"/>
                    </a:lnTo>
                    <a:lnTo>
                      <a:pt x="0" y="25"/>
                    </a:lnTo>
                    <a:lnTo>
                      <a:pt x="31" y="0"/>
                    </a:lnTo>
                    <a:lnTo>
                      <a:pt x="37" y="7"/>
                    </a:lnTo>
                    <a:lnTo>
                      <a:pt x="24" y="16"/>
                    </a:lnTo>
                    <a:lnTo>
                      <a:pt x="51" y="49"/>
                    </a:lnTo>
                    <a:lnTo>
                      <a:pt x="43" y="56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337" name="íśļïḓè"/>
              <p:cNvSpPr/>
              <p:nvPr/>
            </p:nvSpPr>
            <p:spPr bwMode="auto">
              <a:xfrm>
                <a:off x="2925659" y="5845765"/>
                <a:ext cx="101600" cy="100013"/>
              </a:xfrm>
              <a:custGeom>
                <a:avLst/>
                <a:gdLst>
                  <a:gd name="T0" fmla="*/ 36 w 64"/>
                  <a:gd name="T1" fmla="*/ 63 h 63"/>
                  <a:gd name="T2" fmla="*/ 0 w 64"/>
                  <a:gd name="T3" fmla="*/ 26 h 63"/>
                  <a:gd name="T4" fmla="*/ 28 w 64"/>
                  <a:gd name="T5" fmla="*/ 0 h 63"/>
                  <a:gd name="T6" fmla="*/ 34 w 64"/>
                  <a:gd name="T7" fmla="*/ 6 h 63"/>
                  <a:gd name="T8" fmla="*/ 14 w 64"/>
                  <a:gd name="T9" fmla="*/ 26 h 63"/>
                  <a:gd name="T10" fmla="*/ 22 w 64"/>
                  <a:gd name="T11" fmla="*/ 34 h 63"/>
                  <a:gd name="T12" fmla="*/ 41 w 64"/>
                  <a:gd name="T13" fmla="*/ 16 h 63"/>
                  <a:gd name="T14" fmla="*/ 47 w 64"/>
                  <a:gd name="T15" fmla="*/ 22 h 63"/>
                  <a:gd name="T16" fmla="*/ 28 w 64"/>
                  <a:gd name="T17" fmla="*/ 39 h 63"/>
                  <a:gd name="T18" fmla="*/ 38 w 64"/>
                  <a:gd name="T19" fmla="*/ 50 h 63"/>
                  <a:gd name="T20" fmla="*/ 58 w 64"/>
                  <a:gd name="T21" fmla="*/ 30 h 63"/>
                  <a:gd name="T22" fmla="*/ 64 w 64"/>
                  <a:gd name="T23" fmla="*/ 36 h 63"/>
                  <a:gd name="T24" fmla="*/ 36 w 64"/>
                  <a:gd name="T25" fmla="*/ 63 h 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4" h="63">
                    <a:moveTo>
                      <a:pt x="36" y="63"/>
                    </a:moveTo>
                    <a:lnTo>
                      <a:pt x="0" y="26"/>
                    </a:lnTo>
                    <a:lnTo>
                      <a:pt x="28" y="0"/>
                    </a:lnTo>
                    <a:lnTo>
                      <a:pt x="34" y="6"/>
                    </a:lnTo>
                    <a:lnTo>
                      <a:pt x="14" y="26"/>
                    </a:lnTo>
                    <a:lnTo>
                      <a:pt x="22" y="34"/>
                    </a:lnTo>
                    <a:lnTo>
                      <a:pt x="41" y="16"/>
                    </a:lnTo>
                    <a:lnTo>
                      <a:pt x="47" y="22"/>
                    </a:lnTo>
                    <a:lnTo>
                      <a:pt x="28" y="39"/>
                    </a:lnTo>
                    <a:lnTo>
                      <a:pt x="38" y="50"/>
                    </a:lnTo>
                    <a:lnTo>
                      <a:pt x="58" y="30"/>
                    </a:lnTo>
                    <a:lnTo>
                      <a:pt x="64" y="36"/>
                    </a:lnTo>
                    <a:lnTo>
                      <a:pt x="36" y="6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338" name="íṩḻîde"/>
              <p:cNvSpPr/>
              <p:nvPr/>
            </p:nvSpPr>
            <p:spPr bwMode="auto">
              <a:xfrm>
                <a:off x="2985984" y="5801315"/>
                <a:ext cx="82550" cy="80963"/>
              </a:xfrm>
              <a:custGeom>
                <a:avLst/>
                <a:gdLst>
                  <a:gd name="T0" fmla="*/ 34 w 45"/>
                  <a:gd name="T1" fmla="*/ 19 h 44"/>
                  <a:gd name="T2" fmla="*/ 41 w 45"/>
                  <a:gd name="T3" fmla="*/ 14 h 44"/>
                  <a:gd name="T4" fmla="*/ 45 w 45"/>
                  <a:gd name="T5" fmla="*/ 26 h 44"/>
                  <a:gd name="T6" fmla="*/ 40 w 45"/>
                  <a:gd name="T7" fmla="*/ 37 h 44"/>
                  <a:gd name="T8" fmla="*/ 26 w 45"/>
                  <a:gd name="T9" fmla="*/ 44 h 44"/>
                  <a:gd name="T10" fmla="*/ 10 w 45"/>
                  <a:gd name="T11" fmla="*/ 38 h 44"/>
                  <a:gd name="T12" fmla="*/ 1 w 45"/>
                  <a:gd name="T13" fmla="*/ 22 h 44"/>
                  <a:gd name="T14" fmla="*/ 6 w 45"/>
                  <a:gd name="T15" fmla="*/ 7 h 44"/>
                  <a:gd name="T16" fmla="*/ 18 w 45"/>
                  <a:gd name="T17" fmla="*/ 0 h 44"/>
                  <a:gd name="T18" fmla="*/ 27 w 45"/>
                  <a:gd name="T19" fmla="*/ 2 h 44"/>
                  <a:gd name="T20" fmla="*/ 23 w 45"/>
                  <a:gd name="T21" fmla="*/ 10 h 44"/>
                  <a:gd name="T22" fmla="*/ 17 w 45"/>
                  <a:gd name="T23" fmla="*/ 9 h 44"/>
                  <a:gd name="T24" fmla="*/ 11 w 45"/>
                  <a:gd name="T25" fmla="*/ 12 h 44"/>
                  <a:gd name="T26" fmla="*/ 9 w 45"/>
                  <a:gd name="T27" fmla="*/ 21 h 44"/>
                  <a:gd name="T28" fmla="*/ 15 w 45"/>
                  <a:gd name="T29" fmla="*/ 30 h 44"/>
                  <a:gd name="T30" fmla="*/ 26 w 45"/>
                  <a:gd name="T31" fmla="*/ 36 h 44"/>
                  <a:gd name="T32" fmla="*/ 34 w 45"/>
                  <a:gd name="T33" fmla="*/ 32 h 44"/>
                  <a:gd name="T34" fmla="*/ 36 w 45"/>
                  <a:gd name="T35" fmla="*/ 26 h 44"/>
                  <a:gd name="T36" fmla="*/ 34 w 45"/>
                  <a:gd name="T37" fmla="*/ 19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45" h="44">
                    <a:moveTo>
                      <a:pt x="34" y="19"/>
                    </a:moveTo>
                    <a:cubicBezTo>
                      <a:pt x="41" y="14"/>
                      <a:pt x="41" y="14"/>
                      <a:pt x="41" y="14"/>
                    </a:cubicBezTo>
                    <a:cubicBezTo>
                      <a:pt x="44" y="18"/>
                      <a:pt x="45" y="22"/>
                      <a:pt x="45" y="26"/>
                    </a:cubicBezTo>
                    <a:cubicBezTo>
                      <a:pt x="45" y="30"/>
                      <a:pt x="43" y="34"/>
                      <a:pt x="40" y="37"/>
                    </a:cubicBezTo>
                    <a:cubicBezTo>
                      <a:pt x="36" y="42"/>
                      <a:pt x="31" y="44"/>
                      <a:pt x="26" y="44"/>
                    </a:cubicBezTo>
                    <a:cubicBezTo>
                      <a:pt x="21" y="44"/>
                      <a:pt x="15" y="42"/>
                      <a:pt x="10" y="38"/>
                    </a:cubicBezTo>
                    <a:cubicBezTo>
                      <a:pt x="4" y="33"/>
                      <a:pt x="1" y="28"/>
                      <a:pt x="1" y="22"/>
                    </a:cubicBezTo>
                    <a:cubicBezTo>
                      <a:pt x="0" y="17"/>
                      <a:pt x="2" y="12"/>
                      <a:pt x="6" y="7"/>
                    </a:cubicBezTo>
                    <a:cubicBezTo>
                      <a:pt x="10" y="3"/>
                      <a:pt x="14" y="1"/>
                      <a:pt x="18" y="0"/>
                    </a:cubicBezTo>
                    <a:cubicBezTo>
                      <a:pt x="21" y="0"/>
                      <a:pt x="24" y="1"/>
                      <a:pt x="27" y="2"/>
                    </a:cubicBezTo>
                    <a:cubicBezTo>
                      <a:pt x="23" y="10"/>
                      <a:pt x="23" y="10"/>
                      <a:pt x="23" y="10"/>
                    </a:cubicBezTo>
                    <a:cubicBezTo>
                      <a:pt x="21" y="9"/>
                      <a:pt x="19" y="9"/>
                      <a:pt x="17" y="9"/>
                    </a:cubicBezTo>
                    <a:cubicBezTo>
                      <a:pt x="15" y="9"/>
                      <a:pt x="13" y="11"/>
                      <a:pt x="11" y="12"/>
                    </a:cubicBezTo>
                    <a:cubicBezTo>
                      <a:pt x="9" y="15"/>
                      <a:pt x="8" y="18"/>
                      <a:pt x="9" y="21"/>
                    </a:cubicBezTo>
                    <a:cubicBezTo>
                      <a:pt x="9" y="24"/>
                      <a:pt x="12" y="27"/>
                      <a:pt x="15" y="30"/>
                    </a:cubicBezTo>
                    <a:cubicBezTo>
                      <a:pt x="20" y="34"/>
                      <a:pt x="23" y="36"/>
                      <a:pt x="26" y="36"/>
                    </a:cubicBezTo>
                    <a:cubicBezTo>
                      <a:pt x="29" y="36"/>
                      <a:pt x="32" y="35"/>
                      <a:pt x="34" y="32"/>
                    </a:cubicBezTo>
                    <a:cubicBezTo>
                      <a:pt x="36" y="31"/>
                      <a:pt x="36" y="29"/>
                      <a:pt x="36" y="26"/>
                    </a:cubicBezTo>
                    <a:cubicBezTo>
                      <a:pt x="36" y="24"/>
                      <a:pt x="35" y="22"/>
                      <a:pt x="34" y="1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339" name="îŝḷïḓê"/>
              <p:cNvSpPr/>
              <p:nvPr/>
            </p:nvSpPr>
            <p:spPr bwMode="auto">
              <a:xfrm>
                <a:off x="3022497" y="5733053"/>
                <a:ext cx="103188" cy="101600"/>
              </a:xfrm>
              <a:custGeom>
                <a:avLst/>
                <a:gdLst>
                  <a:gd name="T0" fmla="*/ 42 w 65"/>
                  <a:gd name="T1" fmla="*/ 64 h 64"/>
                  <a:gd name="T2" fmla="*/ 0 w 65"/>
                  <a:gd name="T3" fmla="*/ 34 h 64"/>
                  <a:gd name="T4" fmla="*/ 6 w 65"/>
                  <a:gd name="T5" fmla="*/ 26 h 64"/>
                  <a:gd name="T6" fmla="*/ 22 w 65"/>
                  <a:gd name="T7" fmla="*/ 37 h 64"/>
                  <a:gd name="T8" fmla="*/ 33 w 65"/>
                  <a:gd name="T9" fmla="*/ 21 h 64"/>
                  <a:gd name="T10" fmla="*/ 17 w 65"/>
                  <a:gd name="T11" fmla="*/ 9 h 64"/>
                  <a:gd name="T12" fmla="*/ 23 w 65"/>
                  <a:gd name="T13" fmla="*/ 0 h 64"/>
                  <a:gd name="T14" fmla="*/ 65 w 65"/>
                  <a:gd name="T15" fmla="*/ 30 h 64"/>
                  <a:gd name="T16" fmla="*/ 59 w 65"/>
                  <a:gd name="T17" fmla="*/ 38 h 64"/>
                  <a:gd name="T18" fmla="*/ 40 w 65"/>
                  <a:gd name="T19" fmla="*/ 26 h 64"/>
                  <a:gd name="T20" fmla="*/ 29 w 65"/>
                  <a:gd name="T21" fmla="*/ 42 h 64"/>
                  <a:gd name="T22" fmla="*/ 47 w 65"/>
                  <a:gd name="T23" fmla="*/ 55 h 64"/>
                  <a:gd name="T24" fmla="*/ 42 w 65"/>
                  <a:gd name="T25" fmla="*/ 64 h 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5" h="64">
                    <a:moveTo>
                      <a:pt x="42" y="64"/>
                    </a:moveTo>
                    <a:lnTo>
                      <a:pt x="0" y="34"/>
                    </a:lnTo>
                    <a:lnTo>
                      <a:pt x="6" y="26"/>
                    </a:lnTo>
                    <a:lnTo>
                      <a:pt x="22" y="37"/>
                    </a:lnTo>
                    <a:lnTo>
                      <a:pt x="33" y="21"/>
                    </a:lnTo>
                    <a:lnTo>
                      <a:pt x="17" y="9"/>
                    </a:lnTo>
                    <a:lnTo>
                      <a:pt x="23" y="0"/>
                    </a:lnTo>
                    <a:lnTo>
                      <a:pt x="65" y="30"/>
                    </a:lnTo>
                    <a:lnTo>
                      <a:pt x="59" y="38"/>
                    </a:lnTo>
                    <a:lnTo>
                      <a:pt x="40" y="26"/>
                    </a:lnTo>
                    <a:lnTo>
                      <a:pt x="29" y="42"/>
                    </a:lnTo>
                    <a:lnTo>
                      <a:pt x="47" y="55"/>
                    </a:lnTo>
                    <a:lnTo>
                      <a:pt x="42" y="6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340" name="îşḷîḑe"/>
              <p:cNvSpPr/>
              <p:nvPr/>
            </p:nvSpPr>
            <p:spPr bwMode="auto">
              <a:xfrm>
                <a:off x="3062184" y="5672728"/>
                <a:ext cx="103188" cy="95250"/>
              </a:xfrm>
              <a:custGeom>
                <a:avLst/>
                <a:gdLst>
                  <a:gd name="T0" fmla="*/ 44 w 65"/>
                  <a:gd name="T1" fmla="*/ 60 h 60"/>
                  <a:gd name="T2" fmla="*/ 0 w 65"/>
                  <a:gd name="T3" fmla="*/ 34 h 60"/>
                  <a:gd name="T4" fmla="*/ 5 w 65"/>
                  <a:gd name="T5" fmla="*/ 26 h 60"/>
                  <a:gd name="T6" fmla="*/ 46 w 65"/>
                  <a:gd name="T7" fmla="*/ 24 h 60"/>
                  <a:gd name="T8" fmla="*/ 15 w 65"/>
                  <a:gd name="T9" fmla="*/ 8 h 60"/>
                  <a:gd name="T10" fmla="*/ 20 w 65"/>
                  <a:gd name="T11" fmla="*/ 0 h 60"/>
                  <a:gd name="T12" fmla="*/ 65 w 65"/>
                  <a:gd name="T13" fmla="*/ 24 h 60"/>
                  <a:gd name="T14" fmla="*/ 59 w 65"/>
                  <a:gd name="T15" fmla="*/ 33 h 60"/>
                  <a:gd name="T16" fmla="*/ 20 w 65"/>
                  <a:gd name="T17" fmla="*/ 34 h 60"/>
                  <a:gd name="T18" fmla="*/ 49 w 65"/>
                  <a:gd name="T19" fmla="*/ 52 h 60"/>
                  <a:gd name="T20" fmla="*/ 44 w 65"/>
                  <a:gd name="T21" fmla="*/ 60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65" h="60">
                    <a:moveTo>
                      <a:pt x="44" y="60"/>
                    </a:moveTo>
                    <a:lnTo>
                      <a:pt x="0" y="34"/>
                    </a:lnTo>
                    <a:lnTo>
                      <a:pt x="5" y="26"/>
                    </a:lnTo>
                    <a:lnTo>
                      <a:pt x="46" y="24"/>
                    </a:lnTo>
                    <a:lnTo>
                      <a:pt x="15" y="8"/>
                    </a:lnTo>
                    <a:lnTo>
                      <a:pt x="20" y="0"/>
                    </a:lnTo>
                    <a:lnTo>
                      <a:pt x="65" y="24"/>
                    </a:lnTo>
                    <a:lnTo>
                      <a:pt x="59" y="33"/>
                    </a:lnTo>
                    <a:lnTo>
                      <a:pt x="20" y="34"/>
                    </a:lnTo>
                    <a:lnTo>
                      <a:pt x="49" y="52"/>
                    </a:lnTo>
                    <a:lnTo>
                      <a:pt x="44" y="6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341" name="îşḷïḋê"/>
              <p:cNvSpPr/>
              <p:nvPr/>
            </p:nvSpPr>
            <p:spPr bwMode="auto">
              <a:xfrm>
                <a:off x="3106634" y="5606053"/>
                <a:ext cx="87313" cy="84138"/>
              </a:xfrm>
              <a:custGeom>
                <a:avLst/>
                <a:gdLst>
                  <a:gd name="T0" fmla="*/ 15 w 47"/>
                  <a:gd name="T1" fmla="*/ 43 h 46"/>
                  <a:gd name="T2" fmla="*/ 5 w 47"/>
                  <a:gd name="T3" fmla="*/ 36 h 46"/>
                  <a:gd name="T4" fmla="*/ 2 w 47"/>
                  <a:gd name="T5" fmla="*/ 30 h 46"/>
                  <a:gd name="T6" fmla="*/ 0 w 47"/>
                  <a:gd name="T7" fmla="*/ 23 h 46"/>
                  <a:gd name="T8" fmla="*/ 2 w 47"/>
                  <a:gd name="T9" fmla="*/ 14 h 46"/>
                  <a:gd name="T10" fmla="*/ 14 w 47"/>
                  <a:gd name="T11" fmla="*/ 2 h 46"/>
                  <a:gd name="T12" fmla="*/ 32 w 47"/>
                  <a:gd name="T13" fmla="*/ 3 h 46"/>
                  <a:gd name="T14" fmla="*/ 45 w 47"/>
                  <a:gd name="T15" fmla="*/ 15 h 46"/>
                  <a:gd name="T16" fmla="*/ 44 w 47"/>
                  <a:gd name="T17" fmla="*/ 32 h 46"/>
                  <a:gd name="T18" fmla="*/ 32 w 47"/>
                  <a:gd name="T19" fmla="*/ 44 h 46"/>
                  <a:gd name="T20" fmla="*/ 15 w 47"/>
                  <a:gd name="T21" fmla="*/ 43 h 46"/>
                  <a:gd name="T22" fmla="*/ 18 w 47"/>
                  <a:gd name="T23" fmla="*/ 34 h 46"/>
                  <a:gd name="T24" fmla="*/ 30 w 47"/>
                  <a:gd name="T25" fmla="*/ 35 h 46"/>
                  <a:gd name="T26" fmla="*/ 37 w 47"/>
                  <a:gd name="T27" fmla="*/ 29 h 46"/>
                  <a:gd name="T28" fmla="*/ 37 w 47"/>
                  <a:gd name="T29" fmla="*/ 19 h 46"/>
                  <a:gd name="T30" fmla="*/ 28 w 47"/>
                  <a:gd name="T31" fmla="*/ 12 h 46"/>
                  <a:gd name="T32" fmla="*/ 16 w 47"/>
                  <a:gd name="T33" fmla="*/ 10 h 46"/>
                  <a:gd name="T34" fmla="*/ 9 w 47"/>
                  <a:gd name="T35" fmla="*/ 17 h 46"/>
                  <a:gd name="T36" fmla="*/ 9 w 47"/>
                  <a:gd name="T37" fmla="*/ 27 h 46"/>
                  <a:gd name="T38" fmla="*/ 18 w 47"/>
                  <a:gd name="T39" fmla="*/ 34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47" h="46">
                    <a:moveTo>
                      <a:pt x="15" y="43"/>
                    </a:moveTo>
                    <a:cubicBezTo>
                      <a:pt x="11" y="41"/>
                      <a:pt x="8" y="39"/>
                      <a:pt x="5" y="36"/>
                    </a:cubicBezTo>
                    <a:cubicBezTo>
                      <a:pt x="4" y="34"/>
                      <a:pt x="2" y="32"/>
                      <a:pt x="2" y="30"/>
                    </a:cubicBezTo>
                    <a:cubicBezTo>
                      <a:pt x="1" y="28"/>
                      <a:pt x="0" y="26"/>
                      <a:pt x="0" y="23"/>
                    </a:cubicBezTo>
                    <a:cubicBezTo>
                      <a:pt x="0" y="20"/>
                      <a:pt x="1" y="17"/>
                      <a:pt x="2" y="14"/>
                    </a:cubicBezTo>
                    <a:cubicBezTo>
                      <a:pt x="5" y="8"/>
                      <a:pt x="9" y="4"/>
                      <a:pt x="14" y="2"/>
                    </a:cubicBezTo>
                    <a:cubicBezTo>
                      <a:pt x="19" y="0"/>
                      <a:pt x="25" y="1"/>
                      <a:pt x="32" y="3"/>
                    </a:cubicBezTo>
                    <a:cubicBezTo>
                      <a:pt x="38" y="6"/>
                      <a:pt x="43" y="10"/>
                      <a:pt x="45" y="15"/>
                    </a:cubicBezTo>
                    <a:cubicBezTo>
                      <a:pt x="47" y="21"/>
                      <a:pt x="47" y="26"/>
                      <a:pt x="44" y="32"/>
                    </a:cubicBezTo>
                    <a:cubicBezTo>
                      <a:pt x="41" y="38"/>
                      <a:pt x="38" y="42"/>
                      <a:pt x="32" y="44"/>
                    </a:cubicBezTo>
                    <a:cubicBezTo>
                      <a:pt x="27" y="46"/>
                      <a:pt x="21" y="45"/>
                      <a:pt x="15" y="43"/>
                    </a:cubicBezTo>
                    <a:close/>
                    <a:moveTo>
                      <a:pt x="18" y="34"/>
                    </a:moveTo>
                    <a:cubicBezTo>
                      <a:pt x="23" y="36"/>
                      <a:pt x="27" y="37"/>
                      <a:pt x="30" y="35"/>
                    </a:cubicBezTo>
                    <a:cubicBezTo>
                      <a:pt x="33" y="34"/>
                      <a:pt x="36" y="32"/>
                      <a:pt x="37" y="29"/>
                    </a:cubicBezTo>
                    <a:cubicBezTo>
                      <a:pt x="39" y="26"/>
                      <a:pt x="39" y="23"/>
                      <a:pt x="37" y="19"/>
                    </a:cubicBezTo>
                    <a:cubicBezTo>
                      <a:pt x="36" y="16"/>
                      <a:pt x="33" y="14"/>
                      <a:pt x="28" y="12"/>
                    </a:cubicBezTo>
                    <a:cubicBezTo>
                      <a:pt x="23" y="10"/>
                      <a:pt x="19" y="9"/>
                      <a:pt x="16" y="10"/>
                    </a:cubicBezTo>
                    <a:cubicBezTo>
                      <a:pt x="13" y="11"/>
                      <a:pt x="11" y="14"/>
                      <a:pt x="9" y="17"/>
                    </a:cubicBezTo>
                    <a:cubicBezTo>
                      <a:pt x="8" y="20"/>
                      <a:pt x="8" y="23"/>
                      <a:pt x="9" y="27"/>
                    </a:cubicBezTo>
                    <a:cubicBezTo>
                      <a:pt x="11" y="30"/>
                      <a:pt x="14" y="32"/>
                      <a:pt x="18" y="3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342" name="îṣlïḍè"/>
              <p:cNvSpPr/>
              <p:nvPr/>
            </p:nvSpPr>
            <p:spPr bwMode="auto">
              <a:xfrm>
                <a:off x="3128859" y="5560015"/>
                <a:ext cx="93663" cy="57150"/>
              </a:xfrm>
              <a:custGeom>
                <a:avLst/>
                <a:gdLst>
                  <a:gd name="T0" fmla="*/ 49 w 59"/>
                  <a:gd name="T1" fmla="*/ 36 h 36"/>
                  <a:gd name="T2" fmla="*/ 0 w 59"/>
                  <a:gd name="T3" fmla="*/ 21 h 36"/>
                  <a:gd name="T4" fmla="*/ 4 w 59"/>
                  <a:gd name="T5" fmla="*/ 10 h 36"/>
                  <a:gd name="T6" fmla="*/ 43 w 59"/>
                  <a:gd name="T7" fmla="*/ 24 h 36"/>
                  <a:gd name="T8" fmla="*/ 51 w 59"/>
                  <a:gd name="T9" fmla="*/ 0 h 36"/>
                  <a:gd name="T10" fmla="*/ 59 w 59"/>
                  <a:gd name="T11" fmla="*/ 2 h 36"/>
                  <a:gd name="T12" fmla="*/ 49 w 59"/>
                  <a:gd name="T13" fmla="*/ 36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59" h="36">
                    <a:moveTo>
                      <a:pt x="49" y="36"/>
                    </a:moveTo>
                    <a:lnTo>
                      <a:pt x="0" y="21"/>
                    </a:lnTo>
                    <a:lnTo>
                      <a:pt x="4" y="10"/>
                    </a:lnTo>
                    <a:lnTo>
                      <a:pt x="43" y="24"/>
                    </a:lnTo>
                    <a:lnTo>
                      <a:pt x="51" y="0"/>
                    </a:lnTo>
                    <a:lnTo>
                      <a:pt x="59" y="2"/>
                    </a:lnTo>
                    <a:lnTo>
                      <a:pt x="49" y="36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343" name="ïṩḷîḓê"/>
              <p:cNvSpPr/>
              <p:nvPr/>
            </p:nvSpPr>
            <p:spPr bwMode="auto">
              <a:xfrm>
                <a:off x="3152672" y="5469528"/>
                <a:ext cx="85725" cy="80963"/>
              </a:xfrm>
              <a:custGeom>
                <a:avLst/>
                <a:gdLst>
                  <a:gd name="T0" fmla="*/ 18 w 46"/>
                  <a:gd name="T1" fmla="*/ 43 h 44"/>
                  <a:gd name="T2" fmla="*/ 8 w 46"/>
                  <a:gd name="T3" fmla="*/ 38 h 44"/>
                  <a:gd name="T4" fmla="*/ 3 w 46"/>
                  <a:gd name="T5" fmla="*/ 33 h 44"/>
                  <a:gd name="T6" fmla="*/ 0 w 46"/>
                  <a:gd name="T7" fmla="*/ 27 h 44"/>
                  <a:gd name="T8" fmla="*/ 1 w 46"/>
                  <a:gd name="T9" fmla="*/ 17 h 44"/>
                  <a:gd name="T10" fmla="*/ 10 w 46"/>
                  <a:gd name="T11" fmla="*/ 3 h 44"/>
                  <a:gd name="T12" fmla="*/ 28 w 46"/>
                  <a:gd name="T13" fmla="*/ 1 h 44"/>
                  <a:gd name="T14" fmla="*/ 43 w 46"/>
                  <a:gd name="T15" fmla="*/ 11 h 44"/>
                  <a:gd name="T16" fmla="*/ 45 w 46"/>
                  <a:gd name="T17" fmla="*/ 27 h 44"/>
                  <a:gd name="T18" fmla="*/ 36 w 46"/>
                  <a:gd name="T19" fmla="*/ 41 h 44"/>
                  <a:gd name="T20" fmla="*/ 18 w 46"/>
                  <a:gd name="T21" fmla="*/ 43 h 44"/>
                  <a:gd name="T22" fmla="*/ 20 w 46"/>
                  <a:gd name="T23" fmla="*/ 34 h 44"/>
                  <a:gd name="T24" fmla="*/ 32 w 46"/>
                  <a:gd name="T25" fmla="*/ 33 h 44"/>
                  <a:gd name="T26" fmla="*/ 38 w 46"/>
                  <a:gd name="T27" fmla="*/ 25 h 44"/>
                  <a:gd name="T28" fmla="*/ 36 w 46"/>
                  <a:gd name="T29" fmla="*/ 16 h 44"/>
                  <a:gd name="T30" fmla="*/ 25 w 46"/>
                  <a:gd name="T31" fmla="*/ 10 h 44"/>
                  <a:gd name="T32" fmla="*/ 14 w 46"/>
                  <a:gd name="T33" fmla="*/ 11 h 44"/>
                  <a:gd name="T34" fmla="*/ 8 w 46"/>
                  <a:gd name="T35" fmla="*/ 19 h 44"/>
                  <a:gd name="T36" fmla="*/ 10 w 46"/>
                  <a:gd name="T37" fmla="*/ 28 h 44"/>
                  <a:gd name="T38" fmla="*/ 20 w 46"/>
                  <a:gd name="T39" fmla="*/ 34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46" h="44">
                    <a:moveTo>
                      <a:pt x="18" y="43"/>
                    </a:moveTo>
                    <a:cubicBezTo>
                      <a:pt x="14" y="42"/>
                      <a:pt x="10" y="40"/>
                      <a:pt x="8" y="38"/>
                    </a:cubicBezTo>
                    <a:cubicBezTo>
                      <a:pt x="6" y="37"/>
                      <a:pt x="4" y="35"/>
                      <a:pt x="3" y="33"/>
                    </a:cubicBezTo>
                    <a:cubicBezTo>
                      <a:pt x="1" y="31"/>
                      <a:pt x="1" y="29"/>
                      <a:pt x="0" y="27"/>
                    </a:cubicBezTo>
                    <a:cubicBezTo>
                      <a:pt x="0" y="24"/>
                      <a:pt x="0" y="21"/>
                      <a:pt x="1" y="17"/>
                    </a:cubicBezTo>
                    <a:cubicBezTo>
                      <a:pt x="2" y="11"/>
                      <a:pt x="5" y="6"/>
                      <a:pt x="10" y="3"/>
                    </a:cubicBezTo>
                    <a:cubicBezTo>
                      <a:pt x="15" y="0"/>
                      <a:pt x="21" y="0"/>
                      <a:pt x="28" y="1"/>
                    </a:cubicBezTo>
                    <a:cubicBezTo>
                      <a:pt x="34" y="3"/>
                      <a:pt x="39" y="6"/>
                      <a:pt x="43" y="11"/>
                    </a:cubicBezTo>
                    <a:cubicBezTo>
                      <a:pt x="46" y="15"/>
                      <a:pt x="46" y="21"/>
                      <a:pt x="45" y="27"/>
                    </a:cubicBezTo>
                    <a:cubicBezTo>
                      <a:pt x="44" y="33"/>
                      <a:pt x="40" y="38"/>
                      <a:pt x="36" y="41"/>
                    </a:cubicBezTo>
                    <a:cubicBezTo>
                      <a:pt x="31" y="44"/>
                      <a:pt x="25" y="44"/>
                      <a:pt x="18" y="43"/>
                    </a:cubicBezTo>
                    <a:close/>
                    <a:moveTo>
                      <a:pt x="20" y="34"/>
                    </a:moveTo>
                    <a:cubicBezTo>
                      <a:pt x="25" y="35"/>
                      <a:pt x="29" y="35"/>
                      <a:pt x="32" y="33"/>
                    </a:cubicBezTo>
                    <a:cubicBezTo>
                      <a:pt x="35" y="31"/>
                      <a:pt x="37" y="29"/>
                      <a:pt x="38" y="25"/>
                    </a:cubicBezTo>
                    <a:cubicBezTo>
                      <a:pt x="38" y="22"/>
                      <a:pt x="38" y="19"/>
                      <a:pt x="36" y="16"/>
                    </a:cubicBezTo>
                    <a:cubicBezTo>
                      <a:pt x="34" y="13"/>
                      <a:pt x="30" y="11"/>
                      <a:pt x="25" y="10"/>
                    </a:cubicBezTo>
                    <a:cubicBezTo>
                      <a:pt x="20" y="9"/>
                      <a:pt x="16" y="9"/>
                      <a:pt x="14" y="11"/>
                    </a:cubicBezTo>
                    <a:cubicBezTo>
                      <a:pt x="11" y="13"/>
                      <a:pt x="9" y="15"/>
                      <a:pt x="8" y="19"/>
                    </a:cubicBezTo>
                    <a:cubicBezTo>
                      <a:pt x="7" y="22"/>
                      <a:pt x="8" y="25"/>
                      <a:pt x="10" y="28"/>
                    </a:cubicBezTo>
                    <a:cubicBezTo>
                      <a:pt x="12" y="31"/>
                      <a:pt x="15" y="33"/>
                      <a:pt x="20" y="3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344" name="ïSļiďé"/>
              <p:cNvSpPr/>
              <p:nvPr/>
            </p:nvSpPr>
            <p:spPr bwMode="auto">
              <a:xfrm>
                <a:off x="3165372" y="5390153"/>
                <a:ext cx="85725" cy="77788"/>
              </a:xfrm>
              <a:custGeom>
                <a:avLst/>
                <a:gdLst>
                  <a:gd name="T0" fmla="*/ 29 w 46"/>
                  <a:gd name="T1" fmla="*/ 21 h 42"/>
                  <a:gd name="T2" fmla="*/ 22 w 46"/>
                  <a:gd name="T3" fmla="*/ 20 h 42"/>
                  <a:gd name="T4" fmla="*/ 24 w 46"/>
                  <a:gd name="T5" fmla="*/ 1 h 42"/>
                  <a:gd name="T6" fmla="*/ 41 w 46"/>
                  <a:gd name="T7" fmla="*/ 3 h 42"/>
                  <a:gd name="T8" fmla="*/ 45 w 46"/>
                  <a:gd name="T9" fmla="*/ 11 h 42"/>
                  <a:gd name="T10" fmla="*/ 46 w 46"/>
                  <a:gd name="T11" fmla="*/ 22 h 42"/>
                  <a:gd name="T12" fmla="*/ 42 w 46"/>
                  <a:gd name="T13" fmla="*/ 34 h 42"/>
                  <a:gd name="T14" fmla="*/ 33 w 46"/>
                  <a:gd name="T15" fmla="*/ 41 h 42"/>
                  <a:gd name="T16" fmla="*/ 21 w 46"/>
                  <a:gd name="T17" fmla="*/ 42 h 42"/>
                  <a:gd name="T18" fmla="*/ 9 w 46"/>
                  <a:gd name="T19" fmla="*/ 38 h 42"/>
                  <a:gd name="T20" fmla="*/ 2 w 46"/>
                  <a:gd name="T21" fmla="*/ 28 h 42"/>
                  <a:gd name="T22" fmla="*/ 1 w 46"/>
                  <a:gd name="T23" fmla="*/ 18 h 42"/>
                  <a:gd name="T24" fmla="*/ 6 w 46"/>
                  <a:gd name="T25" fmla="*/ 5 h 42"/>
                  <a:gd name="T26" fmla="*/ 16 w 46"/>
                  <a:gd name="T27" fmla="*/ 0 h 42"/>
                  <a:gd name="T28" fmla="*/ 16 w 46"/>
                  <a:gd name="T29" fmla="*/ 9 h 42"/>
                  <a:gd name="T30" fmla="*/ 11 w 46"/>
                  <a:gd name="T31" fmla="*/ 12 h 42"/>
                  <a:gd name="T32" fmla="*/ 8 w 46"/>
                  <a:gd name="T33" fmla="*/ 18 h 42"/>
                  <a:gd name="T34" fmla="*/ 11 w 46"/>
                  <a:gd name="T35" fmla="*/ 28 h 42"/>
                  <a:gd name="T36" fmla="*/ 21 w 46"/>
                  <a:gd name="T37" fmla="*/ 33 h 42"/>
                  <a:gd name="T38" fmla="*/ 34 w 46"/>
                  <a:gd name="T39" fmla="*/ 31 h 42"/>
                  <a:gd name="T40" fmla="*/ 38 w 46"/>
                  <a:gd name="T41" fmla="*/ 22 h 42"/>
                  <a:gd name="T42" fmla="*/ 38 w 46"/>
                  <a:gd name="T43" fmla="*/ 16 h 42"/>
                  <a:gd name="T44" fmla="*/ 36 w 46"/>
                  <a:gd name="T45" fmla="*/ 11 h 42"/>
                  <a:gd name="T46" fmla="*/ 30 w 46"/>
                  <a:gd name="T47" fmla="*/ 11 h 42"/>
                  <a:gd name="T48" fmla="*/ 29 w 46"/>
                  <a:gd name="T49" fmla="*/ 21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46" h="42">
                    <a:moveTo>
                      <a:pt x="29" y="21"/>
                    </a:moveTo>
                    <a:cubicBezTo>
                      <a:pt x="22" y="20"/>
                      <a:pt x="22" y="20"/>
                      <a:pt x="22" y="20"/>
                    </a:cubicBezTo>
                    <a:cubicBezTo>
                      <a:pt x="24" y="1"/>
                      <a:pt x="24" y="1"/>
                      <a:pt x="24" y="1"/>
                    </a:cubicBezTo>
                    <a:cubicBezTo>
                      <a:pt x="41" y="3"/>
                      <a:pt x="41" y="3"/>
                      <a:pt x="41" y="3"/>
                    </a:cubicBezTo>
                    <a:cubicBezTo>
                      <a:pt x="43" y="5"/>
                      <a:pt x="44" y="8"/>
                      <a:pt x="45" y="11"/>
                    </a:cubicBezTo>
                    <a:cubicBezTo>
                      <a:pt x="46" y="15"/>
                      <a:pt x="46" y="19"/>
                      <a:pt x="46" y="22"/>
                    </a:cubicBezTo>
                    <a:cubicBezTo>
                      <a:pt x="46" y="27"/>
                      <a:pt x="44" y="31"/>
                      <a:pt x="42" y="34"/>
                    </a:cubicBezTo>
                    <a:cubicBezTo>
                      <a:pt x="39" y="37"/>
                      <a:pt x="36" y="39"/>
                      <a:pt x="33" y="41"/>
                    </a:cubicBezTo>
                    <a:cubicBezTo>
                      <a:pt x="29" y="42"/>
                      <a:pt x="25" y="42"/>
                      <a:pt x="21" y="42"/>
                    </a:cubicBezTo>
                    <a:cubicBezTo>
                      <a:pt x="16" y="41"/>
                      <a:pt x="12" y="40"/>
                      <a:pt x="9" y="38"/>
                    </a:cubicBezTo>
                    <a:cubicBezTo>
                      <a:pt x="6" y="35"/>
                      <a:pt x="3" y="32"/>
                      <a:pt x="2" y="28"/>
                    </a:cubicBezTo>
                    <a:cubicBezTo>
                      <a:pt x="1" y="25"/>
                      <a:pt x="0" y="22"/>
                      <a:pt x="1" y="18"/>
                    </a:cubicBezTo>
                    <a:cubicBezTo>
                      <a:pt x="1" y="12"/>
                      <a:pt x="3" y="8"/>
                      <a:pt x="6" y="5"/>
                    </a:cubicBezTo>
                    <a:cubicBezTo>
                      <a:pt x="8" y="2"/>
                      <a:pt x="12" y="1"/>
                      <a:pt x="16" y="0"/>
                    </a:cubicBezTo>
                    <a:cubicBezTo>
                      <a:pt x="16" y="9"/>
                      <a:pt x="16" y="9"/>
                      <a:pt x="16" y="9"/>
                    </a:cubicBezTo>
                    <a:cubicBezTo>
                      <a:pt x="14" y="10"/>
                      <a:pt x="12" y="11"/>
                      <a:pt x="11" y="12"/>
                    </a:cubicBezTo>
                    <a:cubicBezTo>
                      <a:pt x="10" y="14"/>
                      <a:pt x="9" y="16"/>
                      <a:pt x="8" y="18"/>
                    </a:cubicBezTo>
                    <a:cubicBezTo>
                      <a:pt x="8" y="22"/>
                      <a:pt x="9" y="25"/>
                      <a:pt x="11" y="28"/>
                    </a:cubicBezTo>
                    <a:cubicBezTo>
                      <a:pt x="13" y="31"/>
                      <a:pt x="17" y="32"/>
                      <a:pt x="21" y="33"/>
                    </a:cubicBezTo>
                    <a:cubicBezTo>
                      <a:pt x="27" y="33"/>
                      <a:pt x="31" y="33"/>
                      <a:pt x="34" y="31"/>
                    </a:cubicBezTo>
                    <a:cubicBezTo>
                      <a:pt x="36" y="29"/>
                      <a:pt x="38" y="26"/>
                      <a:pt x="38" y="22"/>
                    </a:cubicBezTo>
                    <a:cubicBezTo>
                      <a:pt x="39" y="20"/>
                      <a:pt x="39" y="18"/>
                      <a:pt x="38" y="16"/>
                    </a:cubicBezTo>
                    <a:cubicBezTo>
                      <a:pt x="37" y="14"/>
                      <a:pt x="37" y="13"/>
                      <a:pt x="36" y="11"/>
                    </a:cubicBezTo>
                    <a:cubicBezTo>
                      <a:pt x="30" y="11"/>
                      <a:pt x="30" y="11"/>
                      <a:pt x="30" y="11"/>
                    </a:cubicBezTo>
                    <a:lnTo>
                      <a:pt x="29" y="2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345" name="îSḷiḋè"/>
              <p:cNvSpPr/>
              <p:nvPr/>
            </p:nvSpPr>
            <p:spPr bwMode="auto">
              <a:xfrm>
                <a:off x="3173309" y="5313953"/>
                <a:ext cx="80963" cy="76200"/>
              </a:xfrm>
              <a:custGeom>
                <a:avLst/>
                <a:gdLst>
                  <a:gd name="T0" fmla="*/ 51 w 51"/>
                  <a:gd name="T1" fmla="*/ 30 h 48"/>
                  <a:gd name="T2" fmla="*/ 29 w 51"/>
                  <a:gd name="T3" fmla="*/ 29 h 48"/>
                  <a:gd name="T4" fmla="*/ 0 w 51"/>
                  <a:gd name="T5" fmla="*/ 48 h 48"/>
                  <a:gd name="T6" fmla="*/ 0 w 51"/>
                  <a:gd name="T7" fmla="*/ 36 h 48"/>
                  <a:gd name="T8" fmla="*/ 20 w 51"/>
                  <a:gd name="T9" fmla="*/ 24 h 48"/>
                  <a:gd name="T10" fmla="*/ 0 w 51"/>
                  <a:gd name="T11" fmla="*/ 12 h 48"/>
                  <a:gd name="T12" fmla="*/ 0 w 51"/>
                  <a:gd name="T13" fmla="*/ 0 h 48"/>
                  <a:gd name="T14" fmla="*/ 30 w 51"/>
                  <a:gd name="T15" fmla="*/ 20 h 48"/>
                  <a:gd name="T16" fmla="*/ 51 w 51"/>
                  <a:gd name="T17" fmla="*/ 20 h 48"/>
                  <a:gd name="T18" fmla="*/ 51 w 51"/>
                  <a:gd name="T19" fmla="*/ 30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51" h="48">
                    <a:moveTo>
                      <a:pt x="51" y="30"/>
                    </a:moveTo>
                    <a:lnTo>
                      <a:pt x="29" y="29"/>
                    </a:lnTo>
                    <a:lnTo>
                      <a:pt x="0" y="48"/>
                    </a:lnTo>
                    <a:lnTo>
                      <a:pt x="0" y="36"/>
                    </a:lnTo>
                    <a:lnTo>
                      <a:pt x="20" y="24"/>
                    </a:lnTo>
                    <a:lnTo>
                      <a:pt x="0" y="12"/>
                    </a:lnTo>
                    <a:lnTo>
                      <a:pt x="0" y="0"/>
                    </a:lnTo>
                    <a:lnTo>
                      <a:pt x="30" y="20"/>
                    </a:lnTo>
                    <a:lnTo>
                      <a:pt x="51" y="20"/>
                    </a:lnTo>
                    <a:lnTo>
                      <a:pt x="51" y="3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346" name="îṣḷíḋé"/>
              <p:cNvSpPr/>
              <p:nvPr/>
            </p:nvSpPr>
            <p:spPr bwMode="auto">
              <a:xfrm>
                <a:off x="3163784" y="5193303"/>
                <a:ext cx="87313" cy="76200"/>
              </a:xfrm>
              <a:custGeom>
                <a:avLst/>
                <a:gdLst>
                  <a:gd name="T0" fmla="*/ 4 w 47"/>
                  <a:gd name="T1" fmla="*/ 41 h 41"/>
                  <a:gd name="T2" fmla="*/ 1 w 47"/>
                  <a:gd name="T3" fmla="*/ 24 h 41"/>
                  <a:gd name="T4" fmla="*/ 0 w 47"/>
                  <a:gd name="T5" fmla="*/ 16 h 41"/>
                  <a:gd name="T6" fmla="*/ 2 w 47"/>
                  <a:gd name="T7" fmla="*/ 11 h 41"/>
                  <a:gd name="T8" fmla="*/ 5 w 47"/>
                  <a:gd name="T9" fmla="*/ 7 h 41"/>
                  <a:gd name="T10" fmla="*/ 10 w 47"/>
                  <a:gd name="T11" fmla="*/ 5 h 41"/>
                  <a:gd name="T12" fmla="*/ 16 w 47"/>
                  <a:gd name="T13" fmla="*/ 6 h 41"/>
                  <a:gd name="T14" fmla="*/ 20 w 47"/>
                  <a:gd name="T15" fmla="*/ 10 h 41"/>
                  <a:gd name="T16" fmla="*/ 23 w 47"/>
                  <a:gd name="T17" fmla="*/ 3 h 41"/>
                  <a:gd name="T18" fmla="*/ 29 w 47"/>
                  <a:gd name="T19" fmla="*/ 0 h 41"/>
                  <a:gd name="T20" fmla="*/ 35 w 47"/>
                  <a:gd name="T21" fmla="*/ 1 h 41"/>
                  <a:gd name="T22" fmla="*/ 40 w 47"/>
                  <a:gd name="T23" fmla="*/ 4 h 41"/>
                  <a:gd name="T24" fmla="*/ 43 w 47"/>
                  <a:gd name="T25" fmla="*/ 10 h 41"/>
                  <a:gd name="T26" fmla="*/ 45 w 47"/>
                  <a:gd name="T27" fmla="*/ 20 h 41"/>
                  <a:gd name="T28" fmla="*/ 47 w 47"/>
                  <a:gd name="T29" fmla="*/ 35 h 41"/>
                  <a:gd name="T30" fmla="*/ 4 w 47"/>
                  <a:gd name="T31" fmla="*/ 41 h 41"/>
                  <a:gd name="T32" fmla="*/ 10 w 47"/>
                  <a:gd name="T33" fmla="*/ 31 h 41"/>
                  <a:gd name="T34" fmla="*/ 20 w 47"/>
                  <a:gd name="T35" fmla="*/ 30 h 41"/>
                  <a:gd name="T36" fmla="*/ 19 w 47"/>
                  <a:gd name="T37" fmla="*/ 24 h 41"/>
                  <a:gd name="T38" fmla="*/ 18 w 47"/>
                  <a:gd name="T39" fmla="*/ 18 h 41"/>
                  <a:gd name="T40" fmla="*/ 16 w 47"/>
                  <a:gd name="T41" fmla="*/ 15 h 41"/>
                  <a:gd name="T42" fmla="*/ 12 w 47"/>
                  <a:gd name="T43" fmla="*/ 14 h 41"/>
                  <a:gd name="T44" fmla="*/ 9 w 47"/>
                  <a:gd name="T45" fmla="*/ 15 h 41"/>
                  <a:gd name="T46" fmla="*/ 8 w 47"/>
                  <a:gd name="T47" fmla="*/ 19 h 41"/>
                  <a:gd name="T48" fmla="*/ 9 w 47"/>
                  <a:gd name="T49" fmla="*/ 26 h 41"/>
                  <a:gd name="T50" fmla="*/ 10 w 47"/>
                  <a:gd name="T51" fmla="*/ 31 h 41"/>
                  <a:gd name="T52" fmla="*/ 27 w 47"/>
                  <a:gd name="T53" fmla="*/ 29 h 41"/>
                  <a:gd name="T54" fmla="*/ 39 w 47"/>
                  <a:gd name="T55" fmla="*/ 27 h 41"/>
                  <a:gd name="T56" fmla="*/ 37 w 47"/>
                  <a:gd name="T57" fmla="*/ 19 h 41"/>
                  <a:gd name="T58" fmla="*/ 36 w 47"/>
                  <a:gd name="T59" fmla="*/ 13 h 41"/>
                  <a:gd name="T60" fmla="*/ 34 w 47"/>
                  <a:gd name="T61" fmla="*/ 10 h 41"/>
                  <a:gd name="T62" fmla="*/ 30 w 47"/>
                  <a:gd name="T63" fmla="*/ 10 h 41"/>
                  <a:gd name="T64" fmla="*/ 27 w 47"/>
                  <a:gd name="T65" fmla="*/ 11 h 41"/>
                  <a:gd name="T66" fmla="*/ 25 w 47"/>
                  <a:gd name="T67" fmla="*/ 14 h 41"/>
                  <a:gd name="T68" fmla="*/ 26 w 47"/>
                  <a:gd name="T69" fmla="*/ 22 h 41"/>
                  <a:gd name="T70" fmla="*/ 27 w 47"/>
                  <a:gd name="T71" fmla="*/ 29 h 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47" h="41">
                    <a:moveTo>
                      <a:pt x="4" y="41"/>
                    </a:moveTo>
                    <a:cubicBezTo>
                      <a:pt x="1" y="24"/>
                      <a:pt x="1" y="24"/>
                      <a:pt x="1" y="24"/>
                    </a:cubicBezTo>
                    <a:cubicBezTo>
                      <a:pt x="1" y="20"/>
                      <a:pt x="0" y="18"/>
                      <a:pt x="0" y="16"/>
                    </a:cubicBezTo>
                    <a:cubicBezTo>
                      <a:pt x="1" y="14"/>
                      <a:pt x="1" y="13"/>
                      <a:pt x="2" y="11"/>
                    </a:cubicBezTo>
                    <a:cubicBezTo>
                      <a:pt x="2" y="10"/>
                      <a:pt x="3" y="9"/>
                      <a:pt x="5" y="7"/>
                    </a:cubicBezTo>
                    <a:cubicBezTo>
                      <a:pt x="6" y="6"/>
                      <a:pt x="8" y="6"/>
                      <a:pt x="10" y="5"/>
                    </a:cubicBezTo>
                    <a:cubicBezTo>
                      <a:pt x="12" y="5"/>
                      <a:pt x="14" y="5"/>
                      <a:pt x="16" y="6"/>
                    </a:cubicBezTo>
                    <a:cubicBezTo>
                      <a:pt x="17" y="7"/>
                      <a:pt x="19" y="8"/>
                      <a:pt x="20" y="10"/>
                    </a:cubicBezTo>
                    <a:cubicBezTo>
                      <a:pt x="20" y="7"/>
                      <a:pt x="21" y="5"/>
                      <a:pt x="23" y="3"/>
                    </a:cubicBezTo>
                    <a:cubicBezTo>
                      <a:pt x="25" y="2"/>
                      <a:pt x="27" y="1"/>
                      <a:pt x="29" y="0"/>
                    </a:cubicBezTo>
                    <a:cubicBezTo>
                      <a:pt x="31" y="0"/>
                      <a:pt x="33" y="0"/>
                      <a:pt x="35" y="1"/>
                    </a:cubicBezTo>
                    <a:cubicBezTo>
                      <a:pt x="37" y="2"/>
                      <a:pt x="39" y="3"/>
                      <a:pt x="40" y="4"/>
                    </a:cubicBezTo>
                    <a:cubicBezTo>
                      <a:pt x="42" y="5"/>
                      <a:pt x="43" y="7"/>
                      <a:pt x="43" y="10"/>
                    </a:cubicBezTo>
                    <a:cubicBezTo>
                      <a:pt x="44" y="11"/>
                      <a:pt x="44" y="15"/>
                      <a:pt x="45" y="20"/>
                    </a:cubicBezTo>
                    <a:cubicBezTo>
                      <a:pt x="47" y="35"/>
                      <a:pt x="47" y="35"/>
                      <a:pt x="47" y="35"/>
                    </a:cubicBezTo>
                    <a:lnTo>
                      <a:pt x="4" y="41"/>
                    </a:lnTo>
                    <a:close/>
                    <a:moveTo>
                      <a:pt x="10" y="31"/>
                    </a:moveTo>
                    <a:cubicBezTo>
                      <a:pt x="20" y="30"/>
                      <a:pt x="20" y="30"/>
                      <a:pt x="20" y="30"/>
                    </a:cubicBezTo>
                    <a:cubicBezTo>
                      <a:pt x="19" y="24"/>
                      <a:pt x="19" y="24"/>
                      <a:pt x="19" y="24"/>
                    </a:cubicBezTo>
                    <a:cubicBezTo>
                      <a:pt x="18" y="21"/>
                      <a:pt x="18" y="19"/>
                      <a:pt x="18" y="18"/>
                    </a:cubicBezTo>
                    <a:cubicBezTo>
                      <a:pt x="17" y="16"/>
                      <a:pt x="17" y="15"/>
                      <a:pt x="16" y="15"/>
                    </a:cubicBezTo>
                    <a:cubicBezTo>
                      <a:pt x="15" y="14"/>
                      <a:pt x="14" y="14"/>
                      <a:pt x="12" y="14"/>
                    </a:cubicBezTo>
                    <a:cubicBezTo>
                      <a:pt x="11" y="14"/>
                      <a:pt x="10" y="14"/>
                      <a:pt x="9" y="15"/>
                    </a:cubicBezTo>
                    <a:cubicBezTo>
                      <a:pt x="8" y="16"/>
                      <a:pt x="8" y="17"/>
                      <a:pt x="8" y="19"/>
                    </a:cubicBezTo>
                    <a:cubicBezTo>
                      <a:pt x="8" y="20"/>
                      <a:pt x="8" y="22"/>
                      <a:pt x="9" y="26"/>
                    </a:cubicBezTo>
                    <a:lnTo>
                      <a:pt x="10" y="31"/>
                    </a:lnTo>
                    <a:close/>
                    <a:moveTo>
                      <a:pt x="27" y="29"/>
                    </a:moveTo>
                    <a:cubicBezTo>
                      <a:pt x="39" y="27"/>
                      <a:pt x="39" y="27"/>
                      <a:pt x="39" y="27"/>
                    </a:cubicBezTo>
                    <a:cubicBezTo>
                      <a:pt x="37" y="19"/>
                      <a:pt x="37" y="19"/>
                      <a:pt x="37" y="19"/>
                    </a:cubicBezTo>
                    <a:cubicBezTo>
                      <a:pt x="37" y="16"/>
                      <a:pt x="37" y="14"/>
                      <a:pt x="36" y="13"/>
                    </a:cubicBezTo>
                    <a:cubicBezTo>
                      <a:pt x="36" y="12"/>
                      <a:pt x="35" y="11"/>
                      <a:pt x="34" y="10"/>
                    </a:cubicBezTo>
                    <a:cubicBezTo>
                      <a:pt x="33" y="10"/>
                      <a:pt x="32" y="9"/>
                      <a:pt x="30" y="10"/>
                    </a:cubicBezTo>
                    <a:cubicBezTo>
                      <a:pt x="29" y="10"/>
                      <a:pt x="28" y="10"/>
                      <a:pt x="27" y="11"/>
                    </a:cubicBezTo>
                    <a:cubicBezTo>
                      <a:pt x="26" y="12"/>
                      <a:pt x="26" y="13"/>
                      <a:pt x="25" y="14"/>
                    </a:cubicBezTo>
                    <a:cubicBezTo>
                      <a:pt x="25" y="15"/>
                      <a:pt x="25" y="18"/>
                      <a:pt x="26" y="22"/>
                    </a:cubicBezTo>
                    <a:lnTo>
                      <a:pt x="27" y="2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347" name="îṩliďè"/>
              <p:cNvSpPr/>
              <p:nvPr/>
            </p:nvSpPr>
            <p:spPr bwMode="auto">
              <a:xfrm>
                <a:off x="3146322" y="5120278"/>
                <a:ext cx="93663" cy="79375"/>
              </a:xfrm>
              <a:custGeom>
                <a:avLst/>
                <a:gdLst>
                  <a:gd name="T0" fmla="*/ 59 w 59"/>
                  <a:gd name="T1" fmla="*/ 37 h 50"/>
                  <a:gd name="T2" fmla="*/ 9 w 59"/>
                  <a:gd name="T3" fmla="*/ 50 h 50"/>
                  <a:gd name="T4" fmla="*/ 0 w 59"/>
                  <a:gd name="T5" fmla="*/ 13 h 50"/>
                  <a:gd name="T6" fmla="*/ 8 w 59"/>
                  <a:gd name="T7" fmla="*/ 10 h 50"/>
                  <a:gd name="T8" fmla="*/ 15 w 59"/>
                  <a:gd name="T9" fmla="*/ 37 h 50"/>
                  <a:gd name="T10" fmla="*/ 25 w 59"/>
                  <a:gd name="T11" fmla="*/ 35 h 50"/>
                  <a:gd name="T12" fmla="*/ 19 w 59"/>
                  <a:gd name="T13" fmla="*/ 9 h 50"/>
                  <a:gd name="T14" fmla="*/ 27 w 59"/>
                  <a:gd name="T15" fmla="*/ 8 h 50"/>
                  <a:gd name="T16" fmla="*/ 34 w 59"/>
                  <a:gd name="T17" fmla="*/ 32 h 50"/>
                  <a:gd name="T18" fmla="*/ 47 w 59"/>
                  <a:gd name="T19" fmla="*/ 29 h 50"/>
                  <a:gd name="T20" fmla="*/ 40 w 59"/>
                  <a:gd name="T21" fmla="*/ 1 h 50"/>
                  <a:gd name="T22" fmla="*/ 49 w 59"/>
                  <a:gd name="T23" fmla="*/ 0 h 50"/>
                  <a:gd name="T24" fmla="*/ 59 w 59"/>
                  <a:gd name="T25" fmla="*/ 37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59" h="50">
                    <a:moveTo>
                      <a:pt x="59" y="37"/>
                    </a:moveTo>
                    <a:lnTo>
                      <a:pt x="9" y="50"/>
                    </a:lnTo>
                    <a:lnTo>
                      <a:pt x="0" y="13"/>
                    </a:lnTo>
                    <a:lnTo>
                      <a:pt x="8" y="10"/>
                    </a:lnTo>
                    <a:lnTo>
                      <a:pt x="15" y="37"/>
                    </a:lnTo>
                    <a:lnTo>
                      <a:pt x="25" y="35"/>
                    </a:lnTo>
                    <a:lnTo>
                      <a:pt x="19" y="9"/>
                    </a:lnTo>
                    <a:lnTo>
                      <a:pt x="27" y="8"/>
                    </a:lnTo>
                    <a:lnTo>
                      <a:pt x="34" y="32"/>
                    </a:lnTo>
                    <a:lnTo>
                      <a:pt x="47" y="29"/>
                    </a:lnTo>
                    <a:lnTo>
                      <a:pt x="40" y="1"/>
                    </a:lnTo>
                    <a:lnTo>
                      <a:pt x="49" y="0"/>
                    </a:lnTo>
                    <a:lnTo>
                      <a:pt x="59" y="3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348" name="iṧlíḋè"/>
              <p:cNvSpPr/>
              <p:nvPr/>
            </p:nvSpPr>
            <p:spPr bwMode="auto">
              <a:xfrm>
                <a:off x="3138384" y="5096465"/>
                <a:ext cx="82550" cy="38100"/>
              </a:xfrm>
              <a:custGeom>
                <a:avLst/>
                <a:gdLst>
                  <a:gd name="T0" fmla="*/ 52 w 52"/>
                  <a:gd name="T1" fmla="*/ 9 h 24"/>
                  <a:gd name="T2" fmla="*/ 3 w 52"/>
                  <a:gd name="T3" fmla="*/ 24 h 24"/>
                  <a:gd name="T4" fmla="*/ 0 w 52"/>
                  <a:gd name="T5" fmla="*/ 15 h 24"/>
                  <a:gd name="T6" fmla="*/ 49 w 52"/>
                  <a:gd name="T7" fmla="*/ 0 h 24"/>
                  <a:gd name="T8" fmla="*/ 52 w 52"/>
                  <a:gd name="T9" fmla="*/ 9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2" h="24">
                    <a:moveTo>
                      <a:pt x="52" y="9"/>
                    </a:moveTo>
                    <a:lnTo>
                      <a:pt x="3" y="24"/>
                    </a:lnTo>
                    <a:lnTo>
                      <a:pt x="0" y="15"/>
                    </a:lnTo>
                    <a:lnTo>
                      <a:pt x="49" y="0"/>
                    </a:lnTo>
                    <a:lnTo>
                      <a:pt x="52" y="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349" name="islïḓè"/>
              <p:cNvSpPr/>
              <p:nvPr/>
            </p:nvSpPr>
            <p:spPr bwMode="auto">
              <a:xfrm>
                <a:off x="3120922" y="5047253"/>
                <a:ext cx="88900" cy="52388"/>
              </a:xfrm>
              <a:custGeom>
                <a:avLst/>
                <a:gdLst>
                  <a:gd name="T0" fmla="*/ 3 w 48"/>
                  <a:gd name="T1" fmla="*/ 20 h 28"/>
                  <a:gd name="T2" fmla="*/ 0 w 48"/>
                  <a:gd name="T3" fmla="*/ 12 h 28"/>
                  <a:gd name="T4" fmla="*/ 26 w 48"/>
                  <a:gd name="T5" fmla="*/ 2 h 28"/>
                  <a:gd name="T6" fmla="*/ 34 w 48"/>
                  <a:gd name="T7" fmla="*/ 0 h 28"/>
                  <a:gd name="T8" fmla="*/ 42 w 48"/>
                  <a:gd name="T9" fmla="*/ 3 h 28"/>
                  <a:gd name="T10" fmla="*/ 47 w 48"/>
                  <a:gd name="T11" fmla="*/ 10 h 28"/>
                  <a:gd name="T12" fmla="*/ 47 w 48"/>
                  <a:gd name="T13" fmla="*/ 21 h 28"/>
                  <a:gd name="T14" fmla="*/ 38 w 48"/>
                  <a:gd name="T15" fmla="*/ 28 h 28"/>
                  <a:gd name="T16" fmla="*/ 34 w 48"/>
                  <a:gd name="T17" fmla="*/ 20 h 28"/>
                  <a:gd name="T18" fmla="*/ 39 w 48"/>
                  <a:gd name="T19" fmla="*/ 17 h 28"/>
                  <a:gd name="T20" fmla="*/ 40 w 48"/>
                  <a:gd name="T21" fmla="*/ 13 h 28"/>
                  <a:gd name="T22" fmla="*/ 37 w 48"/>
                  <a:gd name="T23" fmla="*/ 9 h 28"/>
                  <a:gd name="T24" fmla="*/ 30 w 48"/>
                  <a:gd name="T25" fmla="*/ 10 h 28"/>
                  <a:gd name="T26" fmla="*/ 3 w 48"/>
                  <a:gd name="T27" fmla="*/ 20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48" h="28">
                    <a:moveTo>
                      <a:pt x="3" y="20"/>
                    </a:moveTo>
                    <a:cubicBezTo>
                      <a:pt x="0" y="12"/>
                      <a:pt x="0" y="12"/>
                      <a:pt x="0" y="12"/>
                    </a:cubicBezTo>
                    <a:cubicBezTo>
                      <a:pt x="26" y="2"/>
                      <a:pt x="26" y="2"/>
                      <a:pt x="26" y="2"/>
                    </a:cubicBezTo>
                    <a:cubicBezTo>
                      <a:pt x="29" y="1"/>
                      <a:pt x="32" y="0"/>
                      <a:pt x="34" y="0"/>
                    </a:cubicBezTo>
                    <a:cubicBezTo>
                      <a:pt x="37" y="0"/>
                      <a:pt x="39" y="1"/>
                      <a:pt x="42" y="3"/>
                    </a:cubicBezTo>
                    <a:cubicBezTo>
                      <a:pt x="44" y="4"/>
                      <a:pt x="46" y="7"/>
                      <a:pt x="47" y="10"/>
                    </a:cubicBezTo>
                    <a:cubicBezTo>
                      <a:pt x="48" y="14"/>
                      <a:pt x="48" y="18"/>
                      <a:pt x="47" y="21"/>
                    </a:cubicBezTo>
                    <a:cubicBezTo>
                      <a:pt x="45" y="24"/>
                      <a:pt x="42" y="26"/>
                      <a:pt x="38" y="28"/>
                    </a:cubicBezTo>
                    <a:cubicBezTo>
                      <a:pt x="34" y="20"/>
                      <a:pt x="34" y="20"/>
                      <a:pt x="34" y="20"/>
                    </a:cubicBezTo>
                    <a:cubicBezTo>
                      <a:pt x="37" y="19"/>
                      <a:pt x="38" y="18"/>
                      <a:pt x="39" y="17"/>
                    </a:cubicBezTo>
                    <a:cubicBezTo>
                      <a:pt x="40" y="16"/>
                      <a:pt x="40" y="14"/>
                      <a:pt x="40" y="13"/>
                    </a:cubicBezTo>
                    <a:cubicBezTo>
                      <a:pt x="39" y="11"/>
                      <a:pt x="38" y="10"/>
                      <a:pt x="37" y="9"/>
                    </a:cubicBezTo>
                    <a:cubicBezTo>
                      <a:pt x="35" y="9"/>
                      <a:pt x="33" y="9"/>
                      <a:pt x="30" y="10"/>
                    </a:cubicBezTo>
                    <a:lnTo>
                      <a:pt x="3" y="2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350" name="íṥ1iḍe"/>
              <p:cNvSpPr/>
              <p:nvPr/>
            </p:nvSpPr>
            <p:spPr bwMode="auto">
              <a:xfrm>
                <a:off x="3112984" y="5017090"/>
                <a:ext cx="80963" cy="46038"/>
              </a:xfrm>
              <a:custGeom>
                <a:avLst/>
                <a:gdLst>
                  <a:gd name="T0" fmla="*/ 51 w 51"/>
                  <a:gd name="T1" fmla="*/ 9 h 29"/>
                  <a:gd name="T2" fmla="*/ 3 w 51"/>
                  <a:gd name="T3" fmla="*/ 29 h 29"/>
                  <a:gd name="T4" fmla="*/ 0 w 51"/>
                  <a:gd name="T5" fmla="*/ 19 h 29"/>
                  <a:gd name="T6" fmla="*/ 46 w 51"/>
                  <a:gd name="T7" fmla="*/ 0 h 29"/>
                  <a:gd name="T8" fmla="*/ 51 w 51"/>
                  <a:gd name="T9" fmla="*/ 9 h 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1" h="29">
                    <a:moveTo>
                      <a:pt x="51" y="9"/>
                    </a:moveTo>
                    <a:lnTo>
                      <a:pt x="3" y="29"/>
                    </a:lnTo>
                    <a:lnTo>
                      <a:pt x="0" y="19"/>
                    </a:lnTo>
                    <a:lnTo>
                      <a:pt x="46" y="0"/>
                    </a:lnTo>
                    <a:lnTo>
                      <a:pt x="51" y="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351" name="iṥľîḋé"/>
              <p:cNvSpPr/>
              <p:nvPr/>
            </p:nvSpPr>
            <p:spPr bwMode="auto">
              <a:xfrm>
                <a:off x="3081234" y="4948828"/>
                <a:ext cx="101600" cy="93663"/>
              </a:xfrm>
              <a:custGeom>
                <a:avLst/>
                <a:gdLst>
                  <a:gd name="T0" fmla="*/ 64 w 64"/>
                  <a:gd name="T1" fmla="*/ 36 h 59"/>
                  <a:gd name="T2" fmla="*/ 18 w 64"/>
                  <a:gd name="T3" fmla="*/ 59 h 59"/>
                  <a:gd name="T4" fmla="*/ 14 w 64"/>
                  <a:gd name="T5" fmla="*/ 50 h 59"/>
                  <a:gd name="T6" fmla="*/ 35 w 64"/>
                  <a:gd name="T7" fmla="*/ 16 h 59"/>
                  <a:gd name="T8" fmla="*/ 3 w 64"/>
                  <a:gd name="T9" fmla="*/ 31 h 59"/>
                  <a:gd name="T10" fmla="*/ 0 w 64"/>
                  <a:gd name="T11" fmla="*/ 22 h 59"/>
                  <a:gd name="T12" fmla="*/ 45 w 64"/>
                  <a:gd name="T13" fmla="*/ 0 h 59"/>
                  <a:gd name="T14" fmla="*/ 50 w 64"/>
                  <a:gd name="T15" fmla="*/ 8 h 59"/>
                  <a:gd name="T16" fmla="*/ 29 w 64"/>
                  <a:gd name="T17" fmla="*/ 42 h 59"/>
                  <a:gd name="T18" fmla="*/ 59 w 64"/>
                  <a:gd name="T19" fmla="*/ 26 h 59"/>
                  <a:gd name="T20" fmla="*/ 64 w 64"/>
                  <a:gd name="T21" fmla="*/ 36 h 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64" h="59">
                    <a:moveTo>
                      <a:pt x="64" y="36"/>
                    </a:moveTo>
                    <a:lnTo>
                      <a:pt x="18" y="59"/>
                    </a:lnTo>
                    <a:lnTo>
                      <a:pt x="14" y="50"/>
                    </a:lnTo>
                    <a:lnTo>
                      <a:pt x="35" y="16"/>
                    </a:lnTo>
                    <a:lnTo>
                      <a:pt x="3" y="31"/>
                    </a:lnTo>
                    <a:lnTo>
                      <a:pt x="0" y="22"/>
                    </a:lnTo>
                    <a:lnTo>
                      <a:pt x="45" y="0"/>
                    </a:lnTo>
                    <a:lnTo>
                      <a:pt x="50" y="8"/>
                    </a:lnTo>
                    <a:lnTo>
                      <a:pt x="29" y="42"/>
                    </a:lnTo>
                    <a:lnTo>
                      <a:pt x="59" y="26"/>
                    </a:lnTo>
                    <a:lnTo>
                      <a:pt x="64" y="36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352" name="îślidè"/>
              <p:cNvSpPr/>
              <p:nvPr/>
            </p:nvSpPr>
            <p:spPr bwMode="auto">
              <a:xfrm>
                <a:off x="3047897" y="4877390"/>
                <a:ext cx="84138" cy="88900"/>
              </a:xfrm>
              <a:custGeom>
                <a:avLst/>
                <a:gdLst>
                  <a:gd name="T0" fmla="*/ 28 w 46"/>
                  <a:gd name="T1" fmla="*/ 21 h 48"/>
                  <a:gd name="T2" fmla="*/ 22 w 46"/>
                  <a:gd name="T3" fmla="*/ 25 h 48"/>
                  <a:gd name="T4" fmla="*/ 11 w 46"/>
                  <a:gd name="T5" fmla="*/ 9 h 48"/>
                  <a:gd name="T6" fmla="*/ 26 w 46"/>
                  <a:gd name="T7" fmla="*/ 0 h 48"/>
                  <a:gd name="T8" fmla="*/ 35 w 46"/>
                  <a:gd name="T9" fmla="*/ 4 h 48"/>
                  <a:gd name="T10" fmla="*/ 42 w 46"/>
                  <a:gd name="T11" fmla="*/ 12 h 48"/>
                  <a:gd name="T12" fmla="*/ 46 w 46"/>
                  <a:gd name="T13" fmla="*/ 24 h 48"/>
                  <a:gd name="T14" fmla="*/ 43 w 46"/>
                  <a:gd name="T15" fmla="*/ 35 h 48"/>
                  <a:gd name="T16" fmla="*/ 35 w 46"/>
                  <a:gd name="T17" fmla="*/ 43 h 48"/>
                  <a:gd name="T18" fmla="*/ 23 w 46"/>
                  <a:gd name="T19" fmla="*/ 47 h 48"/>
                  <a:gd name="T20" fmla="*/ 12 w 46"/>
                  <a:gd name="T21" fmla="*/ 45 h 48"/>
                  <a:gd name="T22" fmla="*/ 4 w 46"/>
                  <a:gd name="T23" fmla="*/ 37 h 48"/>
                  <a:gd name="T24" fmla="*/ 0 w 46"/>
                  <a:gd name="T25" fmla="*/ 24 h 48"/>
                  <a:gd name="T26" fmla="*/ 5 w 46"/>
                  <a:gd name="T27" fmla="*/ 14 h 48"/>
                  <a:gd name="T28" fmla="*/ 11 w 46"/>
                  <a:gd name="T29" fmla="*/ 21 h 48"/>
                  <a:gd name="T30" fmla="*/ 9 w 46"/>
                  <a:gd name="T31" fmla="*/ 27 h 48"/>
                  <a:gd name="T32" fmla="*/ 11 w 46"/>
                  <a:gd name="T33" fmla="*/ 33 h 48"/>
                  <a:gd name="T34" fmla="*/ 19 w 46"/>
                  <a:gd name="T35" fmla="*/ 39 h 48"/>
                  <a:gd name="T36" fmla="*/ 30 w 46"/>
                  <a:gd name="T37" fmla="*/ 36 h 48"/>
                  <a:gd name="T38" fmla="*/ 38 w 46"/>
                  <a:gd name="T39" fmla="*/ 26 h 48"/>
                  <a:gd name="T40" fmla="*/ 36 w 46"/>
                  <a:gd name="T41" fmla="*/ 17 h 48"/>
                  <a:gd name="T42" fmla="*/ 32 w 46"/>
                  <a:gd name="T43" fmla="*/ 13 h 48"/>
                  <a:gd name="T44" fmla="*/ 27 w 46"/>
                  <a:gd name="T45" fmla="*/ 10 h 48"/>
                  <a:gd name="T46" fmla="*/ 23 w 46"/>
                  <a:gd name="T47" fmla="*/ 13 h 48"/>
                  <a:gd name="T48" fmla="*/ 28 w 46"/>
                  <a:gd name="T49" fmla="*/ 21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46" h="48">
                    <a:moveTo>
                      <a:pt x="28" y="21"/>
                    </a:moveTo>
                    <a:cubicBezTo>
                      <a:pt x="22" y="25"/>
                      <a:pt x="22" y="25"/>
                      <a:pt x="22" y="25"/>
                    </a:cubicBezTo>
                    <a:cubicBezTo>
                      <a:pt x="11" y="9"/>
                      <a:pt x="11" y="9"/>
                      <a:pt x="11" y="9"/>
                    </a:cubicBezTo>
                    <a:cubicBezTo>
                      <a:pt x="26" y="0"/>
                      <a:pt x="26" y="0"/>
                      <a:pt x="26" y="0"/>
                    </a:cubicBezTo>
                    <a:cubicBezTo>
                      <a:pt x="29" y="1"/>
                      <a:pt x="31" y="2"/>
                      <a:pt x="35" y="4"/>
                    </a:cubicBezTo>
                    <a:cubicBezTo>
                      <a:pt x="38" y="6"/>
                      <a:pt x="40" y="9"/>
                      <a:pt x="42" y="12"/>
                    </a:cubicBezTo>
                    <a:cubicBezTo>
                      <a:pt x="45" y="16"/>
                      <a:pt x="46" y="20"/>
                      <a:pt x="46" y="24"/>
                    </a:cubicBezTo>
                    <a:cubicBezTo>
                      <a:pt x="46" y="28"/>
                      <a:pt x="45" y="31"/>
                      <a:pt x="43" y="35"/>
                    </a:cubicBezTo>
                    <a:cubicBezTo>
                      <a:pt x="41" y="38"/>
                      <a:pt x="38" y="41"/>
                      <a:pt x="35" y="43"/>
                    </a:cubicBezTo>
                    <a:cubicBezTo>
                      <a:pt x="31" y="46"/>
                      <a:pt x="27" y="47"/>
                      <a:pt x="23" y="47"/>
                    </a:cubicBezTo>
                    <a:cubicBezTo>
                      <a:pt x="19" y="48"/>
                      <a:pt x="15" y="47"/>
                      <a:pt x="12" y="45"/>
                    </a:cubicBezTo>
                    <a:cubicBezTo>
                      <a:pt x="9" y="43"/>
                      <a:pt x="6" y="41"/>
                      <a:pt x="4" y="37"/>
                    </a:cubicBezTo>
                    <a:cubicBezTo>
                      <a:pt x="1" y="32"/>
                      <a:pt x="0" y="28"/>
                      <a:pt x="0" y="24"/>
                    </a:cubicBezTo>
                    <a:cubicBezTo>
                      <a:pt x="0" y="21"/>
                      <a:pt x="2" y="17"/>
                      <a:pt x="5" y="14"/>
                    </a:cubicBezTo>
                    <a:cubicBezTo>
                      <a:pt x="11" y="21"/>
                      <a:pt x="11" y="21"/>
                      <a:pt x="11" y="21"/>
                    </a:cubicBezTo>
                    <a:cubicBezTo>
                      <a:pt x="10" y="23"/>
                      <a:pt x="9" y="24"/>
                      <a:pt x="9" y="27"/>
                    </a:cubicBezTo>
                    <a:cubicBezTo>
                      <a:pt x="8" y="29"/>
                      <a:pt x="9" y="31"/>
                      <a:pt x="11" y="33"/>
                    </a:cubicBezTo>
                    <a:cubicBezTo>
                      <a:pt x="13" y="36"/>
                      <a:pt x="15" y="38"/>
                      <a:pt x="19" y="39"/>
                    </a:cubicBezTo>
                    <a:cubicBezTo>
                      <a:pt x="22" y="39"/>
                      <a:pt x="26" y="38"/>
                      <a:pt x="30" y="36"/>
                    </a:cubicBezTo>
                    <a:cubicBezTo>
                      <a:pt x="34" y="33"/>
                      <a:pt x="37" y="30"/>
                      <a:pt x="38" y="26"/>
                    </a:cubicBezTo>
                    <a:cubicBezTo>
                      <a:pt x="39" y="23"/>
                      <a:pt x="38" y="20"/>
                      <a:pt x="36" y="17"/>
                    </a:cubicBezTo>
                    <a:cubicBezTo>
                      <a:pt x="35" y="15"/>
                      <a:pt x="34" y="14"/>
                      <a:pt x="32" y="13"/>
                    </a:cubicBezTo>
                    <a:cubicBezTo>
                      <a:pt x="30" y="11"/>
                      <a:pt x="29" y="10"/>
                      <a:pt x="27" y="10"/>
                    </a:cubicBezTo>
                    <a:cubicBezTo>
                      <a:pt x="23" y="13"/>
                      <a:pt x="23" y="13"/>
                      <a:pt x="23" y="13"/>
                    </a:cubicBezTo>
                    <a:lnTo>
                      <a:pt x="28" y="2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353" name="îŝ1ide"/>
              <p:cNvSpPr/>
              <p:nvPr/>
            </p:nvSpPr>
            <p:spPr bwMode="auto">
              <a:xfrm>
                <a:off x="1981097" y="4907553"/>
                <a:ext cx="931863" cy="969963"/>
              </a:xfrm>
              <a:custGeom>
                <a:avLst/>
                <a:gdLst>
                  <a:gd name="T0" fmla="*/ 488 w 506"/>
                  <a:gd name="T1" fmla="*/ 144 h 525"/>
                  <a:gd name="T2" fmla="*/ 449 w 506"/>
                  <a:gd name="T3" fmla="*/ 161 h 525"/>
                  <a:gd name="T4" fmla="*/ 473 w 506"/>
                  <a:gd name="T5" fmla="*/ 361 h 525"/>
                  <a:gd name="T6" fmla="*/ 434 w 506"/>
                  <a:gd name="T7" fmla="*/ 382 h 525"/>
                  <a:gd name="T8" fmla="*/ 463 w 506"/>
                  <a:gd name="T9" fmla="*/ 392 h 525"/>
                  <a:gd name="T10" fmla="*/ 434 w 506"/>
                  <a:gd name="T11" fmla="*/ 455 h 525"/>
                  <a:gd name="T12" fmla="*/ 418 w 506"/>
                  <a:gd name="T13" fmla="*/ 525 h 525"/>
                  <a:gd name="T14" fmla="*/ 328 w 506"/>
                  <a:gd name="T15" fmla="*/ 392 h 525"/>
                  <a:gd name="T16" fmla="*/ 200 w 506"/>
                  <a:gd name="T17" fmla="*/ 376 h 525"/>
                  <a:gd name="T18" fmla="*/ 179 w 506"/>
                  <a:gd name="T19" fmla="*/ 525 h 525"/>
                  <a:gd name="T20" fmla="*/ 72 w 506"/>
                  <a:gd name="T21" fmla="*/ 510 h 525"/>
                  <a:gd name="T22" fmla="*/ 44 w 506"/>
                  <a:gd name="T23" fmla="*/ 439 h 525"/>
                  <a:gd name="T24" fmla="*/ 72 w 506"/>
                  <a:gd name="T25" fmla="*/ 392 h 525"/>
                  <a:gd name="T26" fmla="*/ 57 w 506"/>
                  <a:gd name="T27" fmla="*/ 382 h 525"/>
                  <a:gd name="T28" fmla="*/ 18 w 506"/>
                  <a:gd name="T29" fmla="*/ 161 h 525"/>
                  <a:gd name="T30" fmla="*/ 56 w 506"/>
                  <a:gd name="T31" fmla="*/ 144 h 525"/>
                  <a:gd name="T32" fmla="*/ 0 w 506"/>
                  <a:gd name="T33" fmla="*/ 21 h 525"/>
                  <a:gd name="T34" fmla="*/ 92 w 506"/>
                  <a:gd name="T35" fmla="*/ 21 h 525"/>
                  <a:gd name="T36" fmla="*/ 403 w 506"/>
                  <a:gd name="T37" fmla="*/ 82 h 525"/>
                  <a:gd name="T38" fmla="*/ 457 w 506"/>
                  <a:gd name="T39" fmla="*/ 0 h 525"/>
                  <a:gd name="T40" fmla="*/ 461 w 506"/>
                  <a:gd name="T41" fmla="*/ 82 h 525"/>
                  <a:gd name="T42" fmla="*/ 455 w 506"/>
                  <a:gd name="T43" fmla="*/ 24 h 525"/>
                  <a:gd name="T44" fmla="*/ 435 w 506"/>
                  <a:gd name="T45" fmla="*/ 82 h 525"/>
                  <a:gd name="T46" fmla="*/ 454 w 506"/>
                  <a:gd name="T47" fmla="*/ 127 h 525"/>
                  <a:gd name="T48" fmla="*/ 49 w 506"/>
                  <a:gd name="T49" fmla="*/ 112 h 525"/>
                  <a:gd name="T50" fmla="*/ 78 w 506"/>
                  <a:gd name="T51" fmla="*/ 127 h 525"/>
                  <a:gd name="T52" fmla="*/ 81 w 506"/>
                  <a:gd name="T53" fmla="*/ 161 h 525"/>
                  <a:gd name="T54" fmla="*/ 426 w 506"/>
                  <a:gd name="T55" fmla="*/ 145 h 525"/>
                  <a:gd name="T56" fmla="*/ 454 w 506"/>
                  <a:gd name="T57" fmla="*/ 127 h 525"/>
                  <a:gd name="T58" fmla="*/ 450 w 506"/>
                  <a:gd name="T59" fmla="*/ 178 h 525"/>
                  <a:gd name="T60" fmla="*/ 65 w 506"/>
                  <a:gd name="T61" fmla="*/ 335 h 525"/>
                  <a:gd name="T62" fmla="*/ 421 w 506"/>
                  <a:gd name="T63" fmla="*/ 349 h 525"/>
                  <a:gd name="T64" fmla="*/ 398 w 506"/>
                  <a:gd name="T65" fmla="*/ 490 h 525"/>
                  <a:gd name="T66" fmla="*/ 356 w 506"/>
                  <a:gd name="T67" fmla="*/ 371 h 525"/>
                  <a:gd name="T68" fmla="*/ 389 w 506"/>
                  <a:gd name="T69" fmla="*/ 496 h 525"/>
                  <a:gd name="T70" fmla="*/ 150 w 506"/>
                  <a:gd name="T71" fmla="*/ 496 h 525"/>
                  <a:gd name="T72" fmla="*/ 108 w 506"/>
                  <a:gd name="T73" fmla="*/ 371 h 525"/>
                  <a:gd name="T74" fmla="*/ 117 w 506"/>
                  <a:gd name="T75" fmla="*/ 496 h 525"/>
                  <a:gd name="T76" fmla="*/ 71 w 506"/>
                  <a:gd name="T77" fmla="*/ 82 h 525"/>
                  <a:gd name="T78" fmla="*/ 51 w 506"/>
                  <a:gd name="T79" fmla="*/ 24 h 525"/>
                  <a:gd name="T80" fmla="*/ 45 w 506"/>
                  <a:gd name="T81" fmla="*/ 82 h 5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506" h="525">
                    <a:moveTo>
                      <a:pt x="506" y="21"/>
                    </a:moveTo>
                    <a:cubicBezTo>
                      <a:pt x="488" y="144"/>
                      <a:pt x="488" y="144"/>
                      <a:pt x="488" y="144"/>
                    </a:cubicBezTo>
                    <a:cubicBezTo>
                      <a:pt x="450" y="144"/>
                      <a:pt x="450" y="144"/>
                      <a:pt x="450" y="144"/>
                    </a:cubicBezTo>
                    <a:cubicBezTo>
                      <a:pt x="449" y="161"/>
                      <a:pt x="449" y="161"/>
                      <a:pt x="449" y="161"/>
                    </a:cubicBezTo>
                    <a:cubicBezTo>
                      <a:pt x="488" y="161"/>
                      <a:pt x="488" y="161"/>
                      <a:pt x="488" y="161"/>
                    </a:cubicBezTo>
                    <a:cubicBezTo>
                      <a:pt x="473" y="361"/>
                      <a:pt x="473" y="361"/>
                      <a:pt x="473" y="361"/>
                    </a:cubicBezTo>
                    <a:cubicBezTo>
                      <a:pt x="473" y="372"/>
                      <a:pt x="462" y="382"/>
                      <a:pt x="450" y="382"/>
                    </a:cubicBezTo>
                    <a:cubicBezTo>
                      <a:pt x="434" y="382"/>
                      <a:pt x="434" y="382"/>
                      <a:pt x="434" y="382"/>
                    </a:cubicBezTo>
                    <a:cubicBezTo>
                      <a:pt x="434" y="392"/>
                      <a:pt x="434" y="392"/>
                      <a:pt x="434" y="392"/>
                    </a:cubicBezTo>
                    <a:cubicBezTo>
                      <a:pt x="463" y="392"/>
                      <a:pt x="463" y="392"/>
                      <a:pt x="463" y="392"/>
                    </a:cubicBezTo>
                    <a:cubicBezTo>
                      <a:pt x="463" y="439"/>
                      <a:pt x="463" y="439"/>
                      <a:pt x="463" y="439"/>
                    </a:cubicBezTo>
                    <a:cubicBezTo>
                      <a:pt x="463" y="448"/>
                      <a:pt x="450" y="455"/>
                      <a:pt x="434" y="455"/>
                    </a:cubicBezTo>
                    <a:cubicBezTo>
                      <a:pt x="434" y="510"/>
                      <a:pt x="434" y="510"/>
                      <a:pt x="434" y="510"/>
                    </a:cubicBezTo>
                    <a:cubicBezTo>
                      <a:pt x="434" y="518"/>
                      <a:pt x="427" y="525"/>
                      <a:pt x="418" y="525"/>
                    </a:cubicBezTo>
                    <a:cubicBezTo>
                      <a:pt x="328" y="525"/>
                      <a:pt x="328" y="525"/>
                      <a:pt x="328" y="525"/>
                    </a:cubicBezTo>
                    <a:cubicBezTo>
                      <a:pt x="328" y="392"/>
                      <a:pt x="328" y="392"/>
                      <a:pt x="328" y="392"/>
                    </a:cubicBezTo>
                    <a:cubicBezTo>
                      <a:pt x="328" y="383"/>
                      <a:pt x="318" y="376"/>
                      <a:pt x="307" y="376"/>
                    </a:cubicBezTo>
                    <a:cubicBezTo>
                      <a:pt x="200" y="376"/>
                      <a:pt x="200" y="376"/>
                      <a:pt x="200" y="376"/>
                    </a:cubicBezTo>
                    <a:cubicBezTo>
                      <a:pt x="188" y="376"/>
                      <a:pt x="179" y="383"/>
                      <a:pt x="179" y="392"/>
                    </a:cubicBezTo>
                    <a:cubicBezTo>
                      <a:pt x="179" y="525"/>
                      <a:pt x="179" y="525"/>
                      <a:pt x="179" y="525"/>
                    </a:cubicBezTo>
                    <a:cubicBezTo>
                      <a:pt x="89" y="525"/>
                      <a:pt x="89" y="525"/>
                      <a:pt x="89" y="525"/>
                    </a:cubicBezTo>
                    <a:cubicBezTo>
                      <a:pt x="80" y="525"/>
                      <a:pt x="72" y="518"/>
                      <a:pt x="72" y="510"/>
                    </a:cubicBezTo>
                    <a:cubicBezTo>
                      <a:pt x="72" y="455"/>
                      <a:pt x="72" y="455"/>
                      <a:pt x="72" y="455"/>
                    </a:cubicBezTo>
                    <a:cubicBezTo>
                      <a:pt x="56" y="455"/>
                      <a:pt x="44" y="448"/>
                      <a:pt x="44" y="439"/>
                    </a:cubicBezTo>
                    <a:cubicBezTo>
                      <a:pt x="44" y="392"/>
                      <a:pt x="44" y="392"/>
                      <a:pt x="44" y="392"/>
                    </a:cubicBezTo>
                    <a:cubicBezTo>
                      <a:pt x="72" y="392"/>
                      <a:pt x="72" y="392"/>
                      <a:pt x="72" y="392"/>
                    </a:cubicBezTo>
                    <a:cubicBezTo>
                      <a:pt x="72" y="382"/>
                      <a:pt x="72" y="382"/>
                      <a:pt x="72" y="382"/>
                    </a:cubicBezTo>
                    <a:cubicBezTo>
                      <a:pt x="57" y="382"/>
                      <a:pt x="57" y="382"/>
                      <a:pt x="57" y="382"/>
                    </a:cubicBezTo>
                    <a:cubicBezTo>
                      <a:pt x="44" y="382"/>
                      <a:pt x="34" y="372"/>
                      <a:pt x="34" y="361"/>
                    </a:cubicBezTo>
                    <a:cubicBezTo>
                      <a:pt x="18" y="161"/>
                      <a:pt x="18" y="161"/>
                      <a:pt x="18" y="161"/>
                    </a:cubicBezTo>
                    <a:cubicBezTo>
                      <a:pt x="58" y="161"/>
                      <a:pt x="58" y="161"/>
                      <a:pt x="58" y="161"/>
                    </a:cubicBezTo>
                    <a:cubicBezTo>
                      <a:pt x="56" y="144"/>
                      <a:pt x="56" y="144"/>
                      <a:pt x="56" y="144"/>
                    </a:cubicBezTo>
                    <a:cubicBezTo>
                      <a:pt x="18" y="144"/>
                      <a:pt x="18" y="144"/>
                      <a:pt x="18" y="144"/>
                    </a:cubicBezTo>
                    <a:cubicBezTo>
                      <a:pt x="0" y="21"/>
                      <a:pt x="0" y="21"/>
                      <a:pt x="0" y="21"/>
                    </a:cubicBezTo>
                    <a:cubicBezTo>
                      <a:pt x="2" y="7"/>
                      <a:pt x="31" y="0"/>
                      <a:pt x="49" y="0"/>
                    </a:cubicBezTo>
                    <a:cubicBezTo>
                      <a:pt x="73" y="0"/>
                      <a:pt x="80" y="3"/>
                      <a:pt x="92" y="21"/>
                    </a:cubicBezTo>
                    <a:cubicBezTo>
                      <a:pt x="103" y="82"/>
                      <a:pt x="103" y="82"/>
                      <a:pt x="103" y="82"/>
                    </a:cubicBezTo>
                    <a:cubicBezTo>
                      <a:pt x="403" y="82"/>
                      <a:pt x="403" y="82"/>
                      <a:pt x="403" y="82"/>
                    </a:cubicBezTo>
                    <a:cubicBezTo>
                      <a:pt x="415" y="21"/>
                      <a:pt x="415" y="21"/>
                      <a:pt x="415" y="21"/>
                    </a:cubicBezTo>
                    <a:cubicBezTo>
                      <a:pt x="426" y="3"/>
                      <a:pt x="433" y="0"/>
                      <a:pt x="457" y="0"/>
                    </a:cubicBezTo>
                    <a:cubicBezTo>
                      <a:pt x="475" y="0"/>
                      <a:pt x="504" y="7"/>
                      <a:pt x="506" y="21"/>
                    </a:cubicBezTo>
                    <a:close/>
                    <a:moveTo>
                      <a:pt x="461" y="82"/>
                    </a:moveTo>
                    <a:cubicBezTo>
                      <a:pt x="469" y="32"/>
                      <a:pt x="469" y="32"/>
                      <a:pt x="469" y="32"/>
                    </a:cubicBezTo>
                    <a:cubicBezTo>
                      <a:pt x="469" y="24"/>
                      <a:pt x="463" y="24"/>
                      <a:pt x="455" y="24"/>
                    </a:cubicBezTo>
                    <a:cubicBezTo>
                      <a:pt x="450" y="24"/>
                      <a:pt x="447" y="26"/>
                      <a:pt x="445" y="32"/>
                    </a:cubicBezTo>
                    <a:cubicBezTo>
                      <a:pt x="435" y="82"/>
                      <a:pt x="435" y="82"/>
                      <a:pt x="435" y="82"/>
                    </a:cubicBezTo>
                    <a:lnTo>
                      <a:pt x="461" y="82"/>
                    </a:lnTo>
                    <a:close/>
                    <a:moveTo>
                      <a:pt x="454" y="127"/>
                    </a:moveTo>
                    <a:cubicBezTo>
                      <a:pt x="457" y="112"/>
                      <a:pt x="457" y="112"/>
                      <a:pt x="457" y="112"/>
                    </a:cubicBezTo>
                    <a:cubicBezTo>
                      <a:pt x="49" y="112"/>
                      <a:pt x="49" y="112"/>
                      <a:pt x="49" y="112"/>
                    </a:cubicBezTo>
                    <a:cubicBezTo>
                      <a:pt x="52" y="127"/>
                      <a:pt x="52" y="127"/>
                      <a:pt x="52" y="127"/>
                    </a:cubicBezTo>
                    <a:cubicBezTo>
                      <a:pt x="78" y="127"/>
                      <a:pt x="78" y="127"/>
                      <a:pt x="78" y="127"/>
                    </a:cubicBezTo>
                    <a:cubicBezTo>
                      <a:pt x="80" y="145"/>
                      <a:pt x="80" y="145"/>
                      <a:pt x="80" y="145"/>
                    </a:cubicBezTo>
                    <a:cubicBezTo>
                      <a:pt x="81" y="161"/>
                      <a:pt x="81" y="161"/>
                      <a:pt x="81" y="161"/>
                    </a:cubicBezTo>
                    <a:cubicBezTo>
                      <a:pt x="425" y="161"/>
                      <a:pt x="425" y="161"/>
                      <a:pt x="425" y="161"/>
                    </a:cubicBezTo>
                    <a:cubicBezTo>
                      <a:pt x="426" y="145"/>
                      <a:pt x="426" y="145"/>
                      <a:pt x="426" y="145"/>
                    </a:cubicBezTo>
                    <a:cubicBezTo>
                      <a:pt x="428" y="127"/>
                      <a:pt x="428" y="127"/>
                      <a:pt x="428" y="127"/>
                    </a:cubicBezTo>
                    <a:lnTo>
                      <a:pt x="454" y="127"/>
                    </a:lnTo>
                    <a:close/>
                    <a:moveTo>
                      <a:pt x="441" y="335"/>
                    </a:moveTo>
                    <a:cubicBezTo>
                      <a:pt x="450" y="178"/>
                      <a:pt x="450" y="178"/>
                      <a:pt x="450" y="178"/>
                    </a:cubicBezTo>
                    <a:cubicBezTo>
                      <a:pt x="56" y="178"/>
                      <a:pt x="56" y="178"/>
                      <a:pt x="56" y="178"/>
                    </a:cubicBezTo>
                    <a:cubicBezTo>
                      <a:pt x="65" y="335"/>
                      <a:pt x="65" y="335"/>
                      <a:pt x="65" y="335"/>
                    </a:cubicBezTo>
                    <a:cubicBezTo>
                      <a:pt x="65" y="343"/>
                      <a:pt x="74" y="349"/>
                      <a:pt x="85" y="349"/>
                    </a:cubicBezTo>
                    <a:cubicBezTo>
                      <a:pt x="421" y="349"/>
                      <a:pt x="421" y="349"/>
                      <a:pt x="421" y="349"/>
                    </a:cubicBezTo>
                    <a:cubicBezTo>
                      <a:pt x="432" y="349"/>
                      <a:pt x="441" y="343"/>
                      <a:pt x="441" y="335"/>
                    </a:cubicBezTo>
                    <a:close/>
                    <a:moveTo>
                      <a:pt x="398" y="490"/>
                    </a:moveTo>
                    <a:cubicBezTo>
                      <a:pt x="398" y="371"/>
                      <a:pt x="398" y="371"/>
                      <a:pt x="398" y="371"/>
                    </a:cubicBezTo>
                    <a:cubicBezTo>
                      <a:pt x="356" y="371"/>
                      <a:pt x="356" y="371"/>
                      <a:pt x="356" y="371"/>
                    </a:cubicBezTo>
                    <a:cubicBezTo>
                      <a:pt x="356" y="496"/>
                      <a:pt x="356" y="496"/>
                      <a:pt x="356" y="496"/>
                    </a:cubicBezTo>
                    <a:cubicBezTo>
                      <a:pt x="389" y="496"/>
                      <a:pt x="389" y="496"/>
                      <a:pt x="389" y="496"/>
                    </a:cubicBezTo>
                    <a:cubicBezTo>
                      <a:pt x="394" y="496"/>
                      <a:pt x="398" y="496"/>
                      <a:pt x="398" y="490"/>
                    </a:cubicBezTo>
                    <a:close/>
                    <a:moveTo>
                      <a:pt x="150" y="496"/>
                    </a:moveTo>
                    <a:cubicBezTo>
                      <a:pt x="150" y="371"/>
                      <a:pt x="150" y="371"/>
                      <a:pt x="150" y="371"/>
                    </a:cubicBezTo>
                    <a:cubicBezTo>
                      <a:pt x="108" y="371"/>
                      <a:pt x="108" y="371"/>
                      <a:pt x="108" y="371"/>
                    </a:cubicBezTo>
                    <a:cubicBezTo>
                      <a:pt x="108" y="490"/>
                      <a:pt x="108" y="490"/>
                      <a:pt x="108" y="490"/>
                    </a:cubicBezTo>
                    <a:cubicBezTo>
                      <a:pt x="108" y="496"/>
                      <a:pt x="112" y="496"/>
                      <a:pt x="117" y="496"/>
                    </a:cubicBezTo>
                    <a:lnTo>
                      <a:pt x="150" y="496"/>
                    </a:lnTo>
                    <a:close/>
                    <a:moveTo>
                      <a:pt x="71" y="82"/>
                    </a:moveTo>
                    <a:cubicBezTo>
                      <a:pt x="61" y="32"/>
                      <a:pt x="61" y="32"/>
                      <a:pt x="61" y="32"/>
                    </a:cubicBezTo>
                    <a:cubicBezTo>
                      <a:pt x="60" y="26"/>
                      <a:pt x="57" y="24"/>
                      <a:pt x="51" y="24"/>
                    </a:cubicBezTo>
                    <a:cubicBezTo>
                      <a:pt x="43" y="24"/>
                      <a:pt x="37" y="24"/>
                      <a:pt x="37" y="32"/>
                    </a:cubicBezTo>
                    <a:cubicBezTo>
                      <a:pt x="45" y="82"/>
                      <a:pt x="45" y="82"/>
                      <a:pt x="45" y="82"/>
                    </a:cubicBezTo>
                    <a:lnTo>
                      <a:pt x="71" y="8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354" name="í$ḻíde"/>
              <p:cNvSpPr/>
              <p:nvPr/>
            </p:nvSpPr>
            <p:spPr bwMode="auto">
              <a:xfrm>
                <a:off x="2144609" y="5142503"/>
                <a:ext cx="604838" cy="31750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</p:grpSp>
        <p:grpSp>
          <p:nvGrpSpPr>
            <p:cNvPr id="246" name="组合 245"/>
            <p:cNvGrpSpPr/>
            <p:nvPr userDrawn="1"/>
          </p:nvGrpSpPr>
          <p:grpSpPr>
            <a:xfrm>
              <a:off x="10250573" y="283036"/>
              <a:ext cx="1640266" cy="338554"/>
              <a:chOff x="5180266" y="4756740"/>
              <a:chExt cx="5753100" cy="1187451"/>
            </a:xfrm>
            <a:solidFill>
              <a:srgbClr val="CA351C"/>
            </a:solidFill>
          </p:grpSpPr>
          <p:sp>
            <p:nvSpPr>
              <p:cNvPr id="247" name="ïṩļîḑê"/>
              <p:cNvSpPr/>
              <p:nvPr/>
            </p:nvSpPr>
            <p:spPr bwMode="auto">
              <a:xfrm>
                <a:off x="10319003" y="4805953"/>
                <a:ext cx="600075" cy="771525"/>
              </a:xfrm>
              <a:custGeom>
                <a:avLst/>
                <a:gdLst>
                  <a:gd name="T0" fmla="*/ 210 w 325"/>
                  <a:gd name="T1" fmla="*/ 140 h 418"/>
                  <a:gd name="T2" fmla="*/ 237 w 325"/>
                  <a:gd name="T3" fmla="*/ 155 h 418"/>
                  <a:gd name="T4" fmla="*/ 161 w 325"/>
                  <a:gd name="T5" fmla="*/ 179 h 418"/>
                  <a:gd name="T6" fmla="*/ 187 w 325"/>
                  <a:gd name="T7" fmla="*/ 68 h 418"/>
                  <a:gd name="T8" fmla="*/ 230 w 325"/>
                  <a:gd name="T9" fmla="*/ 40 h 418"/>
                  <a:gd name="T10" fmla="*/ 199 w 325"/>
                  <a:gd name="T11" fmla="*/ 85 h 418"/>
                  <a:gd name="T12" fmla="*/ 99 w 325"/>
                  <a:gd name="T13" fmla="*/ 132 h 418"/>
                  <a:gd name="T14" fmla="*/ 132 w 325"/>
                  <a:gd name="T15" fmla="*/ 83 h 418"/>
                  <a:gd name="T16" fmla="*/ 174 w 325"/>
                  <a:gd name="T17" fmla="*/ 116 h 418"/>
                  <a:gd name="T18" fmla="*/ 59 w 325"/>
                  <a:gd name="T19" fmla="*/ 198 h 418"/>
                  <a:gd name="T20" fmla="*/ 16 w 325"/>
                  <a:gd name="T21" fmla="*/ 224 h 418"/>
                  <a:gd name="T22" fmla="*/ 17 w 325"/>
                  <a:gd name="T23" fmla="*/ 314 h 418"/>
                  <a:gd name="T24" fmla="*/ 55 w 325"/>
                  <a:gd name="T25" fmla="*/ 244 h 418"/>
                  <a:gd name="T26" fmla="*/ 131 w 325"/>
                  <a:gd name="T27" fmla="*/ 194 h 418"/>
                  <a:gd name="T28" fmla="*/ 111 w 325"/>
                  <a:gd name="T29" fmla="*/ 251 h 418"/>
                  <a:gd name="T30" fmla="*/ 148 w 325"/>
                  <a:gd name="T31" fmla="*/ 246 h 418"/>
                  <a:gd name="T32" fmla="*/ 184 w 325"/>
                  <a:gd name="T33" fmla="*/ 243 h 418"/>
                  <a:gd name="T34" fmla="*/ 131 w 325"/>
                  <a:gd name="T35" fmla="*/ 281 h 418"/>
                  <a:gd name="T36" fmla="*/ 76 w 325"/>
                  <a:gd name="T37" fmla="*/ 299 h 418"/>
                  <a:gd name="T38" fmla="*/ 134 w 325"/>
                  <a:gd name="T39" fmla="*/ 334 h 418"/>
                  <a:gd name="T40" fmla="*/ 203 w 325"/>
                  <a:gd name="T41" fmla="*/ 298 h 418"/>
                  <a:gd name="T42" fmla="*/ 206 w 325"/>
                  <a:gd name="T43" fmla="*/ 350 h 418"/>
                  <a:gd name="T44" fmla="*/ 165 w 325"/>
                  <a:gd name="T45" fmla="*/ 378 h 418"/>
                  <a:gd name="T46" fmla="*/ 144 w 325"/>
                  <a:gd name="T47" fmla="*/ 410 h 418"/>
                  <a:gd name="T48" fmla="*/ 228 w 325"/>
                  <a:gd name="T49" fmla="*/ 408 h 418"/>
                  <a:gd name="T50" fmla="*/ 239 w 325"/>
                  <a:gd name="T51" fmla="*/ 307 h 418"/>
                  <a:gd name="T52" fmla="*/ 273 w 325"/>
                  <a:gd name="T53" fmla="*/ 283 h 418"/>
                  <a:gd name="T54" fmla="*/ 271 w 325"/>
                  <a:gd name="T55" fmla="*/ 239 h 418"/>
                  <a:gd name="T56" fmla="*/ 233 w 325"/>
                  <a:gd name="T57" fmla="*/ 226 h 418"/>
                  <a:gd name="T58" fmla="*/ 261 w 325"/>
                  <a:gd name="T59" fmla="*/ 181 h 418"/>
                  <a:gd name="T60" fmla="*/ 316 w 325"/>
                  <a:gd name="T61" fmla="*/ 167 h 418"/>
                  <a:gd name="T62" fmla="*/ 297 w 325"/>
                  <a:gd name="T63" fmla="*/ 119 h 418"/>
                  <a:gd name="T64" fmla="*/ 251 w 325"/>
                  <a:gd name="T65" fmla="*/ 93 h 418"/>
                  <a:gd name="T66" fmla="*/ 276 w 325"/>
                  <a:gd name="T67" fmla="*/ 34 h 418"/>
                  <a:gd name="T68" fmla="*/ 217 w 325"/>
                  <a:gd name="T69" fmla="*/ 11 h 418"/>
                  <a:gd name="T70" fmla="*/ 164 w 325"/>
                  <a:gd name="T71" fmla="*/ 29 h 418"/>
                  <a:gd name="T72" fmla="*/ 136 w 325"/>
                  <a:gd name="T73" fmla="*/ 43 h 418"/>
                  <a:gd name="T74" fmla="*/ 113 w 325"/>
                  <a:gd name="T75" fmla="*/ 21 h 418"/>
                  <a:gd name="T76" fmla="*/ 78 w 325"/>
                  <a:gd name="T77" fmla="*/ 52 h 4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325" h="418">
                    <a:moveTo>
                      <a:pt x="161" y="179"/>
                    </a:moveTo>
                    <a:cubicBezTo>
                      <a:pt x="160" y="178"/>
                      <a:pt x="188" y="143"/>
                      <a:pt x="210" y="140"/>
                    </a:cubicBezTo>
                    <a:cubicBezTo>
                      <a:pt x="232" y="137"/>
                      <a:pt x="226" y="133"/>
                      <a:pt x="238" y="138"/>
                    </a:cubicBezTo>
                    <a:cubicBezTo>
                      <a:pt x="250" y="144"/>
                      <a:pt x="252" y="148"/>
                      <a:pt x="237" y="155"/>
                    </a:cubicBezTo>
                    <a:cubicBezTo>
                      <a:pt x="222" y="162"/>
                      <a:pt x="215" y="168"/>
                      <a:pt x="196" y="171"/>
                    </a:cubicBezTo>
                    <a:cubicBezTo>
                      <a:pt x="177" y="175"/>
                      <a:pt x="163" y="181"/>
                      <a:pt x="161" y="179"/>
                    </a:cubicBezTo>
                    <a:close/>
                    <a:moveTo>
                      <a:pt x="199" y="85"/>
                    </a:moveTo>
                    <a:cubicBezTo>
                      <a:pt x="197" y="87"/>
                      <a:pt x="186" y="79"/>
                      <a:pt x="187" y="68"/>
                    </a:cubicBezTo>
                    <a:cubicBezTo>
                      <a:pt x="188" y="57"/>
                      <a:pt x="197" y="38"/>
                      <a:pt x="211" y="34"/>
                    </a:cubicBezTo>
                    <a:cubicBezTo>
                      <a:pt x="225" y="30"/>
                      <a:pt x="230" y="30"/>
                      <a:pt x="230" y="40"/>
                    </a:cubicBezTo>
                    <a:cubicBezTo>
                      <a:pt x="229" y="51"/>
                      <a:pt x="229" y="62"/>
                      <a:pt x="219" y="71"/>
                    </a:cubicBezTo>
                    <a:cubicBezTo>
                      <a:pt x="210" y="80"/>
                      <a:pt x="201" y="84"/>
                      <a:pt x="199" y="85"/>
                    </a:cubicBezTo>
                    <a:close/>
                    <a:moveTo>
                      <a:pt x="79" y="112"/>
                    </a:moveTo>
                    <a:cubicBezTo>
                      <a:pt x="79" y="113"/>
                      <a:pt x="87" y="125"/>
                      <a:pt x="99" y="132"/>
                    </a:cubicBezTo>
                    <a:cubicBezTo>
                      <a:pt x="112" y="138"/>
                      <a:pt x="119" y="135"/>
                      <a:pt x="129" y="127"/>
                    </a:cubicBezTo>
                    <a:cubicBezTo>
                      <a:pt x="139" y="118"/>
                      <a:pt x="130" y="95"/>
                      <a:pt x="132" y="83"/>
                    </a:cubicBezTo>
                    <a:cubicBezTo>
                      <a:pt x="135" y="70"/>
                      <a:pt x="136" y="73"/>
                      <a:pt x="146" y="75"/>
                    </a:cubicBezTo>
                    <a:cubicBezTo>
                      <a:pt x="156" y="76"/>
                      <a:pt x="173" y="108"/>
                      <a:pt x="174" y="116"/>
                    </a:cubicBezTo>
                    <a:cubicBezTo>
                      <a:pt x="174" y="123"/>
                      <a:pt x="170" y="123"/>
                      <a:pt x="128" y="142"/>
                    </a:cubicBezTo>
                    <a:cubicBezTo>
                      <a:pt x="86" y="161"/>
                      <a:pt x="67" y="195"/>
                      <a:pt x="59" y="198"/>
                    </a:cubicBezTo>
                    <a:cubicBezTo>
                      <a:pt x="52" y="202"/>
                      <a:pt x="55" y="191"/>
                      <a:pt x="40" y="188"/>
                    </a:cubicBezTo>
                    <a:cubicBezTo>
                      <a:pt x="26" y="186"/>
                      <a:pt x="23" y="211"/>
                      <a:pt x="16" y="224"/>
                    </a:cubicBezTo>
                    <a:cubicBezTo>
                      <a:pt x="8" y="238"/>
                      <a:pt x="5" y="266"/>
                      <a:pt x="5" y="277"/>
                    </a:cubicBezTo>
                    <a:cubicBezTo>
                      <a:pt x="5" y="288"/>
                      <a:pt x="0" y="301"/>
                      <a:pt x="17" y="314"/>
                    </a:cubicBezTo>
                    <a:cubicBezTo>
                      <a:pt x="33" y="326"/>
                      <a:pt x="49" y="311"/>
                      <a:pt x="53" y="304"/>
                    </a:cubicBezTo>
                    <a:cubicBezTo>
                      <a:pt x="57" y="298"/>
                      <a:pt x="53" y="269"/>
                      <a:pt x="55" y="244"/>
                    </a:cubicBezTo>
                    <a:cubicBezTo>
                      <a:pt x="57" y="220"/>
                      <a:pt x="89" y="204"/>
                      <a:pt x="100" y="197"/>
                    </a:cubicBezTo>
                    <a:cubicBezTo>
                      <a:pt x="115" y="189"/>
                      <a:pt x="129" y="190"/>
                      <a:pt x="131" y="194"/>
                    </a:cubicBezTo>
                    <a:cubicBezTo>
                      <a:pt x="134" y="197"/>
                      <a:pt x="119" y="214"/>
                      <a:pt x="112" y="219"/>
                    </a:cubicBezTo>
                    <a:cubicBezTo>
                      <a:pt x="105" y="224"/>
                      <a:pt x="110" y="244"/>
                      <a:pt x="111" y="251"/>
                    </a:cubicBezTo>
                    <a:cubicBezTo>
                      <a:pt x="113" y="257"/>
                      <a:pt x="111" y="260"/>
                      <a:pt x="125" y="265"/>
                    </a:cubicBezTo>
                    <a:cubicBezTo>
                      <a:pt x="142" y="271"/>
                      <a:pt x="139" y="257"/>
                      <a:pt x="148" y="246"/>
                    </a:cubicBezTo>
                    <a:cubicBezTo>
                      <a:pt x="157" y="236"/>
                      <a:pt x="163" y="224"/>
                      <a:pt x="170" y="224"/>
                    </a:cubicBezTo>
                    <a:cubicBezTo>
                      <a:pt x="177" y="224"/>
                      <a:pt x="180" y="238"/>
                      <a:pt x="184" y="243"/>
                    </a:cubicBezTo>
                    <a:cubicBezTo>
                      <a:pt x="187" y="248"/>
                      <a:pt x="189" y="257"/>
                      <a:pt x="177" y="263"/>
                    </a:cubicBezTo>
                    <a:cubicBezTo>
                      <a:pt x="165" y="269"/>
                      <a:pt x="131" y="281"/>
                      <a:pt x="131" y="281"/>
                    </a:cubicBezTo>
                    <a:cubicBezTo>
                      <a:pt x="131" y="281"/>
                      <a:pt x="112" y="284"/>
                      <a:pt x="101" y="287"/>
                    </a:cubicBezTo>
                    <a:cubicBezTo>
                      <a:pt x="90" y="289"/>
                      <a:pt x="78" y="285"/>
                      <a:pt x="76" y="299"/>
                    </a:cubicBezTo>
                    <a:cubicBezTo>
                      <a:pt x="73" y="312"/>
                      <a:pt x="78" y="305"/>
                      <a:pt x="86" y="319"/>
                    </a:cubicBezTo>
                    <a:cubicBezTo>
                      <a:pt x="94" y="333"/>
                      <a:pt x="119" y="337"/>
                      <a:pt x="134" y="334"/>
                    </a:cubicBezTo>
                    <a:cubicBezTo>
                      <a:pt x="149" y="332"/>
                      <a:pt x="157" y="324"/>
                      <a:pt x="168" y="316"/>
                    </a:cubicBezTo>
                    <a:cubicBezTo>
                      <a:pt x="178" y="308"/>
                      <a:pt x="194" y="298"/>
                      <a:pt x="203" y="298"/>
                    </a:cubicBezTo>
                    <a:cubicBezTo>
                      <a:pt x="211" y="299"/>
                      <a:pt x="211" y="311"/>
                      <a:pt x="211" y="325"/>
                    </a:cubicBezTo>
                    <a:cubicBezTo>
                      <a:pt x="211" y="339"/>
                      <a:pt x="210" y="337"/>
                      <a:pt x="206" y="350"/>
                    </a:cubicBezTo>
                    <a:cubicBezTo>
                      <a:pt x="202" y="364"/>
                      <a:pt x="199" y="368"/>
                      <a:pt x="194" y="372"/>
                    </a:cubicBezTo>
                    <a:cubicBezTo>
                      <a:pt x="189" y="377"/>
                      <a:pt x="184" y="376"/>
                      <a:pt x="165" y="378"/>
                    </a:cubicBezTo>
                    <a:cubicBezTo>
                      <a:pt x="145" y="380"/>
                      <a:pt x="131" y="393"/>
                      <a:pt x="129" y="400"/>
                    </a:cubicBezTo>
                    <a:cubicBezTo>
                      <a:pt x="128" y="407"/>
                      <a:pt x="135" y="405"/>
                      <a:pt x="144" y="410"/>
                    </a:cubicBezTo>
                    <a:cubicBezTo>
                      <a:pt x="152" y="414"/>
                      <a:pt x="163" y="416"/>
                      <a:pt x="185" y="417"/>
                    </a:cubicBezTo>
                    <a:cubicBezTo>
                      <a:pt x="208" y="418"/>
                      <a:pt x="219" y="417"/>
                      <a:pt x="228" y="408"/>
                    </a:cubicBezTo>
                    <a:cubicBezTo>
                      <a:pt x="238" y="400"/>
                      <a:pt x="240" y="373"/>
                      <a:pt x="241" y="354"/>
                    </a:cubicBezTo>
                    <a:cubicBezTo>
                      <a:pt x="243" y="335"/>
                      <a:pt x="239" y="315"/>
                      <a:pt x="239" y="307"/>
                    </a:cubicBezTo>
                    <a:cubicBezTo>
                      <a:pt x="239" y="299"/>
                      <a:pt x="239" y="297"/>
                      <a:pt x="244" y="288"/>
                    </a:cubicBezTo>
                    <a:cubicBezTo>
                      <a:pt x="249" y="280"/>
                      <a:pt x="257" y="284"/>
                      <a:pt x="273" y="283"/>
                    </a:cubicBezTo>
                    <a:cubicBezTo>
                      <a:pt x="288" y="281"/>
                      <a:pt x="286" y="270"/>
                      <a:pt x="287" y="261"/>
                    </a:cubicBezTo>
                    <a:cubicBezTo>
                      <a:pt x="288" y="251"/>
                      <a:pt x="281" y="247"/>
                      <a:pt x="271" y="239"/>
                    </a:cubicBezTo>
                    <a:cubicBezTo>
                      <a:pt x="260" y="231"/>
                      <a:pt x="250" y="236"/>
                      <a:pt x="240" y="236"/>
                    </a:cubicBezTo>
                    <a:cubicBezTo>
                      <a:pt x="230" y="236"/>
                      <a:pt x="233" y="234"/>
                      <a:pt x="233" y="226"/>
                    </a:cubicBezTo>
                    <a:cubicBezTo>
                      <a:pt x="233" y="219"/>
                      <a:pt x="238" y="215"/>
                      <a:pt x="239" y="207"/>
                    </a:cubicBezTo>
                    <a:cubicBezTo>
                      <a:pt x="241" y="200"/>
                      <a:pt x="251" y="192"/>
                      <a:pt x="261" y="181"/>
                    </a:cubicBezTo>
                    <a:cubicBezTo>
                      <a:pt x="270" y="170"/>
                      <a:pt x="276" y="175"/>
                      <a:pt x="289" y="176"/>
                    </a:cubicBezTo>
                    <a:cubicBezTo>
                      <a:pt x="302" y="176"/>
                      <a:pt x="307" y="176"/>
                      <a:pt x="316" y="167"/>
                    </a:cubicBezTo>
                    <a:cubicBezTo>
                      <a:pt x="325" y="157"/>
                      <a:pt x="318" y="138"/>
                      <a:pt x="316" y="132"/>
                    </a:cubicBezTo>
                    <a:cubicBezTo>
                      <a:pt x="315" y="125"/>
                      <a:pt x="309" y="129"/>
                      <a:pt x="297" y="119"/>
                    </a:cubicBezTo>
                    <a:cubicBezTo>
                      <a:pt x="285" y="108"/>
                      <a:pt x="274" y="111"/>
                      <a:pt x="261" y="111"/>
                    </a:cubicBezTo>
                    <a:cubicBezTo>
                      <a:pt x="248" y="111"/>
                      <a:pt x="244" y="100"/>
                      <a:pt x="251" y="93"/>
                    </a:cubicBezTo>
                    <a:cubicBezTo>
                      <a:pt x="259" y="87"/>
                      <a:pt x="265" y="77"/>
                      <a:pt x="272" y="66"/>
                    </a:cubicBezTo>
                    <a:cubicBezTo>
                      <a:pt x="278" y="55"/>
                      <a:pt x="276" y="45"/>
                      <a:pt x="276" y="34"/>
                    </a:cubicBezTo>
                    <a:cubicBezTo>
                      <a:pt x="275" y="24"/>
                      <a:pt x="264" y="20"/>
                      <a:pt x="252" y="10"/>
                    </a:cubicBezTo>
                    <a:cubicBezTo>
                      <a:pt x="240" y="0"/>
                      <a:pt x="225" y="8"/>
                      <a:pt x="217" y="11"/>
                    </a:cubicBezTo>
                    <a:cubicBezTo>
                      <a:pt x="208" y="14"/>
                      <a:pt x="196" y="20"/>
                      <a:pt x="187" y="25"/>
                    </a:cubicBezTo>
                    <a:cubicBezTo>
                      <a:pt x="178" y="30"/>
                      <a:pt x="172" y="30"/>
                      <a:pt x="164" y="29"/>
                    </a:cubicBezTo>
                    <a:cubicBezTo>
                      <a:pt x="157" y="29"/>
                      <a:pt x="150" y="29"/>
                      <a:pt x="147" y="29"/>
                    </a:cubicBezTo>
                    <a:cubicBezTo>
                      <a:pt x="144" y="29"/>
                      <a:pt x="141" y="35"/>
                      <a:pt x="136" y="43"/>
                    </a:cubicBezTo>
                    <a:cubicBezTo>
                      <a:pt x="131" y="51"/>
                      <a:pt x="126" y="47"/>
                      <a:pt x="124" y="43"/>
                    </a:cubicBezTo>
                    <a:cubicBezTo>
                      <a:pt x="121" y="38"/>
                      <a:pt x="116" y="28"/>
                      <a:pt x="113" y="21"/>
                    </a:cubicBezTo>
                    <a:cubicBezTo>
                      <a:pt x="110" y="15"/>
                      <a:pt x="97" y="18"/>
                      <a:pt x="91" y="21"/>
                    </a:cubicBezTo>
                    <a:cubicBezTo>
                      <a:pt x="84" y="25"/>
                      <a:pt x="80" y="41"/>
                      <a:pt x="78" y="52"/>
                    </a:cubicBezTo>
                    <a:cubicBezTo>
                      <a:pt x="75" y="63"/>
                      <a:pt x="78" y="111"/>
                      <a:pt x="79" y="1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248" name="îşḷïḍe"/>
              <p:cNvSpPr/>
              <p:nvPr/>
            </p:nvSpPr>
            <p:spPr bwMode="auto">
              <a:xfrm>
                <a:off x="9461753" y="4939303"/>
                <a:ext cx="388938" cy="534988"/>
              </a:xfrm>
              <a:custGeom>
                <a:avLst/>
                <a:gdLst>
                  <a:gd name="T0" fmla="*/ 4 w 211"/>
                  <a:gd name="T1" fmla="*/ 137 h 290"/>
                  <a:gd name="T2" fmla="*/ 41 w 211"/>
                  <a:gd name="T3" fmla="*/ 117 h 290"/>
                  <a:gd name="T4" fmla="*/ 75 w 211"/>
                  <a:gd name="T5" fmla="*/ 83 h 290"/>
                  <a:gd name="T6" fmla="*/ 82 w 211"/>
                  <a:gd name="T7" fmla="*/ 29 h 290"/>
                  <a:gd name="T8" fmla="*/ 94 w 211"/>
                  <a:gd name="T9" fmla="*/ 6 h 290"/>
                  <a:gd name="T10" fmla="*/ 126 w 211"/>
                  <a:gd name="T11" fmla="*/ 27 h 290"/>
                  <a:gd name="T12" fmla="*/ 145 w 211"/>
                  <a:gd name="T13" fmla="*/ 65 h 290"/>
                  <a:gd name="T14" fmla="*/ 170 w 211"/>
                  <a:gd name="T15" fmla="*/ 93 h 290"/>
                  <a:gd name="T16" fmla="*/ 164 w 211"/>
                  <a:gd name="T17" fmla="*/ 119 h 290"/>
                  <a:gd name="T18" fmla="*/ 127 w 211"/>
                  <a:gd name="T19" fmla="*/ 151 h 290"/>
                  <a:gd name="T20" fmla="*/ 123 w 211"/>
                  <a:gd name="T21" fmla="*/ 165 h 290"/>
                  <a:gd name="T22" fmla="*/ 181 w 211"/>
                  <a:gd name="T23" fmla="*/ 187 h 290"/>
                  <a:gd name="T24" fmla="*/ 210 w 211"/>
                  <a:gd name="T25" fmla="*/ 231 h 290"/>
                  <a:gd name="T26" fmla="*/ 202 w 211"/>
                  <a:gd name="T27" fmla="*/ 281 h 290"/>
                  <a:gd name="T28" fmla="*/ 185 w 211"/>
                  <a:gd name="T29" fmla="*/ 289 h 290"/>
                  <a:gd name="T30" fmla="*/ 162 w 211"/>
                  <a:gd name="T31" fmla="*/ 267 h 290"/>
                  <a:gd name="T32" fmla="*/ 158 w 211"/>
                  <a:gd name="T33" fmla="*/ 217 h 290"/>
                  <a:gd name="T34" fmla="*/ 134 w 211"/>
                  <a:gd name="T35" fmla="*/ 188 h 290"/>
                  <a:gd name="T36" fmla="*/ 117 w 211"/>
                  <a:gd name="T37" fmla="*/ 183 h 290"/>
                  <a:gd name="T38" fmla="*/ 105 w 211"/>
                  <a:gd name="T39" fmla="*/ 191 h 290"/>
                  <a:gd name="T40" fmla="*/ 95 w 211"/>
                  <a:gd name="T41" fmla="*/ 225 h 290"/>
                  <a:gd name="T42" fmla="*/ 92 w 211"/>
                  <a:gd name="T43" fmla="*/ 251 h 290"/>
                  <a:gd name="T44" fmla="*/ 58 w 211"/>
                  <a:gd name="T45" fmla="*/ 261 h 290"/>
                  <a:gd name="T46" fmla="*/ 37 w 211"/>
                  <a:gd name="T47" fmla="*/ 235 h 290"/>
                  <a:gd name="T48" fmla="*/ 39 w 211"/>
                  <a:gd name="T49" fmla="*/ 205 h 290"/>
                  <a:gd name="T50" fmla="*/ 45 w 211"/>
                  <a:gd name="T51" fmla="*/ 177 h 290"/>
                  <a:gd name="T52" fmla="*/ 18 w 211"/>
                  <a:gd name="T53" fmla="*/ 155 h 290"/>
                  <a:gd name="T54" fmla="*/ 0 w 211"/>
                  <a:gd name="T55" fmla="*/ 147 h 290"/>
                  <a:gd name="T56" fmla="*/ 4 w 211"/>
                  <a:gd name="T57" fmla="*/ 137 h 2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211" h="290">
                    <a:moveTo>
                      <a:pt x="4" y="137"/>
                    </a:moveTo>
                    <a:cubicBezTo>
                      <a:pt x="4" y="137"/>
                      <a:pt x="32" y="120"/>
                      <a:pt x="41" y="117"/>
                    </a:cubicBezTo>
                    <a:cubicBezTo>
                      <a:pt x="50" y="115"/>
                      <a:pt x="69" y="103"/>
                      <a:pt x="75" y="83"/>
                    </a:cubicBezTo>
                    <a:cubicBezTo>
                      <a:pt x="81" y="63"/>
                      <a:pt x="82" y="39"/>
                      <a:pt x="82" y="29"/>
                    </a:cubicBezTo>
                    <a:cubicBezTo>
                      <a:pt x="82" y="19"/>
                      <a:pt x="76" y="0"/>
                      <a:pt x="94" y="6"/>
                    </a:cubicBezTo>
                    <a:cubicBezTo>
                      <a:pt x="112" y="12"/>
                      <a:pt x="124" y="15"/>
                      <a:pt x="126" y="27"/>
                    </a:cubicBezTo>
                    <a:cubicBezTo>
                      <a:pt x="129" y="39"/>
                      <a:pt x="131" y="55"/>
                      <a:pt x="145" y="65"/>
                    </a:cubicBezTo>
                    <a:cubicBezTo>
                      <a:pt x="159" y="75"/>
                      <a:pt x="168" y="83"/>
                      <a:pt x="170" y="93"/>
                    </a:cubicBezTo>
                    <a:cubicBezTo>
                      <a:pt x="172" y="103"/>
                      <a:pt x="172" y="114"/>
                      <a:pt x="164" y="119"/>
                    </a:cubicBezTo>
                    <a:cubicBezTo>
                      <a:pt x="157" y="123"/>
                      <a:pt x="132" y="147"/>
                      <a:pt x="127" y="151"/>
                    </a:cubicBezTo>
                    <a:cubicBezTo>
                      <a:pt x="121" y="154"/>
                      <a:pt x="119" y="165"/>
                      <a:pt x="123" y="165"/>
                    </a:cubicBezTo>
                    <a:cubicBezTo>
                      <a:pt x="127" y="165"/>
                      <a:pt x="163" y="172"/>
                      <a:pt x="181" y="187"/>
                    </a:cubicBezTo>
                    <a:cubicBezTo>
                      <a:pt x="198" y="202"/>
                      <a:pt x="209" y="216"/>
                      <a:pt x="210" y="231"/>
                    </a:cubicBezTo>
                    <a:cubicBezTo>
                      <a:pt x="211" y="247"/>
                      <a:pt x="210" y="273"/>
                      <a:pt x="202" y="281"/>
                    </a:cubicBezTo>
                    <a:cubicBezTo>
                      <a:pt x="194" y="288"/>
                      <a:pt x="192" y="290"/>
                      <a:pt x="185" y="289"/>
                    </a:cubicBezTo>
                    <a:cubicBezTo>
                      <a:pt x="178" y="288"/>
                      <a:pt x="164" y="279"/>
                      <a:pt x="162" y="267"/>
                    </a:cubicBezTo>
                    <a:cubicBezTo>
                      <a:pt x="160" y="255"/>
                      <a:pt x="164" y="239"/>
                      <a:pt x="158" y="217"/>
                    </a:cubicBezTo>
                    <a:cubicBezTo>
                      <a:pt x="153" y="196"/>
                      <a:pt x="139" y="191"/>
                      <a:pt x="134" y="188"/>
                    </a:cubicBezTo>
                    <a:cubicBezTo>
                      <a:pt x="129" y="186"/>
                      <a:pt x="117" y="183"/>
                      <a:pt x="117" y="183"/>
                    </a:cubicBezTo>
                    <a:cubicBezTo>
                      <a:pt x="117" y="183"/>
                      <a:pt x="108" y="182"/>
                      <a:pt x="105" y="191"/>
                    </a:cubicBezTo>
                    <a:cubicBezTo>
                      <a:pt x="102" y="199"/>
                      <a:pt x="96" y="215"/>
                      <a:pt x="95" y="225"/>
                    </a:cubicBezTo>
                    <a:cubicBezTo>
                      <a:pt x="94" y="235"/>
                      <a:pt x="96" y="247"/>
                      <a:pt x="92" y="251"/>
                    </a:cubicBezTo>
                    <a:cubicBezTo>
                      <a:pt x="87" y="256"/>
                      <a:pt x="77" y="267"/>
                      <a:pt x="58" y="261"/>
                    </a:cubicBezTo>
                    <a:cubicBezTo>
                      <a:pt x="39" y="255"/>
                      <a:pt x="41" y="238"/>
                      <a:pt x="37" y="235"/>
                    </a:cubicBezTo>
                    <a:cubicBezTo>
                      <a:pt x="33" y="231"/>
                      <a:pt x="39" y="211"/>
                      <a:pt x="39" y="205"/>
                    </a:cubicBezTo>
                    <a:cubicBezTo>
                      <a:pt x="39" y="200"/>
                      <a:pt x="47" y="182"/>
                      <a:pt x="45" y="177"/>
                    </a:cubicBezTo>
                    <a:cubicBezTo>
                      <a:pt x="44" y="173"/>
                      <a:pt x="25" y="153"/>
                      <a:pt x="18" y="155"/>
                    </a:cubicBezTo>
                    <a:cubicBezTo>
                      <a:pt x="11" y="157"/>
                      <a:pt x="1" y="155"/>
                      <a:pt x="0" y="147"/>
                    </a:cubicBezTo>
                    <a:cubicBezTo>
                      <a:pt x="0" y="140"/>
                      <a:pt x="4" y="137"/>
                      <a:pt x="4" y="13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249" name="îṧļíďe"/>
              <p:cNvSpPr/>
              <p:nvPr/>
            </p:nvSpPr>
            <p:spPr bwMode="auto">
              <a:xfrm>
                <a:off x="8326691" y="4823415"/>
                <a:ext cx="746125" cy="695325"/>
              </a:xfrm>
              <a:custGeom>
                <a:avLst/>
                <a:gdLst>
                  <a:gd name="T0" fmla="*/ 159 w 405"/>
                  <a:gd name="T1" fmla="*/ 229 h 377"/>
                  <a:gd name="T2" fmla="*/ 218 w 405"/>
                  <a:gd name="T3" fmla="*/ 183 h 377"/>
                  <a:gd name="T4" fmla="*/ 234 w 405"/>
                  <a:gd name="T5" fmla="*/ 247 h 377"/>
                  <a:gd name="T6" fmla="*/ 260 w 405"/>
                  <a:gd name="T7" fmla="*/ 269 h 377"/>
                  <a:gd name="T8" fmla="*/ 209 w 405"/>
                  <a:gd name="T9" fmla="*/ 247 h 377"/>
                  <a:gd name="T10" fmla="*/ 108 w 405"/>
                  <a:gd name="T11" fmla="*/ 215 h 377"/>
                  <a:gd name="T12" fmla="*/ 73 w 405"/>
                  <a:gd name="T13" fmla="*/ 283 h 377"/>
                  <a:gd name="T14" fmla="*/ 43 w 405"/>
                  <a:gd name="T15" fmla="*/ 350 h 377"/>
                  <a:gd name="T16" fmla="*/ 91 w 405"/>
                  <a:gd name="T17" fmla="*/ 347 h 377"/>
                  <a:gd name="T18" fmla="*/ 118 w 405"/>
                  <a:gd name="T19" fmla="*/ 372 h 377"/>
                  <a:gd name="T20" fmla="*/ 136 w 405"/>
                  <a:gd name="T21" fmla="*/ 328 h 377"/>
                  <a:gd name="T22" fmla="*/ 147 w 405"/>
                  <a:gd name="T23" fmla="*/ 265 h 377"/>
                  <a:gd name="T24" fmla="*/ 242 w 405"/>
                  <a:gd name="T25" fmla="*/ 306 h 377"/>
                  <a:gd name="T26" fmla="*/ 186 w 405"/>
                  <a:gd name="T27" fmla="*/ 337 h 377"/>
                  <a:gd name="T28" fmla="*/ 172 w 405"/>
                  <a:gd name="T29" fmla="*/ 367 h 377"/>
                  <a:gd name="T30" fmla="*/ 272 w 405"/>
                  <a:gd name="T31" fmla="*/ 328 h 377"/>
                  <a:gd name="T32" fmla="*/ 352 w 405"/>
                  <a:gd name="T33" fmla="*/ 373 h 377"/>
                  <a:gd name="T34" fmla="*/ 389 w 405"/>
                  <a:gd name="T35" fmla="*/ 333 h 377"/>
                  <a:gd name="T36" fmla="*/ 292 w 405"/>
                  <a:gd name="T37" fmla="*/ 299 h 377"/>
                  <a:gd name="T38" fmla="*/ 291 w 405"/>
                  <a:gd name="T39" fmla="*/ 217 h 377"/>
                  <a:gd name="T40" fmla="*/ 261 w 405"/>
                  <a:gd name="T41" fmla="*/ 173 h 377"/>
                  <a:gd name="T42" fmla="*/ 297 w 405"/>
                  <a:gd name="T43" fmla="*/ 107 h 377"/>
                  <a:gd name="T44" fmla="*/ 283 w 405"/>
                  <a:gd name="T45" fmla="*/ 43 h 377"/>
                  <a:gd name="T46" fmla="*/ 241 w 405"/>
                  <a:gd name="T47" fmla="*/ 1 h 377"/>
                  <a:gd name="T48" fmla="*/ 241 w 405"/>
                  <a:gd name="T49" fmla="*/ 35 h 377"/>
                  <a:gd name="T50" fmla="*/ 245 w 405"/>
                  <a:gd name="T51" fmla="*/ 97 h 377"/>
                  <a:gd name="T52" fmla="*/ 194 w 405"/>
                  <a:gd name="T53" fmla="*/ 129 h 377"/>
                  <a:gd name="T54" fmla="*/ 161 w 405"/>
                  <a:gd name="T55" fmla="*/ 121 h 377"/>
                  <a:gd name="T56" fmla="*/ 150 w 405"/>
                  <a:gd name="T57" fmla="*/ 33 h 377"/>
                  <a:gd name="T58" fmla="*/ 122 w 405"/>
                  <a:gd name="T59" fmla="*/ 56 h 377"/>
                  <a:gd name="T60" fmla="*/ 121 w 405"/>
                  <a:gd name="T61" fmla="*/ 133 h 377"/>
                  <a:gd name="T62" fmla="*/ 30 w 405"/>
                  <a:gd name="T63" fmla="*/ 180 h 377"/>
                  <a:gd name="T64" fmla="*/ 22 w 405"/>
                  <a:gd name="T65" fmla="*/ 219 h 3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405" h="377">
                    <a:moveTo>
                      <a:pt x="174" y="243"/>
                    </a:moveTo>
                    <a:cubicBezTo>
                      <a:pt x="172" y="243"/>
                      <a:pt x="154" y="236"/>
                      <a:pt x="159" y="229"/>
                    </a:cubicBezTo>
                    <a:cubicBezTo>
                      <a:pt x="163" y="221"/>
                      <a:pt x="190" y="187"/>
                      <a:pt x="199" y="183"/>
                    </a:cubicBezTo>
                    <a:cubicBezTo>
                      <a:pt x="208" y="178"/>
                      <a:pt x="215" y="172"/>
                      <a:pt x="218" y="183"/>
                    </a:cubicBezTo>
                    <a:cubicBezTo>
                      <a:pt x="221" y="193"/>
                      <a:pt x="215" y="230"/>
                      <a:pt x="220" y="236"/>
                    </a:cubicBezTo>
                    <a:cubicBezTo>
                      <a:pt x="225" y="241"/>
                      <a:pt x="227" y="248"/>
                      <a:pt x="234" y="247"/>
                    </a:cubicBezTo>
                    <a:cubicBezTo>
                      <a:pt x="241" y="246"/>
                      <a:pt x="256" y="238"/>
                      <a:pt x="260" y="245"/>
                    </a:cubicBezTo>
                    <a:cubicBezTo>
                      <a:pt x="263" y="252"/>
                      <a:pt x="268" y="259"/>
                      <a:pt x="260" y="269"/>
                    </a:cubicBezTo>
                    <a:cubicBezTo>
                      <a:pt x="253" y="278"/>
                      <a:pt x="247" y="281"/>
                      <a:pt x="239" y="274"/>
                    </a:cubicBezTo>
                    <a:cubicBezTo>
                      <a:pt x="230" y="267"/>
                      <a:pt x="221" y="250"/>
                      <a:pt x="209" y="247"/>
                    </a:cubicBezTo>
                    <a:cubicBezTo>
                      <a:pt x="198" y="245"/>
                      <a:pt x="176" y="243"/>
                      <a:pt x="174" y="243"/>
                    </a:cubicBezTo>
                    <a:close/>
                    <a:moveTo>
                      <a:pt x="108" y="215"/>
                    </a:moveTo>
                    <a:cubicBezTo>
                      <a:pt x="109" y="216"/>
                      <a:pt x="102" y="238"/>
                      <a:pt x="93" y="254"/>
                    </a:cubicBezTo>
                    <a:cubicBezTo>
                      <a:pt x="84" y="271"/>
                      <a:pt x="81" y="271"/>
                      <a:pt x="73" y="283"/>
                    </a:cubicBezTo>
                    <a:cubicBezTo>
                      <a:pt x="65" y="295"/>
                      <a:pt x="45" y="309"/>
                      <a:pt x="44" y="316"/>
                    </a:cubicBezTo>
                    <a:cubicBezTo>
                      <a:pt x="43" y="323"/>
                      <a:pt x="41" y="343"/>
                      <a:pt x="43" y="350"/>
                    </a:cubicBezTo>
                    <a:cubicBezTo>
                      <a:pt x="44" y="357"/>
                      <a:pt x="61" y="358"/>
                      <a:pt x="69" y="357"/>
                    </a:cubicBezTo>
                    <a:cubicBezTo>
                      <a:pt x="77" y="355"/>
                      <a:pt x="84" y="347"/>
                      <a:pt x="91" y="347"/>
                    </a:cubicBezTo>
                    <a:cubicBezTo>
                      <a:pt x="98" y="347"/>
                      <a:pt x="96" y="355"/>
                      <a:pt x="97" y="361"/>
                    </a:cubicBezTo>
                    <a:cubicBezTo>
                      <a:pt x="97" y="366"/>
                      <a:pt x="101" y="368"/>
                      <a:pt x="118" y="372"/>
                    </a:cubicBezTo>
                    <a:cubicBezTo>
                      <a:pt x="136" y="377"/>
                      <a:pt x="140" y="364"/>
                      <a:pt x="144" y="352"/>
                    </a:cubicBezTo>
                    <a:cubicBezTo>
                      <a:pt x="148" y="339"/>
                      <a:pt x="140" y="339"/>
                      <a:pt x="136" y="328"/>
                    </a:cubicBezTo>
                    <a:cubicBezTo>
                      <a:pt x="133" y="316"/>
                      <a:pt x="136" y="302"/>
                      <a:pt x="136" y="292"/>
                    </a:cubicBezTo>
                    <a:cubicBezTo>
                      <a:pt x="135" y="281"/>
                      <a:pt x="141" y="272"/>
                      <a:pt x="147" y="265"/>
                    </a:cubicBezTo>
                    <a:cubicBezTo>
                      <a:pt x="153" y="258"/>
                      <a:pt x="160" y="248"/>
                      <a:pt x="186" y="258"/>
                    </a:cubicBezTo>
                    <a:cubicBezTo>
                      <a:pt x="212" y="267"/>
                      <a:pt x="239" y="298"/>
                      <a:pt x="242" y="306"/>
                    </a:cubicBezTo>
                    <a:cubicBezTo>
                      <a:pt x="245" y="313"/>
                      <a:pt x="232" y="318"/>
                      <a:pt x="227" y="325"/>
                    </a:cubicBezTo>
                    <a:cubicBezTo>
                      <a:pt x="222" y="332"/>
                      <a:pt x="196" y="338"/>
                      <a:pt x="186" y="337"/>
                    </a:cubicBezTo>
                    <a:cubicBezTo>
                      <a:pt x="175" y="336"/>
                      <a:pt x="172" y="344"/>
                      <a:pt x="167" y="348"/>
                    </a:cubicBezTo>
                    <a:cubicBezTo>
                      <a:pt x="162" y="351"/>
                      <a:pt x="167" y="361"/>
                      <a:pt x="172" y="367"/>
                    </a:cubicBezTo>
                    <a:cubicBezTo>
                      <a:pt x="177" y="373"/>
                      <a:pt x="211" y="373"/>
                      <a:pt x="224" y="364"/>
                    </a:cubicBezTo>
                    <a:cubicBezTo>
                      <a:pt x="237" y="354"/>
                      <a:pt x="272" y="328"/>
                      <a:pt x="272" y="328"/>
                    </a:cubicBezTo>
                    <a:cubicBezTo>
                      <a:pt x="272" y="328"/>
                      <a:pt x="285" y="340"/>
                      <a:pt x="293" y="348"/>
                    </a:cubicBezTo>
                    <a:cubicBezTo>
                      <a:pt x="301" y="357"/>
                      <a:pt x="319" y="369"/>
                      <a:pt x="352" y="373"/>
                    </a:cubicBezTo>
                    <a:cubicBezTo>
                      <a:pt x="385" y="377"/>
                      <a:pt x="398" y="356"/>
                      <a:pt x="401" y="352"/>
                    </a:cubicBezTo>
                    <a:cubicBezTo>
                      <a:pt x="405" y="348"/>
                      <a:pt x="399" y="342"/>
                      <a:pt x="389" y="333"/>
                    </a:cubicBezTo>
                    <a:cubicBezTo>
                      <a:pt x="379" y="323"/>
                      <a:pt x="353" y="312"/>
                      <a:pt x="337" y="313"/>
                    </a:cubicBezTo>
                    <a:cubicBezTo>
                      <a:pt x="321" y="315"/>
                      <a:pt x="303" y="305"/>
                      <a:pt x="292" y="299"/>
                    </a:cubicBezTo>
                    <a:cubicBezTo>
                      <a:pt x="282" y="293"/>
                      <a:pt x="287" y="293"/>
                      <a:pt x="291" y="277"/>
                    </a:cubicBezTo>
                    <a:cubicBezTo>
                      <a:pt x="295" y="261"/>
                      <a:pt x="294" y="231"/>
                      <a:pt x="291" y="217"/>
                    </a:cubicBezTo>
                    <a:cubicBezTo>
                      <a:pt x="287" y="204"/>
                      <a:pt x="269" y="200"/>
                      <a:pt x="264" y="192"/>
                    </a:cubicBezTo>
                    <a:cubicBezTo>
                      <a:pt x="258" y="184"/>
                      <a:pt x="251" y="180"/>
                      <a:pt x="261" y="173"/>
                    </a:cubicBezTo>
                    <a:cubicBezTo>
                      <a:pt x="272" y="166"/>
                      <a:pt x="282" y="146"/>
                      <a:pt x="290" y="135"/>
                    </a:cubicBezTo>
                    <a:cubicBezTo>
                      <a:pt x="298" y="123"/>
                      <a:pt x="305" y="117"/>
                      <a:pt x="297" y="107"/>
                    </a:cubicBezTo>
                    <a:cubicBezTo>
                      <a:pt x="289" y="97"/>
                      <a:pt x="283" y="94"/>
                      <a:pt x="281" y="86"/>
                    </a:cubicBezTo>
                    <a:cubicBezTo>
                      <a:pt x="280" y="79"/>
                      <a:pt x="283" y="57"/>
                      <a:pt x="283" y="43"/>
                    </a:cubicBezTo>
                    <a:cubicBezTo>
                      <a:pt x="283" y="29"/>
                      <a:pt x="285" y="30"/>
                      <a:pt x="272" y="15"/>
                    </a:cubicBezTo>
                    <a:cubicBezTo>
                      <a:pt x="260" y="0"/>
                      <a:pt x="248" y="2"/>
                      <a:pt x="241" y="1"/>
                    </a:cubicBezTo>
                    <a:cubicBezTo>
                      <a:pt x="235" y="0"/>
                      <a:pt x="231" y="21"/>
                      <a:pt x="233" y="26"/>
                    </a:cubicBezTo>
                    <a:cubicBezTo>
                      <a:pt x="235" y="31"/>
                      <a:pt x="239" y="31"/>
                      <a:pt x="241" y="35"/>
                    </a:cubicBezTo>
                    <a:cubicBezTo>
                      <a:pt x="242" y="39"/>
                      <a:pt x="239" y="36"/>
                      <a:pt x="243" y="53"/>
                    </a:cubicBezTo>
                    <a:cubicBezTo>
                      <a:pt x="247" y="70"/>
                      <a:pt x="245" y="91"/>
                      <a:pt x="245" y="97"/>
                    </a:cubicBezTo>
                    <a:cubicBezTo>
                      <a:pt x="245" y="103"/>
                      <a:pt x="240" y="107"/>
                      <a:pt x="234" y="114"/>
                    </a:cubicBezTo>
                    <a:cubicBezTo>
                      <a:pt x="228" y="121"/>
                      <a:pt x="206" y="123"/>
                      <a:pt x="194" y="129"/>
                    </a:cubicBezTo>
                    <a:cubicBezTo>
                      <a:pt x="181" y="135"/>
                      <a:pt x="179" y="146"/>
                      <a:pt x="170" y="149"/>
                    </a:cubicBezTo>
                    <a:cubicBezTo>
                      <a:pt x="161" y="151"/>
                      <a:pt x="157" y="138"/>
                      <a:pt x="161" y="121"/>
                    </a:cubicBezTo>
                    <a:cubicBezTo>
                      <a:pt x="164" y="109"/>
                      <a:pt x="168" y="79"/>
                      <a:pt x="168" y="64"/>
                    </a:cubicBezTo>
                    <a:cubicBezTo>
                      <a:pt x="167" y="54"/>
                      <a:pt x="158" y="40"/>
                      <a:pt x="150" y="33"/>
                    </a:cubicBezTo>
                    <a:cubicBezTo>
                      <a:pt x="142" y="25"/>
                      <a:pt x="136" y="30"/>
                      <a:pt x="131" y="32"/>
                    </a:cubicBezTo>
                    <a:cubicBezTo>
                      <a:pt x="126" y="35"/>
                      <a:pt x="120" y="43"/>
                      <a:pt x="122" y="56"/>
                    </a:cubicBezTo>
                    <a:cubicBezTo>
                      <a:pt x="124" y="70"/>
                      <a:pt x="127" y="72"/>
                      <a:pt x="127" y="82"/>
                    </a:cubicBezTo>
                    <a:cubicBezTo>
                      <a:pt x="128" y="92"/>
                      <a:pt x="124" y="113"/>
                      <a:pt x="121" y="133"/>
                    </a:cubicBezTo>
                    <a:cubicBezTo>
                      <a:pt x="117" y="152"/>
                      <a:pt x="104" y="151"/>
                      <a:pt x="90" y="158"/>
                    </a:cubicBezTo>
                    <a:cubicBezTo>
                      <a:pt x="76" y="165"/>
                      <a:pt x="48" y="175"/>
                      <a:pt x="30" y="180"/>
                    </a:cubicBezTo>
                    <a:cubicBezTo>
                      <a:pt x="13" y="184"/>
                      <a:pt x="0" y="191"/>
                      <a:pt x="0" y="200"/>
                    </a:cubicBezTo>
                    <a:cubicBezTo>
                      <a:pt x="0" y="209"/>
                      <a:pt x="9" y="210"/>
                      <a:pt x="22" y="219"/>
                    </a:cubicBezTo>
                    <a:cubicBezTo>
                      <a:pt x="35" y="228"/>
                      <a:pt x="107" y="215"/>
                      <a:pt x="108" y="21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250" name="íŝļïḓè"/>
              <p:cNvSpPr/>
              <p:nvPr/>
            </p:nvSpPr>
            <p:spPr bwMode="auto">
              <a:xfrm>
                <a:off x="6220078" y="4756740"/>
                <a:ext cx="627063" cy="793750"/>
              </a:xfrm>
              <a:custGeom>
                <a:avLst/>
                <a:gdLst>
                  <a:gd name="T0" fmla="*/ 194 w 340"/>
                  <a:gd name="T1" fmla="*/ 225 h 430"/>
                  <a:gd name="T2" fmla="*/ 189 w 340"/>
                  <a:gd name="T3" fmla="*/ 204 h 430"/>
                  <a:gd name="T4" fmla="*/ 222 w 340"/>
                  <a:gd name="T5" fmla="*/ 196 h 430"/>
                  <a:gd name="T6" fmla="*/ 234 w 340"/>
                  <a:gd name="T7" fmla="*/ 215 h 430"/>
                  <a:gd name="T8" fmla="*/ 217 w 340"/>
                  <a:gd name="T9" fmla="*/ 231 h 430"/>
                  <a:gd name="T10" fmla="*/ 194 w 340"/>
                  <a:gd name="T11" fmla="*/ 225 h 430"/>
                  <a:gd name="T12" fmla="*/ 33 w 340"/>
                  <a:gd name="T13" fmla="*/ 228 h 430"/>
                  <a:gd name="T14" fmla="*/ 67 w 340"/>
                  <a:gd name="T15" fmla="*/ 224 h 430"/>
                  <a:gd name="T16" fmla="*/ 105 w 340"/>
                  <a:gd name="T17" fmla="*/ 194 h 430"/>
                  <a:gd name="T18" fmla="*/ 164 w 340"/>
                  <a:gd name="T19" fmla="*/ 151 h 430"/>
                  <a:gd name="T20" fmla="*/ 170 w 340"/>
                  <a:gd name="T21" fmla="*/ 163 h 430"/>
                  <a:gd name="T22" fmla="*/ 144 w 340"/>
                  <a:gd name="T23" fmla="*/ 203 h 430"/>
                  <a:gd name="T24" fmla="*/ 142 w 340"/>
                  <a:gd name="T25" fmla="*/ 250 h 430"/>
                  <a:gd name="T26" fmla="*/ 166 w 340"/>
                  <a:gd name="T27" fmla="*/ 278 h 430"/>
                  <a:gd name="T28" fmla="*/ 170 w 340"/>
                  <a:gd name="T29" fmla="*/ 300 h 430"/>
                  <a:gd name="T30" fmla="*/ 132 w 340"/>
                  <a:gd name="T31" fmla="*/ 347 h 430"/>
                  <a:gd name="T32" fmla="*/ 133 w 340"/>
                  <a:gd name="T33" fmla="*/ 397 h 430"/>
                  <a:gd name="T34" fmla="*/ 181 w 340"/>
                  <a:gd name="T35" fmla="*/ 410 h 430"/>
                  <a:gd name="T36" fmla="*/ 184 w 340"/>
                  <a:gd name="T37" fmla="*/ 375 h 430"/>
                  <a:gd name="T38" fmla="*/ 198 w 340"/>
                  <a:gd name="T39" fmla="*/ 374 h 430"/>
                  <a:gd name="T40" fmla="*/ 215 w 340"/>
                  <a:gd name="T41" fmla="*/ 416 h 430"/>
                  <a:gd name="T42" fmla="*/ 240 w 340"/>
                  <a:gd name="T43" fmla="*/ 406 h 430"/>
                  <a:gd name="T44" fmla="*/ 230 w 340"/>
                  <a:gd name="T45" fmla="*/ 341 h 430"/>
                  <a:gd name="T46" fmla="*/ 250 w 340"/>
                  <a:gd name="T47" fmla="*/ 322 h 430"/>
                  <a:gd name="T48" fmla="*/ 268 w 340"/>
                  <a:gd name="T49" fmla="*/ 373 h 430"/>
                  <a:gd name="T50" fmla="*/ 316 w 340"/>
                  <a:gd name="T51" fmla="*/ 385 h 430"/>
                  <a:gd name="T52" fmla="*/ 295 w 340"/>
                  <a:gd name="T53" fmla="*/ 310 h 430"/>
                  <a:gd name="T54" fmla="*/ 263 w 340"/>
                  <a:gd name="T55" fmla="*/ 288 h 430"/>
                  <a:gd name="T56" fmla="*/ 264 w 340"/>
                  <a:gd name="T57" fmla="*/ 259 h 430"/>
                  <a:gd name="T58" fmla="*/ 265 w 340"/>
                  <a:gd name="T59" fmla="*/ 233 h 430"/>
                  <a:gd name="T60" fmla="*/ 300 w 340"/>
                  <a:gd name="T61" fmla="*/ 199 h 430"/>
                  <a:gd name="T62" fmla="*/ 275 w 340"/>
                  <a:gd name="T63" fmla="*/ 161 h 430"/>
                  <a:gd name="T64" fmla="*/ 217 w 340"/>
                  <a:gd name="T65" fmla="*/ 159 h 430"/>
                  <a:gd name="T66" fmla="*/ 270 w 340"/>
                  <a:gd name="T67" fmla="*/ 132 h 430"/>
                  <a:gd name="T68" fmla="*/ 316 w 340"/>
                  <a:gd name="T69" fmla="*/ 126 h 430"/>
                  <a:gd name="T70" fmla="*/ 332 w 340"/>
                  <a:gd name="T71" fmla="*/ 110 h 430"/>
                  <a:gd name="T72" fmla="*/ 321 w 340"/>
                  <a:gd name="T73" fmla="*/ 75 h 430"/>
                  <a:gd name="T74" fmla="*/ 256 w 340"/>
                  <a:gd name="T75" fmla="*/ 74 h 430"/>
                  <a:gd name="T76" fmla="*/ 240 w 340"/>
                  <a:gd name="T77" fmla="*/ 51 h 430"/>
                  <a:gd name="T78" fmla="*/ 212 w 340"/>
                  <a:gd name="T79" fmla="*/ 9 h 430"/>
                  <a:gd name="T80" fmla="*/ 190 w 340"/>
                  <a:gd name="T81" fmla="*/ 6 h 430"/>
                  <a:gd name="T82" fmla="*/ 174 w 340"/>
                  <a:gd name="T83" fmla="*/ 34 h 430"/>
                  <a:gd name="T84" fmla="*/ 183 w 340"/>
                  <a:gd name="T85" fmla="*/ 70 h 430"/>
                  <a:gd name="T86" fmla="*/ 172 w 340"/>
                  <a:gd name="T87" fmla="*/ 98 h 430"/>
                  <a:gd name="T88" fmla="*/ 65 w 340"/>
                  <a:gd name="T89" fmla="*/ 161 h 430"/>
                  <a:gd name="T90" fmla="*/ 21 w 340"/>
                  <a:gd name="T91" fmla="*/ 171 h 430"/>
                  <a:gd name="T92" fmla="*/ 10 w 340"/>
                  <a:gd name="T93" fmla="*/ 198 h 430"/>
                  <a:gd name="T94" fmla="*/ 33 w 340"/>
                  <a:gd name="T95" fmla="*/ 228 h 4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340" h="430">
                    <a:moveTo>
                      <a:pt x="194" y="225"/>
                    </a:moveTo>
                    <a:cubicBezTo>
                      <a:pt x="194" y="225"/>
                      <a:pt x="178" y="212"/>
                      <a:pt x="189" y="204"/>
                    </a:cubicBezTo>
                    <a:cubicBezTo>
                      <a:pt x="201" y="196"/>
                      <a:pt x="211" y="188"/>
                      <a:pt x="222" y="196"/>
                    </a:cubicBezTo>
                    <a:cubicBezTo>
                      <a:pt x="234" y="203"/>
                      <a:pt x="238" y="207"/>
                      <a:pt x="234" y="215"/>
                    </a:cubicBezTo>
                    <a:cubicBezTo>
                      <a:pt x="230" y="222"/>
                      <a:pt x="228" y="229"/>
                      <a:pt x="217" y="231"/>
                    </a:cubicBezTo>
                    <a:cubicBezTo>
                      <a:pt x="204" y="230"/>
                      <a:pt x="194" y="225"/>
                      <a:pt x="194" y="225"/>
                    </a:cubicBezTo>
                    <a:close/>
                    <a:moveTo>
                      <a:pt x="33" y="228"/>
                    </a:moveTo>
                    <a:cubicBezTo>
                      <a:pt x="40" y="229"/>
                      <a:pt x="52" y="231"/>
                      <a:pt x="67" y="224"/>
                    </a:cubicBezTo>
                    <a:cubicBezTo>
                      <a:pt x="82" y="216"/>
                      <a:pt x="91" y="208"/>
                      <a:pt x="105" y="194"/>
                    </a:cubicBezTo>
                    <a:cubicBezTo>
                      <a:pt x="119" y="180"/>
                      <a:pt x="153" y="155"/>
                      <a:pt x="164" y="151"/>
                    </a:cubicBezTo>
                    <a:cubicBezTo>
                      <a:pt x="176" y="146"/>
                      <a:pt x="176" y="155"/>
                      <a:pt x="170" y="163"/>
                    </a:cubicBezTo>
                    <a:cubicBezTo>
                      <a:pt x="164" y="171"/>
                      <a:pt x="150" y="188"/>
                      <a:pt x="144" y="203"/>
                    </a:cubicBezTo>
                    <a:cubicBezTo>
                      <a:pt x="139" y="218"/>
                      <a:pt x="134" y="224"/>
                      <a:pt x="142" y="250"/>
                    </a:cubicBezTo>
                    <a:cubicBezTo>
                      <a:pt x="149" y="275"/>
                      <a:pt x="160" y="275"/>
                      <a:pt x="166" y="278"/>
                    </a:cubicBezTo>
                    <a:cubicBezTo>
                      <a:pt x="172" y="281"/>
                      <a:pt x="176" y="301"/>
                      <a:pt x="170" y="300"/>
                    </a:cubicBezTo>
                    <a:cubicBezTo>
                      <a:pt x="164" y="299"/>
                      <a:pt x="136" y="327"/>
                      <a:pt x="132" y="347"/>
                    </a:cubicBezTo>
                    <a:cubicBezTo>
                      <a:pt x="127" y="366"/>
                      <a:pt x="123" y="375"/>
                      <a:pt x="133" y="397"/>
                    </a:cubicBezTo>
                    <a:cubicBezTo>
                      <a:pt x="144" y="419"/>
                      <a:pt x="174" y="413"/>
                      <a:pt x="181" y="410"/>
                    </a:cubicBezTo>
                    <a:cubicBezTo>
                      <a:pt x="189" y="407"/>
                      <a:pt x="185" y="395"/>
                      <a:pt x="184" y="375"/>
                    </a:cubicBezTo>
                    <a:cubicBezTo>
                      <a:pt x="182" y="355"/>
                      <a:pt x="192" y="364"/>
                      <a:pt x="198" y="374"/>
                    </a:cubicBezTo>
                    <a:cubicBezTo>
                      <a:pt x="204" y="384"/>
                      <a:pt x="203" y="402"/>
                      <a:pt x="215" y="416"/>
                    </a:cubicBezTo>
                    <a:cubicBezTo>
                      <a:pt x="226" y="430"/>
                      <a:pt x="235" y="419"/>
                      <a:pt x="240" y="406"/>
                    </a:cubicBezTo>
                    <a:cubicBezTo>
                      <a:pt x="245" y="393"/>
                      <a:pt x="232" y="357"/>
                      <a:pt x="230" y="341"/>
                    </a:cubicBezTo>
                    <a:cubicBezTo>
                      <a:pt x="229" y="326"/>
                      <a:pt x="238" y="322"/>
                      <a:pt x="250" y="322"/>
                    </a:cubicBezTo>
                    <a:cubicBezTo>
                      <a:pt x="262" y="322"/>
                      <a:pt x="248" y="347"/>
                      <a:pt x="268" y="373"/>
                    </a:cubicBezTo>
                    <a:cubicBezTo>
                      <a:pt x="287" y="399"/>
                      <a:pt x="292" y="396"/>
                      <a:pt x="316" y="385"/>
                    </a:cubicBezTo>
                    <a:cubicBezTo>
                      <a:pt x="340" y="375"/>
                      <a:pt x="311" y="327"/>
                      <a:pt x="295" y="310"/>
                    </a:cubicBezTo>
                    <a:cubicBezTo>
                      <a:pt x="279" y="294"/>
                      <a:pt x="263" y="294"/>
                      <a:pt x="263" y="288"/>
                    </a:cubicBezTo>
                    <a:cubicBezTo>
                      <a:pt x="263" y="282"/>
                      <a:pt x="266" y="267"/>
                      <a:pt x="264" y="259"/>
                    </a:cubicBezTo>
                    <a:cubicBezTo>
                      <a:pt x="262" y="251"/>
                      <a:pt x="258" y="239"/>
                      <a:pt x="265" y="233"/>
                    </a:cubicBezTo>
                    <a:cubicBezTo>
                      <a:pt x="273" y="226"/>
                      <a:pt x="301" y="222"/>
                      <a:pt x="300" y="199"/>
                    </a:cubicBezTo>
                    <a:cubicBezTo>
                      <a:pt x="299" y="177"/>
                      <a:pt x="294" y="175"/>
                      <a:pt x="275" y="161"/>
                    </a:cubicBezTo>
                    <a:cubicBezTo>
                      <a:pt x="257" y="148"/>
                      <a:pt x="216" y="168"/>
                      <a:pt x="217" y="159"/>
                    </a:cubicBezTo>
                    <a:cubicBezTo>
                      <a:pt x="218" y="150"/>
                      <a:pt x="250" y="138"/>
                      <a:pt x="270" y="132"/>
                    </a:cubicBezTo>
                    <a:cubicBezTo>
                      <a:pt x="290" y="125"/>
                      <a:pt x="306" y="126"/>
                      <a:pt x="316" y="126"/>
                    </a:cubicBezTo>
                    <a:cubicBezTo>
                      <a:pt x="326" y="126"/>
                      <a:pt x="326" y="118"/>
                      <a:pt x="332" y="110"/>
                    </a:cubicBezTo>
                    <a:cubicBezTo>
                      <a:pt x="337" y="102"/>
                      <a:pt x="334" y="88"/>
                      <a:pt x="321" y="75"/>
                    </a:cubicBezTo>
                    <a:cubicBezTo>
                      <a:pt x="308" y="61"/>
                      <a:pt x="263" y="74"/>
                      <a:pt x="256" y="74"/>
                    </a:cubicBezTo>
                    <a:cubicBezTo>
                      <a:pt x="250" y="74"/>
                      <a:pt x="250" y="63"/>
                      <a:pt x="240" y="51"/>
                    </a:cubicBezTo>
                    <a:cubicBezTo>
                      <a:pt x="229" y="38"/>
                      <a:pt x="220" y="18"/>
                      <a:pt x="212" y="9"/>
                    </a:cubicBezTo>
                    <a:cubicBezTo>
                      <a:pt x="205" y="0"/>
                      <a:pt x="203" y="8"/>
                      <a:pt x="190" y="6"/>
                    </a:cubicBezTo>
                    <a:cubicBezTo>
                      <a:pt x="176" y="3"/>
                      <a:pt x="165" y="15"/>
                      <a:pt x="174" y="34"/>
                    </a:cubicBezTo>
                    <a:cubicBezTo>
                      <a:pt x="183" y="53"/>
                      <a:pt x="183" y="56"/>
                      <a:pt x="183" y="70"/>
                    </a:cubicBezTo>
                    <a:cubicBezTo>
                      <a:pt x="183" y="84"/>
                      <a:pt x="197" y="88"/>
                      <a:pt x="172" y="98"/>
                    </a:cubicBezTo>
                    <a:cubicBezTo>
                      <a:pt x="147" y="108"/>
                      <a:pt x="75" y="152"/>
                      <a:pt x="65" y="161"/>
                    </a:cubicBezTo>
                    <a:cubicBezTo>
                      <a:pt x="55" y="170"/>
                      <a:pt x="26" y="169"/>
                      <a:pt x="21" y="171"/>
                    </a:cubicBezTo>
                    <a:cubicBezTo>
                      <a:pt x="15" y="173"/>
                      <a:pt x="0" y="170"/>
                      <a:pt x="10" y="198"/>
                    </a:cubicBezTo>
                    <a:cubicBezTo>
                      <a:pt x="24" y="238"/>
                      <a:pt x="26" y="227"/>
                      <a:pt x="33" y="22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251" name="ïs1îḋè"/>
              <p:cNvSpPr/>
              <p:nvPr/>
            </p:nvSpPr>
            <p:spPr bwMode="auto">
              <a:xfrm>
                <a:off x="7263066" y="4780553"/>
                <a:ext cx="674688" cy="863600"/>
              </a:xfrm>
              <a:custGeom>
                <a:avLst/>
                <a:gdLst>
                  <a:gd name="T0" fmla="*/ 258 w 366"/>
                  <a:gd name="T1" fmla="*/ 136 h 468"/>
                  <a:gd name="T2" fmla="*/ 270 w 366"/>
                  <a:gd name="T3" fmla="*/ 115 h 468"/>
                  <a:gd name="T4" fmla="*/ 287 w 366"/>
                  <a:gd name="T5" fmla="*/ 153 h 468"/>
                  <a:gd name="T6" fmla="*/ 200 w 366"/>
                  <a:gd name="T7" fmla="*/ 103 h 468"/>
                  <a:gd name="T8" fmla="*/ 227 w 366"/>
                  <a:gd name="T9" fmla="*/ 122 h 468"/>
                  <a:gd name="T10" fmla="*/ 225 w 366"/>
                  <a:gd name="T11" fmla="*/ 167 h 468"/>
                  <a:gd name="T12" fmla="*/ 215 w 366"/>
                  <a:gd name="T13" fmla="*/ 201 h 468"/>
                  <a:gd name="T14" fmla="*/ 197 w 366"/>
                  <a:gd name="T15" fmla="*/ 167 h 468"/>
                  <a:gd name="T16" fmla="*/ 204 w 366"/>
                  <a:gd name="T17" fmla="*/ 133 h 468"/>
                  <a:gd name="T18" fmla="*/ 200 w 366"/>
                  <a:gd name="T19" fmla="*/ 103 h 468"/>
                  <a:gd name="T20" fmla="*/ 271 w 366"/>
                  <a:gd name="T21" fmla="*/ 175 h 468"/>
                  <a:gd name="T22" fmla="*/ 286 w 366"/>
                  <a:gd name="T23" fmla="*/ 190 h 468"/>
                  <a:gd name="T24" fmla="*/ 146 w 366"/>
                  <a:gd name="T25" fmla="*/ 109 h 468"/>
                  <a:gd name="T26" fmla="*/ 87 w 366"/>
                  <a:gd name="T27" fmla="*/ 173 h 468"/>
                  <a:gd name="T28" fmla="*/ 7 w 366"/>
                  <a:gd name="T29" fmla="*/ 236 h 468"/>
                  <a:gd name="T30" fmla="*/ 111 w 366"/>
                  <a:gd name="T31" fmla="*/ 239 h 468"/>
                  <a:gd name="T32" fmla="*/ 108 w 366"/>
                  <a:gd name="T33" fmla="*/ 279 h 468"/>
                  <a:gd name="T34" fmla="*/ 110 w 366"/>
                  <a:gd name="T35" fmla="*/ 332 h 468"/>
                  <a:gd name="T36" fmla="*/ 139 w 366"/>
                  <a:gd name="T37" fmla="*/ 316 h 468"/>
                  <a:gd name="T38" fmla="*/ 159 w 366"/>
                  <a:gd name="T39" fmla="*/ 326 h 468"/>
                  <a:gd name="T40" fmla="*/ 189 w 366"/>
                  <a:gd name="T41" fmla="*/ 330 h 468"/>
                  <a:gd name="T42" fmla="*/ 217 w 366"/>
                  <a:gd name="T43" fmla="*/ 281 h 468"/>
                  <a:gd name="T44" fmla="*/ 284 w 366"/>
                  <a:gd name="T45" fmla="*/ 237 h 468"/>
                  <a:gd name="T46" fmla="*/ 287 w 366"/>
                  <a:gd name="T47" fmla="*/ 396 h 468"/>
                  <a:gd name="T48" fmla="*/ 284 w 366"/>
                  <a:gd name="T49" fmla="*/ 461 h 468"/>
                  <a:gd name="T50" fmla="*/ 319 w 366"/>
                  <a:gd name="T51" fmla="*/ 393 h 468"/>
                  <a:gd name="T52" fmla="*/ 327 w 366"/>
                  <a:gd name="T53" fmla="*/ 227 h 468"/>
                  <a:gd name="T54" fmla="*/ 363 w 366"/>
                  <a:gd name="T55" fmla="*/ 202 h 468"/>
                  <a:gd name="T56" fmla="*/ 324 w 366"/>
                  <a:gd name="T57" fmla="*/ 162 h 468"/>
                  <a:gd name="T58" fmla="*/ 330 w 366"/>
                  <a:gd name="T59" fmla="*/ 85 h 468"/>
                  <a:gd name="T60" fmla="*/ 324 w 366"/>
                  <a:gd name="T61" fmla="*/ 23 h 468"/>
                  <a:gd name="T62" fmla="*/ 275 w 366"/>
                  <a:gd name="T63" fmla="*/ 29 h 468"/>
                  <a:gd name="T64" fmla="*/ 286 w 366"/>
                  <a:gd name="T65" fmla="*/ 69 h 468"/>
                  <a:gd name="T66" fmla="*/ 253 w 366"/>
                  <a:gd name="T67" fmla="*/ 65 h 468"/>
                  <a:gd name="T68" fmla="*/ 212 w 366"/>
                  <a:gd name="T69" fmla="*/ 52 h 468"/>
                  <a:gd name="T70" fmla="*/ 115 w 366"/>
                  <a:gd name="T71" fmla="*/ 68 h 468"/>
                  <a:gd name="T72" fmla="*/ 30 w 366"/>
                  <a:gd name="T73" fmla="*/ 163 h 468"/>
                  <a:gd name="T74" fmla="*/ 96 w 366"/>
                  <a:gd name="T75" fmla="*/ 132 h 4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366" h="468">
                    <a:moveTo>
                      <a:pt x="270" y="152"/>
                    </a:moveTo>
                    <a:cubicBezTo>
                      <a:pt x="270" y="152"/>
                      <a:pt x="273" y="146"/>
                      <a:pt x="258" y="136"/>
                    </a:cubicBezTo>
                    <a:cubicBezTo>
                      <a:pt x="242" y="126"/>
                      <a:pt x="247" y="126"/>
                      <a:pt x="254" y="122"/>
                    </a:cubicBezTo>
                    <a:cubicBezTo>
                      <a:pt x="261" y="119"/>
                      <a:pt x="262" y="114"/>
                      <a:pt x="270" y="115"/>
                    </a:cubicBezTo>
                    <a:cubicBezTo>
                      <a:pt x="279" y="116"/>
                      <a:pt x="285" y="112"/>
                      <a:pt x="287" y="120"/>
                    </a:cubicBezTo>
                    <a:cubicBezTo>
                      <a:pt x="289" y="128"/>
                      <a:pt x="291" y="151"/>
                      <a:pt x="287" y="153"/>
                    </a:cubicBezTo>
                    <a:cubicBezTo>
                      <a:pt x="284" y="155"/>
                      <a:pt x="271" y="153"/>
                      <a:pt x="270" y="152"/>
                    </a:cubicBezTo>
                    <a:close/>
                    <a:moveTo>
                      <a:pt x="200" y="103"/>
                    </a:moveTo>
                    <a:cubicBezTo>
                      <a:pt x="200" y="99"/>
                      <a:pt x="207" y="96"/>
                      <a:pt x="216" y="102"/>
                    </a:cubicBezTo>
                    <a:cubicBezTo>
                      <a:pt x="225" y="108"/>
                      <a:pt x="228" y="113"/>
                      <a:pt x="227" y="122"/>
                    </a:cubicBezTo>
                    <a:cubicBezTo>
                      <a:pt x="225" y="131"/>
                      <a:pt x="222" y="135"/>
                      <a:pt x="223" y="145"/>
                    </a:cubicBezTo>
                    <a:cubicBezTo>
                      <a:pt x="223" y="156"/>
                      <a:pt x="217" y="162"/>
                      <a:pt x="225" y="167"/>
                    </a:cubicBezTo>
                    <a:cubicBezTo>
                      <a:pt x="232" y="173"/>
                      <a:pt x="235" y="171"/>
                      <a:pt x="233" y="185"/>
                    </a:cubicBezTo>
                    <a:cubicBezTo>
                      <a:pt x="231" y="202"/>
                      <a:pt x="214" y="210"/>
                      <a:pt x="215" y="201"/>
                    </a:cubicBezTo>
                    <a:cubicBezTo>
                      <a:pt x="215" y="192"/>
                      <a:pt x="220" y="185"/>
                      <a:pt x="213" y="176"/>
                    </a:cubicBezTo>
                    <a:cubicBezTo>
                      <a:pt x="205" y="167"/>
                      <a:pt x="204" y="178"/>
                      <a:pt x="197" y="167"/>
                    </a:cubicBezTo>
                    <a:cubicBezTo>
                      <a:pt x="191" y="155"/>
                      <a:pt x="195" y="154"/>
                      <a:pt x="199" y="152"/>
                    </a:cubicBezTo>
                    <a:cubicBezTo>
                      <a:pt x="204" y="149"/>
                      <a:pt x="209" y="147"/>
                      <a:pt x="204" y="133"/>
                    </a:cubicBezTo>
                    <a:cubicBezTo>
                      <a:pt x="199" y="119"/>
                      <a:pt x="198" y="127"/>
                      <a:pt x="197" y="119"/>
                    </a:cubicBezTo>
                    <a:cubicBezTo>
                      <a:pt x="196" y="112"/>
                      <a:pt x="200" y="107"/>
                      <a:pt x="200" y="103"/>
                    </a:cubicBezTo>
                    <a:close/>
                    <a:moveTo>
                      <a:pt x="246" y="206"/>
                    </a:moveTo>
                    <a:cubicBezTo>
                      <a:pt x="243" y="205"/>
                      <a:pt x="264" y="181"/>
                      <a:pt x="271" y="175"/>
                    </a:cubicBezTo>
                    <a:cubicBezTo>
                      <a:pt x="277" y="170"/>
                      <a:pt x="289" y="166"/>
                      <a:pt x="288" y="173"/>
                    </a:cubicBezTo>
                    <a:cubicBezTo>
                      <a:pt x="287" y="180"/>
                      <a:pt x="291" y="185"/>
                      <a:pt x="286" y="190"/>
                    </a:cubicBezTo>
                    <a:cubicBezTo>
                      <a:pt x="282" y="195"/>
                      <a:pt x="250" y="207"/>
                      <a:pt x="246" y="206"/>
                    </a:cubicBezTo>
                    <a:close/>
                    <a:moveTo>
                      <a:pt x="146" y="109"/>
                    </a:moveTo>
                    <a:cubicBezTo>
                      <a:pt x="146" y="114"/>
                      <a:pt x="141" y="124"/>
                      <a:pt x="134" y="134"/>
                    </a:cubicBezTo>
                    <a:cubicBezTo>
                      <a:pt x="127" y="144"/>
                      <a:pt x="103" y="162"/>
                      <a:pt x="87" y="173"/>
                    </a:cubicBezTo>
                    <a:cubicBezTo>
                      <a:pt x="70" y="183"/>
                      <a:pt x="23" y="206"/>
                      <a:pt x="16" y="212"/>
                    </a:cubicBezTo>
                    <a:cubicBezTo>
                      <a:pt x="10" y="218"/>
                      <a:pt x="0" y="213"/>
                      <a:pt x="7" y="236"/>
                    </a:cubicBezTo>
                    <a:cubicBezTo>
                      <a:pt x="13" y="258"/>
                      <a:pt x="24" y="253"/>
                      <a:pt x="55" y="252"/>
                    </a:cubicBezTo>
                    <a:cubicBezTo>
                      <a:pt x="85" y="250"/>
                      <a:pt x="106" y="237"/>
                      <a:pt x="111" y="239"/>
                    </a:cubicBezTo>
                    <a:cubicBezTo>
                      <a:pt x="116" y="242"/>
                      <a:pt x="119" y="251"/>
                      <a:pt x="119" y="259"/>
                    </a:cubicBezTo>
                    <a:cubicBezTo>
                      <a:pt x="120" y="266"/>
                      <a:pt x="116" y="270"/>
                      <a:pt x="108" y="279"/>
                    </a:cubicBezTo>
                    <a:cubicBezTo>
                      <a:pt x="100" y="288"/>
                      <a:pt x="100" y="303"/>
                      <a:pt x="100" y="311"/>
                    </a:cubicBezTo>
                    <a:cubicBezTo>
                      <a:pt x="101" y="318"/>
                      <a:pt x="104" y="325"/>
                      <a:pt x="110" y="332"/>
                    </a:cubicBezTo>
                    <a:cubicBezTo>
                      <a:pt x="117" y="338"/>
                      <a:pt x="119" y="333"/>
                      <a:pt x="127" y="333"/>
                    </a:cubicBezTo>
                    <a:cubicBezTo>
                      <a:pt x="134" y="332"/>
                      <a:pt x="138" y="323"/>
                      <a:pt x="139" y="316"/>
                    </a:cubicBezTo>
                    <a:cubicBezTo>
                      <a:pt x="140" y="308"/>
                      <a:pt x="148" y="313"/>
                      <a:pt x="155" y="314"/>
                    </a:cubicBezTo>
                    <a:cubicBezTo>
                      <a:pt x="161" y="316"/>
                      <a:pt x="158" y="318"/>
                      <a:pt x="159" y="326"/>
                    </a:cubicBezTo>
                    <a:cubicBezTo>
                      <a:pt x="159" y="334"/>
                      <a:pt x="159" y="336"/>
                      <a:pt x="168" y="339"/>
                    </a:cubicBezTo>
                    <a:cubicBezTo>
                      <a:pt x="177" y="343"/>
                      <a:pt x="178" y="342"/>
                      <a:pt x="189" y="330"/>
                    </a:cubicBezTo>
                    <a:cubicBezTo>
                      <a:pt x="199" y="319"/>
                      <a:pt x="187" y="291"/>
                      <a:pt x="193" y="292"/>
                    </a:cubicBezTo>
                    <a:cubicBezTo>
                      <a:pt x="198" y="293"/>
                      <a:pt x="209" y="289"/>
                      <a:pt x="217" y="281"/>
                    </a:cubicBezTo>
                    <a:cubicBezTo>
                      <a:pt x="225" y="273"/>
                      <a:pt x="232" y="272"/>
                      <a:pt x="243" y="263"/>
                    </a:cubicBezTo>
                    <a:cubicBezTo>
                      <a:pt x="253" y="254"/>
                      <a:pt x="278" y="233"/>
                      <a:pt x="284" y="237"/>
                    </a:cubicBezTo>
                    <a:cubicBezTo>
                      <a:pt x="290" y="240"/>
                      <a:pt x="285" y="282"/>
                      <a:pt x="286" y="321"/>
                    </a:cubicBezTo>
                    <a:cubicBezTo>
                      <a:pt x="288" y="361"/>
                      <a:pt x="286" y="379"/>
                      <a:pt x="287" y="396"/>
                    </a:cubicBezTo>
                    <a:cubicBezTo>
                      <a:pt x="289" y="413"/>
                      <a:pt x="278" y="425"/>
                      <a:pt x="278" y="434"/>
                    </a:cubicBezTo>
                    <a:cubicBezTo>
                      <a:pt x="277" y="443"/>
                      <a:pt x="278" y="454"/>
                      <a:pt x="284" y="461"/>
                    </a:cubicBezTo>
                    <a:cubicBezTo>
                      <a:pt x="291" y="468"/>
                      <a:pt x="296" y="458"/>
                      <a:pt x="305" y="449"/>
                    </a:cubicBezTo>
                    <a:cubicBezTo>
                      <a:pt x="314" y="440"/>
                      <a:pt x="315" y="424"/>
                      <a:pt x="319" y="393"/>
                    </a:cubicBezTo>
                    <a:cubicBezTo>
                      <a:pt x="323" y="362"/>
                      <a:pt x="318" y="269"/>
                      <a:pt x="320" y="252"/>
                    </a:cubicBezTo>
                    <a:cubicBezTo>
                      <a:pt x="321" y="236"/>
                      <a:pt x="323" y="232"/>
                      <a:pt x="327" y="227"/>
                    </a:cubicBezTo>
                    <a:cubicBezTo>
                      <a:pt x="332" y="222"/>
                      <a:pt x="332" y="212"/>
                      <a:pt x="340" y="211"/>
                    </a:cubicBezTo>
                    <a:cubicBezTo>
                      <a:pt x="349" y="210"/>
                      <a:pt x="360" y="212"/>
                      <a:pt x="363" y="202"/>
                    </a:cubicBezTo>
                    <a:cubicBezTo>
                      <a:pt x="366" y="192"/>
                      <a:pt x="364" y="182"/>
                      <a:pt x="358" y="177"/>
                    </a:cubicBezTo>
                    <a:cubicBezTo>
                      <a:pt x="352" y="172"/>
                      <a:pt x="326" y="167"/>
                      <a:pt x="324" y="162"/>
                    </a:cubicBezTo>
                    <a:cubicBezTo>
                      <a:pt x="322" y="158"/>
                      <a:pt x="323" y="119"/>
                      <a:pt x="322" y="108"/>
                    </a:cubicBezTo>
                    <a:cubicBezTo>
                      <a:pt x="322" y="96"/>
                      <a:pt x="324" y="98"/>
                      <a:pt x="330" y="85"/>
                    </a:cubicBezTo>
                    <a:cubicBezTo>
                      <a:pt x="336" y="73"/>
                      <a:pt x="333" y="65"/>
                      <a:pt x="334" y="48"/>
                    </a:cubicBezTo>
                    <a:cubicBezTo>
                      <a:pt x="334" y="32"/>
                      <a:pt x="334" y="33"/>
                      <a:pt x="324" y="23"/>
                    </a:cubicBezTo>
                    <a:cubicBezTo>
                      <a:pt x="315" y="14"/>
                      <a:pt x="306" y="6"/>
                      <a:pt x="292" y="3"/>
                    </a:cubicBezTo>
                    <a:cubicBezTo>
                      <a:pt x="278" y="0"/>
                      <a:pt x="274" y="12"/>
                      <a:pt x="275" y="29"/>
                    </a:cubicBezTo>
                    <a:cubicBezTo>
                      <a:pt x="275" y="47"/>
                      <a:pt x="278" y="37"/>
                      <a:pt x="282" y="43"/>
                    </a:cubicBezTo>
                    <a:cubicBezTo>
                      <a:pt x="286" y="49"/>
                      <a:pt x="285" y="62"/>
                      <a:pt x="286" y="69"/>
                    </a:cubicBezTo>
                    <a:cubicBezTo>
                      <a:pt x="287" y="76"/>
                      <a:pt x="283" y="77"/>
                      <a:pt x="274" y="77"/>
                    </a:cubicBezTo>
                    <a:cubicBezTo>
                      <a:pt x="265" y="78"/>
                      <a:pt x="268" y="69"/>
                      <a:pt x="253" y="65"/>
                    </a:cubicBezTo>
                    <a:cubicBezTo>
                      <a:pt x="238" y="60"/>
                      <a:pt x="225" y="74"/>
                      <a:pt x="218" y="72"/>
                    </a:cubicBezTo>
                    <a:cubicBezTo>
                      <a:pt x="212" y="71"/>
                      <a:pt x="215" y="68"/>
                      <a:pt x="212" y="52"/>
                    </a:cubicBezTo>
                    <a:cubicBezTo>
                      <a:pt x="209" y="36"/>
                      <a:pt x="191" y="26"/>
                      <a:pt x="177" y="26"/>
                    </a:cubicBezTo>
                    <a:cubicBezTo>
                      <a:pt x="164" y="26"/>
                      <a:pt x="135" y="52"/>
                      <a:pt x="115" y="68"/>
                    </a:cubicBezTo>
                    <a:cubicBezTo>
                      <a:pt x="96" y="84"/>
                      <a:pt x="55" y="129"/>
                      <a:pt x="47" y="139"/>
                    </a:cubicBezTo>
                    <a:cubicBezTo>
                      <a:pt x="39" y="149"/>
                      <a:pt x="30" y="156"/>
                      <a:pt x="30" y="163"/>
                    </a:cubicBezTo>
                    <a:cubicBezTo>
                      <a:pt x="30" y="170"/>
                      <a:pt x="28" y="170"/>
                      <a:pt x="39" y="172"/>
                    </a:cubicBezTo>
                    <a:cubicBezTo>
                      <a:pt x="49" y="174"/>
                      <a:pt x="64" y="154"/>
                      <a:pt x="96" y="132"/>
                    </a:cubicBezTo>
                    <a:cubicBezTo>
                      <a:pt x="128" y="110"/>
                      <a:pt x="147" y="103"/>
                      <a:pt x="146" y="10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252" name="îš1ïdè"/>
              <p:cNvSpPr/>
              <p:nvPr/>
            </p:nvSpPr>
            <p:spPr bwMode="auto">
              <a:xfrm>
                <a:off x="5180266" y="4845640"/>
                <a:ext cx="635000" cy="660400"/>
              </a:xfrm>
              <a:custGeom>
                <a:avLst/>
                <a:gdLst>
                  <a:gd name="T0" fmla="*/ 5 w 344"/>
                  <a:gd name="T1" fmla="*/ 147 h 358"/>
                  <a:gd name="T2" fmla="*/ 38 w 344"/>
                  <a:gd name="T3" fmla="*/ 142 h 358"/>
                  <a:gd name="T4" fmla="*/ 53 w 344"/>
                  <a:gd name="T5" fmla="*/ 125 h 358"/>
                  <a:gd name="T6" fmla="*/ 43 w 344"/>
                  <a:gd name="T7" fmla="*/ 70 h 358"/>
                  <a:gd name="T8" fmla="*/ 48 w 344"/>
                  <a:gd name="T9" fmla="*/ 43 h 358"/>
                  <a:gd name="T10" fmla="*/ 76 w 344"/>
                  <a:gd name="T11" fmla="*/ 45 h 358"/>
                  <a:gd name="T12" fmla="*/ 122 w 344"/>
                  <a:gd name="T13" fmla="*/ 89 h 358"/>
                  <a:gd name="T14" fmla="*/ 122 w 344"/>
                  <a:gd name="T15" fmla="*/ 185 h 358"/>
                  <a:gd name="T16" fmla="*/ 141 w 344"/>
                  <a:gd name="T17" fmla="*/ 192 h 358"/>
                  <a:gd name="T18" fmla="*/ 231 w 344"/>
                  <a:gd name="T19" fmla="*/ 135 h 358"/>
                  <a:gd name="T20" fmla="*/ 241 w 344"/>
                  <a:gd name="T21" fmla="*/ 87 h 358"/>
                  <a:gd name="T22" fmla="*/ 234 w 344"/>
                  <a:gd name="T23" fmla="*/ 48 h 358"/>
                  <a:gd name="T24" fmla="*/ 263 w 344"/>
                  <a:gd name="T25" fmla="*/ 17 h 358"/>
                  <a:gd name="T26" fmla="*/ 298 w 344"/>
                  <a:gd name="T27" fmla="*/ 76 h 358"/>
                  <a:gd name="T28" fmla="*/ 292 w 344"/>
                  <a:gd name="T29" fmla="*/ 111 h 358"/>
                  <a:gd name="T30" fmla="*/ 317 w 344"/>
                  <a:gd name="T31" fmla="*/ 138 h 358"/>
                  <a:gd name="T32" fmla="*/ 292 w 344"/>
                  <a:gd name="T33" fmla="*/ 181 h 358"/>
                  <a:gd name="T34" fmla="*/ 270 w 344"/>
                  <a:gd name="T35" fmla="*/ 217 h 358"/>
                  <a:gd name="T36" fmla="*/ 276 w 344"/>
                  <a:gd name="T37" fmla="*/ 252 h 358"/>
                  <a:gd name="T38" fmla="*/ 334 w 344"/>
                  <a:gd name="T39" fmla="*/ 270 h 358"/>
                  <a:gd name="T40" fmla="*/ 333 w 344"/>
                  <a:gd name="T41" fmla="*/ 304 h 358"/>
                  <a:gd name="T42" fmla="*/ 226 w 344"/>
                  <a:gd name="T43" fmla="*/ 338 h 358"/>
                  <a:gd name="T44" fmla="*/ 166 w 344"/>
                  <a:gd name="T45" fmla="*/ 352 h 358"/>
                  <a:gd name="T46" fmla="*/ 191 w 344"/>
                  <a:gd name="T47" fmla="*/ 319 h 358"/>
                  <a:gd name="T48" fmla="*/ 228 w 344"/>
                  <a:gd name="T49" fmla="*/ 287 h 358"/>
                  <a:gd name="T50" fmla="*/ 231 w 344"/>
                  <a:gd name="T51" fmla="*/ 223 h 358"/>
                  <a:gd name="T52" fmla="*/ 194 w 344"/>
                  <a:gd name="T53" fmla="*/ 194 h 358"/>
                  <a:gd name="T54" fmla="*/ 152 w 344"/>
                  <a:gd name="T55" fmla="*/ 228 h 358"/>
                  <a:gd name="T56" fmla="*/ 55 w 344"/>
                  <a:gd name="T57" fmla="*/ 337 h 358"/>
                  <a:gd name="T58" fmla="*/ 21 w 344"/>
                  <a:gd name="T59" fmla="*/ 316 h 358"/>
                  <a:gd name="T60" fmla="*/ 30 w 344"/>
                  <a:gd name="T61" fmla="*/ 260 h 358"/>
                  <a:gd name="T62" fmla="*/ 53 w 344"/>
                  <a:gd name="T63" fmla="*/ 228 h 358"/>
                  <a:gd name="T64" fmla="*/ 37 w 344"/>
                  <a:gd name="T65" fmla="*/ 201 h 358"/>
                  <a:gd name="T66" fmla="*/ 1 w 344"/>
                  <a:gd name="T67" fmla="*/ 170 h 358"/>
                  <a:gd name="T68" fmla="*/ 5 w 344"/>
                  <a:gd name="T69" fmla="*/ 147 h 3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344" h="358">
                    <a:moveTo>
                      <a:pt x="5" y="147"/>
                    </a:moveTo>
                    <a:cubicBezTo>
                      <a:pt x="6" y="143"/>
                      <a:pt x="22" y="140"/>
                      <a:pt x="38" y="142"/>
                    </a:cubicBezTo>
                    <a:cubicBezTo>
                      <a:pt x="54" y="144"/>
                      <a:pt x="53" y="137"/>
                      <a:pt x="53" y="125"/>
                    </a:cubicBezTo>
                    <a:cubicBezTo>
                      <a:pt x="53" y="112"/>
                      <a:pt x="60" y="89"/>
                      <a:pt x="43" y="70"/>
                    </a:cubicBezTo>
                    <a:cubicBezTo>
                      <a:pt x="25" y="52"/>
                      <a:pt x="48" y="43"/>
                      <a:pt x="48" y="43"/>
                    </a:cubicBezTo>
                    <a:cubicBezTo>
                      <a:pt x="48" y="43"/>
                      <a:pt x="55" y="32"/>
                      <a:pt x="76" y="45"/>
                    </a:cubicBezTo>
                    <a:cubicBezTo>
                      <a:pt x="97" y="58"/>
                      <a:pt x="115" y="74"/>
                      <a:pt x="122" y="89"/>
                    </a:cubicBezTo>
                    <a:cubicBezTo>
                      <a:pt x="129" y="104"/>
                      <a:pt x="118" y="174"/>
                      <a:pt x="122" y="185"/>
                    </a:cubicBezTo>
                    <a:cubicBezTo>
                      <a:pt x="125" y="195"/>
                      <a:pt x="130" y="200"/>
                      <a:pt x="141" y="192"/>
                    </a:cubicBezTo>
                    <a:cubicBezTo>
                      <a:pt x="153" y="183"/>
                      <a:pt x="214" y="138"/>
                      <a:pt x="231" y="135"/>
                    </a:cubicBezTo>
                    <a:cubicBezTo>
                      <a:pt x="249" y="132"/>
                      <a:pt x="241" y="103"/>
                      <a:pt x="241" y="87"/>
                    </a:cubicBezTo>
                    <a:cubicBezTo>
                      <a:pt x="242" y="70"/>
                      <a:pt x="234" y="59"/>
                      <a:pt x="234" y="48"/>
                    </a:cubicBezTo>
                    <a:cubicBezTo>
                      <a:pt x="234" y="36"/>
                      <a:pt x="247" y="0"/>
                      <a:pt x="263" y="17"/>
                    </a:cubicBezTo>
                    <a:cubicBezTo>
                      <a:pt x="279" y="35"/>
                      <a:pt x="303" y="58"/>
                      <a:pt x="298" y="76"/>
                    </a:cubicBezTo>
                    <a:cubicBezTo>
                      <a:pt x="294" y="95"/>
                      <a:pt x="283" y="92"/>
                      <a:pt x="292" y="111"/>
                    </a:cubicBezTo>
                    <a:cubicBezTo>
                      <a:pt x="301" y="129"/>
                      <a:pt x="320" y="117"/>
                      <a:pt x="317" y="138"/>
                    </a:cubicBezTo>
                    <a:cubicBezTo>
                      <a:pt x="315" y="160"/>
                      <a:pt x="321" y="149"/>
                      <a:pt x="292" y="181"/>
                    </a:cubicBezTo>
                    <a:cubicBezTo>
                      <a:pt x="268" y="209"/>
                      <a:pt x="270" y="208"/>
                      <a:pt x="270" y="217"/>
                    </a:cubicBezTo>
                    <a:cubicBezTo>
                      <a:pt x="270" y="226"/>
                      <a:pt x="266" y="249"/>
                      <a:pt x="276" y="252"/>
                    </a:cubicBezTo>
                    <a:cubicBezTo>
                      <a:pt x="287" y="254"/>
                      <a:pt x="325" y="250"/>
                      <a:pt x="334" y="270"/>
                    </a:cubicBezTo>
                    <a:cubicBezTo>
                      <a:pt x="344" y="290"/>
                      <a:pt x="344" y="295"/>
                      <a:pt x="333" y="304"/>
                    </a:cubicBezTo>
                    <a:cubicBezTo>
                      <a:pt x="321" y="312"/>
                      <a:pt x="288" y="320"/>
                      <a:pt x="226" y="338"/>
                    </a:cubicBezTo>
                    <a:cubicBezTo>
                      <a:pt x="180" y="351"/>
                      <a:pt x="168" y="358"/>
                      <a:pt x="166" y="352"/>
                    </a:cubicBezTo>
                    <a:cubicBezTo>
                      <a:pt x="164" y="346"/>
                      <a:pt x="175" y="331"/>
                      <a:pt x="191" y="319"/>
                    </a:cubicBezTo>
                    <a:cubicBezTo>
                      <a:pt x="207" y="307"/>
                      <a:pt x="224" y="304"/>
                      <a:pt x="228" y="287"/>
                    </a:cubicBezTo>
                    <a:cubicBezTo>
                      <a:pt x="232" y="270"/>
                      <a:pt x="235" y="234"/>
                      <a:pt x="231" y="223"/>
                    </a:cubicBezTo>
                    <a:cubicBezTo>
                      <a:pt x="227" y="212"/>
                      <a:pt x="213" y="188"/>
                      <a:pt x="194" y="194"/>
                    </a:cubicBezTo>
                    <a:cubicBezTo>
                      <a:pt x="176" y="200"/>
                      <a:pt x="166" y="210"/>
                      <a:pt x="152" y="228"/>
                    </a:cubicBezTo>
                    <a:cubicBezTo>
                      <a:pt x="138" y="247"/>
                      <a:pt x="66" y="336"/>
                      <a:pt x="55" y="337"/>
                    </a:cubicBezTo>
                    <a:cubicBezTo>
                      <a:pt x="45" y="338"/>
                      <a:pt x="22" y="340"/>
                      <a:pt x="21" y="316"/>
                    </a:cubicBezTo>
                    <a:cubicBezTo>
                      <a:pt x="20" y="292"/>
                      <a:pt x="16" y="285"/>
                      <a:pt x="30" y="260"/>
                    </a:cubicBezTo>
                    <a:cubicBezTo>
                      <a:pt x="44" y="234"/>
                      <a:pt x="53" y="241"/>
                      <a:pt x="53" y="228"/>
                    </a:cubicBezTo>
                    <a:cubicBezTo>
                      <a:pt x="53" y="216"/>
                      <a:pt x="47" y="207"/>
                      <a:pt x="37" y="201"/>
                    </a:cubicBezTo>
                    <a:cubicBezTo>
                      <a:pt x="27" y="195"/>
                      <a:pt x="2" y="182"/>
                      <a:pt x="1" y="170"/>
                    </a:cubicBezTo>
                    <a:cubicBezTo>
                      <a:pt x="0" y="157"/>
                      <a:pt x="4" y="150"/>
                      <a:pt x="5" y="14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253" name="ï$líḋé"/>
              <p:cNvSpPr/>
              <p:nvPr/>
            </p:nvSpPr>
            <p:spPr bwMode="auto">
              <a:xfrm>
                <a:off x="5596191" y="5675903"/>
                <a:ext cx="25400" cy="30163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254" name="işḷíḓè"/>
              <p:cNvSpPr/>
              <p:nvPr/>
            </p:nvSpPr>
            <p:spPr bwMode="auto">
              <a:xfrm>
                <a:off x="5596191" y="5733053"/>
                <a:ext cx="25400" cy="149225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255" name="ïSḷîḋé"/>
              <p:cNvSpPr/>
              <p:nvPr/>
            </p:nvSpPr>
            <p:spPr bwMode="auto">
              <a:xfrm>
                <a:off x="5645403" y="5733053"/>
                <a:ext cx="136525" cy="149225"/>
              </a:xfrm>
              <a:custGeom>
                <a:avLst/>
                <a:gdLst>
                  <a:gd name="T0" fmla="*/ 42 w 74"/>
                  <a:gd name="T1" fmla="*/ 50 h 81"/>
                  <a:gd name="T2" fmla="*/ 37 w 74"/>
                  <a:gd name="T3" fmla="*/ 65 h 81"/>
                  <a:gd name="T4" fmla="*/ 32 w 74"/>
                  <a:gd name="T5" fmla="*/ 49 h 81"/>
                  <a:gd name="T6" fmla="*/ 14 w 74"/>
                  <a:gd name="T7" fmla="*/ 0 h 81"/>
                  <a:gd name="T8" fmla="*/ 0 w 74"/>
                  <a:gd name="T9" fmla="*/ 0 h 81"/>
                  <a:gd name="T10" fmla="*/ 31 w 74"/>
                  <a:gd name="T11" fmla="*/ 81 h 81"/>
                  <a:gd name="T12" fmla="*/ 44 w 74"/>
                  <a:gd name="T13" fmla="*/ 81 h 81"/>
                  <a:gd name="T14" fmla="*/ 74 w 74"/>
                  <a:gd name="T15" fmla="*/ 0 h 81"/>
                  <a:gd name="T16" fmla="*/ 60 w 74"/>
                  <a:gd name="T17" fmla="*/ 0 h 81"/>
                  <a:gd name="T18" fmla="*/ 42 w 74"/>
                  <a:gd name="T19" fmla="*/ 50 h 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74" h="81">
                    <a:moveTo>
                      <a:pt x="42" y="50"/>
                    </a:moveTo>
                    <a:cubicBezTo>
                      <a:pt x="40" y="56"/>
                      <a:pt x="38" y="61"/>
                      <a:pt x="37" y="65"/>
                    </a:cubicBezTo>
                    <a:cubicBezTo>
                      <a:pt x="35" y="59"/>
                      <a:pt x="34" y="54"/>
                      <a:pt x="32" y="49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31" y="81"/>
                      <a:pt x="31" y="81"/>
                      <a:pt x="31" y="81"/>
                    </a:cubicBezTo>
                    <a:cubicBezTo>
                      <a:pt x="44" y="81"/>
                      <a:pt x="44" y="81"/>
                      <a:pt x="44" y="81"/>
                    </a:cubicBezTo>
                    <a:cubicBezTo>
                      <a:pt x="74" y="0"/>
                      <a:pt x="74" y="0"/>
                      <a:pt x="74" y="0"/>
                    </a:cubicBezTo>
                    <a:cubicBezTo>
                      <a:pt x="60" y="0"/>
                      <a:pt x="60" y="0"/>
                      <a:pt x="60" y="0"/>
                    </a:cubicBezTo>
                    <a:lnTo>
                      <a:pt x="42" y="5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256" name="išḷiḓé"/>
              <p:cNvSpPr/>
              <p:nvPr/>
            </p:nvSpPr>
            <p:spPr bwMode="auto">
              <a:xfrm>
                <a:off x="5796216" y="5729878"/>
                <a:ext cx="138113" cy="157163"/>
              </a:xfrm>
              <a:custGeom>
                <a:avLst/>
                <a:gdLst>
                  <a:gd name="T0" fmla="*/ 38 w 75"/>
                  <a:gd name="T1" fmla="*/ 0 h 85"/>
                  <a:gd name="T2" fmla="*/ 10 w 75"/>
                  <a:gd name="T3" fmla="*/ 12 h 85"/>
                  <a:gd name="T4" fmla="*/ 0 w 75"/>
                  <a:gd name="T5" fmla="*/ 43 h 85"/>
                  <a:gd name="T6" fmla="*/ 10 w 75"/>
                  <a:gd name="T7" fmla="*/ 74 h 85"/>
                  <a:gd name="T8" fmla="*/ 39 w 75"/>
                  <a:gd name="T9" fmla="*/ 85 h 85"/>
                  <a:gd name="T10" fmla="*/ 62 w 75"/>
                  <a:gd name="T11" fmla="*/ 78 h 85"/>
                  <a:gd name="T12" fmla="*/ 74 w 75"/>
                  <a:gd name="T13" fmla="*/ 59 h 85"/>
                  <a:gd name="T14" fmla="*/ 60 w 75"/>
                  <a:gd name="T15" fmla="*/ 57 h 85"/>
                  <a:gd name="T16" fmla="*/ 52 w 75"/>
                  <a:gd name="T17" fmla="*/ 70 h 85"/>
                  <a:gd name="T18" fmla="*/ 39 w 75"/>
                  <a:gd name="T19" fmla="*/ 74 h 85"/>
                  <a:gd name="T20" fmla="*/ 22 w 75"/>
                  <a:gd name="T21" fmla="*/ 67 h 85"/>
                  <a:gd name="T22" fmla="*/ 14 w 75"/>
                  <a:gd name="T23" fmla="*/ 46 h 85"/>
                  <a:gd name="T24" fmla="*/ 75 w 75"/>
                  <a:gd name="T25" fmla="*/ 46 h 85"/>
                  <a:gd name="T26" fmla="*/ 75 w 75"/>
                  <a:gd name="T27" fmla="*/ 43 h 85"/>
                  <a:gd name="T28" fmla="*/ 64 w 75"/>
                  <a:gd name="T29" fmla="*/ 11 h 85"/>
                  <a:gd name="T30" fmla="*/ 38 w 75"/>
                  <a:gd name="T31" fmla="*/ 0 h 85"/>
                  <a:gd name="T32" fmla="*/ 15 w 75"/>
                  <a:gd name="T33" fmla="*/ 35 h 85"/>
                  <a:gd name="T34" fmla="*/ 22 w 75"/>
                  <a:gd name="T35" fmla="*/ 18 h 85"/>
                  <a:gd name="T36" fmla="*/ 38 w 75"/>
                  <a:gd name="T37" fmla="*/ 12 h 85"/>
                  <a:gd name="T38" fmla="*/ 55 w 75"/>
                  <a:gd name="T39" fmla="*/ 20 h 85"/>
                  <a:gd name="T40" fmla="*/ 60 w 75"/>
                  <a:gd name="T41" fmla="*/ 35 h 85"/>
                  <a:gd name="T42" fmla="*/ 15 w 75"/>
                  <a:gd name="T43" fmla="*/ 35 h 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75" h="85">
                    <a:moveTo>
                      <a:pt x="38" y="0"/>
                    </a:moveTo>
                    <a:cubicBezTo>
                      <a:pt x="27" y="0"/>
                      <a:pt x="17" y="4"/>
                      <a:pt x="10" y="12"/>
                    </a:cubicBezTo>
                    <a:cubicBezTo>
                      <a:pt x="3" y="19"/>
                      <a:pt x="0" y="30"/>
                      <a:pt x="0" y="43"/>
                    </a:cubicBezTo>
                    <a:cubicBezTo>
                      <a:pt x="0" y="57"/>
                      <a:pt x="3" y="67"/>
                      <a:pt x="10" y="74"/>
                    </a:cubicBezTo>
                    <a:cubicBezTo>
                      <a:pt x="17" y="81"/>
                      <a:pt x="27" y="85"/>
                      <a:pt x="39" y="85"/>
                    </a:cubicBezTo>
                    <a:cubicBezTo>
                      <a:pt x="48" y="85"/>
                      <a:pt x="56" y="83"/>
                      <a:pt x="62" y="78"/>
                    </a:cubicBezTo>
                    <a:cubicBezTo>
                      <a:pt x="68" y="74"/>
                      <a:pt x="72" y="67"/>
                      <a:pt x="74" y="59"/>
                    </a:cubicBezTo>
                    <a:cubicBezTo>
                      <a:pt x="60" y="57"/>
                      <a:pt x="60" y="57"/>
                      <a:pt x="60" y="57"/>
                    </a:cubicBezTo>
                    <a:cubicBezTo>
                      <a:pt x="58" y="63"/>
                      <a:pt x="55" y="67"/>
                      <a:pt x="52" y="70"/>
                    </a:cubicBezTo>
                    <a:cubicBezTo>
                      <a:pt x="48" y="73"/>
                      <a:pt x="44" y="74"/>
                      <a:pt x="39" y="74"/>
                    </a:cubicBezTo>
                    <a:cubicBezTo>
                      <a:pt x="32" y="74"/>
                      <a:pt x="26" y="71"/>
                      <a:pt x="22" y="67"/>
                    </a:cubicBezTo>
                    <a:cubicBezTo>
                      <a:pt x="17" y="62"/>
                      <a:pt x="15" y="55"/>
                      <a:pt x="14" y="46"/>
                    </a:cubicBezTo>
                    <a:cubicBezTo>
                      <a:pt x="75" y="46"/>
                      <a:pt x="75" y="46"/>
                      <a:pt x="75" y="46"/>
                    </a:cubicBezTo>
                    <a:cubicBezTo>
                      <a:pt x="75" y="45"/>
                      <a:pt x="75" y="43"/>
                      <a:pt x="75" y="43"/>
                    </a:cubicBezTo>
                    <a:cubicBezTo>
                      <a:pt x="75" y="29"/>
                      <a:pt x="71" y="19"/>
                      <a:pt x="64" y="11"/>
                    </a:cubicBezTo>
                    <a:cubicBezTo>
                      <a:pt x="58" y="4"/>
                      <a:pt x="49" y="0"/>
                      <a:pt x="38" y="0"/>
                    </a:cubicBezTo>
                    <a:close/>
                    <a:moveTo>
                      <a:pt x="15" y="35"/>
                    </a:moveTo>
                    <a:cubicBezTo>
                      <a:pt x="15" y="28"/>
                      <a:pt x="18" y="22"/>
                      <a:pt x="22" y="18"/>
                    </a:cubicBezTo>
                    <a:cubicBezTo>
                      <a:pt x="26" y="14"/>
                      <a:pt x="32" y="12"/>
                      <a:pt x="38" y="12"/>
                    </a:cubicBezTo>
                    <a:cubicBezTo>
                      <a:pt x="45" y="12"/>
                      <a:pt x="51" y="14"/>
                      <a:pt x="55" y="20"/>
                    </a:cubicBezTo>
                    <a:cubicBezTo>
                      <a:pt x="58" y="23"/>
                      <a:pt x="60" y="28"/>
                      <a:pt x="60" y="35"/>
                    </a:cubicBezTo>
                    <a:lnTo>
                      <a:pt x="15" y="3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257" name="iṩľidè"/>
              <p:cNvSpPr/>
              <p:nvPr/>
            </p:nvSpPr>
            <p:spPr bwMode="auto">
              <a:xfrm>
                <a:off x="5964491" y="5729878"/>
                <a:ext cx="82550" cy="152400"/>
              </a:xfrm>
              <a:custGeom>
                <a:avLst/>
                <a:gdLst>
                  <a:gd name="T0" fmla="*/ 22 w 45"/>
                  <a:gd name="T1" fmla="*/ 3 h 83"/>
                  <a:gd name="T2" fmla="*/ 13 w 45"/>
                  <a:gd name="T3" fmla="*/ 14 h 83"/>
                  <a:gd name="T4" fmla="*/ 13 w 45"/>
                  <a:gd name="T5" fmla="*/ 2 h 83"/>
                  <a:gd name="T6" fmla="*/ 0 w 45"/>
                  <a:gd name="T7" fmla="*/ 2 h 83"/>
                  <a:gd name="T8" fmla="*/ 0 w 45"/>
                  <a:gd name="T9" fmla="*/ 83 h 83"/>
                  <a:gd name="T10" fmla="*/ 14 w 45"/>
                  <a:gd name="T11" fmla="*/ 83 h 83"/>
                  <a:gd name="T12" fmla="*/ 14 w 45"/>
                  <a:gd name="T13" fmla="*/ 41 h 83"/>
                  <a:gd name="T14" fmla="*/ 17 w 45"/>
                  <a:gd name="T15" fmla="*/ 25 h 83"/>
                  <a:gd name="T16" fmla="*/ 22 w 45"/>
                  <a:gd name="T17" fmla="*/ 17 h 83"/>
                  <a:gd name="T18" fmla="*/ 30 w 45"/>
                  <a:gd name="T19" fmla="*/ 14 h 83"/>
                  <a:gd name="T20" fmla="*/ 40 w 45"/>
                  <a:gd name="T21" fmla="*/ 17 h 83"/>
                  <a:gd name="T22" fmla="*/ 45 w 45"/>
                  <a:gd name="T23" fmla="*/ 5 h 83"/>
                  <a:gd name="T24" fmla="*/ 30 w 45"/>
                  <a:gd name="T25" fmla="*/ 0 h 83"/>
                  <a:gd name="T26" fmla="*/ 22 w 45"/>
                  <a:gd name="T27" fmla="*/ 3 h 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45" h="83">
                    <a:moveTo>
                      <a:pt x="22" y="3"/>
                    </a:moveTo>
                    <a:cubicBezTo>
                      <a:pt x="19" y="5"/>
                      <a:pt x="16" y="9"/>
                      <a:pt x="13" y="14"/>
                    </a:cubicBezTo>
                    <a:cubicBezTo>
                      <a:pt x="13" y="2"/>
                      <a:pt x="13" y="2"/>
                      <a:pt x="13" y="2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83"/>
                      <a:pt x="0" y="83"/>
                      <a:pt x="0" y="83"/>
                    </a:cubicBezTo>
                    <a:cubicBezTo>
                      <a:pt x="14" y="83"/>
                      <a:pt x="14" y="83"/>
                      <a:pt x="14" y="83"/>
                    </a:cubicBezTo>
                    <a:cubicBezTo>
                      <a:pt x="14" y="41"/>
                      <a:pt x="14" y="41"/>
                      <a:pt x="14" y="41"/>
                    </a:cubicBezTo>
                    <a:cubicBezTo>
                      <a:pt x="14" y="35"/>
                      <a:pt x="15" y="30"/>
                      <a:pt x="17" y="25"/>
                    </a:cubicBezTo>
                    <a:cubicBezTo>
                      <a:pt x="18" y="21"/>
                      <a:pt x="19" y="19"/>
                      <a:pt x="22" y="17"/>
                    </a:cubicBezTo>
                    <a:cubicBezTo>
                      <a:pt x="24" y="15"/>
                      <a:pt x="27" y="14"/>
                      <a:pt x="30" y="14"/>
                    </a:cubicBezTo>
                    <a:cubicBezTo>
                      <a:pt x="33" y="14"/>
                      <a:pt x="37" y="15"/>
                      <a:pt x="40" y="17"/>
                    </a:cubicBezTo>
                    <a:cubicBezTo>
                      <a:pt x="45" y="5"/>
                      <a:pt x="45" y="5"/>
                      <a:pt x="45" y="5"/>
                    </a:cubicBezTo>
                    <a:cubicBezTo>
                      <a:pt x="40" y="2"/>
                      <a:pt x="35" y="0"/>
                      <a:pt x="30" y="0"/>
                    </a:cubicBezTo>
                    <a:cubicBezTo>
                      <a:pt x="27" y="0"/>
                      <a:pt x="24" y="1"/>
                      <a:pt x="22" y="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258" name="îṡļiḑe"/>
              <p:cNvSpPr/>
              <p:nvPr/>
            </p:nvSpPr>
            <p:spPr bwMode="auto">
              <a:xfrm>
                <a:off x="6050216" y="5729878"/>
                <a:ext cx="125413" cy="157163"/>
              </a:xfrm>
              <a:custGeom>
                <a:avLst/>
                <a:gdLst>
                  <a:gd name="T0" fmla="*/ 55 w 68"/>
                  <a:gd name="T1" fmla="*/ 40 h 85"/>
                  <a:gd name="T2" fmla="*/ 35 w 68"/>
                  <a:gd name="T3" fmla="*/ 34 h 85"/>
                  <a:gd name="T4" fmla="*/ 23 w 68"/>
                  <a:gd name="T5" fmla="*/ 31 h 85"/>
                  <a:gd name="T6" fmla="*/ 18 w 68"/>
                  <a:gd name="T7" fmla="*/ 27 h 85"/>
                  <a:gd name="T8" fmla="*/ 16 w 68"/>
                  <a:gd name="T9" fmla="*/ 22 h 85"/>
                  <a:gd name="T10" fmla="*/ 20 w 68"/>
                  <a:gd name="T11" fmla="*/ 15 h 85"/>
                  <a:gd name="T12" fmla="*/ 34 w 68"/>
                  <a:gd name="T13" fmla="*/ 12 h 85"/>
                  <a:gd name="T14" fmla="*/ 46 w 68"/>
                  <a:gd name="T15" fmla="*/ 15 h 85"/>
                  <a:gd name="T16" fmla="*/ 51 w 68"/>
                  <a:gd name="T17" fmla="*/ 25 h 85"/>
                  <a:gd name="T18" fmla="*/ 65 w 68"/>
                  <a:gd name="T19" fmla="*/ 23 h 85"/>
                  <a:gd name="T20" fmla="*/ 60 w 68"/>
                  <a:gd name="T21" fmla="*/ 10 h 85"/>
                  <a:gd name="T22" fmla="*/ 49 w 68"/>
                  <a:gd name="T23" fmla="*/ 3 h 85"/>
                  <a:gd name="T24" fmla="*/ 33 w 68"/>
                  <a:gd name="T25" fmla="*/ 0 h 85"/>
                  <a:gd name="T26" fmla="*/ 21 w 68"/>
                  <a:gd name="T27" fmla="*/ 2 h 85"/>
                  <a:gd name="T28" fmla="*/ 12 w 68"/>
                  <a:gd name="T29" fmla="*/ 6 h 85"/>
                  <a:gd name="T30" fmla="*/ 5 w 68"/>
                  <a:gd name="T31" fmla="*/ 14 h 85"/>
                  <a:gd name="T32" fmla="*/ 3 w 68"/>
                  <a:gd name="T33" fmla="*/ 24 h 85"/>
                  <a:gd name="T34" fmla="*/ 6 w 68"/>
                  <a:gd name="T35" fmla="*/ 35 h 85"/>
                  <a:gd name="T36" fmla="*/ 15 w 68"/>
                  <a:gd name="T37" fmla="*/ 42 h 85"/>
                  <a:gd name="T38" fmla="*/ 36 w 68"/>
                  <a:gd name="T39" fmla="*/ 49 h 85"/>
                  <a:gd name="T40" fmla="*/ 50 w 68"/>
                  <a:gd name="T41" fmla="*/ 54 h 85"/>
                  <a:gd name="T42" fmla="*/ 54 w 68"/>
                  <a:gd name="T43" fmla="*/ 61 h 85"/>
                  <a:gd name="T44" fmla="*/ 49 w 68"/>
                  <a:gd name="T45" fmla="*/ 70 h 85"/>
                  <a:gd name="T46" fmla="*/ 35 w 68"/>
                  <a:gd name="T47" fmla="*/ 74 h 85"/>
                  <a:gd name="T48" fmla="*/ 20 w 68"/>
                  <a:gd name="T49" fmla="*/ 69 h 85"/>
                  <a:gd name="T50" fmla="*/ 14 w 68"/>
                  <a:gd name="T51" fmla="*/ 57 h 85"/>
                  <a:gd name="T52" fmla="*/ 0 w 68"/>
                  <a:gd name="T53" fmla="*/ 59 h 85"/>
                  <a:gd name="T54" fmla="*/ 11 w 68"/>
                  <a:gd name="T55" fmla="*/ 79 h 85"/>
                  <a:gd name="T56" fmla="*/ 35 w 68"/>
                  <a:gd name="T57" fmla="*/ 85 h 85"/>
                  <a:gd name="T58" fmla="*/ 52 w 68"/>
                  <a:gd name="T59" fmla="*/ 82 h 85"/>
                  <a:gd name="T60" fmla="*/ 64 w 68"/>
                  <a:gd name="T61" fmla="*/ 72 h 85"/>
                  <a:gd name="T62" fmla="*/ 68 w 68"/>
                  <a:gd name="T63" fmla="*/ 59 h 85"/>
                  <a:gd name="T64" fmla="*/ 65 w 68"/>
                  <a:gd name="T65" fmla="*/ 48 h 85"/>
                  <a:gd name="T66" fmla="*/ 55 w 68"/>
                  <a:gd name="T67" fmla="*/ 40 h 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68" h="85">
                    <a:moveTo>
                      <a:pt x="55" y="40"/>
                    </a:moveTo>
                    <a:cubicBezTo>
                      <a:pt x="52" y="39"/>
                      <a:pt x="45" y="37"/>
                      <a:pt x="35" y="34"/>
                    </a:cubicBezTo>
                    <a:cubicBezTo>
                      <a:pt x="28" y="32"/>
                      <a:pt x="24" y="31"/>
                      <a:pt x="23" y="31"/>
                    </a:cubicBezTo>
                    <a:cubicBezTo>
                      <a:pt x="20" y="30"/>
                      <a:pt x="19" y="28"/>
                      <a:pt x="18" y="27"/>
                    </a:cubicBezTo>
                    <a:cubicBezTo>
                      <a:pt x="16" y="25"/>
                      <a:pt x="16" y="24"/>
                      <a:pt x="16" y="22"/>
                    </a:cubicBezTo>
                    <a:cubicBezTo>
                      <a:pt x="16" y="19"/>
                      <a:pt x="17" y="17"/>
                      <a:pt x="20" y="15"/>
                    </a:cubicBezTo>
                    <a:cubicBezTo>
                      <a:pt x="23" y="13"/>
                      <a:pt x="27" y="12"/>
                      <a:pt x="34" y="12"/>
                    </a:cubicBezTo>
                    <a:cubicBezTo>
                      <a:pt x="39" y="12"/>
                      <a:pt x="43" y="13"/>
                      <a:pt x="46" y="15"/>
                    </a:cubicBezTo>
                    <a:cubicBezTo>
                      <a:pt x="49" y="17"/>
                      <a:pt x="51" y="21"/>
                      <a:pt x="51" y="25"/>
                    </a:cubicBezTo>
                    <a:cubicBezTo>
                      <a:pt x="65" y="23"/>
                      <a:pt x="65" y="23"/>
                      <a:pt x="65" y="23"/>
                    </a:cubicBezTo>
                    <a:cubicBezTo>
                      <a:pt x="64" y="18"/>
                      <a:pt x="62" y="14"/>
                      <a:pt x="60" y="10"/>
                    </a:cubicBezTo>
                    <a:cubicBezTo>
                      <a:pt x="58" y="7"/>
                      <a:pt x="54" y="5"/>
                      <a:pt x="49" y="3"/>
                    </a:cubicBezTo>
                    <a:cubicBezTo>
                      <a:pt x="44" y="1"/>
                      <a:pt x="39" y="0"/>
                      <a:pt x="33" y="0"/>
                    </a:cubicBezTo>
                    <a:cubicBezTo>
                      <a:pt x="28" y="0"/>
                      <a:pt x="24" y="1"/>
                      <a:pt x="21" y="2"/>
                    </a:cubicBezTo>
                    <a:cubicBezTo>
                      <a:pt x="17" y="3"/>
                      <a:pt x="14" y="4"/>
                      <a:pt x="12" y="6"/>
                    </a:cubicBezTo>
                    <a:cubicBezTo>
                      <a:pt x="9" y="8"/>
                      <a:pt x="7" y="10"/>
                      <a:pt x="5" y="14"/>
                    </a:cubicBezTo>
                    <a:cubicBezTo>
                      <a:pt x="3" y="17"/>
                      <a:pt x="3" y="20"/>
                      <a:pt x="3" y="24"/>
                    </a:cubicBezTo>
                    <a:cubicBezTo>
                      <a:pt x="3" y="28"/>
                      <a:pt x="4" y="31"/>
                      <a:pt x="6" y="35"/>
                    </a:cubicBezTo>
                    <a:cubicBezTo>
                      <a:pt x="8" y="38"/>
                      <a:pt x="11" y="40"/>
                      <a:pt x="15" y="42"/>
                    </a:cubicBezTo>
                    <a:cubicBezTo>
                      <a:pt x="18" y="44"/>
                      <a:pt x="25" y="46"/>
                      <a:pt x="36" y="49"/>
                    </a:cubicBezTo>
                    <a:cubicBezTo>
                      <a:pt x="43" y="51"/>
                      <a:pt x="48" y="52"/>
                      <a:pt x="50" y="54"/>
                    </a:cubicBezTo>
                    <a:cubicBezTo>
                      <a:pt x="52" y="55"/>
                      <a:pt x="54" y="58"/>
                      <a:pt x="54" y="61"/>
                    </a:cubicBezTo>
                    <a:cubicBezTo>
                      <a:pt x="54" y="64"/>
                      <a:pt x="52" y="67"/>
                      <a:pt x="49" y="70"/>
                    </a:cubicBezTo>
                    <a:cubicBezTo>
                      <a:pt x="46" y="73"/>
                      <a:pt x="41" y="74"/>
                      <a:pt x="35" y="74"/>
                    </a:cubicBezTo>
                    <a:cubicBezTo>
                      <a:pt x="29" y="74"/>
                      <a:pt x="24" y="72"/>
                      <a:pt x="20" y="69"/>
                    </a:cubicBezTo>
                    <a:cubicBezTo>
                      <a:pt x="17" y="67"/>
                      <a:pt x="15" y="62"/>
                      <a:pt x="14" y="57"/>
                    </a:cubicBezTo>
                    <a:cubicBezTo>
                      <a:pt x="0" y="59"/>
                      <a:pt x="0" y="59"/>
                      <a:pt x="0" y="59"/>
                    </a:cubicBezTo>
                    <a:cubicBezTo>
                      <a:pt x="2" y="68"/>
                      <a:pt x="5" y="74"/>
                      <a:pt x="11" y="79"/>
                    </a:cubicBezTo>
                    <a:cubicBezTo>
                      <a:pt x="16" y="83"/>
                      <a:pt x="24" y="85"/>
                      <a:pt x="35" y="85"/>
                    </a:cubicBezTo>
                    <a:cubicBezTo>
                      <a:pt x="41" y="85"/>
                      <a:pt x="47" y="84"/>
                      <a:pt x="52" y="82"/>
                    </a:cubicBezTo>
                    <a:cubicBezTo>
                      <a:pt x="57" y="80"/>
                      <a:pt x="61" y="76"/>
                      <a:pt x="64" y="72"/>
                    </a:cubicBezTo>
                    <a:cubicBezTo>
                      <a:pt x="66" y="68"/>
                      <a:pt x="68" y="64"/>
                      <a:pt x="68" y="59"/>
                    </a:cubicBezTo>
                    <a:cubicBezTo>
                      <a:pt x="68" y="55"/>
                      <a:pt x="67" y="51"/>
                      <a:pt x="65" y="48"/>
                    </a:cubicBezTo>
                    <a:cubicBezTo>
                      <a:pt x="62" y="45"/>
                      <a:pt x="59" y="42"/>
                      <a:pt x="55" y="4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259" name="ïśļíḓe"/>
              <p:cNvSpPr/>
              <p:nvPr/>
            </p:nvSpPr>
            <p:spPr bwMode="auto">
              <a:xfrm>
                <a:off x="6205791" y="5675903"/>
                <a:ext cx="25400" cy="30163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260" name="îṡľîdè"/>
              <p:cNvSpPr/>
              <p:nvPr/>
            </p:nvSpPr>
            <p:spPr bwMode="auto">
              <a:xfrm>
                <a:off x="6205791" y="5733053"/>
                <a:ext cx="25400" cy="149225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261" name="îś1iḋê"/>
              <p:cNvSpPr/>
              <p:nvPr/>
            </p:nvSpPr>
            <p:spPr bwMode="auto">
              <a:xfrm>
                <a:off x="6255003" y="5680665"/>
                <a:ext cx="74613" cy="203200"/>
              </a:xfrm>
              <a:custGeom>
                <a:avLst/>
                <a:gdLst>
                  <a:gd name="T0" fmla="*/ 32 w 40"/>
                  <a:gd name="T1" fmla="*/ 98 h 110"/>
                  <a:gd name="T2" fmla="*/ 27 w 40"/>
                  <a:gd name="T3" fmla="*/ 97 h 110"/>
                  <a:gd name="T4" fmla="*/ 25 w 40"/>
                  <a:gd name="T5" fmla="*/ 94 h 110"/>
                  <a:gd name="T6" fmla="*/ 24 w 40"/>
                  <a:gd name="T7" fmla="*/ 86 h 110"/>
                  <a:gd name="T8" fmla="*/ 24 w 40"/>
                  <a:gd name="T9" fmla="*/ 39 h 110"/>
                  <a:gd name="T10" fmla="*/ 38 w 40"/>
                  <a:gd name="T11" fmla="*/ 39 h 110"/>
                  <a:gd name="T12" fmla="*/ 38 w 40"/>
                  <a:gd name="T13" fmla="*/ 28 h 110"/>
                  <a:gd name="T14" fmla="*/ 24 w 40"/>
                  <a:gd name="T15" fmla="*/ 28 h 110"/>
                  <a:gd name="T16" fmla="*/ 24 w 40"/>
                  <a:gd name="T17" fmla="*/ 0 h 110"/>
                  <a:gd name="T18" fmla="*/ 11 w 40"/>
                  <a:gd name="T19" fmla="*/ 8 h 110"/>
                  <a:gd name="T20" fmla="*/ 11 w 40"/>
                  <a:gd name="T21" fmla="*/ 28 h 110"/>
                  <a:gd name="T22" fmla="*/ 0 w 40"/>
                  <a:gd name="T23" fmla="*/ 28 h 110"/>
                  <a:gd name="T24" fmla="*/ 0 w 40"/>
                  <a:gd name="T25" fmla="*/ 39 h 110"/>
                  <a:gd name="T26" fmla="*/ 11 w 40"/>
                  <a:gd name="T27" fmla="*/ 39 h 110"/>
                  <a:gd name="T28" fmla="*/ 11 w 40"/>
                  <a:gd name="T29" fmla="*/ 86 h 110"/>
                  <a:gd name="T30" fmla="*/ 12 w 40"/>
                  <a:gd name="T31" fmla="*/ 102 h 110"/>
                  <a:gd name="T32" fmla="*/ 18 w 40"/>
                  <a:gd name="T33" fmla="*/ 108 h 110"/>
                  <a:gd name="T34" fmla="*/ 30 w 40"/>
                  <a:gd name="T35" fmla="*/ 110 h 110"/>
                  <a:gd name="T36" fmla="*/ 40 w 40"/>
                  <a:gd name="T37" fmla="*/ 109 h 110"/>
                  <a:gd name="T38" fmla="*/ 38 w 40"/>
                  <a:gd name="T39" fmla="*/ 97 h 110"/>
                  <a:gd name="T40" fmla="*/ 32 w 40"/>
                  <a:gd name="T41" fmla="*/ 98 h 1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40" h="110">
                    <a:moveTo>
                      <a:pt x="32" y="98"/>
                    </a:moveTo>
                    <a:cubicBezTo>
                      <a:pt x="30" y="98"/>
                      <a:pt x="28" y="97"/>
                      <a:pt x="27" y="97"/>
                    </a:cubicBezTo>
                    <a:cubicBezTo>
                      <a:pt x="26" y="96"/>
                      <a:pt x="25" y="95"/>
                      <a:pt x="25" y="94"/>
                    </a:cubicBezTo>
                    <a:cubicBezTo>
                      <a:pt x="24" y="93"/>
                      <a:pt x="24" y="90"/>
                      <a:pt x="24" y="86"/>
                    </a:cubicBezTo>
                    <a:cubicBezTo>
                      <a:pt x="24" y="39"/>
                      <a:pt x="24" y="39"/>
                      <a:pt x="24" y="39"/>
                    </a:cubicBezTo>
                    <a:cubicBezTo>
                      <a:pt x="38" y="39"/>
                      <a:pt x="38" y="39"/>
                      <a:pt x="38" y="39"/>
                    </a:cubicBezTo>
                    <a:cubicBezTo>
                      <a:pt x="38" y="28"/>
                      <a:pt x="38" y="28"/>
                      <a:pt x="38" y="28"/>
                    </a:cubicBezTo>
                    <a:cubicBezTo>
                      <a:pt x="24" y="28"/>
                      <a:pt x="24" y="28"/>
                      <a:pt x="24" y="28"/>
                    </a:cubicBezTo>
                    <a:cubicBezTo>
                      <a:pt x="24" y="0"/>
                      <a:pt x="24" y="0"/>
                      <a:pt x="24" y="0"/>
                    </a:cubicBezTo>
                    <a:cubicBezTo>
                      <a:pt x="11" y="8"/>
                      <a:pt x="11" y="8"/>
                      <a:pt x="11" y="8"/>
                    </a:cubicBezTo>
                    <a:cubicBezTo>
                      <a:pt x="11" y="28"/>
                      <a:pt x="11" y="28"/>
                      <a:pt x="11" y="28"/>
                    </a:cubicBezTo>
                    <a:cubicBezTo>
                      <a:pt x="0" y="28"/>
                      <a:pt x="0" y="28"/>
                      <a:pt x="0" y="28"/>
                    </a:cubicBezTo>
                    <a:cubicBezTo>
                      <a:pt x="0" y="39"/>
                      <a:pt x="0" y="39"/>
                      <a:pt x="0" y="39"/>
                    </a:cubicBezTo>
                    <a:cubicBezTo>
                      <a:pt x="11" y="39"/>
                      <a:pt x="11" y="39"/>
                      <a:pt x="11" y="39"/>
                    </a:cubicBezTo>
                    <a:cubicBezTo>
                      <a:pt x="11" y="86"/>
                      <a:pt x="11" y="86"/>
                      <a:pt x="11" y="86"/>
                    </a:cubicBezTo>
                    <a:cubicBezTo>
                      <a:pt x="11" y="94"/>
                      <a:pt x="11" y="99"/>
                      <a:pt x="12" y="102"/>
                    </a:cubicBezTo>
                    <a:cubicBezTo>
                      <a:pt x="13" y="104"/>
                      <a:pt x="15" y="106"/>
                      <a:pt x="18" y="108"/>
                    </a:cubicBezTo>
                    <a:cubicBezTo>
                      <a:pt x="21" y="110"/>
                      <a:pt x="25" y="110"/>
                      <a:pt x="30" y="110"/>
                    </a:cubicBezTo>
                    <a:cubicBezTo>
                      <a:pt x="33" y="110"/>
                      <a:pt x="36" y="110"/>
                      <a:pt x="40" y="109"/>
                    </a:cubicBezTo>
                    <a:cubicBezTo>
                      <a:pt x="38" y="97"/>
                      <a:pt x="38" y="97"/>
                      <a:pt x="38" y="97"/>
                    </a:cubicBezTo>
                    <a:cubicBezTo>
                      <a:pt x="36" y="97"/>
                      <a:pt x="34" y="98"/>
                      <a:pt x="32" y="9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262" name="išľîḋê"/>
              <p:cNvSpPr/>
              <p:nvPr/>
            </p:nvSpPr>
            <p:spPr bwMode="auto">
              <a:xfrm>
                <a:off x="6335966" y="5733053"/>
                <a:ext cx="136525" cy="211138"/>
              </a:xfrm>
              <a:custGeom>
                <a:avLst/>
                <a:gdLst>
                  <a:gd name="T0" fmla="*/ 43 w 74"/>
                  <a:gd name="T1" fmla="*/ 47 h 114"/>
                  <a:gd name="T2" fmla="*/ 37 w 74"/>
                  <a:gd name="T3" fmla="*/ 66 h 114"/>
                  <a:gd name="T4" fmla="*/ 32 w 74"/>
                  <a:gd name="T5" fmla="*/ 47 h 114"/>
                  <a:gd name="T6" fmla="*/ 15 w 74"/>
                  <a:gd name="T7" fmla="*/ 0 h 114"/>
                  <a:gd name="T8" fmla="*/ 0 w 74"/>
                  <a:gd name="T9" fmla="*/ 0 h 114"/>
                  <a:gd name="T10" fmla="*/ 31 w 74"/>
                  <a:gd name="T11" fmla="*/ 81 h 114"/>
                  <a:gd name="T12" fmla="*/ 29 w 74"/>
                  <a:gd name="T13" fmla="*/ 85 h 114"/>
                  <a:gd name="T14" fmla="*/ 25 w 74"/>
                  <a:gd name="T15" fmla="*/ 95 h 114"/>
                  <a:gd name="T16" fmla="*/ 21 w 74"/>
                  <a:gd name="T17" fmla="*/ 99 h 114"/>
                  <a:gd name="T18" fmla="*/ 13 w 74"/>
                  <a:gd name="T19" fmla="*/ 101 h 114"/>
                  <a:gd name="T20" fmla="*/ 5 w 74"/>
                  <a:gd name="T21" fmla="*/ 100 h 114"/>
                  <a:gd name="T22" fmla="*/ 7 w 74"/>
                  <a:gd name="T23" fmla="*/ 113 h 114"/>
                  <a:gd name="T24" fmla="*/ 16 w 74"/>
                  <a:gd name="T25" fmla="*/ 114 h 114"/>
                  <a:gd name="T26" fmla="*/ 27 w 74"/>
                  <a:gd name="T27" fmla="*/ 111 h 114"/>
                  <a:gd name="T28" fmla="*/ 36 w 74"/>
                  <a:gd name="T29" fmla="*/ 101 h 114"/>
                  <a:gd name="T30" fmla="*/ 43 w 74"/>
                  <a:gd name="T31" fmla="*/ 83 h 114"/>
                  <a:gd name="T32" fmla="*/ 74 w 74"/>
                  <a:gd name="T33" fmla="*/ 0 h 114"/>
                  <a:gd name="T34" fmla="*/ 60 w 74"/>
                  <a:gd name="T35" fmla="*/ 0 h 114"/>
                  <a:gd name="T36" fmla="*/ 43 w 74"/>
                  <a:gd name="T37" fmla="*/ 47 h 1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74" h="114">
                    <a:moveTo>
                      <a:pt x="43" y="47"/>
                    </a:moveTo>
                    <a:cubicBezTo>
                      <a:pt x="41" y="53"/>
                      <a:pt x="39" y="60"/>
                      <a:pt x="37" y="66"/>
                    </a:cubicBezTo>
                    <a:cubicBezTo>
                      <a:pt x="36" y="59"/>
                      <a:pt x="34" y="53"/>
                      <a:pt x="32" y="47"/>
                    </a:cubicBezTo>
                    <a:cubicBezTo>
                      <a:pt x="15" y="0"/>
                      <a:pt x="15" y="0"/>
                      <a:pt x="15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31" y="81"/>
                      <a:pt x="31" y="81"/>
                      <a:pt x="31" y="81"/>
                    </a:cubicBezTo>
                    <a:cubicBezTo>
                      <a:pt x="30" y="83"/>
                      <a:pt x="30" y="84"/>
                      <a:pt x="29" y="85"/>
                    </a:cubicBezTo>
                    <a:cubicBezTo>
                      <a:pt x="27" y="90"/>
                      <a:pt x="26" y="94"/>
                      <a:pt x="25" y="95"/>
                    </a:cubicBezTo>
                    <a:cubicBezTo>
                      <a:pt x="24" y="97"/>
                      <a:pt x="22" y="98"/>
                      <a:pt x="21" y="99"/>
                    </a:cubicBezTo>
                    <a:cubicBezTo>
                      <a:pt x="19" y="100"/>
                      <a:pt x="16" y="101"/>
                      <a:pt x="13" y="101"/>
                    </a:cubicBezTo>
                    <a:cubicBezTo>
                      <a:pt x="11" y="101"/>
                      <a:pt x="8" y="101"/>
                      <a:pt x="5" y="100"/>
                    </a:cubicBezTo>
                    <a:cubicBezTo>
                      <a:pt x="7" y="113"/>
                      <a:pt x="7" y="113"/>
                      <a:pt x="7" y="113"/>
                    </a:cubicBezTo>
                    <a:cubicBezTo>
                      <a:pt x="10" y="114"/>
                      <a:pt x="13" y="114"/>
                      <a:pt x="16" y="114"/>
                    </a:cubicBezTo>
                    <a:cubicBezTo>
                      <a:pt x="20" y="114"/>
                      <a:pt x="24" y="113"/>
                      <a:pt x="27" y="111"/>
                    </a:cubicBezTo>
                    <a:cubicBezTo>
                      <a:pt x="30" y="109"/>
                      <a:pt x="33" y="106"/>
                      <a:pt x="36" y="101"/>
                    </a:cubicBezTo>
                    <a:cubicBezTo>
                      <a:pt x="37" y="98"/>
                      <a:pt x="40" y="92"/>
                      <a:pt x="43" y="83"/>
                    </a:cubicBezTo>
                    <a:cubicBezTo>
                      <a:pt x="74" y="0"/>
                      <a:pt x="74" y="0"/>
                      <a:pt x="74" y="0"/>
                    </a:cubicBezTo>
                    <a:cubicBezTo>
                      <a:pt x="60" y="0"/>
                      <a:pt x="60" y="0"/>
                      <a:pt x="60" y="0"/>
                    </a:cubicBezTo>
                    <a:lnTo>
                      <a:pt x="43" y="4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263" name="íSḷiḑè"/>
              <p:cNvSpPr/>
              <p:nvPr/>
            </p:nvSpPr>
            <p:spPr bwMode="auto">
              <a:xfrm>
                <a:off x="6564566" y="5729878"/>
                <a:ext cx="142875" cy="157163"/>
              </a:xfrm>
              <a:custGeom>
                <a:avLst/>
                <a:gdLst>
                  <a:gd name="T0" fmla="*/ 38 w 77"/>
                  <a:gd name="T1" fmla="*/ 0 h 85"/>
                  <a:gd name="T2" fmla="*/ 13 w 77"/>
                  <a:gd name="T3" fmla="*/ 9 h 85"/>
                  <a:gd name="T4" fmla="*/ 0 w 77"/>
                  <a:gd name="T5" fmla="*/ 43 h 85"/>
                  <a:gd name="T6" fmla="*/ 11 w 77"/>
                  <a:gd name="T7" fmla="*/ 74 h 85"/>
                  <a:gd name="T8" fmla="*/ 38 w 77"/>
                  <a:gd name="T9" fmla="*/ 85 h 85"/>
                  <a:gd name="T10" fmla="*/ 58 w 77"/>
                  <a:gd name="T11" fmla="*/ 80 h 85"/>
                  <a:gd name="T12" fmla="*/ 72 w 77"/>
                  <a:gd name="T13" fmla="*/ 66 h 85"/>
                  <a:gd name="T14" fmla="*/ 77 w 77"/>
                  <a:gd name="T15" fmla="*/ 42 h 85"/>
                  <a:gd name="T16" fmla="*/ 66 w 77"/>
                  <a:gd name="T17" fmla="*/ 11 h 85"/>
                  <a:gd name="T18" fmla="*/ 38 w 77"/>
                  <a:gd name="T19" fmla="*/ 0 h 85"/>
                  <a:gd name="T20" fmla="*/ 56 w 77"/>
                  <a:gd name="T21" fmla="*/ 66 h 85"/>
                  <a:gd name="T22" fmla="*/ 38 w 77"/>
                  <a:gd name="T23" fmla="*/ 74 h 85"/>
                  <a:gd name="T24" fmla="*/ 21 w 77"/>
                  <a:gd name="T25" fmla="*/ 66 h 85"/>
                  <a:gd name="T26" fmla="*/ 15 w 77"/>
                  <a:gd name="T27" fmla="*/ 43 h 85"/>
                  <a:gd name="T28" fmla="*/ 21 w 77"/>
                  <a:gd name="T29" fmla="*/ 19 h 85"/>
                  <a:gd name="T30" fmla="*/ 38 w 77"/>
                  <a:gd name="T31" fmla="*/ 12 h 85"/>
                  <a:gd name="T32" fmla="*/ 56 w 77"/>
                  <a:gd name="T33" fmla="*/ 19 h 85"/>
                  <a:gd name="T34" fmla="*/ 62 w 77"/>
                  <a:gd name="T35" fmla="*/ 42 h 85"/>
                  <a:gd name="T36" fmla="*/ 56 w 77"/>
                  <a:gd name="T37" fmla="*/ 66 h 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77" h="85">
                    <a:moveTo>
                      <a:pt x="38" y="0"/>
                    </a:moveTo>
                    <a:cubicBezTo>
                      <a:pt x="28" y="0"/>
                      <a:pt x="20" y="3"/>
                      <a:pt x="13" y="9"/>
                    </a:cubicBezTo>
                    <a:cubicBezTo>
                      <a:pt x="5" y="16"/>
                      <a:pt x="0" y="28"/>
                      <a:pt x="0" y="43"/>
                    </a:cubicBezTo>
                    <a:cubicBezTo>
                      <a:pt x="0" y="56"/>
                      <a:pt x="4" y="67"/>
                      <a:pt x="11" y="74"/>
                    </a:cubicBezTo>
                    <a:cubicBezTo>
                      <a:pt x="18" y="82"/>
                      <a:pt x="27" y="85"/>
                      <a:pt x="38" y="85"/>
                    </a:cubicBezTo>
                    <a:cubicBezTo>
                      <a:pt x="46" y="85"/>
                      <a:pt x="52" y="84"/>
                      <a:pt x="58" y="80"/>
                    </a:cubicBezTo>
                    <a:cubicBezTo>
                      <a:pt x="64" y="77"/>
                      <a:pt x="69" y="72"/>
                      <a:pt x="72" y="66"/>
                    </a:cubicBezTo>
                    <a:cubicBezTo>
                      <a:pt x="75" y="60"/>
                      <a:pt x="77" y="52"/>
                      <a:pt x="77" y="42"/>
                    </a:cubicBezTo>
                    <a:cubicBezTo>
                      <a:pt x="77" y="29"/>
                      <a:pt x="73" y="19"/>
                      <a:pt x="66" y="11"/>
                    </a:cubicBezTo>
                    <a:cubicBezTo>
                      <a:pt x="59" y="4"/>
                      <a:pt x="50" y="0"/>
                      <a:pt x="38" y="0"/>
                    </a:cubicBezTo>
                    <a:close/>
                    <a:moveTo>
                      <a:pt x="56" y="66"/>
                    </a:moveTo>
                    <a:cubicBezTo>
                      <a:pt x="51" y="71"/>
                      <a:pt x="45" y="74"/>
                      <a:pt x="38" y="74"/>
                    </a:cubicBezTo>
                    <a:cubicBezTo>
                      <a:pt x="32" y="74"/>
                      <a:pt x="26" y="71"/>
                      <a:pt x="21" y="66"/>
                    </a:cubicBezTo>
                    <a:cubicBezTo>
                      <a:pt x="17" y="61"/>
                      <a:pt x="15" y="53"/>
                      <a:pt x="15" y="43"/>
                    </a:cubicBezTo>
                    <a:cubicBezTo>
                      <a:pt x="15" y="32"/>
                      <a:pt x="17" y="24"/>
                      <a:pt x="21" y="19"/>
                    </a:cubicBezTo>
                    <a:cubicBezTo>
                      <a:pt x="26" y="14"/>
                      <a:pt x="32" y="12"/>
                      <a:pt x="38" y="12"/>
                    </a:cubicBezTo>
                    <a:cubicBezTo>
                      <a:pt x="45" y="12"/>
                      <a:pt x="51" y="14"/>
                      <a:pt x="56" y="19"/>
                    </a:cubicBezTo>
                    <a:cubicBezTo>
                      <a:pt x="60" y="25"/>
                      <a:pt x="62" y="32"/>
                      <a:pt x="62" y="42"/>
                    </a:cubicBezTo>
                    <a:cubicBezTo>
                      <a:pt x="62" y="53"/>
                      <a:pt x="60" y="61"/>
                      <a:pt x="56" y="6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264" name="ïṣľïḑe"/>
              <p:cNvSpPr/>
              <p:nvPr/>
            </p:nvSpPr>
            <p:spPr bwMode="auto">
              <a:xfrm>
                <a:off x="6720141" y="5672728"/>
                <a:ext cx="85725" cy="209550"/>
              </a:xfrm>
              <a:custGeom>
                <a:avLst/>
                <a:gdLst>
                  <a:gd name="T0" fmla="*/ 20 w 47"/>
                  <a:gd name="T1" fmla="*/ 4 h 114"/>
                  <a:gd name="T2" fmla="*/ 13 w 47"/>
                  <a:gd name="T3" fmla="*/ 12 h 114"/>
                  <a:gd name="T4" fmla="*/ 12 w 47"/>
                  <a:gd name="T5" fmla="*/ 24 h 114"/>
                  <a:gd name="T6" fmla="*/ 12 w 47"/>
                  <a:gd name="T7" fmla="*/ 33 h 114"/>
                  <a:gd name="T8" fmla="*/ 0 w 47"/>
                  <a:gd name="T9" fmla="*/ 33 h 114"/>
                  <a:gd name="T10" fmla="*/ 0 w 47"/>
                  <a:gd name="T11" fmla="*/ 44 h 114"/>
                  <a:gd name="T12" fmla="*/ 12 w 47"/>
                  <a:gd name="T13" fmla="*/ 44 h 114"/>
                  <a:gd name="T14" fmla="*/ 12 w 47"/>
                  <a:gd name="T15" fmla="*/ 114 h 114"/>
                  <a:gd name="T16" fmla="*/ 26 w 47"/>
                  <a:gd name="T17" fmla="*/ 114 h 114"/>
                  <a:gd name="T18" fmla="*/ 26 w 47"/>
                  <a:gd name="T19" fmla="*/ 44 h 114"/>
                  <a:gd name="T20" fmla="*/ 41 w 47"/>
                  <a:gd name="T21" fmla="*/ 44 h 114"/>
                  <a:gd name="T22" fmla="*/ 41 w 47"/>
                  <a:gd name="T23" fmla="*/ 33 h 114"/>
                  <a:gd name="T24" fmla="*/ 26 w 47"/>
                  <a:gd name="T25" fmla="*/ 33 h 114"/>
                  <a:gd name="T26" fmla="*/ 26 w 47"/>
                  <a:gd name="T27" fmla="*/ 26 h 114"/>
                  <a:gd name="T28" fmla="*/ 28 w 47"/>
                  <a:gd name="T29" fmla="*/ 16 h 114"/>
                  <a:gd name="T30" fmla="*/ 37 w 47"/>
                  <a:gd name="T31" fmla="*/ 13 h 114"/>
                  <a:gd name="T32" fmla="*/ 45 w 47"/>
                  <a:gd name="T33" fmla="*/ 14 h 114"/>
                  <a:gd name="T34" fmla="*/ 47 w 47"/>
                  <a:gd name="T35" fmla="*/ 2 h 114"/>
                  <a:gd name="T36" fmla="*/ 34 w 47"/>
                  <a:gd name="T37" fmla="*/ 0 h 114"/>
                  <a:gd name="T38" fmla="*/ 20 w 47"/>
                  <a:gd name="T39" fmla="*/ 4 h 1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47" h="114">
                    <a:moveTo>
                      <a:pt x="20" y="4"/>
                    </a:moveTo>
                    <a:cubicBezTo>
                      <a:pt x="17" y="6"/>
                      <a:pt x="15" y="9"/>
                      <a:pt x="13" y="12"/>
                    </a:cubicBezTo>
                    <a:cubicBezTo>
                      <a:pt x="12" y="15"/>
                      <a:pt x="12" y="19"/>
                      <a:pt x="12" y="24"/>
                    </a:cubicBezTo>
                    <a:cubicBezTo>
                      <a:pt x="12" y="33"/>
                      <a:pt x="12" y="33"/>
                      <a:pt x="12" y="33"/>
                    </a:cubicBezTo>
                    <a:cubicBezTo>
                      <a:pt x="0" y="33"/>
                      <a:pt x="0" y="33"/>
                      <a:pt x="0" y="33"/>
                    </a:cubicBezTo>
                    <a:cubicBezTo>
                      <a:pt x="0" y="44"/>
                      <a:pt x="0" y="44"/>
                      <a:pt x="0" y="44"/>
                    </a:cubicBezTo>
                    <a:cubicBezTo>
                      <a:pt x="12" y="44"/>
                      <a:pt x="12" y="44"/>
                      <a:pt x="12" y="44"/>
                    </a:cubicBezTo>
                    <a:cubicBezTo>
                      <a:pt x="12" y="114"/>
                      <a:pt x="12" y="114"/>
                      <a:pt x="12" y="114"/>
                    </a:cubicBezTo>
                    <a:cubicBezTo>
                      <a:pt x="26" y="114"/>
                      <a:pt x="26" y="114"/>
                      <a:pt x="26" y="114"/>
                    </a:cubicBezTo>
                    <a:cubicBezTo>
                      <a:pt x="26" y="44"/>
                      <a:pt x="26" y="44"/>
                      <a:pt x="26" y="44"/>
                    </a:cubicBezTo>
                    <a:cubicBezTo>
                      <a:pt x="41" y="44"/>
                      <a:pt x="41" y="44"/>
                      <a:pt x="41" y="44"/>
                    </a:cubicBezTo>
                    <a:cubicBezTo>
                      <a:pt x="41" y="33"/>
                      <a:pt x="41" y="33"/>
                      <a:pt x="41" y="33"/>
                    </a:cubicBezTo>
                    <a:cubicBezTo>
                      <a:pt x="26" y="33"/>
                      <a:pt x="26" y="33"/>
                      <a:pt x="26" y="33"/>
                    </a:cubicBezTo>
                    <a:cubicBezTo>
                      <a:pt x="26" y="26"/>
                      <a:pt x="26" y="26"/>
                      <a:pt x="26" y="26"/>
                    </a:cubicBezTo>
                    <a:cubicBezTo>
                      <a:pt x="26" y="21"/>
                      <a:pt x="27" y="17"/>
                      <a:pt x="28" y="16"/>
                    </a:cubicBezTo>
                    <a:cubicBezTo>
                      <a:pt x="30" y="14"/>
                      <a:pt x="33" y="13"/>
                      <a:pt x="37" y="13"/>
                    </a:cubicBezTo>
                    <a:cubicBezTo>
                      <a:pt x="40" y="13"/>
                      <a:pt x="42" y="13"/>
                      <a:pt x="45" y="14"/>
                    </a:cubicBezTo>
                    <a:cubicBezTo>
                      <a:pt x="47" y="2"/>
                      <a:pt x="47" y="2"/>
                      <a:pt x="47" y="2"/>
                    </a:cubicBezTo>
                    <a:cubicBezTo>
                      <a:pt x="43" y="1"/>
                      <a:pt x="38" y="0"/>
                      <a:pt x="34" y="0"/>
                    </a:cubicBezTo>
                    <a:cubicBezTo>
                      <a:pt x="28" y="0"/>
                      <a:pt x="24" y="1"/>
                      <a:pt x="20" y="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265" name="ïš1îḍè"/>
              <p:cNvSpPr/>
              <p:nvPr/>
            </p:nvSpPr>
            <p:spPr bwMode="auto">
              <a:xfrm>
                <a:off x="6890003" y="5672728"/>
                <a:ext cx="165100" cy="214313"/>
              </a:xfrm>
              <a:custGeom>
                <a:avLst/>
                <a:gdLst>
                  <a:gd name="T0" fmla="*/ 71 w 90"/>
                  <a:gd name="T1" fmla="*/ 55 h 116"/>
                  <a:gd name="T2" fmla="*/ 46 w 90"/>
                  <a:gd name="T3" fmla="*/ 48 h 116"/>
                  <a:gd name="T4" fmla="*/ 23 w 90"/>
                  <a:gd name="T5" fmla="*/ 40 h 116"/>
                  <a:gd name="T6" fmla="*/ 19 w 90"/>
                  <a:gd name="T7" fmla="*/ 30 h 116"/>
                  <a:gd name="T8" fmla="*/ 25 w 90"/>
                  <a:gd name="T9" fmla="*/ 18 h 116"/>
                  <a:gd name="T10" fmla="*/ 45 w 90"/>
                  <a:gd name="T11" fmla="*/ 13 h 116"/>
                  <a:gd name="T12" fmla="*/ 64 w 90"/>
                  <a:gd name="T13" fmla="*/ 19 h 116"/>
                  <a:gd name="T14" fmla="*/ 72 w 90"/>
                  <a:gd name="T15" fmla="*/ 35 h 116"/>
                  <a:gd name="T16" fmla="*/ 86 w 90"/>
                  <a:gd name="T17" fmla="*/ 34 h 116"/>
                  <a:gd name="T18" fmla="*/ 81 w 90"/>
                  <a:gd name="T19" fmla="*/ 16 h 116"/>
                  <a:gd name="T20" fmla="*/ 66 w 90"/>
                  <a:gd name="T21" fmla="*/ 4 h 116"/>
                  <a:gd name="T22" fmla="*/ 44 w 90"/>
                  <a:gd name="T23" fmla="*/ 0 h 116"/>
                  <a:gd name="T24" fmla="*/ 24 w 90"/>
                  <a:gd name="T25" fmla="*/ 4 h 116"/>
                  <a:gd name="T26" fmla="*/ 10 w 90"/>
                  <a:gd name="T27" fmla="*/ 15 h 116"/>
                  <a:gd name="T28" fmla="*/ 5 w 90"/>
                  <a:gd name="T29" fmla="*/ 31 h 116"/>
                  <a:gd name="T30" fmla="*/ 9 w 90"/>
                  <a:gd name="T31" fmla="*/ 45 h 116"/>
                  <a:gd name="T32" fmla="*/ 21 w 90"/>
                  <a:gd name="T33" fmla="*/ 56 h 116"/>
                  <a:gd name="T34" fmla="*/ 42 w 90"/>
                  <a:gd name="T35" fmla="*/ 63 h 116"/>
                  <a:gd name="T36" fmla="*/ 62 w 90"/>
                  <a:gd name="T37" fmla="*/ 68 h 116"/>
                  <a:gd name="T38" fmla="*/ 72 w 90"/>
                  <a:gd name="T39" fmla="*/ 75 h 116"/>
                  <a:gd name="T40" fmla="*/ 75 w 90"/>
                  <a:gd name="T41" fmla="*/ 84 h 116"/>
                  <a:gd name="T42" fmla="*/ 72 w 90"/>
                  <a:gd name="T43" fmla="*/ 93 h 116"/>
                  <a:gd name="T44" fmla="*/ 63 w 90"/>
                  <a:gd name="T45" fmla="*/ 100 h 116"/>
                  <a:gd name="T46" fmla="*/ 48 w 90"/>
                  <a:gd name="T47" fmla="*/ 103 h 116"/>
                  <a:gd name="T48" fmla="*/ 30 w 90"/>
                  <a:gd name="T49" fmla="*/ 100 h 116"/>
                  <a:gd name="T50" fmla="*/ 19 w 90"/>
                  <a:gd name="T51" fmla="*/ 91 h 116"/>
                  <a:gd name="T52" fmla="*/ 14 w 90"/>
                  <a:gd name="T53" fmla="*/ 77 h 116"/>
                  <a:gd name="T54" fmla="*/ 0 w 90"/>
                  <a:gd name="T55" fmla="*/ 78 h 116"/>
                  <a:gd name="T56" fmla="*/ 7 w 90"/>
                  <a:gd name="T57" fmla="*/ 98 h 116"/>
                  <a:gd name="T58" fmla="*/ 23 w 90"/>
                  <a:gd name="T59" fmla="*/ 112 h 116"/>
                  <a:gd name="T60" fmla="*/ 48 w 90"/>
                  <a:gd name="T61" fmla="*/ 116 h 116"/>
                  <a:gd name="T62" fmla="*/ 70 w 90"/>
                  <a:gd name="T63" fmla="*/ 112 h 116"/>
                  <a:gd name="T64" fmla="*/ 85 w 90"/>
                  <a:gd name="T65" fmla="*/ 100 h 116"/>
                  <a:gd name="T66" fmla="*/ 90 w 90"/>
                  <a:gd name="T67" fmla="*/ 83 h 116"/>
                  <a:gd name="T68" fmla="*/ 85 w 90"/>
                  <a:gd name="T69" fmla="*/ 67 h 116"/>
                  <a:gd name="T70" fmla="*/ 71 w 90"/>
                  <a:gd name="T71" fmla="*/ 55 h 1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90" h="116">
                    <a:moveTo>
                      <a:pt x="71" y="55"/>
                    </a:moveTo>
                    <a:cubicBezTo>
                      <a:pt x="66" y="53"/>
                      <a:pt x="58" y="51"/>
                      <a:pt x="46" y="48"/>
                    </a:cubicBezTo>
                    <a:cubicBezTo>
                      <a:pt x="34" y="45"/>
                      <a:pt x="26" y="43"/>
                      <a:pt x="23" y="40"/>
                    </a:cubicBezTo>
                    <a:cubicBezTo>
                      <a:pt x="21" y="38"/>
                      <a:pt x="19" y="34"/>
                      <a:pt x="19" y="30"/>
                    </a:cubicBezTo>
                    <a:cubicBezTo>
                      <a:pt x="19" y="26"/>
                      <a:pt x="21" y="22"/>
                      <a:pt x="25" y="18"/>
                    </a:cubicBezTo>
                    <a:cubicBezTo>
                      <a:pt x="29" y="15"/>
                      <a:pt x="36" y="13"/>
                      <a:pt x="45" y="13"/>
                    </a:cubicBezTo>
                    <a:cubicBezTo>
                      <a:pt x="53" y="13"/>
                      <a:pt x="60" y="15"/>
                      <a:pt x="64" y="19"/>
                    </a:cubicBezTo>
                    <a:cubicBezTo>
                      <a:pt x="69" y="22"/>
                      <a:pt x="71" y="28"/>
                      <a:pt x="72" y="35"/>
                    </a:cubicBezTo>
                    <a:cubicBezTo>
                      <a:pt x="86" y="34"/>
                      <a:pt x="86" y="34"/>
                      <a:pt x="86" y="34"/>
                    </a:cubicBezTo>
                    <a:cubicBezTo>
                      <a:pt x="86" y="27"/>
                      <a:pt x="84" y="21"/>
                      <a:pt x="81" y="16"/>
                    </a:cubicBezTo>
                    <a:cubicBezTo>
                      <a:pt x="77" y="11"/>
                      <a:pt x="73" y="7"/>
                      <a:pt x="66" y="4"/>
                    </a:cubicBezTo>
                    <a:cubicBezTo>
                      <a:pt x="60" y="2"/>
                      <a:pt x="53" y="0"/>
                      <a:pt x="44" y="0"/>
                    </a:cubicBezTo>
                    <a:cubicBezTo>
                      <a:pt x="37" y="0"/>
                      <a:pt x="30" y="1"/>
                      <a:pt x="24" y="4"/>
                    </a:cubicBezTo>
                    <a:cubicBezTo>
                      <a:pt x="17" y="7"/>
                      <a:pt x="13" y="10"/>
                      <a:pt x="10" y="15"/>
                    </a:cubicBezTo>
                    <a:cubicBezTo>
                      <a:pt x="6" y="20"/>
                      <a:pt x="5" y="25"/>
                      <a:pt x="5" y="31"/>
                    </a:cubicBezTo>
                    <a:cubicBezTo>
                      <a:pt x="5" y="36"/>
                      <a:pt x="6" y="41"/>
                      <a:pt x="9" y="45"/>
                    </a:cubicBezTo>
                    <a:cubicBezTo>
                      <a:pt x="11" y="49"/>
                      <a:pt x="15" y="53"/>
                      <a:pt x="21" y="56"/>
                    </a:cubicBezTo>
                    <a:cubicBezTo>
                      <a:pt x="25" y="58"/>
                      <a:pt x="32" y="60"/>
                      <a:pt x="42" y="63"/>
                    </a:cubicBezTo>
                    <a:cubicBezTo>
                      <a:pt x="53" y="65"/>
                      <a:pt x="59" y="67"/>
                      <a:pt x="62" y="68"/>
                    </a:cubicBezTo>
                    <a:cubicBezTo>
                      <a:pt x="67" y="70"/>
                      <a:pt x="70" y="72"/>
                      <a:pt x="72" y="75"/>
                    </a:cubicBezTo>
                    <a:cubicBezTo>
                      <a:pt x="74" y="77"/>
                      <a:pt x="75" y="80"/>
                      <a:pt x="75" y="84"/>
                    </a:cubicBezTo>
                    <a:cubicBezTo>
                      <a:pt x="75" y="87"/>
                      <a:pt x="74" y="91"/>
                      <a:pt x="72" y="93"/>
                    </a:cubicBezTo>
                    <a:cubicBezTo>
                      <a:pt x="70" y="96"/>
                      <a:pt x="67" y="99"/>
                      <a:pt x="63" y="100"/>
                    </a:cubicBezTo>
                    <a:cubicBezTo>
                      <a:pt x="58" y="102"/>
                      <a:pt x="53" y="103"/>
                      <a:pt x="48" y="103"/>
                    </a:cubicBezTo>
                    <a:cubicBezTo>
                      <a:pt x="41" y="103"/>
                      <a:pt x="35" y="102"/>
                      <a:pt x="30" y="100"/>
                    </a:cubicBezTo>
                    <a:cubicBezTo>
                      <a:pt x="25" y="97"/>
                      <a:pt x="22" y="94"/>
                      <a:pt x="19" y="91"/>
                    </a:cubicBezTo>
                    <a:cubicBezTo>
                      <a:pt x="17" y="87"/>
                      <a:pt x="15" y="83"/>
                      <a:pt x="14" y="77"/>
                    </a:cubicBezTo>
                    <a:cubicBezTo>
                      <a:pt x="0" y="78"/>
                      <a:pt x="0" y="78"/>
                      <a:pt x="0" y="78"/>
                    </a:cubicBezTo>
                    <a:cubicBezTo>
                      <a:pt x="1" y="86"/>
                      <a:pt x="3" y="93"/>
                      <a:pt x="7" y="98"/>
                    </a:cubicBezTo>
                    <a:cubicBezTo>
                      <a:pt x="11" y="104"/>
                      <a:pt x="16" y="109"/>
                      <a:pt x="23" y="112"/>
                    </a:cubicBezTo>
                    <a:cubicBezTo>
                      <a:pt x="30" y="115"/>
                      <a:pt x="38" y="116"/>
                      <a:pt x="48" y="116"/>
                    </a:cubicBezTo>
                    <a:cubicBezTo>
                      <a:pt x="56" y="116"/>
                      <a:pt x="64" y="115"/>
                      <a:pt x="70" y="112"/>
                    </a:cubicBezTo>
                    <a:cubicBezTo>
                      <a:pt x="76" y="109"/>
                      <a:pt x="81" y="105"/>
                      <a:pt x="85" y="100"/>
                    </a:cubicBezTo>
                    <a:cubicBezTo>
                      <a:pt x="88" y="94"/>
                      <a:pt x="90" y="89"/>
                      <a:pt x="90" y="83"/>
                    </a:cubicBezTo>
                    <a:cubicBezTo>
                      <a:pt x="90" y="77"/>
                      <a:pt x="88" y="71"/>
                      <a:pt x="85" y="67"/>
                    </a:cubicBezTo>
                    <a:cubicBezTo>
                      <a:pt x="82" y="62"/>
                      <a:pt x="77" y="58"/>
                      <a:pt x="71" y="5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266" name="iṥľïḍê"/>
              <p:cNvSpPr/>
              <p:nvPr/>
            </p:nvSpPr>
            <p:spPr bwMode="auto">
              <a:xfrm>
                <a:off x="7080503" y="5729878"/>
                <a:ext cx="131763" cy="157163"/>
              </a:xfrm>
              <a:custGeom>
                <a:avLst/>
                <a:gdLst>
                  <a:gd name="T0" fmla="*/ 50 w 71"/>
                  <a:gd name="T1" fmla="*/ 69 h 85"/>
                  <a:gd name="T2" fmla="*/ 37 w 71"/>
                  <a:gd name="T3" fmla="*/ 74 h 85"/>
                  <a:gd name="T4" fmla="*/ 21 w 71"/>
                  <a:gd name="T5" fmla="*/ 66 h 85"/>
                  <a:gd name="T6" fmla="*/ 14 w 71"/>
                  <a:gd name="T7" fmla="*/ 43 h 85"/>
                  <a:gd name="T8" fmla="*/ 21 w 71"/>
                  <a:gd name="T9" fmla="*/ 19 h 85"/>
                  <a:gd name="T10" fmla="*/ 38 w 71"/>
                  <a:gd name="T11" fmla="*/ 12 h 85"/>
                  <a:gd name="T12" fmla="*/ 49 w 71"/>
                  <a:gd name="T13" fmla="*/ 16 h 85"/>
                  <a:gd name="T14" fmla="*/ 56 w 71"/>
                  <a:gd name="T15" fmla="*/ 28 h 85"/>
                  <a:gd name="T16" fmla="*/ 70 w 71"/>
                  <a:gd name="T17" fmla="*/ 26 h 85"/>
                  <a:gd name="T18" fmla="*/ 59 w 71"/>
                  <a:gd name="T19" fmla="*/ 7 h 85"/>
                  <a:gd name="T20" fmla="*/ 37 w 71"/>
                  <a:gd name="T21" fmla="*/ 0 h 85"/>
                  <a:gd name="T22" fmla="*/ 18 w 71"/>
                  <a:gd name="T23" fmla="*/ 5 h 85"/>
                  <a:gd name="T24" fmla="*/ 4 w 71"/>
                  <a:gd name="T25" fmla="*/ 20 h 85"/>
                  <a:gd name="T26" fmla="*/ 0 w 71"/>
                  <a:gd name="T27" fmla="*/ 43 h 85"/>
                  <a:gd name="T28" fmla="*/ 10 w 71"/>
                  <a:gd name="T29" fmla="*/ 74 h 85"/>
                  <a:gd name="T30" fmla="*/ 37 w 71"/>
                  <a:gd name="T31" fmla="*/ 85 h 85"/>
                  <a:gd name="T32" fmla="*/ 60 w 71"/>
                  <a:gd name="T33" fmla="*/ 77 h 85"/>
                  <a:gd name="T34" fmla="*/ 71 w 71"/>
                  <a:gd name="T35" fmla="*/ 55 h 85"/>
                  <a:gd name="T36" fmla="*/ 57 w 71"/>
                  <a:gd name="T37" fmla="*/ 54 h 85"/>
                  <a:gd name="T38" fmla="*/ 50 w 71"/>
                  <a:gd name="T39" fmla="*/ 69 h 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71" h="85">
                    <a:moveTo>
                      <a:pt x="50" y="69"/>
                    </a:moveTo>
                    <a:cubicBezTo>
                      <a:pt x="47" y="72"/>
                      <a:pt x="42" y="74"/>
                      <a:pt x="37" y="74"/>
                    </a:cubicBezTo>
                    <a:cubicBezTo>
                      <a:pt x="30" y="74"/>
                      <a:pt x="25" y="71"/>
                      <a:pt x="21" y="66"/>
                    </a:cubicBezTo>
                    <a:cubicBezTo>
                      <a:pt x="16" y="61"/>
                      <a:pt x="14" y="54"/>
                      <a:pt x="14" y="43"/>
                    </a:cubicBezTo>
                    <a:cubicBezTo>
                      <a:pt x="14" y="32"/>
                      <a:pt x="16" y="24"/>
                      <a:pt x="21" y="19"/>
                    </a:cubicBezTo>
                    <a:cubicBezTo>
                      <a:pt x="25" y="14"/>
                      <a:pt x="31" y="12"/>
                      <a:pt x="38" y="12"/>
                    </a:cubicBezTo>
                    <a:cubicBezTo>
                      <a:pt x="42" y="12"/>
                      <a:pt x="46" y="13"/>
                      <a:pt x="49" y="16"/>
                    </a:cubicBezTo>
                    <a:cubicBezTo>
                      <a:pt x="53" y="18"/>
                      <a:pt x="55" y="23"/>
                      <a:pt x="56" y="28"/>
                    </a:cubicBezTo>
                    <a:cubicBezTo>
                      <a:pt x="70" y="26"/>
                      <a:pt x="70" y="26"/>
                      <a:pt x="70" y="26"/>
                    </a:cubicBezTo>
                    <a:cubicBezTo>
                      <a:pt x="68" y="18"/>
                      <a:pt x="64" y="11"/>
                      <a:pt x="59" y="7"/>
                    </a:cubicBezTo>
                    <a:cubicBezTo>
                      <a:pt x="53" y="2"/>
                      <a:pt x="46" y="0"/>
                      <a:pt x="37" y="0"/>
                    </a:cubicBezTo>
                    <a:cubicBezTo>
                      <a:pt x="30" y="0"/>
                      <a:pt x="24" y="2"/>
                      <a:pt x="18" y="5"/>
                    </a:cubicBezTo>
                    <a:cubicBezTo>
                      <a:pt x="12" y="8"/>
                      <a:pt x="7" y="13"/>
                      <a:pt x="4" y="20"/>
                    </a:cubicBezTo>
                    <a:cubicBezTo>
                      <a:pt x="2" y="27"/>
                      <a:pt x="0" y="34"/>
                      <a:pt x="0" y="43"/>
                    </a:cubicBezTo>
                    <a:cubicBezTo>
                      <a:pt x="0" y="57"/>
                      <a:pt x="3" y="67"/>
                      <a:pt x="10" y="74"/>
                    </a:cubicBezTo>
                    <a:cubicBezTo>
                      <a:pt x="17" y="82"/>
                      <a:pt x="26" y="85"/>
                      <a:pt x="37" y="85"/>
                    </a:cubicBezTo>
                    <a:cubicBezTo>
                      <a:pt x="46" y="85"/>
                      <a:pt x="53" y="83"/>
                      <a:pt x="60" y="77"/>
                    </a:cubicBezTo>
                    <a:cubicBezTo>
                      <a:pt x="66" y="72"/>
                      <a:pt x="69" y="65"/>
                      <a:pt x="71" y="55"/>
                    </a:cubicBezTo>
                    <a:cubicBezTo>
                      <a:pt x="57" y="54"/>
                      <a:pt x="57" y="54"/>
                      <a:pt x="57" y="54"/>
                    </a:cubicBezTo>
                    <a:cubicBezTo>
                      <a:pt x="56" y="60"/>
                      <a:pt x="54" y="66"/>
                      <a:pt x="50" y="6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267" name="íṥ1ïdê"/>
              <p:cNvSpPr/>
              <p:nvPr/>
            </p:nvSpPr>
            <p:spPr bwMode="auto">
              <a:xfrm>
                <a:off x="7234491" y="5675903"/>
                <a:ext cx="25400" cy="30163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268" name="îṡ1îďé"/>
              <p:cNvSpPr/>
              <p:nvPr/>
            </p:nvSpPr>
            <p:spPr bwMode="auto">
              <a:xfrm>
                <a:off x="7234491" y="5733053"/>
                <a:ext cx="25400" cy="149225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269" name="íṩḷïḑé"/>
              <p:cNvSpPr/>
              <p:nvPr/>
            </p:nvSpPr>
            <p:spPr bwMode="auto">
              <a:xfrm>
                <a:off x="7290053" y="5729878"/>
                <a:ext cx="138113" cy="157163"/>
              </a:xfrm>
              <a:custGeom>
                <a:avLst/>
                <a:gdLst>
                  <a:gd name="T0" fmla="*/ 38 w 75"/>
                  <a:gd name="T1" fmla="*/ 0 h 85"/>
                  <a:gd name="T2" fmla="*/ 10 w 75"/>
                  <a:gd name="T3" fmla="*/ 12 h 85"/>
                  <a:gd name="T4" fmla="*/ 0 w 75"/>
                  <a:gd name="T5" fmla="*/ 43 h 85"/>
                  <a:gd name="T6" fmla="*/ 10 w 75"/>
                  <a:gd name="T7" fmla="*/ 74 h 85"/>
                  <a:gd name="T8" fmla="*/ 39 w 75"/>
                  <a:gd name="T9" fmla="*/ 85 h 85"/>
                  <a:gd name="T10" fmla="*/ 62 w 75"/>
                  <a:gd name="T11" fmla="*/ 78 h 85"/>
                  <a:gd name="T12" fmla="*/ 74 w 75"/>
                  <a:gd name="T13" fmla="*/ 59 h 85"/>
                  <a:gd name="T14" fmla="*/ 60 w 75"/>
                  <a:gd name="T15" fmla="*/ 57 h 85"/>
                  <a:gd name="T16" fmla="*/ 52 w 75"/>
                  <a:gd name="T17" fmla="*/ 70 h 85"/>
                  <a:gd name="T18" fmla="*/ 39 w 75"/>
                  <a:gd name="T19" fmla="*/ 74 h 85"/>
                  <a:gd name="T20" fmla="*/ 22 w 75"/>
                  <a:gd name="T21" fmla="*/ 67 h 85"/>
                  <a:gd name="T22" fmla="*/ 14 w 75"/>
                  <a:gd name="T23" fmla="*/ 46 h 85"/>
                  <a:gd name="T24" fmla="*/ 75 w 75"/>
                  <a:gd name="T25" fmla="*/ 46 h 85"/>
                  <a:gd name="T26" fmla="*/ 75 w 75"/>
                  <a:gd name="T27" fmla="*/ 43 h 85"/>
                  <a:gd name="T28" fmla="*/ 65 w 75"/>
                  <a:gd name="T29" fmla="*/ 11 h 85"/>
                  <a:gd name="T30" fmla="*/ 38 w 75"/>
                  <a:gd name="T31" fmla="*/ 0 h 85"/>
                  <a:gd name="T32" fmla="*/ 15 w 75"/>
                  <a:gd name="T33" fmla="*/ 35 h 85"/>
                  <a:gd name="T34" fmla="*/ 22 w 75"/>
                  <a:gd name="T35" fmla="*/ 18 h 85"/>
                  <a:gd name="T36" fmla="*/ 38 w 75"/>
                  <a:gd name="T37" fmla="*/ 12 h 85"/>
                  <a:gd name="T38" fmla="*/ 55 w 75"/>
                  <a:gd name="T39" fmla="*/ 20 h 85"/>
                  <a:gd name="T40" fmla="*/ 60 w 75"/>
                  <a:gd name="T41" fmla="*/ 35 h 85"/>
                  <a:gd name="T42" fmla="*/ 15 w 75"/>
                  <a:gd name="T43" fmla="*/ 35 h 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75" h="85">
                    <a:moveTo>
                      <a:pt x="38" y="0"/>
                    </a:moveTo>
                    <a:cubicBezTo>
                      <a:pt x="27" y="0"/>
                      <a:pt x="18" y="4"/>
                      <a:pt x="10" y="12"/>
                    </a:cubicBezTo>
                    <a:cubicBezTo>
                      <a:pt x="3" y="19"/>
                      <a:pt x="0" y="30"/>
                      <a:pt x="0" y="43"/>
                    </a:cubicBezTo>
                    <a:cubicBezTo>
                      <a:pt x="0" y="57"/>
                      <a:pt x="3" y="67"/>
                      <a:pt x="10" y="74"/>
                    </a:cubicBezTo>
                    <a:cubicBezTo>
                      <a:pt x="17" y="81"/>
                      <a:pt x="27" y="85"/>
                      <a:pt x="39" y="85"/>
                    </a:cubicBezTo>
                    <a:cubicBezTo>
                      <a:pt x="48" y="85"/>
                      <a:pt x="56" y="83"/>
                      <a:pt x="62" y="78"/>
                    </a:cubicBezTo>
                    <a:cubicBezTo>
                      <a:pt x="68" y="74"/>
                      <a:pt x="72" y="67"/>
                      <a:pt x="74" y="59"/>
                    </a:cubicBezTo>
                    <a:cubicBezTo>
                      <a:pt x="60" y="57"/>
                      <a:pt x="60" y="57"/>
                      <a:pt x="60" y="57"/>
                    </a:cubicBezTo>
                    <a:cubicBezTo>
                      <a:pt x="58" y="63"/>
                      <a:pt x="55" y="67"/>
                      <a:pt x="52" y="70"/>
                    </a:cubicBezTo>
                    <a:cubicBezTo>
                      <a:pt x="48" y="73"/>
                      <a:pt x="44" y="74"/>
                      <a:pt x="39" y="74"/>
                    </a:cubicBezTo>
                    <a:cubicBezTo>
                      <a:pt x="32" y="74"/>
                      <a:pt x="26" y="71"/>
                      <a:pt x="22" y="67"/>
                    </a:cubicBezTo>
                    <a:cubicBezTo>
                      <a:pt x="17" y="62"/>
                      <a:pt x="15" y="55"/>
                      <a:pt x="14" y="46"/>
                    </a:cubicBezTo>
                    <a:cubicBezTo>
                      <a:pt x="75" y="46"/>
                      <a:pt x="75" y="46"/>
                      <a:pt x="75" y="46"/>
                    </a:cubicBezTo>
                    <a:cubicBezTo>
                      <a:pt x="75" y="45"/>
                      <a:pt x="75" y="43"/>
                      <a:pt x="75" y="43"/>
                    </a:cubicBezTo>
                    <a:cubicBezTo>
                      <a:pt x="75" y="29"/>
                      <a:pt x="71" y="19"/>
                      <a:pt x="65" y="11"/>
                    </a:cubicBezTo>
                    <a:cubicBezTo>
                      <a:pt x="58" y="4"/>
                      <a:pt x="49" y="0"/>
                      <a:pt x="38" y="0"/>
                    </a:cubicBezTo>
                    <a:close/>
                    <a:moveTo>
                      <a:pt x="15" y="35"/>
                    </a:moveTo>
                    <a:cubicBezTo>
                      <a:pt x="15" y="28"/>
                      <a:pt x="18" y="22"/>
                      <a:pt x="22" y="18"/>
                    </a:cubicBezTo>
                    <a:cubicBezTo>
                      <a:pt x="26" y="14"/>
                      <a:pt x="32" y="12"/>
                      <a:pt x="38" y="12"/>
                    </a:cubicBezTo>
                    <a:cubicBezTo>
                      <a:pt x="45" y="12"/>
                      <a:pt x="51" y="14"/>
                      <a:pt x="55" y="20"/>
                    </a:cubicBezTo>
                    <a:cubicBezTo>
                      <a:pt x="58" y="23"/>
                      <a:pt x="60" y="28"/>
                      <a:pt x="60" y="35"/>
                    </a:cubicBezTo>
                    <a:lnTo>
                      <a:pt x="15" y="3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270" name="ïşḷiḋè"/>
              <p:cNvSpPr/>
              <p:nvPr/>
            </p:nvSpPr>
            <p:spPr bwMode="auto">
              <a:xfrm>
                <a:off x="7458328" y="5729878"/>
                <a:ext cx="122238" cy="152400"/>
              </a:xfrm>
              <a:custGeom>
                <a:avLst/>
                <a:gdLst>
                  <a:gd name="T0" fmla="*/ 61 w 66"/>
                  <a:gd name="T1" fmla="*/ 10 h 83"/>
                  <a:gd name="T2" fmla="*/ 51 w 66"/>
                  <a:gd name="T3" fmla="*/ 3 h 83"/>
                  <a:gd name="T4" fmla="*/ 38 w 66"/>
                  <a:gd name="T5" fmla="*/ 0 h 83"/>
                  <a:gd name="T6" fmla="*/ 12 w 66"/>
                  <a:gd name="T7" fmla="*/ 14 h 83"/>
                  <a:gd name="T8" fmla="*/ 12 w 66"/>
                  <a:gd name="T9" fmla="*/ 2 h 83"/>
                  <a:gd name="T10" fmla="*/ 0 w 66"/>
                  <a:gd name="T11" fmla="*/ 2 h 83"/>
                  <a:gd name="T12" fmla="*/ 0 w 66"/>
                  <a:gd name="T13" fmla="*/ 83 h 83"/>
                  <a:gd name="T14" fmla="*/ 13 w 66"/>
                  <a:gd name="T15" fmla="*/ 83 h 83"/>
                  <a:gd name="T16" fmla="*/ 13 w 66"/>
                  <a:gd name="T17" fmla="*/ 39 h 83"/>
                  <a:gd name="T18" fmla="*/ 20 w 66"/>
                  <a:gd name="T19" fmla="*/ 18 h 83"/>
                  <a:gd name="T20" fmla="*/ 35 w 66"/>
                  <a:gd name="T21" fmla="*/ 12 h 83"/>
                  <a:gd name="T22" fmla="*/ 45 w 66"/>
                  <a:gd name="T23" fmla="*/ 15 h 83"/>
                  <a:gd name="T24" fmla="*/ 50 w 66"/>
                  <a:gd name="T25" fmla="*/ 21 h 83"/>
                  <a:gd name="T26" fmla="*/ 52 w 66"/>
                  <a:gd name="T27" fmla="*/ 34 h 83"/>
                  <a:gd name="T28" fmla="*/ 52 w 66"/>
                  <a:gd name="T29" fmla="*/ 83 h 83"/>
                  <a:gd name="T30" fmla="*/ 66 w 66"/>
                  <a:gd name="T31" fmla="*/ 83 h 83"/>
                  <a:gd name="T32" fmla="*/ 66 w 66"/>
                  <a:gd name="T33" fmla="*/ 33 h 83"/>
                  <a:gd name="T34" fmla="*/ 65 w 66"/>
                  <a:gd name="T35" fmla="*/ 20 h 83"/>
                  <a:gd name="T36" fmla="*/ 61 w 66"/>
                  <a:gd name="T37" fmla="*/ 10 h 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66" h="83">
                    <a:moveTo>
                      <a:pt x="61" y="10"/>
                    </a:moveTo>
                    <a:cubicBezTo>
                      <a:pt x="59" y="7"/>
                      <a:pt x="56" y="5"/>
                      <a:pt x="51" y="3"/>
                    </a:cubicBezTo>
                    <a:cubicBezTo>
                      <a:pt x="47" y="1"/>
                      <a:pt x="43" y="0"/>
                      <a:pt x="38" y="0"/>
                    </a:cubicBezTo>
                    <a:cubicBezTo>
                      <a:pt x="27" y="0"/>
                      <a:pt x="18" y="5"/>
                      <a:pt x="12" y="14"/>
                    </a:cubicBezTo>
                    <a:cubicBezTo>
                      <a:pt x="12" y="2"/>
                      <a:pt x="12" y="2"/>
                      <a:pt x="12" y="2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83"/>
                      <a:pt x="0" y="83"/>
                      <a:pt x="0" y="83"/>
                    </a:cubicBezTo>
                    <a:cubicBezTo>
                      <a:pt x="13" y="83"/>
                      <a:pt x="13" y="83"/>
                      <a:pt x="13" y="83"/>
                    </a:cubicBezTo>
                    <a:cubicBezTo>
                      <a:pt x="13" y="39"/>
                      <a:pt x="13" y="39"/>
                      <a:pt x="13" y="39"/>
                    </a:cubicBezTo>
                    <a:cubicBezTo>
                      <a:pt x="13" y="29"/>
                      <a:pt x="16" y="21"/>
                      <a:pt x="20" y="18"/>
                    </a:cubicBezTo>
                    <a:cubicBezTo>
                      <a:pt x="24" y="14"/>
                      <a:pt x="29" y="12"/>
                      <a:pt x="35" y="12"/>
                    </a:cubicBezTo>
                    <a:cubicBezTo>
                      <a:pt x="39" y="12"/>
                      <a:pt x="42" y="13"/>
                      <a:pt x="45" y="15"/>
                    </a:cubicBezTo>
                    <a:cubicBezTo>
                      <a:pt x="47" y="16"/>
                      <a:pt x="49" y="19"/>
                      <a:pt x="50" y="21"/>
                    </a:cubicBezTo>
                    <a:cubicBezTo>
                      <a:pt x="51" y="24"/>
                      <a:pt x="52" y="28"/>
                      <a:pt x="52" y="34"/>
                    </a:cubicBezTo>
                    <a:cubicBezTo>
                      <a:pt x="52" y="83"/>
                      <a:pt x="52" y="83"/>
                      <a:pt x="52" y="83"/>
                    </a:cubicBezTo>
                    <a:cubicBezTo>
                      <a:pt x="66" y="83"/>
                      <a:pt x="66" y="83"/>
                      <a:pt x="66" y="83"/>
                    </a:cubicBezTo>
                    <a:cubicBezTo>
                      <a:pt x="66" y="33"/>
                      <a:pt x="66" y="33"/>
                      <a:pt x="66" y="33"/>
                    </a:cubicBezTo>
                    <a:cubicBezTo>
                      <a:pt x="66" y="27"/>
                      <a:pt x="65" y="23"/>
                      <a:pt x="65" y="20"/>
                    </a:cubicBezTo>
                    <a:cubicBezTo>
                      <a:pt x="64" y="16"/>
                      <a:pt x="63" y="13"/>
                      <a:pt x="61" y="1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271" name="îṩľiḍé"/>
              <p:cNvSpPr/>
              <p:nvPr/>
            </p:nvSpPr>
            <p:spPr bwMode="auto">
              <a:xfrm>
                <a:off x="7612316" y="5729878"/>
                <a:ext cx="128588" cy="157163"/>
              </a:xfrm>
              <a:custGeom>
                <a:avLst/>
                <a:gdLst>
                  <a:gd name="T0" fmla="*/ 50 w 70"/>
                  <a:gd name="T1" fmla="*/ 69 h 85"/>
                  <a:gd name="T2" fmla="*/ 36 w 70"/>
                  <a:gd name="T3" fmla="*/ 74 h 85"/>
                  <a:gd name="T4" fmla="*/ 20 w 70"/>
                  <a:gd name="T5" fmla="*/ 66 h 85"/>
                  <a:gd name="T6" fmla="*/ 14 w 70"/>
                  <a:gd name="T7" fmla="*/ 43 h 85"/>
                  <a:gd name="T8" fmla="*/ 20 w 70"/>
                  <a:gd name="T9" fmla="*/ 19 h 85"/>
                  <a:gd name="T10" fmla="*/ 37 w 70"/>
                  <a:gd name="T11" fmla="*/ 12 h 85"/>
                  <a:gd name="T12" fmla="*/ 49 w 70"/>
                  <a:gd name="T13" fmla="*/ 16 h 85"/>
                  <a:gd name="T14" fmla="*/ 56 w 70"/>
                  <a:gd name="T15" fmla="*/ 28 h 85"/>
                  <a:gd name="T16" fmla="*/ 69 w 70"/>
                  <a:gd name="T17" fmla="*/ 26 h 85"/>
                  <a:gd name="T18" fmla="*/ 58 w 70"/>
                  <a:gd name="T19" fmla="*/ 7 h 85"/>
                  <a:gd name="T20" fmla="*/ 37 w 70"/>
                  <a:gd name="T21" fmla="*/ 0 h 85"/>
                  <a:gd name="T22" fmla="*/ 17 w 70"/>
                  <a:gd name="T23" fmla="*/ 5 h 85"/>
                  <a:gd name="T24" fmla="*/ 4 w 70"/>
                  <a:gd name="T25" fmla="*/ 20 h 85"/>
                  <a:gd name="T26" fmla="*/ 0 w 70"/>
                  <a:gd name="T27" fmla="*/ 43 h 85"/>
                  <a:gd name="T28" fmla="*/ 10 w 70"/>
                  <a:gd name="T29" fmla="*/ 74 h 85"/>
                  <a:gd name="T30" fmla="*/ 37 w 70"/>
                  <a:gd name="T31" fmla="*/ 85 h 85"/>
                  <a:gd name="T32" fmla="*/ 59 w 70"/>
                  <a:gd name="T33" fmla="*/ 77 h 85"/>
                  <a:gd name="T34" fmla="*/ 70 w 70"/>
                  <a:gd name="T35" fmla="*/ 55 h 85"/>
                  <a:gd name="T36" fmla="*/ 57 w 70"/>
                  <a:gd name="T37" fmla="*/ 54 h 85"/>
                  <a:gd name="T38" fmla="*/ 50 w 70"/>
                  <a:gd name="T39" fmla="*/ 69 h 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70" h="85">
                    <a:moveTo>
                      <a:pt x="50" y="69"/>
                    </a:moveTo>
                    <a:cubicBezTo>
                      <a:pt x="46" y="72"/>
                      <a:pt x="42" y="74"/>
                      <a:pt x="36" y="74"/>
                    </a:cubicBezTo>
                    <a:cubicBezTo>
                      <a:pt x="30" y="74"/>
                      <a:pt x="24" y="71"/>
                      <a:pt x="20" y="66"/>
                    </a:cubicBezTo>
                    <a:cubicBezTo>
                      <a:pt x="16" y="61"/>
                      <a:pt x="14" y="54"/>
                      <a:pt x="14" y="43"/>
                    </a:cubicBezTo>
                    <a:cubicBezTo>
                      <a:pt x="14" y="32"/>
                      <a:pt x="16" y="24"/>
                      <a:pt x="20" y="19"/>
                    </a:cubicBezTo>
                    <a:cubicBezTo>
                      <a:pt x="25" y="14"/>
                      <a:pt x="30" y="12"/>
                      <a:pt x="37" y="12"/>
                    </a:cubicBezTo>
                    <a:cubicBezTo>
                      <a:pt x="42" y="12"/>
                      <a:pt x="46" y="13"/>
                      <a:pt x="49" y="16"/>
                    </a:cubicBezTo>
                    <a:cubicBezTo>
                      <a:pt x="52" y="18"/>
                      <a:pt x="54" y="23"/>
                      <a:pt x="56" y="28"/>
                    </a:cubicBezTo>
                    <a:cubicBezTo>
                      <a:pt x="69" y="26"/>
                      <a:pt x="69" y="26"/>
                      <a:pt x="69" y="26"/>
                    </a:cubicBezTo>
                    <a:cubicBezTo>
                      <a:pt x="68" y="18"/>
                      <a:pt x="64" y="11"/>
                      <a:pt x="58" y="7"/>
                    </a:cubicBezTo>
                    <a:cubicBezTo>
                      <a:pt x="53" y="2"/>
                      <a:pt x="46" y="0"/>
                      <a:pt x="37" y="0"/>
                    </a:cubicBezTo>
                    <a:cubicBezTo>
                      <a:pt x="30" y="0"/>
                      <a:pt x="23" y="2"/>
                      <a:pt x="17" y="5"/>
                    </a:cubicBezTo>
                    <a:cubicBezTo>
                      <a:pt x="11" y="8"/>
                      <a:pt x="7" y="13"/>
                      <a:pt x="4" y="20"/>
                    </a:cubicBezTo>
                    <a:cubicBezTo>
                      <a:pt x="1" y="27"/>
                      <a:pt x="0" y="34"/>
                      <a:pt x="0" y="43"/>
                    </a:cubicBezTo>
                    <a:cubicBezTo>
                      <a:pt x="0" y="57"/>
                      <a:pt x="3" y="67"/>
                      <a:pt x="10" y="74"/>
                    </a:cubicBezTo>
                    <a:cubicBezTo>
                      <a:pt x="17" y="82"/>
                      <a:pt x="26" y="85"/>
                      <a:pt x="37" y="85"/>
                    </a:cubicBezTo>
                    <a:cubicBezTo>
                      <a:pt x="45" y="85"/>
                      <a:pt x="53" y="83"/>
                      <a:pt x="59" y="77"/>
                    </a:cubicBezTo>
                    <a:cubicBezTo>
                      <a:pt x="65" y="72"/>
                      <a:pt x="69" y="65"/>
                      <a:pt x="70" y="55"/>
                    </a:cubicBezTo>
                    <a:cubicBezTo>
                      <a:pt x="57" y="54"/>
                      <a:pt x="57" y="54"/>
                      <a:pt x="57" y="54"/>
                    </a:cubicBezTo>
                    <a:cubicBezTo>
                      <a:pt x="56" y="60"/>
                      <a:pt x="54" y="66"/>
                      <a:pt x="50" y="6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272" name="íṡḷïďe"/>
              <p:cNvSpPr/>
              <p:nvPr/>
            </p:nvSpPr>
            <p:spPr bwMode="auto">
              <a:xfrm>
                <a:off x="7755191" y="5729878"/>
                <a:ext cx="138113" cy="157163"/>
              </a:xfrm>
              <a:custGeom>
                <a:avLst/>
                <a:gdLst>
                  <a:gd name="T0" fmla="*/ 38 w 75"/>
                  <a:gd name="T1" fmla="*/ 0 h 85"/>
                  <a:gd name="T2" fmla="*/ 10 w 75"/>
                  <a:gd name="T3" fmla="*/ 12 h 85"/>
                  <a:gd name="T4" fmla="*/ 0 w 75"/>
                  <a:gd name="T5" fmla="*/ 43 h 85"/>
                  <a:gd name="T6" fmla="*/ 10 w 75"/>
                  <a:gd name="T7" fmla="*/ 74 h 85"/>
                  <a:gd name="T8" fmla="*/ 38 w 75"/>
                  <a:gd name="T9" fmla="*/ 85 h 85"/>
                  <a:gd name="T10" fmla="*/ 62 w 75"/>
                  <a:gd name="T11" fmla="*/ 78 h 85"/>
                  <a:gd name="T12" fmla="*/ 74 w 75"/>
                  <a:gd name="T13" fmla="*/ 59 h 85"/>
                  <a:gd name="T14" fmla="*/ 60 w 75"/>
                  <a:gd name="T15" fmla="*/ 57 h 85"/>
                  <a:gd name="T16" fmla="*/ 51 w 75"/>
                  <a:gd name="T17" fmla="*/ 70 h 85"/>
                  <a:gd name="T18" fmla="*/ 38 w 75"/>
                  <a:gd name="T19" fmla="*/ 74 h 85"/>
                  <a:gd name="T20" fmla="*/ 21 w 75"/>
                  <a:gd name="T21" fmla="*/ 67 h 85"/>
                  <a:gd name="T22" fmla="*/ 14 w 75"/>
                  <a:gd name="T23" fmla="*/ 46 h 85"/>
                  <a:gd name="T24" fmla="*/ 75 w 75"/>
                  <a:gd name="T25" fmla="*/ 46 h 85"/>
                  <a:gd name="T26" fmla="*/ 75 w 75"/>
                  <a:gd name="T27" fmla="*/ 43 h 85"/>
                  <a:gd name="T28" fmla="*/ 64 w 75"/>
                  <a:gd name="T29" fmla="*/ 11 h 85"/>
                  <a:gd name="T30" fmla="*/ 38 w 75"/>
                  <a:gd name="T31" fmla="*/ 0 h 85"/>
                  <a:gd name="T32" fmla="*/ 15 w 75"/>
                  <a:gd name="T33" fmla="*/ 35 h 85"/>
                  <a:gd name="T34" fmla="*/ 22 w 75"/>
                  <a:gd name="T35" fmla="*/ 18 h 85"/>
                  <a:gd name="T36" fmla="*/ 38 w 75"/>
                  <a:gd name="T37" fmla="*/ 12 h 85"/>
                  <a:gd name="T38" fmla="*/ 55 w 75"/>
                  <a:gd name="T39" fmla="*/ 20 h 85"/>
                  <a:gd name="T40" fmla="*/ 60 w 75"/>
                  <a:gd name="T41" fmla="*/ 35 h 85"/>
                  <a:gd name="T42" fmla="*/ 15 w 75"/>
                  <a:gd name="T43" fmla="*/ 35 h 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75" h="85">
                    <a:moveTo>
                      <a:pt x="38" y="0"/>
                    </a:moveTo>
                    <a:cubicBezTo>
                      <a:pt x="26" y="0"/>
                      <a:pt x="17" y="4"/>
                      <a:pt x="10" y="12"/>
                    </a:cubicBezTo>
                    <a:cubicBezTo>
                      <a:pt x="3" y="19"/>
                      <a:pt x="0" y="30"/>
                      <a:pt x="0" y="43"/>
                    </a:cubicBezTo>
                    <a:cubicBezTo>
                      <a:pt x="0" y="57"/>
                      <a:pt x="3" y="67"/>
                      <a:pt x="10" y="74"/>
                    </a:cubicBezTo>
                    <a:cubicBezTo>
                      <a:pt x="17" y="81"/>
                      <a:pt x="26" y="85"/>
                      <a:pt x="38" y="85"/>
                    </a:cubicBezTo>
                    <a:cubicBezTo>
                      <a:pt x="48" y="85"/>
                      <a:pt x="56" y="83"/>
                      <a:pt x="62" y="78"/>
                    </a:cubicBezTo>
                    <a:cubicBezTo>
                      <a:pt x="68" y="74"/>
                      <a:pt x="72" y="67"/>
                      <a:pt x="74" y="59"/>
                    </a:cubicBezTo>
                    <a:cubicBezTo>
                      <a:pt x="60" y="57"/>
                      <a:pt x="60" y="57"/>
                      <a:pt x="60" y="57"/>
                    </a:cubicBezTo>
                    <a:cubicBezTo>
                      <a:pt x="58" y="63"/>
                      <a:pt x="55" y="67"/>
                      <a:pt x="51" y="70"/>
                    </a:cubicBezTo>
                    <a:cubicBezTo>
                      <a:pt x="48" y="73"/>
                      <a:pt x="43" y="74"/>
                      <a:pt x="38" y="74"/>
                    </a:cubicBezTo>
                    <a:cubicBezTo>
                      <a:pt x="32" y="74"/>
                      <a:pt x="26" y="71"/>
                      <a:pt x="21" y="67"/>
                    </a:cubicBezTo>
                    <a:cubicBezTo>
                      <a:pt x="17" y="62"/>
                      <a:pt x="14" y="55"/>
                      <a:pt x="14" y="46"/>
                    </a:cubicBezTo>
                    <a:cubicBezTo>
                      <a:pt x="75" y="46"/>
                      <a:pt x="75" y="46"/>
                      <a:pt x="75" y="46"/>
                    </a:cubicBezTo>
                    <a:cubicBezTo>
                      <a:pt x="75" y="45"/>
                      <a:pt x="75" y="43"/>
                      <a:pt x="75" y="43"/>
                    </a:cubicBezTo>
                    <a:cubicBezTo>
                      <a:pt x="75" y="29"/>
                      <a:pt x="71" y="19"/>
                      <a:pt x="64" y="11"/>
                    </a:cubicBezTo>
                    <a:cubicBezTo>
                      <a:pt x="57" y="4"/>
                      <a:pt x="48" y="0"/>
                      <a:pt x="38" y="0"/>
                    </a:cubicBezTo>
                    <a:close/>
                    <a:moveTo>
                      <a:pt x="15" y="35"/>
                    </a:moveTo>
                    <a:cubicBezTo>
                      <a:pt x="15" y="28"/>
                      <a:pt x="17" y="22"/>
                      <a:pt x="22" y="18"/>
                    </a:cubicBezTo>
                    <a:cubicBezTo>
                      <a:pt x="26" y="14"/>
                      <a:pt x="31" y="12"/>
                      <a:pt x="38" y="12"/>
                    </a:cubicBezTo>
                    <a:cubicBezTo>
                      <a:pt x="45" y="12"/>
                      <a:pt x="50" y="14"/>
                      <a:pt x="55" y="20"/>
                    </a:cubicBezTo>
                    <a:cubicBezTo>
                      <a:pt x="58" y="23"/>
                      <a:pt x="59" y="28"/>
                      <a:pt x="60" y="35"/>
                    </a:cubicBezTo>
                    <a:lnTo>
                      <a:pt x="15" y="3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273" name="í$ľîde"/>
              <p:cNvSpPr/>
              <p:nvPr/>
            </p:nvSpPr>
            <p:spPr bwMode="auto">
              <a:xfrm>
                <a:off x="7994903" y="5729878"/>
                <a:ext cx="138113" cy="157163"/>
              </a:xfrm>
              <a:custGeom>
                <a:avLst/>
                <a:gdLst>
                  <a:gd name="T0" fmla="*/ 71 w 75"/>
                  <a:gd name="T1" fmla="*/ 49 h 85"/>
                  <a:gd name="T2" fmla="*/ 71 w 75"/>
                  <a:gd name="T3" fmla="*/ 31 h 85"/>
                  <a:gd name="T4" fmla="*/ 70 w 75"/>
                  <a:gd name="T5" fmla="*/ 18 h 85"/>
                  <a:gd name="T6" fmla="*/ 66 w 75"/>
                  <a:gd name="T7" fmla="*/ 9 h 85"/>
                  <a:gd name="T8" fmla="*/ 56 w 75"/>
                  <a:gd name="T9" fmla="*/ 3 h 85"/>
                  <a:gd name="T10" fmla="*/ 39 w 75"/>
                  <a:gd name="T11" fmla="*/ 0 h 85"/>
                  <a:gd name="T12" fmla="*/ 21 w 75"/>
                  <a:gd name="T13" fmla="*/ 3 h 85"/>
                  <a:gd name="T14" fmla="*/ 9 w 75"/>
                  <a:gd name="T15" fmla="*/ 11 h 85"/>
                  <a:gd name="T16" fmla="*/ 3 w 75"/>
                  <a:gd name="T17" fmla="*/ 25 h 85"/>
                  <a:gd name="T18" fmla="*/ 16 w 75"/>
                  <a:gd name="T19" fmla="*/ 27 h 85"/>
                  <a:gd name="T20" fmla="*/ 23 w 75"/>
                  <a:gd name="T21" fmla="*/ 15 h 85"/>
                  <a:gd name="T22" fmla="*/ 37 w 75"/>
                  <a:gd name="T23" fmla="*/ 12 h 85"/>
                  <a:gd name="T24" fmla="*/ 53 w 75"/>
                  <a:gd name="T25" fmla="*/ 16 h 85"/>
                  <a:gd name="T26" fmla="*/ 57 w 75"/>
                  <a:gd name="T27" fmla="*/ 28 h 85"/>
                  <a:gd name="T28" fmla="*/ 57 w 75"/>
                  <a:gd name="T29" fmla="*/ 32 h 85"/>
                  <a:gd name="T30" fmla="*/ 32 w 75"/>
                  <a:gd name="T31" fmla="*/ 36 h 85"/>
                  <a:gd name="T32" fmla="*/ 20 w 75"/>
                  <a:gd name="T33" fmla="*/ 39 h 85"/>
                  <a:gd name="T34" fmla="*/ 10 w 75"/>
                  <a:gd name="T35" fmla="*/ 43 h 85"/>
                  <a:gd name="T36" fmla="*/ 3 w 75"/>
                  <a:gd name="T37" fmla="*/ 51 h 85"/>
                  <a:gd name="T38" fmla="*/ 0 w 75"/>
                  <a:gd name="T39" fmla="*/ 62 h 85"/>
                  <a:gd name="T40" fmla="*/ 7 w 75"/>
                  <a:gd name="T41" fmla="*/ 79 h 85"/>
                  <a:gd name="T42" fmla="*/ 28 w 75"/>
                  <a:gd name="T43" fmla="*/ 85 h 85"/>
                  <a:gd name="T44" fmla="*/ 43 w 75"/>
                  <a:gd name="T45" fmla="*/ 82 h 85"/>
                  <a:gd name="T46" fmla="*/ 58 w 75"/>
                  <a:gd name="T47" fmla="*/ 73 h 85"/>
                  <a:gd name="T48" fmla="*/ 61 w 75"/>
                  <a:gd name="T49" fmla="*/ 83 h 85"/>
                  <a:gd name="T50" fmla="*/ 75 w 75"/>
                  <a:gd name="T51" fmla="*/ 83 h 85"/>
                  <a:gd name="T52" fmla="*/ 72 w 75"/>
                  <a:gd name="T53" fmla="*/ 74 h 85"/>
                  <a:gd name="T54" fmla="*/ 71 w 75"/>
                  <a:gd name="T55" fmla="*/ 49 h 85"/>
                  <a:gd name="T56" fmla="*/ 57 w 75"/>
                  <a:gd name="T57" fmla="*/ 48 h 85"/>
                  <a:gd name="T58" fmla="*/ 55 w 75"/>
                  <a:gd name="T59" fmla="*/ 61 h 85"/>
                  <a:gd name="T60" fmla="*/ 46 w 75"/>
                  <a:gd name="T61" fmla="*/ 71 h 85"/>
                  <a:gd name="T62" fmla="*/ 31 w 75"/>
                  <a:gd name="T63" fmla="*/ 74 h 85"/>
                  <a:gd name="T64" fmla="*/ 19 w 75"/>
                  <a:gd name="T65" fmla="*/ 71 h 85"/>
                  <a:gd name="T66" fmla="*/ 15 w 75"/>
                  <a:gd name="T67" fmla="*/ 62 h 85"/>
                  <a:gd name="T68" fmla="*/ 17 w 75"/>
                  <a:gd name="T69" fmla="*/ 55 h 85"/>
                  <a:gd name="T70" fmla="*/ 22 w 75"/>
                  <a:gd name="T71" fmla="*/ 50 h 85"/>
                  <a:gd name="T72" fmla="*/ 34 w 75"/>
                  <a:gd name="T73" fmla="*/ 48 h 85"/>
                  <a:gd name="T74" fmla="*/ 57 w 75"/>
                  <a:gd name="T75" fmla="*/ 43 h 85"/>
                  <a:gd name="T76" fmla="*/ 57 w 75"/>
                  <a:gd name="T77" fmla="*/ 48 h 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75" h="85">
                    <a:moveTo>
                      <a:pt x="71" y="49"/>
                    </a:moveTo>
                    <a:cubicBezTo>
                      <a:pt x="71" y="31"/>
                      <a:pt x="71" y="31"/>
                      <a:pt x="71" y="31"/>
                    </a:cubicBezTo>
                    <a:cubicBezTo>
                      <a:pt x="71" y="25"/>
                      <a:pt x="71" y="21"/>
                      <a:pt x="70" y="18"/>
                    </a:cubicBezTo>
                    <a:cubicBezTo>
                      <a:pt x="69" y="14"/>
                      <a:pt x="68" y="11"/>
                      <a:pt x="66" y="9"/>
                    </a:cubicBezTo>
                    <a:cubicBezTo>
                      <a:pt x="64" y="6"/>
                      <a:pt x="61" y="4"/>
                      <a:pt x="56" y="3"/>
                    </a:cubicBezTo>
                    <a:cubicBezTo>
                      <a:pt x="52" y="1"/>
                      <a:pt x="46" y="0"/>
                      <a:pt x="39" y="0"/>
                    </a:cubicBezTo>
                    <a:cubicBezTo>
                      <a:pt x="32" y="0"/>
                      <a:pt x="26" y="1"/>
                      <a:pt x="21" y="3"/>
                    </a:cubicBezTo>
                    <a:cubicBezTo>
                      <a:pt x="16" y="5"/>
                      <a:pt x="12" y="8"/>
                      <a:pt x="9" y="11"/>
                    </a:cubicBezTo>
                    <a:cubicBezTo>
                      <a:pt x="6" y="15"/>
                      <a:pt x="4" y="19"/>
                      <a:pt x="3" y="25"/>
                    </a:cubicBezTo>
                    <a:cubicBezTo>
                      <a:pt x="16" y="27"/>
                      <a:pt x="16" y="27"/>
                      <a:pt x="16" y="27"/>
                    </a:cubicBezTo>
                    <a:cubicBezTo>
                      <a:pt x="18" y="21"/>
                      <a:pt x="20" y="17"/>
                      <a:pt x="23" y="15"/>
                    </a:cubicBezTo>
                    <a:cubicBezTo>
                      <a:pt x="26" y="13"/>
                      <a:pt x="31" y="12"/>
                      <a:pt x="37" y="12"/>
                    </a:cubicBezTo>
                    <a:cubicBezTo>
                      <a:pt x="44" y="12"/>
                      <a:pt x="50" y="13"/>
                      <a:pt x="53" y="16"/>
                    </a:cubicBezTo>
                    <a:cubicBezTo>
                      <a:pt x="56" y="19"/>
                      <a:pt x="57" y="23"/>
                      <a:pt x="57" y="28"/>
                    </a:cubicBezTo>
                    <a:cubicBezTo>
                      <a:pt x="57" y="29"/>
                      <a:pt x="57" y="30"/>
                      <a:pt x="57" y="32"/>
                    </a:cubicBezTo>
                    <a:cubicBezTo>
                      <a:pt x="52" y="34"/>
                      <a:pt x="43" y="35"/>
                      <a:pt x="32" y="36"/>
                    </a:cubicBezTo>
                    <a:cubicBezTo>
                      <a:pt x="27" y="37"/>
                      <a:pt x="23" y="38"/>
                      <a:pt x="20" y="39"/>
                    </a:cubicBezTo>
                    <a:cubicBezTo>
                      <a:pt x="16" y="40"/>
                      <a:pt x="13" y="41"/>
                      <a:pt x="10" y="43"/>
                    </a:cubicBezTo>
                    <a:cubicBezTo>
                      <a:pt x="7" y="45"/>
                      <a:pt x="5" y="48"/>
                      <a:pt x="3" y="51"/>
                    </a:cubicBezTo>
                    <a:cubicBezTo>
                      <a:pt x="1" y="54"/>
                      <a:pt x="0" y="58"/>
                      <a:pt x="0" y="62"/>
                    </a:cubicBezTo>
                    <a:cubicBezTo>
                      <a:pt x="0" y="69"/>
                      <a:pt x="3" y="74"/>
                      <a:pt x="7" y="79"/>
                    </a:cubicBezTo>
                    <a:cubicBezTo>
                      <a:pt x="12" y="83"/>
                      <a:pt x="19" y="85"/>
                      <a:pt x="28" y="85"/>
                    </a:cubicBezTo>
                    <a:cubicBezTo>
                      <a:pt x="33" y="85"/>
                      <a:pt x="39" y="84"/>
                      <a:pt x="43" y="82"/>
                    </a:cubicBezTo>
                    <a:cubicBezTo>
                      <a:pt x="48" y="81"/>
                      <a:pt x="53" y="78"/>
                      <a:pt x="58" y="73"/>
                    </a:cubicBezTo>
                    <a:cubicBezTo>
                      <a:pt x="58" y="77"/>
                      <a:pt x="59" y="80"/>
                      <a:pt x="61" y="83"/>
                    </a:cubicBezTo>
                    <a:cubicBezTo>
                      <a:pt x="75" y="83"/>
                      <a:pt x="75" y="83"/>
                      <a:pt x="75" y="83"/>
                    </a:cubicBezTo>
                    <a:cubicBezTo>
                      <a:pt x="73" y="80"/>
                      <a:pt x="72" y="77"/>
                      <a:pt x="72" y="74"/>
                    </a:cubicBezTo>
                    <a:cubicBezTo>
                      <a:pt x="71" y="70"/>
                      <a:pt x="71" y="62"/>
                      <a:pt x="71" y="49"/>
                    </a:cubicBezTo>
                    <a:close/>
                    <a:moveTo>
                      <a:pt x="57" y="48"/>
                    </a:moveTo>
                    <a:cubicBezTo>
                      <a:pt x="57" y="54"/>
                      <a:pt x="56" y="58"/>
                      <a:pt x="55" y="61"/>
                    </a:cubicBezTo>
                    <a:cubicBezTo>
                      <a:pt x="53" y="65"/>
                      <a:pt x="50" y="69"/>
                      <a:pt x="46" y="71"/>
                    </a:cubicBezTo>
                    <a:cubicBezTo>
                      <a:pt x="41" y="73"/>
                      <a:pt x="37" y="74"/>
                      <a:pt x="31" y="74"/>
                    </a:cubicBezTo>
                    <a:cubicBezTo>
                      <a:pt x="26" y="74"/>
                      <a:pt x="22" y="73"/>
                      <a:pt x="19" y="71"/>
                    </a:cubicBezTo>
                    <a:cubicBezTo>
                      <a:pt x="16" y="68"/>
                      <a:pt x="15" y="65"/>
                      <a:pt x="15" y="62"/>
                    </a:cubicBezTo>
                    <a:cubicBezTo>
                      <a:pt x="15" y="59"/>
                      <a:pt x="16" y="57"/>
                      <a:pt x="17" y="55"/>
                    </a:cubicBezTo>
                    <a:cubicBezTo>
                      <a:pt x="18" y="53"/>
                      <a:pt x="20" y="52"/>
                      <a:pt x="22" y="50"/>
                    </a:cubicBezTo>
                    <a:cubicBezTo>
                      <a:pt x="25" y="49"/>
                      <a:pt x="29" y="49"/>
                      <a:pt x="34" y="48"/>
                    </a:cubicBezTo>
                    <a:cubicBezTo>
                      <a:pt x="44" y="46"/>
                      <a:pt x="52" y="45"/>
                      <a:pt x="57" y="43"/>
                    </a:cubicBezTo>
                    <a:lnTo>
                      <a:pt x="57" y="4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274" name="ï$ḻíḋê"/>
              <p:cNvSpPr/>
              <p:nvPr/>
            </p:nvSpPr>
            <p:spPr bwMode="auto">
              <a:xfrm>
                <a:off x="8164766" y="5729878"/>
                <a:ext cx="122238" cy="152400"/>
              </a:xfrm>
              <a:custGeom>
                <a:avLst/>
                <a:gdLst>
                  <a:gd name="T0" fmla="*/ 61 w 66"/>
                  <a:gd name="T1" fmla="*/ 10 h 83"/>
                  <a:gd name="T2" fmla="*/ 52 w 66"/>
                  <a:gd name="T3" fmla="*/ 3 h 83"/>
                  <a:gd name="T4" fmla="*/ 38 w 66"/>
                  <a:gd name="T5" fmla="*/ 0 h 83"/>
                  <a:gd name="T6" fmla="*/ 13 w 66"/>
                  <a:gd name="T7" fmla="*/ 14 h 83"/>
                  <a:gd name="T8" fmla="*/ 13 w 66"/>
                  <a:gd name="T9" fmla="*/ 2 h 83"/>
                  <a:gd name="T10" fmla="*/ 0 w 66"/>
                  <a:gd name="T11" fmla="*/ 2 h 83"/>
                  <a:gd name="T12" fmla="*/ 0 w 66"/>
                  <a:gd name="T13" fmla="*/ 83 h 83"/>
                  <a:gd name="T14" fmla="*/ 14 w 66"/>
                  <a:gd name="T15" fmla="*/ 83 h 83"/>
                  <a:gd name="T16" fmla="*/ 14 w 66"/>
                  <a:gd name="T17" fmla="*/ 39 h 83"/>
                  <a:gd name="T18" fmla="*/ 20 w 66"/>
                  <a:gd name="T19" fmla="*/ 18 h 83"/>
                  <a:gd name="T20" fmla="*/ 36 w 66"/>
                  <a:gd name="T21" fmla="*/ 12 h 83"/>
                  <a:gd name="T22" fmla="*/ 45 w 66"/>
                  <a:gd name="T23" fmla="*/ 15 h 83"/>
                  <a:gd name="T24" fmla="*/ 51 w 66"/>
                  <a:gd name="T25" fmla="*/ 21 h 83"/>
                  <a:gd name="T26" fmla="*/ 52 w 66"/>
                  <a:gd name="T27" fmla="*/ 34 h 83"/>
                  <a:gd name="T28" fmla="*/ 52 w 66"/>
                  <a:gd name="T29" fmla="*/ 83 h 83"/>
                  <a:gd name="T30" fmla="*/ 66 w 66"/>
                  <a:gd name="T31" fmla="*/ 83 h 83"/>
                  <a:gd name="T32" fmla="*/ 66 w 66"/>
                  <a:gd name="T33" fmla="*/ 33 h 83"/>
                  <a:gd name="T34" fmla="*/ 65 w 66"/>
                  <a:gd name="T35" fmla="*/ 20 h 83"/>
                  <a:gd name="T36" fmla="*/ 61 w 66"/>
                  <a:gd name="T37" fmla="*/ 10 h 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66" h="83">
                    <a:moveTo>
                      <a:pt x="61" y="10"/>
                    </a:moveTo>
                    <a:cubicBezTo>
                      <a:pt x="59" y="7"/>
                      <a:pt x="56" y="5"/>
                      <a:pt x="52" y="3"/>
                    </a:cubicBezTo>
                    <a:cubicBezTo>
                      <a:pt x="48" y="1"/>
                      <a:pt x="43" y="0"/>
                      <a:pt x="38" y="0"/>
                    </a:cubicBezTo>
                    <a:cubicBezTo>
                      <a:pt x="27" y="0"/>
                      <a:pt x="19" y="5"/>
                      <a:pt x="13" y="14"/>
                    </a:cubicBezTo>
                    <a:cubicBezTo>
                      <a:pt x="13" y="2"/>
                      <a:pt x="13" y="2"/>
                      <a:pt x="13" y="2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83"/>
                      <a:pt x="0" y="83"/>
                      <a:pt x="0" y="83"/>
                    </a:cubicBezTo>
                    <a:cubicBezTo>
                      <a:pt x="14" y="83"/>
                      <a:pt x="14" y="83"/>
                      <a:pt x="14" y="83"/>
                    </a:cubicBezTo>
                    <a:cubicBezTo>
                      <a:pt x="14" y="39"/>
                      <a:pt x="14" y="39"/>
                      <a:pt x="14" y="39"/>
                    </a:cubicBezTo>
                    <a:cubicBezTo>
                      <a:pt x="14" y="29"/>
                      <a:pt x="16" y="21"/>
                      <a:pt x="20" y="18"/>
                    </a:cubicBezTo>
                    <a:cubicBezTo>
                      <a:pt x="25" y="14"/>
                      <a:pt x="30" y="12"/>
                      <a:pt x="36" y="12"/>
                    </a:cubicBezTo>
                    <a:cubicBezTo>
                      <a:pt x="39" y="12"/>
                      <a:pt x="42" y="13"/>
                      <a:pt x="45" y="15"/>
                    </a:cubicBezTo>
                    <a:cubicBezTo>
                      <a:pt x="48" y="16"/>
                      <a:pt x="50" y="19"/>
                      <a:pt x="51" y="21"/>
                    </a:cubicBezTo>
                    <a:cubicBezTo>
                      <a:pt x="52" y="24"/>
                      <a:pt x="52" y="28"/>
                      <a:pt x="52" y="34"/>
                    </a:cubicBezTo>
                    <a:cubicBezTo>
                      <a:pt x="52" y="83"/>
                      <a:pt x="52" y="83"/>
                      <a:pt x="52" y="83"/>
                    </a:cubicBezTo>
                    <a:cubicBezTo>
                      <a:pt x="66" y="83"/>
                      <a:pt x="66" y="83"/>
                      <a:pt x="66" y="83"/>
                    </a:cubicBezTo>
                    <a:cubicBezTo>
                      <a:pt x="66" y="33"/>
                      <a:pt x="66" y="33"/>
                      <a:pt x="66" y="33"/>
                    </a:cubicBezTo>
                    <a:cubicBezTo>
                      <a:pt x="66" y="27"/>
                      <a:pt x="66" y="23"/>
                      <a:pt x="65" y="20"/>
                    </a:cubicBezTo>
                    <a:cubicBezTo>
                      <a:pt x="65" y="16"/>
                      <a:pt x="63" y="13"/>
                      <a:pt x="61" y="1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275" name="îśḻïďè"/>
              <p:cNvSpPr/>
              <p:nvPr/>
            </p:nvSpPr>
            <p:spPr bwMode="auto">
              <a:xfrm>
                <a:off x="8315578" y="5675903"/>
                <a:ext cx="131763" cy="211138"/>
              </a:xfrm>
              <a:custGeom>
                <a:avLst/>
                <a:gdLst>
                  <a:gd name="T0" fmla="*/ 57 w 71"/>
                  <a:gd name="T1" fmla="*/ 40 h 114"/>
                  <a:gd name="T2" fmla="*/ 48 w 71"/>
                  <a:gd name="T3" fmla="*/ 32 h 114"/>
                  <a:gd name="T4" fmla="*/ 35 w 71"/>
                  <a:gd name="T5" fmla="*/ 29 h 114"/>
                  <a:gd name="T6" fmla="*/ 17 w 71"/>
                  <a:gd name="T7" fmla="*/ 35 h 114"/>
                  <a:gd name="T8" fmla="*/ 4 w 71"/>
                  <a:gd name="T9" fmla="*/ 50 h 114"/>
                  <a:gd name="T10" fmla="*/ 0 w 71"/>
                  <a:gd name="T11" fmla="*/ 72 h 114"/>
                  <a:gd name="T12" fmla="*/ 5 w 71"/>
                  <a:gd name="T13" fmla="*/ 94 h 114"/>
                  <a:gd name="T14" fmla="*/ 17 w 71"/>
                  <a:gd name="T15" fmla="*/ 109 h 114"/>
                  <a:gd name="T16" fmla="*/ 35 w 71"/>
                  <a:gd name="T17" fmla="*/ 114 h 114"/>
                  <a:gd name="T18" fmla="*/ 58 w 71"/>
                  <a:gd name="T19" fmla="*/ 102 h 114"/>
                  <a:gd name="T20" fmla="*/ 58 w 71"/>
                  <a:gd name="T21" fmla="*/ 112 h 114"/>
                  <a:gd name="T22" fmla="*/ 71 w 71"/>
                  <a:gd name="T23" fmla="*/ 112 h 114"/>
                  <a:gd name="T24" fmla="*/ 71 w 71"/>
                  <a:gd name="T25" fmla="*/ 0 h 114"/>
                  <a:gd name="T26" fmla="*/ 57 w 71"/>
                  <a:gd name="T27" fmla="*/ 0 h 114"/>
                  <a:gd name="T28" fmla="*/ 57 w 71"/>
                  <a:gd name="T29" fmla="*/ 40 h 114"/>
                  <a:gd name="T30" fmla="*/ 52 w 71"/>
                  <a:gd name="T31" fmla="*/ 95 h 114"/>
                  <a:gd name="T32" fmla="*/ 37 w 71"/>
                  <a:gd name="T33" fmla="*/ 103 h 114"/>
                  <a:gd name="T34" fmla="*/ 21 w 71"/>
                  <a:gd name="T35" fmla="*/ 95 h 114"/>
                  <a:gd name="T36" fmla="*/ 15 w 71"/>
                  <a:gd name="T37" fmla="*/ 72 h 114"/>
                  <a:gd name="T38" fmla="*/ 21 w 71"/>
                  <a:gd name="T39" fmla="*/ 48 h 114"/>
                  <a:gd name="T40" fmla="*/ 36 w 71"/>
                  <a:gd name="T41" fmla="*/ 41 h 114"/>
                  <a:gd name="T42" fmla="*/ 52 w 71"/>
                  <a:gd name="T43" fmla="*/ 48 h 114"/>
                  <a:gd name="T44" fmla="*/ 58 w 71"/>
                  <a:gd name="T45" fmla="*/ 73 h 114"/>
                  <a:gd name="T46" fmla="*/ 52 w 71"/>
                  <a:gd name="T47" fmla="*/ 95 h 1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71" h="114">
                    <a:moveTo>
                      <a:pt x="57" y="40"/>
                    </a:moveTo>
                    <a:cubicBezTo>
                      <a:pt x="55" y="37"/>
                      <a:pt x="52" y="34"/>
                      <a:pt x="48" y="32"/>
                    </a:cubicBezTo>
                    <a:cubicBezTo>
                      <a:pt x="44" y="30"/>
                      <a:pt x="40" y="29"/>
                      <a:pt x="35" y="29"/>
                    </a:cubicBezTo>
                    <a:cubicBezTo>
                      <a:pt x="28" y="29"/>
                      <a:pt x="22" y="31"/>
                      <a:pt x="17" y="35"/>
                    </a:cubicBezTo>
                    <a:cubicBezTo>
                      <a:pt x="11" y="38"/>
                      <a:pt x="7" y="43"/>
                      <a:pt x="4" y="50"/>
                    </a:cubicBezTo>
                    <a:cubicBezTo>
                      <a:pt x="2" y="56"/>
                      <a:pt x="0" y="64"/>
                      <a:pt x="0" y="72"/>
                    </a:cubicBezTo>
                    <a:cubicBezTo>
                      <a:pt x="0" y="80"/>
                      <a:pt x="2" y="87"/>
                      <a:pt x="5" y="94"/>
                    </a:cubicBezTo>
                    <a:cubicBezTo>
                      <a:pt x="8" y="100"/>
                      <a:pt x="12" y="105"/>
                      <a:pt x="17" y="109"/>
                    </a:cubicBezTo>
                    <a:cubicBezTo>
                      <a:pt x="23" y="112"/>
                      <a:pt x="29" y="114"/>
                      <a:pt x="35" y="114"/>
                    </a:cubicBezTo>
                    <a:cubicBezTo>
                      <a:pt x="45" y="114"/>
                      <a:pt x="53" y="110"/>
                      <a:pt x="58" y="102"/>
                    </a:cubicBezTo>
                    <a:cubicBezTo>
                      <a:pt x="58" y="112"/>
                      <a:pt x="58" y="112"/>
                      <a:pt x="58" y="112"/>
                    </a:cubicBezTo>
                    <a:cubicBezTo>
                      <a:pt x="71" y="112"/>
                      <a:pt x="71" y="112"/>
                      <a:pt x="71" y="112"/>
                    </a:cubicBezTo>
                    <a:cubicBezTo>
                      <a:pt x="71" y="0"/>
                      <a:pt x="71" y="0"/>
                      <a:pt x="71" y="0"/>
                    </a:cubicBezTo>
                    <a:cubicBezTo>
                      <a:pt x="57" y="0"/>
                      <a:pt x="57" y="0"/>
                      <a:pt x="57" y="0"/>
                    </a:cubicBezTo>
                    <a:lnTo>
                      <a:pt x="57" y="40"/>
                    </a:lnTo>
                    <a:close/>
                    <a:moveTo>
                      <a:pt x="52" y="95"/>
                    </a:moveTo>
                    <a:cubicBezTo>
                      <a:pt x="48" y="100"/>
                      <a:pt x="43" y="103"/>
                      <a:pt x="37" y="103"/>
                    </a:cubicBezTo>
                    <a:cubicBezTo>
                      <a:pt x="31" y="103"/>
                      <a:pt x="25" y="100"/>
                      <a:pt x="21" y="95"/>
                    </a:cubicBezTo>
                    <a:cubicBezTo>
                      <a:pt x="17" y="90"/>
                      <a:pt x="15" y="82"/>
                      <a:pt x="15" y="72"/>
                    </a:cubicBezTo>
                    <a:cubicBezTo>
                      <a:pt x="15" y="61"/>
                      <a:pt x="17" y="53"/>
                      <a:pt x="21" y="48"/>
                    </a:cubicBezTo>
                    <a:cubicBezTo>
                      <a:pt x="25" y="43"/>
                      <a:pt x="30" y="41"/>
                      <a:pt x="36" y="41"/>
                    </a:cubicBezTo>
                    <a:cubicBezTo>
                      <a:pt x="42" y="41"/>
                      <a:pt x="48" y="43"/>
                      <a:pt x="52" y="48"/>
                    </a:cubicBezTo>
                    <a:cubicBezTo>
                      <a:pt x="56" y="54"/>
                      <a:pt x="58" y="62"/>
                      <a:pt x="58" y="73"/>
                    </a:cubicBezTo>
                    <a:cubicBezTo>
                      <a:pt x="58" y="83"/>
                      <a:pt x="56" y="91"/>
                      <a:pt x="52" y="9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276" name="iṡľîdé"/>
              <p:cNvSpPr/>
              <p:nvPr/>
            </p:nvSpPr>
            <p:spPr bwMode="auto">
              <a:xfrm>
                <a:off x="8550528" y="5675903"/>
                <a:ext cx="163513" cy="206375"/>
              </a:xfrm>
              <a:custGeom>
                <a:avLst/>
                <a:gdLst>
                  <a:gd name="T0" fmla="*/ 103 w 103"/>
                  <a:gd name="T1" fmla="*/ 0 h 130"/>
                  <a:gd name="T2" fmla="*/ 0 w 103"/>
                  <a:gd name="T3" fmla="*/ 0 h 130"/>
                  <a:gd name="T4" fmla="*/ 0 w 103"/>
                  <a:gd name="T5" fmla="*/ 15 h 130"/>
                  <a:gd name="T6" fmla="*/ 43 w 103"/>
                  <a:gd name="T7" fmla="*/ 15 h 130"/>
                  <a:gd name="T8" fmla="*/ 43 w 103"/>
                  <a:gd name="T9" fmla="*/ 130 h 130"/>
                  <a:gd name="T10" fmla="*/ 59 w 103"/>
                  <a:gd name="T11" fmla="*/ 130 h 130"/>
                  <a:gd name="T12" fmla="*/ 59 w 103"/>
                  <a:gd name="T13" fmla="*/ 15 h 130"/>
                  <a:gd name="T14" fmla="*/ 103 w 103"/>
                  <a:gd name="T15" fmla="*/ 15 h 130"/>
                  <a:gd name="T16" fmla="*/ 103 w 103"/>
                  <a:gd name="T17" fmla="*/ 0 h 1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03" h="130">
                    <a:moveTo>
                      <a:pt x="103" y="0"/>
                    </a:moveTo>
                    <a:lnTo>
                      <a:pt x="0" y="0"/>
                    </a:lnTo>
                    <a:lnTo>
                      <a:pt x="0" y="15"/>
                    </a:lnTo>
                    <a:lnTo>
                      <a:pt x="43" y="15"/>
                    </a:lnTo>
                    <a:lnTo>
                      <a:pt x="43" y="130"/>
                    </a:lnTo>
                    <a:lnTo>
                      <a:pt x="59" y="130"/>
                    </a:lnTo>
                    <a:lnTo>
                      <a:pt x="59" y="15"/>
                    </a:lnTo>
                    <a:lnTo>
                      <a:pt x="103" y="15"/>
                    </a:lnTo>
                    <a:lnTo>
                      <a:pt x="103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277" name="íṥḻíḋé"/>
              <p:cNvSpPr/>
              <p:nvPr/>
            </p:nvSpPr>
            <p:spPr bwMode="auto">
              <a:xfrm>
                <a:off x="8698166" y="5729878"/>
                <a:ext cx="138113" cy="157163"/>
              </a:xfrm>
              <a:custGeom>
                <a:avLst/>
                <a:gdLst>
                  <a:gd name="T0" fmla="*/ 38 w 75"/>
                  <a:gd name="T1" fmla="*/ 0 h 85"/>
                  <a:gd name="T2" fmla="*/ 11 w 75"/>
                  <a:gd name="T3" fmla="*/ 12 h 85"/>
                  <a:gd name="T4" fmla="*/ 0 w 75"/>
                  <a:gd name="T5" fmla="*/ 43 h 85"/>
                  <a:gd name="T6" fmla="*/ 10 w 75"/>
                  <a:gd name="T7" fmla="*/ 74 h 85"/>
                  <a:gd name="T8" fmla="*/ 39 w 75"/>
                  <a:gd name="T9" fmla="*/ 85 h 85"/>
                  <a:gd name="T10" fmla="*/ 62 w 75"/>
                  <a:gd name="T11" fmla="*/ 78 h 85"/>
                  <a:gd name="T12" fmla="*/ 74 w 75"/>
                  <a:gd name="T13" fmla="*/ 59 h 85"/>
                  <a:gd name="T14" fmla="*/ 60 w 75"/>
                  <a:gd name="T15" fmla="*/ 57 h 85"/>
                  <a:gd name="T16" fmla="*/ 52 w 75"/>
                  <a:gd name="T17" fmla="*/ 70 h 85"/>
                  <a:gd name="T18" fmla="*/ 39 w 75"/>
                  <a:gd name="T19" fmla="*/ 74 h 85"/>
                  <a:gd name="T20" fmla="*/ 22 w 75"/>
                  <a:gd name="T21" fmla="*/ 67 h 85"/>
                  <a:gd name="T22" fmla="*/ 14 w 75"/>
                  <a:gd name="T23" fmla="*/ 46 h 85"/>
                  <a:gd name="T24" fmla="*/ 75 w 75"/>
                  <a:gd name="T25" fmla="*/ 46 h 85"/>
                  <a:gd name="T26" fmla="*/ 75 w 75"/>
                  <a:gd name="T27" fmla="*/ 43 h 85"/>
                  <a:gd name="T28" fmla="*/ 65 w 75"/>
                  <a:gd name="T29" fmla="*/ 11 h 85"/>
                  <a:gd name="T30" fmla="*/ 38 w 75"/>
                  <a:gd name="T31" fmla="*/ 0 h 85"/>
                  <a:gd name="T32" fmla="*/ 15 w 75"/>
                  <a:gd name="T33" fmla="*/ 35 h 85"/>
                  <a:gd name="T34" fmla="*/ 22 w 75"/>
                  <a:gd name="T35" fmla="*/ 18 h 85"/>
                  <a:gd name="T36" fmla="*/ 38 w 75"/>
                  <a:gd name="T37" fmla="*/ 12 h 85"/>
                  <a:gd name="T38" fmla="*/ 55 w 75"/>
                  <a:gd name="T39" fmla="*/ 20 h 85"/>
                  <a:gd name="T40" fmla="*/ 60 w 75"/>
                  <a:gd name="T41" fmla="*/ 35 h 85"/>
                  <a:gd name="T42" fmla="*/ 15 w 75"/>
                  <a:gd name="T43" fmla="*/ 35 h 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75" h="85">
                    <a:moveTo>
                      <a:pt x="38" y="0"/>
                    </a:moveTo>
                    <a:cubicBezTo>
                      <a:pt x="27" y="0"/>
                      <a:pt x="18" y="4"/>
                      <a:pt x="11" y="12"/>
                    </a:cubicBezTo>
                    <a:cubicBezTo>
                      <a:pt x="4" y="19"/>
                      <a:pt x="0" y="30"/>
                      <a:pt x="0" y="43"/>
                    </a:cubicBezTo>
                    <a:cubicBezTo>
                      <a:pt x="0" y="57"/>
                      <a:pt x="3" y="67"/>
                      <a:pt x="10" y="74"/>
                    </a:cubicBezTo>
                    <a:cubicBezTo>
                      <a:pt x="17" y="81"/>
                      <a:pt x="27" y="85"/>
                      <a:pt x="39" y="85"/>
                    </a:cubicBezTo>
                    <a:cubicBezTo>
                      <a:pt x="48" y="85"/>
                      <a:pt x="56" y="83"/>
                      <a:pt x="62" y="78"/>
                    </a:cubicBezTo>
                    <a:cubicBezTo>
                      <a:pt x="68" y="74"/>
                      <a:pt x="72" y="67"/>
                      <a:pt x="74" y="59"/>
                    </a:cubicBezTo>
                    <a:cubicBezTo>
                      <a:pt x="60" y="57"/>
                      <a:pt x="60" y="57"/>
                      <a:pt x="60" y="57"/>
                    </a:cubicBezTo>
                    <a:cubicBezTo>
                      <a:pt x="58" y="63"/>
                      <a:pt x="55" y="67"/>
                      <a:pt x="52" y="70"/>
                    </a:cubicBezTo>
                    <a:cubicBezTo>
                      <a:pt x="48" y="73"/>
                      <a:pt x="44" y="74"/>
                      <a:pt x="39" y="74"/>
                    </a:cubicBezTo>
                    <a:cubicBezTo>
                      <a:pt x="32" y="74"/>
                      <a:pt x="26" y="71"/>
                      <a:pt x="22" y="67"/>
                    </a:cubicBezTo>
                    <a:cubicBezTo>
                      <a:pt x="17" y="62"/>
                      <a:pt x="15" y="55"/>
                      <a:pt x="14" y="46"/>
                    </a:cubicBezTo>
                    <a:cubicBezTo>
                      <a:pt x="75" y="46"/>
                      <a:pt x="75" y="46"/>
                      <a:pt x="75" y="46"/>
                    </a:cubicBezTo>
                    <a:cubicBezTo>
                      <a:pt x="75" y="45"/>
                      <a:pt x="75" y="43"/>
                      <a:pt x="75" y="43"/>
                    </a:cubicBezTo>
                    <a:cubicBezTo>
                      <a:pt x="75" y="29"/>
                      <a:pt x="72" y="19"/>
                      <a:pt x="65" y="11"/>
                    </a:cubicBezTo>
                    <a:cubicBezTo>
                      <a:pt x="58" y="4"/>
                      <a:pt x="49" y="0"/>
                      <a:pt x="38" y="0"/>
                    </a:cubicBezTo>
                    <a:close/>
                    <a:moveTo>
                      <a:pt x="15" y="35"/>
                    </a:moveTo>
                    <a:cubicBezTo>
                      <a:pt x="15" y="28"/>
                      <a:pt x="18" y="22"/>
                      <a:pt x="22" y="18"/>
                    </a:cubicBezTo>
                    <a:cubicBezTo>
                      <a:pt x="26" y="14"/>
                      <a:pt x="32" y="12"/>
                      <a:pt x="38" y="12"/>
                    </a:cubicBezTo>
                    <a:cubicBezTo>
                      <a:pt x="45" y="12"/>
                      <a:pt x="51" y="14"/>
                      <a:pt x="55" y="20"/>
                    </a:cubicBezTo>
                    <a:cubicBezTo>
                      <a:pt x="58" y="23"/>
                      <a:pt x="60" y="28"/>
                      <a:pt x="60" y="35"/>
                    </a:cubicBezTo>
                    <a:lnTo>
                      <a:pt x="15" y="3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278" name="ïṡļïḍè"/>
              <p:cNvSpPr/>
              <p:nvPr/>
            </p:nvSpPr>
            <p:spPr bwMode="auto">
              <a:xfrm>
                <a:off x="8860091" y="5729878"/>
                <a:ext cx="128588" cy="157163"/>
              </a:xfrm>
              <a:custGeom>
                <a:avLst/>
                <a:gdLst>
                  <a:gd name="T0" fmla="*/ 50 w 70"/>
                  <a:gd name="T1" fmla="*/ 69 h 85"/>
                  <a:gd name="T2" fmla="*/ 36 w 70"/>
                  <a:gd name="T3" fmla="*/ 74 h 85"/>
                  <a:gd name="T4" fmla="*/ 20 w 70"/>
                  <a:gd name="T5" fmla="*/ 66 h 85"/>
                  <a:gd name="T6" fmla="*/ 14 w 70"/>
                  <a:gd name="T7" fmla="*/ 43 h 85"/>
                  <a:gd name="T8" fmla="*/ 20 w 70"/>
                  <a:gd name="T9" fmla="*/ 19 h 85"/>
                  <a:gd name="T10" fmla="*/ 37 w 70"/>
                  <a:gd name="T11" fmla="*/ 12 h 85"/>
                  <a:gd name="T12" fmla="*/ 49 w 70"/>
                  <a:gd name="T13" fmla="*/ 16 h 85"/>
                  <a:gd name="T14" fmla="*/ 56 w 70"/>
                  <a:gd name="T15" fmla="*/ 28 h 85"/>
                  <a:gd name="T16" fmla="*/ 69 w 70"/>
                  <a:gd name="T17" fmla="*/ 26 h 85"/>
                  <a:gd name="T18" fmla="*/ 58 w 70"/>
                  <a:gd name="T19" fmla="*/ 7 h 85"/>
                  <a:gd name="T20" fmla="*/ 37 w 70"/>
                  <a:gd name="T21" fmla="*/ 0 h 85"/>
                  <a:gd name="T22" fmla="*/ 17 w 70"/>
                  <a:gd name="T23" fmla="*/ 5 h 85"/>
                  <a:gd name="T24" fmla="*/ 4 w 70"/>
                  <a:gd name="T25" fmla="*/ 20 h 85"/>
                  <a:gd name="T26" fmla="*/ 0 w 70"/>
                  <a:gd name="T27" fmla="*/ 43 h 85"/>
                  <a:gd name="T28" fmla="*/ 10 w 70"/>
                  <a:gd name="T29" fmla="*/ 74 h 85"/>
                  <a:gd name="T30" fmla="*/ 37 w 70"/>
                  <a:gd name="T31" fmla="*/ 85 h 85"/>
                  <a:gd name="T32" fmla="*/ 59 w 70"/>
                  <a:gd name="T33" fmla="*/ 77 h 85"/>
                  <a:gd name="T34" fmla="*/ 70 w 70"/>
                  <a:gd name="T35" fmla="*/ 55 h 85"/>
                  <a:gd name="T36" fmla="*/ 57 w 70"/>
                  <a:gd name="T37" fmla="*/ 54 h 85"/>
                  <a:gd name="T38" fmla="*/ 50 w 70"/>
                  <a:gd name="T39" fmla="*/ 69 h 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70" h="85">
                    <a:moveTo>
                      <a:pt x="50" y="69"/>
                    </a:moveTo>
                    <a:cubicBezTo>
                      <a:pt x="46" y="72"/>
                      <a:pt x="42" y="74"/>
                      <a:pt x="36" y="74"/>
                    </a:cubicBezTo>
                    <a:cubicBezTo>
                      <a:pt x="30" y="74"/>
                      <a:pt x="24" y="71"/>
                      <a:pt x="20" y="66"/>
                    </a:cubicBezTo>
                    <a:cubicBezTo>
                      <a:pt x="16" y="61"/>
                      <a:pt x="14" y="54"/>
                      <a:pt x="14" y="43"/>
                    </a:cubicBezTo>
                    <a:cubicBezTo>
                      <a:pt x="14" y="32"/>
                      <a:pt x="16" y="24"/>
                      <a:pt x="20" y="19"/>
                    </a:cubicBezTo>
                    <a:cubicBezTo>
                      <a:pt x="25" y="14"/>
                      <a:pt x="30" y="12"/>
                      <a:pt x="37" y="12"/>
                    </a:cubicBezTo>
                    <a:cubicBezTo>
                      <a:pt x="42" y="12"/>
                      <a:pt x="46" y="13"/>
                      <a:pt x="49" y="16"/>
                    </a:cubicBezTo>
                    <a:cubicBezTo>
                      <a:pt x="52" y="18"/>
                      <a:pt x="54" y="23"/>
                      <a:pt x="56" y="28"/>
                    </a:cubicBezTo>
                    <a:cubicBezTo>
                      <a:pt x="69" y="26"/>
                      <a:pt x="69" y="26"/>
                      <a:pt x="69" y="26"/>
                    </a:cubicBezTo>
                    <a:cubicBezTo>
                      <a:pt x="67" y="18"/>
                      <a:pt x="64" y="11"/>
                      <a:pt x="58" y="7"/>
                    </a:cubicBezTo>
                    <a:cubicBezTo>
                      <a:pt x="53" y="2"/>
                      <a:pt x="45" y="0"/>
                      <a:pt x="37" y="0"/>
                    </a:cubicBezTo>
                    <a:cubicBezTo>
                      <a:pt x="30" y="0"/>
                      <a:pt x="23" y="2"/>
                      <a:pt x="17" y="5"/>
                    </a:cubicBezTo>
                    <a:cubicBezTo>
                      <a:pt x="11" y="8"/>
                      <a:pt x="7" y="13"/>
                      <a:pt x="4" y="20"/>
                    </a:cubicBezTo>
                    <a:cubicBezTo>
                      <a:pt x="1" y="27"/>
                      <a:pt x="0" y="34"/>
                      <a:pt x="0" y="43"/>
                    </a:cubicBezTo>
                    <a:cubicBezTo>
                      <a:pt x="0" y="57"/>
                      <a:pt x="3" y="67"/>
                      <a:pt x="10" y="74"/>
                    </a:cubicBezTo>
                    <a:cubicBezTo>
                      <a:pt x="16" y="82"/>
                      <a:pt x="25" y="85"/>
                      <a:pt x="37" y="85"/>
                    </a:cubicBezTo>
                    <a:cubicBezTo>
                      <a:pt x="45" y="85"/>
                      <a:pt x="53" y="83"/>
                      <a:pt x="59" y="77"/>
                    </a:cubicBezTo>
                    <a:cubicBezTo>
                      <a:pt x="65" y="72"/>
                      <a:pt x="69" y="65"/>
                      <a:pt x="70" y="55"/>
                    </a:cubicBezTo>
                    <a:cubicBezTo>
                      <a:pt x="57" y="54"/>
                      <a:pt x="57" y="54"/>
                      <a:pt x="57" y="54"/>
                    </a:cubicBezTo>
                    <a:cubicBezTo>
                      <a:pt x="56" y="60"/>
                      <a:pt x="54" y="66"/>
                      <a:pt x="50" y="6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279" name="iṩḷídê"/>
              <p:cNvSpPr/>
              <p:nvPr/>
            </p:nvSpPr>
            <p:spPr bwMode="auto">
              <a:xfrm>
                <a:off x="9010903" y="5675903"/>
                <a:ext cx="122238" cy="206375"/>
              </a:xfrm>
              <a:custGeom>
                <a:avLst/>
                <a:gdLst>
                  <a:gd name="T0" fmla="*/ 54 w 66"/>
                  <a:gd name="T1" fmla="*/ 33 h 112"/>
                  <a:gd name="T2" fmla="*/ 38 w 66"/>
                  <a:gd name="T3" fmla="*/ 29 h 112"/>
                  <a:gd name="T4" fmla="*/ 14 w 66"/>
                  <a:gd name="T5" fmla="*/ 40 h 112"/>
                  <a:gd name="T6" fmla="*/ 14 w 66"/>
                  <a:gd name="T7" fmla="*/ 0 h 112"/>
                  <a:gd name="T8" fmla="*/ 0 w 66"/>
                  <a:gd name="T9" fmla="*/ 0 h 112"/>
                  <a:gd name="T10" fmla="*/ 0 w 66"/>
                  <a:gd name="T11" fmla="*/ 112 h 112"/>
                  <a:gd name="T12" fmla="*/ 14 w 66"/>
                  <a:gd name="T13" fmla="*/ 112 h 112"/>
                  <a:gd name="T14" fmla="*/ 14 w 66"/>
                  <a:gd name="T15" fmla="*/ 68 h 112"/>
                  <a:gd name="T16" fmla="*/ 16 w 66"/>
                  <a:gd name="T17" fmla="*/ 53 h 112"/>
                  <a:gd name="T18" fmla="*/ 24 w 66"/>
                  <a:gd name="T19" fmla="*/ 44 h 112"/>
                  <a:gd name="T20" fmla="*/ 35 w 66"/>
                  <a:gd name="T21" fmla="*/ 41 h 112"/>
                  <a:gd name="T22" fmla="*/ 48 w 66"/>
                  <a:gd name="T23" fmla="*/ 46 h 112"/>
                  <a:gd name="T24" fmla="*/ 53 w 66"/>
                  <a:gd name="T25" fmla="*/ 61 h 112"/>
                  <a:gd name="T26" fmla="*/ 53 w 66"/>
                  <a:gd name="T27" fmla="*/ 112 h 112"/>
                  <a:gd name="T28" fmla="*/ 66 w 66"/>
                  <a:gd name="T29" fmla="*/ 112 h 112"/>
                  <a:gd name="T30" fmla="*/ 66 w 66"/>
                  <a:gd name="T31" fmla="*/ 61 h 112"/>
                  <a:gd name="T32" fmla="*/ 63 w 66"/>
                  <a:gd name="T33" fmla="*/ 43 h 112"/>
                  <a:gd name="T34" fmla="*/ 54 w 66"/>
                  <a:gd name="T35" fmla="*/ 33 h 1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66" h="112">
                    <a:moveTo>
                      <a:pt x="54" y="33"/>
                    </a:moveTo>
                    <a:cubicBezTo>
                      <a:pt x="50" y="30"/>
                      <a:pt x="44" y="29"/>
                      <a:pt x="38" y="29"/>
                    </a:cubicBezTo>
                    <a:cubicBezTo>
                      <a:pt x="28" y="29"/>
                      <a:pt x="20" y="33"/>
                      <a:pt x="14" y="4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112"/>
                      <a:pt x="0" y="112"/>
                      <a:pt x="0" y="112"/>
                    </a:cubicBezTo>
                    <a:cubicBezTo>
                      <a:pt x="14" y="112"/>
                      <a:pt x="14" y="112"/>
                      <a:pt x="14" y="112"/>
                    </a:cubicBezTo>
                    <a:cubicBezTo>
                      <a:pt x="14" y="68"/>
                      <a:pt x="14" y="68"/>
                      <a:pt x="14" y="68"/>
                    </a:cubicBezTo>
                    <a:cubicBezTo>
                      <a:pt x="14" y="61"/>
                      <a:pt x="15" y="56"/>
                      <a:pt x="16" y="53"/>
                    </a:cubicBezTo>
                    <a:cubicBezTo>
                      <a:pt x="18" y="49"/>
                      <a:pt x="20" y="46"/>
                      <a:pt x="24" y="44"/>
                    </a:cubicBezTo>
                    <a:cubicBezTo>
                      <a:pt x="28" y="42"/>
                      <a:pt x="31" y="41"/>
                      <a:pt x="35" y="41"/>
                    </a:cubicBezTo>
                    <a:cubicBezTo>
                      <a:pt x="41" y="41"/>
                      <a:pt x="45" y="43"/>
                      <a:pt x="48" y="46"/>
                    </a:cubicBezTo>
                    <a:cubicBezTo>
                      <a:pt x="51" y="49"/>
                      <a:pt x="53" y="54"/>
                      <a:pt x="53" y="61"/>
                    </a:cubicBezTo>
                    <a:cubicBezTo>
                      <a:pt x="53" y="112"/>
                      <a:pt x="53" y="112"/>
                      <a:pt x="53" y="112"/>
                    </a:cubicBezTo>
                    <a:cubicBezTo>
                      <a:pt x="66" y="112"/>
                      <a:pt x="66" y="112"/>
                      <a:pt x="66" y="112"/>
                    </a:cubicBezTo>
                    <a:cubicBezTo>
                      <a:pt x="66" y="61"/>
                      <a:pt x="66" y="61"/>
                      <a:pt x="66" y="61"/>
                    </a:cubicBezTo>
                    <a:cubicBezTo>
                      <a:pt x="66" y="53"/>
                      <a:pt x="65" y="47"/>
                      <a:pt x="63" y="43"/>
                    </a:cubicBezTo>
                    <a:cubicBezTo>
                      <a:pt x="62" y="38"/>
                      <a:pt x="58" y="35"/>
                      <a:pt x="54" y="3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280" name="íslîḍe"/>
              <p:cNvSpPr/>
              <p:nvPr/>
            </p:nvSpPr>
            <p:spPr bwMode="auto">
              <a:xfrm>
                <a:off x="9171241" y="5729878"/>
                <a:ext cx="122238" cy="152400"/>
              </a:xfrm>
              <a:custGeom>
                <a:avLst/>
                <a:gdLst>
                  <a:gd name="T0" fmla="*/ 61 w 66"/>
                  <a:gd name="T1" fmla="*/ 10 h 83"/>
                  <a:gd name="T2" fmla="*/ 52 w 66"/>
                  <a:gd name="T3" fmla="*/ 3 h 83"/>
                  <a:gd name="T4" fmla="*/ 39 w 66"/>
                  <a:gd name="T5" fmla="*/ 0 h 83"/>
                  <a:gd name="T6" fmla="*/ 13 w 66"/>
                  <a:gd name="T7" fmla="*/ 14 h 83"/>
                  <a:gd name="T8" fmla="*/ 13 w 66"/>
                  <a:gd name="T9" fmla="*/ 2 h 83"/>
                  <a:gd name="T10" fmla="*/ 0 w 66"/>
                  <a:gd name="T11" fmla="*/ 2 h 83"/>
                  <a:gd name="T12" fmla="*/ 0 w 66"/>
                  <a:gd name="T13" fmla="*/ 83 h 83"/>
                  <a:gd name="T14" fmla="*/ 14 w 66"/>
                  <a:gd name="T15" fmla="*/ 83 h 83"/>
                  <a:gd name="T16" fmla="*/ 14 w 66"/>
                  <a:gd name="T17" fmla="*/ 39 h 83"/>
                  <a:gd name="T18" fmla="*/ 20 w 66"/>
                  <a:gd name="T19" fmla="*/ 18 h 83"/>
                  <a:gd name="T20" fmla="*/ 36 w 66"/>
                  <a:gd name="T21" fmla="*/ 12 h 83"/>
                  <a:gd name="T22" fmla="*/ 45 w 66"/>
                  <a:gd name="T23" fmla="*/ 15 h 83"/>
                  <a:gd name="T24" fmla="*/ 51 w 66"/>
                  <a:gd name="T25" fmla="*/ 21 h 83"/>
                  <a:gd name="T26" fmla="*/ 53 w 66"/>
                  <a:gd name="T27" fmla="*/ 34 h 83"/>
                  <a:gd name="T28" fmla="*/ 53 w 66"/>
                  <a:gd name="T29" fmla="*/ 83 h 83"/>
                  <a:gd name="T30" fmla="*/ 66 w 66"/>
                  <a:gd name="T31" fmla="*/ 83 h 83"/>
                  <a:gd name="T32" fmla="*/ 66 w 66"/>
                  <a:gd name="T33" fmla="*/ 33 h 83"/>
                  <a:gd name="T34" fmla="*/ 66 w 66"/>
                  <a:gd name="T35" fmla="*/ 20 h 83"/>
                  <a:gd name="T36" fmla="*/ 61 w 66"/>
                  <a:gd name="T37" fmla="*/ 10 h 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66" h="83">
                    <a:moveTo>
                      <a:pt x="61" y="10"/>
                    </a:moveTo>
                    <a:cubicBezTo>
                      <a:pt x="59" y="7"/>
                      <a:pt x="56" y="5"/>
                      <a:pt x="52" y="3"/>
                    </a:cubicBezTo>
                    <a:cubicBezTo>
                      <a:pt x="48" y="1"/>
                      <a:pt x="43" y="0"/>
                      <a:pt x="39" y="0"/>
                    </a:cubicBezTo>
                    <a:cubicBezTo>
                      <a:pt x="27" y="0"/>
                      <a:pt x="19" y="5"/>
                      <a:pt x="13" y="14"/>
                    </a:cubicBezTo>
                    <a:cubicBezTo>
                      <a:pt x="13" y="2"/>
                      <a:pt x="13" y="2"/>
                      <a:pt x="13" y="2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83"/>
                      <a:pt x="0" y="83"/>
                      <a:pt x="0" y="83"/>
                    </a:cubicBezTo>
                    <a:cubicBezTo>
                      <a:pt x="14" y="83"/>
                      <a:pt x="14" y="83"/>
                      <a:pt x="14" y="83"/>
                    </a:cubicBezTo>
                    <a:cubicBezTo>
                      <a:pt x="14" y="39"/>
                      <a:pt x="14" y="39"/>
                      <a:pt x="14" y="39"/>
                    </a:cubicBezTo>
                    <a:cubicBezTo>
                      <a:pt x="14" y="29"/>
                      <a:pt x="16" y="21"/>
                      <a:pt x="20" y="18"/>
                    </a:cubicBezTo>
                    <a:cubicBezTo>
                      <a:pt x="25" y="14"/>
                      <a:pt x="30" y="12"/>
                      <a:pt x="36" y="12"/>
                    </a:cubicBezTo>
                    <a:cubicBezTo>
                      <a:pt x="39" y="12"/>
                      <a:pt x="43" y="13"/>
                      <a:pt x="45" y="15"/>
                    </a:cubicBezTo>
                    <a:cubicBezTo>
                      <a:pt x="48" y="16"/>
                      <a:pt x="50" y="19"/>
                      <a:pt x="51" y="21"/>
                    </a:cubicBezTo>
                    <a:cubicBezTo>
                      <a:pt x="52" y="24"/>
                      <a:pt x="53" y="28"/>
                      <a:pt x="53" y="34"/>
                    </a:cubicBezTo>
                    <a:cubicBezTo>
                      <a:pt x="53" y="83"/>
                      <a:pt x="53" y="83"/>
                      <a:pt x="53" y="83"/>
                    </a:cubicBezTo>
                    <a:cubicBezTo>
                      <a:pt x="66" y="83"/>
                      <a:pt x="66" y="83"/>
                      <a:pt x="66" y="83"/>
                    </a:cubicBezTo>
                    <a:cubicBezTo>
                      <a:pt x="66" y="33"/>
                      <a:pt x="66" y="33"/>
                      <a:pt x="66" y="33"/>
                    </a:cubicBezTo>
                    <a:cubicBezTo>
                      <a:pt x="66" y="27"/>
                      <a:pt x="66" y="23"/>
                      <a:pt x="66" y="20"/>
                    </a:cubicBezTo>
                    <a:cubicBezTo>
                      <a:pt x="65" y="16"/>
                      <a:pt x="63" y="13"/>
                      <a:pt x="61" y="1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281" name="ïṣľíḓè"/>
              <p:cNvSpPr/>
              <p:nvPr/>
            </p:nvSpPr>
            <p:spPr bwMode="auto">
              <a:xfrm>
                <a:off x="9322053" y="5729878"/>
                <a:ext cx="142875" cy="157163"/>
              </a:xfrm>
              <a:custGeom>
                <a:avLst/>
                <a:gdLst>
                  <a:gd name="T0" fmla="*/ 38 w 77"/>
                  <a:gd name="T1" fmla="*/ 0 h 85"/>
                  <a:gd name="T2" fmla="*/ 13 w 77"/>
                  <a:gd name="T3" fmla="*/ 9 h 85"/>
                  <a:gd name="T4" fmla="*/ 0 w 77"/>
                  <a:gd name="T5" fmla="*/ 43 h 85"/>
                  <a:gd name="T6" fmla="*/ 11 w 77"/>
                  <a:gd name="T7" fmla="*/ 74 h 85"/>
                  <a:gd name="T8" fmla="*/ 38 w 77"/>
                  <a:gd name="T9" fmla="*/ 85 h 85"/>
                  <a:gd name="T10" fmla="*/ 58 w 77"/>
                  <a:gd name="T11" fmla="*/ 80 h 85"/>
                  <a:gd name="T12" fmla="*/ 72 w 77"/>
                  <a:gd name="T13" fmla="*/ 66 h 85"/>
                  <a:gd name="T14" fmla="*/ 77 w 77"/>
                  <a:gd name="T15" fmla="*/ 42 h 85"/>
                  <a:gd name="T16" fmla="*/ 66 w 77"/>
                  <a:gd name="T17" fmla="*/ 11 h 85"/>
                  <a:gd name="T18" fmla="*/ 38 w 77"/>
                  <a:gd name="T19" fmla="*/ 0 h 85"/>
                  <a:gd name="T20" fmla="*/ 56 w 77"/>
                  <a:gd name="T21" fmla="*/ 66 h 85"/>
                  <a:gd name="T22" fmla="*/ 38 w 77"/>
                  <a:gd name="T23" fmla="*/ 74 h 85"/>
                  <a:gd name="T24" fmla="*/ 21 w 77"/>
                  <a:gd name="T25" fmla="*/ 66 h 85"/>
                  <a:gd name="T26" fmla="*/ 15 w 77"/>
                  <a:gd name="T27" fmla="*/ 43 h 85"/>
                  <a:gd name="T28" fmla="*/ 21 w 77"/>
                  <a:gd name="T29" fmla="*/ 19 h 85"/>
                  <a:gd name="T30" fmla="*/ 38 w 77"/>
                  <a:gd name="T31" fmla="*/ 12 h 85"/>
                  <a:gd name="T32" fmla="*/ 56 w 77"/>
                  <a:gd name="T33" fmla="*/ 19 h 85"/>
                  <a:gd name="T34" fmla="*/ 62 w 77"/>
                  <a:gd name="T35" fmla="*/ 42 h 85"/>
                  <a:gd name="T36" fmla="*/ 56 w 77"/>
                  <a:gd name="T37" fmla="*/ 66 h 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77" h="85">
                    <a:moveTo>
                      <a:pt x="38" y="0"/>
                    </a:moveTo>
                    <a:cubicBezTo>
                      <a:pt x="28" y="0"/>
                      <a:pt x="20" y="3"/>
                      <a:pt x="13" y="9"/>
                    </a:cubicBezTo>
                    <a:cubicBezTo>
                      <a:pt x="5" y="16"/>
                      <a:pt x="0" y="28"/>
                      <a:pt x="0" y="43"/>
                    </a:cubicBezTo>
                    <a:cubicBezTo>
                      <a:pt x="0" y="56"/>
                      <a:pt x="4" y="67"/>
                      <a:pt x="11" y="74"/>
                    </a:cubicBezTo>
                    <a:cubicBezTo>
                      <a:pt x="18" y="82"/>
                      <a:pt x="27" y="85"/>
                      <a:pt x="38" y="85"/>
                    </a:cubicBezTo>
                    <a:cubicBezTo>
                      <a:pt x="46" y="85"/>
                      <a:pt x="52" y="84"/>
                      <a:pt x="58" y="80"/>
                    </a:cubicBezTo>
                    <a:cubicBezTo>
                      <a:pt x="64" y="77"/>
                      <a:pt x="69" y="72"/>
                      <a:pt x="72" y="66"/>
                    </a:cubicBezTo>
                    <a:cubicBezTo>
                      <a:pt x="75" y="60"/>
                      <a:pt x="77" y="52"/>
                      <a:pt x="77" y="42"/>
                    </a:cubicBezTo>
                    <a:cubicBezTo>
                      <a:pt x="77" y="29"/>
                      <a:pt x="73" y="19"/>
                      <a:pt x="66" y="11"/>
                    </a:cubicBezTo>
                    <a:cubicBezTo>
                      <a:pt x="59" y="4"/>
                      <a:pt x="50" y="0"/>
                      <a:pt x="38" y="0"/>
                    </a:cubicBezTo>
                    <a:close/>
                    <a:moveTo>
                      <a:pt x="56" y="66"/>
                    </a:moveTo>
                    <a:cubicBezTo>
                      <a:pt x="51" y="71"/>
                      <a:pt x="45" y="74"/>
                      <a:pt x="38" y="74"/>
                    </a:cubicBezTo>
                    <a:cubicBezTo>
                      <a:pt x="32" y="74"/>
                      <a:pt x="26" y="71"/>
                      <a:pt x="21" y="66"/>
                    </a:cubicBezTo>
                    <a:cubicBezTo>
                      <a:pt x="17" y="61"/>
                      <a:pt x="15" y="53"/>
                      <a:pt x="15" y="43"/>
                    </a:cubicBezTo>
                    <a:cubicBezTo>
                      <a:pt x="15" y="32"/>
                      <a:pt x="17" y="24"/>
                      <a:pt x="21" y="19"/>
                    </a:cubicBezTo>
                    <a:cubicBezTo>
                      <a:pt x="26" y="14"/>
                      <a:pt x="32" y="12"/>
                      <a:pt x="38" y="12"/>
                    </a:cubicBezTo>
                    <a:cubicBezTo>
                      <a:pt x="45" y="12"/>
                      <a:pt x="51" y="14"/>
                      <a:pt x="56" y="19"/>
                    </a:cubicBezTo>
                    <a:cubicBezTo>
                      <a:pt x="60" y="25"/>
                      <a:pt x="62" y="32"/>
                      <a:pt x="62" y="42"/>
                    </a:cubicBezTo>
                    <a:cubicBezTo>
                      <a:pt x="62" y="53"/>
                      <a:pt x="60" y="61"/>
                      <a:pt x="56" y="6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282" name="îš1ïḋé"/>
              <p:cNvSpPr/>
              <p:nvPr/>
            </p:nvSpPr>
            <p:spPr bwMode="auto">
              <a:xfrm>
                <a:off x="9491916" y="5675903"/>
                <a:ext cx="25400" cy="206375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283" name="íŝḻíḍê"/>
              <p:cNvSpPr/>
              <p:nvPr/>
            </p:nvSpPr>
            <p:spPr bwMode="auto">
              <a:xfrm>
                <a:off x="9547478" y="5729878"/>
                <a:ext cx="141288" cy="157163"/>
              </a:xfrm>
              <a:custGeom>
                <a:avLst/>
                <a:gdLst>
                  <a:gd name="T0" fmla="*/ 38 w 77"/>
                  <a:gd name="T1" fmla="*/ 0 h 85"/>
                  <a:gd name="T2" fmla="*/ 13 w 77"/>
                  <a:gd name="T3" fmla="*/ 9 h 85"/>
                  <a:gd name="T4" fmla="*/ 0 w 77"/>
                  <a:gd name="T5" fmla="*/ 43 h 85"/>
                  <a:gd name="T6" fmla="*/ 11 w 77"/>
                  <a:gd name="T7" fmla="*/ 74 h 85"/>
                  <a:gd name="T8" fmla="*/ 38 w 77"/>
                  <a:gd name="T9" fmla="*/ 85 h 85"/>
                  <a:gd name="T10" fmla="*/ 58 w 77"/>
                  <a:gd name="T11" fmla="*/ 80 h 85"/>
                  <a:gd name="T12" fmla="*/ 72 w 77"/>
                  <a:gd name="T13" fmla="*/ 66 h 85"/>
                  <a:gd name="T14" fmla="*/ 77 w 77"/>
                  <a:gd name="T15" fmla="*/ 42 h 85"/>
                  <a:gd name="T16" fmla="*/ 66 w 77"/>
                  <a:gd name="T17" fmla="*/ 11 h 85"/>
                  <a:gd name="T18" fmla="*/ 38 w 77"/>
                  <a:gd name="T19" fmla="*/ 0 h 85"/>
                  <a:gd name="T20" fmla="*/ 56 w 77"/>
                  <a:gd name="T21" fmla="*/ 66 h 85"/>
                  <a:gd name="T22" fmla="*/ 38 w 77"/>
                  <a:gd name="T23" fmla="*/ 74 h 85"/>
                  <a:gd name="T24" fmla="*/ 21 w 77"/>
                  <a:gd name="T25" fmla="*/ 66 h 85"/>
                  <a:gd name="T26" fmla="*/ 15 w 77"/>
                  <a:gd name="T27" fmla="*/ 43 h 85"/>
                  <a:gd name="T28" fmla="*/ 21 w 77"/>
                  <a:gd name="T29" fmla="*/ 19 h 85"/>
                  <a:gd name="T30" fmla="*/ 38 w 77"/>
                  <a:gd name="T31" fmla="*/ 12 h 85"/>
                  <a:gd name="T32" fmla="*/ 56 w 77"/>
                  <a:gd name="T33" fmla="*/ 19 h 85"/>
                  <a:gd name="T34" fmla="*/ 62 w 77"/>
                  <a:gd name="T35" fmla="*/ 42 h 85"/>
                  <a:gd name="T36" fmla="*/ 56 w 77"/>
                  <a:gd name="T37" fmla="*/ 66 h 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77" h="85">
                    <a:moveTo>
                      <a:pt x="38" y="0"/>
                    </a:moveTo>
                    <a:cubicBezTo>
                      <a:pt x="28" y="0"/>
                      <a:pt x="20" y="3"/>
                      <a:pt x="13" y="9"/>
                    </a:cubicBezTo>
                    <a:cubicBezTo>
                      <a:pt x="5" y="16"/>
                      <a:pt x="0" y="28"/>
                      <a:pt x="0" y="43"/>
                    </a:cubicBezTo>
                    <a:cubicBezTo>
                      <a:pt x="0" y="56"/>
                      <a:pt x="4" y="67"/>
                      <a:pt x="11" y="74"/>
                    </a:cubicBezTo>
                    <a:cubicBezTo>
                      <a:pt x="18" y="82"/>
                      <a:pt x="27" y="85"/>
                      <a:pt x="38" y="85"/>
                    </a:cubicBezTo>
                    <a:cubicBezTo>
                      <a:pt x="46" y="85"/>
                      <a:pt x="52" y="84"/>
                      <a:pt x="58" y="80"/>
                    </a:cubicBezTo>
                    <a:cubicBezTo>
                      <a:pt x="64" y="77"/>
                      <a:pt x="69" y="72"/>
                      <a:pt x="72" y="66"/>
                    </a:cubicBezTo>
                    <a:cubicBezTo>
                      <a:pt x="75" y="60"/>
                      <a:pt x="77" y="52"/>
                      <a:pt x="77" y="42"/>
                    </a:cubicBezTo>
                    <a:cubicBezTo>
                      <a:pt x="77" y="29"/>
                      <a:pt x="73" y="19"/>
                      <a:pt x="66" y="11"/>
                    </a:cubicBezTo>
                    <a:cubicBezTo>
                      <a:pt x="59" y="4"/>
                      <a:pt x="50" y="0"/>
                      <a:pt x="38" y="0"/>
                    </a:cubicBezTo>
                    <a:close/>
                    <a:moveTo>
                      <a:pt x="56" y="66"/>
                    </a:moveTo>
                    <a:cubicBezTo>
                      <a:pt x="51" y="71"/>
                      <a:pt x="45" y="74"/>
                      <a:pt x="38" y="74"/>
                    </a:cubicBezTo>
                    <a:cubicBezTo>
                      <a:pt x="32" y="74"/>
                      <a:pt x="26" y="71"/>
                      <a:pt x="21" y="66"/>
                    </a:cubicBezTo>
                    <a:cubicBezTo>
                      <a:pt x="17" y="61"/>
                      <a:pt x="15" y="53"/>
                      <a:pt x="15" y="43"/>
                    </a:cubicBezTo>
                    <a:cubicBezTo>
                      <a:pt x="15" y="32"/>
                      <a:pt x="17" y="24"/>
                      <a:pt x="21" y="19"/>
                    </a:cubicBezTo>
                    <a:cubicBezTo>
                      <a:pt x="26" y="14"/>
                      <a:pt x="32" y="12"/>
                      <a:pt x="38" y="12"/>
                    </a:cubicBezTo>
                    <a:cubicBezTo>
                      <a:pt x="45" y="12"/>
                      <a:pt x="51" y="14"/>
                      <a:pt x="56" y="19"/>
                    </a:cubicBezTo>
                    <a:cubicBezTo>
                      <a:pt x="60" y="25"/>
                      <a:pt x="62" y="32"/>
                      <a:pt x="62" y="42"/>
                    </a:cubicBezTo>
                    <a:cubicBezTo>
                      <a:pt x="62" y="53"/>
                      <a:pt x="60" y="61"/>
                      <a:pt x="56" y="6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284" name="íṧḷíḓé"/>
              <p:cNvSpPr/>
              <p:nvPr/>
            </p:nvSpPr>
            <p:spPr bwMode="auto">
              <a:xfrm>
                <a:off x="9707816" y="5729878"/>
                <a:ext cx="131763" cy="214313"/>
              </a:xfrm>
              <a:custGeom>
                <a:avLst/>
                <a:gdLst>
                  <a:gd name="T0" fmla="*/ 59 w 72"/>
                  <a:gd name="T1" fmla="*/ 12 h 116"/>
                  <a:gd name="T2" fmla="*/ 36 w 72"/>
                  <a:gd name="T3" fmla="*/ 0 h 116"/>
                  <a:gd name="T4" fmla="*/ 17 w 72"/>
                  <a:gd name="T5" fmla="*/ 6 h 116"/>
                  <a:gd name="T6" fmla="*/ 5 w 72"/>
                  <a:gd name="T7" fmla="*/ 21 h 116"/>
                  <a:gd name="T8" fmla="*/ 0 w 72"/>
                  <a:gd name="T9" fmla="*/ 42 h 116"/>
                  <a:gd name="T10" fmla="*/ 10 w 72"/>
                  <a:gd name="T11" fmla="*/ 71 h 116"/>
                  <a:gd name="T12" fmla="*/ 36 w 72"/>
                  <a:gd name="T13" fmla="*/ 83 h 116"/>
                  <a:gd name="T14" fmla="*/ 58 w 72"/>
                  <a:gd name="T15" fmla="*/ 73 h 116"/>
                  <a:gd name="T16" fmla="*/ 57 w 72"/>
                  <a:gd name="T17" fmla="*/ 90 h 116"/>
                  <a:gd name="T18" fmla="*/ 50 w 72"/>
                  <a:gd name="T19" fmla="*/ 101 h 116"/>
                  <a:gd name="T20" fmla="*/ 35 w 72"/>
                  <a:gd name="T21" fmla="*/ 105 h 116"/>
                  <a:gd name="T22" fmla="*/ 21 w 72"/>
                  <a:gd name="T23" fmla="*/ 101 h 116"/>
                  <a:gd name="T24" fmla="*/ 17 w 72"/>
                  <a:gd name="T25" fmla="*/ 92 h 116"/>
                  <a:gd name="T26" fmla="*/ 3 w 72"/>
                  <a:gd name="T27" fmla="*/ 90 h 116"/>
                  <a:gd name="T28" fmla="*/ 12 w 72"/>
                  <a:gd name="T29" fmla="*/ 110 h 116"/>
                  <a:gd name="T30" fmla="*/ 35 w 72"/>
                  <a:gd name="T31" fmla="*/ 116 h 116"/>
                  <a:gd name="T32" fmla="*/ 56 w 72"/>
                  <a:gd name="T33" fmla="*/ 112 h 116"/>
                  <a:gd name="T34" fmla="*/ 68 w 72"/>
                  <a:gd name="T35" fmla="*/ 99 h 116"/>
                  <a:gd name="T36" fmla="*/ 72 w 72"/>
                  <a:gd name="T37" fmla="*/ 72 h 116"/>
                  <a:gd name="T38" fmla="*/ 72 w 72"/>
                  <a:gd name="T39" fmla="*/ 2 h 116"/>
                  <a:gd name="T40" fmla="*/ 59 w 72"/>
                  <a:gd name="T41" fmla="*/ 2 h 116"/>
                  <a:gd name="T42" fmla="*/ 59 w 72"/>
                  <a:gd name="T43" fmla="*/ 12 h 116"/>
                  <a:gd name="T44" fmla="*/ 53 w 72"/>
                  <a:gd name="T45" fmla="*/ 65 h 116"/>
                  <a:gd name="T46" fmla="*/ 37 w 72"/>
                  <a:gd name="T47" fmla="*/ 72 h 116"/>
                  <a:gd name="T48" fmla="*/ 21 w 72"/>
                  <a:gd name="T49" fmla="*/ 65 h 116"/>
                  <a:gd name="T50" fmla="*/ 15 w 72"/>
                  <a:gd name="T51" fmla="*/ 41 h 116"/>
                  <a:gd name="T52" fmla="*/ 21 w 72"/>
                  <a:gd name="T53" fmla="*/ 19 h 116"/>
                  <a:gd name="T54" fmla="*/ 37 w 72"/>
                  <a:gd name="T55" fmla="*/ 12 h 116"/>
                  <a:gd name="T56" fmla="*/ 53 w 72"/>
                  <a:gd name="T57" fmla="*/ 19 h 116"/>
                  <a:gd name="T58" fmla="*/ 59 w 72"/>
                  <a:gd name="T59" fmla="*/ 42 h 116"/>
                  <a:gd name="T60" fmla="*/ 53 w 72"/>
                  <a:gd name="T61" fmla="*/ 65 h 1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72" h="116">
                    <a:moveTo>
                      <a:pt x="59" y="12"/>
                    </a:moveTo>
                    <a:cubicBezTo>
                      <a:pt x="53" y="4"/>
                      <a:pt x="45" y="0"/>
                      <a:pt x="36" y="0"/>
                    </a:cubicBezTo>
                    <a:cubicBezTo>
                      <a:pt x="28" y="0"/>
                      <a:pt x="22" y="2"/>
                      <a:pt x="17" y="6"/>
                    </a:cubicBezTo>
                    <a:cubicBezTo>
                      <a:pt x="11" y="9"/>
                      <a:pt x="7" y="14"/>
                      <a:pt x="5" y="21"/>
                    </a:cubicBezTo>
                    <a:cubicBezTo>
                      <a:pt x="2" y="27"/>
                      <a:pt x="0" y="34"/>
                      <a:pt x="0" y="42"/>
                    </a:cubicBezTo>
                    <a:cubicBezTo>
                      <a:pt x="0" y="53"/>
                      <a:pt x="3" y="63"/>
                      <a:pt x="10" y="71"/>
                    </a:cubicBezTo>
                    <a:cubicBezTo>
                      <a:pt x="16" y="79"/>
                      <a:pt x="24" y="83"/>
                      <a:pt x="36" y="83"/>
                    </a:cubicBezTo>
                    <a:cubicBezTo>
                      <a:pt x="45" y="83"/>
                      <a:pt x="52" y="80"/>
                      <a:pt x="58" y="73"/>
                    </a:cubicBezTo>
                    <a:cubicBezTo>
                      <a:pt x="58" y="82"/>
                      <a:pt x="58" y="88"/>
                      <a:pt x="57" y="90"/>
                    </a:cubicBezTo>
                    <a:cubicBezTo>
                      <a:pt x="56" y="95"/>
                      <a:pt x="53" y="99"/>
                      <a:pt x="50" y="101"/>
                    </a:cubicBezTo>
                    <a:cubicBezTo>
                      <a:pt x="47" y="104"/>
                      <a:pt x="42" y="105"/>
                      <a:pt x="35" y="105"/>
                    </a:cubicBezTo>
                    <a:cubicBezTo>
                      <a:pt x="29" y="105"/>
                      <a:pt x="25" y="104"/>
                      <a:pt x="21" y="101"/>
                    </a:cubicBezTo>
                    <a:cubicBezTo>
                      <a:pt x="19" y="99"/>
                      <a:pt x="17" y="96"/>
                      <a:pt x="17" y="92"/>
                    </a:cubicBezTo>
                    <a:cubicBezTo>
                      <a:pt x="3" y="90"/>
                      <a:pt x="3" y="90"/>
                      <a:pt x="3" y="90"/>
                    </a:cubicBezTo>
                    <a:cubicBezTo>
                      <a:pt x="3" y="99"/>
                      <a:pt x="6" y="105"/>
                      <a:pt x="12" y="110"/>
                    </a:cubicBezTo>
                    <a:cubicBezTo>
                      <a:pt x="18" y="114"/>
                      <a:pt x="26" y="116"/>
                      <a:pt x="35" y="116"/>
                    </a:cubicBezTo>
                    <a:cubicBezTo>
                      <a:pt x="43" y="116"/>
                      <a:pt x="50" y="115"/>
                      <a:pt x="56" y="112"/>
                    </a:cubicBezTo>
                    <a:cubicBezTo>
                      <a:pt x="62" y="109"/>
                      <a:pt x="66" y="104"/>
                      <a:pt x="68" y="99"/>
                    </a:cubicBezTo>
                    <a:cubicBezTo>
                      <a:pt x="71" y="94"/>
                      <a:pt x="72" y="85"/>
                      <a:pt x="72" y="72"/>
                    </a:cubicBezTo>
                    <a:cubicBezTo>
                      <a:pt x="72" y="2"/>
                      <a:pt x="72" y="2"/>
                      <a:pt x="72" y="2"/>
                    </a:cubicBezTo>
                    <a:cubicBezTo>
                      <a:pt x="59" y="2"/>
                      <a:pt x="59" y="2"/>
                      <a:pt x="59" y="2"/>
                    </a:cubicBezTo>
                    <a:lnTo>
                      <a:pt x="59" y="12"/>
                    </a:lnTo>
                    <a:close/>
                    <a:moveTo>
                      <a:pt x="53" y="65"/>
                    </a:moveTo>
                    <a:cubicBezTo>
                      <a:pt x="48" y="69"/>
                      <a:pt x="43" y="72"/>
                      <a:pt x="37" y="72"/>
                    </a:cubicBezTo>
                    <a:cubicBezTo>
                      <a:pt x="30" y="72"/>
                      <a:pt x="25" y="69"/>
                      <a:pt x="21" y="65"/>
                    </a:cubicBezTo>
                    <a:cubicBezTo>
                      <a:pt x="17" y="60"/>
                      <a:pt x="15" y="52"/>
                      <a:pt x="15" y="41"/>
                    </a:cubicBezTo>
                    <a:cubicBezTo>
                      <a:pt x="15" y="31"/>
                      <a:pt x="17" y="24"/>
                      <a:pt x="21" y="19"/>
                    </a:cubicBezTo>
                    <a:cubicBezTo>
                      <a:pt x="25" y="14"/>
                      <a:pt x="30" y="12"/>
                      <a:pt x="37" y="12"/>
                    </a:cubicBezTo>
                    <a:cubicBezTo>
                      <a:pt x="43" y="12"/>
                      <a:pt x="48" y="14"/>
                      <a:pt x="53" y="19"/>
                    </a:cubicBezTo>
                    <a:cubicBezTo>
                      <a:pt x="57" y="24"/>
                      <a:pt x="59" y="32"/>
                      <a:pt x="59" y="42"/>
                    </a:cubicBezTo>
                    <a:cubicBezTo>
                      <a:pt x="59" y="52"/>
                      <a:pt x="57" y="60"/>
                      <a:pt x="53" y="6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285" name="îŝlíde"/>
              <p:cNvSpPr/>
              <p:nvPr/>
            </p:nvSpPr>
            <p:spPr bwMode="auto">
              <a:xfrm>
                <a:off x="9864978" y="5733053"/>
                <a:ext cx="138113" cy="211138"/>
              </a:xfrm>
              <a:custGeom>
                <a:avLst/>
                <a:gdLst>
                  <a:gd name="T0" fmla="*/ 43 w 75"/>
                  <a:gd name="T1" fmla="*/ 47 h 114"/>
                  <a:gd name="T2" fmla="*/ 38 w 75"/>
                  <a:gd name="T3" fmla="*/ 66 h 114"/>
                  <a:gd name="T4" fmla="*/ 32 w 75"/>
                  <a:gd name="T5" fmla="*/ 47 h 114"/>
                  <a:gd name="T6" fmla="*/ 15 w 75"/>
                  <a:gd name="T7" fmla="*/ 0 h 114"/>
                  <a:gd name="T8" fmla="*/ 0 w 75"/>
                  <a:gd name="T9" fmla="*/ 0 h 114"/>
                  <a:gd name="T10" fmla="*/ 31 w 75"/>
                  <a:gd name="T11" fmla="*/ 81 h 114"/>
                  <a:gd name="T12" fmla="*/ 30 w 75"/>
                  <a:gd name="T13" fmla="*/ 85 h 114"/>
                  <a:gd name="T14" fmla="*/ 25 w 75"/>
                  <a:gd name="T15" fmla="*/ 95 h 114"/>
                  <a:gd name="T16" fmla="*/ 21 w 75"/>
                  <a:gd name="T17" fmla="*/ 99 h 114"/>
                  <a:gd name="T18" fmla="*/ 14 w 75"/>
                  <a:gd name="T19" fmla="*/ 101 h 114"/>
                  <a:gd name="T20" fmla="*/ 6 w 75"/>
                  <a:gd name="T21" fmla="*/ 100 h 114"/>
                  <a:gd name="T22" fmla="*/ 7 w 75"/>
                  <a:gd name="T23" fmla="*/ 113 h 114"/>
                  <a:gd name="T24" fmla="*/ 16 w 75"/>
                  <a:gd name="T25" fmla="*/ 114 h 114"/>
                  <a:gd name="T26" fmla="*/ 27 w 75"/>
                  <a:gd name="T27" fmla="*/ 111 h 114"/>
                  <a:gd name="T28" fmla="*/ 36 w 75"/>
                  <a:gd name="T29" fmla="*/ 101 h 114"/>
                  <a:gd name="T30" fmla="*/ 44 w 75"/>
                  <a:gd name="T31" fmla="*/ 83 h 114"/>
                  <a:gd name="T32" fmla="*/ 75 w 75"/>
                  <a:gd name="T33" fmla="*/ 0 h 114"/>
                  <a:gd name="T34" fmla="*/ 61 w 75"/>
                  <a:gd name="T35" fmla="*/ 0 h 114"/>
                  <a:gd name="T36" fmla="*/ 43 w 75"/>
                  <a:gd name="T37" fmla="*/ 47 h 1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75" h="114">
                    <a:moveTo>
                      <a:pt x="43" y="47"/>
                    </a:moveTo>
                    <a:cubicBezTo>
                      <a:pt x="41" y="53"/>
                      <a:pt x="39" y="60"/>
                      <a:pt x="38" y="66"/>
                    </a:cubicBezTo>
                    <a:cubicBezTo>
                      <a:pt x="36" y="59"/>
                      <a:pt x="34" y="53"/>
                      <a:pt x="32" y="47"/>
                    </a:cubicBezTo>
                    <a:cubicBezTo>
                      <a:pt x="15" y="0"/>
                      <a:pt x="15" y="0"/>
                      <a:pt x="15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31" y="81"/>
                      <a:pt x="31" y="81"/>
                      <a:pt x="31" y="81"/>
                    </a:cubicBezTo>
                    <a:cubicBezTo>
                      <a:pt x="30" y="83"/>
                      <a:pt x="30" y="84"/>
                      <a:pt x="30" y="85"/>
                    </a:cubicBezTo>
                    <a:cubicBezTo>
                      <a:pt x="28" y="90"/>
                      <a:pt x="26" y="94"/>
                      <a:pt x="25" y="95"/>
                    </a:cubicBezTo>
                    <a:cubicBezTo>
                      <a:pt x="24" y="97"/>
                      <a:pt x="23" y="98"/>
                      <a:pt x="21" y="99"/>
                    </a:cubicBezTo>
                    <a:cubicBezTo>
                      <a:pt x="19" y="100"/>
                      <a:pt x="17" y="101"/>
                      <a:pt x="14" y="101"/>
                    </a:cubicBezTo>
                    <a:cubicBezTo>
                      <a:pt x="11" y="101"/>
                      <a:pt x="9" y="101"/>
                      <a:pt x="6" y="100"/>
                    </a:cubicBezTo>
                    <a:cubicBezTo>
                      <a:pt x="7" y="113"/>
                      <a:pt x="7" y="113"/>
                      <a:pt x="7" y="113"/>
                    </a:cubicBezTo>
                    <a:cubicBezTo>
                      <a:pt x="11" y="114"/>
                      <a:pt x="13" y="114"/>
                      <a:pt x="16" y="114"/>
                    </a:cubicBezTo>
                    <a:cubicBezTo>
                      <a:pt x="21" y="114"/>
                      <a:pt x="24" y="113"/>
                      <a:pt x="27" y="111"/>
                    </a:cubicBezTo>
                    <a:cubicBezTo>
                      <a:pt x="31" y="109"/>
                      <a:pt x="33" y="106"/>
                      <a:pt x="36" y="101"/>
                    </a:cubicBezTo>
                    <a:cubicBezTo>
                      <a:pt x="38" y="98"/>
                      <a:pt x="40" y="92"/>
                      <a:pt x="44" y="83"/>
                    </a:cubicBezTo>
                    <a:cubicBezTo>
                      <a:pt x="75" y="0"/>
                      <a:pt x="75" y="0"/>
                      <a:pt x="75" y="0"/>
                    </a:cubicBezTo>
                    <a:cubicBezTo>
                      <a:pt x="61" y="0"/>
                      <a:pt x="61" y="0"/>
                      <a:pt x="61" y="0"/>
                    </a:cubicBezTo>
                    <a:lnTo>
                      <a:pt x="43" y="4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286" name="íṧ1ïḍé"/>
              <p:cNvSpPr/>
              <p:nvPr/>
            </p:nvSpPr>
            <p:spPr bwMode="auto">
              <a:xfrm>
                <a:off x="10106278" y="5675903"/>
                <a:ext cx="155575" cy="206375"/>
              </a:xfrm>
              <a:custGeom>
                <a:avLst/>
                <a:gdLst>
                  <a:gd name="T0" fmla="*/ 64 w 85"/>
                  <a:gd name="T1" fmla="*/ 53 h 112"/>
                  <a:gd name="T2" fmla="*/ 75 w 85"/>
                  <a:gd name="T3" fmla="*/ 42 h 112"/>
                  <a:gd name="T4" fmla="*/ 79 w 85"/>
                  <a:gd name="T5" fmla="*/ 29 h 112"/>
                  <a:gd name="T6" fmla="*/ 75 w 85"/>
                  <a:gd name="T7" fmla="*/ 14 h 112"/>
                  <a:gd name="T8" fmla="*/ 63 w 85"/>
                  <a:gd name="T9" fmla="*/ 4 h 112"/>
                  <a:gd name="T10" fmla="*/ 42 w 85"/>
                  <a:gd name="T11" fmla="*/ 0 h 112"/>
                  <a:gd name="T12" fmla="*/ 0 w 85"/>
                  <a:gd name="T13" fmla="*/ 0 h 112"/>
                  <a:gd name="T14" fmla="*/ 0 w 85"/>
                  <a:gd name="T15" fmla="*/ 112 h 112"/>
                  <a:gd name="T16" fmla="*/ 43 w 85"/>
                  <a:gd name="T17" fmla="*/ 112 h 112"/>
                  <a:gd name="T18" fmla="*/ 61 w 85"/>
                  <a:gd name="T19" fmla="*/ 110 h 112"/>
                  <a:gd name="T20" fmla="*/ 73 w 85"/>
                  <a:gd name="T21" fmla="*/ 105 h 112"/>
                  <a:gd name="T22" fmla="*/ 81 w 85"/>
                  <a:gd name="T23" fmla="*/ 94 h 112"/>
                  <a:gd name="T24" fmla="*/ 85 w 85"/>
                  <a:gd name="T25" fmla="*/ 80 h 112"/>
                  <a:gd name="T26" fmla="*/ 79 w 85"/>
                  <a:gd name="T27" fmla="*/ 63 h 112"/>
                  <a:gd name="T28" fmla="*/ 64 w 85"/>
                  <a:gd name="T29" fmla="*/ 53 h 112"/>
                  <a:gd name="T30" fmla="*/ 15 w 85"/>
                  <a:gd name="T31" fmla="*/ 13 h 112"/>
                  <a:gd name="T32" fmla="*/ 37 w 85"/>
                  <a:gd name="T33" fmla="*/ 13 h 112"/>
                  <a:gd name="T34" fmla="*/ 54 w 85"/>
                  <a:gd name="T35" fmla="*/ 15 h 112"/>
                  <a:gd name="T36" fmla="*/ 62 w 85"/>
                  <a:gd name="T37" fmla="*/ 21 h 112"/>
                  <a:gd name="T38" fmla="*/ 65 w 85"/>
                  <a:gd name="T39" fmla="*/ 31 h 112"/>
                  <a:gd name="T40" fmla="*/ 62 w 85"/>
                  <a:gd name="T41" fmla="*/ 40 h 112"/>
                  <a:gd name="T42" fmla="*/ 53 w 85"/>
                  <a:gd name="T43" fmla="*/ 46 h 112"/>
                  <a:gd name="T44" fmla="*/ 39 w 85"/>
                  <a:gd name="T45" fmla="*/ 47 h 112"/>
                  <a:gd name="T46" fmla="*/ 15 w 85"/>
                  <a:gd name="T47" fmla="*/ 47 h 112"/>
                  <a:gd name="T48" fmla="*/ 15 w 85"/>
                  <a:gd name="T49" fmla="*/ 13 h 112"/>
                  <a:gd name="T50" fmla="*/ 67 w 85"/>
                  <a:gd name="T51" fmla="*/ 89 h 112"/>
                  <a:gd name="T52" fmla="*/ 61 w 85"/>
                  <a:gd name="T53" fmla="*/ 95 h 112"/>
                  <a:gd name="T54" fmla="*/ 53 w 85"/>
                  <a:gd name="T55" fmla="*/ 99 h 112"/>
                  <a:gd name="T56" fmla="*/ 43 w 85"/>
                  <a:gd name="T57" fmla="*/ 99 h 112"/>
                  <a:gd name="T58" fmla="*/ 15 w 85"/>
                  <a:gd name="T59" fmla="*/ 99 h 112"/>
                  <a:gd name="T60" fmla="*/ 15 w 85"/>
                  <a:gd name="T61" fmla="*/ 61 h 112"/>
                  <a:gd name="T62" fmla="*/ 41 w 85"/>
                  <a:gd name="T63" fmla="*/ 61 h 112"/>
                  <a:gd name="T64" fmla="*/ 57 w 85"/>
                  <a:gd name="T65" fmla="*/ 62 h 112"/>
                  <a:gd name="T66" fmla="*/ 66 w 85"/>
                  <a:gd name="T67" fmla="*/ 69 h 112"/>
                  <a:gd name="T68" fmla="*/ 69 w 85"/>
                  <a:gd name="T69" fmla="*/ 80 h 112"/>
                  <a:gd name="T70" fmla="*/ 67 w 85"/>
                  <a:gd name="T71" fmla="*/ 89 h 1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85" h="112">
                    <a:moveTo>
                      <a:pt x="64" y="53"/>
                    </a:moveTo>
                    <a:cubicBezTo>
                      <a:pt x="69" y="50"/>
                      <a:pt x="73" y="47"/>
                      <a:pt x="75" y="42"/>
                    </a:cubicBezTo>
                    <a:cubicBezTo>
                      <a:pt x="78" y="38"/>
                      <a:pt x="79" y="34"/>
                      <a:pt x="79" y="29"/>
                    </a:cubicBezTo>
                    <a:cubicBezTo>
                      <a:pt x="79" y="24"/>
                      <a:pt x="78" y="19"/>
                      <a:pt x="75" y="14"/>
                    </a:cubicBezTo>
                    <a:cubicBezTo>
                      <a:pt x="72" y="9"/>
                      <a:pt x="68" y="6"/>
                      <a:pt x="63" y="4"/>
                    </a:cubicBezTo>
                    <a:cubicBezTo>
                      <a:pt x="57" y="1"/>
                      <a:pt x="51" y="0"/>
                      <a:pt x="42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112"/>
                      <a:pt x="0" y="112"/>
                      <a:pt x="0" y="112"/>
                    </a:cubicBezTo>
                    <a:cubicBezTo>
                      <a:pt x="43" y="112"/>
                      <a:pt x="43" y="112"/>
                      <a:pt x="43" y="112"/>
                    </a:cubicBezTo>
                    <a:cubicBezTo>
                      <a:pt x="50" y="112"/>
                      <a:pt x="56" y="112"/>
                      <a:pt x="61" y="110"/>
                    </a:cubicBezTo>
                    <a:cubicBezTo>
                      <a:pt x="66" y="109"/>
                      <a:pt x="70" y="107"/>
                      <a:pt x="73" y="105"/>
                    </a:cubicBezTo>
                    <a:cubicBezTo>
                      <a:pt x="76" y="102"/>
                      <a:pt x="79" y="99"/>
                      <a:pt x="81" y="94"/>
                    </a:cubicBezTo>
                    <a:cubicBezTo>
                      <a:pt x="84" y="90"/>
                      <a:pt x="85" y="85"/>
                      <a:pt x="85" y="80"/>
                    </a:cubicBezTo>
                    <a:cubicBezTo>
                      <a:pt x="85" y="73"/>
                      <a:pt x="83" y="68"/>
                      <a:pt x="79" y="63"/>
                    </a:cubicBezTo>
                    <a:cubicBezTo>
                      <a:pt x="76" y="58"/>
                      <a:pt x="70" y="55"/>
                      <a:pt x="64" y="53"/>
                    </a:cubicBezTo>
                    <a:close/>
                    <a:moveTo>
                      <a:pt x="15" y="13"/>
                    </a:moveTo>
                    <a:cubicBezTo>
                      <a:pt x="37" y="13"/>
                      <a:pt x="37" y="13"/>
                      <a:pt x="37" y="13"/>
                    </a:cubicBezTo>
                    <a:cubicBezTo>
                      <a:pt x="45" y="13"/>
                      <a:pt x="51" y="14"/>
                      <a:pt x="54" y="15"/>
                    </a:cubicBezTo>
                    <a:cubicBezTo>
                      <a:pt x="58" y="16"/>
                      <a:pt x="60" y="18"/>
                      <a:pt x="62" y="21"/>
                    </a:cubicBezTo>
                    <a:cubicBezTo>
                      <a:pt x="64" y="24"/>
                      <a:pt x="65" y="27"/>
                      <a:pt x="65" y="31"/>
                    </a:cubicBezTo>
                    <a:cubicBezTo>
                      <a:pt x="65" y="35"/>
                      <a:pt x="64" y="38"/>
                      <a:pt x="62" y="40"/>
                    </a:cubicBezTo>
                    <a:cubicBezTo>
                      <a:pt x="60" y="43"/>
                      <a:pt x="57" y="45"/>
                      <a:pt x="53" y="46"/>
                    </a:cubicBezTo>
                    <a:cubicBezTo>
                      <a:pt x="50" y="47"/>
                      <a:pt x="46" y="47"/>
                      <a:pt x="39" y="47"/>
                    </a:cubicBezTo>
                    <a:cubicBezTo>
                      <a:pt x="15" y="47"/>
                      <a:pt x="15" y="47"/>
                      <a:pt x="15" y="47"/>
                    </a:cubicBezTo>
                    <a:lnTo>
                      <a:pt x="15" y="13"/>
                    </a:lnTo>
                    <a:close/>
                    <a:moveTo>
                      <a:pt x="67" y="89"/>
                    </a:moveTo>
                    <a:cubicBezTo>
                      <a:pt x="66" y="92"/>
                      <a:pt x="64" y="94"/>
                      <a:pt x="61" y="95"/>
                    </a:cubicBezTo>
                    <a:cubicBezTo>
                      <a:pt x="59" y="97"/>
                      <a:pt x="56" y="98"/>
                      <a:pt x="53" y="99"/>
                    </a:cubicBezTo>
                    <a:cubicBezTo>
                      <a:pt x="51" y="99"/>
                      <a:pt x="48" y="99"/>
                      <a:pt x="43" y="99"/>
                    </a:cubicBezTo>
                    <a:cubicBezTo>
                      <a:pt x="15" y="99"/>
                      <a:pt x="15" y="99"/>
                      <a:pt x="15" y="99"/>
                    </a:cubicBezTo>
                    <a:cubicBezTo>
                      <a:pt x="15" y="61"/>
                      <a:pt x="15" y="61"/>
                      <a:pt x="15" y="61"/>
                    </a:cubicBezTo>
                    <a:cubicBezTo>
                      <a:pt x="41" y="61"/>
                      <a:pt x="41" y="61"/>
                      <a:pt x="41" y="61"/>
                    </a:cubicBezTo>
                    <a:cubicBezTo>
                      <a:pt x="48" y="61"/>
                      <a:pt x="53" y="61"/>
                      <a:pt x="57" y="62"/>
                    </a:cubicBezTo>
                    <a:cubicBezTo>
                      <a:pt x="61" y="64"/>
                      <a:pt x="64" y="66"/>
                      <a:pt x="66" y="69"/>
                    </a:cubicBezTo>
                    <a:cubicBezTo>
                      <a:pt x="68" y="72"/>
                      <a:pt x="69" y="76"/>
                      <a:pt x="69" y="80"/>
                    </a:cubicBezTo>
                    <a:cubicBezTo>
                      <a:pt x="69" y="83"/>
                      <a:pt x="69" y="87"/>
                      <a:pt x="67" y="8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287" name="iŝļidé"/>
              <p:cNvSpPr/>
              <p:nvPr/>
            </p:nvSpPr>
            <p:spPr bwMode="auto">
              <a:xfrm>
                <a:off x="10288841" y="5729878"/>
                <a:ext cx="138113" cy="157163"/>
              </a:xfrm>
              <a:custGeom>
                <a:avLst/>
                <a:gdLst>
                  <a:gd name="T0" fmla="*/ 38 w 75"/>
                  <a:gd name="T1" fmla="*/ 0 h 85"/>
                  <a:gd name="T2" fmla="*/ 10 w 75"/>
                  <a:gd name="T3" fmla="*/ 12 h 85"/>
                  <a:gd name="T4" fmla="*/ 0 w 75"/>
                  <a:gd name="T5" fmla="*/ 43 h 85"/>
                  <a:gd name="T6" fmla="*/ 10 w 75"/>
                  <a:gd name="T7" fmla="*/ 74 h 85"/>
                  <a:gd name="T8" fmla="*/ 38 w 75"/>
                  <a:gd name="T9" fmla="*/ 85 h 85"/>
                  <a:gd name="T10" fmla="*/ 62 w 75"/>
                  <a:gd name="T11" fmla="*/ 78 h 85"/>
                  <a:gd name="T12" fmla="*/ 74 w 75"/>
                  <a:gd name="T13" fmla="*/ 59 h 85"/>
                  <a:gd name="T14" fmla="*/ 60 w 75"/>
                  <a:gd name="T15" fmla="*/ 57 h 85"/>
                  <a:gd name="T16" fmla="*/ 51 w 75"/>
                  <a:gd name="T17" fmla="*/ 70 h 85"/>
                  <a:gd name="T18" fmla="*/ 39 w 75"/>
                  <a:gd name="T19" fmla="*/ 74 h 85"/>
                  <a:gd name="T20" fmla="*/ 22 w 75"/>
                  <a:gd name="T21" fmla="*/ 67 h 85"/>
                  <a:gd name="T22" fmla="*/ 14 w 75"/>
                  <a:gd name="T23" fmla="*/ 46 h 85"/>
                  <a:gd name="T24" fmla="*/ 75 w 75"/>
                  <a:gd name="T25" fmla="*/ 46 h 85"/>
                  <a:gd name="T26" fmla="*/ 75 w 75"/>
                  <a:gd name="T27" fmla="*/ 43 h 85"/>
                  <a:gd name="T28" fmla="*/ 64 w 75"/>
                  <a:gd name="T29" fmla="*/ 11 h 85"/>
                  <a:gd name="T30" fmla="*/ 38 w 75"/>
                  <a:gd name="T31" fmla="*/ 0 h 85"/>
                  <a:gd name="T32" fmla="*/ 15 w 75"/>
                  <a:gd name="T33" fmla="*/ 35 h 85"/>
                  <a:gd name="T34" fmla="*/ 22 w 75"/>
                  <a:gd name="T35" fmla="*/ 18 h 85"/>
                  <a:gd name="T36" fmla="*/ 38 w 75"/>
                  <a:gd name="T37" fmla="*/ 12 h 85"/>
                  <a:gd name="T38" fmla="*/ 55 w 75"/>
                  <a:gd name="T39" fmla="*/ 20 h 85"/>
                  <a:gd name="T40" fmla="*/ 60 w 75"/>
                  <a:gd name="T41" fmla="*/ 35 h 85"/>
                  <a:gd name="T42" fmla="*/ 15 w 75"/>
                  <a:gd name="T43" fmla="*/ 35 h 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75" h="85">
                    <a:moveTo>
                      <a:pt x="38" y="0"/>
                    </a:moveTo>
                    <a:cubicBezTo>
                      <a:pt x="26" y="0"/>
                      <a:pt x="17" y="4"/>
                      <a:pt x="10" y="12"/>
                    </a:cubicBezTo>
                    <a:cubicBezTo>
                      <a:pt x="3" y="19"/>
                      <a:pt x="0" y="30"/>
                      <a:pt x="0" y="43"/>
                    </a:cubicBezTo>
                    <a:cubicBezTo>
                      <a:pt x="0" y="57"/>
                      <a:pt x="3" y="67"/>
                      <a:pt x="10" y="74"/>
                    </a:cubicBezTo>
                    <a:cubicBezTo>
                      <a:pt x="17" y="81"/>
                      <a:pt x="27" y="85"/>
                      <a:pt x="38" y="85"/>
                    </a:cubicBezTo>
                    <a:cubicBezTo>
                      <a:pt x="48" y="85"/>
                      <a:pt x="56" y="83"/>
                      <a:pt x="62" y="78"/>
                    </a:cubicBezTo>
                    <a:cubicBezTo>
                      <a:pt x="68" y="74"/>
                      <a:pt x="72" y="67"/>
                      <a:pt x="74" y="59"/>
                    </a:cubicBezTo>
                    <a:cubicBezTo>
                      <a:pt x="60" y="57"/>
                      <a:pt x="60" y="57"/>
                      <a:pt x="60" y="57"/>
                    </a:cubicBezTo>
                    <a:cubicBezTo>
                      <a:pt x="58" y="63"/>
                      <a:pt x="55" y="67"/>
                      <a:pt x="51" y="70"/>
                    </a:cubicBezTo>
                    <a:cubicBezTo>
                      <a:pt x="48" y="73"/>
                      <a:pt x="44" y="74"/>
                      <a:pt x="39" y="74"/>
                    </a:cubicBezTo>
                    <a:cubicBezTo>
                      <a:pt x="32" y="74"/>
                      <a:pt x="26" y="71"/>
                      <a:pt x="22" y="67"/>
                    </a:cubicBezTo>
                    <a:cubicBezTo>
                      <a:pt x="17" y="62"/>
                      <a:pt x="14" y="55"/>
                      <a:pt x="14" y="46"/>
                    </a:cubicBezTo>
                    <a:cubicBezTo>
                      <a:pt x="75" y="46"/>
                      <a:pt x="75" y="46"/>
                      <a:pt x="75" y="46"/>
                    </a:cubicBezTo>
                    <a:cubicBezTo>
                      <a:pt x="75" y="45"/>
                      <a:pt x="75" y="43"/>
                      <a:pt x="75" y="43"/>
                    </a:cubicBezTo>
                    <a:cubicBezTo>
                      <a:pt x="75" y="29"/>
                      <a:pt x="71" y="19"/>
                      <a:pt x="64" y="11"/>
                    </a:cubicBezTo>
                    <a:cubicBezTo>
                      <a:pt x="57" y="4"/>
                      <a:pt x="49" y="0"/>
                      <a:pt x="38" y="0"/>
                    </a:cubicBezTo>
                    <a:close/>
                    <a:moveTo>
                      <a:pt x="15" y="35"/>
                    </a:moveTo>
                    <a:cubicBezTo>
                      <a:pt x="15" y="28"/>
                      <a:pt x="18" y="22"/>
                      <a:pt x="22" y="18"/>
                    </a:cubicBezTo>
                    <a:cubicBezTo>
                      <a:pt x="26" y="14"/>
                      <a:pt x="32" y="12"/>
                      <a:pt x="38" y="12"/>
                    </a:cubicBezTo>
                    <a:cubicBezTo>
                      <a:pt x="45" y="12"/>
                      <a:pt x="51" y="14"/>
                      <a:pt x="55" y="20"/>
                    </a:cubicBezTo>
                    <a:cubicBezTo>
                      <a:pt x="58" y="23"/>
                      <a:pt x="60" y="28"/>
                      <a:pt x="60" y="35"/>
                    </a:cubicBezTo>
                    <a:lnTo>
                      <a:pt x="15" y="3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288" name="í$lidè"/>
              <p:cNvSpPr/>
              <p:nvPr/>
            </p:nvSpPr>
            <p:spPr bwMode="auto">
              <a:xfrm>
                <a:off x="10457116" y="5675903"/>
                <a:ext cx="25400" cy="30163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289" name="iSļiḋé"/>
              <p:cNvSpPr/>
              <p:nvPr/>
            </p:nvSpPr>
            <p:spPr bwMode="auto">
              <a:xfrm>
                <a:off x="10457116" y="5733053"/>
                <a:ext cx="25400" cy="149225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290" name="íṩḷïḑe"/>
              <p:cNvSpPr/>
              <p:nvPr/>
            </p:nvSpPr>
            <p:spPr bwMode="auto">
              <a:xfrm>
                <a:off x="10520616" y="5675903"/>
                <a:ext cx="25400" cy="30163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291" name="i$ḷïḍè"/>
              <p:cNvSpPr/>
              <p:nvPr/>
            </p:nvSpPr>
            <p:spPr bwMode="auto">
              <a:xfrm>
                <a:off x="10488866" y="5733053"/>
                <a:ext cx="57150" cy="211138"/>
              </a:xfrm>
              <a:custGeom>
                <a:avLst/>
                <a:gdLst>
                  <a:gd name="T0" fmla="*/ 17 w 31"/>
                  <a:gd name="T1" fmla="*/ 85 h 114"/>
                  <a:gd name="T2" fmla="*/ 15 w 31"/>
                  <a:gd name="T3" fmla="*/ 99 h 114"/>
                  <a:gd name="T4" fmla="*/ 9 w 31"/>
                  <a:gd name="T5" fmla="*/ 102 h 114"/>
                  <a:gd name="T6" fmla="*/ 2 w 31"/>
                  <a:gd name="T7" fmla="*/ 101 h 114"/>
                  <a:gd name="T8" fmla="*/ 0 w 31"/>
                  <a:gd name="T9" fmla="*/ 113 h 114"/>
                  <a:gd name="T10" fmla="*/ 11 w 31"/>
                  <a:gd name="T11" fmla="*/ 114 h 114"/>
                  <a:gd name="T12" fmla="*/ 27 w 31"/>
                  <a:gd name="T13" fmla="*/ 107 h 114"/>
                  <a:gd name="T14" fmla="*/ 31 w 31"/>
                  <a:gd name="T15" fmla="*/ 86 h 114"/>
                  <a:gd name="T16" fmla="*/ 31 w 31"/>
                  <a:gd name="T17" fmla="*/ 0 h 114"/>
                  <a:gd name="T18" fmla="*/ 17 w 31"/>
                  <a:gd name="T19" fmla="*/ 0 h 114"/>
                  <a:gd name="T20" fmla="*/ 17 w 31"/>
                  <a:gd name="T21" fmla="*/ 85 h 1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31" h="114">
                    <a:moveTo>
                      <a:pt x="17" y="85"/>
                    </a:moveTo>
                    <a:cubicBezTo>
                      <a:pt x="17" y="93"/>
                      <a:pt x="17" y="98"/>
                      <a:pt x="15" y="99"/>
                    </a:cubicBezTo>
                    <a:cubicBezTo>
                      <a:pt x="14" y="101"/>
                      <a:pt x="12" y="102"/>
                      <a:pt x="9" y="102"/>
                    </a:cubicBezTo>
                    <a:cubicBezTo>
                      <a:pt x="7" y="102"/>
                      <a:pt x="5" y="102"/>
                      <a:pt x="2" y="101"/>
                    </a:cubicBezTo>
                    <a:cubicBezTo>
                      <a:pt x="0" y="113"/>
                      <a:pt x="0" y="113"/>
                      <a:pt x="0" y="113"/>
                    </a:cubicBezTo>
                    <a:cubicBezTo>
                      <a:pt x="3" y="114"/>
                      <a:pt x="7" y="114"/>
                      <a:pt x="11" y="114"/>
                    </a:cubicBezTo>
                    <a:cubicBezTo>
                      <a:pt x="18" y="114"/>
                      <a:pt x="24" y="112"/>
                      <a:pt x="27" y="107"/>
                    </a:cubicBezTo>
                    <a:cubicBezTo>
                      <a:pt x="30" y="103"/>
                      <a:pt x="31" y="96"/>
                      <a:pt x="31" y="86"/>
                    </a:cubicBezTo>
                    <a:cubicBezTo>
                      <a:pt x="31" y="0"/>
                      <a:pt x="31" y="0"/>
                      <a:pt x="31" y="0"/>
                    </a:cubicBezTo>
                    <a:cubicBezTo>
                      <a:pt x="17" y="0"/>
                      <a:pt x="17" y="0"/>
                      <a:pt x="17" y="0"/>
                    </a:cubicBezTo>
                    <a:lnTo>
                      <a:pt x="17" y="8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292" name="íṩliḋé"/>
              <p:cNvSpPr/>
              <p:nvPr/>
            </p:nvSpPr>
            <p:spPr bwMode="auto">
              <a:xfrm>
                <a:off x="10585703" y="5675903"/>
                <a:ext cx="25400" cy="30163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293" name="ísḷiďé"/>
              <p:cNvSpPr/>
              <p:nvPr/>
            </p:nvSpPr>
            <p:spPr bwMode="auto">
              <a:xfrm>
                <a:off x="10585703" y="5733053"/>
                <a:ext cx="25400" cy="149225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294" name="íṩļïḍe"/>
              <p:cNvSpPr/>
              <p:nvPr/>
            </p:nvSpPr>
            <p:spPr bwMode="auto">
              <a:xfrm>
                <a:off x="10649203" y="5729878"/>
                <a:ext cx="122238" cy="152400"/>
              </a:xfrm>
              <a:custGeom>
                <a:avLst/>
                <a:gdLst>
                  <a:gd name="T0" fmla="*/ 65 w 66"/>
                  <a:gd name="T1" fmla="*/ 20 h 83"/>
                  <a:gd name="T2" fmla="*/ 61 w 66"/>
                  <a:gd name="T3" fmla="*/ 10 h 83"/>
                  <a:gd name="T4" fmla="*/ 52 w 66"/>
                  <a:gd name="T5" fmla="*/ 3 h 83"/>
                  <a:gd name="T6" fmla="*/ 38 w 66"/>
                  <a:gd name="T7" fmla="*/ 0 h 83"/>
                  <a:gd name="T8" fmla="*/ 12 w 66"/>
                  <a:gd name="T9" fmla="*/ 14 h 83"/>
                  <a:gd name="T10" fmla="*/ 12 w 66"/>
                  <a:gd name="T11" fmla="*/ 2 h 83"/>
                  <a:gd name="T12" fmla="*/ 0 w 66"/>
                  <a:gd name="T13" fmla="*/ 2 h 83"/>
                  <a:gd name="T14" fmla="*/ 0 w 66"/>
                  <a:gd name="T15" fmla="*/ 83 h 83"/>
                  <a:gd name="T16" fmla="*/ 14 w 66"/>
                  <a:gd name="T17" fmla="*/ 83 h 83"/>
                  <a:gd name="T18" fmla="*/ 14 w 66"/>
                  <a:gd name="T19" fmla="*/ 39 h 83"/>
                  <a:gd name="T20" fmla="*/ 20 w 66"/>
                  <a:gd name="T21" fmla="*/ 18 h 83"/>
                  <a:gd name="T22" fmla="*/ 35 w 66"/>
                  <a:gd name="T23" fmla="*/ 12 h 83"/>
                  <a:gd name="T24" fmla="*/ 45 w 66"/>
                  <a:gd name="T25" fmla="*/ 15 h 83"/>
                  <a:gd name="T26" fmla="*/ 51 w 66"/>
                  <a:gd name="T27" fmla="*/ 21 h 83"/>
                  <a:gd name="T28" fmla="*/ 52 w 66"/>
                  <a:gd name="T29" fmla="*/ 34 h 83"/>
                  <a:gd name="T30" fmla="*/ 52 w 66"/>
                  <a:gd name="T31" fmla="*/ 83 h 83"/>
                  <a:gd name="T32" fmla="*/ 66 w 66"/>
                  <a:gd name="T33" fmla="*/ 83 h 83"/>
                  <a:gd name="T34" fmla="*/ 66 w 66"/>
                  <a:gd name="T35" fmla="*/ 33 h 83"/>
                  <a:gd name="T36" fmla="*/ 65 w 66"/>
                  <a:gd name="T37" fmla="*/ 20 h 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66" h="83">
                    <a:moveTo>
                      <a:pt x="65" y="20"/>
                    </a:moveTo>
                    <a:cubicBezTo>
                      <a:pt x="64" y="16"/>
                      <a:pt x="63" y="13"/>
                      <a:pt x="61" y="10"/>
                    </a:cubicBezTo>
                    <a:cubicBezTo>
                      <a:pt x="59" y="7"/>
                      <a:pt x="56" y="5"/>
                      <a:pt x="52" y="3"/>
                    </a:cubicBezTo>
                    <a:cubicBezTo>
                      <a:pt x="48" y="1"/>
                      <a:pt x="43" y="0"/>
                      <a:pt x="38" y="0"/>
                    </a:cubicBezTo>
                    <a:cubicBezTo>
                      <a:pt x="27" y="0"/>
                      <a:pt x="18" y="5"/>
                      <a:pt x="12" y="14"/>
                    </a:cubicBezTo>
                    <a:cubicBezTo>
                      <a:pt x="12" y="2"/>
                      <a:pt x="12" y="2"/>
                      <a:pt x="12" y="2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83"/>
                      <a:pt x="0" y="83"/>
                      <a:pt x="0" y="83"/>
                    </a:cubicBezTo>
                    <a:cubicBezTo>
                      <a:pt x="14" y="83"/>
                      <a:pt x="14" y="83"/>
                      <a:pt x="14" y="83"/>
                    </a:cubicBezTo>
                    <a:cubicBezTo>
                      <a:pt x="14" y="39"/>
                      <a:pt x="14" y="39"/>
                      <a:pt x="14" y="39"/>
                    </a:cubicBezTo>
                    <a:cubicBezTo>
                      <a:pt x="14" y="29"/>
                      <a:pt x="16" y="21"/>
                      <a:pt x="20" y="18"/>
                    </a:cubicBezTo>
                    <a:cubicBezTo>
                      <a:pt x="24" y="14"/>
                      <a:pt x="29" y="12"/>
                      <a:pt x="35" y="12"/>
                    </a:cubicBezTo>
                    <a:cubicBezTo>
                      <a:pt x="39" y="12"/>
                      <a:pt x="42" y="13"/>
                      <a:pt x="45" y="15"/>
                    </a:cubicBezTo>
                    <a:cubicBezTo>
                      <a:pt x="48" y="16"/>
                      <a:pt x="50" y="19"/>
                      <a:pt x="51" y="21"/>
                    </a:cubicBezTo>
                    <a:cubicBezTo>
                      <a:pt x="52" y="24"/>
                      <a:pt x="52" y="28"/>
                      <a:pt x="52" y="34"/>
                    </a:cubicBezTo>
                    <a:cubicBezTo>
                      <a:pt x="52" y="83"/>
                      <a:pt x="52" y="83"/>
                      <a:pt x="52" y="83"/>
                    </a:cubicBezTo>
                    <a:cubicBezTo>
                      <a:pt x="66" y="83"/>
                      <a:pt x="66" y="83"/>
                      <a:pt x="66" y="83"/>
                    </a:cubicBezTo>
                    <a:cubicBezTo>
                      <a:pt x="66" y="33"/>
                      <a:pt x="66" y="33"/>
                      <a:pt x="66" y="33"/>
                    </a:cubicBezTo>
                    <a:cubicBezTo>
                      <a:pt x="66" y="27"/>
                      <a:pt x="66" y="23"/>
                      <a:pt x="65" y="2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295" name="í$ľíḍê"/>
              <p:cNvSpPr/>
              <p:nvPr/>
            </p:nvSpPr>
            <p:spPr bwMode="auto">
              <a:xfrm>
                <a:off x="10800016" y="5729878"/>
                <a:ext cx="133350" cy="214313"/>
              </a:xfrm>
              <a:custGeom>
                <a:avLst/>
                <a:gdLst>
                  <a:gd name="T0" fmla="*/ 59 w 72"/>
                  <a:gd name="T1" fmla="*/ 2 h 116"/>
                  <a:gd name="T2" fmla="*/ 59 w 72"/>
                  <a:gd name="T3" fmla="*/ 12 h 116"/>
                  <a:gd name="T4" fmla="*/ 35 w 72"/>
                  <a:gd name="T5" fmla="*/ 0 h 116"/>
                  <a:gd name="T6" fmla="*/ 16 w 72"/>
                  <a:gd name="T7" fmla="*/ 6 h 116"/>
                  <a:gd name="T8" fmla="*/ 4 w 72"/>
                  <a:gd name="T9" fmla="*/ 21 h 116"/>
                  <a:gd name="T10" fmla="*/ 0 w 72"/>
                  <a:gd name="T11" fmla="*/ 42 h 116"/>
                  <a:gd name="T12" fmla="*/ 9 w 72"/>
                  <a:gd name="T13" fmla="*/ 71 h 116"/>
                  <a:gd name="T14" fmla="*/ 35 w 72"/>
                  <a:gd name="T15" fmla="*/ 83 h 116"/>
                  <a:gd name="T16" fmla="*/ 58 w 72"/>
                  <a:gd name="T17" fmla="*/ 73 h 116"/>
                  <a:gd name="T18" fmla="*/ 57 w 72"/>
                  <a:gd name="T19" fmla="*/ 90 h 116"/>
                  <a:gd name="T20" fmla="*/ 49 w 72"/>
                  <a:gd name="T21" fmla="*/ 101 h 116"/>
                  <a:gd name="T22" fmla="*/ 35 w 72"/>
                  <a:gd name="T23" fmla="*/ 105 h 116"/>
                  <a:gd name="T24" fmla="*/ 21 w 72"/>
                  <a:gd name="T25" fmla="*/ 101 h 116"/>
                  <a:gd name="T26" fmla="*/ 16 w 72"/>
                  <a:gd name="T27" fmla="*/ 92 h 116"/>
                  <a:gd name="T28" fmla="*/ 3 w 72"/>
                  <a:gd name="T29" fmla="*/ 90 h 116"/>
                  <a:gd name="T30" fmla="*/ 11 w 72"/>
                  <a:gd name="T31" fmla="*/ 110 h 116"/>
                  <a:gd name="T32" fmla="*/ 35 w 72"/>
                  <a:gd name="T33" fmla="*/ 116 h 116"/>
                  <a:gd name="T34" fmla="*/ 55 w 72"/>
                  <a:gd name="T35" fmla="*/ 112 h 116"/>
                  <a:gd name="T36" fmla="*/ 68 w 72"/>
                  <a:gd name="T37" fmla="*/ 99 h 116"/>
                  <a:gd name="T38" fmla="*/ 72 w 72"/>
                  <a:gd name="T39" fmla="*/ 72 h 116"/>
                  <a:gd name="T40" fmla="*/ 72 w 72"/>
                  <a:gd name="T41" fmla="*/ 2 h 116"/>
                  <a:gd name="T42" fmla="*/ 59 w 72"/>
                  <a:gd name="T43" fmla="*/ 2 h 116"/>
                  <a:gd name="T44" fmla="*/ 52 w 72"/>
                  <a:gd name="T45" fmla="*/ 65 h 116"/>
                  <a:gd name="T46" fmla="*/ 36 w 72"/>
                  <a:gd name="T47" fmla="*/ 72 h 116"/>
                  <a:gd name="T48" fmla="*/ 20 w 72"/>
                  <a:gd name="T49" fmla="*/ 65 h 116"/>
                  <a:gd name="T50" fmla="*/ 14 w 72"/>
                  <a:gd name="T51" fmla="*/ 41 h 116"/>
                  <a:gd name="T52" fmla="*/ 20 w 72"/>
                  <a:gd name="T53" fmla="*/ 19 h 116"/>
                  <a:gd name="T54" fmla="*/ 36 w 72"/>
                  <a:gd name="T55" fmla="*/ 12 h 116"/>
                  <a:gd name="T56" fmla="*/ 52 w 72"/>
                  <a:gd name="T57" fmla="*/ 19 h 116"/>
                  <a:gd name="T58" fmla="*/ 59 w 72"/>
                  <a:gd name="T59" fmla="*/ 42 h 116"/>
                  <a:gd name="T60" fmla="*/ 52 w 72"/>
                  <a:gd name="T61" fmla="*/ 65 h 1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72" h="116">
                    <a:moveTo>
                      <a:pt x="59" y="2"/>
                    </a:moveTo>
                    <a:cubicBezTo>
                      <a:pt x="59" y="12"/>
                      <a:pt x="59" y="12"/>
                      <a:pt x="59" y="12"/>
                    </a:cubicBezTo>
                    <a:cubicBezTo>
                      <a:pt x="53" y="4"/>
                      <a:pt x="45" y="0"/>
                      <a:pt x="35" y="0"/>
                    </a:cubicBezTo>
                    <a:cubicBezTo>
                      <a:pt x="28" y="0"/>
                      <a:pt x="22" y="2"/>
                      <a:pt x="16" y="6"/>
                    </a:cubicBezTo>
                    <a:cubicBezTo>
                      <a:pt x="11" y="9"/>
                      <a:pt x="7" y="14"/>
                      <a:pt x="4" y="21"/>
                    </a:cubicBezTo>
                    <a:cubicBezTo>
                      <a:pt x="1" y="27"/>
                      <a:pt x="0" y="34"/>
                      <a:pt x="0" y="42"/>
                    </a:cubicBezTo>
                    <a:cubicBezTo>
                      <a:pt x="0" y="53"/>
                      <a:pt x="3" y="63"/>
                      <a:pt x="9" y="71"/>
                    </a:cubicBezTo>
                    <a:cubicBezTo>
                      <a:pt x="15" y="79"/>
                      <a:pt x="24" y="83"/>
                      <a:pt x="35" y="83"/>
                    </a:cubicBezTo>
                    <a:cubicBezTo>
                      <a:pt x="44" y="83"/>
                      <a:pt x="51" y="80"/>
                      <a:pt x="58" y="73"/>
                    </a:cubicBezTo>
                    <a:cubicBezTo>
                      <a:pt x="58" y="82"/>
                      <a:pt x="57" y="88"/>
                      <a:pt x="57" y="90"/>
                    </a:cubicBezTo>
                    <a:cubicBezTo>
                      <a:pt x="55" y="95"/>
                      <a:pt x="53" y="99"/>
                      <a:pt x="49" y="101"/>
                    </a:cubicBezTo>
                    <a:cubicBezTo>
                      <a:pt x="46" y="104"/>
                      <a:pt x="41" y="105"/>
                      <a:pt x="35" y="105"/>
                    </a:cubicBezTo>
                    <a:cubicBezTo>
                      <a:pt x="29" y="105"/>
                      <a:pt x="24" y="104"/>
                      <a:pt x="21" y="101"/>
                    </a:cubicBezTo>
                    <a:cubicBezTo>
                      <a:pt x="18" y="99"/>
                      <a:pt x="17" y="96"/>
                      <a:pt x="16" y="92"/>
                    </a:cubicBezTo>
                    <a:cubicBezTo>
                      <a:pt x="3" y="90"/>
                      <a:pt x="3" y="90"/>
                      <a:pt x="3" y="90"/>
                    </a:cubicBezTo>
                    <a:cubicBezTo>
                      <a:pt x="2" y="99"/>
                      <a:pt x="5" y="105"/>
                      <a:pt x="11" y="110"/>
                    </a:cubicBezTo>
                    <a:cubicBezTo>
                      <a:pt x="17" y="114"/>
                      <a:pt x="25" y="116"/>
                      <a:pt x="35" y="116"/>
                    </a:cubicBezTo>
                    <a:cubicBezTo>
                      <a:pt x="43" y="116"/>
                      <a:pt x="50" y="115"/>
                      <a:pt x="55" y="112"/>
                    </a:cubicBezTo>
                    <a:cubicBezTo>
                      <a:pt x="61" y="109"/>
                      <a:pt x="65" y="104"/>
                      <a:pt x="68" y="99"/>
                    </a:cubicBezTo>
                    <a:cubicBezTo>
                      <a:pt x="70" y="94"/>
                      <a:pt x="72" y="85"/>
                      <a:pt x="72" y="72"/>
                    </a:cubicBezTo>
                    <a:cubicBezTo>
                      <a:pt x="72" y="2"/>
                      <a:pt x="72" y="2"/>
                      <a:pt x="72" y="2"/>
                    </a:cubicBezTo>
                    <a:lnTo>
                      <a:pt x="59" y="2"/>
                    </a:lnTo>
                    <a:close/>
                    <a:moveTo>
                      <a:pt x="52" y="65"/>
                    </a:moveTo>
                    <a:cubicBezTo>
                      <a:pt x="48" y="69"/>
                      <a:pt x="43" y="72"/>
                      <a:pt x="36" y="72"/>
                    </a:cubicBezTo>
                    <a:cubicBezTo>
                      <a:pt x="30" y="72"/>
                      <a:pt x="25" y="69"/>
                      <a:pt x="20" y="65"/>
                    </a:cubicBezTo>
                    <a:cubicBezTo>
                      <a:pt x="16" y="60"/>
                      <a:pt x="14" y="52"/>
                      <a:pt x="14" y="41"/>
                    </a:cubicBezTo>
                    <a:cubicBezTo>
                      <a:pt x="14" y="31"/>
                      <a:pt x="16" y="24"/>
                      <a:pt x="20" y="19"/>
                    </a:cubicBezTo>
                    <a:cubicBezTo>
                      <a:pt x="25" y="14"/>
                      <a:pt x="30" y="12"/>
                      <a:pt x="36" y="12"/>
                    </a:cubicBezTo>
                    <a:cubicBezTo>
                      <a:pt x="42" y="12"/>
                      <a:pt x="48" y="14"/>
                      <a:pt x="52" y="19"/>
                    </a:cubicBezTo>
                    <a:cubicBezTo>
                      <a:pt x="56" y="24"/>
                      <a:pt x="59" y="32"/>
                      <a:pt x="59" y="42"/>
                    </a:cubicBezTo>
                    <a:cubicBezTo>
                      <a:pt x="59" y="52"/>
                      <a:pt x="57" y="60"/>
                      <a:pt x="52" y="6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296" name="î$1ïḍè"/>
              <p:cNvSpPr/>
              <p:nvPr/>
            </p:nvSpPr>
            <p:spPr bwMode="auto">
              <a:xfrm>
                <a:off x="5231066" y="5675903"/>
                <a:ext cx="161925" cy="211138"/>
              </a:xfrm>
              <a:custGeom>
                <a:avLst/>
                <a:gdLst>
                  <a:gd name="T0" fmla="*/ 73 w 88"/>
                  <a:gd name="T1" fmla="*/ 65 h 114"/>
                  <a:gd name="T2" fmla="*/ 66 w 88"/>
                  <a:gd name="T3" fmla="*/ 93 h 114"/>
                  <a:gd name="T4" fmla="*/ 43 w 88"/>
                  <a:gd name="T5" fmla="*/ 101 h 114"/>
                  <a:gd name="T6" fmla="*/ 27 w 88"/>
                  <a:gd name="T7" fmla="*/ 97 h 114"/>
                  <a:gd name="T8" fmla="*/ 17 w 88"/>
                  <a:gd name="T9" fmla="*/ 86 h 114"/>
                  <a:gd name="T10" fmla="*/ 15 w 88"/>
                  <a:gd name="T11" fmla="*/ 65 h 114"/>
                  <a:gd name="T12" fmla="*/ 15 w 88"/>
                  <a:gd name="T13" fmla="*/ 0 h 114"/>
                  <a:gd name="T14" fmla="*/ 0 w 88"/>
                  <a:gd name="T15" fmla="*/ 0 h 114"/>
                  <a:gd name="T16" fmla="*/ 0 w 88"/>
                  <a:gd name="T17" fmla="*/ 65 h 114"/>
                  <a:gd name="T18" fmla="*/ 4 w 88"/>
                  <a:gd name="T19" fmla="*/ 93 h 114"/>
                  <a:gd name="T20" fmla="*/ 18 w 88"/>
                  <a:gd name="T21" fmla="*/ 109 h 114"/>
                  <a:gd name="T22" fmla="*/ 44 w 88"/>
                  <a:gd name="T23" fmla="*/ 114 h 114"/>
                  <a:gd name="T24" fmla="*/ 70 w 88"/>
                  <a:gd name="T25" fmla="*/ 108 h 114"/>
                  <a:gd name="T26" fmla="*/ 84 w 88"/>
                  <a:gd name="T27" fmla="*/ 92 h 114"/>
                  <a:gd name="T28" fmla="*/ 88 w 88"/>
                  <a:gd name="T29" fmla="*/ 65 h 114"/>
                  <a:gd name="T30" fmla="*/ 88 w 88"/>
                  <a:gd name="T31" fmla="*/ 0 h 114"/>
                  <a:gd name="T32" fmla="*/ 73 w 88"/>
                  <a:gd name="T33" fmla="*/ 0 h 114"/>
                  <a:gd name="T34" fmla="*/ 73 w 88"/>
                  <a:gd name="T35" fmla="*/ 65 h 1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88" h="114">
                    <a:moveTo>
                      <a:pt x="73" y="65"/>
                    </a:moveTo>
                    <a:cubicBezTo>
                      <a:pt x="73" y="79"/>
                      <a:pt x="71" y="88"/>
                      <a:pt x="66" y="93"/>
                    </a:cubicBezTo>
                    <a:cubicBezTo>
                      <a:pt x="62" y="98"/>
                      <a:pt x="54" y="101"/>
                      <a:pt x="43" y="101"/>
                    </a:cubicBezTo>
                    <a:cubicBezTo>
                      <a:pt x="37" y="101"/>
                      <a:pt x="31" y="100"/>
                      <a:pt x="27" y="97"/>
                    </a:cubicBezTo>
                    <a:cubicBezTo>
                      <a:pt x="22" y="95"/>
                      <a:pt x="19" y="91"/>
                      <a:pt x="17" y="86"/>
                    </a:cubicBezTo>
                    <a:cubicBezTo>
                      <a:pt x="16" y="82"/>
                      <a:pt x="15" y="75"/>
                      <a:pt x="15" y="65"/>
                    </a:cubicBezTo>
                    <a:cubicBezTo>
                      <a:pt x="15" y="0"/>
                      <a:pt x="15" y="0"/>
                      <a:pt x="15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65"/>
                      <a:pt x="0" y="65"/>
                      <a:pt x="0" y="65"/>
                    </a:cubicBezTo>
                    <a:cubicBezTo>
                      <a:pt x="0" y="77"/>
                      <a:pt x="1" y="86"/>
                      <a:pt x="4" y="93"/>
                    </a:cubicBezTo>
                    <a:cubicBezTo>
                      <a:pt x="7" y="100"/>
                      <a:pt x="12" y="105"/>
                      <a:pt x="18" y="109"/>
                    </a:cubicBezTo>
                    <a:cubicBezTo>
                      <a:pt x="25" y="112"/>
                      <a:pt x="34" y="114"/>
                      <a:pt x="44" y="114"/>
                    </a:cubicBezTo>
                    <a:cubicBezTo>
                      <a:pt x="55" y="114"/>
                      <a:pt x="64" y="112"/>
                      <a:pt x="70" y="108"/>
                    </a:cubicBezTo>
                    <a:cubicBezTo>
                      <a:pt x="77" y="104"/>
                      <a:pt x="82" y="98"/>
                      <a:pt x="84" y="92"/>
                    </a:cubicBezTo>
                    <a:cubicBezTo>
                      <a:pt x="87" y="85"/>
                      <a:pt x="88" y="76"/>
                      <a:pt x="88" y="65"/>
                    </a:cubicBezTo>
                    <a:cubicBezTo>
                      <a:pt x="88" y="0"/>
                      <a:pt x="88" y="0"/>
                      <a:pt x="88" y="0"/>
                    </a:cubicBezTo>
                    <a:cubicBezTo>
                      <a:pt x="73" y="0"/>
                      <a:pt x="73" y="0"/>
                      <a:pt x="73" y="0"/>
                    </a:cubicBezTo>
                    <a:lnTo>
                      <a:pt x="73" y="6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297" name="ïṡļîḑê"/>
              <p:cNvSpPr/>
              <p:nvPr/>
            </p:nvSpPr>
            <p:spPr bwMode="auto">
              <a:xfrm>
                <a:off x="5435853" y="5729878"/>
                <a:ext cx="120650" cy="152400"/>
              </a:xfrm>
              <a:custGeom>
                <a:avLst/>
                <a:gdLst>
                  <a:gd name="T0" fmla="*/ 61 w 66"/>
                  <a:gd name="T1" fmla="*/ 10 h 83"/>
                  <a:gd name="T2" fmla="*/ 52 w 66"/>
                  <a:gd name="T3" fmla="*/ 3 h 83"/>
                  <a:gd name="T4" fmla="*/ 38 w 66"/>
                  <a:gd name="T5" fmla="*/ 0 h 83"/>
                  <a:gd name="T6" fmla="*/ 12 w 66"/>
                  <a:gd name="T7" fmla="*/ 14 h 83"/>
                  <a:gd name="T8" fmla="*/ 12 w 66"/>
                  <a:gd name="T9" fmla="*/ 2 h 83"/>
                  <a:gd name="T10" fmla="*/ 0 w 66"/>
                  <a:gd name="T11" fmla="*/ 2 h 83"/>
                  <a:gd name="T12" fmla="*/ 0 w 66"/>
                  <a:gd name="T13" fmla="*/ 83 h 83"/>
                  <a:gd name="T14" fmla="*/ 14 w 66"/>
                  <a:gd name="T15" fmla="*/ 83 h 83"/>
                  <a:gd name="T16" fmla="*/ 14 w 66"/>
                  <a:gd name="T17" fmla="*/ 39 h 83"/>
                  <a:gd name="T18" fmla="*/ 20 w 66"/>
                  <a:gd name="T19" fmla="*/ 18 h 83"/>
                  <a:gd name="T20" fmla="*/ 35 w 66"/>
                  <a:gd name="T21" fmla="*/ 12 h 83"/>
                  <a:gd name="T22" fmla="*/ 45 w 66"/>
                  <a:gd name="T23" fmla="*/ 15 h 83"/>
                  <a:gd name="T24" fmla="*/ 51 w 66"/>
                  <a:gd name="T25" fmla="*/ 21 h 83"/>
                  <a:gd name="T26" fmla="*/ 52 w 66"/>
                  <a:gd name="T27" fmla="*/ 34 h 83"/>
                  <a:gd name="T28" fmla="*/ 52 w 66"/>
                  <a:gd name="T29" fmla="*/ 83 h 83"/>
                  <a:gd name="T30" fmla="*/ 66 w 66"/>
                  <a:gd name="T31" fmla="*/ 83 h 83"/>
                  <a:gd name="T32" fmla="*/ 66 w 66"/>
                  <a:gd name="T33" fmla="*/ 33 h 83"/>
                  <a:gd name="T34" fmla="*/ 65 w 66"/>
                  <a:gd name="T35" fmla="*/ 20 h 83"/>
                  <a:gd name="T36" fmla="*/ 61 w 66"/>
                  <a:gd name="T37" fmla="*/ 10 h 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66" h="83">
                    <a:moveTo>
                      <a:pt x="61" y="10"/>
                    </a:moveTo>
                    <a:cubicBezTo>
                      <a:pt x="59" y="7"/>
                      <a:pt x="56" y="5"/>
                      <a:pt x="52" y="3"/>
                    </a:cubicBezTo>
                    <a:cubicBezTo>
                      <a:pt x="48" y="1"/>
                      <a:pt x="43" y="0"/>
                      <a:pt x="38" y="0"/>
                    </a:cubicBezTo>
                    <a:cubicBezTo>
                      <a:pt x="27" y="0"/>
                      <a:pt x="18" y="5"/>
                      <a:pt x="12" y="14"/>
                    </a:cubicBezTo>
                    <a:cubicBezTo>
                      <a:pt x="12" y="2"/>
                      <a:pt x="12" y="2"/>
                      <a:pt x="12" y="2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83"/>
                      <a:pt x="0" y="83"/>
                      <a:pt x="0" y="83"/>
                    </a:cubicBezTo>
                    <a:cubicBezTo>
                      <a:pt x="14" y="83"/>
                      <a:pt x="14" y="83"/>
                      <a:pt x="14" y="83"/>
                    </a:cubicBezTo>
                    <a:cubicBezTo>
                      <a:pt x="14" y="39"/>
                      <a:pt x="14" y="39"/>
                      <a:pt x="14" y="39"/>
                    </a:cubicBezTo>
                    <a:cubicBezTo>
                      <a:pt x="14" y="29"/>
                      <a:pt x="16" y="21"/>
                      <a:pt x="20" y="18"/>
                    </a:cubicBezTo>
                    <a:cubicBezTo>
                      <a:pt x="25" y="14"/>
                      <a:pt x="30" y="12"/>
                      <a:pt x="35" y="12"/>
                    </a:cubicBezTo>
                    <a:cubicBezTo>
                      <a:pt x="39" y="12"/>
                      <a:pt x="42" y="13"/>
                      <a:pt x="45" y="15"/>
                    </a:cubicBezTo>
                    <a:cubicBezTo>
                      <a:pt x="48" y="16"/>
                      <a:pt x="50" y="19"/>
                      <a:pt x="51" y="21"/>
                    </a:cubicBezTo>
                    <a:cubicBezTo>
                      <a:pt x="52" y="24"/>
                      <a:pt x="52" y="28"/>
                      <a:pt x="52" y="34"/>
                    </a:cubicBezTo>
                    <a:cubicBezTo>
                      <a:pt x="52" y="83"/>
                      <a:pt x="52" y="83"/>
                      <a:pt x="52" y="83"/>
                    </a:cubicBezTo>
                    <a:cubicBezTo>
                      <a:pt x="66" y="83"/>
                      <a:pt x="66" y="83"/>
                      <a:pt x="66" y="83"/>
                    </a:cubicBezTo>
                    <a:cubicBezTo>
                      <a:pt x="66" y="33"/>
                      <a:pt x="66" y="33"/>
                      <a:pt x="66" y="33"/>
                    </a:cubicBezTo>
                    <a:cubicBezTo>
                      <a:pt x="66" y="27"/>
                      <a:pt x="66" y="23"/>
                      <a:pt x="65" y="20"/>
                    </a:cubicBezTo>
                    <a:cubicBezTo>
                      <a:pt x="65" y="16"/>
                      <a:pt x="63" y="13"/>
                      <a:pt x="61" y="1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</p:grpSp>
      </p:grpSp>
    </p:spTree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竖排标题与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图片 2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460" b="10440"/>
          <a:stretch>
            <a:fillRect/>
          </a:stretch>
        </p:blipFill>
        <p:spPr>
          <a:xfrm>
            <a:off x="-1" y="1721216"/>
            <a:ext cx="9144000" cy="3415569"/>
          </a:xfrm>
          <a:prstGeom prst="rect">
            <a:avLst/>
          </a:prstGeom>
        </p:spPr>
      </p:pic>
      <p:sp>
        <p:nvSpPr>
          <p:cNvPr id="8" name="矩形 7"/>
          <p:cNvSpPr/>
          <p:nvPr userDrawn="1"/>
        </p:nvSpPr>
        <p:spPr>
          <a:xfrm>
            <a:off x="1" y="1715168"/>
            <a:ext cx="9144000" cy="3427664"/>
          </a:xfrm>
          <a:prstGeom prst="rect">
            <a:avLst/>
          </a:prstGeom>
          <a:gradFill flip="none" rotWithShape="1">
            <a:gsLst>
              <a:gs pos="0">
                <a:srgbClr val="A22B17">
                  <a:lumMod val="94000"/>
                  <a:lumOff val="6000"/>
                </a:srgbClr>
              </a:gs>
              <a:gs pos="100000">
                <a:srgbClr val="A22B17">
                  <a:alpha val="72000"/>
                  <a:lumMod val="85000"/>
                  <a:lumOff val="15000"/>
                </a:srgb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zh-CN" altLang="en-US" sz="1350" dirty="0"/>
          </a:p>
        </p:txBody>
      </p:sp>
      <p:grpSp>
        <p:nvGrpSpPr>
          <p:cNvPr id="10" name="组合 9"/>
          <p:cNvGrpSpPr/>
          <p:nvPr userDrawn="1"/>
        </p:nvGrpSpPr>
        <p:grpSpPr>
          <a:xfrm>
            <a:off x="2230940" y="304800"/>
            <a:ext cx="4682120" cy="6248400"/>
            <a:chOff x="2514433" y="-155765"/>
            <a:chExt cx="7163134" cy="7169530"/>
          </a:xfrm>
        </p:grpSpPr>
        <p:grpSp>
          <p:nvGrpSpPr>
            <p:cNvPr id="11" name="组合 10"/>
            <p:cNvGrpSpPr/>
            <p:nvPr/>
          </p:nvGrpSpPr>
          <p:grpSpPr>
            <a:xfrm>
              <a:off x="2514433" y="-155765"/>
              <a:ext cx="7163134" cy="7169530"/>
              <a:chOff x="1560409" y="2069897"/>
              <a:chExt cx="1776413" cy="1778000"/>
            </a:xfrm>
          </p:grpSpPr>
          <p:sp>
            <p:nvSpPr>
              <p:cNvPr id="70" name="îS1îḋé"/>
              <p:cNvSpPr/>
              <p:nvPr/>
            </p:nvSpPr>
            <p:spPr bwMode="auto">
              <a:xfrm>
                <a:off x="1560409" y="2069897"/>
                <a:ext cx="1776413" cy="1778000"/>
              </a:xfrm>
              <a:prstGeom prst="ellipse">
                <a:avLst/>
              </a:prstGeom>
              <a:noFill/>
              <a:ln w="98425" cap="flat">
                <a:solidFill>
                  <a:schemeClr val="bg1">
                    <a:alpha val="7000"/>
                  </a:schemeClr>
                </a:solidFill>
                <a:prstDash val="solid"/>
                <a:miter lim="800000"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71" name="îṣḷïďé"/>
              <p:cNvSpPr/>
              <p:nvPr/>
            </p:nvSpPr>
            <p:spPr bwMode="auto">
              <a:xfrm>
                <a:off x="1779484" y="2288972"/>
                <a:ext cx="1336675" cy="1338263"/>
              </a:xfrm>
              <a:prstGeom prst="ellipse">
                <a:avLst/>
              </a:prstGeom>
              <a:noFill/>
              <a:ln w="19050" cap="flat">
                <a:solidFill>
                  <a:schemeClr val="bg1">
                    <a:alpha val="7000"/>
                  </a:schemeClr>
                </a:solidFill>
                <a:prstDash val="solid"/>
                <a:miter lim="800000"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</p:grpSp>
        <p:grpSp>
          <p:nvGrpSpPr>
            <p:cNvPr id="12" name="组合 11"/>
            <p:cNvGrpSpPr/>
            <p:nvPr/>
          </p:nvGrpSpPr>
          <p:grpSpPr>
            <a:xfrm>
              <a:off x="2844102" y="77886"/>
              <a:ext cx="6503791" cy="6702232"/>
              <a:chOff x="1641372" y="4491628"/>
              <a:chExt cx="1612900" cy="1662113"/>
            </a:xfrm>
            <a:solidFill>
              <a:schemeClr val="bg1">
                <a:alpha val="7000"/>
              </a:schemeClr>
            </a:solidFill>
          </p:grpSpPr>
          <p:sp>
            <p:nvSpPr>
              <p:cNvPr id="13" name="ïś1íďê"/>
              <p:cNvSpPr/>
              <p:nvPr/>
            </p:nvSpPr>
            <p:spPr bwMode="auto">
              <a:xfrm>
                <a:off x="2889147" y="4701178"/>
                <a:ext cx="153988" cy="138113"/>
              </a:xfrm>
              <a:custGeom>
                <a:avLst/>
                <a:gdLst>
                  <a:gd name="T0" fmla="*/ 62 w 83"/>
                  <a:gd name="T1" fmla="*/ 8 h 75"/>
                  <a:gd name="T2" fmla="*/ 53 w 83"/>
                  <a:gd name="T3" fmla="*/ 10 h 75"/>
                  <a:gd name="T4" fmla="*/ 57 w 83"/>
                  <a:gd name="T5" fmla="*/ 0 h 75"/>
                  <a:gd name="T6" fmla="*/ 44 w 83"/>
                  <a:gd name="T7" fmla="*/ 21 h 75"/>
                  <a:gd name="T8" fmla="*/ 58 w 83"/>
                  <a:gd name="T9" fmla="*/ 11 h 75"/>
                  <a:gd name="T10" fmla="*/ 54 w 83"/>
                  <a:gd name="T11" fmla="*/ 18 h 75"/>
                  <a:gd name="T12" fmla="*/ 28 w 83"/>
                  <a:gd name="T13" fmla="*/ 18 h 75"/>
                  <a:gd name="T14" fmla="*/ 19 w 83"/>
                  <a:gd name="T15" fmla="*/ 17 h 75"/>
                  <a:gd name="T16" fmla="*/ 25 w 83"/>
                  <a:gd name="T17" fmla="*/ 12 h 75"/>
                  <a:gd name="T18" fmla="*/ 1 w 83"/>
                  <a:gd name="T19" fmla="*/ 30 h 75"/>
                  <a:gd name="T20" fmla="*/ 13 w 83"/>
                  <a:gd name="T21" fmla="*/ 24 h 75"/>
                  <a:gd name="T22" fmla="*/ 36 w 83"/>
                  <a:gd name="T23" fmla="*/ 28 h 75"/>
                  <a:gd name="T24" fmla="*/ 22 w 83"/>
                  <a:gd name="T25" fmla="*/ 35 h 75"/>
                  <a:gd name="T26" fmla="*/ 45 w 83"/>
                  <a:gd name="T27" fmla="*/ 41 h 75"/>
                  <a:gd name="T28" fmla="*/ 42 w 83"/>
                  <a:gd name="T29" fmla="*/ 41 h 75"/>
                  <a:gd name="T30" fmla="*/ 35 w 83"/>
                  <a:gd name="T31" fmla="*/ 40 h 75"/>
                  <a:gd name="T32" fmla="*/ 37 w 83"/>
                  <a:gd name="T33" fmla="*/ 45 h 75"/>
                  <a:gd name="T34" fmla="*/ 12 w 83"/>
                  <a:gd name="T35" fmla="*/ 34 h 75"/>
                  <a:gd name="T36" fmla="*/ 9 w 83"/>
                  <a:gd name="T37" fmla="*/ 35 h 75"/>
                  <a:gd name="T38" fmla="*/ 20 w 83"/>
                  <a:gd name="T39" fmla="*/ 64 h 75"/>
                  <a:gd name="T40" fmla="*/ 0 w 83"/>
                  <a:gd name="T41" fmla="*/ 57 h 75"/>
                  <a:gd name="T42" fmla="*/ 35 w 83"/>
                  <a:gd name="T43" fmla="*/ 58 h 75"/>
                  <a:gd name="T44" fmla="*/ 46 w 83"/>
                  <a:gd name="T45" fmla="*/ 57 h 75"/>
                  <a:gd name="T46" fmla="*/ 42 w 83"/>
                  <a:gd name="T47" fmla="*/ 48 h 75"/>
                  <a:gd name="T48" fmla="*/ 62 w 83"/>
                  <a:gd name="T49" fmla="*/ 57 h 75"/>
                  <a:gd name="T50" fmla="*/ 61 w 83"/>
                  <a:gd name="T51" fmla="*/ 35 h 75"/>
                  <a:gd name="T52" fmla="*/ 62 w 83"/>
                  <a:gd name="T53" fmla="*/ 34 h 75"/>
                  <a:gd name="T54" fmla="*/ 66 w 83"/>
                  <a:gd name="T55" fmla="*/ 16 h 75"/>
                  <a:gd name="T56" fmla="*/ 63 w 83"/>
                  <a:gd name="T57" fmla="*/ 44 h 75"/>
                  <a:gd name="T58" fmla="*/ 54 w 83"/>
                  <a:gd name="T59" fmla="*/ 32 h 75"/>
                  <a:gd name="T60" fmla="*/ 60 w 83"/>
                  <a:gd name="T61" fmla="*/ 27 h 75"/>
                  <a:gd name="T62" fmla="*/ 67 w 83"/>
                  <a:gd name="T63" fmla="*/ 18 h 75"/>
                  <a:gd name="T64" fmla="*/ 77 w 83"/>
                  <a:gd name="T65" fmla="*/ 23 h 75"/>
                  <a:gd name="T66" fmla="*/ 60 w 83"/>
                  <a:gd name="T67" fmla="*/ 27 h 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83" h="75">
                    <a:moveTo>
                      <a:pt x="66" y="16"/>
                    </a:moveTo>
                    <a:cubicBezTo>
                      <a:pt x="65" y="13"/>
                      <a:pt x="63" y="11"/>
                      <a:pt x="62" y="8"/>
                    </a:cubicBezTo>
                    <a:cubicBezTo>
                      <a:pt x="59" y="9"/>
                      <a:pt x="57" y="9"/>
                      <a:pt x="54" y="10"/>
                    </a:cubicBezTo>
                    <a:cubicBezTo>
                      <a:pt x="54" y="10"/>
                      <a:pt x="53" y="10"/>
                      <a:pt x="53" y="10"/>
                    </a:cubicBezTo>
                    <a:cubicBezTo>
                      <a:pt x="54" y="7"/>
                      <a:pt x="57" y="6"/>
                      <a:pt x="59" y="3"/>
                    </a:cubicBezTo>
                    <a:cubicBezTo>
                      <a:pt x="58" y="2"/>
                      <a:pt x="58" y="1"/>
                      <a:pt x="57" y="0"/>
                    </a:cubicBezTo>
                    <a:cubicBezTo>
                      <a:pt x="48" y="1"/>
                      <a:pt x="37" y="9"/>
                      <a:pt x="42" y="19"/>
                    </a:cubicBezTo>
                    <a:cubicBezTo>
                      <a:pt x="42" y="19"/>
                      <a:pt x="43" y="20"/>
                      <a:pt x="44" y="21"/>
                    </a:cubicBezTo>
                    <a:cubicBezTo>
                      <a:pt x="47" y="19"/>
                      <a:pt x="48" y="15"/>
                      <a:pt x="51" y="14"/>
                    </a:cubicBezTo>
                    <a:cubicBezTo>
                      <a:pt x="53" y="13"/>
                      <a:pt x="55" y="13"/>
                      <a:pt x="58" y="11"/>
                    </a:cubicBezTo>
                    <a:cubicBezTo>
                      <a:pt x="58" y="11"/>
                      <a:pt x="59" y="11"/>
                      <a:pt x="59" y="11"/>
                    </a:cubicBezTo>
                    <a:cubicBezTo>
                      <a:pt x="57" y="14"/>
                      <a:pt x="56" y="16"/>
                      <a:pt x="54" y="18"/>
                    </a:cubicBezTo>
                    <a:cubicBezTo>
                      <a:pt x="54" y="21"/>
                      <a:pt x="55" y="24"/>
                      <a:pt x="54" y="27"/>
                    </a:cubicBezTo>
                    <a:cubicBezTo>
                      <a:pt x="54" y="27"/>
                      <a:pt x="30" y="18"/>
                      <a:pt x="28" y="18"/>
                    </a:cubicBezTo>
                    <a:cubicBezTo>
                      <a:pt x="25" y="17"/>
                      <a:pt x="22" y="17"/>
                      <a:pt x="20" y="17"/>
                    </a:cubicBezTo>
                    <a:cubicBezTo>
                      <a:pt x="19" y="17"/>
                      <a:pt x="19" y="17"/>
                      <a:pt x="19" y="17"/>
                    </a:cubicBezTo>
                    <a:cubicBezTo>
                      <a:pt x="22" y="15"/>
                      <a:pt x="23" y="15"/>
                      <a:pt x="25" y="13"/>
                    </a:cubicBezTo>
                    <a:cubicBezTo>
                      <a:pt x="25" y="12"/>
                      <a:pt x="25" y="12"/>
                      <a:pt x="25" y="12"/>
                    </a:cubicBezTo>
                    <a:cubicBezTo>
                      <a:pt x="18" y="12"/>
                      <a:pt x="11" y="16"/>
                      <a:pt x="4" y="18"/>
                    </a:cubicBezTo>
                    <a:cubicBezTo>
                      <a:pt x="0" y="22"/>
                      <a:pt x="0" y="25"/>
                      <a:pt x="1" y="30"/>
                    </a:cubicBezTo>
                    <a:cubicBezTo>
                      <a:pt x="3" y="31"/>
                      <a:pt x="3" y="31"/>
                      <a:pt x="3" y="31"/>
                    </a:cubicBezTo>
                    <a:cubicBezTo>
                      <a:pt x="6" y="29"/>
                      <a:pt x="9" y="26"/>
                      <a:pt x="13" y="24"/>
                    </a:cubicBezTo>
                    <a:cubicBezTo>
                      <a:pt x="19" y="20"/>
                      <a:pt x="30" y="22"/>
                      <a:pt x="37" y="27"/>
                    </a:cubicBezTo>
                    <a:cubicBezTo>
                      <a:pt x="37" y="28"/>
                      <a:pt x="36" y="28"/>
                      <a:pt x="36" y="28"/>
                    </a:cubicBezTo>
                    <a:cubicBezTo>
                      <a:pt x="31" y="29"/>
                      <a:pt x="28" y="28"/>
                      <a:pt x="22" y="32"/>
                    </a:cubicBezTo>
                    <a:cubicBezTo>
                      <a:pt x="22" y="33"/>
                      <a:pt x="22" y="34"/>
                      <a:pt x="22" y="35"/>
                    </a:cubicBezTo>
                    <a:cubicBezTo>
                      <a:pt x="22" y="37"/>
                      <a:pt x="22" y="37"/>
                      <a:pt x="24" y="39"/>
                    </a:cubicBezTo>
                    <a:cubicBezTo>
                      <a:pt x="31" y="37"/>
                      <a:pt x="37" y="36"/>
                      <a:pt x="45" y="41"/>
                    </a:cubicBezTo>
                    <a:cubicBezTo>
                      <a:pt x="44" y="41"/>
                      <a:pt x="44" y="41"/>
                      <a:pt x="44" y="41"/>
                    </a:cubicBezTo>
                    <a:cubicBezTo>
                      <a:pt x="43" y="41"/>
                      <a:pt x="42" y="41"/>
                      <a:pt x="42" y="41"/>
                    </a:cubicBezTo>
                    <a:cubicBezTo>
                      <a:pt x="41" y="40"/>
                      <a:pt x="40" y="39"/>
                      <a:pt x="39" y="39"/>
                    </a:cubicBezTo>
                    <a:cubicBezTo>
                      <a:pt x="37" y="41"/>
                      <a:pt x="37" y="41"/>
                      <a:pt x="35" y="40"/>
                    </a:cubicBezTo>
                    <a:cubicBezTo>
                      <a:pt x="35" y="40"/>
                      <a:pt x="34" y="41"/>
                      <a:pt x="34" y="41"/>
                    </a:cubicBezTo>
                    <a:cubicBezTo>
                      <a:pt x="35" y="43"/>
                      <a:pt x="35" y="43"/>
                      <a:pt x="37" y="45"/>
                    </a:cubicBezTo>
                    <a:cubicBezTo>
                      <a:pt x="36" y="46"/>
                      <a:pt x="36" y="47"/>
                      <a:pt x="35" y="48"/>
                    </a:cubicBezTo>
                    <a:cubicBezTo>
                      <a:pt x="27" y="44"/>
                      <a:pt x="20" y="40"/>
                      <a:pt x="12" y="34"/>
                    </a:cubicBezTo>
                    <a:cubicBezTo>
                      <a:pt x="11" y="34"/>
                      <a:pt x="11" y="34"/>
                      <a:pt x="10" y="34"/>
                    </a:cubicBezTo>
                    <a:cubicBezTo>
                      <a:pt x="9" y="34"/>
                      <a:pt x="9" y="35"/>
                      <a:pt x="9" y="35"/>
                    </a:cubicBezTo>
                    <a:cubicBezTo>
                      <a:pt x="11" y="55"/>
                      <a:pt x="20" y="44"/>
                      <a:pt x="31" y="54"/>
                    </a:cubicBezTo>
                    <a:cubicBezTo>
                      <a:pt x="27" y="58"/>
                      <a:pt x="23" y="61"/>
                      <a:pt x="20" y="64"/>
                    </a:cubicBezTo>
                    <a:cubicBezTo>
                      <a:pt x="15" y="63"/>
                      <a:pt x="6" y="55"/>
                      <a:pt x="1" y="56"/>
                    </a:cubicBezTo>
                    <a:cubicBezTo>
                      <a:pt x="1" y="56"/>
                      <a:pt x="1" y="56"/>
                      <a:pt x="0" y="57"/>
                    </a:cubicBezTo>
                    <a:cubicBezTo>
                      <a:pt x="2" y="62"/>
                      <a:pt x="7" y="67"/>
                      <a:pt x="9" y="72"/>
                    </a:cubicBezTo>
                    <a:cubicBezTo>
                      <a:pt x="17" y="75"/>
                      <a:pt x="26" y="66"/>
                      <a:pt x="35" y="58"/>
                    </a:cubicBezTo>
                    <a:cubicBezTo>
                      <a:pt x="37" y="60"/>
                      <a:pt x="39" y="63"/>
                      <a:pt x="42" y="65"/>
                    </a:cubicBezTo>
                    <a:cubicBezTo>
                      <a:pt x="46" y="63"/>
                      <a:pt x="46" y="60"/>
                      <a:pt x="46" y="57"/>
                    </a:cubicBezTo>
                    <a:cubicBezTo>
                      <a:pt x="45" y="54"/>
                      <a:pt x="43" y="53"/>
                      <a:pt x="40" y="50"/>
                    </a:cubicBezTo>
                    <a:cubicBezTo>
                      <a:pt x="41" y="49"/>
                      <a:pt x="42" y="48"/>
                      <a:pt x="42" y="48"/>
                    </a:cubicBezTo>
                    <a:cubicBezTo>
                      <a:pt x="46" y="48"/>
                      <a:pt x="49" y="48"/>
                      <a:pt x="53" y="46"/>
                    </a:cubicBezTo>
                    <a:cubicBezTo>
                      <a:pt x="56" y="49"/>
                      <a:pt x="59" y="53"/>
                      <a:pt x="62" y="57"/>
                    </a:cubicBezTo>
                    <a:cubicBezTo>
                      <a:pt x="65" y="56"/>
                      <a:pt x="68" y="55"/>
                      <a:pt x="70" y="52"/>
                    </a:cubicBezTo>
                    <a:cubicBezTo>
                      <a:pt x="72" y="47"/>
                      <a:pt x="66" y="40"/>
                      <a:pt x="61" y="35"/>
                    </a:cubicBezTo>
                    <a:cubicBezTo>
                      <a:pt x="61" y="35"/>
                      <a:pt x="61" y="35"/>
                      <a:pt x="61" y="35"/>
                    </a:cubicBezTo>
                    <a:cubicBezTo>
                      <a:pt x="62" y="34"/>
                      <a:pt x="62" y="34"/>
                      <a:pt x="62" y="34"/>
                    </a:cubicBezTo>
                    <a:cubicBezTo>
                      <a:pt x="69" y="34"/>
                      <a:pt x="72" y="37"/>
                      <a:pt x="79" y="32"/>
                    </a:cubicBezTo>
                    <a:cubicBezTo>
                      <a:pt x="83" y="17"/>
                      <a:pt x="74" y="21"/>
                      <a:pt x="66" y="16"/>
                    </a:cubicBezTo>
                    <a:close/>
                    <a:moveTo>
                      <a:pt x="63" y="44"/>
                    </a:moveTo>
                    <a:cubicBezTo>
                      <a:pt x="63" y="44"/>
                      <a:pt x="63" y="44"/>
                      <a:pt x="63" y="44"/>
                    </a:cubicBezTo>
                    <a:cubicBezTo>
                      <a:pt x="55" y="42"/>
                      <a:pt x="46" y="34"/>
                      <a:pt x="38" y="32"/>
                    </a:cubicBezTo>
                    <a:cubicBezTo>
                      <a:pt x="43" y="28"/>
                      <a:pt x="48" y="31"/>
                      <a:pt x="54" y="32"/>
                    </a:cubicBezTo>
                    <a:cubicBezTo>
                      <a:pt x="57" y="36"/>
                      <a:pt x="60" y="40"/>
                      <a:pt x="63" y="44"/>
                    </a:cubicBezTo>
                    <a:close/>
                    <a:moveTo>
                      <a:pt x="60" y="27"/>
                    </a:moveTo>
                    <a:cubicBezTo>
                      <a:pt x="60" y="27"/>
                      <a:pt x="60" y="26"/>
                      <a:pt x="59" y="26"/>
                    </a:cubicBezTo>
                    <a:cubicBezTo>
                      <a:pt x="61" y="23"/>
                      <a:pt x="63" y="20"/>
                      <a:pt x="67" y="18"/>
                    </a:cubicBezTo>
                    <a:cubicBezTo>
                      <a:pt x="69" y="19"/>
                      <a:pt x="71" y="19"/>
                      <a:pt x="74" y="20"/>
                    </a:cubicBezTo>
                    <a:cubicBezTo>
                      <a:pt x="75" y="21"/>
                      <a:pt x="76" y="22"/>
                      <a:pt x="77" y="23"/>
                    </a:cubicBezTo>
                    <a:cubicBezTo>
                      <a:pt x="77" y="24"/>
                      <a:pt x="77" y="24"/>
                      <a:pt x="77" y="25"/>
                    </a:cubicBezTo>
                    <a:cubicBezTo>
                      <a:pt x="72" y="29"/>
                      <a:pt x="66" y="27"/>
                      <a:pt x="60" y="2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14" name="ïṩḻîḓé"/>
              <p:cNvSpPr/>
              <p:nvPr/>
            </p:nvSpPr>
            <p:spPr bwMode="auto">
              <a:xfrm>
                <a:off x="2728809" y="4582115"/>
                <a:ext cx="101600" cy="147638"/>
              </a:xfrm>
              <a:custGeom>
                <a:avLst/>
                <a:gdLst>
                  <a:gd name="T0" fmla="*/ 47 w 55"/>
                  <a:gd name="T1" fmla="*/ 0 h 80"/>
                  <a:gd name="T2" fmla="*/ 49 w 55"/>
                  <a:gd name="T3" fmla="*/ 20 h 80"/>
                  <a:gd name="T4" fmla="*/ 51 w 55"/>
                  <a:gd name="T5" fmla="*/ 34 h 80"/>
                  <a:gd name="T6" fmla="*/ 28 w 55"/>
                  <a:gd name="T7" fmla="*/ 38 h 80"/>
                  <a:gd name="T8" fmla="*/ 41 w 55"/>
                  <a:gd name="T9" fmla="*/ 68 h 80"/>
                  <a:gd name="T10" fmla="*/ 25 w 55"/>
                  <a:gd name="T11" fmla="*/ 74 h 80"/>
                  <a:gd name="T12" fmla="*/ 26 w 55"/>
                  <a:gd name="T13" fmla="*/ 39 h 80"/>
                  <a:gd name="T14" fmla="*/ 23 w 55"/>
                  <a:gd name="T15" fmla="*/ 40 h 80"/>
                  <a:gd name="T16" fmla="*/ 7 w 55"/>
                  <a:gd name="T17" fmla="*/ 54 h 80"/>
                  <a:gd name="T18" fmla="*/ 0 w 55"/>
                  <a:gd name="T19" fmla="*/ 43 h 80"/>
                  <a:gd name="T20" fmla="*/ 14 w 55"/>
                  <a:gd name="T21" fmla="*/ 28 h 80"/>
                  <a:gd name="T22" fmla="*/ 6 w 55"/>
                  <a:gd name="T23" fmla="*/ 15 h 80"/>
                  <a:gd name="T24" fmla="*/ 7 w 55"/>
                  <a:gd name="T25" fmla="*/ 15 h 80"/>
                  <a:gd name="T26" fmla="*/ 26 w 55"/>
                  <a:gd name="T27" fmla="*/ 18 h 80"/>
                  <a:gd name="T28" fmla="*/ 47 w 55"/>
                  <a:gd name="T29" fmla="*/ 0 h 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55" h="80">
                    <a:moveTo>
                      <a:pt x="47" y="0"/>
                    </a:moveTo>
                    <a:cubicBezTo>
                      <a:pt x="55" y="7"/>
                      <a:pt x="49" y="11"/>
                      <a:pt x="49" y="20"/>
                    </a:cubicBezTo>
                    <a:cubicBezTo>
                      <a:pt x="49" y="25"/>
                      <a:pt x="55" y="25"/>
                      <a:pt x="51" y="34"/>
                    </a:cubicBezTo>
                    <a:cubicBezTo>
                      <a:pt x="44" y="37"/>
                      <a:pt x="34" y="32"/>
                      <a:pt x="28" y="38"/>
                    </a:cubicBezTo>
                    <a:cubicBezTo>
                      <a:pt x="38" y="44"/>
                      <a:pt x="45" y="59"/>
                      <a:pt x="41" y="68"/>
                    </a:cubicBezTo>
                    <a:cubicBezTo>
                      <a:pt x="39" y="74"/>
                      <a:pt x="28" y="80"/>
                      <a:pt x="25" y="74"/>
                    </a:cubicBezTo>
                    <a:cubicBezTo>
                      <a:pt x="19" y="62"/>
                      <a:pt x="39" y="55"/>
                      <a:pt x="26" y="39"/>
                    </a:cubicBezTo>
                    <a:cubicBezTo>
                      <a:pt x="25" y="39"/>
                      <a:pt x="25" y="39"/>
                      <a:pt x="23" y="40"/>
                    </a:cubicBezTo>
                    <a:cubicBezTo>
                      <a:pt x="17" y="44"/>
                      <a:pt x="14" y="52"/>
                      <a:pt x="7" y="54"/>
                    </a:cubicBezTo>
                    <a:cubicBezTo>
                      <a:pt x="2" y="51"/>
                      <a:pt x="2" y="48"/>
                      <a:pt x="0" y="43"/>
                    </a:cubicBezTo>
                    <a:cubicBezTo>
                      <a:pt x="3" y="39"/>
                      <a:pt x="14" y="30"/>
                      <a:pt x="14" y="28"/>
                    </a:cubicBezTo>
                    <a:cubicBezTo>
                      <a:pt x="14" y="25"/>
                      <a:pt x="7" y="19"/>
                      <a:pt x="6" y="15"/>
                    </a:cubicBezTo>
                    <a:cubicBezTo>
                      <a:pt x="6" y="15"/>
                      <a:pt x="7" y="15"/>
                      <a:pt x="7" y="15"/>
                    </a:cubicBezTo>
                    <a:cubicBezTo>
                      <a:pt x="13" y="15"/>
                      <a:pt x="20" y="18"/>
                      <a:pt x="26" y="18"/>
                    </a:cubicBezTo>
                    <a:cubicBezTo>
                      <a:pt x="34" y="17"/>
                      <a:pt x="41" y="5"/>
                      <a:pt x="47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15" name="išḷïḓe"/>
              <p:cNvSpPr/>
              <p:nvPr/>
            </p:nvSpPr>
            <p:spPr bwMode="auto">
              <a:xfrm>
                <a:off x="2490684" y="4510678"/>
                <a:ext cx="144463" cy="160338"/>
              </a:xfrm>
              <a:custGeom>
                <a:avLst/>
                <a:gdLst>
                  <a:gd name="T0" fmla="*/ 55 w 78"/>
                  <a:gd name="T1" fmla="*/ 64 h 87"/>
                  <a:gd name="T2" fmla="*/ 62 w 78"/>
                  <a:gd name="T3" fmla="*/ 50 h 87"/>
                  <a:gd name="T4" fmla="*/ 54 w 78"/>
                  <a:gd name="T5" fmla="*/ 43 h 87"/>
                  <a:gd name="T6" fmla="*/ 69 w 78"/>
                  <a:gd name="T7" fmla="*/ 29 h 87"/>
                  <a:gd name="T8" fmla="*/ 67 w 78"/>
                  <a:gd name="T9" fmla="*/ 21 h 87"/>
                  <a:gd name="T10" fmla="*/ 70 w 78"/>
                  <a:gd name="T11" fmla="*/ 11 h 87"/>
                  <a:gd name="T12" fmla="*/ 69 w 78"/>
                  <a:gd name="T13" fmla="*/ 3 h 87"/>
                  <a:gd name="T14" fmla="*/ 64 w 78"/>
                  <a:gd name="T15" fmla="*/ 0 h 87"/>
                  <a:gd name="T16" fmla="*/ 63 w 78"/>
                  <a:gd name="T17" fmla="*/ 0 h 87"/>
                  <a:gd name="T18" fmla="*/ 63 w 78"/>
                  <a:gd name="T19" fmla="*/ 12 h 87"/>
                  <a:gd name="T20" fmla="*/ 42 w 78"/>
                  <a:gd name="T21" fmla="*/ 25 h 87"/>
                  <a:gd name="T22" fmla="*/ 42 w 78"/>
                  <a:gd name="T23" fmla="*/ 33 h 87"/>
                  <a:gd name="T24" fmla="*/ 33 w 78"/>
                  <a:gd name="T25" fmla="*/ 36 h 87"/>
                  <a:gd name="T26" fmla="*/ 39 w 78"/>
                  <a:gd name="T27" fmla="*/ 33 h 87"/>
                  <a:gd name="T28" fmla="*/ 39 w 78"/>
                  <a:gd name="T29" fmla="*/ 23 h 87"/>
                  <a:gd name="T30" fmla="*/ 36 w 78"/>
                  <a:gd name="T31" fmla="*/ 0 h 87"/>
                  <a:gd name="T32" fmla="*/ 36 w 78"/>
                  <a:gd name="T33" fmla="*/ 0 h 87"/>
                  <a:gd name="T34" fmla="*/ 36 w 78"/>
                  <a:gd name="T35" fmla="*/ 8 h 87"/>
                  <a:gd name="T36" fmla="*/ 30 w 78"/>
                  <a:gd name="T37" fmla="*/ 24 h 87"/>
                  <a:gd name="T38" fmla="*/ 1 w 78"/>
                  <a:gd name="T39" fmla="*/ 29 h 87"/>
                  <a:gd name="T40" fmla="*/ 0 w 78"/>
                  <a:gd name="T41" fmla="*/ 31 h 87"/>
                  <a:gd name="T42" fmla="*/ 18 w 78"/>
                  <a:gd name="T43" fmla="*/ 39 h 87"/>
                  <a:gd name="T44" fmla="*/ 25 w 78"/>
                  <a:gd name="T45" fmla="*/ 36 h 87"/>
                  <a:gd name="T46" fmla="*/ 25 w 78"/>
                  <a:gd name="T47" fmla="*/ 36 h 87"/>
                  <a:gd name="T48" fmla="*/ 3 w 78"/>
                  <a:gd name="T49" fmla="*/ 62 h 87"/>
                  <a:gd name="T50" fmla="*/ 5 w 78"/>
                  <a:gd name="T51" fmla="*/ 67 h 87"/>
                  <a:gd name="T52" fmla="*/ 12 w 78"/>
                  <a:gd name="T53" fmla="*/ 66 h 87"/>
                  <a:gd name="T54" fmla="*/ 22 w 78"/>
                  <a:gd name="T55" fmla="*/ 74 h 87"/>
                  <a:gd name="T56" fmla="*/ 25 w 78"/>
                  <a:gd name="T57" fmla="*/ 61 h 87"/>
                  <a:gd name="T58" fmla="*/ 30 w 78"/>
                  <a:gd name="T59" fmla="*/ 49 h 87"/>
                  <a:gd name="T60" fmla="*/ 48 w 78"/>
                  <a:gd name="T61" fmla="*/ 63 h 87"/>
                  <a:gd name="T62" fmla="*/ 24 w 78"/>
                  <a:gd name="T63" fmla="*/ 71 h 87"/>
                  <a:gd name="T64" fmla="*/ 48 w 78"/>
                  <a:gd name="T65" fmla="*/ 71 h 87"/>
                  <a:gd name="T66" fmla="*/ 51 w 78"/>
                  <a:gd name="T67" fmla="*/ 69 h 87"/>
                  <a:gd name="T68" fmla="*/ 77 w 78"/>
                  <a:gd name="T69" fmla="*/ 87 h 87"/>
                  <a:gd name="T70" fmla="*/ 78 w 78"/>
                  <a:gd name="T71" fmla="*/ 86 h 87"/>
                  <a:gd name="T72" fmla="*/ 55 w 78"/>
                  <a:gd name="T73" fmla="*/ 64 h 87"/>
                  <a:gd name="T74" fmla="*/ 15 w 78"/>
                  <a:gd name="T75" fmla="*/ 64 h 87"/>
                  <a:gd name="T76" fmla="*/ 15 w 78"/>
                  <a:gd name="T77" fmla="*/ 65 h 87"/>
                  <a:gd name="T78" fmla="*/ 11 w 78"/>
                  <a:gd name="T79" fmla="*/ 63 h 87"/>
                  <a:gd name="T80" fmla="*/ 12 w 78"/>
                  <a:gd name="T81" fmla="*/ 60 h 87"/>
                  <a:gd name="T82" fmla="*/ 15 w 78"/>
                  <a:gd name="T83" fmla="*/ 57 h 87"/>
                  <a:gd name="T84" fmla="*/ 17 w 78"/>
                  <a:gd name="T85" fmla="*/ 58 h 87"/>
                  <a:gd name="T86" fmla="*/ 15 w 78"/>
                  <a:gd name="T87" fmla="*/ 64 h 87"/>
                  <a:gd name="T88" fmla="*/ 32 w 78"/>
                  <a:gd name="T89" fmla="*/ 46 h 87"/>
                  <a:gd name="T90" fmla="*/ 44 w 78"/>
                  <a:gd name="T91" fmla="*/ 34 h 87"/>
                  <a:gd name="T92" fmla="*/ 52 w 78"/>
                  <a:gd name="T93" fmla="*/ 35 h 87"/>
                  <a:gd name="T94" fmla="*/ 46 w 78"/>
                  <a:gd name="T95" fmla="*/ 50 h 87"/>
                  <a:gd name="T96" fmla="*/ 48 w 78"/>
                  <a:gd name="T97" fmla="*/ 52 h 87"/>
                  <a:gd name="T98" fmla="*/ 56 w 78"/>
                  <a:gd name="T99" fmla="*/ 50 h 87"/>
                  <a:gd name="T100" fmla="*/ 52 w 78"/>
                  <a:gd name="T101" fmla="*/ 61 h 87"/>
                  <a:gd name="T102" fmla="*/ 32 w 78"/>
                  <a:gd name="T103" fmla="*/ 46 h 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78" h="87">
                    <a:moveTo>
                      <a:pt x="55" y="64"/>
                    </a:moveTo>
                    <a:cubicBezTo>
                      <a:pt x="58" y="60"/>
                      <a:pt x="60" y="55"/>
                      <a:pt x="62" y="50"/>
                    </a:cubicBezTo>
                    <a:cubicBezTo>
                      <a:pt x="61" y="47"/>
                      <a:pt x="58" y="44"/>
                      <a:pt x="54" y="43"/>
                    </a:cubicBezTo>
                    <a:cubicBezTo>
                      <a:pt x="57" y="36"/>
                      <a:pt x="64" y="33"/>
                      <a:pt x="69" y="29"/>
                    </a:cubicBezTo>
                    <a:cubicBezTo>
                      <a:pt x="69" y="25"/>
                      <a:pt x="67" y="24"/>
                      <a:pt x="67" y="21"/>
                    </a:cubicBezTo>
                    <a:cubicBezTo>
                      <a:pt x="68" y="18"/>
                      <a:pt x="69" y="15"/>
                      <a:pt x="70" y="11"/>
                    </a:cubicBezTo>
                    <a:cubicBezTo>
                      <a:pt x="70" y="9"/>
                      <a:pt x="69" y="6"/>
                      <a:pt x="69" y="3"/>
                    </a:cubicBezTo>
                    <a:cubicBezTo>
                      <a:pt x="68" y="2"/>
                      <a:pt x="67" y="1"/>
                      <a:pt x="64" y="0"/>
                    </a:cubicBezTo>
                    <a:cubicBezTo>
                      <a:pt x="64" y="0"/>
                      <a:pt x="63" y="0"/>
                      <a:pt x="63" y="0"/>
                    </a:cubicBezTo>
                    <a:cubicBezTo>
                      <a:pt x="61" y="5"/>
                      <a:pt x="63" y="8"/>
                      <a:pt x="63" y="12"/>
                    </a:cubicBezTo>
                    <a:cubicBezTo>
                      <a:pt x="63" y="24"/>
                      <a:pt x="52" y="26"/>
                      <a:pt x="42" y="25"/>
                    </a:cubicBezTo>
                    <a:cubicBezTo>
                      <a:pt x="41" y="28"/>
                      <a:pt x="41" y="31"/>
                      <a:pt x="42" y="33"/>
                    </a:cubicBezTo>
                    <a:cubicBezTo>
                      <a:pt x="39" y="34"/>
                      <a:pt x="36" y="35"/>
                      <a:pt x="33" y="36"/>
                    </a:cubicBezTo>
                    <a:cubicBezTo>
                      <a:pt x="34" y="32"/>
                      <a:pt x="36" y="32"/>
                      <a:pt x="39" y="33"/>
                    </a:cubicBezTo>
                    <a:cubicBezTo>
                      <a:pt x="41" y="29"/>
                      <a:pt x="38" y="27"/>
                      <a:pt x="39" y="23"/>
                    </a:cubicBezTo>
                    <a:cubicBezTo>
                      <a:pt x="39" y="14"/>
                      <a:pt x="53" y="6"/>
                      <a:pt x="36" y="0"/>
                    </a:cubicBezTo>
                    <a:cubicBezTo>
                      <a:pt x="36" y="0"/>
                      <a:pt x="36" y="0"/>
                      <a:pt x="36" y="0"/>
                    </a:cubicBezTo>
                    <a:cubicBezTo>
                      <a:pt x="35" y="3"/>
                      <a:pt x="36" y="5"/>
                      <a:pt x="36" y="8"/>
                    </a:cubicBezTo>
                    <a:cubicBezTo>
                      <a:pt x="34" y="14"/>
                      <a:pt x="32" y="19"/>
                      <a:pt x="30" y="24"/>
                    </a:cubicBezTo>
                    <a:cubicBezTo>
                      <a:pt x="22" y="26"/>
                      <a:pt x="9" y="26"/>
                      <a:pt x="1" y="29"/>
                    </a:cubicBezTo>
                    <a:cubicBezTo>
                      <a:pt x="1" y="30"/>
                      <a:pt x="1" y="30"/>
                      <a:pt x="0" y="31"/>
                    </a:cubicBezTo>
                    <a:cubicBezTo>
                      <a:pt x="1" y="35"/>
                      <a:pt x="12" y="39"/>
                      <a:pt x="18" y="39"/>
                    </a:cubicBezTo>
                    <a:cubicBezTo>
                      <a:pt x="20" y="38"/>
                      <a:pt x="22" y="37"/>
                      <a:pt x="25" y="36"/>
                    </a:cubicBezTo>
                    <a:cubicBezTo>
                      <a:pt x="25" y="36"/>
                      <a:pt x="25" y="36"/>
                      <a:pt x="25" y="36"/>
                    </a:cubicBezTo>
                    <a:cubicBezTo>
                      <a:pt x="21" y="52"/>
                      <a:pt x="9" y="50"/>
                      <a:pt x="3" y="62"/>
                    </a:cubicBezTo>
                    <a:cubicBezTo>
                      <a:pt x="4" y="63"/>
                      <a:pt x="4" y="65"/>
                      <a:pt x="5" y="67"/>
                    </a:cubicBezTo>
                    <a:cubicBezTo>
                      <a:pt x="7" y="67"/>
                      <a:pt x="10" y="67"/>
                      <a:pt x="12" y="66"/>
                    </a:cubicBezTo>
                    <a:cubicBezTo>
                      <a:pt x="17" y="68"/>
                      <a:pt x="17" y="72"/>
                      <a:pt x="22" y="74"/>
                    </a:cubicBezTo>
                    <a:cubicBezTo>
                      <a:pt x="25" y="71"/>
                      <a:pt x="24" y="66"/>
                      <a:pt x="25" y="61"/>
                    </a:cubicBezTo>
                    <a:cubicBezTo>
                      <a:pt x="25" y="56"/>
                      <a:pt x="28" y="52"/>
                      <a:pt x="30" y="49"/>
                    </a:cubicBezTo>
                    <a:cubicBezTo>
                      <a:pt x="40" y="53"/>
                      <a:pt x="42" y="58"/>
                      <a:pt x="48" y="63"/>
                    </a:cubicBezTo>
                    <a:cubicBezTo>
                      <a:pt x="44" y="74"/>
                      <a:pt x="29" y="63"/>
                      <a:pt x="24" y="71"/>
                    </a:cubicBezTo>
                    <a:cubicBezTo>
                      <a:pt x="39" y="78"/>
                      <a:pt x="36" y="74"/>
                      <a:pt x="48" y="71"/>
                    </a:cubicBezTo>
                    <a:cubicBezTo>
                      <a:pt x="49" y="70"/>
                      <a:pt x="50" y="70"/>
                      <a:pt x="51" y="69"/>
                    </a:cubicBezTo>
                    <a:cubicBezTo>
                      <a:pt x="58" y="79"/>
                      <a:pt x="58" y="87"/>
                      <a:pt x="77" y="87"/>
                    </a:cubicBezTo>
                    <a:cubicBezTo>
                      <a:pt x="77" y="87"/>
                      <a:pt x="78" y="86"/>
                      <a:pt x="78" y="86"/>
                    </a:cubicBezTo>
                    <a:cubicBezTo>
                      <a:pt x="74" y="76"/>
                      <a:pt x="60" y="73"/>
                      <a:pt x="55" y="64"/>
                    </a:cubicBezTo>
                    <a:close/>
                    <a:moveTo>
                      <a:pt x="15" y="64"/>
                    </a:moveTo>
                    <a:cubicBezTo>
                      <a:pt x="15" y="65"/>
                      <a:pt x="15" y="65"/>
                      <a:pt x="15" y="65"/>
                    </a:cubicBezTo>
                    <a:cubicBezTo>
                      <a:pt x="14" y="64"/>
                      <a:pt x="13" y="64"/>
                      <a:pt x="11" y="63"/>
                    </a:cubicBezTo>
                    <a:cubicBezTo>
                      <a:pt x="11" y="62"/>
                      <a:pt x="12" y="61"/>
                      <a:pt x="12" y="60"/>
                    </a:cubicBezTo>
                    <a:cubicBezTo>
                      <a:pt x="13" y="59"/>
                      <a:pt x="14" y="58"/>
                      <a:pt x="15" y="57"/>
                    </a:cubicBezTo>
                    <a:cubicBezTo>
                      <a:pt x="16" y="57"/>
                      <a:pt x="16" y="58"/>
                      <a:pt x="17" y="58"/>
                    </a:cubicBezTo>
                    <a:cubicBezTo>
                      <a:pt x="16" y="60"/>
                      <a:pt x="16" y="62"/>
                      <a:pt x="15" y="64"/>
                    </a:cubicBezTo>
                    <a:close/>
                    <a:moveTo>
                      <a:pt x="32" y="46"/>
                    </a:moveTo>
                    <a:cubicBezTo>
                      <a:pt x="35" y="43"/>
                      <a:pt x="44" y="37"/>
                      <a:pt x="44" y="34"/>
                    </a:cubicBezTo>
                    <a:cubicBezTo>
                      <a:pt x="47" y="34"/>
                      <a:pt x="49" y="35"/>
                      <a:pt x="52" y="35"/>
                    </a:cubicBezTo>
                    <a:cubicBezTo>
                      <a:pt x="50" y="40"/>
                      <a:pt x="45" y="44"/>
                      <a:pt x="46" y="50"/>
                    </a:cubicBezTo>
                    <a:cubicBezTo>
                      <a:pt x="46" y="51"/>
                      <a:pt x="47" y="51"/>
                      <a:pt x="48" y="52"/>
                    </a:cubicBezTo>
                    <a:cubicBezTo>
                      <a:pt x="50" y="51"/>
                      <a:pt x="53" y="49"/>
                      <a:pt x="56" y="50"/>
                    </a:cubicBezTo>
                    <a:cubicBezTo>
                      <a:pt x="55" y="54"/>
                      <a:pt x="53" y="57"/>
                      <a:pt x="52" y="61"/>
                    </a:cubicBezTo>
                    <a:cubicBezTo>
                      <a:pt x="45" y="56"/>
                      <a:pt x="44" y="49"/>
                      <a:pt x="32" y="4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16" name="ï$ľíḍe"/>
              <p:cNvSpPr/>
              <p:nvPr/>
            </p:nvSpPr>
            <p:spPr bwMode="auto">
              <a:xfrm>
                <a:off x="2255734" y="4491628"/>
                <a:ext cx="136525" cy="174625"/>
              </a:xfrm>
              <a:custGeom>
                <a:avLst/>
                <a:gdLst>
                  <a:gd name="T0" fmla="*/ 74 w 74"/>
                  <a:gd name="T1" fmla="*/ 41 h 94"/>
                  <a:gd name="T2" fmla="*/ 64 w 74"/>
                  <a:gd name="T3" fmla="*/ 35 h 94"/>
                  <a:gd name="T4" fmla="*/ 51 w 74"/>
                  <a:gd name="T5" fmla="*/ 5 h 94"/>
                  <a:gd name="T6" fmla="*/ 58 w 74"/>
                  <a:gd name="T7" fmla="*/ 39 h 94"/>
                  <a:gd name="T8" fmla="*/ 47 w 74"/>
                  <a:gd name="T9" fmla="*/ 47 h 94"/>
                  <a:gd name="T10" fmla="*/ 55 w 74"/>
                  <a:gd name="T11" fmla="*/ 34 h 94"/>
                  <a:gd name="T12" fmla="*/ 47 w 74"/>
                  <a:gd name="T13" fmla="*/ 29 h 94"/>
                  <a:gd name="T14" fmla="*/ 54 w 74"/>
                  <a:gd name="T15" fmla="*/ 22 h 94"/>
                  <a:gd name="T16" fmla="*/ 54 w 74"/>
                  <a:gd name="T17" fmla="*/ 20 h 94"/>
                  <a:gd name="T18" fmla="*/ 54 w 74"/>
                  <a:gd name="T19" fmla="*/ 19 h 94"/>
                  <a:gd name="T20" fmla="*/ 41 w 74"/>
                  <a:gd name="T21" fmla="*/ 19 h 94"/>
                  <a:gd name="T22" fmla="*/ 44 w 74"/>
                  <a:gd name="T23" fmla="*/ 22 h 94"/>
                  <a:gd name="T24" fmla="*/ 44 w 74"/>
                  <a:gd name="T25" fmla="*/ 32 h 94"/>
                  <a:gd name="T26" fmla="*/ 48 w 74"/>
                  <a:gd name="T27" fmla="*/ 37 h 94"/>
                  <a:gd name="T28" fmla="*/ 40 w 74"/>
                  <a:gd name="T29" fmla="*/ 58 h 94"/>
                  <a:gd name="T30" fmla="*/ 44 w 74"/>
                  <a:gd name="T31" fmla="*/ 61 h 94"/>
                  <a:gd name="T32" fmla="*/ 59 w 74"/>
                  <a:gd name="T33" fmla="*/ 46 h 94"/>
                  <a:gd name="T34" fmla="*/ 59 w 74"/>
                  <a:gd name="T35" fmla="*/ 46 h 94"/>
                  <a:gd name="T36" fmla="*/ 66 w 74"/>
                  <a:gd name="T37" fmla="*/ 93 h 94"/>
                  <a:gd name="T38" fmla="*/ 68 w 74"/>
                  <a:gd name="T39" fmla="*/ 93 h 94"/>
                  <a:gd name="T40" fmla="*/ 65 w 74"/>
                  <a:gd name="T41" fmla="*/ 42 h 94"/>
                  <a:gd name="T42" fmla="*/ 73 w 74"/>
                  <a:gd name="T43" fmla="*/ 41 h 94"/>
                  <a:gd name="T44" fmla="*/ 74 w 74"/>
                  <a:gd name="T45" fmla="*/ 41 h 94"/>
                  <a:gd name="T46" fmla="*/ 43 w 74"/>
                  <a:gd name="T47" fmla="*/ 42 h 94"/>
                  <a:gd name="T48" fmla="*/ 35 w 74"/>
                  <a:gd name="T49" fmla="*/ 48 h 94"/>
                  <a:gd name="T50" fmla="*/ 39 w 74"/>
                  <a:gd name="T51" fmla="*/ 38 h 94"/>
                  <a:gd name="T52" fmla="*/ 37 w 74"/>
                  <a:gd name="T53" fmla="*/ 29 h 94"/>
                  <a:gd name="T54" fmla="*/ 40 w 74"/>
                  <a:gd name="T55" fmla="*/ 27 h 94"/>
                  <a:gd name="T56" fmla="*/ 34 w 74"/>
                  <a:gd name="T57" fmla="*/ 16 h 94"/>
                  <a:gd name="T58" fmla="*/ 32 w 74"/>
                  <a:gd name="T59" fmla="*/ 15 h 94"/>
                  <a:gd name="T60" fmla="*/ 4 w 74"/>
                  <a:gd name="T61" fmla="*/ 46 h 94"/>
                  <a:gd name="T62" fmla="*/ 30 w 74"/>
                  <a:gd name="T63" fmla="*/ 29 h 94"/>
                  <a:gd name="T64" fmla="*/ 8 w 74"/>
                  <a:gd name="T65" fmla="*/ 52 h 94"/>
                  <a:gd name="T66" fmla="*/ 0 w 74"/>
                  <a:gd name="T67" fmla="*/ 56 h 94"/>
                  <a:gd name="T68" fmla="*/ 3 w 74"/>
                  <a:gd name="T69" fmla="*/ 61 h 94"/>
                  <a:gd name="T70" fmla="*/ 23 w 74"/>
                  <a:gd name="T71" fmla="*/ 54 h 94"/>
                  <a:gd name="T72" fmla="*/ 25 w 74"/>
                  <a:gd name="T73" fmla="*/ 53 h 94"/>
                  <a:gd name="T74" fmla="*/ 25 w 74"/>
                  <a:gd name="T75" fmla="*/ 53 h 94"/>
                  <a:gd name="T76" fmla="*/ 20 w 74"/>
                  <a:gd name="T77" fmla="*/ 72 h 94"/>
                  <a:gd name="T78" fmla="*/ 25 w 74"/>
                  <a:gd name="T79" fmla="*/ 76 h 94"/>
                  <a:gd name="T80" fmla="*/ 26 w 74"/>
                  <a:gd name="T81" fmla="*/ 76 h 94"/>
                  <a:gd name="T82" fmla="*/ 30 w 74"/>
                  <a:gd name="T83" fmla="*/ 67 h 94"/>
                  <a:gd name="T84" fmla="*/ 31 w 74"/>
                  <a:gd name="T85" fmla="*/ 66 h 94"/>
                  <a:gd name="T86" fmla="*/ 32 w 74"/>
                  <a:gd name="T87" fmla="*/ 75 h 94"/>
                  <a:gd name="T88" fmla="*/ 35 w 74"/>
                  <a:gd name="T89" fmla="*/ 76 h 94"/>
                  <a:gd name="T90" fmla="*/ 38 w 74"/>
                  <a:gd name="T91" fmla="*/ 76 h 94"/>
                  <a:gd name="T92" fmla="*/ 35 w 74"/>
                  <a:gd name="T93" fmla="*/ 61 h 94"/>
                  <a:gd name="T94" fmla="*/ 43 w 74"/>
                  <a:gd name="T95" fmla="*/ 42 h 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74" h="94">
                    <a:moveTo>
                      <a:pt x="74" y="41"/>
                    </a:moveTo>
                    <a:cubicBezTo>
                      <a:pt x="73" y="36"/>
                      <a:pt x="70" y="34"/>
                      <a:pt x="64" y="35"/>
                    </a:cubicBezTo>
                    <a:cubicBezTo>
                      <a:pt x="63" y="24"/>
                      <a:pt x="67" y="0"/>
                      <a:pt x="51" y="5"/>
                    </a:cubicBezTo>
                    <a:cubicBezTo>
                      <a:pt x="50" y="9"/>
                      <a:pt x="61" y="31"/>
                      <a:pt x="58" y="39"/>
                    </a:cubicBezTo>
                    <a:cubicBezTo>
                      <a:pt x="58" y="39"/>
                      <a:pt x="47" y="47"/>
                      <a:pt x="47" y="47"/>
                    </a:cubicBezTo>
                    <a:cubicBezTo>
                      <a:pt x="48" y="41"/>
                      <a:pt x="53" y="39"/>
                      <a:pt x="55" y="34"/>
                    </a:cubicBezTo>
                    <a:cubicBezTo>
                      <a:pt x="56" y="30"/>
                      <a:pt x="49" y="31"/>
                      <a:pt x="47" y="29"/>
                    </a:cubicBezTo>
                    <a:cubicBezTo>
                      <a:pt x="48" y="26"/>
                      <a:pt x="51" y="23"/>
                      <a:pt x="54" y="22"/>
                    </a:cubicBezTo>
                    <a:cubicBezTo>
                      <a:pt x="54" y="21"/>
                      <a:pt x="54" y="21"/>
                      <a:pt x="54" y="20"/>
                    </a:cubicBezTo>
                    <a:cubicBezTo>
                      <a:pt x="54" y="20"/>
                      <a:pt x="54" y="19"/>
                      <a:pt x="54" y="19"/>
                    </a:cubicBezTo>
                    <a:cubicBezTo>
                      <a:pt x="50" y="17"/>
                      <a:pt x="45" y="17"/>
                      <a:pt x="41" y="19"/>
                    </a:cubicBezTo>
                    <a:cubicBezTo>
                      <a:pt x="41" y="22"/>
                      <a:pt x="42" y="22"/>
                      <a:pt x="44" y="22"/>
                    </a:cubicBezTo>
                    <a:cubicBezTo>
                      <a:pt x="44" y="26"/>
                      <a:pt x="44" y="29"/>
                      <a:pt x="44" y="32"/>
                    </a:cubicBezTo>
                    <a:cubicBezTo>
                      <a:pt x="45" y="34"/>
                      <a:pt x="47" y="35"/>
                      <a:pt x="48" y="37"/>
                    </a:cubicBezTo>
                    <a:cubicBezTo>
                      <a:pt x="46" y="41"/>
                      <a:pt x="35" y="51"/>
                      <a:pt x="40" y="58"/>
                    </a:cubicBezTo>
                    <a:cubicBezTo>
                      <a:pt x="41" y="60"/>
                      <a:pt x="42" y="60"/>
                      <a:pt x="44" y="61"/>
                    </a:cubicBezTo>
                    <a:cubicBezTo>
                      <a:pt x="49" y="55"/>
                      <a:pt x="51" y="50"/>
                      <a:pt x="59" y="46"/>
                    </a:cubicBezTo>
                    <a:cubicBezTo>
                      <a:pt x="59" y="46"/>
                      <a:pt x="59" y="46"/>
                      <a:pt x="59" y="46"/>
                    </a:cubicBezTo>
                    <a:cubicBezTo>
                      <a:pt x="61" y="60"/>
                      <a:pt x="59" y="83"/>
                      <a:pt x="66" y="93"/>
                    </a:cubicBezTo>
                    <a:cubicBezTo>
                      <a:pt x="67" y="94"/>
                      <a:pt x="67" y="93"/>
                      <a:pt x="68" y="93"/>
                    </a:cubicBezTo>
                    <a:cubicBezTo>
                      <a:pt x="68" y="78"/>
                      <a:pt x="67" y="60"/>
                      <a:pt x="65" y="42"/>
                    </a:cubicBezTo>
                    <a:cubicBezTo>
                      <a:pt x="68" y="42"/>
                      <a:pt x="72" y="42"/>
                      <a:pt x="73" y="41"/>
                    </a:cubicBezTo>
                    <a:cubicBezTo>
                      <a:pt x="74" y="41"/>
                      <a:pt x="74" y="41"/>
                      <a:pt x="74" y="41"/>
                    </a:cubicBezTo>
                    <a:close/>
                    <a:moveTo>
                      <a:pt x="43" y="42"/>
                    </a:moveTo>
                    <a:cubicBezTo>
                      <a:pt x="39" y="44"/>
                      <a:pt x="38" y="46"/>
                      <a:pt x="35" y="48"/>
                    </a:cubicBezTo>
                    <a:cubicBezTo>
                      <a:pt x="35" y="42"/>
                      <a:pt x="39" y="42"/>
                      <a:pt x="39" y="38"/>
                    </a:cubicBezTo>
                    <a:cubicBezTo>
                      <a:pt x="40" y="35"/>
                      <a:pt x="37" y="33"/>
                      <a:pt x="37" y="29"/>
                    </a:cubicBezTo>
                    <a:cubicBezTo>
                      <a:pt x="38" y="28"/>
                      <a:pt x="39" y="28"/>
                      <a:pt x="40" y="27"/>
                    </a:cubicBezTo>
                    <a:cubicBezTo>
                      <a:pt x="41" y="24"/>
                      <a:pt x="36" y="16"/>
                      <a:pt x="34" y="16"/>
                    </a:cubicBezTo>
                    <a:cubicBezTo>
                      <a:pt x="33" y="16"/>
                      <a:pt x="32" y="15"/>
                      <a:pt x="32" y="15"/>
                    </a:cubicBezTo>
                    <a:cubicBezTo>
                      <a:pt x="22" y="28"/>
                      <a:pt x="10" y="30"/>
                      <a:pt x="4" y="46"/>
                    </a:cubicBezTo>
                    <a:cubicBezTo>
                      <a:pt x="13" y="41"/>
                      <a:pt x="17" y="31"/>
                      <a:pt x="30" y="29"/>
                    </a:cubicBezTo>
                    <a:cubicBezTo>
                      <a:pt x="29" y="39"/>
                      <a:pt x="16" y="48"/>
                      <a:pt x="8" y="52"/>
                    </a:cubicBezTo>
                    <a:cubicBezTo>
                      <a:pt x="4" y="54"/>
                      <a:pt x="2" y="52"/>
                      <a:pt x="0" y="56"/>
                    </a:cubicBezTo>
                    <a:cubicBezTo>
                      <a:pt x="0" y="59"/>
                      <a:pt x="1" y="60"/>
                      <a:pt x="3" y="61"/>
                    </a:cubicBezTo>
                    <a:cubicBezTo>
                      <a:pt x="10" y="63"/>
                      <a:pt x="22" y="58"/>
                      <a:pt x="23" y="54"/>
                    </a:cubicBezTo>
                    <a:cubicBezTo>
                      <a:pt x="24" y="54"/>
                      <a:pt x="24" y="53"/>
                      <a:pt x="25" y="53"/>
                    </a:cubicBezTo>
                    <a:cubicBezTo>
                      <a:pt x="25" y="53"/>
                      <a:pt x="25" y="53"/>
                      <a:pt x="25" y="53"/>
                    </a:cubicBezTo>
                    <a:cubicBezTo>
                      <a:pt x="23" y="59"/>
                      <a:pt x="22" y="66"/>
                      <a:pt x="20" y="72"/>
                    </a:cubicBezTo>
                    <a:cubicBezTo>
                      <a:pt x="21" y="74"/>
                      <a:pt x="23" y="75"/>
                      <a:pt x="25" y="76"/>
                    </a:cubicBezTo>
                    <a:cubicBezTo>
                      <a:pt x="25" y="76"/>
                      <a:pt x="26" y="76"/>
                      <a:pt x="26" y="76"/>
                    </a:cubicBezTo>
                    <a:cubicBezTo>
                      <a:pt x="28" y="73"/>
                      <a:pt x="29" y="70"/>
                      <a:pt x="30" y="67"/>
                    </a:cubicBezTo>
                    <a:cubicBezTo>
                      <a:pt x="31" y="67"/>
                      <a:pt x="31" y="67"/>
                      <a:pt x="31" y="66"/>
                    </a:cubicBezTo>
                    <a:cubicBezTo>
                      <a:pt x="32" y="69"/>
                      <a:pt x="32" y="72"/>
                      <a:pt x="32" y="75"/>
                    </a:cubicBezTo>
                    <a:cubicBezTo>
                      <a:pt x="33" y="75"/>
                      <a:pt x="34" y="76"/>
                      <a:pt x="35" y="76"/>
                    </a:cubicBezTo>
                    <a:cubicBezTo>
                      <a:pt x="36" y="76"/>
                      <a:pt x="37" y="76"/>
                      <a:pt x="38" y="76"/>
                    </a:cubicBezTo>
                    <a:cubicBezTo>
                      <a:pt x="37" y="71"/>
                      <a:pt x="36" y="66"/>
                      <a:pt x="35" y="61"/>
                    </a:cubicBezTo>
                    <a:cubicBezTo>
                      <a:pt x="38" y="54"/>
                      <a:pt x="40" y="48"/>
                      <a:pt x="43" y="4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17" name="î$ḻîḑe"/>
              <p:cNvSpPr/>
              <p:nvPr/>
            </p:nvSpPr>
            <p:spPr bwMode="auto">
              <a:xfrm>
                <a:off x="2055709" y="4566240"/>
                <a:ext cx="136525" cy="150813"/>
              </a:xfrm>
              <a:custGeom>
                <a:avLst/>
                <a:gdLst>
                  <a:gd name="T0" fmla="*/ 55 w 74"/>
                  <a:gd name="T1" fmla="*/ 53 h 82"/>
                  <a:gd name="T2" fmla="*/ 54 w 74"/>
                  <a:gd name="T3" fmla="*/ 51 h 82"/>
                  <a:gd name="T4" fmla="*/ 57 w 74"/>
                  <a:gd name="T5" fmla="*/ 49 h 82"/>
                  <a:gd name="T6" fmla="*/ 56 w 74"/>
                  <a:gd name="T7" fmla="*/ 45 h 82"/>
                  <a:gd name="T8" fmla="*/ 52 w 74"/>
                  <a:gd name="T9" fmla="*/ 45 h 82"/>
                  <a:gd name="T10" fmla="*/ 51 w 74"/>
                  <a:gd name="T11" fmla="*/ 44 h 82"/>
                  <a:gd name="T12" fmla="*/ 60 w 74"/>
                  <a:gd name="T13" fmla="*/ 32 h 82"/>
                  <a:gd name="T14" fmla="*/ 60 w 74"/>
                  <a:gd name="T15" fmla="*/ 30 h 82"/>
                  <a:gd name="T16" fmla="*/ 34 w 74"/>
                  <a:gd name="T17" fmla="*/ 38 h 82"/>
                  <a:gd name="T18" fmla="*/ 33 w 74"/>
                  <a:gd name="T19" fmla="*/ 38 h 82"/>
                  <a:gd name="T20" fmla="*/ 60 w 74"/>
                  <a:gd name="T21" fmla="*/ 16 h 82"/>
                  <a:gd name="T22" fmla="*/ 61 w 74"/>
                  <a:gd name="T23" fmla="*/ 10 h 82"/>
                  <a:gd name="T24" fmla="*/ 42 w 74"/>
                  <a:gd name="T25" fmla="*/ 11 h 82"/>
                  <a:gd name="T26" fmla="*/ 27 w 74"/>
                  <a:gd name="T27" fmla="*/ 0 h 82"/>
                  <a:gd name="T28" fmla="*/ 24 w 74"/>
                  <a:gd name="T29" fmla="*/ 0 h 82"/>
                  <a:gd name="T30" fmla="*/ 29 w 74"/>
                  <a:gd name="T31" fmla="*/ 21 h 82"/>
                  <a:gd name="T32" fmla="*/ 11 w 74"/>
                  <a:gd name="T33" fmla="*/ 39 h 82"/>
                  <a:gd name="T34" fmla="*/ 1 w 74"/>
                  <a:gd name="T35" fmla="*/ 44 h 82"/>
                  <a:gd name="T36" fmla="*/ 0 w 74"/>
                  <a:gd name="T37" fmla="*/ 47 h 82"/>
                  <a:gd name="T38" fmla="*/ 35 w 74"/>
                  <a:gd name="T39" fmla="*/ 26 h 82"/>
                  <a:gd name="T40" fmla="*/ 35 w 74"/>
                  <a:gd name="T41" fmla="*/ 26 h 82"/>
                  <a:gd name="T42" fmla="*/ 30 w 74"/>
                  <a:gd name="T43" fmla="*/ 48 h 82"/>
                  <a:gd name="T44" fmla="*/ 40 w 74"/>
                  <a:gd name="T45" fmla="*/ 57 h 82"/>
                  <a:gd name="T46" fmla="*/ 35 w 74"/>
                  <a:gd name="T47" fmla="*/ 78 h 82"/>
                  <a:gd name="T48" fmla="*/ 45 w 74"/>
                  <a:gd name="T49" fmla="*/ 82 h 82"/>
                  <a:gd name="T50" fmla="*/ 47 w 74"/>
                  <a:gd name="T51" fmla="*/ 80 h 82"/>
                  <a:gd name="T52" fmla="*/ 46 w 74"/>
                  <a:gd name="T53" fmla="*/ 67 h 82"/>
                  <a:gd name="T54" fmla="*/ 47 w 74"/>
                  <a:gd name="T55" fmla="*/ 66 h 82"/>
                  <a:gd name="T56" fmla="*/ 50 w 74"/>
                  <a:gd name="T57" fmla="*/ 73 h 82"/>
                  <a:gd name="T58" fmla="*/ 58 w 74"/>
                  <a:gd name="T59" fmla="*/ 79 h 82"/>
                  <a:gd name="T60" fmla="*/ 59 w 74"/>
                  <a:gd name="T61" fmla="*/ 79 h 82"/>
                  <a:gd name="T62" fmla="*/ 53 w 74"/>
                  <a:gd name="T63" fmla="*/ 57 h 82"/>
                  <a:gd name="T64" fmla="*/ 56 w 74"/>
                  <a:gd name="T65" fmla="*/ 55 h 82"/>
                  <a:gd name="T66" fmla="*/ 56 w 74"/>
                  <a:gd name="T67" fmla="*/ 55 h 82"/>
                  <a:gd name="T68" fmla="*/ 69 w 74"/>
                  <a:gd name="T69" fmla="*/ 69 h 82"/>
                  <a:gd name="T70" fmla="*/ 74 w 74"/>
                  <a:gd name="T71" fmla="*/ 64 h 82"/>
                  <a:gd name="T72" fmla="*/ 55 w 74"/>
                  <a:gd name="T73" fmla="*/ 53 h 82"/>
                  <a:gd name="T74" fmla="*/ 40 w 74"/>
                  <a:gd name="T75" fmla="*/ 46 h 82"/>
                  <a:gd name="T76" fmla="*/ 39 w 74"/>
                  <a:gd name="T77" fmla="*/ 46 h 82"/>
                  <a:gd name="T78" fmla="*/ 38 w 74"/>
                  <a:gd name="T79" fmla="*/ 46 h 82"/>
                  <a:gd name="T80" fmla="*/ 37 w 74"/>
                  <a:gd name="T81" fmla="*/ 44 h 82"/>
                  <a:gd name="T82" fmla="*/ 44 w 74"/>
                  <a:gd name="T83" fmla="*/ 36 h 82"/>
                  <a:gd name="T84" fmla="*/ 46 w 74"/>
                  <a:gd name="T85" fmla="*/ 35 h 82"/>
                  <a:gd name="T86" fmla="*/ 46 w 74"/>
                  <a:gd name="T87" fmla="*/ 35 h 82"/>
                  <a:gd name="T88" fmla="*/ 40 w 74"/>
                  <a:gd name="T89" fmla="*/ 46 h 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74" h="82">
                    <a:moveTo>
                      <a:pt x="55" y="53"/>
                    </a:moveTo>
                    <a:cubicBezTo>
                      <a:pt x="55" y="53"/>
                      <a:pt x="54" y="52"/>
                      <a:pt x="54" y="51"/>
                    </a:cubicBezTo>
                    <a:cubicBezTo>
                      <a:pt x="55" y="51"/>
                      <a:pt x="56" y="50"/>
                      <a:pt x="57" y="49"/>
                    </a:cubicBezTo>
                    <a:cubicBezTo>
                      <a:pt x="57" y="48"/>
                      <a:pt x="56" y="47"/>
                      <a:pt x="56" y="45"/>
                    </a:cubicBezTo>
                    <a:cubicBezTo>
                      <a:pt x="54" y="45"/>
                      <a:pt x="53" y="45"/>
                      <a:pt x="52" y="45"/>
                    </a:cubicBezTo>
                    <a:cubicBezTo>
                      <a:pt x="51" y="45"/>
                      <a:pt x="51" y="44"/>
                      <a:pt x="51" y="44"/>
                    </a:cubicBezTo>
                    <a:cubicBezTo>
                      <a:pt x="53" y="40"/>
                      <a:pt x="59" y="36"/>
                      <a:pt x="60" y="32"/>
                    </a:cubicBezTo>
                    <a:cubicBezTo>
                      <a:pt x="60" y="31"/>
                      <a:pt x="60" y="31"/>
                      <a:pt x="60" y="30"/>
                    </a:cubicBezTo>
                    <a:cubicBezTo>
                      <a:pt x="50" y="21"/>
                      <a:pt x="41" y="31"/>
                      <a:pt x="34" y="38"/>
                    </a:cubicBezTo>
                    <a:cubicBezTo>
                      <a:pt x="33" y="38"/>
                      <a:pt x="33" y="38"/>
                      <a:pt x="33" y="38"/>
                    </a:cubicBezTo>
                    <a:cubicBezTo>
                      <a:pt x="34" y="30"/>
                      <a:pt x="48" y="16"/>
                      <a:pt x="60" y="16"/>
                    </a:cubicBezTo>
                    <a:cubicBezTo>
                      <a:pt x="61" y="14"/>
                      <a:pt x="61" y="12"/>
                      <a:pt x="61" y="10"/>
                    </a:cubicBezTo>
                    <a:cubicBezTo>
                      <a:pt x="50" y="3"/>
                      <a:pt x="52" y="11"/>
                      <a:pt x="42" y="11"/>
                    </a:cubicBezTo>
                    <a:cubicBezTo>
                      <a:pt x="38" y="10"/>
                      <a:pt x="32" y="1"/>
                      <a:pt x="27" y="0"/>
                    </a:cubicBezTo>
                    <a:cubicBezTo>
                      <a:pt x="26" y="0"/>
                      <a:pt x="25" y="0"/>
                      <a:pt x="24" y="0"/>
                    </a:cubicBezTo>
                    <a:cubicBezTo>
                      <a:pt x="21" y="5"/>
                      <a:pt x="30" y="14"/>
                      <a:pt x="29" y="21"/>
                    </a:cubicBezTo>
                    <a:cubicBezTo>
                      <a:pt x="19" y="27"/>
                      <a:pt x="17" y="33"/>
                      <a:pt x="11" y="39"/>
                    </a:cubicBezTo>
                    <a:cubicBezTo>
                      <a:pt x="8" y="42"/>
                      <a:pt x="4" y="42"/>
                      <a:pt x="1" y="44"/>
                    </a:cubicBezTo>
                    <a:cubicBezTo>
                      <a:pt x="1" y="45"/>
                      <a:pt x="0" y="46"/>
                      <a:pt x="0" y="47"/>
                    </a:cubicBezTo>
                    <a:cubicBezTo>
                      <a:pt x="11" y="69"/>
                      <a:pt x="23" y="30"/>
                      <a:pt x="35" y="26"/>
                    </a:cubicBezTo>
                    <a:cubicBezTo>
                      <a:pt x="35" y="26"/>
                      <a:pt x="35" y="26"/>
                      <a:pt x="35" y="26"/>
                    </a:cubicBezTo>
                    <a:cubicBezTo>
                      <a:pt x="33" y="33"/>
                      <a:pt x="28" y="39"/>
                      <a:pt x="30" y="48"/>
                    </a:cubicBezTo>
                    <a:cubicBezTo>
                      <a:pt x="30" y="51"/>
                      <a:pt x="37" y="56"/>
                      <a:pt x="40" y="57"/>
                    </a:cubicBezTo>
                    <a:cubicBezTo>
                      <a:pt x="37" y="64"/>
                      <a:pt x="32" y="69"/>
                      <a:pt x="35" y="78"/>
                    </a:cubicBezTo>
                    <a:cubicBezTo>
                      <a:pt x="39" y="79"/>
                      <a:pt x="42" y="80"/>
                      <a:pt x="45" y="82"/>
                    </a:cubicBezTo>
                    <a:cubicBezTo>
                      <a:pt x="46" y="81"/>
                      <a:pt x="46" y="81"/>
                      <a:pt x="47" y="80"/>
                    </a:cubicBezTo>
                    <a:cubicBezTo>
                      <a:pt x="49" y="77"/>
                      <a:pt x="45" y="70"/>
                      <a:pt x="46" y="67"/>
                    </a:cubicBezTo>
                    <a:cubicBezTo>
                      <a:pt x="46" y="66"/>
                      <a:pt x="46" y="66"/>
                      <a:pt x="47" y="66"/>
                    </a:cubicBezTo>
                    <a:cubicBezTo>
                      <a:pt x="48" y="67"/>
                      <a:pt x="49" y="71"/>
                      <a:pt x="50" y="73"/>
                    </a:cubicBezTo>
                    <a:cubicBezTo>
                      <a:pt x="52" y="76"/>
                      <a:pt x="55" y="77"/>
                      <a:pt x="58" y="79"/>
                    </a:cubicBezTo>
                    <a:cubicBezTo>
                      <a:pt x="58" y="79"/>
                      <a:pt x="58" y="79"/>
                      <a:pt x="59" y="79"/>
                    </a:cubicBezTo>
                    <a:cubicBezTo>
                      <a:pt x="60" y="72"/>
                      <a:pt x="53" y="64"/>
                      <a:pt x="53" y="57"/>
                    </a:cubicBezTo>
                    <a:cubicBezTo>
                      <a:pt x="54" y="56"/>
                      <a:pt x="55" y="56"/>
                      <a:pt x="56" y="55"/>
                    </a:cubicBezTo>
                    <a:cubicBezTo>
                      <a:pt x="56" y="55"/>
                      <a:pt x="56" y="55"/>
                      <a:pt x="56" y="55"/>
                    </a:cubicBezTo>
                    <a:cubicBezTo>
                      <a:pt x="63" y="60"/>
                      <a:pt x="59" y="67"/>
                      <a:pt x="69" y="69"/>
                    </a:cubicBezTo>
                    <a:cubicBezTo>
                      <a:pt x="71" y="67"/>
                      <a:pt x="72" y="66"/>
                      <a:pt x="74" y="64"/>
                    </a:cubicBezTo>
                    <a:cubicBezTo>
                      <a:pt x="71" y="56"/>
                      <a:pt x="63" y="51"/>
                      <a:pt x="55" y="53"/>
                    </a:cubicBezTo>
                    <a:close/>
                    <a:moveTo>
                      <a:pt x="40" y="46"/>
                    </a:moveTo>
                    <a:cubicBezTo>
                      <a:pt x="40" y="46"/>
                      <a:pt x="39" y="46"/>
                      <a:pt x="39" y="46"/>
                    </a:cubicBezTo>
                    <a:cubicBezTo>
                      <a:pt x="38" y="46"/>
                      <a:pt x="38" y="46"/>
                      <a:pt x="38" y="46"/>
                    </a:cubicBezTo>
                    <a:cubicBezTo>
                      <a:pt x="38" y="45"/>
                      <a:pt x="37" y="45"/>
                      <a:pt x="37" y="44"/>
                    </a:cubicBezTo>
                    <a:cubicBezTo>
                      <a:pt x="39" y="41"/>
                      <a:pt x="42" y="39"/>
                      <a:pt x="44" y="36"/>
                    </a:cubicBezTo>
                    <a:cubicBezTo>
                      <a:pt x="45" y="36"/>
                      <a:pt x="45" y="35"/>
                      <a:pt x="46" y="35"/>
                    </a:cubicBezTo>
                    <a:cubicBezTo>
                      <a:pt x="46" y="35"/>
                      <a:pt x="46" y="35"/>
                      <a:pt x="46" y="35"/>
                    </a:cubicBezTo>
                    <a:cubicBezTo>
                      <a:pt x="44" y="39"/>
                      <a:pt x="42" y="42"/>
                      <a:pt x="40" y="4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18" name="ïşḻíḍe"/>
              <p:cNvSpPr/>
              <p:nvPr/>
            </p:nvSpPr>
            <p:spPr bwMode="auto">
              <a:xfrm>
                <a:off x="1882672" y="4669428"/>
                <a:ext cx="160338" cy="169863"/>
              </a:xfrm>
              <a:custGeom>
                <a:avLst/>
                <a:gdLst>
                  <a:gd name="T0" fmla="*/ 29 w 87"/>
                  <a:gd name="T1" fmla="*/ 8 h 92"/>
                  <a:gd name="T2" fmla="*/ 52 w 87"/>
                  <a:gd name="T3" fmla="*/ 17 h 92"/>
                  <a:gd name="T4" fmla="*/ 61 w 87"/>
                  <a:gd name="T5" fmla="*/ 16 h 92"/>
                  <a:gd name="T6" fmla="*/ 62 w 87"/>
                  <a:gd name="T7" fmla="*/ 17 h 92"/>
                  <a:gd name="T8" fmla="*/ 69 w 87"/>
                  <a:gd name="T9" fmla="*/ 42 h 92"/>
                  <a:gd name="T10" fmla="*/ 86 w 87"/>
                  <a:gd name="T11" fmla="*/ 35 h 92"/>
                  <a:gd name="T12" fmla="*/ 87 w 87"/>
                  <a:gd name="T13" fmla="*/ 39 h 92"/>
                  <a:gd name="T14" fmla="*/ 76 w 87"/>
                  <a:gd name="T15" fmla="*/ 55 h 92"/>
                  <a:gd name="T16" fmla="*/ 67 w 87"/>
                  <a:gd name="T17" fmla="*/ 76 h 92"/>
                  <a:gd name="T18" fmla="*/ 65 w 87"/>
                  <a:gd name="T19" fmla="*/ 74 h 92"/>
                  <a:gd name="T20" fmla="*/ 69 w 87"/>
                  <a:gd name="T21" fmla="*/ 53 h 92"/>
                  <a:gd name="T22" fmla="*/ 55 w 87"/>
                  <a:gd name="T23" fmla="*/ 40 h 92"/>
                  <a:gd name="T24" fmla="*/ 45 w 87"/>
                  <a:gd name="T25" fmla="*/ 44 h 92"/>
                  <a:gd name="T26" fmla="*/ 46 w 87"/>
                  <a:gd name="T27" fmla="*/ 89 h 92"/>
                  <a:gd name="T28" fmla="*/ 38 w 87"/>
                  <a:gd name="T29" fmla="*/ 92 h 92"/>
                  <a:gd name="T30" fmla="*/ 27 w 87"/>
                  <a:gd name="T31" fmla="*/ 68 h 92"/>
                  <a:gd name="T32" fmla="*/ 14 w 87"/>
                  <a:gd name="T33" fmla="*/ 70 h 92"/>
                  <a:gd name="T34" fmla="*/ 12 w 87"/>
                  <a:gd name="T35" fmla="*/ 65 h 92"/>
                  <a:gd name="T36" fmla="*/ 18 w 87"/>
                  <a:gd name="T37" fmla="*/ 58 h 92"/>
                  <a:gd name="T38" fmla="*/ 0 w 87"/>
                  <a:gd name="T39" fmla="*/ 42 h 92"/>
                  <a:gd name="T40" fmla="*/ 0 w 87"/>
                  <a:gd name="T41" fmla="*/ 42 h 92"/>
                  <a:gd name="T42" fmla="*/ 21 w 87"/>
                  <a:gd name="T43" fmla="*/ 39 h 92"/>
                  <a:gd name="T44" fmla="*/ 27 w 87"/>
                  <a:gd name="T45" fmla="*/ 48 h 92"/>
                  <a:gd name="T46" fmla="*/ 34 w 87"/>
                  <a:gd name="T47" fmla="*/ 52 h 92"/>
                  <a:gd name="T48" fmla="*/ 36 w 87"/>
                  <a:gd name="T49" fmla="*/ 62 h 92"/>
                  <a:gd name="T50" fmla="*/ 39 w 87"/>
                  <a:gd name="T51" fmla="*/ 44 h 92"/>
                  <a:gd name="T52" fmla="*/ 46 w 87"/>
                  <a:gd name="T53" fmla="*/ 28 h 92"/>
                  <a:gd name="T54" fmla="*/ 29 w 87"/>
                  <a:gd name="T55" fmla="*/ 8 h 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87" h="92">
                    <a:moveTo>
                      <a:pt x="29" y="8"/>
                    </a:moveTo>
                    <a:cubicBezTo>
                      <a:pt x="42" y="0"/>
                      <a:pt x="43" y="12"/>
                      <a:pt x="52" y="17"/>
                    </a:cubicBezTo>
                    <a:cubicBezTo>
                      <a:pt x="55" y="15"/>
                      <a:pt x="58" y="15"/>
                      <a:pt x="61" y="16"/>
                    </a:cubicBezTo>
                    <a:cubicBezTo>
                      <a:pt x="61" y="16"/>
                      <a:pt x="62" y="17"/>
                      <a:pt x="62" y="17"/>
                    </a:cubicBezTo>
                    <a:cubicBezTo>
                      <a:pt x="62" y="26"/>
                      <a:pt x="58" y="33"/>
                      <a:pt x="69" y="42"/>
                    </a:cubicBezTo>
                    <a:cubicBezTo>
                      <a:pt x="75" y="35"/>
                      <a:pt x="80" y="33"/>
                      <a:pt x="86" y="35"/>
                    </a:cubicBezTo>
                    <a:cubicBezTo>
                      <a:pt x="87" y="36"/>
                      <a:pt x="87" y="38"/>
                      <a:pt x="87" y="39"/>
                    </a:cubicBezTo>
                    <a:cubicBezTo>
                      <a:pt x="83" y="45"/>
                      <a:pt x="80" y="50"/>
                      <a:pt x="76" y="55"/>
                    </a:cubicBezTo>
                    <a:cubicBezTo>
                      <a:pt x="71" y="62"/>
                      <a:pt x="71" y="70"/>
                      <a:pt x="67" y="76"/>
                    </a:cubicBezTo>
                    <a:cubicBezTo>
                      <a:pt x="66" y="75"/>
                      <a:pt x="66" y="75"/>
                      <a:pt x="65" y="74"/>
                    </a:cubicBezTo>
                    <a:cubicBezTo>
                      <a:pt x="63" y="66"/>
                      <a:pt x="67" y="60"/>
                      <a:pt x="69" y="53"/>
                    </a:cubicBezTo>
                    <a:cubicBezTo>
                      <a:pt x="64" y="51"/>
                      <a:pt x="60" y="46"/>
                      <a:pt x="55" y="40"/>
                    </a:cubicBezTo>
                    <a:cubicBezTo>
                      <a:pt x="52" y="42"/>
                      <a:pt x="49" y="41"/>
                      <a:pt x="45" y="44"/>
                    </a:cubicBezTo>
                    <a:cubicBezTo>
                      <a:pt x="40" y="59"/>
                      <a:pt x="48" y="75"/>
                      <a:pt x="46" y="89"/>
                    </a:cubicBezTo>
                    <a:cubicBezTo>
                      <a:pt x="43" y="92"/>
                      <a:pt x="41" y="91"/>
                      <a:pt x="38" y="92"/>
                    </a:cubicBezTo>
                    <a:cubicBezTo>
                      <a:pt x="31" y="83"/>
                      <a:pt x="33" y="76"/>
                      <a:pt x="27" y="68"/>
                    </a:cubicBezTo>
                    <a:cubicBezTo>
                      <a:pt x="23" y="71"/>
                      <a:pt x="18" y="71"/>
                      <a:pt x="14" y="70"/>
                    </a:cubicBezTo>
                    <a:cubicBezTo>
                      <a:pt x="12" y="68"/>
                      <a:pt x="12" y="67"/>
                      <a:pt x="12" y="65"/>
                    </a:cubicBezTo>
                    <a:cubicBezTo>
                      <a:pt x="14" y="63"/>
                      <a:pt x="16" y="60"/>
                      <a:pt x="18" y="58"/>
                    </a:cubicBezTo>
                    <a:cubicBezTo>
                      <a:pt x="13" y="49"/>
                      <a:pt x="3" y="48"/>
                      <a:pt x="0" y="42"/>
                    </a:cubicBezTo>
                    <a:cubicBezTo>
                      <a:pt x="0" y="42"/>
                      <a:pt x="0" y="42"/>
                      <a:pt x="0" y="42"/>
                    </a:cubicBezTo>
                    <a:cubicBezTo>
                      <a:pt x="6" y="39"/>
                      <a:pt x="15" y="35"/>
                      <a:pt x="21" y="39"/>
                    </a:cubicBezTo>
                    <a:cubicBezTo>
                      <a:pt x="23" y="42"/>
                      <a:pt x="25" y="45"/>
                      <a:pt x="27" y="48"/>
                    </a:cubicBezTo>
                    <a:cubicBezTo>
                      <a:pt x="29" y="50"/>
                      <a:pt x="31" y="51"/>
                      <a:pt x="34" y="52"/>
                    </a:cubicBezTo>
                    <a:cubicBezTo>
                      <a:pt x="34" y="55"/>
                      <a:pt x="35" y="58"/>
                      <a:pt x="36" y="62"/>
                    </a:cubicBezTo>
                    <a:cubicBezTo>
                      <a:pt x="39" y="56"/>
                      <a:pt x="38" y="50"/>
                      <a:pt x="39" y="44"/>
                    </a:cubicBezTo>
                    <a:cubicBezTo>
                      <a:pt x="42" y="39"/>
                      <a:pt x="44" y="34"/>
                      <a:pt x="46" y="28"/>
                    </a:cubicBezTo>
                    <a:cubicBezTo>
                      <a:pt x="42" y="22"/>
                      <a:pt x="31" y="15"/>
                      <a:pt x="29" y="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19" name="íṩľíḑè"/>
              <p:cNvSpPr/>
              <p:nvPr/>
            </p:nvSpPr>
            <p:spPr bwMode="auto">
              <a:xfrm>
                <a:off x="2243034" y="6066428"/>
                <a:ext cx="22225" cy="25400"/>
              </a:xfrm>
              <a:custGeom>
                <a:avLst/>
                <a:gdLst>
                  <a:gd name="T0" fmla="*/ 0 w 14"/>
                  <a:gd name="T1" fmla="*/ 12 h 16"/>
                  <a:gd name="T2" fmla="*/ 2 w 14"/>
                  <a:gd name="T3" fmla="*/ 0 h 16"/>
                  <a:gd name="T4" fmla="*/ 14 w 14"/>
                  <a:gd name="T5" fmla="*/ 4 h 16"/>
                  <a:gd name="T6" fmla="*/ 11 w 14"/>
                  <a:gd name="T7" fmla="*/ 16 h 16"/>
                  <a:gd name="T8" fmla="*/ 0 w 14"/>
                  <a:gd name="T9" fmla="*/ 12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4" h="16">
                    <a:moveTo>
                      <a:pt x="0" y="12"/>
                    </a:moveTo>
                    <a:lnTo>
                      <a:pt x="2" y="0"/>
                    </a:lnTo>
                    <a:lnTo>
                      <a:pt x="14" y="4"/>
                    </a:lnTo>
                    <a:lnTo>
                      <a:pt x="11" y="16"/>
                    </a:lnTo>
                    <a:lnTo>
                      <a:pt x="0" y="1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20" name="îṣḷïḓê"/>
              <p:cNvSpPr/>
              <p:nvPr/>
            </p:nvSpPr>
            <p:spPr bwMode="auto">
              <a:xfrm>
                <a:off x="2292247" y="6042615"/>
                <a:ext cx="49213" cy="100013"/>
              </a:xfrm>
              <a:custGeom>
                <a:avLst/>
                <a:gdLst>
                  <a:gd name="T0" fmla="*/ 17 w 27"/>
                  <a:gd name="T1" fmla="*/ 54 h 54"/>
                  <a:gd name="T2" fmla="*/ 7 w 27"/>
                  <a:gd name="T3" fmla="*/ 52 h 54"/>
                  <a:gd name="T4" fmla="*/ 14 w 27"/>
                  <a:gd name="T5" fmla="*/ 15 h 54"/>
                  <a:gd name="T6" fmla="*/ 0 w 27"/>
                  <a:gd name="T7" fmla="*/ 20 h 54"/>
                  <a:gd name="T8" fmla="*/ 1 w 27"/>
                  <a:gd name="T9" fmla="*/ 11 h 54"/>
                  <a:gd name="T10" fmla="*/ 11 w 27"/>
                  <a:gd name="T11" fmla="*/ 7 h 54"/>
                  <a:gd name="T12" fmla="*/ 18 w 27"/>
                  <a:gd name="T13" fmla="*/ 0 h 54"/>
                  <a:gd name="T14" fmla="*/ 27 w 27"/>
                  <a:gd name="T15" fmla="*/ 2 h 54"/>
                  <a:gd name="T16" fmla="*/ 17 w 27"/>
                  <a:gd name="T17" fmla="*/ 54 h 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7" h="54">
                    <a:moveTo>
                      <a:pt x="17" y="54"/>
                    </a:moveTo>
                    <a:cubicBezTo>
                      <a:pt x="7" y="52"/>
                      <a:pt x="7" y="52"/>
                      <a:pt x="7" y="52"/>
                    </a:cubicBezTo>
                    <a:cubicBezTo>
                      <a:pt x="14" y="15"/>
                      <a:pt x="14" y="15"/>
                      <a:pt x="14" y="15"/>
                    </a:cubicBezTo>
                    <a:cubicBezTo>
                      <a:pt x="10" y="17"/>
                      <a:pt x="5" y="19"/>
                      <a:pt x="0" y="20"/>
                    </a:cubicBezTo>
                    <a:cubicBezTo>
                      <a:pt x="1" y="11"/>
                      <a:pt x="1" y="11"/>
                      <a:pt x="1" y="11"/>
                    </a:cubicBezTo>
                    <a:cubicBezTo>
                      <a:pt x="4" y="10"/>
                      <a:pt x="7" y="9"/>
                      <a:pt x="11" y="7"/>
                    </a:cubicBezTo>
                    <a:cubicBezTo>
                      <a:pt x="14" y="6"/>
                      <a:pt x="17" y="3"/>
                      <a:pt x="18" y="0"/>
                    </a:cubicBezTo>
                    <a:cubicBezTo>
                      <a:pt x="27" y="2"/>
                      <a:pt x="27" y="2"/>
                      <a:pt x="27" y="2"/>
                    </a:cubicBezTo>
                    <a:lnTo>
                      <a:pt x="17" y="5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21" name="i$ḻîḓé"/>
              <p:cNvSpPr/>
              <p:nvPr/>
            </p:nvSpPr>
            <p:spPr bwMode="auto">
              <a:xfrm>
                <a:off x="2363684" y="6052140"/>
                <a:ext cx="66675" cy="100013"/>
              </a:xfrm>
              <a:custGeom>
                <a:avLst/>
                <a:gdLst>
                  <a:gd name="T0" fmla="*/ 0 w 36"/>
                  <a:gd name="T1" fmla="*/ 40 h 54"/>
                  <a:gd name="T2" fmla="*/ 10 w 36"/>
                  <a:gd name="T3" fmla="*/ 39 h 54"/>
                  <a:gd name="T4" fmla="*/ 11 w 36"/>
                  <a:gd name="T5" fmla="*/ 44 h 54"/>
                  <a:gd name="T6" fmla="*/ 15 w 36"/>
                  <a:gd name="T7" fmla="*/ 46 h 54"/>
                  <a:gd name="T8" fmla="*/ 21 w 36"/>
                  <a:gd name="T9" fmla="*/ 43 h 54"/>
                  <a:gd name="T10" fmla="*/ 24 w 36"/>
                  <a:gd name="T11" fmla="*/ 31 h 54"/>
                  <a:gd name="T12" fmla="*/ 15 w 36"/>
                  <a:gd name="T13" fmla="*/ 35 h 54"/>
                  <a:gd name="T14" fmla="*/ 4 w 36"/>
                  <a:gd name="T15" fmla="*/ 30 h 54"/>
                  <a:gd name="T16" fmla="*/ 0 w 36"/>
                  <a:gd name="T17" fmla="*/ 17 h 54"/>
                  <a:gd name="T18" fmla="*/ 6 w 36"/>
                  <a:gd name="T19" fmla="*/ 4 h 54"/>
                  <a:gd name="T20" fmla="*/ 19 w 36"/>
                  <a:gd name="T21" fmla="*/ 0 h 54"/>
                  <a:gd name="T22" fmla="*/ 31 w 36"/>
                  <a:gd name="T23" fmla="*/ 7 h 54"/>
                  <a:gd name="T24" fmla="*/ 35 w 36"/>
                  <a:gd name="T25" fmla="*/ 28 h 54"/>
                  <a:gd name="T26" fmla="*/ 28 w 36"/>
                  <a:gd name="T27" fmla="*/ 49 h 54"/>
                  <a:gd name="T28" fmla="*/ 14 w 36"/>
                  <a:gd name="T29" fmla="*/ 54 h 54"/>
                  <a:gd name="T30" fmla="*/ 4 w 36"/>
                  <a:gd name="T31" fmla="*/ 50 h 54"/>
                  <a:gd name="T32" fmla="*/ 0 w 36"/>
                  <a:gd name="T33" fmla="*/ 40 h 54"/>
                  <a:gd name="T34" fmla="*/ 24 w 36"/>
                  <a:gd name="T35" fmla="*/ 19 h 54"/>
                  <a:gd name="T36" fmla="*/ 23 w 36"/>
                  <a:gd name="T37" fmla="*/ 11 h 54"/>
                  <a:gd name="T38" fmla="*/ 18 w 36"/>
                  <a:gd name="T39" fmla="*/ 8 h 54"/>
                  <a:gd name="T40" fmla="*/ 13 w 36"/>
                  <a:gd name="T41" fmla="*/ 10 h 54"/>
                  <a:gd name="T42" fmla="*/ 10 w 36"/>
                  <a:gd name="T43" fmla="*/ 17 h 54"/>
                  <a:gd name="T44" fmla="*/ 12 w 36"/>
                  <a:gd name="T45" fmla="*/ 25 h 54"/>
                  <a:gd name="T46" fmla="*/ 17 w 36"/>
                  <a:gd name="T47" fmla="*/ 28 h 54"/>
                  <a:gd name="T48" fmla="*/ 22 w 36"/>
                  <a:gd name="T49" fmla="*/ 26 h 54"/>
                  <a:gd name="T50" fmla="*/ 24 w 36"/>
                  <a:gd name="T51" fmla="*/ 19 h 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6" h="54">
                    <a:moveTo>
                      <a:pt x="0" y="40"/>
                    </a:moveTo>
                    <a:cubicBezTo>
                      <a:pt x="10" y="39"/>
                      <a:pt x="10" y="39"/>
                      <a:pt x="10" y="39"/>
                    </a:cubicBezTo>
                    <a:cubicBezTo>
                      <a:pt x="10" y="41"/>
                      <a:pt x="10" y="43"/>
                      <a:pt x="11" y="44"/>
                    </a:cubicBezTo>
                    <a:cubicBezTo>
                      <a:pt x="12" y="45"/>
                      <a:pt x="14" y="46"/>
                      <a:pt x="15" y="46"/>
                    </a:cubicBezTo>
                    <a:cubicBezTo>
                      <a:pt x="17" y="46"/>
                      <a:pt x="19" y="45"/>
                      <a:pt x="21" y="43"/>
                    </a:cubicBezTo>
                    <a:cubicBezTo>
                      <a:pt x="22" y="41"/>
                      <a:pt x="24" y="37"/>
                      <a:pt x="24" y="31"/>
                    </a:cubicBezTo>
                    <a:cubicBezTo>
                      <a:pt x="22" y="34"/>
                      <a:pt x="18" y="35"/>
                      <a:pt x="15" y="35"/>
                    </a:cubicBezTo>
                    <a:cubicBezTo>
                      <a:pt x="10" y="35"/>
                      <a:pt x="7" y="33"/>
                      <a:pt x="4" y="30"/>
                    </a:cubicBezTo>
                    <a:cubicBezTo>
                      <a:pt x="1" y="26"/>
                      <a:pt x="0" y="22"/>
                      <a:pt x="0" y="17"/>
                    </a:cubicBezTo>
                    <a:cubicBezTo>
                      <a:pt x="1" y="11"/>
                      <a:pt x="3" y="7"/>
                      <a:pt x="6" y="4"/>
                    </a:cubicBezTo>
                    <a:cubicBezTo>
                      <a:pt x="10" y="1"/>
                      <a:pt x="14" y="0"/>
                      <a:pt x="19" y="0"/>
                    </a:cubicBezTo>
                    <a:cubicBezTo>
                      <a:pt x="24" y="0"/>
                      <a:pt x="28" y="3"/>
                      <a:pt x="31" y="7"/>
                    </a:cubicBezTo>
                    <a:cubicBezTo>
                      <a:pt x="35" y="12"/>
                      <a:pt x="36" y="19"/>
                      <a:pt x="35" y="28"/>
                    </a:cubicBezTo>
                    <a:cubicBezTo>
                      <a:pt x="34" y="38"/>
                      <a:pt x="32" y="44"/>
                      <a:pt x="28" y="49"/>
                    </a:cubicBezTo>
                    <a:cubicBezTo>
                      <a:pt x="24" y="53"/>
                      <a:pt x="20" y="54"/>
                      <a:pt x="14" y="54"/>
                    </a:cubicBezTo>
                    <a:cubicBezTo>
                      <a:pt x="10" y="54"/>
                      <a:pt x="7" y="52"/>
                      <a:pt x="4" y="50"/>
                    </a:cubicBezTo>
                    <a:cubicBezTo>
                      <a:pt x="2" y="48"/>
                      <a:pt x="0" y="44"/>
                      <a:pt x="0" y="40"/>
                    </a:cubicBezTo>
                    <a:close/>
                    <a:moveTo>
                      <a:pt x="24" y="19"/>
                    </a:moveTo>
                    <a:cubicBezTo>
                      <a:pt x="25" y="16"/>
                      <a:pt x="24" y="13"/>
                      <a:pt x="23" y="11"/>
                    </a:cubicBezTo>
                    <a:cubicBezTo>
                      <a:pt x="21" y="10"/>
                      <a:pt x="20" y="9"/>
                      <a:pt x="18" y="8"/>
                    </a:cubicBezTo>
                    <a:cubicBezTo>
                      <a:pt x="16" y="8"/>
                      <a:pt x="14" y="9"/>
                      <a:pt x="13" y="10"/>
                    </a:cubicBezTo>
                    <a:cubicBezTo>
                      <a:pt x="11" y="12"/>
                      <a:pt x="11" y="14"/>
                      <a:pt x="10" y="17"/>
                    </a:cubicBezTo>
                    <a:cubicBezTo>
                      <a:pt x="10" y="21"/>
                      <a:pt x="11" y="23"/>
                      <a:pt x="12" y="25"/>
                    </a:cubicBezTo>
                    <a:cubicBezTo>
                      <a:pt x="13" y="27"/>
                      <a:pt x="15" y="28"/>
                      <a:pt x="17" y="28"/>
                    </a:cubicBezTo>
                    <a:cubicBezTo>
                      <a:pt x="19" y="28"/>
                      <a:pt x="20" y="27"/>
                      <a:pt x="22" y="26"/>
                    </a:cubicBezTo>
                    <a:cubicBezTo>
                      <a:pt x="23" y="24"/>
                      <a:pt x="24" y="22"/>
                      <a:pt x="24" y="1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22" name="îṧľîḋé"/>
              <p:cNvSpPr/>
              <p:nvPr/>
            </p:nvSpPr>
            <p:spPr bwMode="auto">
              <a:xfrm>
                <a:off x="2446234" y="6053728"/>
                <a:ext cx="66675" cy="100013"/>
              </a:xfrm>
              <a:custGeom>
                <a:avLst/>
                <a:gdLst>
                  <a:gd name="T0" fmla="*/ 0 w 36"/>
                  <a:gd name="T1" fmla="*/ 40 h 54"/>
                  <a:gd name="T2" fmla="*/ 10 w 36"/>
                  <a:gd name="T3" fmla="*/ 39 h 54"/>
                  <a:gd name="T4" fmla="*/ 13 w 36"/>
                  <a:gd name="T5" fmla="*/ 44 h 54"/>
                  <a:gd name="T6" fmla="*/ 18 w 36"/>
                  <a:gd name="T7" fmla="*/ 46 h 54"/>
                  <a:gd name="T8" fmla="*/ 23 w 36"/>
                  <a:gd name="T9" fmla="*/ 43 h 54"/>
                  <a:gd name="T10" fmla="*/ 25 w 36"/>
                  <a:gd name="T11" fmla="*/ 35 h 54"/>
                  <a:gd name="T12" fmla="*/ 23 w 36"/>
                  <a:gd name="T13" fmla="*/ 28 h 54"/>
                  <a:gd name="T14" fmla="*/ 17 w 36"/>
                  <a:gd name="T15" fmla="*/ 26 h 54"/>
                  <a:gd name="T16" fmla="*/ 9 w 36"/>
                  <a:gd name="T17" fmla="*/ 30 h 54"/>
                  <a:gd name="T18" fmla="*/ 1 w 36"/>
                  <a:gd name="T19" fmla="*/ 29 h 54"/>
                  <a:gd name="T20" fmla="*/ 5 w 36"/>
                  <a:gd name="T21" fmla="*/ 1 h 54"/>
                  <a:gd name="T22" fmla="*/ 32 w 36"/>
                  <a:gd name="T23" fmla="*/ 0 h 54"/>
                  <a:gd name="T24" fmla="*/ 32 w 36"/>
                  <a:gd name="T25" fmla="*/ 10 h 54"/>
                  <a:gd name="T26" fmla="*/ 13 w 36"/>
                  <a:gd name="T27" fmla="*/ 10 h 54"/>
                  <a:gd name="T28" fmla="*/ 12 w 36"/>
                  <a:gd name="T29" fmla="*/ 19 h 54"/>
                  <a:gd name="T30" fmla="*/ 19 w 36"/>
                  <a:gd name="T31" fmla="*/ 17 h 54"/>
                  <a:gd name="T32" fmla="*/ 30 w 36"/>
                  <a:gd name="T33" fmla="*/ 22 h 54"/>
                  <a:gd name="T34" fmla="*/ 36 w 36"/>
                  <a:gd name="T35" fmla="*/ 34 h 54"/>
                  <a:gd name="T36" fmla="*/ 32 w 36"/>
                  <a:gd name="T37" fmla="*/ 46 h 54"/>
                  <a:gd name="T38" fmla="*/ 18 w 36"/>
                  <a:gd name="T39" fmla="*/ 54 h 54"/>
                  <a:gd name="T40" fmla="*/ 6 w 36"/>
                  <a:gd name="T41" fmla="*/ 50 h 54"/>
                  <a:gd name="T42" fmla="*/ 0 w 36"/>
                  <a:gd name="T43" fmla="*/ 40 h 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36" h="54">
                    <a:moveTo>
                      <a:pt x="0" y="40"/>
                    </a:moveTo>
                    <a:cubicBezTo>
                      <a:pt x="10" y="39"/>
                      <a:pt x="10" y="39"/>
                      <a:pt x="10" y="39"/>
                    </a:cubicBezTo>
                    <a:cubicBezTo>
                      <a:pt x="11" y="41"/>
                      <a:pt x="11" y="43"/>
                      <a:pt x="13" y="44"/>
                    </a:cubicBezTo>
                    <a:cubicBezTo>
                      <a:pt x="14" y="45"/>
                      <a:pt x="16" y="46"/>
                      <a:pt x="18" y="46"/>
                    </a:cubicBezTo>
                    <a:cubicBezTo>
                      <a:pt x="20" y="46"/>
                      <a:pt x="22" y="45"/>
                      <a:pt x="23" y="43"/>
                    </a:cubicBezTo>
                    <a:cubicBezTo>
                      <a:pt x="25" y="41"/>
                      <a:pt x="25" y="38"/>
                      <a:pt x="25" y="35"/>
                    </a:cubicBezTo>
                    <a:cubicBezTo>
                      <a:pt x="25" y="32"/>
                      <a:pt x="24" y="29"/>
                      <a:pt x="23" y="28"/>
                    </a:cubicBezTo>
                    <a:cubicBezTo>
                      <a:pt x="21" y="26"/>
                      <a:pt x="19" y="25"/>
                      <a:pt x="17" y="26"/>
                    </a:cubicBezTo>
                    <a:cubicBezTo>
                      <a:pt x="14" y="26"/>
                      <a:pt x="11" y="27"/>
                      <a:pt x="9" y="30"/>
                    </a:cubicBezTo>
                    <a:cubicBezTo>
                      <a:pt x="1" y="29"/>
                      <a:pt x="1" y="29"/>
                      <a:pt x="1" y="29"/>
                    </a:cubicBezTo>
                    <a:cubicBezTo>
                      <a:pt x="5" y="1"/>
                      <a:pt x="5" y="1"/>
                      <a:pt x="5" y="1"/>
                    </a:cubicBezTo>
                    <a:cubicBezTo>
                      <a:pt x="32" y="0"/>
                      <a:pt x="32" y="0"/>
                      <a:pt x="32" y="0"/>
                    </a:cubicBezTo>
                    <a:cubicBezTo>
                      <a:pt x="32" y="10"/>
                      <a:pt x="32" y="10"/>
                      <a:pt x="32" y="10"/>
                    </a:cubicBezTo>
                    <a:cubicBezTo>
                      <a:pt x="13" y="10"/>
                      <a:pt x="13" y="10"/>
                      <a:pt x="13" y="10"/>
                    </a:cubicBezTo>
                    <a:cubicBezTo>
                      <a:pt x="12" y="19"/>
                      <a:pt x="12" y="19"/>
                      <a:pt x="12" y="19"/>
                    </a:cubicBezTo>
                    <a:cubicBezTo>
                      <a:pt x="14" y="18"/>
                      <a:pt x="16" y="17"/>
                      <a:pt x="19" y="17"/>
                    </a:cubicBezTo>
                    <a:cubicBezTo>
                      <a:pt x="23" y="17"/>
                      <a:pt x="27" y="19"/>
                      <a:pt x="30" y="22"/>
                    </a:cubicBezTo>
                    <a:cubicBezTo>
                      <a:pt x="34" y="25"/>
                      <a:pt x="35" y="29"/>
                      <a:pt x="36" y="34"/>
                    </a:cubicBezTo>
                    <a:cubicBezTo>
                      <a:pt x="36" y="39"/>
                      <a:pt x="35" y="43"/>
                      <a:pt x="32" y="46"/>
                    </a:cubicBezTo>
                    <a:cubicBezTo>
                      <a:pt x="29" y="51"/>
                      <a:pt x="24" y="54"/>
                      <a:pt x="18" y="54"/>
                    </a:cubicBezTo>
                    <a:cubicBezTo>
                      <a:pt x="13" y="54"/>
                      <a:pt x="9" y="53"/>
                      <a:pt x="6" y="50"/>
                    </a:cubicBezTo>
                    <a:cubicBezTo>
                      <a:pt x="3" y="48"/>
                      <a:pt x="1" y="44"/>
                      <a:pt x="0" y="4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23" name="i$ḻïḑê"/>
              <p:cNvSpPr/>
              <p:nvPr/>
            </p:nvSpPr>
            <p:spPr bwMode="auto">
              <a:xfrm>
                <a:off x="2522434" y="6045790"/>
                <a:ext cx="74613" cy="103188"/>
              </a:xfrm>
              <a:custGeom>
                <a:avLst/>
                <a:gdLst>
                  <a:gd name="T0" fmla="*/ 39 w 40"/>
                  <a:gd name="T1" fmla="*/ 42 h 56"/>
                  <a:gd name="T2" fmla="*/ 40 w 40"/>
                  <a:gd name="T3" fmla="*/ 51 h 56"/>
                  <a:gd name="T4" fmla="*/ 5 w 40"/>
                  <a:gd name="T5" fmla="*/ 56 h 56"/>
                  <a:gd name="T6" fmla="*/ 7 w 40"/>
                  <a:gd name="T7" fmla="*/ 46 h 56"/>
                  <a:gd name="T8" fmla="*/ 16 w 40"/>
                  <a:gd name="T9" fmla="*/ 32 h 56"/>
                  <a:gd name="T10" fmla="*/ 23 w 40"/>
                  <a:gd name="T11" fmla="*/ 22 h 56"/>
                  <a:gd name="T12" fmla="*/ 24 w 40"/>
                  <a:gd name="T13" fmla="*/ 15 h 56"/>
                  <a:gd name="T14" fmla="*/ 22 w 40"/>
                  <a:gd name="T15" fmla="*/ 10 h 56"/>
                  <a:gd name="T16" fmla="*/ 17 w 40"/>
                  <a:gd name="T17" fmla="*/ 9 h 56"/>
                  <a:gd name="T18" fmla="*/ 12 w 40"/>
                  <a:gd name="T19" fmla="*/ 12 h 56"/>
                  <a:gd name="T20" fmla="*/ 11 w 40"/>
                  <a:gd name="T21" fmla="*/ 19 h 56"/>
                  <a:gd name="T22" fmla="*/ 1 w 40"/>
                  <a:gd name="T23" fmla="*/ 19 h 56"/>
                  <a:gd name="T24" fmla="*/ 4 w 40"/>
                  <a:gd name="T25" fmla="*/ 6 h 56"/>
                  <a:gd name="T26" fmla="*/ 16 w 40"/>
                  <a:gd name="T27" fmla="*/ 1 h 56"/>
                  <a:gd name="T28" fmla="*/ 28 w 40"/>
                  <a:gd name="T29" fmla="*/ 3 h 56"/>
                  <a:gd name="T30" fmla="*/ 34 w 40"/>
                  <a:gd name="T31" fmla="*/ 13 h 56"/>
                  <a:gd name="T32" fmla="*/ 34 w 40"/>
                  <a:gd name="T33" fmla="*/ 20 h 56"/>
                  <a:gd name="T34" fmla="*/ 31 w 40"/>
                  <a:gd name="T35" fmla="*/ 27 h 56"/>
                  <a:gd name="T36" fmla="*/ 26 w 40"/>
                  <a:gd name="T37" fmla="*/ 35 h 56"/>
                  <a:gd name="T38" fmla="*/ 20 w 40"/>
                  <a:gd name="T39" fmla="*/ 42 h 56"/>
                  <a:gd name="T40" fmla="*/ 19 w 40"/>
                  <a:gd name="T41" fmla="*/ 45 h 56"/>
                  <a:gd name="T42" fmla="*/ 39 w 40"/>
                  <a:gd name="T43" fmla="*/ 42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40" h="56">
                    <a:moveTo>
                      <a:pt x="39" y="42"/>
                    </a:moveTo>
                    <a:cubicBezTo>
                      <a:pt x="40" y="51"/>
                      <a:pt x="40" y="51"/>
                      <a:pt x="40" y="51"/>
                    </a:cubicBezTo>
                    <a:cubicBezTo>
                      <a:pt x="5" y="56"/>
                      <a:pt x="5" y="56"/>
                      <a:pt x="5" y="56"/>
                    </a:cubicBezTo>
                    <a:cubicBezTo>
                      <a:pt x="5" y="53"/>
                      <a:pt x="5" y="49"/>
                      <a:pt x="7" y="46"/>
                    </a:cubicBezTo>
                    <a:cubicBezTo>
                      <a:pt x="8" y="42"/>
                      <a:pt x="11" y="38"/>
                      <a:pt x="16" y="32"/>
                    </a:cubicBezTo>
                    <a:cubicBezTo>
                      <a:pt x="20" y="27"/>
                      <a:pt x="22" y="23"/>
                      <a:pt x="23" y="22"/>
                    </a:cubicBezTo>
                    <a:cubicBezTo>
                      <a:pt x="24" y="19"/>
                      <a:pt x="25" y="17"/>
                      <a:pt x="24" y="15"/>
                    </a:cubicBezTo>
                    <a:cubicBezTo>
                      <a:pt x="24" y="13"/>
                      <a:pt x="23" y="11"/>
                      <a:pt x="22" y="10"/>
                    </a:cubicBezTo>
                    <a:cubicBezTo>
                      <a:pt x="21" y="9"/>
                      <a:pt x="19" y="9"/>
                      <a:pt x="17" y="9"/>
                    </a:cubicBezTo>
                    <a:cubicBezTo>
                      <a:pt x="15" y="10"/>
                      <a:pt x="13" y="11"/>
                      <a:pt x="12" y="12"/>
                    </a:cubicBezTo>
                    <a:cubicBezTo>
                      <a:pt x="11" y="13"/>
                      <a:pt x="10" y="16"/>
                      <a:pt x="11" y="19"/>
                    </a:cubicBezTo>
                    <a:cubicBezTo>
                      <a:pt x="1" y="19"/>
                      <a:pt x="1" y="19"/>
                      <a:pt x="1" y="19"/>
                    </a:cubicBezTo>
                    <a:cubicBezTo>
                      <a:pt x="0" y="13"/>
                      <a:pt x="2" y="9"/>
                      <a:pt x="4" y="6"/>
                    </a:cubicBezTo>
                    <a:cubicBezTo>
                      <a:pt x="7" y="3"/>
                      <a:pt x="11" y="2"/>
                      <a:pt x="16" y="1"/>
                    </a:cubicBezTo>
                    <a:cubicBezTo>
                      <a:pt x="21" y="0"/>
                      <a:pt x="25" y="1"/>
                      <a:pt x="28" y="3"/>
                    </a:cubicBezTo>
                    <a:cubicBezTo>
                      <a:pt x="32" y="6"/>
                      <a:pt x="34" y="9"/>
                      <a:pt x="34" y="13"/>
                    </a:cubicBezTo>
                    <a:cubicBezTo>
                      <a:pt x="35" y="15"/>
                      <a:pt x="35" y="18"/>
                      <a:pt x="34" y="20"/>
                    </a:cubicBezTo>
                    <a:cubicBezTo>
                      <a:pt x="34" y="22"/>
                      <a:pt x="33" y="25"/>
                      <a:pt x="31" y="27"/>
                    </a:cubicBezTo>
                    <a:cubicBezTo>
                      <a:pt x="30" y="29"/>
                      <a:pt x="28" y="32"/>
                      <a:pt x="26" y="35"/>
                    </a:cubicBezTo>
                    <a:cubicBezTo>
                      <a:pt x="23" y="38"/>
                      <a:pt x="21" y="41"/>
                      <a:pt x="20" y="42"/>
                    </a:cubicBezTo>
                    <a:cubicBezTo>
                      <a:pt x="20" y="43"/>
                      <a:pt x="19" y="44"/>
                      <a:pt x="19" y="45"/>
                    </a:cubicBezTo>
                    <a:lnTo>
                      <a:pt x="39" y="4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24" name="íṧlíḍe"/>
              <p:cNvSpPr/>
              <p:nvPr/>
            </p:nvSpPr>
            <p:spPr bwMode="auto">
              <a:xfrm>
                <a:off x="2611334" y="6072778"/>
                <a:ext cx="22225" cy="23813"/>
              </a:xfrm>
              <a:custGeom>
                <a:avLst/>
                <a:gdLst>
                  <a:gd name="T0" fmla="*/ 3 w 14"/>
                  <a:gd name="T1" fmla="*/ 15 h 15"/>
                  <a:gd name="T2" fmla="*/ 0 w 14"/>
                  <a:gd name="T3" fmla="*/ 3 h 15"/>
                  <a:gd name="T4" fmla="*/ 11 w 14"/>
                  <a:gd name="T5" fmla="*/ 0 h 15"/>
                  <a:gd name="T6" fmla="*/ 14 w 14"/>
                  <a:gd name="T7" fmla="*/ 12 h 15"/>
                  <a:gd name="T8" fmla="*/ 3 w 14"/>
                  <a:gd name="T9" fmla="*/ 15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4" h="15">
                    <a:moveTo>
                      <a:pt x="3" y="15"/>
                    </a:moveTo>
                    <a:lnTo>
                      <a:pt x="0" y="3"/>
                    </a:lnTo>
                    <a:lnTo>
                      <a:pt x="11" y="0"/>
                    </a:lnTo>
                    <a:lnTo>
                      <a:pt x="14" y="12"/>
                    </a:lnTo>
                    <a:lnTo>
                      <a:pt x="3" y="1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25" name="îŝľîḓê"/>
              <p:cNvSpPr/>
              <p:nvPr/>
            </p:nvSpPr>
            <p:spPr bwMode="auto">
              <a:xfrm>
                <a:off x="2108097" y="5261565"/>
                <a:ext cx="141288" cy="257175"/>
              </a:xfrm>
              <a:custGeom>
                <a:avLst/>
                <a:gdLst>
                  <a:gd name="T0" fmla="*/ 12 w 77"/>
                  <a:gd name="T1" fmla="*/ 25 h 139"/>
                  <a:gd name="T2" fmla="*/ 9 w 77"/>
                  <a:gd name="T3" fmla="*/ 21 h 139"/>
                  <a:gd name="T4" fmla="*/ 12 w 77"/>
                  <a:gd name="T5" fmla="*/ 17 h 139"/>
                  <a:gd name="T6" fmla="*/ 39 w 77"/>
                  <a:gd name="T7" fmla="*/ 21 h 139"/>
                  <a:gd name="T8" fmla="*/ 46 w 77"/>
                  <a:gd name="T9" fmla="*/ 36 h 139"/>
                  <a:gd name="T10" fmla="*/ 46 w 77"/>
                  <a:gd name="T11" fmla="*/ 39 h 139"/>
                  <a:gd name="T12" fmla="*/ 61 w 77"/>
                  <a:gd name="T13" fmla="*/ 33 h 139"/>
                  <a:gd name="T14" fmla="*/ 57 w 77"/>
                  <a:gd name="T15" fmla="*/ 16 h 139"/>
                  <a:gd name="T16" fmla="*/ 35 w 77"/>
                  <a:gd name="T17" fmla="*/ 9 h 139"/>
                  <a:gd name="T18" fmla="*/ 27 w 77"/>
                  <a:gd name="T19" fmla="*/ 3 h 139"/>
                  <a:gd name="T20" fmla="*/ 32 w 77"/>
                  <a:gd name="T21" fmla="*/ 0 h 139"/>
                  <a:gd name="T22" fmla="*/ 61 w 77"/>
                  <a:gd name="T23" fmla="*/ 9 h 139"/>
                  <a:gd name="T24" fmla="*/ 72 w 77"/>
                  <a:gd name="T25" fmla="*/ 30 h 139"/>
                  <a:gd name="T26" fmla="*/ 48 w 77"/>
                  <a:gd name="T27" fmla="*/ 45 h 139"/>
                  <a:gd name="T28" fmla="*/ 45 w 77"/>
                  <a:gd name="T29" fmla="*/ 46 h 139"/>
                  <a:gd name="T30" fmla="*/ 45 w 77"/>
                  <a:gd name="T31" fmla="*/ 54 h 139"/>
                  <a:gd name="T32" fmla="*/ 59 w 77"/>
                  <a:gd name="T33" fmla="*/ 61 h 139"/>
                  <a:gd name="T34" fmla="*/ 77 w 77"/>
                  <a:gd name="T35" fmla="*/ 80 h 139"/>
                  <a:gd name="T36" fmla="*/ 75 w 77"/>
                  <a:gd name="T37" fmla="*/ 84 h 139"/>
                  <a:gd name="T38" fmla="*/ 71 w 77"/>
                  <a:gd name="T39" fmla="*/ 83 h 139"/>
                  <a:gd name="T40" fmla="*/ 59 w 77"/>
                  <a:gd name="T41" fmla="*/ 70 h 139"/>
                  <a:gd name="T42" fmla="*/ 45 w 77"/>
                  <a:gd name="T43" fmla="*/ 63 h 139"/>
                  <a:gd name="T44" fmla="*/ 45 w 77"/>
                  <a:gd name="T45" fmla="*/ 77 h 139"/>
                  <a:gd name="T46" fmla="*/ 53 w 77"/>
                  <a:gd name="T47" fmla="*/ 83 h 139"/>
                  <a:gd name="T48" fmla="*/ 66 w 77"/>
                  <a:gd name="T49" fmla="*/ 102 h 139"/>
                  <a:gd name="T50" fmla="*/ 72 w 77"/>
                  <a:gd name="T51" fmla="*/ 121 h 139"/>
                  <a:gd name="T52" fmla="*/ 70 w 77"/>
                  <a:gd name="T53" fmla="*/ 124 h 139"/>
                  <a:gd name="T54" fmla="*/ 67 w 77"/>
                  <a:gd name="T55" fmla="*/ 122 h 139"/>
                  <a:gd name="T56" fmla="*/ 64 w 77"/>
                  <a:gd name="T57" fmla="*/ 115 h 139"/>
                  <a:gd name="T58" fmla="*/ 55 w 77"/>
                  <a:gd name="T59" fmla="*/ 97 h 139"/>
                  <a:gd name="T60" fmla="*/ 45 w 77"/>
                  <a:gd name="T61" fmla="*/ 87 h 139"/>
                  <a:gd name="T62" fmla="*/ 45 w 77"/>
                  <a:gd name="T63" fmla="*/ 102 h 139"/>
                  <a:gd name="T64" fmla="*/ 44 w 77"/>
                  <a:gd name="T65" fmla="*/ 136 h 139"/>
                  <a:gd name="T66" fmla="*/ 41 w 77"/>
                  <a:gd name="T67" fmla="*/ 139 h 139"/>
                  <a:gd name="T68" fmla="*/ 38 w 77"/>
                  <a:gd name="T69" fmla="*/ 137 h 139"/>
                  <a:gd name="T70" fmla="*/ 37 w 77"/>
                  <a:gd name="T71" fmla="*/ 103 h 139"/>
                  <a:gd name="T72" fmla="*/ 37 w 77"/>
                  <a:gd name="T73" fmla="*/ 86 h 139"/>
                  <a:gd name="T74" fmla="*/ 28 w 77"/>
                  <a:gd name="T75" fmla="*/ 92 h 139"/>
                  <a:gd name="T76" fmla="*/ 19 w 77"/>
                  <a:gd name="T77" fmla="*/ 109 h 139"/>
                  <a:gd name="T78" fmla="*/ 12 w 77"/>
                  <a:gd name="T79" fmla="*/ 121 h 139"/>
                  <a:gd name="T80" fmla="*/ 8 w 77"/>
                  <a:gd name="T81" fmla="*/ 122 h 139"/>
                  <a:gd name="T82" fmla="*/ 7 w 77"/>
                  <a:gd name="T83" fmla="*/ 120 h 139"/>
                  <a:gd name="T84" fmla="*/ 8 w 77"/>
                  <a:gd name="T85" fmla="*/ 117 h 139"/>
                  <a:gd name="T86" fmla="*/ 11 w 77"/>
                  <a:gd name="T87" fmla="*/ 106 h 139"/>
                  <a:gd name="T88" fmla="*/ 22 w 77"/>
                  <a:gd name="T89" fmla="*/ 86 h 139"/>
                  <a:gd name="T90" fmla="*/ 37 w 77"/>
                  <a:gd name="T91" fmla="*/ 76 h 139"/>
                  <a:gd name="T92" fmla="*/ 37 w 77"/>
                  <a:gd name="T93" fmla="*/ 68 h 139"/>
                  <a:gd name="T94" fmla="*/ 37 w 77"/>
                  <a:gd name="T95" fmla="*/ 63 h 139"/>
                  <a:gd name="T96" fmla="*/ 24 w 77"/>
                  <a:gd name="T97" fmla="*/ 69 h 139"/>
                  <a:gd name="T98" fmla="*/ 16 w 77"/>
                  <a:gd name="T99" fmla="*/ 77 h 139"/>
                  <a:gd name="T100" fmla="*/ 9 w 77"/>
                  <a:gd name="T101" fmla="*/ 85 h 139"/>
                  <a:gd name="T102" fmla="*/ 6 w 77"/>
                  <a:gd name="T103" fmla="*/ 86 h 139"/>
                  <a:gd name="T104" fmla="*/ 5 w 77"/>
                  <a:gd name="T105" fmla="*/ 82 h 139"/>
                  <a:gd name="T106" fmla="*/ 22 w 77"/>
                  <a:gd name="T107" fmla="*/ 60 h 139"/>
                  <a:gd name="T108" fmla="*/ 37 w 77"/>
                  <a:gd name="T109" fmla="*/ 54 h 139"/>
                  <a:gd name="T110" fmla="*/ 37 w 77"/>
                  <a:gd name="T111" fmla="*/ 47 h 139"/>
                  <a:gd name="T112" fmla="*/ 3 w 77"/>
                  <a:gd name="T113" fmla="*/ 45 h 139"/>
                  <a:gd name="T114" fmla="*/ 0 w 77"/>
                  <a:gd name="T115" fmla="*/ 40 h 139"/>
                  <a:gd name="T116" fmla="*/ 5 w 77"/>
                  <a:gd name="T117" fmla="*/ 38 h 139"/>
                  <a:gd name="T118" fmla="*/ 37 w 77"/>
                  <a:gd name="T119" fmla="*/ 39 h 139"/>
                  <a:gd name="T120" fmla="*/ 37 w 77"/>
                  <a:gd name="T121" fmla="*/ 39 h 139"/>
                  <a:gd name="T122" fmla="*/ 33 w 77"/>
                  <a:gd name="T123" fmla="*/ 28 h 139"/>
                  <a:gd name="T124" fmla="*/ 12 w 77"/>
                  <a:gd name="T125" fmla="*/ 25 h 1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77" h="139">
                    <a:moveTo>
                      <a:pt x="12" y="25"/>
                    </a:moveTo>
                    <a:cubicBezTo>
                      <a:pt x="10" y="25"/>
                      <a:pt x="9" y="24"/>
                      <a:pt x="9" y="21"/>
                    </a:cubicBezTo>
                    <a:cubicBezTo>
                      <a:pt x="9" y="18"/>
                      <a:pt x="10" y="17"/>
                      <a:pt x="12" y="17"/>
                    </a:cubicBezTo>
                    <a:cubicBezTo>
                      <a:pt x="24" y="17"/>
                      <a:pt x="33" y="18"/>
                      <a:pt x="39" y="21"/>
                    </a:cubicBezTo>
                    <a:cubicBezTo>
                      <a:pt x="45" y="24"/>
                      <a:pt x="47" y="28"/>
                      <a:pt x="46" y="36"/>
                    </a:cubicBezTo>
                    <a:cubicBezTo>
                      <a:pt x="46" y="37"/>
                      <a:pt x="46" y="38"/>
                      <a:pt x="46" y="39"/>
                    </a:cubicBezTo>
                    <a:cubicBezTo>
                      <a:pt x="53" y="38"/>
                      <a:pt x="58" y="35"/>
                      <a:pt x="61" y="33"/>
                    </a:cubicBezTo>
                    <a:cubicBezTo>
                      <a:pt x="65" y="27"/>
                      <a:pt x="64" y="22"/>
                      <a:pt x="57" y="16"/>
                    </a:cubicBezTo>
                    <a:cubicBezTo>
                      <a:pt x="52" y="12"/>
                      <a:pt x="44" y="9"/>
                      <a:pt x="35" y="9"/>
                    </a:cubicBezTo>
                    <a:cubicBezTo>
                      <a:pt x="30" y="8"/>
                      <a:pt x="28" y="6"/>
                      <a:pt x="27" y="3"/>
                    </a:cubicBezTo>
                    <a:cubicBezTo>
                      <a:pt x="27" y="1"/>
                      <a:pt x="29" y="0"/>
                      <a:pt x="32" y="0"/>
                    </a:cubicBezTo>
                    <a:cubicBezTo>
                      <a:pt x="44" y="0"/>
                      <a:pt x="53" y="3"/>
                      <a:pt x="61" y="9"/>
                    </a:cubicBezTo>
                    <a:cubicBezTo>
                      <a:pt x="69" y="16"/>
                      <a:pt x="73" y="23"/>
                      <a:pt x="72" y="30"/>
                    </a:cubicBezTo>
                    <a:cubicBezTo>
                      <a:pt x="68" y="37"/>
                      <a:pt x="60" y="43"/>
                      <a:pt x="48" y="45"/>
                    </a:cubicBezTo>
                    <a:cubicBezTo>
                      <a:pt x="47" y="46"/>
                      <a:pt x="46" y="46"/>
                      <a:pt x="45" y="46"/>
                    </a:cubicBezTo>
                    <a:cubicBezTo>
                      <a:pt x="45" y="48"/>
                      <a:pt x="45" y="51"/>
                      <a:pt x="45" y="54"/>
                    </a:cubicBezTo>
                    <a:cubicBezTo>
                      <a:pt x="49" y="54"/>
                      <a:pt x="54" y="57"/>
                      <a:pt x="59" y="61"/>
                    </a:cubicBezTo>
                    <a:cubicBezTo>
                      <a:pt x="66" y="66"/>
                      <a:pt x="72" y="72"/>
                      <a:pt x="77" y="80"/>
                    </a:cubicBezTo>
                    <a:cubicBezTo>
                      <a:pt x="77" y="82"/>
                      <a:pt x="77" y="83"/>
                      <a:pt x="75" y="84"/>
                    </a:cubicBezTo>
                    <a:cubicBezTo>
                      <a:pt x="74" y="85"/>
                      <a:pt x="72" y="85"/>
                      <a:pt x="71" y="83"/>
                    </a:cubicBezTo>
                    <a:cubicBezTo>
                      <a:pt x="69" y="80"/>
                      <a:pt x="65" y="76"/>
                      <a:pt x="59" y="70"/>
                    </a:cubicBezTo>
                    <a:cubicBezTo>
                      <a:pt x="54" y="66"/>
                      <a:pt x="49" y="64"/>
                      <a:pt x="45" y="63"/>
                    </a:cubicBezTo>
                    <a:cubicBezTo>
                      <a:pt x="45" y="77"/>
                      <a:pt x="45" y="77"/>
                      <a:pt x="45" y="77"/>
                    </a:cubicBezTo>
                    <a:cubicBezTo>
                      <a:pt x="48" y="78"/>
                      <a:pt x="51" y="80"/>
                      <a:pt x="53" y="83"/>
                    </a:cubicBezTo>
                    <a:cubicBezTo>
                      <a:pt x="59" y="88"/>
                      <a:pt x="63" y="94"/>
                      <a:pt x="66" y="102"/>
                    </a:cubicBezTo>
                    <a:cubicBezTo>
                      <a:pt x="71" y="109"/>
                      <a:pt x="73" y="116"/>
                      <a:pt x="72" y="121"/>
                    </a:cubicBezTo>
                    <a:cubicBezTo>
                      <a:pt x="72" y="122"/>
                      <a:pt x="72" y="123"/>
                      <a:pt x="70" y="124"/>
                    </a:cubicBezTo>
                    <a:cubicBezTo>
                      <a:pt x="69" y="124"/>
                      <a:pt x="68" y="124"/>
                      <a:pt x="67" y="122"/>
                    </a:cubicBezTo>
                    <a:cubicBezTo>
                      <a:pt x="67" y="121"/>
                      <a:pt x="66" y="118"/>
                      <a:pt x="64" y="115"/>
                    </a:cubicBezTo>
                    <a:cubicBezTo>
                      <a:pt x="60" y="107"/>
                      <a:pt x="57" y="102"/>
                      <a:pt x="55" y="97"/>
                    </a:cubicBezTo>
                    <a:cubicBezTo>
                      <a:pt x="51" y="91"/>
                      <a:pt x="48" y="88"/>
                      <a:pt x="45" y="87"/>
                    </a:cubicBezTo>
                    <a:cubicBezTo>
                      <a:pt x="45" y="102"/>
                      <a:pt x="45" y="102"/>
                      <a:pt x="45" y="102"/>
                    </a:cubicBezTo>
                    <a:cubicBezTo>
                      <a:pt x="45" y="117"/>
                      <a:pt x="45" y="128"/>
                      <a:pt x="44" y="136"/>
                    </a:cubicBezTo>
                    <a:cubicBezTo>
                      <a:pt x="43" y="137"/>
                      <a:pt x="42" y="138"/>
                      <a:pt x="41" y="139"/>
                    </a:cubicBezTo>
                    <a:cubicBezTo>
                      <a:pt x="40" y="139"/>
                      <a:pt x="39" y="139"/>
                      <a:pt x="38" y="137"/>
                    </a:cubicBezTo>
                    <a:cubicBezTo>
                      <a:pt x="37" y="135"/>
                      <a:pt x="37" y="123"/>
                      <a:pt x="37" y="103"/>
                    </a:cubicBezTo>
                    <a:cubicBezTo>
                      <a:pt x="37" y="97"/>
                      <a:pt x="37" y="92"/>
                      <a:pt x="37" y="86"/>
                    </a:cubicBezTo>
                    <a:cubicBezTo>
                      <a:pt x="34" y="87"/>
                      <a:pt x="31" y="89"/>
                      <a:pt x="28" y="92"/>
                    </a:cubicBezTo>
                    <a:cubicBezTo>
                      <a:pt x="24" y="98"/>
                      <a:pt x="21" y="103"/>
                      <a:pt x="19" y="109"/>
                    </a:cubicBezTo>
                    <a:cubicBezTo>
                      <a:pt x="17" y="113"/>
                      <a:pt x="15" y="117"/>
                      <a:pt x="12" y="121"/>
                    </a:cubicBezTo>
                    <a:cubicBezTo>
                      <a:pt x="11" y="122"/>
                      <a:pt x="9" y="122"/>
                      <a:pt x="8" y="122"/>
                    </a:cubicBezTo>
                    <a:cubicBezTo>
                      <a:pt x="7" y="122"/>
                      <a:pt x="7" y="121"/>
                      <a:pt x="7" y="120"/>
                    </a:cubicBezTo>
                    <a:cubicBezTo>
                      <a:pt x="7" y="119"/>
                      <a:pt x="7" y="118"/>
                      <a:pt x="8" y="117"/>
                    </a:cubicBezTo>
                    <a:cubicBezTo>
                      <a:pt x="9" y="112"/>
                      <a:pt x="10" y="108"/>
                      <a:pt x="11" y="106"/>
                    </a:cubicBezTo>
                    <a:cubicBezTo>
                      <a:pt x="13" y="101"/>
                      <a:pt x="17" y="94"/>
                      <a:pt x="22" y="86"/>
                    </a:cubicBezTo>
                    <a:cubicBezTo>
                      <a:pt x="27" y="80"/>
                      <a:pt x="32" y="77"/>
                      <a:pt x="37" y="76"/>
                    </a:cubicBezTo>
                    <a:cubicBezTo>
                      <a:pt x="37" y="68"/>
                      <a:pt x="37" y="68"/>
                      <a:pt x="37" y="68"/>
                    </a:cubicBezTo>
                    <a:cubicBezTo>
                      <a:pt x="37" y="63"/>
                      <a:pt x="37" y="63"/>
                      <a:pt x="37" y="63"/>
                    </a:cubicBezTo>
                    <a:cubicBezTo>
                      <a:pt x="33" y="64"/>
                      <a:pt x="29" y="66"/>
                      <a:pt x="24" y="69"/>
                    </a:cubicBezTo>
                    <a:cubicBezTo>
                      <a:pt x="23" y="70"/>
                      <a:pt x="20" y="72"/>
                      <a:pt x="16" y="77"/>
                    </a:cubicBezTo>
                    <a:cubicBezTo>
                      <a:pt x="13" y="81"/>
                      <a:pt x="11" y="83"/>
                      <a:pt x="9" y="85"/>
                    </a:cubicBezTo>
                    <a:cubicBezTo>
                      <a:pt x="8" y="86"/>
                      <a:pt x="7" y="87"/>
                      <a:pt x="6" y="86"/>
                    </a:cubicBezTo>
                    <a:cubicBezTo>
                      <a:pt x="5" y="86"/>
                      <a:pt x="5" y="84"/>
                      <a:pt x="5" y="82"/>
                    </a:cubicBezTo>
                    <a:cubicBezTo>
                      <a:pt x="10" y="73"/>
                      <a:pt x="15" y="65"/>
                      <a:pt x="22" y="60"/>
                    </a:cubicBezTo>
                    <a:cubicBezTo>
                      <a:pt x="27" y="56"/>
                      <a:pt x="32" y="54"/>
                      <a:pt x="37" y="54"/>
                    </a:cubicBezTo>
                    <a:cubicBezTo>
                      <a:pt x="37" y="47"/>
                      <a:pt x="37" y="47"/>
                      <a:pt x="37" y="47"/>
                    </a:cubicBezTo>
                    <a:cubicBezTo>
                      <a:pt x="22" y="49"/>
                      <a:pt x="10" y="48"/>
                      <a:pt x="3" y="45"/>
                    </a:cubicBezTo>
                    <a:cubicBezTo>
                      <a:pt x="1" y="44"/>
                      <a:pt x="0" y="42"/>
                      <a:pt x="0" y="40"/>
                    </a:cubicBezTo>
                    <a:cubicBezTo>
                      <a:pt x="1" y="38"/>
                      <a:pt x="3" y="38"/>
                      <a:pt x="5" y="38"/>
                    </a:cubicBezTo>
                    <a:cubicBezTo>
                      <a:pt x="12" y="40"/>
                      <a:pt x="22" y="40"/>
                      <a:pt x="37" y="39"/>
                    </a:cubicBezTo>
                    <a:cubicBezTo>
                      <a:pt x="37" y="39"/>
                      <a:pt x="37" y="39"/>
                      <a:pt x="37" y="39"/>
                    </a:cubicBezTo>
                    <a:cubicBezTo>
                      <a:pt x="38" y="32"/>
                      <a:pt x="36" y="29"/>
                      <a:pt x="33" y="28"/>
                    </a:cubicBezTo>
                    <a:cubicBezTo>
                      <a:pt x="26" y="25"/>
                      <a:pt x="19" y="24"/>
                      <a:pt x="12" y="2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26" name="íṣlíḑe"/>
              <p:cNvSpPr/>
              <p:nvPr/>
            </p:nvSpPr>
            <p:spPr bwMode="auto">
              <a:xfrm>
                <a:off x="2273197" y="5255215"/>
                <a:ext cx="163513" cy="263525"/>
              </a:xfrm>
              <a:custGeom>
                <a:avLst/>
                <a:gdLst>
                  <a:gd name="T0" fmla="*/ 47 w 88"/>
                  <a:gd name="T1" fmla="*/ 8 h 143"/>
                  <a:gd name="T2" fmla="*/ 74 w 88"/>
                  <a:gd name="T3" fmla="*/ 14 h 143"/>
                  <a:gd name="T4" fmla="*/ 82 w 88"/>
                  <a:gd name="T5" fmla="*/ 26 h 143"/>
                  <a:gd name="T6" fmla="*/ 79 w 88"/>
                  <a:gd name="T7" fmla="*/ 75 h 143"/>
                  <a:gd name="T8" fmla="*/ 86 w 88"/>
                  <a:gd name="T9" fmla="*/ 136 h 143"/>
                  <a:gd name="T10" fmla="*/ 73 w 88"/>
                  <a:gd name="T11" fmla="*/ 45 h 143"/>
                  <a:gd name="T12" fmla="*/ 67 w 88"/>
                  <a:gd name="T13" fmla="*/ 44 h 143"/>
                  <a:gd name="T14" fmla="*/ 54 w 88"/>
                  <a:gd name="T15" fmla="*/ 58 h 143"/>
                  <a:gd name="T16" fmla="*/ 22 w 88"/>
                  <a:gd name="T17" fmla="*/ 54 h 143"/>
                  <a:gd name="T18" fmla="*/ 15 w 88"/>
                  <a:gd name="T19" fmla="*/ 45 h 143"/>
                  <a:gd name="T20" fmla="*/ 11 w 88"/>
                  <a:gd name="T21" fmla="*/ 91 h 143"/>
                  <a:gd name="T22" fmla="*/ 9 w 88"/>
                  <a:gd name="T23" fmla="*/ 118 h 143"/>
                  <a:gd name="T24" fmla="*/ 2 w 88"/>
                  <a:gd name="T25" fmla="*/ 139 h 143"/>
                  <a:gd name="T26" fmla="*/ 6 w 88"/>
                  <a:gd name="T27" fmla="*/ 80 h 143"/>
                  <a:gd name="T28" fmla="*/ 2 w 88"/>
                  <a:gd name="T29" fmla="*/ 26 h 143"/>
                  <a:gd name="T30" fmla="*/ 32 w 88"/>
                  <a:gd name="T31" fmla="*/ 10 h 143"/>
                  <a:gd name="T32" fmla="*/ 39 w 88"/>
                  <a:gd name="T33" fmla="*/ 0 h 143"/>
                  <a:gd name="T34" fmla="*/ 24 w 88"/>
                  <a:gd name="T35" fmla="*/ 23 h 143"/>
                  <a:gd name="T36" fmla="*/ 66 w 88"/>
                  <a:gd name="T37" fmla="*/ 29 h 143"/>
                  <a:gd name="T38" fmla="*/ 67 w 88"/>
                  <a:gd name="T39" fmla="*/ 37 h 143"/>
                  <a:gd name="T40" fmla="*/ 73 w 88"/>
                  <a:gd name="T41" fmla="*/ 34 h 143"/>
                  <a:gd name="T42" fmla="*/ 66 w 88"/>
                  <a:gd name="T43" fmla="*/ 20 h 143"/>
                  <a:gd name="T44" fmla="*/ 13 w 88"/>
                  <a:gd name="T45" fmla="*/ 21 h 143"/>
                  <a:gd name="T46" fmla="*/ 12 w 88"/>
                  <a:gd name="T47" fmla="*/ 32 h 143"/>
                  <a:gd name="T48" fmla="*/ 17 w 88"/>
                  <a:gd name="T49" fmla="*/ 38 h 143"/>
                  <a:gd name="T50" fmla="*/ 24 w 88"/>
                  <a:gd name="T51" fmla="*/ 23 h 143"/>
                  <a:gd name="T52" fmla="*/ 61 w 88"/>
                  <a:gd name="T53" fmla="*/ 64 h 143"/>
                  <a:gd name="T54" fmla="*/ 66 w 88"/>
                  <a:gd name="T55" fmla="*/ 96 h 143"/>
                  <a:gd name="T56" fmla="*/ 61 w 88"/>
                  <a:gd name="T57" fmla="*/ 136 h 143"/>
                  <a:gd name="T58" fmla="*/ 59 w 88"/>
                  <a:gd name="T59" fmla="*/ 143 h 143"/>
                  <a:gd name="T60" fmla="*/ 46 w 88"/>
                  <a:gd name="T61" fmla="*/ 105 h 143"/>
                  <a:gd name="T62" fmla="*/ 30 w 88"/>
                  <a:gd name="T63" fmla="*/ 140 h 143"/>
                  <a:gd name="T64" fmla="*/ 26 w 88"/>
                  <a:gd name="T65" fmla="*/ 137 h 143"/>
                  <a:gd name="T66" fmla="*/ 32 w 88"/>
                  <a:gd name="T67" fmla="*/ 121 h 143"/>
                  <a:gd name="T68" fmla="*/ 35 w 88"/>
                  <a:gd name="T69" fmla="*/ 105 h 143"/>
                  <a:gd name="T70" fmla="*/ 18 w 88"/>
                  <a:gd name="T71" fmla="*/ 75 h 143"/>
                  <a:gd name="T72" fmla="*/ 24 w 88"/>
                  <a:gd name="T73" fmla="*/ 35 h 143"/>
                  <a:gd name="T74" fmla="*/ 39 w 88"/>
                  <a:gd name="T75" fmla="*/ 37 h 143"/>
                  <a:gd name="T76" fmla="*/ 34 w 88"/>
                  <a:gd name="T77" fmla="*/ 29 h 143"/>
                  <a:gd name="T78" fmla="*/ 24 w 88"/>
                  <a:gd name="T79" fmla="*/ 35 h 143"/>
                  <a:gd name="T80" fmla="*/ 62 w 88"/>
                  <a:gd name="T81" fmla="*/ 84 h 143"/>
                  <a:gd name="T82" fmla="*/ 43 w 88"/>
                  <a:gd name="T83" fmla="*/ 81 h 143"/>
                  <a:gd name="T84" fmla="*/ 25 w 88"/>
                  <a:gd name="T85" fmla="*/ 87 h 143"/>
                  <a:gd name="T86" fmla="*/ 26 w 88"/>
                  <a:gd name="T87" fmla="*/ 48 h 143"/>
                  <a:gd name="T88" fmla="*/ 38 w 88"/>
                  <a:gd name="T89" fmla="*/ 52 h 143"/>
                  <a:gd name="T90" fmla="*/ 25 w 88"/>
                  <a:gd name="T91" fmla="*/ 44 h 143"/>
                  <a:gd name="T92" fmla="*/ 32 w 88"/>
                  <a:gd name="T93" fmla="*/ 69 h 143"/>
                  <a:gd name="T94" fmla="*/ 41 w 88"/>
                  <a:gd name="T95" fmla="*/ 75 h 143"/>
                  <a:gd name="T96" fmla="*/ 57 w 88"/>
                  <a:gd name="T97" fmla="*/ 70 h 143"/>
                  <a:gd name="T98" fmla="*/ 56 w 88"/>
                  <a:gd name="T99" fmla="*/ 98 h 143"/>
                  <a:gd name="T100" fmla="*/ 54 w 88"/>
                  <a:gd name="T101" fmla="*/ 93 h 143"/>
                  <a:gd name="T102" fmla="*/ 36 w 88"/>
                  <a:gd name="T103" fmla="*/ 93 h 143"/>
                  <a:gd name="T104" fmla="*/ 32 w 88"/>
                  <a:gd name="T105" fmla="*/ 98 h 143"/>
                  <a:gd name="T106" fmla="*/ 56 w 88"/>
                  <a:gd name="T107" fmla="*/ 29 h 143"/>
                  <a:gd name="T108" fmla="*/ 46 w 88"/>
                  <a:gd name="T109" fmla="*/ 29 h 143"/>
                  <a:gd name="T110" fmla="*/ 60 w 88"/>
                  <a:gd name="T111" fmla="*/ 37 h 143"/>
                  <a:gd name="T112" fmla="*/ 56 w 88"/>
                  <a:gd name="T113" fmla="*/ 29 h 143"/>
                  <a:gd name="T114" fmla="*/ 60 w 88"/>
                  <a:gd name="T115" fmla="*/ 43 h 143"/>
                  <a:gd name="T116" fmla="*/ 46 w 88"/>
                  <a:gd name="T117" fmla="*/ 52 h 143"/>
                  <a:gd name="T118" fmla="*/ 59 w 88"/>
                  <a:gd name="T119" fmla="*/ 48 h 1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88" h="143">
                    <a:moveTo>
                      <a:pt x="43" y="2"/>
                    </a:moveTo>
                    <a:cubicBezTo>
                      <a:pt x="45" y="3"/>
                      <a:pt x="47" y="6"/>
                      <a:pt x="47" y="8"/>
                    </a:cubicBezTo>
                    <a:cubicBezTo>
                      <a:pt x="47" y="9"/>
                      <a:pt x="48" y="10"/>
                      <a:pt x="49" y="10"/>
                    </a:cubicBezTo>
                    <a:cubicBezTo>
                      <a:pt x="57" y="10"/>
                      <a:pt x="66" y="12"/>
                      <a:pt x="74" y="14"/>
                    </a:cubicBezTo>
                    <a:cubicBezTo>
                      <a:pt x="78" y="16"/>
                      <a:pt x="81" y="18"/>
                      <a:pt x="81" y="19"/>
                    </a:cubicBezTo>
                    <a:cubicBezTo>
                      <a:pt x="82" y="21"/>
                      <a:pt x="82" y="24"/>
                      <a:pt x="82" y="26"/>
                    </a:cubicBezTo>
                    <a:cubicBezTo>
                      <a:pt x="82" y="27"/>
                      <a:pt x="82" y="27"/>
                      <a:pt x="82" y="28"/>
                    </a:cubicBezTo>
                    <a:cubicBezTo>
                      <a:pt x="79" y="39"/>
                      <a:pt x="78" y="55"/>
                      <a:pt x="79" y="75"/>
                    </a:cubicBezTo>
                    <a:cubicBezTo>
                      <a:pt x="80" y="87"/>
                      <a:pt x="83" y="106"/>
                      <a:pt x="87" y="131"/>
                    </a:cubicBezTo>
                    <a:cubicBezTo>
                      <a:pt x="88" y="134"/>
                      <a:pt x="87" y="135"/>
                      <a:pt x="86" y="136"/>
                    </a:cubicBezTo>
                    <a:cubicBezTo>
                      <a:pt x="84" y="137"/>
                      <a:pt x="82" y="136"/>
                      <a:pt x="82" y="133"/>
                    </a:cubicBezTo>
                    <a:cubicBezTo>
                      <a:pt x="74" y="106"/>
                      <a:pt x="71" y="76"/>
                      <a:pt x="73" y="45"/>
                    </a:cubicBezTo>
                    <a:cubicBezTo>
                      <a:pt x="72" y="45"/>
                      <a:pt x="71" y="44"/>
                      <a:pt x="70" y="44"/>
                    </a:cubicBezTo>
                    <a:cubicBezTo>
                      <a:pt x="69" y="44"/>
                      <a:pt x="68" y="44"/>
                      <a:pt x="67" y="44"/>
                    </a:cubicBezTo>
                    <a:cubicBezTo>
                      <a:pt x="67" y="48"/>
                      <a:pt x="66" y="51"/>
                      <a:pt x="64" y="54"/>
                    </a:cubicBezTo>
                    <a:cubicBezTo>
                      <a:pt x="62" y="57"/>
                      <a:pt x="59" y="59"/>
                      <a:pt x="54" y="58"/>
                    </a:cubicBezTo>
                    <a:cubicBezTo>
                      <a:pt x="47" y="58"/>
                      <a:pt x="39" y="58"/>
                      <a:pt x="32" y="58"/>
                    </a:cubicBezTo>
                    <a:cubicBezTo>
                      <a:pt x="28" y="59"/>
                      <a:pt x="25" y="58"/>
                      <a:pt x="22" y="54"/>
                    </a:cubicBezTo>
                    <a:cubicBezTo>
                      <a:pt x="20" y="51"/>
                      <a:pt x="19" y="48"/>
                      <a:pt x="18" y="45"/>
                    </a:cubicBezTo>
                    <a:cubicBezTo>
                      <a:pt x="17" y="45"/>
                      <a:pt x="16" y="45"/>
                      <a:pt x="15" y="45"/>
                    </a:cubicBezTo>
                    <a:cubicBezTo>
                      <a:pt x="14" y="45"/>
                      <a:pt x="13" y="45"/>
                      <a:pt x="13" y="45"/>
                    </a:cubicBezTo>
                    <a:cubicBezTo>
                      <a:pt x="13" y="60"/>
                      <a:pt x="13" y="75"/>
                      <a:pt x="11" y="91"/>
                    </a:cubicBezTo>
                    <a:cubicBezTo>
                      <a:pt x="11" y="95"/>
                      <a:pt x="11" y="102"/>
                      <a:pt x="10" y="111"/>
                    </a:cubicBezTo>
                    <a:cubicBezTo>
                      <a:pt x="10" y="108"/>
                      <a:pt x="10" y="111"/>
                      <a:pt x="9" y="118"/>
                    </a:cubicBezTo>
                    <a:cubicBezTo>
                      <a:pt x="9" y="124"/>
                      <a:pt x="8" y="130"/>
                      <a:pt x="6" y="134"/>
                    </a:cubicBezTo>
                    <a:cubicBezTo>
                      <a:pt x="5" y="138"/>
                      <a:pt x="3" y="139"/>
                      <a:pt x="2" y="139"/>
                    </a:cubicBezTo>
                    <a:cubicBezTo>
                      <a:pt x="0" y="139"/>
                      <a:pt x="0" y="137"/>
                      <a:pt x="0" y="133"/>
                    </a:cubicBezTo>
                    <a:cubicBezTo>
                      <a:pt x="3" y="112"/>
                      <a:pt x="5" y="94"/>
                      <a:pt x="6" y="80"/>
                    </a:cubicBezTo>
                    <a:cubicBezTo>
                      <a:pt x="8" y="64"/>
                      <a:pt x="7" y="51"/>
                      <a:pt x="6" y="38"/>
                    </a:cubicBezTo>
                    <a:cubicBezTo>
                      <a:pt x="5" y="34"/>
                      <a:pt x="4" y="30"/>
                      <a:pt x="2" y="26"/>
                    </a:cubicBezTo>
                    <a:cubicBezTo>
                      <a:pt x="0" y="21"/>
                      <a:pt x="1" y="17"/>
                      <a:pt x="6" y="16"/>
                    </a:cubicBezTo>
                    <a:cubicBezTo>
                      <a:pt x="14" y="12"/>
                      <a:pt x="23" y="11"/>
                      <a:pt x="32" y="10"/>
                    </a:cubicBezTo>
                    <a:cubicBezTo>
                      <a:pt x="36" y="9"/>
                      <a:pt x="38" y="7"/>
                      <a:pt x="38" y="4"/>
                    </a:cubicBezTo>
                    <a:cubicBezTo>
                      <a:pt x="38" y="2"/>
                      <a:pt x="38" y="1"/>
                      <a:pt x="39" y="0"/>
                    </a:cubicBezTo>
                    <a:cubicBezTo>
                      <a:pt x="41" y="0"/>
                      <a:pt x="42" y="0"/>
                      <a:pt x="43" y="2"/>
                    </a:cubicBezTo>
                    <a:close/>
                    <a:moveTo>
                      <a:pt x="24" y="23"/>
                    </a:moveTo>
                    <a:cubicBezTo>
                      <a:pt x="33" y="22"/>
                      <a:pt x="44" y="22"/>
                      <a:pt x="58" y="23"/>
                    </a:cubicBezTo>
                    <a:cubicBezTo>
                      <a:pt x="63" y="24"/>
                      <a:pt x="66" y="26"/>
                      <a:pt x="66" y="29"/>
                    </a:cubicBezTo>
                    <a:cubicBezTo>
                      <a:pt x="66" y="30"/>
                      <a:pt x="66" y="30"/>
                      <a:pt x="67" y="31"/>
                    </a:cubicBezTo>
                    <a:cubicBezTo>
                      <a:pt x="67" y="33"/>
                      <a:pt x="67" y="35"/>
                      <a:pt x="67" y="37"/>
                    </a:cubicBezTo>
                    <a:cubicBezTo>
                      <a:pt x="69" y="38"/>
                      <a:pt x="71" y="38"/>
                      <a:pt x="73" y="38"/>
                    </a:cubicBezTo>
                    <a:cubicBezTo>
                      <a:pt x="73" y="37"/>
                      <a:pt x="73" y="36"/>
                      <a:pt x="73" y="34"/>
                    </a:cubicBezTo>
                    <a:cubicBezTo>
                      <a:pt x="73" y="32"/>
                      <a:pt x="73" y="30"/>
                      <a:pt x="74" y="29"/>
                    </a:cubicBezTo>
                    <a:cubicBezTo>
                      <a:pt x="75" y="25"/>
                      <a:pt x="72" y="21"/>
                      <a:pt x="66" y="20"/>
                    </a:cubicBezTo>
                    <a:cubicBezTo>
                      <a:pt x="58" y="17"/>
                      <a:pt x="50" y="16"/>
                      <a:pt x="40" y="16"/>
                    </a:cubicBezTo>
                    <a:cubicBezTo>
                      <a:pt x="29" y="16"/>
                      <a:pt x="20" y="18"/>
                      <a:pt x="13" y="21"/>
                    </a:cubicBezTo>
                    <a:cubicBezTo>
                      <a:pt x="11" y="22"/>
                      <a:pt x="11" y="24"/>
                      <a:pt x="11" y="26"/>
                    </a:cubicBezTo>
                    <a:cubicBezTo>
                      <a:pt x="11" y="28"/>
                      <a:pt x="12" y="30"/>
                      <a:pt x="12" y="32"/>
                    </a:cubicBezTo>
                    <a:cubicBezTo>
                      <a:pt x="12" y="35"/>
                      <a:pt x="12" y="37"/>
                      <a:pt x="12" y="38"/>
                    </a:cubicBezTo>
                    <a:cubicBezTo>
                      <a:pt x="14" y="38"/>
                      <a:pt x="15" y="38"/>
                      <a:pt x="17" y="38"/>
                    </a:cubicBezTo>
                    <a:cubicBezTo>
                      <a:pt x="17" y="35"/>
                      <a:pt x="17" y="32"/>
                      <a:pt x="17" y="30"/>
                    </a:cubicBezTo>
                    <a:cubicBezTo>
                      <a:pt x="18" y="26"/>
                      <a:pt x="20" y="24"/>
                      <a:pt x="24" y="23"/>
                    </a:cubicBezTo>
                    <a:close/>
                    <a:moveTo>
                      <a:pt x="28" y="64"/>
                    </a:moveTo>
                    <a:cubicBezTo>
                      <a:pt x="39" y="62"/>
                      <a:pt x="50" y="62"/>
                      <a:pt x="61" y="64"/>
                    </a:cubicBezTo>
                    <a:cubicBezTo>
                      <a:pt x="65" y="65"/>
                      <a:pt x="67" y="67"/>
                      <a:pt x="67" y="71"/>
                    </a:cubicBezTo>
                    <a:cubicBezTo>
                      <a:pt x="69" y="79"/>
                      <a:pt x="68" y="88"/>
                      <a:pt x="66" y="96"/>
                    </a:cubicBezTo>
                    <a:cubicBezTo>
                      <a:pt x="65" y="102"/>
                      <a:pt x="61" y="105"/>
                      <a:pt x="54" y="105"/>
                    </a:cubicBezTo>
                    <a:cubicBezTo>
                      <a:pt x="55" y="115"/>
                      <a:pt x="57" y="125"/>
                      <a:pt x="61" y="136"/>
                    </a:cubicBezTo>
                    <a:cubicBezTo>
                      <a:pt x="63" y="138"/>
                      <a:pt x="63" y="140"/>
                      <a:pt x="61" y="142"/>
                    </a:cubicBezTo>
                    <a:cubicBezTo>
                      <a:pt x="60" y="142"/>
                      <a:pt x="59" y="143"/>
                      <a:pt x="59" y="143"/>
                    </a:cubicBezTo>
                    <a:cubicBezTo>
                      <a:pt x="58" y="143"/>
                      <a:pt x="57" y="142"/>
                      <a:pt x="57" y="141"/>
                    </a:cubicBezTo>
                    <a:cubicBezTo>
                      <a:pt x="52" y="131"/>
                      <a:pt x="48" y="120"/>
                      <a:pt x="46" y="105"/>
                    </a:cubicBezTo>
                    <a:cubicBezTo>
                      <a:pt x="41" y="105"/>
                      <a:pt x="41" y="105"/>
                      <a:pt x="41" y="105"/>
                    </a:cubicBezTo>
                    <a:cubicBezTo>
                      <a:pt x="40" y="120"/>
                      <a:pt x="37" y="131"/>
                      <a:pt x="30" y="140"/>
                    </a:cubicBezTo>
                    <a:cubicBezTo>
                      <a:pt x="29" y="141"/>
                      <a:pt x="27" y="142"/>
                      <a:pt x="26" y="142"/>
                    </a:cubicBezTo>
                    <a:cubicBezTo>
                      <a:pt x="25" y="141"/>
                      <a:pt x="25" y="139"/>
                      <a:pt x="26" y="137"/>
                    </a:cubicBezTo>
                    <a:cubicBezTo>
                      <a:pt x="26" y="137"/>
                      <a:pt x="26" y="135"/>
                      <a:pt x="28" y="132"/>
                    </a:cubicBezTo>
                    <a:cubicBezTo>
                      <a:pt x="30" y="127"/>
                      <a:pt x="32" y="123"/>
                      <a:pt x="32" y="121"/>
                    </a:cubicBezTo>
                    <a:cubicBezTo>
                      <a:pt x="33" y="118"/>
                      <a:pt x="34" y="113"/>
                      <a:pt x="35" y="107"/>
                    </a:cubicBezTo>
                    <a:cubicBezTo>
                      <a:pt x="35" y="106"/>
                      <a:pt x="35" y="106"/>
                      <a:pt x="35" y="105"/>
                    </a:cubicBezTo>
                    <a:cubicBezTo>
                      <a:pt x="29" y="105"/>
                      <a:pt x="25" y="103"/>
                      <a:pt x="22" y="98"/>
                    </a:cubicBezTo>
                    <a:cubicBezTo>
                      <a:pt x="19" y="93"/>
                      <a:pt x="17" y="85"/>
                      <a:pt x="18" y="75"/>
                    </a:cubicBezTo>
                    <a:cubicBezTo>
                      <a:pt x="19" y="68"/>
                      <a:pt x="22" y="65"/>
                      <a:pt x="28" y="64"/>
                    </a:cubicBezTo>
                    <a:close/>
                    <a:moveTo>
                      <a:pt x="24" y="35"/>
                    </a:moveTo>
                    <a:cubicBezTo>
                      <a:pt x="24" y="36"/>
                      <a:pt x="24" y="36"/>
                      <a:pt x="24" y="37"/>
                    </a:cubicBezTo>
                    <a:cubicBezTo>
                      <a:pt x="29" y="37"/>
                      <a:pt x="34" y="37"/>
                      <a:pt x="39" y="37"/>
                    </a:cubicBezTo>
                    <a:cubicBezTo>
                      <a:pt x="39" y="34"/>
                      <a:pt x="38" y="31"/>
                      <a:pt x="38" y="29"/>
                    </a:cubicBezTo>
                    <a:cubicBezTo>
                      <a:pt x="37" y="29"/>
                      <a:pt x="36" y="29"/>
                      <a:pt x="34" y="29"/>
                    </a:cubicBezTo>
                    <a:cubicBezTo>
                      <a:pt x="31" y="29"/>
                      <a:pt x="30" y="29"/>
                      <a:pt x="28" y="29"/>
                    </a:cubicBezTo>
                    <a:cubicBezTo>
                      <a:pt x="25" y="31"/>
                      <a:pt x="24" y="32"/>
                      <a:pt x="24" y="35"/>
                    </a:cubicBezTo>
                    <a:close/>
                    <a:moveTo>
                      <a:pt x="61" y="87"/>
                    </a:moveTo>
                    <a:cubicBezTo>
                      <a:pt x="61" y="86"/>
                      <a:pt x="62" y="85"/>
                      <a:pt x="62" y="84"/>
                    </a:cubicBezTo>
                    <a:cubicBezTo>
                      <a:pt x="62" y="83"/>
                      <a:pt x="62" y="82"/>
                      <a:pt x="62" y="82"/>
                    </a:cubicBezTo>
                    <a:cubicBezTo>
                      <a:pt x="56" y="81"/>
                      <a:pt x="50" y="80"/>
                      <a:pt x="43" y="81"/>
                    </a:cubicBezTo>
                    <a:cubicBezTo>
                      <a:pt x="37" y="81"/>
                      <a:pt x="31" y="82"/>
                      <a:pt x="24" y="83"/>
                    </a:cubicBezTo>
                    <a:cubicBezTo>
                      <a:pt x="25" y="87"/>
                      <a:pt x="25" y="87"/>
                      <a:pt x="25" y="87"/>
                    </a:cubicBezTo>
                    <a:cubicBezTo>
                      <a:pt x="35" y="86"/>
                      <a:pt x="48" y="86"/>
                      <a:pt x="61" y="87"/>
                    </a:cubicBezTo>
                    <a:close/>
                    <a:moveTo>
                      <a:pt x="26" y="48"/>
                    </a:moveTo>
                    <a:cubicBezTo>
                      <a:pt x="28" y="51"/>
                      <a:pt x="30" y="52"/>
                      <a:pt x="35" y="52"/>
                    </a:cubicBezTo>
                    <a:cubicBezTo>
                      <a:pt x="38" y="52"/>
                      <a:pt x="38" y="52"/>
                      <a:pt x="38" y="52"/>
                    </a:cubicBezTo>
                    <a:cubicBezTo>
                      <a:pt x="38" y="49"/>
                      <a:pt x="39" y="46"/>
                      <a:pt x="39" y="44"/>
                    </a:cubicBezTo>
                    <a:cubicBezTo>
                      <a:pt x="34" y="44"/>
                      <a:pt x="30" y="44"/>
                      <a:pt x="25" y="44"/>
                    </a:cubicBezTo>
                    <a:cubicBezTo>
                      <a:pt x="25" y="46"/>
                      <a:pt x="25" y="47"/>
                      <a:pt x="26" y="48"/>
                    </a:cubicBezTo>
                    <a:close/>
                    <a:moveTo>
                      <a:pt x="32" y="69"/>
                    </a:moveTo>
                    <a:cubicBezTo>
                      <a:pt x="28" y="70"/>
                      <a:pt x="25" y="72"/>
                      <a:pt x="25" y="76"/>
                    </a:cubicBezTo>
                    <a:cubicBezTo>
                      <a:pt x="30" y="75"/>
                      <a:pt x="35" y="75"/>
                      <a:pt x="41" y="75"/>
                    </a:cubicBezTo>
                    <a:cubicBezTo>
                      <a:pt x="46" y="74"/>
                      <a:pt x="53" y="74"/>
                      <a:pt x="61" y="75"/>
                    </a:cubicBezTo>
                    <a:cubicBezTo>
                      <a:pt x="61" y="72"/>
                      <a:pt x="59" y="71"/>
                      <a:pt x="57" y="70"/>
                    </a:cubicBezTo>
                    <a:cubicBezTo>
                      <a:pt x="49" y="68"/>
                      <a:pt x="40" y="68"/>
                      <a:pt x="32" y="69"/>
                    </a:cubicBezTo>
                    <a:close/>
                    <a:moveTo>
                      <a:pt x="56" y="98"/>
                    </a:moveTo>
                    <a:cubicBezTo>
                      <a:pt x="59" y="97"/>
                      <a:pt x="60" y="96"/>
                      <a:pt x="61" y="93"/>
                    </a:cubicBezTo>
                    <a:cubicBezTo>
                      <a:pt x="60" y="93"/>
                      <a:pt x="57" y="93"/>
                      <a:pt x="54" y="93"/>
                    </a:cubicBezTo>
                    <a:cubicBezTo>
                      <a:pt x="48" y="92"/>
                      <a:pt x="44" y="92"/>
                      <a:pt x="41" y="92"/>
                    </a:cubicBezTo>
                    <a:cubicBezTo>
                      <a:pt x="40" y="92"/>
                      <a:pt x="38" y="92"/>
                      <a:pt x="36" y="93"/>
                    </a:cubicBezTo>
                    <a:cubicBezTo>
                      <a:pt x="31" y="93"/>
                      <a:pt x="28" y="94"/>
                      <a:pt x="26" y="94"/>
                    </a:cubicBezTo>
                    <a:cubicBezTo>
                      <a:pt x="27" y="96"/>
                      <a:pt x="29" y="98"/>
                      <a:pt x="32" y="98"/>
                    </a:cubicBezTo>
                    <a:cubicBezTo>
                      <a:pt x="39" y="99"/>
                      <a:pt x="47" y="99"/>
                      <a:pt x="56" y="98"/>
                    </a:cubicBezTo>
                    <a:close/>
                    <a:moveTo>
                      <a:pt x="56" y="29"/>
                    </a:moveTo>
                    <a:cubicBezTo>
                      <a:pt x="55" y="29"/>
                      <a:pt x="53" y="29"/>
                      <a:pt x="51" y="29"/>
                    </a:cubicBezTo>
                    <a:cubicBezTo>
                      <a:pt x="49" y="29"/>
                      <a:pt x="47" y="29"/>
                      <a:pt x="46" y="29"/>
                    </a:cubicBezTo>
                    <a:cubicBezTo>
                      <a:pt x="46" y="31"/>
                      <a:pt x="46" y="34"/>
                      <a:pt x="46" y="37"/>
                    </a:cubicBezTo>
                    <a:cubicBezTo>
                      <a:pt x="50" y="37"/>
                      <a:pt x="55" y="37"/>
                      <a:pt x="60" y="37"/>
                    </a:cubicBezTo>
                    <a:cubicBezTo>
                      <a:pt x="60" y="35"/>
                      <a:pt x="60" y="35"/>
                      <a:pt x="60" y="35"/>
                    </a:cubicBezTo>
                    <a:cubicBezTo>
                      <a:pt x="60" y="32"/>
                      <a:pt x="58" y="30"/>
                      <a:pt x="56" y="29"/>
                    </a:cubicBezTo>
                    <a:close/>
                    <a:moveTo>
                      <a:pt x="59" y="48"/>
                    </a:moveTo>
                    <a:cubicBezTo>
                      <a:pt x="59" y="47"/>
                      <a:pt x="59" y="45"/>
                      <a:pt x="60" y="43"/>
                    </a:cubicBezTo>
                    <a:cubicBezTo>
                      <a:pt x="55" y="43"/>
                      <a:pt x="51" y="43"/>
                      <a:pt x="46" y="43"/>
                    </a:cubicBezTo>
                    <a:cubicBezTo>
                      <a:pt x="46" y="52"/>
                      <a:pt x="46" y="52"/>
                      <a:pt x="46" y="52"/>
                    </a:cubicBezTo>
                    <a:cubicBezTo>
                      <a:pt x="48" y="52"/>
                      <a:pt x="51" y="52"/>
                      <a:pt x="54" y="52"/>
                    </a:cubicBezTo>
                    <a:cubicBezTo>
                      <a:pt x="57" y="51"/>
                      <a:pt x="59" y="49"/>
                      <a:pt x="59" y="4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27" name="îSḻide"/>
              <p:cNvSpPr/>
              <p:nvPr/>
            </p:nvSpPr>
            <p:spPr bwMode="auto">
              <a:xfrm>
                <a:off x="2449409" y="5256803"/>
                <a:ext cx="139700" cy="265113"/>
              </a:xfrm>
              <a:custGeom>
                <a:avLst/>
                <a:gdLst>
                  <a:gd name="T0" fmla="*/ 56 w 76"/>
                  <a:gd name="T1" fmla="*/ 3 h 144"/>
                  <a:gd name="T2" fmla="*/ 61 w 76"/>
                  <a:gd name="T3" fmla="*/ 45 h 144"/>
                  <a:gd name="T4" fmla="*/ 50 w 76"/>
                  <a:gd name="T5" fmla="*/ 74 h 144"/>
                  <a:gd name="T6" fmla="*/ 68 w 76"/>
                  <a:gd name="T7" fmla="*/ 65 h 144"/>
                  <a:gd name="T8" fmla="*/ 70 w 76"/>
                  <a:gd name="T9" fmla="*/ 31 h 144"/>
                  <a:gd name="T10" fmla="*/ 74 w 76"/>
                  <a:gd name="T11" fmla="*/ 31 h 144"/>
                  <a:gd name="T12" fmla="*/ 74 w 76"/>
                  <a:gd name="T13" fmla="*/ 64 h 144"/>
                  <a:gd name="T14" fmla="*/ 50 w 76"/>
                  <a:gd name="T15" fmla="*/ 81 h 144"/>
                  <a:gd name="T16" fmla="*/ 69 w 76"/>
                  <a:gd name="T17" fmla="*/ 103 h 144"/>
                  <a:gd name="T18" fmla="*/ 74 w 76"/>
                  <a:gd name="T19" fmla="*/ 140 h 144"/>
                  <a:gd name="T20" fmla="*/ 63 w 76"/>
                  <a:gd name="T21" fmla="*/ 105 h 144"/>
                  <a:gd name="T22" fmla="*/ 52 w 76"/>
                  <a:gd name="T23" fmla="*/ 138 h 144"/>
                  <a:gd name="T24" fmla="*/ 46 w 76"/>
                  <a:gd name="T25" fmla="*/ 139 h 144"/>
                  <a:gd name="T26" fmla="*/ 42 w 76"/>
                  <a:gd name="T27" fmla="*/ 57 h 144"/>
                  <a:gd name="T28" fmla="*/ 35 w 76"/>
                  <a:gd name="T29" fmla="*/ 132 h 144"/>
                  <a:gd name="T30" fmla="*/ 27 w 76"/>
                  <a:gd name="T31" fmla="*/ 136 h 144"/>
                  <a:gd name="T32" fmla="*/ 29 w 76"/>
                  <a:gd name="T33" fmla="*/ 95 h 144"/>
                  <a:gd name="T34" fmla="*/ 5 w 76"/>
                  <a:gd name="T35" fmla="*/ 135 h 144"/>
                  <a:gd name="T36" fmla="*/ 0 w 76"/>
                  <a:gd name="T37" fmla="*/ 135 h 144"/>
                  <a:gd name="T38" fmla="*/ 30 w 76"/>
                  <a:gd name="T39" fmla="*/ 86 h 144"/>
                  <a:gd name="T40" fmla="*/ 26 w 76"/>
                  <a:gd name="T41" fmla="*/ 80 h 144"/>
                  <a:gd name="T42" fmla="*/ 5 w 76"/>
                  <a:gd name="T43" fmla="*/ 66 h 144"/>
                  <a:gd name="T44" fmla="*/ 3 w 76"/>
                  <a:gd name="T45" fmla="*/ 29 h 144"/>
                  <a:gd name="T46" fmla="*/ 9 w 76"/>
                  <a:gd name="T47" fmla="*/ 59 h 144"/>
                  <a:gd name="T48" fmla="*/ 31 w 76"/>
                  <a:gd name="T49" fmla="*/ 74 h 144"/>
                  <a:gd name="T50" fmla="*/ 32 w 76"/>
                  <a:gd name="T51" fmla="*/ 57 h 144"/>
                  <a:gd name="T52" fmla="*/ 16 w 76"/>
                  <a:gd name="T53" fmla="*/ 14 h 144"/>
                  <a:gd name="T54" fmla="*/ 22 w 76"/>
                  <a:gd name="T55" fmla="*/ 19 h 144"/>
                  <a:gd name="T56" fmla="*/ 57 w 76"/>
                  <a:gd name="T57" fmla="*/ 19 h 144"/>
                  <a:gd name="T58" fmla="*/ 50 w 76"/>
                  <a:gd name="T59" fmla="*/ 9 h 144"/>
                  <a:gd name="T60" fmla="*/ 22 w 76"/>
                  <a:gd name="T61" fmla="*/ 19 h 144"/>
                  <a:gd name="T62" fmla="*/ 23 w 76"/>
                  <a:gd name="T63" fmla="*/ 31 h 144"/>
                  <a:gd name="T64" fmla="*/ 57 w 76"/>
                  <a:gd name="T65" fmla="*/ 34 h 144"/>
                  <a:gd name="T66" fmla="*/ 22 w 76"/>
                  <a:gd name="T67" fmla="*/ 27 h 144"/>
                  <a:gd name="T68" fmla="*/ 48 w 76"/>
                  <a:gd name="T69" fmla="*/ 50 h 144"/>
                  <a:gd name="T70" fmla="*/ 57 w 76"/>
                  <a:gd name="T71" fmla="*/ 41 h 144"/>
                  <a:gd name="T72" fmla="*/ 25 w 76"/>
                  <a:gd name="T73" fmla="*/ 44 h 1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76" h="144">
                    <a:moveTo>
                      <a:pt x="27" y="2"/>
                    </a:moveTo>
                    <a:cubicBezTo>
                      <a:pt x="37" y="0"/>
                      <a:pt x="47" y="0"/>
                      <a:pt x="56" y="3"/>
                    </a:cubicBezTo>
                    <a:cubicBezTo>
                      <a:pt x="60" y="3"/>
                      <a:pt x="62" y="7"/>
                      <a:pt x="63" y="15"/>
                    </a:cubicBezTo>
                    <a:cubicBezTo>
                      <a:pt x="65" y="25"/>
                      <a:pt x="64" y="35"/>
                      <a:pt x="61" y="45"/>
                    </a:cubicBezTo>
                    <a:cubicBezTo>
                      <a:pt x="60" y="53"/>
                      <a:pt x="55" y="56"/>
                      <a:pt x="49" y="57"/>
                    </a:cubicBezTo>
                    <a:cubicBezTo>
                      <a:pt x="49" y="62"/>
                      <a:pt x="50" y="68"/>
                      <a:pt x="50" y="74"/>
                    </a:cubicBezTo>
                    <a:cubicBezTo>
                      <a:pt x="53" y="74"/>
                      <a:pt x="56" y="74"/>
                      <a:pt x="58" y="74"/>
                    </a:cubicBezTo>
                    <a:cubicBezTo>
                      <a:pt x="62" y="75"/>
                      <a:pt x="66" y="72"/>
                      <a:pt x="68" y="65"/>
                    </a:cubicBezTo>
                    <a:cubicBezTo>
                      <a:pt x="69" y="62"/>
                      <a:pt x="70" y="53"/>
                      <a:pt x="70" y="39"/>
                    </a:cubicBezTo>
                    <a:cubicBezTo>
                      <a:pt x="70" y="35"/>
                      <a:pt x="70" y="32"/>
                      <a:pt x="70" y="31"/>
                    </a:cubicBezTo>
                    <a:cubicBezTo>
                      <a:pt x="71" y="31"/>
                      <a:pt x="71" y="30"/>
                      <a:pt x="72" y="30"/>
                    </a:cubicBezTo>
                    <a:cubicBezTo>
                      <a:pt x="73" y="30"/>
                      <a:pt x="74" y="30"/>
                      <a:pt x="74" y="31"/>
                    </a:cubicBezTo>
                    <a:cubicBezTo>
                      <a:pt x="75" y="33"/>
                      <a:pt x="76" y="36"/>
                      <a:pt x="76" y="41"/>
                    </a:cubicBezTo>
                    <a:cubicBezTo>
                      <a:pt x="76" y="49"/>
                      <a:pt x="75" y="56"/>
                      <a:pt x="74" y="64"/>
                    </a:cubicBezTo>
                    <a:cubicBezTo>
                      <a:pt x="72" y="75"/>
                      <a:pt x="67" y="81"/>
                      <a:pt x="58" y="81"/>
                    </a:cubicBezTo>
                    <a:cubicBezTo>
                      <a:pt x="50" y="81"/>
                      <a:pt x="50" y="81"/>
                      <a:pt x="50" y="81"/>
                    </a:cubicBezTo>
                    <a:cubicBezTo>
                      <a:pt x="50" y="87"/>
                      <a:pt x="50" y="87"/>
                      <a:pt x="50" y="87"/>
                    </a:cubicBezTo>
                    <a:cubicBezTo>
                      <a:pt x="60" y="87"/>
                      <a:pt x="66" y="92"/>
                      <a:pt x="69" y="103"/>
                    </a:cubicBezTo>
                    <a:cubicBezTo>
                      <a:pt x="72" y="112"/>
                      <a:pt x="74" y="122"/>
                      <a:pt x="76" y="134"/>
                    </a:cubicBezTo>
                    <a:cubicBezTo>
                      <a:pt x="76" y="138"/>
                      <a:pt x="75" y="140"/>
                      <a:pt x="74" y="140"/>
                    </a:cubicBezTo>
                    <a:cubicBezTo>
                      <a:pt x="72" y="141"/>
                      <a:pt x="71" y="139"/>
                      <a:pt x="70" y="136"/>
                    </a:cubicBezTo>
                    <a:cubicBezTo>
                      <a:pt x="68" y="126"/>
                      <a:pt x="66" y="116"/>
                      <a:pt x="63" y="105"/>
                    </a:cubicBezTo>
                    <a:cubicBezTo>
                      <a:pt x="61" y="98"/>
                      <a:pt x="57" y="95"/>
                      <a:pt x="50" y="95"/>
                    </a:cubicBezTo>
                    <a:cubicBezTo>
                      <a:pt x="50" y="109"/>
                      <a:pt x="51" y="123"/>
                      <a:pt x="52" y="138"/>
                    </a:cubicBezTo>
                    <a:cubicBezTo>
                      <a:pt x="52" y="141"/>
                      <a:pt x="51" y="143"/>
                      <a:pt x="49" y="144"/>
                    </a:cubicBezTo>
                    <a:cubicBezTo>
                      <a:pt x="47" y="144"/>
                      <a:pt x="46" y="142"/>
                      <a:pt x="46" y="139"/>
                    </a:cubicBezTo>
                    <a:cubicBezTo>
                      <a:pt x="44" y="134"/>
                      <a:pt x="43" y="118"/>
                      <a:pt x="43" y="92"/>
                    </a:cubicBezTo>
                    <a:cubicBezTo>
                      <a:pt x="43" y="76"/>
                      <a:pt x="43" y="64"/>
                      <a:pt x="42" y="57"/>
                    </a:cubicBezTo>
                    <a:cubicBezTo>
                      <a:pt x="38" y="57"/>
                      <a:pt x="38" y="57"/>
                      <a:pt x="38" y="57"/>
                    </a:cubicBezTo>
                    <a:cubicBezTo>
                      <a:pt x="36" y="88"/>
                      <a:pt x="35" y="113"/>
                      <a:pt x="35" y="132"/>
                    </a:cubicBezTo>
                    <a:cubicBezTo>
                      <a:pt x="35" y="138"/>
                      <a:pt x="33" y="142"/>
                      <a:pt x="31" y="142"/>
                    </a:cubicBezTo>
                    <a:cubicBezTo>
                      <a:pt x="29" y="142"/>
                      <a:pt x="27" y="140"/>
                      <a:pt x="27" y="136"/>
                    </a:cubicBezTo>
                    <a:cubicBezTo>
                      <a:pt x="27" y="136"/>
                      <a:pt x="27" y="134"/>
                      <a:pt x="27" y="132"/>
                    </a:cubicBezTo>
                    <a:cubicBezTo>
                      <a:pt x="28" y="118"/>
                      <a:pt x="29" y="105"/>
                      <a:pt x="29" y="95"/>
                    </a:cubicBezTo>
                    <a:cubicBezTo>
                      <a:pt x="19" y="95"/>
                      <a:pt x="14" y="98"/>
                      <a:pt x="13" y="105"/>
                    </a:cubicBezTo>
                    <a:cubicBezTo>
                      <a:pt x="10" y="114"/>
                      <a:pt x="7" y="124"/>
                      <a:pt x="5" y="135"/>
                    </a:cubicBezTo>
                    <a:cubicBezTo>
                      <a:pt x="4" y="137"/>
                      <a:pt x="3" y="139"/>
                      <a:pt x="2" y="139"/>
                    </a:cubicBezTo>
                    <a:cubicBezTo>
                      <a:pt x="1" y="140"/>
                      <a:pt x="0" y="138"/>
                      <a:pt x="0" y="135"/>
                    </a:cubicBezTo>
                    <a:cubicBezTo>
                      <a:pt x="0" y="125"/>
                      <a:pt x="2" y="115"/>
                      <a:pt x="7" y="104"/>
                    </a:cubicBezTo>
                    <a:cubicBezTo>
                      <a:pt x="11" y="92"/>
                      <a:pt x="18" y="86"/>
                      <a:pt x="30" y="86"/>
                    </a:cubicBezTo>
                    <a:cubicBezTo>
                      <a:pt x="30" y="85"/>
                      <a:pt x="30" y="83"/>
                      <a:pt x="31" y="80"/>
                    </a:cubicBezTo>
                    <a:cubicBezTo>
                      <a:pt x="29" y="81"/>
                      <a:pt x="28" y="81"/>
                      <a:pt x="26" y="80"/>
                    </a:cubicBezTo>
                    <a:cubicBezTo>
                      <a:pt x="24" y="80"/>
                      <a:pt x="23" y="80"/>
                      <a:pt x="22" y="80"/>
                    </a:cubicBezTo>
                    <a:cubicBezTo>
                      <a:pt x="14" y="81"/>
                      <a:pt x="8" y="76"/>
                      <a:pt x="5" y="66"/>
                    </a:cubicBezTo>
                    <a:cubicBezTo>
                      <a:pt x="2" y="59"/>
                      <a:pt x="0" y="49"/>
                      <a:pt x="0" y="37"/>
                    </a:cubicBezTo>
                    <a:cubicBezTo>
                      <a:pt x="0" y="32"/>
                      <a:pt x="1" y="29"/>
                      <a:pt x="3" y="29"/>
                    </a:cubicBezTo>
                    <a:cubicBezTo>
                      <a:pt x="6" y="31"/>
                      <a:pt x="8" y="35"/>
                      <a:pt x="8" y="39"/>
                    </a:cubicBezTo>
                    <a:cubicBezTo>
                      <a:pt x="7" y="45"/>
                      <a:pt x="7" y="52"/>
                      <a:pt x="9" y="59"/>
                    </a:cubicBezTo>
                    <a:cubicBezTo>
                      <a:pt x="10" y="68"/>
                      <a:pt x="16" y="73"/>
                      <a:pt x="24" y="74"/>
                    </a:cubicBezTo>
                    <a:cubicBezTo>
                      <a:pt x="26" y="74"/>
                      <a:pt x="29" y="74"/>
                      <a:pt x="31" y="74"/>
                    </a:cubicBezTo>
                    <a:cubicBezTo>
                      <a:pt x="31" y="72"/>
                      <a:pt x="31" y="69"/>
                      <a:pt x="31" y="65"/>
                    </a:cubicBezTo>
                    <a:cubicBezTo>
                      <a:pt x="31" y="61"/>
                      <a:pt x="32" y="58"/>
                      <a:pt x="32" y="57"/>
                    </a:cubicBezTo>
                    <a:cubicBezTo>
                      <a:pt x="25" y="56"/>
                      <a:pt x="20" y="53"/>
                      <a:pt x="19" y="48"/>
                    </a:cubicBezTo>
                    <a:cubicBezTo>
                      <a:pt x="15" y="36"/>
                      <a:pt x="14" y="25"/>
                      <a:pt x="16" y="14"/>
                    </a:cubicBezTo>
                    <a:cubicBezTo>
                      <a:pt x="17" y="6"/>
                      <a:pt x="21" y="2"/>
                      <a:pt x="27" y="2"/>
                    </a:cubicBezTo>
                    <a:close/>
                    <a:moveTo>
                      <a:pt x="22" y="19"/>
                    </a:moveTo>
                    <a:cubicBezTo>
                      <a:pt x="22" y="20"/>
                      <a:pt x="22" y="20"/>
                      <a:pt x="22" y="20"/>
                    </a:cubicBezTo>
                    <a:cubicBezTo>
                      <a:pt x="30" y="20"/>
                      <a:pt x="42" y="19"/>
                      <a:pt x="57" y="19"/>
                    </a:cubicBezTo>
                    <a:cubicBezTo>
                      <a:pt x="57" y="18"/>
                      <a:pt x="57" y="17"/>
                      <a:pt x="57" y="16"/>
                    </a:cubicBezTo>
                    <a:cubicBezTo>
                      <a:pt x="56" y="13"/>
                      <a:pt x="54" y="10"/>
                      <a:pt x="50" y="9"/>
                    </a:cubicBezTo>
                    <a:cubicBezTo>
                      <a:pt x="44" y="8"/>
                      <a:pt x="37" y="7"/>
                      <a:pt x="31" y="9"/>
                    </a:cubicBezTo>
                    <a:cubicBezTo>
                      <a:pt x="25" y="11"/>
                      <a:pt x="22" y="14"/>
                      <a:pt x="22" y="19"/>
                    </a:cubicBezTo>
                    <a:close/>
                    <a:moveTo>
                      <a:pt x="22" y="27"/>
                    </a:moveTo>
                    <a:cubicBezTo>
                      <a:pt x="22" y="28"/>
                      <a:pt x="22" y="29"/>
                      <a:pt x="23" y="31"/>
                    </a:cubicBezTo>
                    <a:cubicBezTo>
                      <a:pt x="23" y="32"/>
                      <a:pt x="23" y="33"/>
                      <a:pt x="23" y="34"/>
                    </a:cubicBezTo>
                    <a:cubicBezTo>
                      <a:pt x="57" y="34"/>
                      <a:pt x="57" y="34"/>
                      <a:pt x="57" y="34"/>
                    </a:cubicBezTo>
                    <a:cubicBezTo>
                      <a:pt x="57" y="27"/>
                      <a:pt x="57" y="27"/>
                      <a:pt x="57" y="27"/>
                    </a:cubicBezTo>
                    <a:cubicBezTo>
                      <a:pt x="45" y="26"/>
                      <a:pt x="33" y="26"/>
                      <a:pt x="22" y="27"/>
                    </a:cubicBezTo>
                    <a:close/>
                    <a:moveTo>
                      <a:pt x="35" y="50"/>
                    </a:moveTo>
                    <a:cubicBezTo>
                      <a:pt x="48" y="50"/>
                      <a:pt x="48" y="50"/>
                      <a:pt x="48" y="50"/>
                    </a:cubicBezTo>
                    <a:cubicBezTo>
                      <a:pt x="53" y="50"/>
                      <a:pt x="55" y="47"/>
                      <a:pt x="57" y="42"/>
                    </a:cubicBezTo>
                    <a:cubicBezTo>
                      <a:pt x="57" y="41"/>
                      <a:pt x="57" y="41"/>
                      <a:pt x="57" y="41"/>
                    </a:cubicBezTo>
                    <a:cubicBezTo>
                      <a:pt x="43" y="41"/>
                      <a:pt x="32" y="41"/>
                      <a:pt x="24" y="42"/>
                    </a:cubicBezTo>
                    <a:cubicBezTo>
                      <a:pt x="24" y="43"/>
                      <a:pt x="24" y="43"/>
                      <a:pt x="25" y="44"/>
                    </a:cubicBezTo>
                    <a:cubicBezTo>
                      <a:pt x="27" y="48"/>
                      <a:pt x="30" y="50"/>
                      <a:pt x="35" y="5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28" name="iṣlîḋè"/>
              <p:cNvSpPr/>
              <p:nvPr/>
            </p:nvSpPr>
            <p:spPr bwMode="auto">
              <a:xfrm>
                <a:off x="2604984" y="5259978"/>
                <a:ext cx="177800" cy="255588"/>
              </a:xfrm>
              <a:custGeom>
                <a:avLst/>
                <a:gdLst>
                  <a:gd name="T0" fmla="*/ 5 w 96"/>
                  <a:gd name="T1" fmla="*/ 37 h 138"/>
                  <a:gd name="T2" fmla="*/ 24 w 96"/>
                  <a:gd name="T3" fmla="*/ 49 h 138"/>
                  <a:gd name="T4" fmla="*/ 7 w 96"/>
                  <a:gd name="T5" fmla="*/ 26 h 138"/>
                  <a:gd name="T6" fmla="*/ 0 w 96"/>
                  <a:gd name="T7" fmla="*/ 22 h 138"/>
                  <a:gd name="T8" fmla="*/ 44 w 96"/>
                  <a:gd name="T9" fmla="*/ 19 h 138"/>
                  <a:gd name="T10" fmla="*/ 40 w 96"/>
                  <a:gd name="T11" fmla="*/ 26 h 138"/>
                  <a:gd name="T12" fmla="*/ 29 w 96"/>
                  <a:gd name="T13" fmla="*/ 49 h 138"/>
                  <a:gd name="T14" fmla="*/ 42 w 96"/>
                  <a:gd name="T15" fmla="*/ 39 h 138"/>
                  <a:gd name="T16" fmla="*/ 36 w 96"/>
                  <a:gd name="T17" fmla="*/ 64 h 138"/>
                  <a:gd name="T18" fmla="*/ 44 w 96"/>
                  <a:gd name="T19" fmla="*/ 70 h 138"/>
                  <a:gd name="T20" fmla="*/ 30 w 96"/>
                  <a:gd name="T21" fmla="*/ 78 h 138"/>
                  <a:gd name="T22" fmla="*/ 48 w 96"/>
                  <a:gd name="T23" fmla="*/ 111 h 138"/>
                  <a:gd name="T24" fmla="*/ 42 w 96"/>
                  <a:gd name="T25" fmla="*/ 124 h 138"/>
                  <a:gd name="T26" fmla="*/ 33 w 96"/>
                  <a:gd name="T27" fmla="*/ 93 h 138"/>
                  <a:gd name="T28" fmla="*/ 30 w 96"/>
                  <a:gd name="T29" fmla="*/ 116 h 138"/>
                  <a:gd name="T30" fmla="*/ 24 w 96"/>
                  <a:gd name="T31" fmla="*/ 133 h 138"/>
                  <a:gd name="T32" fmla="*/ 20 w 96"/>
                  <a:gd name="T33" fmla="*/ 93 h 138"/>
                  <a:gd name="T34" fmla="*/ 11 w 96"/>
                  <a:gd name="T35" fmla="*/ 122 h 138"/>
                  <a:gd name="T36" fmla="*/ 8 w 96"/>
                  <a:gd name="T37" fmla="*/ 102 h 138"/>
                  <a:gd name="T38" fmla="*/ 24 w 96"/>
                  <a:gd name="T39" fmla="*/ 81 h 138"/>
                  <a:gd name="T40" fmla="*/ 3 w 96"/>
                  <a:gd name="T41" fmla="*/ 77 h 138"/>
                  <a:gd name="T42" fmla="*/ 14 w 96"/>
                  <a:gd name="T43" fmla="*/ 70 h 138"/>
                  <a:gd name="T44" fmla="*/ 20 w 96"/>
                  <a:gd name="T45" fmla="*/ 65 h 138"/>
                  <a:gd name="T46" fmla="*/ 2 w 96"/>
                  <a:gd name="T47" fmla="*/ 37 h 138"/>
                  <a:gd name="T48" fmla="*/ 40 w 96"/>
                  <a:gd name="T49" fmla="*/ 3 h 138"/>
                  <a:gd name="T50" fmla="*/ 14 w 96"/>
                  <a:gd name="T51" fmla="*/ 11 h 138"/>
                  <a:gd name="T52" fmla="*/ 5 w 96"/>
                  <a:gd name="T53" fmla="*/ 6 h 138"/>
                  <a:gd name="T54" fmla="*/ 33 w 96"/>
                  <a:gd name="T55" fmla="*/ 26 h 138"/>
                  <a:gd name="T56" fmla="*/ 27 w 96"/>
                  <a:gd name="T57" fmla="*/ 45 h 138"/>
                  <a:gd name="T58" fmla="*/ 54 w 96"/>
                  <a:gd name="T59" fmla="*/ 2 h 138"/>
                  <a:gd name="T60" fmla="*/ 58 w 96"/>
                  <a:gd name="T61" fmla="*/ 10 h 138"/>
                  <a:gd name="T62" fmla="*/ 88 w 96"/>
                  <a:gd name="T63" fmla="*/ 22 h 138"/>
                  <a:gd name="T64" fmla="*/ 74 w 96"/>
                  <a:gd name="T65" fmla="*/ 37 h 138"/>
                  <a:gd name="T66" fmla="*/ 62 w 96"/>
                  <a:gd name="T67" fmla="*/ 66 h 138"/>
                  <a:gd name="T68" fmla="*/ 53 w 96"/>
                  <a:gd name="T69" fmla="*/ 136 h 138"/>
                  <a:gd name="T70" fmla="*/ 48 w 96"/>
                  <a:gd name="T71" fmla="*/ 130 h 138"/>
                  <a:gd name="T72" fmla="*/ 55 w 96"/>
                  <a:gd name="T73" fmla="*/ 48 h 138"/>
                  <a:gd name="T74" fmla="*/ 76 w 96"/>
                  <a:gd name="T75" fmla="*/ 31 h 138"/>
                  <a:gd name="T76" fmla="*/ 65 w 96"/>
                  <a:gd name="T77" fmla="*/ 18 h 138"/>
                  <a:gd name="T78" fmla="*/ 52 w 96"/>
                  <a:gd name="T79" fmla="*/ 13 h 138"/>
                  <a:gd name="T80" fmla="*/ 94 w 96"/>
                  <a:gd name="T81" fmla="*/ 74 h 138"/>
                  <a:gd name="T82" fmla="*/ 76 w 96"/>
                  <a:gd name="T83" fmla="*/ 54 h 138"/>
                  <a:gd name="T84" fmla="*/ 83 w 96"/>
                  <a:gd name="T85" fmla="*/ 119 h 138"/>
                  <a:gd name="T86" fmla="*/ 88 w 96"/>
                  <a:gd name="T87" fmla="*/ 133 h 138"/>
                  <a:gd name="T88" fmla="*/ 70 w 96"/>
                  <a:gd name="T89" fmla="*/ 93 h 138"/>
                  <a:gd name="T90" fmla="*/ 70 w 96"/>
                  <a:gd name="T91" fmla="*/ 42 h 138"/>
                  <a:gd name="T92" fmla="*/ 95 w 96"/>
                  <a:gd name="T93" fmla="*/ 70 h 1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96" h="138">
                    <a:moveTo>
                      <a:pt x="2" y="37"/>
                    </a:moveTo>
                    <a:cubicBezTo>
                      <a:pt x="2" y="36"/>
                      <a:pt x="2" y="35"/>
                      <a:pt x="3" y="35"/>
                    </a:cubicBezTo>
                    <a:cubicBezTo>
                      <a:pt x="4" y="35"/>
                      <a:pt x="5" y="36"/>
                      <a:pt x="5" y="37"/>
                    </a:cubicBezTo>
                    <a:cubicBezTo>
                      <a:pt x="9" y="49"/>
                      <a:pt x="14" y="56"/>
                      <a:pt x="21" y="59"/>
                    </a:cubicBezTo>
                    <a:cubicBezTo>
                      <a:pt x="21" y="59"/>
                      <a:pt x="22" y="60"/>
                      <a:pt x="24" y="60"/>
                    </a:cubicBezTo>
                    <a:cubicBezTo>
                      <a:pt x="24" y="56"/>
                      <a:pt x="24" y="53"/>
                      <a:pt x="24" y="49"/>
                    </a:cubicBezTo>
                    <a:cubicBezTo>
                      <a:pt x="21" y="48"/>
                      <a:pt x="18" y="46"/>
                      <a:pt x="16" y="42"/>
                    </a:cubicBezTo>
                    <a:cubicBezTo>
                      <a:pt x="13" y="38"/>
                      <a:pt x="12" y="33"/>
                      <a:pt x="12" y="26"/>
                    </a:cubicBezTo>
                    <a:cubicBezTo>
                      <a:pt x="9" y="26"/>
                      <a:pt x="8" y="26"/>
                      <a:pt x="7" y="26"/>
                    </a:cubicBezTo>
                    <a:cubicBezTo>
                      <a:pt x="4" y="27"/>
                      <a:pt x="2" y="27"/>
                      <a:pt x="1" y="25"/>
                    </a:cubicBezTo>
                    <a:cubicBezTo>
                      <a:pt x="0" y="24"/>
                      <a:pt x="0" y="23"/>
                      <a:pt x="0" y="22"/>
                    </a:cubicBezTo>
                    <a:cubicBezTo>
                      <a:pt x="0" y="22"/>
                      <a:pt x="0" y="22"/>
                      <a:pt x="0" y="22"/>
                    </a:cubicBezTo>
                    <a:cubicBezTo>
                      <a:pt x="1" y="19"/>
                      <a:pt x="2" y="18"/>
                      <a:pt x="4" y="19"/>
                    </a:cubicBezTo>
                    <a:cubicBezTo>
                      <a:pt x="6" y="19"/>
                      <a:pt x="8" y="19"/>
                      <a:pt x="11" y="19"/>
                    </a:cubicBezTo>
                    <a:cubicBezTo>
                      <a:pt x="44" y="19"/>
                      <a:pt x="44" y="19"/>
                      <a:pt x="44" y="19"/>
                    </a:cubicBezTo>
                    <a:cubicBezTo>
                      <a:pt x="46" y="19"/>
                      <a:pt x="48" y="20"/>
                      <a:pt x="48" y="23"/>
                    </a:cubicBezTo>
                    <a:cubicBezTo>
                      <a:pt x="47" y="25"/>
                      <a:pt x="45" y="26"/>
                      <a:pt x="42" y="26"/>
                    </a:cubicBezTo>
                    <a:cubicBezTo>
                      <a:pt x="42" y="26"/>
                      <a:pt x="41" y="26"/>
                      <a:pt x="40" y="26"/>
                    </a:cubicBezTo>
                    <a:cubicBezTo>
                      <a:pt x="40" y="26"/>
                      <a:pt x="40" y="26"/>
                      <a:pt x="40" y="26"/>
                    </a:cubicBezTo>
                    <a:cubicBezTo>
                      <a:pt x="39" y="34"/>
                      <a:pt x="38" y="39"/>
                      <a:pt x="37" y="42"/>
                    </a:cubicBezTo>
                    <a:cubicBezTo>
                      <a:pt x="34" y="46"/>
                      <a:pt x="32" y="49"/>
                      <a:pt x="29" y="49"/>
                    </a:cubicBezTo>
                    <a:cubicBezTo>
                      <a:pt x="30" y="53"/>
                      <a:pt x="30" y="56"/>
                      <a:pt x="30" y="60"/>
                    </a:cubicBezTo>
                    <a:cubicBezTo>
                      <a:pt x="31" y="60"/>
                      <a:pt x="32" y="59"/>
                      <a:pt x="33" y="58"/>
                    </a:cubicBezTo>
                    <a:cubicBezTo>
                      <a:pt x="39" y="56"/>
                      <a:pt x="42" y="49"/>
                      <a:pt x="42" y="39"/>
                    </a:cubicBezTo>
                    <a:cubicBezTo>
                      <a:pt x="43" y="37"/>
                      <a:pt x="44" y="36"/>
                      <a:pt x="46" y="36"/>
                    </a:cubicBezTo>
                    <a:cubicBezTo>
                      <a:pt x="47" y="36"/>
                      <a:pt x="48" y="37"/>
                      <a:pt x="48" y="39"/>
                    </a:cubicBezTo>
                    <a:cubicBezTo>
                      <a:pt x="49" y="49"/>
                      <a:pt x="45" y="57"/>
                      <a:pt x="36" y="64"/>
                    </a:cubicBezTo>
                    <a:cubicBezTo>
                      <a:pt x="34" y="65"/>
                      <a:pt x="32" y="66"/>
                      <a:pt x="30" y="66"/>
                    </a:cubicBezTo>
                    <a:cubicBezTo>
                      <a:pt x="30" y="70"/>
                      <a:pt x="30" y="70"/>
                      <a:pt x="30" y="70"/>
                    </a:cubicBezTo>
                    <a:cubicBezTo>
                      <a:pt x="44" y="70"/>
                      <a:pt x="44" y="70"/>
                      <a:pt x="44" y="70"/>
                    </a:cubicBezTo>
                    <a:cubicBezTo>
                      <a:pt x="47" y="70"/>
                      <a:pt x="49" y="71"/>
                      <a:pt x="49" y="73"/>
                    </a:cubicBezTo>
                    <a:cubicBezTo>
                      <a:pt x="49" y="76"/>
                      <a:pt x="47" y="77"/>
                      <a:pt x="43" y="77"/>
                    </a:cubicBezTo>
                    <a:cubicBezTo>
                      <a:pt x="37" y="77"/>
                      <a:pt x="33" y="77"/>
                      <a:pt x="30" y="78"/>
                    </a:cubicBezTo>
                    <a:cubicBezTo>
                      <a:pt x="30" y="80"/>
                      <a:pt x="30" y="82"/>
                      <a:pt x="30" y="84"/>
                    </a:cubicBezTo>
                    <a:cubicBezTo>
                      <a:pt x="34" y="84"/>
                      <a:pt x="37" y="87"/>
                      <a:pt x="40" y="91"/>
                    </a:cubicBezTo>
                    <a:cubicBezTo>
                      <a:pt x="44" y="96"/>
                      <a:pt x="46" y="103"/>
                      <a:pt x="48" y="111"/>
                    </a:cubicBezTo>
                    <a:cubicBezTo>
                      <a:pt x="49" y="116"/>
                      <a:pt x="49" y="120"/>
                      <a:pt x="48" y="124"/>
                    </a:cubicBezTo>
                    <a:cubicBezTo>
                      <a:pt x="47" y="125"/>
                      <a:pt x="46" y="125"/>
                      <a:pt x="45" y="125"/>
                    </a:cubicBezTo>
                    <a:cubicBezTo>
                      <a:pt x="44" y="125"/>
                      <a:pt x="43" y="125"/>
                      <a:pt x="42" y="124"/>
                    </a:cubicBezTo>
                    <a:cubicBezTo>
                      <a:pt x="42" y="123"/>
                      <a:pt x="42" y="121"/>
                      <a:pt x="42" y="118"/>
                    </a:cubicBezTo>
                    <a:cubicBezTo>
                      <a:pt x="41" y="116"/>
                      <a:pt x="41" y="114"/>
                      <a:pt x="41" y="113"/>
                    </a:cubicBezTo>
                    <a:cubicBezTo>
                      <a:pt x="40" y="104"/>
                      <a:pt x="37" y="97"/>
                      <a:pt x="33" y="93"/>
                    </a:cubicBezTo>
                    <a:cubicBezTo>
                      <a:pt x="33" y="92"/>
                      <a:pt x="32" y="91"/>
                      <a:pt x="30" y="91"/>
                    </a:cubicBezTo>
                    <a:cubicBezTo>
                      <a:pt x="31" y="97"/>
                      <a:pt x="31" y="101"/>
                      <a:pt x="31" y="105"/>
                    </a:cubicBezTo>
                    <a:cubicBezTo>
                      <a:pt x="31" y="107"/>
                      <a:pt x="31" y="111"/>
                      <a:pt x="30" y="116"/>
                    </a:cubicBezTo>
                    <a:cubicBezTo>
                      <a:pt x="30" y="124"/>
                      <a:pt x="30" y="129"/>
                      <a:pt x="29" y="133"/>
                    </a:cubicBezTo>
                    <a:cubicBezTo>
                      <a:pt x="29" y="136"/>
                      <a:pt x="28" y="137"/>
                      <a:pt x="27" y="137"/>
                    </a:cubicBezTo>
                    <a:cubicBezTo>
                      <a:pt x="26" y="137"/>
                      <a:pt x="25" y="136"/>
                      <a:pt x="24" y="133"/>
                    </a:cubicBezTo>
                    <a:cubicBezTo>
                      <a:pt x="24" y="120"/>
                      <a:pt x="24" y="111"/>
                      <a:pt x="24" y="105"/>
                    </a:cubicBezTo>
                    <a:cubicBezTo>
                      <a:pt x="24" y="100"/>
                      <a:pt x="24" y="95"/>
                      <a:pt x="24" y="90"/>
                    </a:cubicBezTo>
                    <a:cubicBezTo>
                      <a:pt x="22" y="91"/>
                      <a:pt x="21" y="92"/>
                      <a:pt x="20" y="93"/>
                    </a:cubicBezTo>
                    <a:cubicBezTo>
                      <a:pt x="18" y="94"/>
                      <a:pt x="16" y="98"/>
                      <a:pt x="14" y="102"/>
                    </a:cubicBezTo>
                    <a:cubicBezTo>
                      <a:pt x="13" y="104"/>
                      <a:pt x="13" y="104"/>
                      <a:pt x="13" y="104"/>
                    </a:cubicBezTo>
                    <a:cubicBezTo>
                      <a:pt x="12" y="108"/>
                      <a:pt x="11" y="114"/>
                      <a:pt x="11" y="122"/>
                    </a:cubicBezTo>
                    <a:cubicBezTo>
                      <a:pt x="10" y="124"/>
                      <a:pt x="9" y="125"/>
                      <a:pt x="7" y="125"/>
                    </a:cubicBezTo>
                    <a:cubicBezTo>
                      <a:pt x="6" y="125"/>
                      <a:pt x="5" y="124"/>
                      <a:pt x="5" y="122"/>
                    </a:cubicBezTo>
                    <a:cubicBezTo>
                      <a:pt x="6" y="115"/>
                      <a:pt x="7" y="108"/>
                      <a:pt x="8" y="102"/>
                    </a:cubicBezTo>
                    <a:cubicBezTo>
                      <a:pt x="9" y="97"/>
                      <a:pt x="11" y="92"/>
                      <a:pt x="14" y="89"/>
                    </a:cubicBezTo>
                    <a:cubicBezTo>
                      <a:pt x="17" y="86"/>
                      <a:pt x="20" y="84"/>
                      <a:pt x="24" y="84"/>
                    </a:cubicBezTo>
                    <a:cubicBezTo>
                      <a:pt x="24" y="81"/>
                      <a:pt x="24" y="81"/>
                      <a:pt x="24" y="81"/>
                    </a:cubicBezTo>
                    <a:cubicBezTo>
                      <a:pt x="24" y="80"/>
                      <a:pt x="24" y="79"/>
                      <a:pt x="24" y="78"/>
                    </a:cubicBezTo>
                    <a:cubicBezTo>
                      <a:pt x="14" y="78"/>
                      <a:pt x="9" y="78"/>
                      <a:pt x="9" y="78"/>
                    </a:cubicBezTo>
                    <a:cubicBezTo>
                      <a:pt x="6" y="79"/>
                      <a:pt x="4" y="79"/>
                      <a:pt x="3" y="77"/>
                    </a:cubicBezTo>
                    <a:cubicBezTo>
                      <a:pt x="2" y="76"/>
                      <a:pt x="2" y="74"/>
                      <a:pt x="3" y="72"/>
                    </a:cubicBezTo>
                    <a:cubicBezTo>
                      <a:pt x="3" y="70"/>
                      <a:pt x="4" y="70"/>
                      <a:pt x="7" y="70"/>
                    </a:cubicBezTo>
                    <a:cubicBezTo>
                      <a:pt x="8" y="70"/>
                      <a:pt x="10" y="70"/>
                      <a:pt x="14" y="70"/>
                    </a:cubicBezTo>
                    <a:cubicBezTo>
                      <a:pt x="24" y="70"/>
                      <a:pt x="24" y="70"/>
                      <a:pt x="24" y="70"/>
                    </a:cubicBezTo>
                    <a:cubicBezTo>
                      <a:pt x="24" y="66"/>
                      <a:pt x="24" y="66"/>
                      <a:pt x="24" y="66"/>
                    </a:cubicBezTo>
                    <a:cubicBezTo>
                      <a:pt x="22" y="66"/>
                      <a:pt x="21" y="66"/>
                      <a:pt x="20" y="65"/>
                    </a:cubicBezTo>
                    <a:cubicBezTo>
                      <a:pt x="12" y="62"/>
                      <a:pt x="6" y="56"/>
                      <a:pt x="2" y="46"/>
                    </a:cubicBezTo>
                    <a:cubicBezTo>
                      <a:pt x="2" y="46"/>
                      <a:pt x="2" y="43"/>
                      <a:pt x="2" y="40"/>
                    </a:cubicBezTo>
                    <a:cubicBezTo>
                      <a:pt x="2" y="39"/>
                      <a:pt x="2" y="38"/>
                      <a:pt x="2" y="37"/>
                    </a:cubicBezTo>
                    <a:close/>
                    <a:moveTo>
                      <a:pt x="9" y="3"/>
                    </a:moveTo>
                    <a:cubicBezTo>
                      <a:pt x="11" y="3"/>
                      <a:pt x="15" y="3"/>
                      <a:pt x="19" y="3"/>
                    </a:cubicBezTo>
                    <a:cubicBezTo>
                      <a:pt x="40" y="3"/>
                      <a:pt x="40" y="3"/>
                      <a:pt x="40" y="3"/>
                    </a:cubicBezTo>
                    <a:cubicBezTo>
                      <a:pt x="43" y="3"/>
                      <a:pt x="44" y="5"/>
                      <a:pt x="44" y="7"/>
                    </a:cubicBezTo>
                    <a:cubicBezTo>
                      <a:pt x="44" y="9"/>
                      <a:pt x="42" y="10"/>
                      <a:pt x="39" y="10"/>
                    </a:cubicBezTo>
                    <a:cubicBezTo>
                      <a:pt x="34" y="10"/>
                      <a:pt x="25" y="10"/>
                      <a:pt x="14" y="11"/>
                    </a:cubicBezTo>
                    <a:cubicBezTo>
                      <a:pt x="13" y="11"/>
                      <a:pt x="12" y="11"/>
                      <a:pt x="11" y="11"/>
                    </a:cubicBezTo>
                    <a:cubicBezTo>
                      <a:pt x="7" y="11"/>
                      <a:pt x="5" y="11"/>
                      <a:pt x="5" y="9"/>
                    </a:cubicBezTo>
                    <a:cubicBezTo>
                      <a:pt x="5" y="9"/>
                      <a:pt x="4" y="8"/>
                      <a:pt x="5" y="6"/>
                    </a:cubicBezTo>
                    <a:cubicBezTo>
                      <a:pt x="5" y="5"/>
                      <a:pt x="5" y="5"/>
                      <a:pt x="5" y="5"/>
                    </a:cubicBezTo>
                    <a:cubicBezTo>
                      <a:pt x="5" y="3"/>
                      <a:pt x="6" y="3"/>
                      <a:pt x="9" y="3"/>
                    </a:cubicBezTo>
                    <a:close/>
                    <a:moveTo>
                      <a:pt x="33" y="26"/>
                    </a:moveTo>
                    <a:cubicBezTo>
                      <a:pt x="28" y="26"/>
                      <a:pt x="23" y="26"/>
                      <a:pt x="17" y="26"/>
                    </a:cubicBezTo>
                    <a:cubicBezTo>
                      <a:pt x="18" y="32"/>
                      <a:pt x="20" y="38"/>
                      <a:pt x="24" y="42"/>
                    </a:cubicBezTo>
                    <a:cubicBezTo>
                      <a:pt x="25" y="44"/>
                      <a:pt x="26" y="45"/>
                      <a:pt x="27" y="45"/>
                    </a:cubicBezTo>
                    <a:cubicBezTo>
                      <a:pt x="28" y="45"/>
                      <a:pt x="29" y="44"/>
                      <a:pt x="29" y="42"/>
                    </a:cubicBezTo>
                    <a:cubicBezTo>
                      <a:pt x="32" y="38"/>
                      <a:pt x="33" y="33"/>
                      <a:pt x="33" y="26"/>
                    </a:cubicBezTo>
                    <a:close/>
                    <a:moveTo>
                      <a:pt x="54" y="2"/>
                    </a:moveTo>
                    <a:cubicBezTo>
                      <a:pt x="55" y="0"/>
                      <a:pt x="57" y="0"/>
                      <a:pt x="58" y="1"/>
                    </a:cubicBezTo>
                    <a:cubicBezTo>
                      <a:pt x="59" y="2"/>
                      <a:pt x="60" y="4"/>
                      <a:pt x="59" y="6"/>
                    </a:cubicBezTo>
                    <a:cubicBezTo>
                      <a:pt x="57" y="8"/>
                      <a:pt x="57" y="9"/>
                      <a:pt x="58" y="10"/>
                    </a:cubicBezTo>
                    <a:cubicBezTo>
                      <a:pt x="59" y="11"/>
                      <a:pt x="61" y="12"/>
                      <a:pt x="63" y="11"/>
                    </a:cubicBezTo>
                    <a:cubicBezTo>
                      <a:pt x="67" y="9"/>
                      <a:pt x="73" y="9"/>
                      <a:pt x="80" y="11"/>
                    </a:cubicBezTo>
                    <a:cubicBezTo>
                      <a:pt x="84" y="13"/>
                      <a:pt x="87" y="16"/>
                      <a:pt x="88" y="22"/>
                    </a:cubicBezTo>
                    <a:cubicBezTo>
                      <a:pt x="89" y="27"/>
                      <a:pt x="88" y="32"/>
                      <a:pt x="85" y="35"/>
                    </a:cubicBezTo>
                    <a:cubicBezTo>
                      <a:pt x="84" y="38"/>
                      <a:pt x="81" y="39"/>
                      <a:pt x="75" y="37"/>
                    </a:cubicBezTo>
                    <a:cubicBezTo>
                      <a:pt x="75" y="37"/>
                      <a:pt x="74" y="37"/>
                      <a:pt x="74" y="37"/>
                    </a:cubicBezTo>
                    <a:cubicBezTo>
                      <a:pt x="69" y="37"/>
                      <a:pt x="66" y="37"/>
                      <a:pt x="63" y="38"/>
                    </a:cubicBezTo>
                    <a:cubicBezTo>
                      <a:pt x="62" y="38"/>
                      <a:pt x="61" y="40"/>
                      <a:pt x="61" y="43"/>
                    </a:cubicBezTo>
                    <a:cubicBezTo>
                      <a:pt x="62" y="48"/>
                      <a:pt x="62" y="56"/>
                      <a:pt x="62" y="66"/>
                    </a:cubicBezTo>
                    <a:cubicBezTo>
                      <a:pt x="62" y="70"/>
                      <a:pt x="61" y="76"/>
                      <a:pt x="61" y="84"/>
                    </a:cubicBezTo>
                    <a:cubicBezTo>
                      <a:pt x="59" y="99"/>
                      <a:pt x="58" y="110"/>
                      <a:pt x="57" y="116"/>
                    </a:cubicBezTo>
                    <a:cubicBezTo>
                      <a:pt x="57" y="122"/>
                      <a:pt x="55" y="128"/>
                      <a:pt x="53" y="136"/>
                    </a:cubicBezTo>
                    <a:cubicBezTo>
                      <a:pt x="52" y="137"/>
                      <a:pt x="51" y="138"/>
                      <a:pt x="50" y="138"/>
                    </a:cubicBezTo>
                    <a:cubicBezTo>
                      <a:pt x="48" y="138"/>
                      <a:pt x="48" y="137"/>
                      <a:pt x="48" y="136"/>
                    </a:cubicBezTo>
                    <a:cubicBezTo>
                      <a:pt x="48" y="135"/>
                      <a:pt x="48" y="133"/>
                      <a:pt x="48" y="130"/>
                    </a:cubicBezTo>
                    <a:cubicBezTo>
                      <a:pt x="49" y="127"/>
                      <a:pt x="49" y="126"/>
                      <a:pt x="49" y="125"/>
                    </a:cubicBezTo>
                    <a:cubicBezTo>
                      <a:pt x="53" y="104"/>
                      <a:pt x="55" y="85"/>
                      <a:pt x="55" y="68"/>
                    </a:cubicBezTo>
                    <a:cubicBezTo>
                      <a:pt x="56" y="60"/>
                      <a:pt x="56" y="54"/>
                      <a:pt x="55" y="48"/>
                    </a:cubicBezTo>
                    <a:cubicBezTo>
                      <a:pt x="54" y="45"/>
                      <a:pt x="53" y="42"/>
                      <a:pt x="52" y="40"/>
                    </a:cubicBezTo>
                    <a:cubicBezTo>
                      <a:pt x="50" y="38"/>
                      <a:pt x="51" y="36"/>
                      <a:pt x="54" y="34"/>
                    </a:cubicBezTo>
                    <a:cubicBezTo>
                      <a:pt x="58" y="30"/>
                      <a:pt x="66" y="29"/>
                      <a:pt x="76" y="31"/>
                    </a:cubicBezTo>
                    <a:cubicBezTo>
                      <a:pt x="81" y="32"/>
                      <a:pt x="83" y="30"/>
                      <a:pt x="83" y="25"/>
                    </a:cubicBezTo>
                    <a:cubicBezTo>
                      <a:pt x="83" y="21"/>
                      <a:pt x="81" y="18"/>
                      <a:pt x="77" y="18"/>
                    </a:cubicBezTo>
                    <a:cubicBezTo>
                      <a:pt x="70" y="17"/>
                      <a:pt x="66" y="17"/>
                      <a:pt x="65" y="18"/>
                    </a:cubicBezTo>
                    <a:cubicBezTo>
                      <a:pt x="63" y="19"/>
                      <a:pt x="60" y="19"/>
                      <a:pt x="57" y="19"/>
                    </a:cubicBezTo>
                    <a:cubicBezTo>
                      <a:pt x="57" y="18"/>
                      <a:pt x="55" y="17"/>
                      <a:pt x="53" y="15"/>
                    </a:cubicBezTo>
                    <a:cubicBezTo>
                      <a:pt x="53" y="14"/>
                      <a:pt x="52" y="14"/>
                      <a:pt x="52" y="13"/>
                    </a:cubicBezTo>
                    <a:cubicBezTo>
                      <a:pt x="50" y="10"/>
                      <a:pt x="51" y="6"/>
                      <a:pt x="54" y="2"/>
                    </a:cubicBezTo>
                    <a:close/>
                    <a:moveTo>
                      <a:pt x="95" y="70"/>
                    </a:moveTo>
                    <a:cubicBezTo>
                      <a:pt x="96" y="72"/>
                      <a:pt x="95" y="73"/>
                      <a:pt x="94" y="74"/>
                    </a:cubicBezTo>
                    <a:cubicBezTo>
                      <a:pt x="92" y="74"/>
                      <a:pt x="91" y="74"/>
                      <a:pt x="90" y="72"/>
                    </a:cubicBezTo>
                    <a:cubicBezTo>
                      <a:pt x="88" y="67"/>
                      <a:pt x="84" y="62"/>
                      <a:pt x="78" y="56"/>
                    </a:cubicBezTo>
                    <a:cubicBezTo>
                      <a:pt x="77" y="55"/>
                      <a:pt x="76" y="54"/>
                      <a:pt x="76" y="54"/>
                    </a:cubicBezTo>
                    <a:cubicBezTo>
                      <a:pt x="75" y="56"/>
                      <a:pt x="75" y="56"/>
                      <a:pt x="75" y="56"/>
                    </a:cubicBezTo>
                    <a:cubicBezTo>
                      <a:pt x="75" y="61"/>
                      <a:pt x="75" y="73"/>
                      <a:pt x="77" y="93"/>
                    </a:cubicBezTo>
                    <a:cubicBezTo>
                      <a:pt x="78" y="99"/>
                      <a:pt x="80" y="107"/>
                      <a:pt x="83" y="119"/>
                    </a:cubicBezTo>
                    <a:cubicBezTo>
                      <a:pt x="84" y="122"/>
                      <a:pt x="85" y="124"/>
                      <a:pt x="85" y="124"/>
                    </a:cubicBezTo>
                    <a:cubicBezTo>
                      <a:pt x="86" y="126"/>
                      <a:pt x="86" y="128"/>
                      <a:pt x="87" y="131"/>
                    </a:cubicBezTo>
                    <a:cubicBezTo>
                      <a:pt x="88" y="132"/>
                      <a:pt x="88" y="133"/>
                      <a:pt x="88" y="133"/>
                    </a:cubicBezTo>
                    <a:cubicBezTo>
                      <a:pt x="88" y="135"/>
                      <a:pt x="88" y="136"/>
                      <a:pt x="86" y="136"/>
                    </a:cubicBezTo>
                    <a:cubicBezTo>
                      <a:pt x="84" y="136"/>
                      <a:pt x="83" y="135"/>
                      <a:pt x="82" y="133"/>
                    </a:cubicBezTo>
                    <a:cubicBezTo>
                      <a:pt x="77" y="123"/>
                      <a:pt x="73" y="110"/>
                      <a:pt x="70" y="93"/>
                    </a:cubicBezTo>
                    <a:cubicBezTo>
                      <a:pt x="69" y="79"/>
                      <a:pt x="68" y="68"/>
                      <a:pt x="68" y="58"/>
                    </a:cubicBezTo>
                    <a:cubicBezTo>
                      <a:pt x="68" y="51"/>
                      <a:pt x="68" y="46"/>
                      <a:pt x="68" y="44"/>
                    </a:cubicBezTo>
                    <a:cubicBezTo>
                      <a:pt x="68" y="43"/>
                      <a:pt x="69" y="42"/>
                      <a:pt x="70" y="42"/>
                    </a:cubicBezTo>
                    <a:cubicBezTo>
                      <a:pt x="71" y="41"/>
                      <a:pt x="71" y="41"/>
                      <a:pt x="72" y="42"/>
                    </a:cubicBezTo>
                    <a:cubicBezTo>
                      <a:pt x="76" y="45"/>
                      <a:pt x="78" y="48"/>
                      <a:pt x="80" y="49"/>
                    </a:cubicBezTo>
                    <a:cubicBezTo>
                      <a:pt x="86" y="54"/>
                      <a:pt x="91" y="61"/>
                      <a:pt x="95" y="7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29" name="íṣ1ïḑe"/>
              <p:cNvSpPr/>
              <p:nvPr/>
            </p:nvSpPr>
            <p:spPr bwMode="auto">
              <a:xfrm>
                <a:off x="1750909" y="4905965"/>
                <a:ext cx="93663" cy="87313"/>
              </a:xfrm>
              <a:custGeom>
                <a:avLst/>
                <a:gdLst>
                  <a:gd name="T0" fmla="*/ 51 w 51"/>
                  <a:gd name="T1" fmla="*/ 17 h 47"/>
                  <a:gd name="T2" fmla="*/ 46 w 51"/>
                  <a:gd name="T3" fmla="*/ 25 h 47"/>
                  <a:gd name="T4" fmla="*/ 26 w 51"/>
                  <a:gd name="T5" fmla="*/ 13 h 47"/>
                  <a:gd name="T6" fmla="*/ 20 w 51"/>
                  <a:gd name="T7" fmla="*/ 9 h 47"/>
                  <a:gd name="T8" fmla="*/ 14 w 51"/>
                  <a:gd name="T9" fmla="*/ 9 h 47"/>
                  <a:gd name="T10" fmla="*/ 10 w 51"/>
                  <a:gd name="T11" fmla="*/ 13 h 47"/>
                  <a:gd name="T12" fmla="*/ 8 w 51"/>
                  <a:gd name="T13" fmla="*/ 19 h 47"/>
                  <a:gd name="T14" fmla="*/ 10 w 51"/>
                  <a:gd name="T15" fmla="*/ 23 h 47"/>
                  <a:gd name="T16" fmla="*/ 17 w 51"/>
                  <a:gd name="T17" fmla="*/ 27 h 47"/>
                  <a:gd name="T18" fmla="*/ 37 w 51"/>
                  <a:gd name="T19" fmla="*/ 40 h 47"/>
                  <a:gd name="T20" fmla="*/ 33 w 51"/>
                  <a:gd name="T21" fmla="*/ 47 h 47"/>
                  <a:gd name="T22" fmla="*/ 13 w 51"/>
                  <a:gd name="T23" fmla="*/ 35 h 47"/>
                  <a:gd name="T24" fmla="*/ 4 w 51"/>
                  <a:gd name="T25" fmla="*/ 29 h 47"/>
                  <a:gd name="T26" fmla="*/ 1 w 51"/>
                  <a:gd name="T27" fmla="*/ 24 h 47"/>
                  <a:gd name="T28" fmla="*/ 0 w 51"/>
                  <a:gd name="T29" fmla="*/ 18 h 47"/>
                  <a:gd name="T30" fmla="*/ 3 w 51"/>
                  <a:gd name="T31" fmla="*/ 10 h 47"/>
                  <a:gd name="T32" fmla="*/ 10 w 51"/>
                  <a:gd name="T33" fmla="*/ 2 h 47"/>
                  <a:gd name="T34" fmla="*/ 15 w 51"/>
                  <a:gd name="T35" fmla="*/ 0 h 47"/>
                  <a:gd name="T36" fmla="*/ 21 w 51"/>
                  <a:gd name="T37" fmla="*/ 0 h 47"/>
                  <a:gd name="T38" fmla="*/ 31 w 51"/>
                  <a:gd name="T39" fmla="*/ 5 h 47"/>
                  <a:gd name="T40" fmla="*/ 51 w 51"/>
                  <a:gd name="T41" fmla="*/ 17 h 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51" h="47">
                    <a:moveTo>
                      <a:pt x="51" y="17"/>
                    </a:moveTo>
                    <a:cubicBezTo>
                      <a:pt x="46" y="25"/>
                      <a:pt x="46" y="25"/>
                      <a:pt x="46" y="25"/>
                    </a:cubicBezTo>
                    <a:cubicBezTo>
                      <a:pt x="26" y="13"/>
                      <a:pt x="26" y="13"/>
                      <a:pt x="26" y="13"/>
                    </a:cubicBezTo>
                    <a:cubicBezTo>
                      <a:pt x="23" y="11"/>
                      <a:pt x="21" y="10"/>
                      <a:pt x="20" y="9"/>
                    </a:cubicBezTo>
                    <a:cubicBezTo>
                      <a:pt x="18" y="9"/>
                      <a:pt x="16" y="9"/>
                      <a:pt x="14" y="9"/>
                    </a:cubicBezTo>
                    <a:cubicBezTo>
                      <a:pt x="13" y="10"/>
                      <a:pt x="11" y="11"/>
                      <a:pt x="10" y="13"/>
                    </a:cubicBezTo>
                    <a:cubicBezTo>
                      <a:pt x="9" y="16"/>
                      <a:pt x="8" y="17"/>
                      <a:pt x="8" y="19"/>
                    </a:cubicBezTo>
                    <a:cubicBezTo>
                      <a:pt x="9" y="21"/>
                      <a:pt x="9" y="22"/>
                      <a:pt x="10" y="23"/>
                    </a:cubicBezTo>
                    <a:cubicBezTo>
                      <a:pt x="12" y="24"/>
                      <a:pt x="14" y="25"/>
                      <a:pt x="17" y="27"/>
                    </a:cubicBezTo>
                    <a:cubicBezTo>
                      <a:pt x="37" y="40"/>
                      <a:pt x="37" y="40"/>
                      <a:pt x="37" y="40"/>
                    </a:cubicBezTo>
                    <a:cubicBezTo>
                      <a:pt x="33" y="47"/>
                      <a:pt x="33" y="47"/>
                      <a:pt x="33" y="47"/>
                    </a:cubicBezTo>
                    <a:cubicBezTo>
                      <a:pt x="13" y="35"/>
                      <a:pt x="13" y="35"/>
                      <a:pt x="13" y="35"/>
                    </a:cubicBezTo>
                    <a:cubicBezTo>
                      <a:pt x="9" y="33"/>
                      <a:pt x="6" y="31"/>
                      <a:pt x="4" y="29"/>
                    </a:cubicBezTo>
                    <a:cubicBezTo>
                      <a:pt x="2" y="28"/>
                      <a:pt x="1" y="26"/>
                      <a:pt x="1" y="24"/>
                    </a:cubicBezTo>
                    <a:cubicBezTo>
                      <a:pt x="0" y="22"/>
                      <a:pt x="0" y="20"/>
                      <a:pt x="0" y="18"/>
                    </a:cubicBezTo>
                    <a:cubicBezTo>
                      <a:pt x="0" y="15"/>
                      <a:pt x="2" y="13"/>
                      <a:pt x="3" y="10"/>
                    </a:cubicBezTo>
                    <a:cubicBezTo>
                      <a:pt x="6" y="6"/>
                      <a:pt x="8" y="4"/>
                      <a:pt x="10" y="2"/>
                    </a:cubicBezTo>
                    <a:cubicBezTo>
                      <a:pt x="11" y="1"/>
                      <a:pt x="13" y="0"/>
                      <a:pt x="15" y="0"/>
                    </a:cubicBezTo>
                    <a:cubicBezTo>
                      <a:pt x="17" y="0"/>
                      <a:pt x="19" y="0"/>
                      <a:pt x="21" y="0"/>
                    </a:cubicBezTo>
                    <a:cubicBezTo>
                      <a:pt x="23" y="1"/>
                      <a:pt x="27" y="3"/>
                      <a:pt x="31" y="5"/>
                    </a:cubicBezTo>
                    <a:lnTo>
                      <a:pt x="51" y="1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30" name="íṧḷîde"/>
              <p:cNvSpPr/>
              <p:nvPr/>
            </p:nvSpPr>
            <p:spPr bwMode="auto">
              <a:xfrm>
                <a:off x="1704872" y="4971053"/>
                <a:ext cx="100013" cy="92075"/>
              </a:xfrm>
              <a:custGeom>
                <a:avLst/>
                <a:gdLst>
                  <a:gd name="T0" fmla="*/ 17 w 63"/>
                  <a:gd name="T1" fmla="*/ 0 h 58"/>
                  <a:gd name="T2" fmla="*/ 63 w 63"/>
                  <a:gd name="T3" fmla="*/ 21 h 58"/>
                  <a:gd name="T4" fmla="*/ 59 w 63"/>
                  <a:gd name="T5" fmla="*/ 30 h 58"/>
                  <a:gd name="T6" fmla="*/ 19 w 63"/>
                  <a:gd name="T7" fmla="*/ 35 h 58"/>
                  <a:gd name="T8" fmla="*/ 50 w 63"/>
                  <a:gd name="T9" fmla="*/ 50 h 58"/>
                  <a:gd name="T10" fmla="*/ 46 w 63"/>
                  <a:gd name="T11" fmla="*/ 58 h 58"/>
                  <a:gd name="T12" fmla="*/ 0 w 63"/>
                  <a:gd name="T13" fmla="*/ 37 h 58"/>
                  <a:gd name="T14" fmla="*/ 4 w 63"/>
                  <a:gd name="T15" fmla="*/ 26 h 58"/>
                  <a:gd name="T16" fmla="*/ 43 w 63"/>
                  <a:gd name="T17" fmla="*/ 22 h 58"/>
                  <a:gd name="T18" fmla="*/ 12 w 63"/>
                  <a:gd name="T19" fmla="*/ 8 h 58"/>
                  <a:gd name="T20" fmla="*/ 17 w 63"/>
                  <a:gd name="T21" fmla="*/ 0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63" h="58">
                    <a:moveTo>
                      <a:pt x="17" y="0"/>
                    </a:moveTo>
                    <a:lnTo>
                      <a:pt x="63" y="21"/>
                    </a:lnTo>
                    <a:lnTo>
                      <a:pt x="59" y="30"/>
                    </a:lnTo>
                    <a:lnTo>
                      <a:pt x="19" y="35"/>
                    </a:lnTo>
                    <a:lnTo>
                      <a:pt x="50" y="50"/>
                    </a:lnTo>
                    <a:lnTo>
                      <a:pt x="46" y="58"/>
                    </a:lnTo>
                    <a:lnTo>
                      <a:pt x="0" y="37"/>
                    </a:lnTo>
                    <a:lnTo>
                      <a:pt x="4" y="26"/>
                    </a:lnTo>
                    <a:lnTo>
                      <a:pt x="43" y="22"/>
                    </a:lnTo>
                    <a:lnTo>
                      <a:pt x="12" y="8"/>
                    </a:lnTo>
                    <a:lnTo>
                      <a:pt x="17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31" name="íS1îḍé"/>
              <p:cNvSpPr/>
              <p:nvPr/>
            </p:nvSpPr>
            <p:spPr bwMode="auto">
              <a:xfrm>
                <a:off x="1690584" y="5045665"/>
                <a:ext cx="84138" cy="44450"/>
              </a:xfrm>
              <a:custGeom>
                <a:avLst/>
                <a:gdLst>
                  <a:gd name="T0" fmla="*/ 5 w 53"/>
                  <a:gd name="T1" fmla="*/ 0 h 28"/>
                  <a:gd name="T2" fmla="*/ 53 w 53"/>
                  <a:gd name="T3" fmla="*/ 19 h 28"/>
                  <a:gd name="T4" fmla="*/ 49 w 53"/>
                  <a:gd name="T5" fmla="*/ 28 h 28"/>
                  <a:gd name="T6" fmla="*/ 0 w 53"/>
                  <a:gd name="T7" fmla="*/ 10 h 28"/>
                  <a:gd name="T8" fmla="*/ 5 w 53"/>
                  <a:gd name="T9" fmla="*/ 0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3" h="28">
                    <a:moveTo>
                      <a:pt x="5" y="0"/>
                    </a:moveTo>
                    <a:lnTo>
                      <a:pt x="53" y="19"/>
                    </a:lnTo>
                    <a:lnTo>
                      <a:pt x="49" y="28"/>
                    </a:lnTo>
                    <a:lnTo>
                      <a:pt x="0" y="10"/>
                    </a:lnTo>
                    <a:lnTo>
                      <a:pt x="5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32" name="íṧļïḋè"/>
              <p:cNvSpPr/>
              <p:nvPr/>
            </p:nvSpPr>
            <p:spPr bwMode="auto">
              <a:xfrm>
                <a:off x="1674709" y="5091703"/>
                <a:ext cx="92075" cy="73025"/>
              </a:xfrm>
              <a:custGeom>
                <a:avLst/>
                <a:gdLst>
                  <a:gd name="T0" fmla="*/ 4 w 58"/>
                  <a:gd name="T1" fmla="*/ 3 h 46"/>
                  <a:gd name="T2" fmla="*/ 58 w 58"/>
                  <a:gd name="T3" fmla="*/ 0 h 46"/>
                  <a:gd name="T4" fmla="*/ 55 w 58"/>
                  <a:gd name="T5" fmla="*/ 11 h 46"/>
                  <a:gd name="T6" fmla="*/ 14 w 58"/>
                  <a:gd name="T7" fmla="*/ 13 h 46"/>
                  <a:gd name="T8" fmla="*/ 46 w 58"/>
                  <a:gd name="T9" fmla="*/ 35 h 46"/>
                  <a:gd name="T10" fmla="*/ 44 w 58"/>
                  <a:gd name="T11" fmla="*/ 46 h 46"/>
                  <a:gd name="T12" fmla="*/ 0 w 58"/>
                  <a:gd name="T13" fmla="*/ 14 h 46"/>
                  <a:gd name="T14" fmla="*/ 4 w 58"/>
                  <a:gd name="T15" fmla="*/ 3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58" h="46">
                    <a:moveTo>
                      <a:pt x="4" y="3"/>
                    </a:moveTo>
                    <a:lnTo>
                      <a:pt x="58" y="0"/>
                    </a:lnTo>
                    <a:lnTo>
                      <a:pt x="55" y="11"/>
                    </a:lnTo>
                    <a:lnTo>
                      <a:pt x="14" y="13"/>
                    </a:lnTo>
                    <a:lnTo>
                      <a:pt x="46" y="35"/>
                    </a:lnTo>
                    <a:lnTo>
                      <a:pt x="44" y="46"/>
                    </a:lnTo>
                    <a:lnTo>
                      <a:pt x="0" y="14"/>
                    </a:lnTo>
                    <a:lnTo>
                      <a:pt x="4" y="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33" name="ïṡḷiḋé"/>
              <p:cNvSpPr/>
              <p:nvPr/>
            </p:nvSpPr>
            <p:spPr bwMode="auto">
              <a:xfrm>
                <a:off x="1652484" y="5153615"/>
                <a:ext cx="90488" cy="73025"/>
              </a:xfrm>
              <a:custGeom>
                <a:avLst/>
                <a:gdLst>
                  <a:gd name="T0" fmla="*/ 7 w 57"/>
                  <a:gd name="T1" fmla="*/ 0 h 46"/>
                  <a:gd name="T2" fmla="*/ 57 w 57"/>
                  <a:gd name="T3" fmla="*/ 10 h 46"/>
                  <a:gd name="T4" fmla="*/ 50 w 57"/>
                  <a:gd name="T5" fmla="*/ 46 h 46"/>
                  <a:gd name="T6" fmla="*/ 42 w 57"/>
                  <a:gd name="T7" fmla="*/ 45 h 46"/>
                  <a:gd name="T8" fmla="*/ 47 w 57"/>
                  <a:gd name="T9" fmla="*/ 18 h 46"/>
                  <a:gd name="T10" fmla="*/ 36 w 57"/>
                  <a:gd name="T11" fmla="*/ 16 h 46"/>
                  <a:gd name="T12" fmla="*/ 30 w 57"/>
                  <a:gd name="T13" fmla="*/ 40 h 46"/>
                  <a:gd name="T14" fmla="*/ 22 w 57"/>
                  <a:gd name="T15" fmla="*/ 39 h 46"/>
                  <a:gd name="T16" fmla="*/ 27 w 57"/>
                  <a:gd name="T17" fmla="*/ 14 h 46"/>
                  <a:gd name="T18" fmla="*/ 14 w 57"/>
                  <a:gd name="T19" fmla="*/ 11 h 46"/>
                  <a:gd name="T20" fmla="*/ 8 w 57"/>
                  <a:gd name="T21" fmla="*/ 39 h 46"/>
                  <a:gd name="T22" fmla="*/ 0 w 57"/>
                  <a:gd name="T23" fmla="*/ 38 h 46"/>
                  <a:gd name="T24" fmla="*/ 7 w 57"/>
                  <a:gd name="T25" fmla="*/ 0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57" h="46">
                    <a:moveTo>
                      <a:pt x="7" y="0"/>
                    </a:moveTo>
                    <a:lnTo>
                      <a:pt x="57" y="10"/>
                    </a:lnTo>
                    <a:lnTo>
                      <a:pt x="50" y="46"/>
                    </a:lnTo>
                    <a:lnTo>
                      <a:pt x="42" y="45"/>
                    </a:lnTo>
                    <a:lnTo>
                      <a:pt x="47" y="18"/>
                    </a:lnTo>
                    <a:lnTo>
                      <a:pt x="36" y="16"/>
                    </a:lnTo>
                    <a:lnTo>
                      <a:pt x="30" y="40"/>
                    </a:lnTo>
                    <a:lnTo>
                      <a:pt x="22" y="39"/>
                    </a:lnTo>
                    <a:lnTo>
                      <a:pt x="27" y="14"/>
                    </a:lnTo>
                    <a:lnTo>
                      <a:pt x="14" y="11"/>
                    </a:lnTo>
                    <a:lnTo>
                      <a:pt x="8" y="39"/>
                    </a:lnTo>
                    <a:lnTo>
                      <a:pt x="0" y="38"/>
                    </a:lnTo>
                    <a:lnTo>
                      <a:pt x="7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34" name="ïşļiḋe"/>
              <p:cNvSpPr/>
              <p:nvPr/>
            </p:nvSpPr>
            <p:spPr bwMode="auto">
              <a:xfrm>
                <a:off x="1641372" y="5231403"/>
                <a:ext cx="88900" cy="71438"/>
              </a:xfrm>
              <a:custGeom>
                <a:avLst/>
                <a:gdLst>
                  <a:gd name="T0" fmla="*/ 4 w 48"/>
                  <a:gd name="T1" fmla="*/ 0 h 39"/>
                  <a:gd name="T2" fmla="*/ 48 w 48"/>
                  <a:gd name="T3" fmla="*/ 4 h 39"/>
                  <a:gd name="T4" fmla="*/ 46 w 48"/>
                  <a:gd name="T5" fmla="*/ 23 h 39"/>
                  <a:gd name="T6" fmla="*/ 44 w 48"/>
                  <a:gd name="T7" fmla="*/ 33 h 39"/>
                  <a:gd name="T8" fmla="*/ 39 w 48"/>
                  <a:gd name="T9" fmla="*/ 38 h 39"/>
                  <a:gd name="T10" fmla="*/ 32 w 48"/>
                  <a:gd name="T11" fmla="*/ 39 h 39"/>
                  <a:gd name="T12" fmla="*/ 24 w 48"/>
                  <a:gd name="T13" fmla="*/ 35 h 39"/>
                  <a:gd name="T14" fmla="*/ 21 w 48"/>
                  <a:gd name="T15" fmla="*/ 26 h 39"/>
                  <a:gd name="T16" fmla="*/ 17 w 48"/>
                  <a:gd name="T17" fmla="*/ 30 h 39"/>
                  <a:gd name="T18" fmla="*/ 9 w 48"/>
                  <a:gd name="T19" fmla="*/ 35 h 39"/>
                  <a:gd name="T20" fmla="*/ 0 w 48"/>
                  <a:gd name="T21" fmla="*/ 39 h 39"/>
                  <a:gd name="T22" fmla="*/ 1 w 48"/>
                  <a:gd name="T23" fmla="*/ 29 h 39"/>
                  <a:gd name="T24" fmla="*/ 12 w 48"/>
                  <a:gd name="T25" fmla="*/ 23 h 39"/>
                  <a:gd name="T26" fmla="*/ 18 w 48"/>
                  <a:gd name="T27" fmla="*/ 19 h 39"/>
                  <a:gd name="T28" fmla="*/ 20 w 48"/>
                  <a:gd name="T29" fmla="*/ 17 h 39"/>
                  <a:gd name="T30" fmla="*/ 21 w 48"/>
                  <a:gd name="T31" fmla="*/ 12 h 39"/>
                  <a:gd name="T32" fmla="*/ 22 w 48"/>
                  <a:gd name="T33" fmla="*/ 11 h 39"/>
                  <a:gd name="T34" fmla="*/ 3 w 48"/>
                  <a:gd name="T35" fmla="*/ 9 h 39"/>
                  <a:gd name="T36" fmla="*/ 4 w 48"/>
                  <a:gd name="T37" fmla="*/ 0 h 39"/>
                  <a:gd name="T38" fmla="*/ 29 w 48"/>
                  <a:gd name="T39" fmla="*/ 11 h 39"/>
                  <a:gd name="T40" fmla="*/ 28 w 48"/>
                  <a:gd name="T41" fmla="*/ 18 h 39"/>
                  <a:gd name="T42" fmla="*/ 28 w 48"/>
                  <a:gd name="T43" fmla="*/ 26 h 39"/>
                  <a:gd name="T44" fmla="*/ 29 w 48"/>
                  <a:gd name="T45" fmla="*/ 28 h 39"/>
                  <a:gd name="T46" fmla="*/ 32 w 48"/>
                  <a:gd name="T47" fmla="*/ 30 h 39"/>
                  <a:gd name="T48" fmla="*/ 36 w 48"/>
                  <a:gd name="T49" fmla="*/ 29 h 39"/>
                  <a:gd name="T50" fmla="*/ 38 w 48"/>
                  <a:gd name="T51" fmla="*/ 26 h 39"/>
                  <a:gd name="T52" fmla="*/ 39 w 48"/>
                  <a:gd name="T53" fmla="*/ 19 h 39"/>
                  <a:gd name="T54" fmla="*/ 40 w 48"/>
                  <a:gd name="T55" fmla="*/ 12 h 39"/>
                  <a:gd name="T56" fmla="*/ 29 w 48"/>
                  <a:gd name="T57" fmla="*/ 11 h 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48" h="39">
                    <a:moveTo>
                      <a:pt x="4" y="0"/>
                    </a:moveTo>
                    <a:cubicBezTo>
                      <a:pt x="48" y="4"/>
                      <a:pt x="48" y="4"/>
                      <a:pt x="48" y="4"/>
                    </a:cubicBezTo>
                    <a:cubicBezTo>
                      <a:pt x="46" y="23"/>
                      <a:pt x="46" y="23"/>
                      <a:pt x="46" y="23"/>
                    </a:cubicBezTo>
                    <a:cubicBezTo>
                      <a:pt x="46" y="27"/>
                      <a:pt x="45" y="31"/>
                      <a:pt x="44" y="33"/>
                    </a:cubicBezTo>
                    <a:cubicBezTo>
                      <a:pt x="43" y="35"/>
                      <a:pt x="41" y="36"/>
                      <a:pt x="39" y="38"/>
                    </a:cubicBezTo>
                    <a:cubicBezTo>
                      <a:pt x="37" y="39"/>
                      <a:pt x="35" y="39"/>
                      <a:pt x="32" y="39"/>
                    </a:cubicBezTo>
                    <a:cubicBezTo>
                      <a:pt x="29" y="38"/>
                      <a:pt x="26" y="37"/>
                      <a:pt x="24" y="35"/>
                    </a:cubicBezTo>
                    <a:cubicBezTo>
                      <a:pt x="22" y="33"/>
                      <a:pt x="21" y="30"/>
                      <a:pt x="21" y="26"/>
                    </a:cubicBezTo>
                    <a:cubicBezTo>
                      <a:pt x="20" y="28"/>
                      <a:pt x="18" y="29"/>
                      <a:pt x="17" y="30"/>
                    </a:cubicBezTo>
                    <a:cubicBezTo>
                      <a:pt x="16" y="32"/>
                      <a:pt x="13" y="33"/>
                      <a:pt x="9" y="35"/>
                    </a:cubicBezTo>
                    <a:cubicBezTo>
                      <a:pt x="0" y="39"/>
                      <a:pt x="0" y="39"/>
                      <a:pt x="0" y="39"/>
                    </a:cubicBezTo>
                    <a:cubicBezTo>
                      <a:pt x="1" y="29"/>
                      <a:pt x="1" y="29"/>
                      <a:pt x="1" y="29"/>
                    </a:cubicBezTo>
                    <a:cubicBezTo>
                      <a:pt x="12" y="23"/>
                      <a:pt x="12" y="23"/>
                      <a:pt x="12" y="23"/>
                    </a:cubicBezTo>
                    <a:cubicBezTo>
                      <a:pt x="15" y="21"/>
                      <a:pt x="17" y="20"/>
                      <a:pt x="18" y="19"/>
                    </a:cubicBezTo>
                    <a:cubicBezTo>
                      <a:pt x="19" y="18"/>
                      <a:pt x="20" y="18"/>
                      <a:pt x="20" y="17"/>
                    </a:cubicBezTo>
                    <a:cubicBezTo>
                      <a:pt x="21" y="16"/>
                      <a:pt x="21" y="14"/>
                      <a:pt x="21" y="12"/>
                    </a:cubicBezTo>
                    <a:cubicBezTo>
                      <a:pt x="22" y="11"/>
                      <a:pt x="22" y="11"/>
                      <a:pt x="22" y="11"/>
                    </a:cubicBezTo>
                    <a:cubicBezTo>
                      <a:pt x="3" y="9"/>
                      <a:pt x="3" y="9"/>
                      <a:pt x="3" y="9"/>
                    </a:cubicBezTo>
                    <a:lnTo>
                      <a:pt x="4" y="0"/>
                    </a:lnTo>
                    <a:close/>
                    <a:moveTo>
                      <a:pt x="29" y="11"/>
                    </a:moveTo>
                    <a:cubicBezTo>
                      <a:pt x="28" y="18"/>
                      <a:pt x="28" y="18"/>
                      <a:pt x="28" y="18"/>
                    </a:cubicBezTo>
                    <a:cubicBezTo>
                      <a:pt x="28" y="22"/>
                      <a:pt x="27" y="25"/>
                      <a:pt x="28" y="26"/>
                    </a:cubicBezTo>
                    <a:cubicBezTo>
                      <a:pt x="28" y="27"/>
                      <a:pt x="28" y="28"/>
                      <a:pt x="29" y="28"/>
                    </a:cubicBezTo>
                    <a:cubicBezTo>
                      <a:pt x="30" y="29"/>
                      <a:pt x="31" y="30"/>
                      <a:pt x="32" y="30"/>
                    </a:cubicBezTo>
                    <a:cubicBezTo>
                      <a:pt x="34" y="30"/>
                      <a:pt x="35" y="30"/>
                      <a:pt x="36" y="29"/>
                    </a:cubicBezTo>
                    <a:cubicBezTo>
                      <a:pt x="37" y="28"/>
                      <a:pt x="38" y="27"/>
                      <a:pt x="38" y="26"/>
                    </a:cubicBezTo>
                    <a:cubicBezTo>
                      <a:pt x="38" y="25"/>
                      <a:pt x="39" y="23"/>
                      <a:pt x="39" y="19"/>
                    </a:cubicBezTo>
                    <a:cubicBezTo>
                      <a:pt x="40" y="12"/>
                      <a:pt x="40" y="12"/>
                      <a:pt x="40" y="12"/>
                    </a:cubicBezTo>
                    <a:lnTo>
                      <a:pt x="29" y="1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35" name="îś1iḓê"/>
              <p:cNvSpPr/>
              <p:nvPr/>
            </p:nvSpPr>
            <p:spPr bwMode="auto">
              <a:xfrm>
                <a:off x="1641372" y="5312365"/>
                <a:ext cx="82550" cy="66675"/>
              </a:xfrm>
              <a:custGeom>
                <a:avLst/>
                <a:gdLst>
                  <a:gd name="T0" fmla="*/ 15 w 45"/>
                  <a:gd name="T1" fmla="*/ 0 h 36"/>
                  <a:gd name="T2" fmla="*/ 16 w 45"/>
                  <a:gd name="T3" fmla="*/ 8 h 36"/>
                  <a:gd name="T4" fmla="*/ 9 w 45"/>
                  <a:gd name="T5" fmla="*/ 12 h 36"/>
                  <a:gd name="T6" fmla="*/ 7 w 45"/>
                  <a:gd name="T7" fmla="*/ 18 h 36"/>
                  <a:gd name="T8" fmla="*/ 9 w 45"/>
                  <a:gd name="T9" fmla="*/ 25 h 36"/>
                  <a:gd name="T10" fmla="*/ 13 w 45"/>
                  <a:gd name="T11" fmla="*/ 27 h 36"/>
                  <a:gd name="T12" fmla="*/ 16 w 45"/>
                  <a:gd name="T13" fmla="*/ 26 h 36"/>
                  <a:gd name="T14" fmla="*/ 18 w 45"/>
                  <a:gd name="T15" fmla="*/ 23 h 36"/>
                  <a:gd name="T16" fmla="*/ 20 w 45"/>
                  <a:gd name="T17" fmla="*/ 15 h 36"/>
                  <a:gd name="T18" fmla="*/ 24 w 45"/>
                  <a:gd name="T19" fmla="*/ 5 h 36"/>
                  <a:gd name="T20" fmla="*/ 33 w 45"/>
                  <a:gd name="T21" fmla="*/ 1 h 36"/>
                  <a:gd name="T22" fmla="*/ 39 w 45"/>
                  <a:gd name="T23" fmla="*/ 3 h 36"/>
                  <a:gd name="T24" fmla="*/ 44 w 45"/>
                  <a:gd name="T25" fmla="*/ 9 h 36"/>
                  <a:gd name="T26" fmla="*/ 45 w 45"/>
                  <a:gd name="T27" fmla="*/ 17 h 36"/>
                  <a:gd name="T28" fmla="*/ 42 w 45"/>
                  <a:gd name="T29" fmla="*/ 30 h 36"/>
                  <a:gd name="T30" fmla="*/ 32 w 45"/>
                  <a:gd name="T31" fmla="*/ 34 h 36"/>
                  <a:gd name="T32" fmla="*/ 31 w 45"/>
                  <a:gd name="T33" fmla="*/ 25 h 36"/>
                  <a:gd name="T34" fmla="*/ 36 w 45"/>
                  <a:gd name="T35" fmla="*/ 23 h 36"/>
                  <a:gd name="T36" fmla="*/ 38 w 45"/>
                  <a:gd name="T37" fmla="*/ 17 h 36"/>
                  <a:gd name="T38" fmla="*/ 36 w 45"/>
                  <a:gd name="T39" fmla="*/ 11 h 36"/>
                  <a:gd name="T40" fmla="*/ 33 w 45"/>
                  <a:gd name="T41" fmla="*/ 10 h 36"/>
                  <a:gd name="T42" fmla="*/ 31 w 45"/>
                  <a:gd name="T43" fmla="*/ 11 h 36"/>
                  <a:gd name="T44" fmla="*/ 28 w 45"/>
                  <a:gd name="T45" fmla="*/ 19 h 36"/>
                  <a:gd name="T46" fmla="*/ 25 w 45"/>
                  <a:gd name="T47" fmla="*/ 29 h 36"/>
                  <a:gd name="T48" fmla="*/ 20 w 45"/>
                  <a:gd name="T49" fmla="*/ 34 h 36"/>
                  <a:gd name="T50" fmla="*/ 13 w 45"/>
                  <a:gd name="T51" fmla="*/ 36 h 36"/>
                  <a:gd name="T52" fmla="*/ 6 w 45"/>
                  <a:gd name="T53" fmla="*/ 33 h 36"/>
                  <a:gd name="T54" fmla="*/ 1 w 45"/>
                  <a:gd name="T55" fmla="*/ 28 h 36"/>
                  <a:gd name="T56" fmla="*/ 0 w 45"/>
                  <a:gd name="T57" fmla="*/ 18 h 36"/>
                  <a:gd name="T58" fmla="*/ 3 w 45"/>
                  <a:gd name="T59" fmla="*/ 5 h 36"/>
                  <a:gd name="T60" fmla="*/ 15 w 45"/>
                  <a:gd name="T61" fmla="*/ 0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45" h="36">
                    <a:moveTo>
                      <a:pt x="15" y="0"/>
                    </a:moveTo>
                    <a:cubicBezTo>
                      <a:pt x="16" y="8"/>
                      <a:pt x="16" y="8"/>
                      <a:pt x="16" y="8"/>
                    </a:cubicBezTo>
                    <a:cubicBezTo>
                      <a:pt x="13" y="9"/>
                      <a:pt x="10" y="10"/>
                      <a:pt x="9" y="12"/>
                    </a:cubicBezTo>
                    <a:cubicBezTo>
                      <a:pt x="8" y="13"/>
                      <a:pt x="7" y="15"/>
                      <a:pt x="7" y="18"/>
                    </a:cubicBezTo>
                    <a:cubicBezTo>
                      <a:pt x="7" y="21"/>
                      <a:pt x="8" y="23"/>
                      <a:pt x="9" y="25"/>
                    </a:cubicBezTo>
                    <a:cubicBezTo>
                      <a:pt x="10" y="26"/>
                      <a:pt x="12" y="27"/>
                      <a:pt x="13" y="27"/>
                    </a:cubicBezTo>
                    <a:cubicBezTo>
                      <a:pt x="14" y="27"/>
                      <a:pt x="15" y="26"/>
                      <a:pt x="16" y="26"/>
                    </a:cubicBezTo>
                    <a:cubicBezTo>
                      <a:pt x="17" y="25"/>
                      <a:pt x="17" y="24"/>
                      <a:pt x="18" y="23"/>
                    </a:cubicBezTo>
                    <a:cubicBezTo>
                      <a:pt x="18" y="22"/>
                      <a:pt x="19" y="19"/>
                      <a:pt x="20" y="15"/>
                    </a:cubicBezTo>
                    <a:cubicBezTo>
                      <a:pt x="21" y="11"/>
                      <a:pt x="22" y="7"/>
                      <a:pt x="24" y="5"/>
                    </a:cubicBezTo>
                    <a:cubicBezTo>
                      <a:pt x="26" y="3"/>
                      <a:pt x="29" y="1"/>
                      <a:pt x="33" y="1"/>
                    </a:cubicBezTo>
                    <a:cubicBezTo>
                      <a:pt x="35" y="1"/>
                      <a:pt x="37" y="2"/>
                      <a:pt x="39" y="3"/>
                    </a:cubicBezTo>
                    <a:cubicBezTo>
                      <a:pt x="41" y="4"/>
                      <a:pt x="43" y="6"/>
                      <a:pt x="44" y="9"/>
                    </a:cubicBezTo>
                    <a:cubicBezTo>
                      <a:pt x="45" y="11"/>
                      <a:pt x="45" y="14"/>
                      <a:pt x="45" y="17"/>
                    </a:cubicBezTo>
                    <a:cubicBezTo>
                      <a:pt x="45" y="23"/>
                      <a:pt x="44" y="27"/>
                      <a:pt x="42" y="30"/>
                    </a:cubicBezTo>
                    <a:cubicBezTo>
                      <a:pt x="39" y="33"/>
                      <a:pt x="36" y="34"/>
                      <a:pt x="32" y="34"/>
                    </a:cubicBezTo>
                    <a:cubicBezTo>
                      <a:pt x="31" y="25"/>
                      <a:pt x="31" y="25"/>
                      <a:pt x="31" y="25"/>
                    </a:cubicBezTo>
                    <a:cubicBezTo>
                      <a:pt x="34" y="25"/>
                      <a:pt x="35" y="24"/>
                      <a:pt x="36" y="23"/>
                    </a:cubicBezTo>
                    <a:cubicBezTo>
                      <a:pt x="37" y="22"/>
                      <a:pt x="38" y="20"/>
                      <a:pt x="38" y="17"/>
                    </a:cubicBezTo>
                    <a:cubicBezTo>
                      <a:pt x="38" y="15"/>
                      <a:pt x="37" y="13"/>
                      <a:pt x="36" y="11"/>
                    </a:cubicBezTo>
                    <a:cubicBezTo>
                      <a:pt x="35" y="10"/>
                      <a:pt x="35" y="10"/>
                      <a:pt x="33" y="10"/>
                    </a:cubicBezTo>
                    <a:cubicBezTo>
                      <a:pt x="32" y="10"/>
                      <a:pt x="31" y="10"/>
                      <a:pt x="31" y="11"/>
                    </a:cubicBezTo>
                    <a:cubicBezTo>
                      <a:pt x="30" y="12"/>
                      <a:pt x="29" y="15"/>
                      <a:pt x="28" y="19"/>
                    </a:cubicBezTo>
                    <a:cubicBezTo>
                      <a:pt x="27" y="24"/>
                      <a:pt x="26" y="27"/>
                      <a:pt x="25" y="29"/>
                    </a:cubicBezTo>
                    <a:cubicBezTo>
                      <a:pt x="24" y="31"/>
                      <a:pt x="22" y="33"/>
                      <a:pt x="20" y="34"/>
                    </a:cubicBezTo>
                    <a:cubicBezTo>
                      <a:pt x="18" y="35"/>
                      <a:pt x="16" y="36"/>
                      <a:pt x="13" y="36"/>
                    </a:cubicBezTo>
                    <a:cubicBezTo>
                      <a:pt x="11" y="36"/>
                      <a:pt x="8" y="35"/>
                      <a:pt x="6" y="33"/>
                    </a:cubicBezTo>
                    <a:cubicBezTo>
                      <a:pt x="4" y="32"/>
                      <a:pt x="2" y="30"/>
                      <a:pt x="1" y="28"/>
                    </a:cubicBezTo>
                    <a:cubicBezTo>
                      <a:pt x="0" y="25"/>
                      <a:pt x="0" y="22"/>
                      <a:pt x="0" y="18"/>
                    </a:cubicBezTo>
                    <a:cubicBezTo>
                      <a:pt x="0" y="12"/>
                      <a:pt x="1" y="8"/>
                      <a:pt x="3" y="5"/>
                    </a:cubicBezTo>
                    <a:cubicBezTo>
                      <a:pt x="6" y="2"/>
                      <a:pt x="10" y="0"/>
                      <a:pt x="15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36" name="íş1ïḓe"/>
              <p:cNvSpPr/>
              <p:nvPr/>
            </p:nvSpPr>
            <p:spPr bwMode="auto">
              <a:xfrm>
                <a:off x="1642959" y="5385390"/>
                <a:ext cx="84138" cy="22225"/>
              </a:xfrm>
              <a:custGeom>
                <a:avLst/>
                <a:gdLst>
                  <a:gd name="T0" fmla="*/ 0 w 53"/>
                  <a:gd name="T1" fmla="*/ 5 h 14"/>
                  <a:gd name="T2" fmla="*/ 51 w 53"/>
                  <a:gd name="T3" fmla="*/ 0 h 14"/>
                  <a:gd name="T4" fmla="*/ 53 w 53"/>
                  <a:gd name="T5" fmla="*/ 11 h 14"/>
                  <a:gd name="T6" fmla="*/ 1 w 53"/>
                  <a:gd name="T7" fmla="*/ 14 h 14"/>
                  <a:gd name="T8" fmla="*/ 0 w 53"/>
                  <a:gd name="T9" fmla="*/ 5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3" h="14">
                    <a:moveTo>
                      <a:pt x="0" y="5"/>
                    </a:moveTo>
                    <a:lnTo>
                      <a:pt x="51" y="0"/>
                    </a:lnTo>
                    <a:lnTo>
                      <a:pt x="53" y="11"/>
                    </a:lnTo>
                    <a:lnTo>
                      <a:pt x="1" y="14"/>
                    </a:lnTo>
                    <a:lnTo>
                      <a:pt x="0" y="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37" name="ïṩlîḋè"/>
              <p:cNvSpPr/>
              <p:nvPr/>
            </p:nvSpPr>
            <p:spPr bwMode="auto">
              <a:xfrm>
                <a:off x="1649309" y="5407615"/>
                <a:ext cx="84138" cy="66675"/>
              </a:xfrm>
              <a:custGeom>
                <a:avLst/>
                <a:gdLst>
                  <a:gd name="T0" fmla="*/ 0 w 53"/>
                  <a:gd name="T1" fmla="*/ 22 h 42"/>
                  <a:gd name="T2" fmla="*/ 42 w 53"/>
                  <a:gd name="T3" fmla="*/ 17 h 42"/>
                  <a:gd name="T4" fmla="*/ 39 w 53"/>
                  <a:gd name="T5" fmla="*/ 1 h 42"/>
                  <a:gd name="T6" fmla="*/ 49 w 53"/>
                  <a:gd name="T7" fmla="*/ 0 h 42"/>
                  <a:gd name="T8" fmla="*/ 53 w 53"/>
                  <a:gd name="T9" fmla="*/ 41 h 42"/>
                  <a:gd name="T10" fmla="*/ 45 w 53"/>
                  <a:gd name="T11" fmla="*/ 42 h 42"/>
                  <a:gd name="T12" fmla="*/ 43 w 53"/>
                  <a:gd name="T13" fmla="*/ 27 h 42"/>
                  <a:gd name="T14" fmla="*/ 1 w 53"/>
                  <a:gd name="T15" fmla="*/ 33 h 42"/>
                  <a:gd name="T16" fmla="*/ 0 w 53"/>
                  <a:gd name="T17" fmla="*/ 22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3" h="42">
                    <a:moveTo>
                      <a:pt x="0" y="22"/>
                    </a:moveTo>
                    <a:lnTo>
                      <a:pt x="42" y="17"/>
                    </a:lnTo>
                    <a:lnTo>
                      <a:pt x="39" y="1"/>
                    </a:lnTo>
                    <a:lnTo>
                      <a:pt x="49" y="0"/>
                    </a:lnTo>
                    <a:lnTo>
                      <a:pt x="53" y="41"/>
                    </a:lnTo>
                    <a:lnTo>
                      <a:pt x="45" y="42"/>
                    </a:lnTo>
                    <a:lnTo>
                      <a:pt x="43" y="27"/>
                    </a:lnTo>
                    <a:lnTo>
                      <a:pt x="1" y="33"/>
                    </a:lnTo>
                    <a:lnTo>
                      <a:pt x="0" y="2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38" name="ïṣľîďe"/>
              <p:cNvSpPr/>
              <p:nvPr/>
            </p:nvSpPr>
            <p:spPr bwMode="auto">
              <a:xfrm>
                <a:off x="1662009" y="5471115"/>
                <a:ext cx="90488" cy="73025"/>
              </a:xfrm>
              <a:custGeom>
                <a:avLst/>
                <a:gdLst>
                  <a:gd name="T0" fmla="*/ 0 w 57"/>
                  <a:gd name="T1" fmla="*/ 29 h 46"/>
                  <a:gd name="T2" fmla="*/ 21 w 57"/>
                  <a:gd name="T3" fmla="*/ 24 h 46"/>
                  <a:gd name="T4" fmla="*/ 45 w 57"/>
                  <a:gd name="T5" fmla="*/ 0 h 46"/>
                  <a:gd name="T6" fmla="*/ 49 w 57"/>
                  <a:gd name="T7" fmla="*/ 11 h 46"/>
                  <a:gd name="T8" fmla="*/ 31 w 57"/>
                  <a:gd name="T9" fmla="*/ 28 h 46"/>
                  <a:gd name="T10" fmla="*/ 53 w 57"/>
                  <a:gd name="T11" fmla="*/ 35 h 46"/>
                  <a:gd name="T12" fmla="*/ 57 w 57"/>
                  <a:gd name="T13" fmla="*/ 46 h 46"/>
                  <a:gd name="T14" fmla="*/ 23 w 57"/>
                  <a:gd name="T15" fmla="*/ 35 h 46"/>
                  <a:gd name="T16" fmla="*/ 2 w 57"/>
                  <a:gd name="T17" fmla="*/ 39 h 46"/>
                  <a:gd name="T18" fmla="*/ 0 w 57"/>
                  <a:gd name="T19" fmla="*/ 29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57" h="46">
                    <a:moveTo>
                      <a:pt x="0" y="29"/>
                    </a:moveTo>
                    <a:lnTo>
                      <a:pt x="21" y="24"/>
                    </a:lnTo>
                    <a:lnTo>
                      <a:pt x="45" y="0"/>
                    </a:lnTo>
                    <a:lnTo>
                      <a:pt x="49" y="11"/>
                    </a:lnTo>
                    <a:lnTo>
                      <a:pt x="31" y="28"/>
                    </a:lnTo>
                    <a:lnTo>
                      <a:pt x="53" y="35"/>
                    </a:lnTo>
                    <a:lnTo>
                      <a:pt x="57" y="46"/>
                    </a:lnTo>
                    <a:lnTo>
                      <a:pt x="23" y="35"/>
                    </a:lnTo>
                    <a:lnTo>
                      <a:pt x="2" y="39"/>
                    </a:lnTo>
                    <a:lnTo>
                      <a:pt x="0" y="2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39" name="íśļiḓe"/>
              <p:cNvSpPr/>
              <p:nvPr/>
            </p:nvSpPr>
            <p:spPr bwMode="auto">
              <a:xfrm>
                <a:off x="1704872" y="5609228"/>
                <a:ext cx="85725" cy="80963"/>
              </a:xfrm>
              <a:custGeom>
                <a:avLst/>
                <a:gdLst>
                  <a:gd name="T0" fmla="*/ 15 w 47"/>
                  <a:gd name="T1" fmla="*/ 2 h 44"/>
                  <a:gd name="T2" fmla="*/ 26 w 47"/>
                  <a:gd name="T3" fmla="*/ 0 h 44"/>
                  <a:gd name="T4" fmla="*/ 33 w 47"/>
                  <a:gd name="T5" fmla="*/ 1 h 44"/>
                  <a:gd name="T6" fmla="*/ 39 w 47"/>
                  <a:gd name="T7" fmla="*/ 4 h 44"/>
                  <a:gd name="T8" fmla="*/ 44 w 47"/>
                  <a:gd name="T9" fmla="*/ 12 h 44"/>
                  <a:gd name="T10" fmla="*/ 45 w 47"/>
                  <a:gd name="T11" fmla="*/ 29 h 44"/>
                  <a:gd name="T12" fmla="*/ 32 w 47"/>
                  <a:gd name="T13" fmla="*/ 41 h 44"/>
                  <a:gd name="T14" fmla="*/ 15 w 47"/>
                  <a:gd name="T15" fmla="*/ 43 h 44"/>
                  <a:gd name="T16" fmla="*/ 3 w 47"/>
                  <a:gd name="T17" fmla="*/ 31 h 44"/>
                  <a:gd name="T18" fmla="*/ 2 w 47"/>
                  <a:gd name="T19" fmla="*/ 14 h 44"/>
                  <a:gd name="T20" fmla="*/ 15 w 47"/>
                  <a:gd name="T21" fmla="*/ 2 h 44"/>
                  <a:gd name="T22" fmla="*/ 19 w 47"/>
                  <a:gd name="T23" fmla="*/ 10 h 44"/>
                  <a:gd name="T24" fmla="*/ 10 w 47"/>
                  <a:gd name="T25" fmla="*/ 18 h 44"/>
                  <a:gd name="T26" fmla="*/ 10 w 47"/>
                  <a:gd name="T27" fmla="*/ 28 h 44"/>
                  <a:gd name="T28" fmla="*/ 17 w 47"/>
                  <a:gd name="T29" fmla="*/ 34 h 44"/>
                  <a:gd name="T30" fmla="*/ 29 w 47"/>
                  <a:gd name="T31" fmla="*/ 33 h 44"/>
                  <a:gd name="T32" fmla="*/ 38 w 47"/>
                  <a:gd name="T33" fmla="*/ 25 h 44"/>
                  <a:gd name="T34" fmla="*/ 37 w 47"/>
                  <a:gd name="T35" fmla="*/ 16 h 44"/>
                  <a:gd name="T36" fmla="*/ 30 w 47"/>
                  <a:gd name="T37" fmla="*/ 9 h 44"/>
                  <a:gd name="T38" fmla="*/ 19 w 47"/>
                  <a:gd name="T39" fmla="*/ 10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47" h="44">
                    <a:moveTo>
                      <a:pt x="15" y="2"/>
                    </a:moveTo>
                    <a:cubicBezTo>
                      <a:pt x="19" y="0"/>
                      <a:pt x="23" y="0"/>
                      <a:pt x="26" y="0"/>
                    </a:cubicBezTo>
                    <a:cubicBezTo>
                      <a:pt x="28" y="0"/>
                      <a:pt x="31" y="0"/>
                      <a:pt x="33" y="1"/>
                    </a:cubicBezTo>
                    <a:cubicBezTo>
                      <a:pt x="35" y="2"/>
                      <a:pt x="37" y="3"/>
                      <a:pt x="39" y="4"/>
                    </a:cubicBezTo>
                    <a:cubicBezTo>
                      <a:pt x="41" y="6"/>
                      <a:pt x="43" y="9"/>
                      <a:pt x="44" y="12"/>
                    </a:cubicBezTo>
                    <a:cubicBezTo>
                      <a:pt x="47" y="18"/>
                      <a:pt x="47" y="24"/>
                      <a:pt x="45" y="29"/>
                    </a:cubicBezTo>
                    <a:cubicBezTo>
                      <a:pt x="43" y="34"/>
                      <a:pt x="39" y="38"/>
                      <a:pt x="32" y="41"/>
                    </a:cubicBezTo>
                    <a:cubicBezTo>
                      <a:pt x="26" y="44"/>
                      <a:pt x="20" y="44"/>
                      <a:pt x="15" y="43"/>
                    </a:cubicBezTo>
                    <a:cubicBezTo>
                      <a:pt x="9" y="41"/>
                      <a:pt x="5" y="37"/>
                      <a:pt x="3" y="31"/>
                    </a:cubicBezTo>
                    <a:cubicBezTo>
                      <a:pt x="0" y="25"/>
                      <a:pt x="0" y="19"/>
                      <a:pt x="2" y="14"/>
                    </a:cubicBezTo>
                    <a:cubicBezTo>
                      <a:pt x="4" y="9"/>
                      <a:pt x="8" y="5"/>
                      <a:pt x="15" y="2"/>
                    </a:cubicBezTo>
                    <a:close/>
                    <a:moveTo>
                      <a:pt x="19" y="10"/>
                    </a:moveTo>
                    <a:cubicBezTo>
                      <a:pt x="14" y="12"/>
                      <a:pt x="11" y="15"/>
                      <a:pt x="10" y="18"/>
                    </a:cubicBezTo>
                    <a:cubicBezTo>
                      <a:pt x="8" y="21"/>
                      <a:pt x="8" y="24"/>
                      <a:pt x="10" y="28"/>
                    </a:cubicBezTo>
                    <a:cubicBezTo>
                      <a:pt x="11" y="31"/>
                      <a:pt x="13" y="33"/>
                      <a:pt x="17" y="34"/>
                    </a:cubicBezTo>
                    <a:cubicBezTo>
                      <a:pt x="20" y="35"/>
                      <a:pt x="24" y="35"/>
                      <a:pt x="29" y="33"/>
                    </a:cubicBezTo>
                    <a:cubicBezTo>
                      <a:pt x="33" y="31"/>
                      <a:pt x="36" y="28"/>
                      <a:pt x="38" y="25"/>
                    </a:cubicBezTo>
                    <a:cubicBezTo>
                      <a:pt x="39" y="22"/>
                      <a:pt x="39" y="19"/>
                      <a:pt x="37" y="16"/>
                    </a:cubicBezTo>
                    <a:cubicBezTo>
                      <a:pt x="36" y="12"/>
                      <a:pt x="34" y="10"/>
                      <a:pt x="30" y="9"/>
                    </a:cubicBezTo>
                    <a:cubicBezTo>
                      <a:pt x="27" y="8"/>
                      <a:pt x="23" y="8"/>
                      <a:pt x="19" y="1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40" name="î$ḷïďe"/>
              <p:cNvSpPr/>
              <p:nvPr/>
            </p:nvSpPr>
            <p:spPr bwMode="auto">
              <a:xfrm>
                <a:off x="1733447" y="5675903"/>
                <a:ext cx="98425" cy="66675"/>
              </a:xfrm>
              <a:custGeom>
                <a:avLst/>
                <a:gdLst>
                  <a:gd name="T0" fmla="*/ 0 w 62"/>
                  <a:gd name="T1" fmla="*/ 26 h 42"/>
                  <a:gd name="T2" fmla="*/ 45 w 62"/>
                  <a:gd name="T3" fmla="*/ 0 h 42"/>
                  <a:gd name="T4" fmla="*/ 62 w 62"/>
                  <a:gd name="T5" fmla="*/ 30 h 42"/>
                  <a:gd name="T6" fmla="*/ 55 w 62"/>
                  <a:gd name="T7" fmla="*/ 35 h 42"/>
                  <a:gd name="T8" fmla="*/ 43 w 62"/>
                  <a:gd name="T9" fmla="*/ 14 h 42"/>
                  <a:gd name="T10" fmla="*/ 32 w 62"/>
                  <a:gd name="T11" fmla="*/ 20 h 42"/>
                  <a:gd name="T12" fmla="*/ 43 w 62"/>
                  <a:gd name="T13" fmla="*/ 38 h 42"/>
                  <a:gd name="T14" fmla="*/ 35 w 62"/>
                  <a:gd name="T15" fmla="*/ 42 h 42"/>
                  <a:gd name="T16" fmla="*/ 25 w 62"/>
                  <a:gd name="T17" fmla="*/ 23 h 42"/>
                  <a:gd name="T18" fmla="*/ 6 w 62"/>
                  <a:gd name="T19" fmla="*/ 35 h 42"/>
                  <a:gd name="T20" fmla="*/ 0 w 62"/>
                  <a:gd name="T21" fmla="*/ 26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62" h="42">
                    <a:moveTo>
                      <a:pt x="0" y="26"/>
                    </a:moveTo>
                    <a:lnTo>
                      <a:pt x="45" y="0"/>
                    </a:lnTo>
                    <a:lnTo>
                      <a:pt x="62" y="30"/>
                    </a:lnTo>
                    <a:lnTo>
                      <a:pt x="55" y="35"/>
                    </a:lnTo>
                    <a:lnTo>
                      <a:pt x="43" y="14"/>
                    </a:lnTo>
                    <a:lnTo>
                      <a:pt x="32" y="20"/>
                    </a:lnTo>
                    <a:lnTo>
                      <a:pt x="43" y="38"/>
                    </a:lnTo>
                    <a:lnTo>
                      <a:pt x="35" y="42"/>
                    </a:lnTo>
                    <a:lnTo>
                      <a:pt x="25" y="23"/>
                    </a:lnTo>
                    <a:lnTo>
                      <a:pt x="6" y="35"/>
                    </a:lnTo>
                    <a:lnTo>
                      <a:pt x="0" y="26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41" name="îśḻîḍe"/>
              <p:cNvSpPr/>
              <p:nvPr/>
            </p:nvSpPr>
            <p:spPr bwMode="auto">
              <a:xfrm>
                <a:off x="1812822" y="5785440"/>
                <a:ext cx="85725" cy="82550"/>
              </a:xfrm>
              <a:custGeom>
                <a:avLst/>
                <a:gdLst>
                  <a:gd name="T0" fmla="*/ 6 w 46"/>
                  <a:gd name="T1" fmla="*/ 13 h 45"/>
                  <a:gd name="T2" fmla="*/ 12 w 46"/>
                  <a:gd name="T3" fmla="*/ 19 h 45"/>
                  <a:gd name="T4" fmla="*/ 9 w 46"/>
                  <a:gd name="T5" fmla="*/ 26 h 45"/>
                  <a:gd name="T6" fmla="*/ 11 w 46"/>
                  <a:gd name="T7" fmla="*/ 32 h 45"/>
                  <a:gd name="T8" fmla="*/ 17 w 46"/>
                  <a:gd name="T9" fmla="*/ 36 h 45"/>
                  <a:gd name="T10" fmla="*/ 22 w 46"/>
                  <a:gd name="T11" fmla="*/ 35 h 45"/>
                  <a:gd name="T12" fmla="*/ 23 w 46"/>
                  <a:gd name="T13" fmla="*/ 32 h 45"/>
                  <a:gd name="T14" fmla="*/ 22 w 46"/>
                  <a:gd name="T15" fmla="*/ 29 h 45"/>
                  <a:gd name="T16" fmla="*/ 19 w 46"/>
                  <a:gd name="T17" fmla="*/ 22 h 45"/>
                  <a:gd name="T18" fmla="*/ 16 w 46"/>
                  <a:gd name="T19" fmla="*/ 12 h 45"/>
                  <a:gd name="T20" fmla="*/ 21 w 46"/>
                  <a:gd name="T21" fmla="*/ 3 h 45"/>
                  <a:gd name="T22" fmla="*/ 27 w 46"/>
                  <a:gd name="T23" fmla="*/ 0 h 45"/>
                  <a:gd name="T24" fmla="*/ 34 w 46"/>
                  <a:gd name="T25" fmla="*/ 2 h 45"/>
                  <a:gd name="T26" fmla="*/ 40 w 46"/>
                  <a:gd name="T27" fmla="*/ 8 h 45"/>
                  <a:gd name="T28" fmla="*/ 45 w 46"/>
                  <a:gd name="T29" fmla="*/ 19 h 45"/>
                  <a:gd name="T30" fmla="*/ 41 w 46"/>
                  <a:gd name="T31" fmla="*/ 29 h 45"/>
                  <a:gd name="T32" fmla="*/ 35 w 46"/>
                  <a:gd name="T33" fmla="*/ 22 h 45"/>
                  <a:gd name="T34" fmla="*/ 37 w 46"/>
                  <a:gd name="T35" fmla="*/ 17 h 45"/>
                  <a:gd name="T36" fmla="*/ 35 w 46"/>
                  <a:gd name="T37" fmla="*/ 12 h 45"/>
                  <a:gd name="T38" fmla="*/ 30 w 46"/>
                  <a:gd name="T39" fmla="*/ 8 h 45"/>
                  <a:gd name="T40" fmla="*/ 27 w 46"/>
                  <a:gd name="T41" fmla="*/ 9 h 45"/>
                  <a:gd name="T42" fmla="*/ 25 w 46"/>
                  <a:gd name="T43" fmla="*/ 12 h 45"/>
                  <a:gd name="T44" fmla="*/ 28 w 46"/>
                  <a:gd name="T45" fmla="*/ 20 h 45"/>
                  <a:gd name="T46" fmla="*/ 32 w 46"/>
                  <a:gd name="T47" fmla="*/ 29 h 45"/>
                  <a:gd name="T48" fmla="*/ 31 w 46"/>
                  <a:gd name="T49" fmla="*/ 36 h 45"/>
                  <a:gd name="T50" fmla="*/ 27 w 46"/>
                  <a:gd name="T51" fmla="*/ 42 h 45"/>
                  <a:gd name="T52" fmla="*/ 20 w 46"/>
                  <a:gd name="T53" fmla="*/ 45 h 45"/>
                  <a:gd name="T54" fmla="*/ 13 w 46"/>
                  <a:gd name="T55" fmla="*/ 43 h 45"/>
                  <a:gd name="T56" fmla="*/ 6 w 46"/>
                  <a:gd name="T57" fmla="*/ 37 h 45"/>
                  <a:gd name="T58" fmla="*/ 0 w 46"/>
                  <a:gd name="T59" fmla="*/ 24 h 45"/>
                  <a:gd name="T60" fmla="*/ 6 w 46"/>
                  <a:gd name="T61" fmla="*/ 13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46" h="45">
                    <a:moveTo>
                      <a:pt x="6" y="13"/>
                    </a:moveTo>
                    <a:cubicBezTo>
                      <a:pt x="12" y="19"/>
                      <a:pt x="12" y="19"/>
                      <a:pt x="12" y="19"/>
                    </a:cubicBezTo>
                    <a:cubicBezTo>
                      <a:pt x="10" y="21"/>
                      <a:pt x="9" y="24"/>
                      <a:pt x="9" y="26"/>
                    </a:cubicBezTo>
                    <a:cubicBezTo>
                      <a:pt x="9" y="28"/>
                      <a:pt x="10" y="30"/>
                      <a:pt x="11" y="32"/>
                    </a:cubicBezTo>
                    <a:cubicBezTo>
                      <a:pt x="13" y="34"/>
                      <a:pt x="15" y="35"/>
                      <a:pt x="17" y="36"/>
                    </a:cubicBezTo>
                    <a:cubicBezTo>
                      <a:pt x="19" y="36"/>
                      <a:pt x="20" y="36"/>
                      <a:pt x="22" y="35"/>
                    </a:cubicBezTo>
                    <a:cubicBezTo>
                      <a:pt x="22" y="34"/>
                      <a:pt x="23" y="33"/>
                      <a:pt x="23" y="32"/>
                    </a:cubicBezTo>
                    <a:cubicBezTo>
                      <a:pt x="23" y="32"/>
                      <a:pt x="23" y="30"/>
                      <a:pt x="22" y="29"/>
                    </a:cubicBezTo>
                    <a:cubicBezTo>
                      <a:pt x="22" y="28"/>
                      <a:pt x="21" y="26"/>
                      <a:pt x="19" y="22"/>
                    </a:cubicBezTo>
                    <a:cubicBezTo>
                      <a:pt x="17" y="18"/>
                      <a:pt x="16" y="14"/>
                      <a:pt x="16" y="12"/>
                    </a:cubicBezTo>
                    <a:cubicBezTo>
                      <a:pt x="17" y="8"/>
                      <a:pt x="18" y="5"/>
                      <a:pt x="21" y="3"/>
                    </a:cubicBezTo>
                    <a:cubicBezTo>
                      <a:pt x="23" y="1"/>
                      <a:pt x="25" y="1"/>
                      <a:pt x="27" y="0"/>
                    </a:cubicBezTo>
                    <a:cubicBezTo>
                      <a:pt x="29" y="0"/>
                      <a:pt x="31" y="1"/>
                      <a:pt x="34" y="2"/>
                    </a:cubicBezTo>
                    <a:cubicBezTo>
                      <a:pt x="36" y="3"/>
                      <a:pt x="38" y="5"/>
                      <a:pt x="40" y="8"/>
                    </a:cubicBezTo>
                    <a:cubicBezTo>
                      <a:pt x="44" y="12"/>
                      <a:pt x="46" y="16"/>
                      <a:pt x="45" y="19"/>
                    </a:cubicBezTo>
                    <a:cubicBezTo>
                      <a:pt x="45" y="23"/>
                      <a:pt x="44" y="26"/>
                      <a:pt x="41" y="29"/>
                    </a:cubicBezTo>
                    <a:cubicBezTo>
                      <a:pt x="35" y="22"/>
                      <a:pt x="35" y="22"/>
                      <a:pt x="35" y="22"/>
                    </a:cubicBezTo>
                    <a:cubicBezTo>
                      <a:pt x="36" y="21"/>
                      <a:pt x="37" y="19"/>
                      <a:pt x="37" y="17"/>
                    </a:cubicBezTo>
                    <a:cubicBezTo>
                      <a:pt x="37" y="16"/>
                      <a:pt x="36" y="14"/>
                      <a:pt x="35" y="12"/>
                    </a:cubicBezTo>
                    <a:cubicBezTo>
                      <a:pt x="33" y="10"/>
                      <a:pt x="31" y="9"/>
                      <a:pt x="30" y="8"/>
                    </a:cubicBezTo>
                    <a:cubicBezTo>
                      <a:pt x="28" y="8"/>
                      <a:pt x="27" y="8"/>
                      <a:pt x="27" y="9"/>
                    </a:cubicBezTo>
                    <a:cubicBezTo>
                      <a:pt x="26" y="10"/>
                      <a:pt x="25" y="11"/>
                      <a:pt x="25" y="12"/>
                    </a:cubicBezTo>
                    <a:cubicBezTo>
                      <a:pt x="25" y="13"/>
                      <a:pt x="26" y="16"/>
                      <a:pt x="28" y="20"/>
                    </a:cubicBezTo>
                    <a:cubicBezTo>
                      <a:pt x="30" y="24"/>
                      <a:pt x="31" y="27"/>
                      <a:pt x="32" y="29"/>
                    </a:cubicBezTo>
                    <a:cubicBezTo>
                      <a:pt x="32" y="32"/>
                      <a:pt x="32" y="34"/>
                      <a:pt x="31" y="36"/>
                    </a:cubicBezTo>
                    <a:cubicBezTo>
                      <a:pt x="31" y="38"/>
                      <a:pt x="29" y="40"/>
                      <a:pt x="27" y="42"/>
                    </a:cubicBezTo>
                    <a:cubicBezTo>
                      <a:pt x="25" y="43"/>
                      <a:pt x="23" y="44"/>
                      <a:pt x="20" y="45"/>
                    </a:cubicBezTo>
                    <a:cubicBezTo>
                      <a:pt x="18" y="45"/>
                      <a:pt x="15" y="44"/>
                      <a:pt x="13" y="43"/>
                    </a:cubicBezTo>
                    <a:cubicBezTo>
                      <a:pt x="10" y="42"/>
                      <a:pt x="8" y="40"/>
                      <a:pt x="6" y="37"/>
                    </a:cubicBezTo>
                    <a:cubicBezTo>
                      <a:pt x="2" y="32"/>
                      <a:pt x="0" y="28"/>
                      <a:pt x="0" y="24"/>
                    </a:cubicBezTo>
                    <a:cubicBezTo>
                      <a:pt x="1" y="20"/>
                      <a:pt x="2" y="17"/>
                      <a:pt x="6" y="1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42" name="í$ļîḋê"/>
              <p:cNvSpPr/>
              <p:nvPr/>
            </p:nvSpPr>
            <p:spPr bwMode="auto">
              <a:xfrm>
                <a:off x="1868384" y="5844178"/>
                <a:ext cx="82550" cy="82550"/>
              </a:xfrm>
              <a:custGeom>
                <a:avLst/>
                <a:gdLst>
                  <a:gd name="T0" fmla="*/ 25 w 45"/>
                  <a:gd name="T1" fmla="*/ 33 h 45"/>
                  <a:gd name="T2" fmla="*/ 29 w 45"/>
                  <a:gd name="T3" fmla="*/ 41 h 45"/>
                  <a:gd name="T4" fmla="*/ 17 w 45"/>
                  <a:gd name="T5" fmla="*/ 44 h 45"/>
                  <a:gd name="T6" fmla="*/ 6 w 45"/>
                  <a:gd name="T7" fmla="*/ 38 h 45"/>
                  <a:gd name="T8" fmla="*/ 0 w 45"/>
                  <a:gd name="T9" fmla="*/ 24 h 45"/>
                  <a:gd name="T10" fmla="*/ 8 w 45"/>
                  <a:gd name="T11" fmla="*/ 8 h 45"/>
                  <a:gd name="T12" fmla="*/ 24 w 45"/>
                  <a:gd name="T13" fmla="*/ 0 h 45"/>
                  <a:gd name="T14" fmla="*/ 39 w 45"/>
                  <a:gd name="T15" fmla="*/ 7 h 45"/>
                  <a:gd name="T16" fmla="*/ 45 w 45"/>
                  <a:gd name="T17" fmla="*/ 19 h 45"/>
                  <a:gd name="T18" fmla="*/ 42 w 45"/>
                  <a:gd name="T19" fmla="*/ 28 h 45"/>
                  <a:gd name="T20" fmla="*/ 34 w 45"/>
                  <a:gd name="T21" fmla="*/ 23 h 45"/>
                  <a:gd name="T22" fmla="*/ 36 w 45"/>
                  <a:gd name="T23" fmla="*/ 17 h 45"/>
                  <a:gd name="T24" fmla="*/ 33 w 45"/>
                  <a:gd name="T25" fmla="*/ 12 h 45"/>
                  <a:gd name="T26" fmla="*/ 25 w 45"/>
                  <a:gd name="T27" fmla="*/ 9 h 45"/>
                  <a:gd name="T28" fmla="*/ 15 w 45"/>
                  <a:gd name="T29" fmla="*/ 14 h 45"/>
                  <a:gd name="T30" fmla="*/ 8 w 45"/>
                  <a:gd name="T31" fmla="*/ 25 h 45"/>
                  <a:gd name="T32" fmla="*/ 11 w 45"/>
                  <a:gd name="T33" fmla="*/ 33 h 45"/>
                  <a:gd name="T34" fmla="*/ 17 w 45"/>
                  <a:gd name="T35" fmla="*/ 36 h 45"/>
                  <a:gd name="T36" fmla="*/ 25 w 45"/>
                  <a:gd name="T37" fmla="*/ 33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45" h="45">
                    <a:moveTo>
                      <a:pt x="25" y="33"/>
                    </a:moveTo>
                    <a:cubicBezTo>
                      <a:pt x="29" y="41"/>
                      <a:pt x="29" y="41"/>
                      <a:pt x="29" y="41"/>
                    </a:cubicBezTo>
                    <a:cubicBezTo>
                      <a:pt x="25" y="44"/>
                      <a:pt x="21" y="45"/>
                      <a:pt x="17" y="44"/>
                    </a:cubicBezTo>
                    <a:cubicBezTo>
                      <a:pt x="13" y="44"/>
                      <a:pt x="9" y="42"/>
                      <a:pt x="6" y="38"/>
                    </a:cubicBezTo>
                    <a:cubicBezTo>
                      <a:pt x="2" y="34"/>
                      <a:pt x="0" y="29"/>
                      <a:pt x="0" y="24"/>
                    </a:cubicBezTo>
                    <a:cubicBezTo>
                      <a:pt x="0" y="19"/>
                      <a:pt x="3" y="13"/>
                      <a:pt x="8" y="8"/>
                    </a:cubicBezTo>
                    <a:cubicBezTo>
                      <a:pt x="13" y="3"/>
                      <a:pt x="18" y="1"/>
                      <a:pt x="24" y="0"/>
                    </a:cubicBezTo>
                    <a:cubicBezTo>
                      <a:pt x="29" y="0"/>
                      <a:pt x="34" y="2"/>
                      <a:pt x="39" y="7"/>
                    </a:cubicBezTo>
                    <a:cubicBezTo>
                      <a:pt x="42" y="10"/>
                      <a:pt x="44" y="15"/>
                      <a:pt x="45" y="19"/>
                    </a:cubicBezTo>
                    <a:cubicBezTo>
                      <a:pt x="45" y="22"/>
                      <a:pt x="44" y="25"/>
                      <a:pt x="42" y="28"/>
                    </a:cubicBezTo>
                    <a:cubicBezTo>
                      <a:pt x="34" y="23"/>
                      <a:pt x="34" y="23"/>
                      <a:pt x="34" y="23"/>
                    </a:cubicBezTo>
                    <a:cubicBezTo>
                      <a:pt x="36" y="21"/>
                      <a:pt x="36" y="19"/>
                      <a:pt x="36" y="17"/>
                    </a:cubicBezTo>
                    <a:cubicBezTo>
                      <a:pt x="36" y="15"/>
                      <a:pt x="35" y="13"/>
                      <a:pt x="33" y="12"/>
                    </a:cubicBezTo>
                    <a:cubicBezTo>
                      <a:pt x="31" y="9"/>
                      <a:pt x="28" y="8"/>
                      <a:pt x="25" y="9"/>
                    </a:cubicBezTo>
                    <a:cubicBezTo>
                      <a:pt x="22" y="9"/>
                      <a:pt x="18" y="11"/>
                      <a:pt x="15" y="14"/>
                    </a:cubicBezTo>
                    <a:cubicBezTo>
                      <a:pt x="11" y="18"/>
                      <a:pt x="9" y="22"/>
                      <a:pt x="8" y="25"/>
                    </a:cubicBezTo>
                    <a:cubicBezTo>
                      <a:pt x="8" y="28"/>
                      <a:pt x="9" y="31"/>
                      <a:pt x="11" y="33"/>
                    </a:cubicBezTo>
                    <a:cubicBezTo>
                      <a:pt x="13" y="35"/>
                      <a:pt x="15" y="36"/>
                      <a:pt x="17" y="36"/>
                    </a:cubicBezTo>
                    <a:cubicBezTo>
                      <a:pt x="20" y="36"/>
                      <a:pt x="22" y="35"/>
                      <a:pt x="25" y="3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43" name="íṩḷiḋé"/>
              <p:cNvSpPr/>
              <p:nvPr/>
            </p:nvSpPr>
            <p:spPr bwMode="auto">
              <a:xfrm>
                <a:off x="1916009" y="5887040"/>
                <a:ext cx="65088" cy="71438"/>
              </a:xfrm>
              <a:custGeom>
                <a:avLst/>
                <a:gdLst>
                  <a:gd name="T0" fmla="*/ 0 w 41"/>
                  <a:gd name="T1" fmla="*/ 38 h 45"/>
                  <a:gd name="T2" fmla="*/ 34 w 41"/>
                  <a:gd name="T3" fmla="*/ 0 h 45"/>
                  <a:gd name="T4" fmla="*/ 41 w 41"/>
                  <a:gd name="T5" fmla="*/ 6 h 45"/>
                  <a:gd name="T6" fmla="*/ 8 w 41"/>
                  <a:gd name="T7" fmla="*/ 45 h 45"/>
                  <a:gd name="T8" fmla="*/ 0 w 41"/>
                  <a:gd name="T9" fmla="*/ 38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1" h="45">
                    <a:moveTo>
                      <a:pt x="0" y="38"/>
                    </a:moveTo>
                    <a:lnTo>
                      <a:pt x="34" y="0"/>
                    </a:lnTo>
                    <a:lnTo>
                      <a:pt x="41" y="6"/>
                    </a:lnTo>
                    <a:lnTo>
                      <a:pt x="8" y="45"/>
                    </a:lnTo>
                    <a:lnTo>
                      <a:pt x="0" y="3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44" name="îsľïďé"/>
              <p:cNvSpPr/>
              <p:nvPr/>
            </p:nvSpPr>
            <p:spPr bwMode="auto">
              <a:xfrm>
                <a:off x="1941409" y="5904503"/>
                <a:ext cx="96838" cy="101600"/>
              </a:xfrm>
              <a:custGeom>
                <a:avLst/>
                <a:gdLst>
                  <a:gd name="T0" fmla="*/ 0 w 61"/>
                  <a:gd name="T1" fmla="*/ 41 h 64"/>
                  <a:gd name="T2" fmla="*/ 31 w 61"/>
                  <a:gd name="T3" fmla="*/ 0 h 64"/>
                  <a:gd name="T4" fmla="*/ 61 w 61"/>
                  <a:gd name="T5" fmla="*/ 22 h 64"/>
                  <a:gd name="T6" fmla="*/ 56 w 61"/>
                  <a:gd name="T7" fmla="*/ 29 h 64"/>
                  <a:gd name="T8" fmla="*/ 34 w 61"/>
                  <a:gd name="T9" fmla="*/ 13 h 64"/>
                  <a:gd name="T10" fmla="*/ 27 w 61"/>
                  <a:gd name="T11" fmla="*/ 22 h 64"/>
                  <a:gd name="T12" fmla="*/ 47 w 61"/>
                  <a:gd name="T13" fmla="*/ 37 h 64"/>
                  <a:gd name="T14" fmla="*/ 42 w 61"/>
                  <a:gd name="T15" fmla="*/ 44 h 64"/>
                  <a:gd name="T16" fmla="*/ 21 w 61"/>
                  <a:gd name="T17" fmla="*/ 29 h 64"/>
                  <a:gd name="T18" fmla="*/ 13 w 61"/>
                  <a:gd name="T19" fmla="*/ 40 h 64"/>
                  <a:gd name="T20" fmla="*/ 36 w 61"/>
                  <a:gd name="T21" fmla="*/ 57 h 64"/>
                  <a:gd name="T22" fmla="*/ 31 w 61"/>
                  <a:gd name="T23" fmla="*/ 64 h 64"/>
                  <a:gd name="T24" fmla="*/ 0 w 61"/>
                  <a:gd name="T25" fmla="*/ 41 h 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1" h="64">
                    <a:moveTo>
                      <a:pt x="0" y="41"/>
                    </a:moveTo>
                    <a:lnTo>
                      <a:pt x="31" y="0"/>
                    </a:lnTo>
                    <a:lnTo>
                      <a:pt x="61" y="22"/>
                    </a:lnTo>
                    <a:lnTo>
                      <a:pt x="56" y="29"/>
                    </a:lnTo>
                    <a:lnTo>
                      <a:pt x="34" y="13"/>
                    </a:lnTo>
                    <a:lnTo>
                      <a:pt x="27" y="22"/>
                    </a:lnTo>
                    <a:lnTo>
                      <a:pt x="47" y="37"/>
                    </a:lnTo>
                    <a:lnTo>
                      <a:pt x="42" y="44"/>
                    </a:lnTo>
                    <a:lnTo>
                      <a:pt x="21" y="29"/>
                    </a:lnTo>
                    <a:lnTo>
                      <a:pt x="13" y="40"/>
                    </a:lnTo>
                    <a:lnTo>
                      <a:pt x="36" y="57"/>
                    </a:lnTo>
                    <a:lnTo>
                      <a:pt x="31" y="64"/>
                    </a:lnTo>
                    <a:lnTo>
                      <a:pt x="0" y="4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45" name="íśliḋé"/>
              <p:cNvSpPr/>
              <p:nvPr/>
            </p:nvSpPr>
            <p:spPr bwMode="auto">
              <a:xfrm>
                <a:off x="2004909" y="5947365"/>
                <a:ext cx="96838" cy="101600"/>
              </a:xfrm>
              <a:custGeom>
                <a:avLst/>
                <a:gdLst>
                  <a:gd name="T0" fmla="*/ 0 w 61"/>
                  <a:gd name="T1" fmla="*/ 43 h 64"/>
                  <a:gd name="T2" fmla="*/ 27 w 61"/>
                  <a:gd name="T3" fmla="*/ 0 h 64"/>
                  <a:gd name="T4" fmla="*/ 35 w 61"/>
                  <a:gd name="T5" fmla="*/ 5 h 64"/>
                  <a:gd name="T6" fmla="*/ 36 w 61"/>
                  <a:gd name="T7" fmla="*/ 45 h 64"/>
                  <a:gd name="T8" fmla="*/ 53 w 61"/>
                  <a:gd name="T9" fmla="*/ 15 h 64"/>
                  <a:gd name="T10" fmla="*/ 61 w 61"/>
                  <a:gd name="T11" fmla="*/ 21 h 64"/>
                  <a:gd name="T12" fmla="*/ 35 w 61"/>
                  <a:gd name="T13" fmla="*/ 64 h 64"/>
                  <a:gd name="T14" fmla="*/ 27 w 61"/>
                  <a:gd name="T15" fmla="*/ 59 h 64"/>
                  <a:gd name="T16" fmla="*/ 25 w 61"/>
                  <a:gd name="T17" fmla="*/ 20 h 64"/>
                  <a:gd name="T18" fmla="*/ 8 w 61"/>
                  <a:gd name="T19" fmla="*/ 49 h 64"/>
                  <a:gd name="T20" fmla="*/ 0 w 61"/>
                  <a:gd name="T21" fmla="*/ 43 h 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61" h="64">
                    <a:moveTo>
                      <a:pt x="0" y="43"/>
                    </a:moveTo>
                    <a:lnTo>
                      <a:pt x="27" y="0"/>
                    </a:lnTo>
                    <a:lnTo>
                      <a:pt x="35" y="5"/>
                    </a:lnTo>
                    <a:lnTo>
                      <a:pt x="36" y="45"/>
                    </a:lnTo>
                    <a:lnTo>
                      <a:pt x="53" y="15"/>
                    </a:lnTo>
                    <a:lnTo>
                      <a:pt x="61" y="21"/>
                    </a:lnTo>
                    <a:lnTo>
                      <a:pt x="35" y="64"/>
                    </a:lnTo>
                    <a:lnTo>
                      <a:pt x="27" y="59"/>
                    </a:lnTo>
                    <a:lnTo>
                      <a:pt x="25" y="20"/>
                    </a:lnTo>
                    <a:lnTo>
                      <a:pt x="8" y="49"/>
                    </a:lnTo>
                    <a:lnTo>
                      <a:pt x="0" y="4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46" name="iSļiďê"/>
              <p:cNvSpPr/>
              <p:nvPr/>
            </p:nvSpPr>
            <p:spPr bwMode="auto">
              <a:xfrm>
                <a:off x="2087459" y="5993403"/>
                <a:ext cx="79375" cy="87313"/>
              </a:xfrm>
              <a:custGeom>
                <a:avLst/>
                <a:gdLst>
                  <a:gd name="T0" fmla="*/ 28 w 43"/>
                  <a:gd name="T1" fmla="*/ 33 h 47"/>
                  <a:gd name="T2" fmla="*/ 34 w 43"/>
                  <a:gd name="T3" fmla="*/ 39 h 47"/>
                  <a:gd name="T4" fmla="*/ 24 w 43"/>
                  <a:gd name="T5" fmla="*/ 46 h 47"/>
                  <a:gd name="T6" fmla="*/ 12 w 43"/>
                  <a:gd name="T7" fmla="*/ 44 h 47"/>
                  <a:gd name="T8" fmla="*/ 1 w 43"/>
                  <a:gd name="T9" fmla="*/ 33 h 47"/>
                  <a:gd name="T10" fmla="*/ 3 w 43"/>
                  <a:gd name="T11" fmla="*/ 15 h 47"/>
                  <a:gd name="T12" fmla="*/ 15 w 43"/>
                  <a:gd name="T13" fmla="*/ 2 h 47"/>
                  <a:gd name="T14" fmla="*/ 32 w 43"/>
                  <a:gd name="T15" fmla="*/ 3 h 47"/>
                  <a:gd name="T16" fmla="*/ 41 w 43"/>
                  <a:gd name="T17" fmla="*/ 13 h 47"/>
                  <a:gd name="T18" fmla="*/ 42 w 43"/>
                  <a:gd name="T19" fmla="*/ 22 h 47"/>
                  <a:gd name="T20" fmla="*/ 33 w 43"/>
                  <a:gd name="T21" fmla="*/ 20 h 47"/>
                  <a:gd name="T22" fmla="*/ 33 w 43"/>
                  <a:gd name="T23" fmla="*/ 14 h 47"/>
                  <a:gd name="T24" fmla="*/ 28 w 43"/>
                  <a:gd name="T25" fmla="*/ 10 h 47"/>
                  <a:gd name="T26" fmla="*/ 19 w 43"/>
                  <a:gd name="T27" fmla="*/ 10 h 47"/>
                  <a:gd name="T28" fmla="*/ 12 w 43"/>
                  <a:gd name="T29" fmla="*/ 19 h 47"/>
                  <a:gd name="T30" fmla="*/ 9 w 43"/>
                  <a:gd name="T31" fmla="*/ 31 h 47"/>
                  <a:gd name="T32" fmla="*/ 15 w 43"/>
                  <a:gd name="T33" fmla="*/ 37 h 47"/>
                  <a:gd name="T34" fmla="*/ 22 w 43"/>
                  <a:gd name="T35" fmla="*/ 38 h 47"/>
                  <a:gd name="T36" fmla="*/ 28 w 43"/>
                  <a:gd name="T37" fmla="*/ 33 h 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43" h="47">
                    <a:moveTo>
                      <a:pt x="28" y="33"/>
                    </a:moveTo>
                    <a:cubicBezTo>
                      <a:pt x="34" y="39"/>
                      <a:pt x="34" y="39"/>
                      <a:pt x="34" y="39"/>
                    </a:cubicBezTo>
                    <a:cubicBezTo>
                      <a:pt x="31" y="43"/>
                      <a:pt x="28" y="45"/>
                      <a:pt x="24" y="46"/>
                    </a:cubicBezTo>
                    <a:cubicBezTo>
                      <a:pt x="20" y="47"/>
                      <a:pt x="16" y="46"/>
                      <a:pt x="12" y="44"/>
                    </a:cubicBezTo>
                    <a:cubicBezTo>
                      <a:pt x="7" y="42"/>
                      <a:pt x="3" y="38"/>
                      <a:pt x="1" y="33"/>
                    </a:cubicBezTo>
                    <a:cubicBezTo>
                      <a:pt x="0" y="27"/>
                      <a:pt x="0" y="22"/>
                      <a:pt x="3" y="15"/>
                    </a:cubicBezTo>
                    <a:cubicBezTo>
                      <a:pt x="6" y="9"/>
                      <a:pt x="10" y="4"/>
                      <a:pt x="15" y="2"/>
                    </a:cubicBezTo>
                    <a:cubicBezTo>
                      <a:pt x="21" y="0"/>
                      <a:pt x="26" y="1"/>
                      <a:pt x="32" y="3"/>
                    </a:cubicBezTo>
                    <a:cubicBezTo>
                      <a:pt x="36" y="5"/>
                      <a:pt x="40" y="9"/>
                      <a:pt x="41" y="13"/>
                    </a:cubicBezTo>
                    <a:cubicBezTo>
                      <a:pt x="42" y="16"/>
                      <a:pt x="43" y="19"/>
                      <a:pt x="42" y="22"/>
                    </a:cubicBezTo>
                    <a:cubicBezTo>
                      <a:pt x="33" y="20"/>
                      <a:pt x="33" y="20"/>
                      <a:pt x="33" y="20"/>
                    </a:cubicBezTo>
                    <a:cubicBezTo>
                      <a:pt x="34" y="18"/>
                      <a:pt x="34" y="16"/>
                      <a:pt x="33" y="14"/>
                    </a:cubicBezTo>
                    <a:cubicBezTo>
                      <a:pt x="32" y="12"/>
                      <a:pt x="30" y="11"/>
                      <a:pt x="28" y="10"/>
                    </a:cubicBezTo>
                    <a:cubicBezTo>
                      <a:pt x="25" y="8"/>
                      <a:pt x="22" y="8"/>
                      <a:pt x="19" y="10"/>
                    </a:cubicBezTo>
                    <a:cubicBezTo>
                      <a:pt x="16" y="11"/>
                      <a:pt x="14" y="14"/>
                      <a:pt x="12" y="19"/>
                    </a:cubicBezTo>
                    <a:cubicBezTo>
                      <a:pt x="9" y="24"/>
                      <a:pt x="9" y="28"/>
                      <a:pt x="9" y="31"/>
                    </a:cubicBezTo>
                    <a:cubicBezTo>
                      <a:pt x="10" y="34"/>
                      <a:pt x="12" y="36"/>
                      <a:pt x="15" y="37"/>
                    </a:cubicBezTo>
                    <a:cubicBezTo>
                      <a:pt x="17" y="38"/>
                      <a:pt x="19" y="38"/>
                      <a:pt x="22" y="38"/>
                    </a:cubicBezTo>
                    <a:cubicBezTo>
                      <a:pt x="24" y="37"/>
                      <a:pt x="26" y="35"/>
                      <a:pt x="28" y="3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47" name="íSliḋé"/>
              <p:cNvSpPr/>
              <p:nvPr/>
            </p:nvSpPr>
            <p:spPr bwMode="auto">
              <a:xfrm>
                <a:off x="2157309" y="6017215"/>
                <a:ext cx="82550" cy="96838"/>
              </a:xfrm>
              <a:custGeom>
                <a:avLst/>
                <a:gdLst>
                  <a:gd name="T0" fmla="*/ 0 w 52"/>
                  <a:gd name="T1" fmla="*/ 49 h 61"/>
                  <a:gd name="T2" fmla="*/ 16 w 52"/>
                  <a:gd name="T3" fmla="*/ 0 h 61"/>
                  <a:gd name="T4" fmla="*/ 52 w 52"/>
                  <a:gd name="T5" fmla="*/ 13 h 61"/>
                  <a:gd name="T6" fmla="*/ 50 w 52"/>
                  <a:gd name="T7" fmla="*/ 21 h 61"/>
                  <a:gd name="T8" fmla="*/ 23 w 52"/>
                  <a:gd name="T9" fmla="*/ 12 h 61"/>
                  <a:gd name="T10" fmla="*/ 20 w 52"/>
                  <a:gd name="T11" fmla="*/ 22 h 61"/>
                  <a:gd name="T12" fmla="*/ 44 w 52"/>
                  <a:gd name="T13" fmla="*/ 30 h 61"/>
                  <a:gd name="T14" fmla="*/ 41 w 52"/>
                  <a:gd name="T15" fmla="*/ 38 h 61"/>
                  <a:gd name="T16" fmla="*/ 18 w 52"/>
                  <a:gd name="T17" fmla="*/ 30 h 61"/>
                  <a:gd name="T18" fmla="*/ 13 w 52"/>
                  <a:gd name="T19" fmla="*/ 43 h 61"/>
                  <a:gd name="T20" fmla="*/ 40 w 52"/>
                  <a:gd name="T21" fmla="*/ 52 h 61"/>
                  <a:gd name="T22" fmla="*/ 36 w 52"/>
                  <a:gd name="T23" fmla="*/ 61 h 61"/>
                  <a:gd name="T24" fmla="*/ 0 w 52"/>
                  <a:gd name="T25" fmla="*/ 49 h 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52" h="61">
                    <a:moveTo>
                      <a:pt x="0" y="49"/>
                    </a:moveTo>
                    <a:lnTo>
                      <a:pt x="16" y="0"/>
                    </a:lnTo>
                    <a:lnTo>
                      <a:pt x="52" y="13"/>
                    </a:lnTo>
                    <a:lnTo>
                      <a:pt x="50" y="21"/>
                    </a:lnTo>
                    <a:lnTo>
                      <a:pt x="23" y="12"/>
                    </a:lnTo>
                    <a:lnTo>
                      <a:pt x="20" y="22"/>
                    </a:lnTo>
                    <a:lnTo>
                      <a:pt x="44" y="30"/>
                    </a:lnTo>
                    <a:lnTo>
                      <a:pt x="41" y="38"/>
                    </a:lnTo>
                    <a:lnTo>
                      <a:pt x="18" y="30"/>
                    </a:lnTo>
                    <a:lnTo>
                      <a:pt x="13" y="43"/>
                    </a:lnTo>
                    <a:lnTo>
                      <a:pt x="40" y="52"/>
                    </a:lnTo>
                    <a:lnTo>
                      <a:pt x="36" y="61"/>
                    </a:lnTo>
                    <a:lnTo>
                      <a:pt x="0" y="4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48" name="îŝ1îḑè"/>
              <p:cNvSpPr/>
              <p:nvPr/>
            </p:nvSpPr>
            <p:spPr bwMode="auto">
              <a:xfrm>
                <a:off x="2663722" y="6026740"/>
                <a:ext cx="77788" cy="92075"/>
              </a:xfrm>
              <a:custGeom>
                <a:avLst/>
                <a:gdLst>
                  <a:gd name="T0" fmla="*/ 49 w 49"/>
                  <a:gd name="T1" fmla="*/ 42 h 58"/>
                  <a:gd name="T2" fmla="*/ 39 w 49"/>
                  <a:gd name="T3" fmla="*/ 45 h 58"/>
                  <a:gd name="T4" fmla="*/ 31 w 49"/>
                  <a:gd name="T5" fmla="*/ 36 h 58"/>
                  <a:gd name="T6" fmla="*/ 11 w 49"/>
                  <a:gd name="T7" fmla="*/ 43 h 58"/>
                  <a:gd name="T8" fmla="*/ 11 w 49"/>
                  <a:gd name="T9" fmla="*/ 55 h 58"/>
                  <a:gd name="T10" fmla="*/ 0 w 49"/>
                  <a:gd name="T11" fmla="*/ 58 h 58"/>
                  <a:gd name="T12" fmla="*/ 3 w 49"/>
                  <a:gd name="T13" fmla="*/ 3 h 58"/>
                  <a:gd name="T14" fmla="*/ 13 w 49"/>
                  <a:gd name="T15" fmla="*/ 0 h 58"/>
                  <a:gd name="T16" fmla="*/ 49 w 49"/>
                  <a:gd name="T17" fmla="*/ 42 h 58"/>
                  <a:gd name="T18" fmla="*/ 25 w 49"/>
                  <a:gd name="T19" fmla="*/ 29 h 58"/>
                  <a:gd name="T20" fmla="*/ 12 w 49"/>
                  <a:gd name="T21" fmla="*/ 14 h 58"/>
                  <a:gd name="T22" fmla="*/ 11 w 49"/>
                  <a:gd name="T23" fmla="*/ 34 h 58"/>
                  <a:gd name="T24" fmla="*/ 25 w 49"/>
                  <a:gd name="T25" fmla="*/ 29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49" h="58">
                    <a:moveTo>
                      <a:pt x="49" y="42"/>
                    </a:moveTo>
                    <a:lnTo>
                      <a:pt x="39" y="45"/>
                    </a:lnTo>
                    <a:lnTo>
                      <a:pt x="31" y="36"/>
                    </a:lnTo>
                    <a:lnTo>
                      <a:pt x="11" y="43"/>
                    </a:lnTo>
                    <a:lnTo>
                      <a:pt x="11" y="55"/>
                    </a:lnTo>
                    <a:lnTo>
                      <a:pt x="0" y="58"/>
                    </a:lnTo>
                    <a:lnTo>
                      <a:pt x="3" y="3"/>
                    </a:lnTo>
                    <a:lnTo>
                      <a:pt x="13" y="0"/>
                    </a:lnTo>
                    <a:lnTo>
                      <a:pt x="49" y="42"/>
                    </a:lnTo>
                    <a:close/>
                    <a:moveTo>
                      <a:pt x="25" y="29"/>
                    </a:moveTo>
                    <a:lnTo>
                      <a:pt x="12" y="14"/>
                    </a:lnTo>
                    <a:lnTo>
                      <a:pt x="11" y="34"/>
                    </a:lnTo>
                    <a:lnTo>
                      <a:pt x="25" y="2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49" name="íṩḻiḋê"/>
              <p:cNvSpPr/>
              <p:nvPr/>
            </p:nvSpPr>
            <p:spPr bwMode="auto">
              <a:xfrm>
                <a:off x="2714522" y="5990228"/>
                <a:ext cx="92075" cy="101600"/>
              </a:xfrm>
              <a:custGeom>
                <a:avLst/>
                <a:gdLst>
                  <a:gd name="T0" fmla="*/ 21 w 58"/>
                  <a:gd name="T1" fmla="*/ 64 h 64"/>
                  <a:gd name="T2" fmla="*/ 0 w 58"/>
                  <a:gd name="T3" fmla="*/ 17 h 64"/>
                  <a:gd name="T4" fmla="*/ 9 w 58"/>
                  <a:gd name="T5" fmla="*/ 12 h 64"/>
                  <a:gd name="T6" fmla="*/ 43 w 58"/>
                  <a:gd name="T7" fmla="*/ 36 h 64"/>
                  <a:gd name="T8" fmla="*/ 29 w 58"/>
                  <a:gd name="T9" fmla="*/ 4 h 64"/>
                  <a:gd name="T10" fmla="*/ 37 w 58"/>
                  <a:gd name="T11" fmla="*/ 0 h 64"/>
                  <a:gd name="T12" fmla="*/ 58 w 58"/>
                  <a:gd name="T13" fmla="*/ 46 h 64"/>
                  <a:gd name="T14" fmla="*/ 49 w 58"/>
                  <a:gd name="T15" fmla="*/ 51 h 64"/>
                  <a:gd name="T16" fmla="*/ 16 w 58"/>
                  <a:gd name="T17" fmla="*/ 29 h 64"/>
                  <a:gd name="T18" fmla="*/ 30 w 58"/>
                  <a:gd name="T19" fmla="*/ 59 h 64"/>
                  <a:gd name="T20" fmla="*/ 21 w 58"/>
                  <a:gd name="T21" fmla="*/ 64 h 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58" h="64">
                    <a:moveTo>
                      <a:pt x="21" y="64"/>
                    </a:moveTo>
                    <a:lnTo>
                      <a:pt x="0" y="17"/>
                    </a:lnTo>
                    <a:lnTo>
                      <a:pt x="9" y="12"/>
                    </a:lnTo>
                    <a:lnTo>
                      <a:pt x="43" y="36"/>
                    </a:lnTo>
                    <a:lnTo>
                      <a:pt x="29" y="4"/>
                    </a:lnTo>
                    <a:lnTo>
                      <a:pt x="37" y="0"/>
                    </a:lnTo>
                    <a:lnTo>
                      <a:pt x="58" y="46"/>
                    </a:lnTo>
                    <a:lnTo>
                      <a:pt x="49" y="51"/>
                    </a:lnTo>
                    <a:lnTo>
                      <a:pt x="16" y="29"/>
                    </a:lnTo>
                    <a:lnTo>
                      <a:pt x="30" y="59"/>
                    </a:lnTo>
                    <a:lnTo>
                      <a:pt x="21" y="6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50" name="îṧľíḍe"/>
              <p:cNvSpPr/>
              <p:nvPr/>
            </p:nvSpPr>
            <p:spPr bwMode="auto">
              <a:xfrm>
                <a:off x="2781197" y="5963240"/>
                <a:ext cx="85725" cy="95250"/>
              </a:xfrm>
              <a:custGeom>
                <a:avLst/>
                <a:gdLst>
                  <a:gd name="T0" fmla="*/ 0 w 47"/>
                  <a:gd name="T1" fmla="*/ 13 h 51"/>
                  <a:gd name="T2" fmla="*/ 14 w 47"/>
                  <a:gd name="T3" fmla="*/ 4 h 51"/>
                  <a:gd name="T4" fmla="*/ 22 w 47"/>
                  <a:gd name="T5" fmla="*/ 1 h 51"/>
                  <a:gd name="T6" fmla="*/ 29 w 47"/>
                  <a:gd name="T7" fmla="*/ 1 h 51"/>
                  <a:gd name="T8" fmla="*/ 37 w 47"/>
                  <a:gd name="T9" fmla="*/ 5 h 51"/>
                  <a:gd name="T10" fmla="*/ 43 w 47"/>
                  <a:gd name="T11" fmla="*/ 14 h 51"/>
                  <a:gd name="T12" fmla="*/ 47 w 47"/>
                  <a:gd name="T13" fmla="*/ 22 h 51"/>
                  <a:gd name="T14" fmla="*/ 46 w 47"/>
                  <a:gd name="T15" fmla="*/ 31 h 51"/>
                  <a:gd name="T16" fmla="*/ 43 w 47"/>
                  <a:gd name="T17" fmla="*/ 38 h 51"/>
                  <a:gd name="T18" fmla="*/ 36 w 47"/>
                  <a:gd name="T19" fmla="*/ 42 h 51"/>
                  <a:gd name="T20" fmla="*/ 22 w 47"/>
                  <a:gd name="T21" fmla="*/ 51 h 51"/>
                  <a:gd name="T22" fmla="*/ 0 w 47"/>
                  <a:gd name="T23" fmla="*/ 13 h 51"/>
                  <a:gd name="T24" fmla="*/ 11 w 47"/>
                  <a:gd name="T25" fmla="*/ 15 h 51"/>
                  <a:gd name="T26" fmla="*/ 26 w 47"/>
                  <a:gd name="T27" fmla="*/ 40 h 51"/>
                  <a:gd name="T28" fmla="*/ 32 w 47"/>
                  <a:gd name="T29" fmla="*/ 37 h 51"/>
                  <a:gd name="T30" fmla="*/ 36 w 47"/>
                  <a:gd name="T31" fmla="*/ 33 h 51"/>
                  <a:gd name="T32" fmla="*/ 38 w 47"/>
                  <a:gd name="T33" fmla="*/ 30 h 51"/>
                  <a:gd name="T34" fmla="*/ 38 w 47"/>
                  <a:gd name="T35" fmla="*/ 25 h 51"/>
                  <a:gd name="T36" fmla="*/ 35 w 47"/>
                  <a:gd name="T37" fmla="*/ 18 h 51"/>
                  <a:gd name="T38" fmla="*/ 30 w 47"/>
                  <a:gd name="T39" fmla="*/ 11 h 51"/>
                  <a:gd name="T40" fmla="*/ 26 w 47"/>
                  <a:gd name="T41" fmla="*/ 9 h 51"/>
                  <a:gd name="T42" fmla="*/ 21 w 47"/>
                  <a:gd name="T43" fmla="*/ 9 h 51"/>
                  <a:gd name="T44" fmla="*/ 15 w 47"/>
                  <a:gd name="T45" fmla="*/ 13 h 51"/>
                  <a:gd name="T46" fmla="*/ 11 w 47"/>
                  <a:gd name="T47" fmla="*/ 15 h 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47" h="51">
                    <a:moveTo>
                      <a:pt x="0" y="13"/>
                    </a:moveTo>
                    <a:cubicBezTo>
                      <a:pt x="14" y="4"/>
                      <a:pt x="14" y="4"/>
                      <a:pt x="14" y="4"/>
                    </a:cubicBezTo>
                    <a:cubicBezTo>
                      <a:pt x="17" y="3"/>
                      <a:pt x="20" y="1"/>
                      <a:pt x="22" y="1"/>
                    </a:cubicBezTo>
                    <a:cubicBezTo>
                      <a:pt x="24" y="0"/>
                      <a:pt x="27" y="0"/>
                      <a:pt x="29" y="1"/>
                    </a:cubicBezTo>
                    <a:cubicBezTo>
                      <a:pt x="32" y="2"/>
                      <a:pt x="34" y="3"/>
                      <a:pt x="37" y="5"/>
                    </a:cubicBezTo>
                    <a:cubicBezTo>
                      <a:pt x="39" y="7"/>
                      <a:pt x="41" y="10"/>
                      <a:pt x="43" y="14"/>
                    </a:cubicBezTo>
                    <a:cubicBezTo>
                      <a:pt x="45" y="17"/>
                      <a:pt x="46" y="20"/>
                      <a:pt x="47" y="22"/>
                    </a:cubicBezTo>
                    <a:cubicBezTo>
                      <a:pt x="47" y="26"/>
                      <a:pt x="47" y="29"/>
                      <a:pt x="46" y="31"/>
                    </a:cubicBezTo>
                    <a:cubicBezTo>
                      <a:pt x="46" y="34"/>
                      <a:pt x="45" y="36"/>
                      <a:pt x="43" y="38"/>
                    </a:cubicBezTo>
                    <a:cubicBezTo>
                      <a:pt x="41" y="39"/>
                      <a:pt x="39" y="41"/>
                      <a:pt x="36" y="42"/>
                    </a:cubicBezTo>
                    <a:cubicBezTo>
                      <a:pt x="22" y="51"/>
                      <a:pt x="22" y="51"/>
                      <a:pt x="22" y="51"/>
                    </a:cubicBezTo>
                    <a:lnTo>
                      <a:pt x="0" y="13"/>
                    </a:lnTo>
                    <a:close/>
                    <a:moveTo>
                      <a:pt x="11" y="15"/>
                    </a:moveTo>
                    <a:cubicBezTo>
                      <a:pt x="26" y="40"/>
                      <a:pt x="26" y="40"/>
                      <a:pt x="26" y="40"/>
                    </a:cubicBezTo>
                    <a:cubicBezTo>
                      <a:pt x="32" y="37"/>
                      <a:pt x="32" y="37"/>
                      <a:pt x="32" y="37"/>
                    </a:cubicBezTo>
                    <a:cubicBezTo>
                      <a:pt x="34" y="35"/>
                      <a:pt x="35" y="34"/>
                      <a:pt x="36" y="33"/>
                    </a:cubicBezTo>
                    <a:cubicBezTo>
                      <a:pt x="37" y="32"/>
                      <a:pt x="38" y="31"/>
                      <a:pt x="38" y="30"/>
                    </a:cubicBezTo>
                    <a:cubicBezTo>
                      <a:pt x="39" y="29"/>
                      <a:pt x="39" y="27"/>
                      <a:pt x="38" y="25"/>
                    </a:cubicBezTo>
                    <a:cubicBezTo>
                      <a:pt x="38" y="23"/>
                      <a:pt x="37" y="21"/>
                      <a:pt x="35" y="18"/>
                    </a:cubicBezTo>
                    <a:cubicBezTo>
                      <a:pt x="33" y="15"/>
                      <a:pt x="32" y="13"/>
                      <a:pt x="30" y="11"/>
                    </a:cubicBezTo>
                    <a:cubicBezTo>
                      <a:pt x="29" y="10"/>
                      <a:pt x="27" y="9"/>
                      <a:pt x="26" y="9"/>
                    </a:cubicBezTo>
                    <a:cubicBezTo>
                      <a:pt x="25" y="9"/>
                      <a:pt x="23" y="9"/>
                      <a:pt x="21" y="9"/>
                    </a:cubicBezTo>
                    <a:cubicBezTo>
                      <a:pt x="20" y="10"/>
                      <a:pt x="18" y="11"/>
                      <a:pt x="15" y="13"/>
                    </a:cubicBezTo>
                    <a:lnTo>
                      <a:pt x="11" y="1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51" name="ïṩḻiḍe"/>
              <p:cNvSpPr/>
              <p:nvPr/>
            </p:nvSpPr>
            <p:spPr bwMode="auto">
              <a:xfrm>
                <a:off x="2876447" y="5888628"/>
                <a:ext cx="80963" cy="88900"/>
              </a:xfrm>
              <a:custGeom>
                <a:avLst/>
                <a:gdLst>
                  <a:gd name="T0" fmla="*/ 43 w 51"/>
                  <a:gd name="T1" fmla="*/ 56 h 56"/>
                  <a:gd name="T2" fmla="*/ 16 w 51"/>
                  <a:gd name="T3" fmla="*/ 22 h 56"/>
                  <a:gd name="T4" fmla="*/ 5 w 51"/>
                  <a:gd name="T5" fmla="*/ 31 h 56"/>
                  <a:gd name="T6" fmla="*/ 0 w 51"/>
                  <a:gd name="T7" fmla="*/ 25 h 56"/>
                  <a:gd name="T8" fmla="*/ 31 w 51"/>
                  <a:gd name="T9" fmla="*/ 0 h 56"/>
                  <a:gd name="T10" fmla="*/ 37 w 51"/>
                  <a:gd name="T11" fmla="*/ 7 h 56"/>
                  <a:gd name="T12" fmla="*/ 24 w 51"/>
                  <a:gd name="T13" fmla="*/ 16 h 56"/>
                  <a:gd name="T14" fmla="*/ 51 w 51"/>
                  <a:gd name="T15" fmla="*/ 49 h 56"/>
                  <a:gd name="T16" fmla="*/ 43 w 51"/>
                  <a:gd name="T17" fmla="*/ 56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1" h="56">
                    <a:moveTo>
                      <a:pt x="43" y="56"/>
                    </a:moveTo>
                    <a:lnTo>
                      <a:pt x="16" y="22"/>
                    </a:lnTo>
                    <a:lnTo>
                      <a:pt x="5" y="31"/>
                    </a:lnTo>
                    <a:lnTo>
                      <a:pt x="0" y="25"/>
                    </a:lnTo>
                    <a:lnTo>
                      <a:pt x="31" y="0"/>
                    </a:lnTo>
                    <a:lnTo>
                      <a:pt x="37" y="7"/>
                    </a:lnTo>
                    <a:lnTo>
                      <a:pt x="24" y="16"/>
                    </a:lnTo>
                    <a:lnTo>
                      <a:pt x="51" y="49"/>
                    </a:lnTo>
                    <a:lnTo>
                      <a:pt x="43" y="56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52" name="íśļïḓè"/>
              <p:cNvSpPr/>
              <p:nvPr/>
            </p:nvSpPr>
            <p:spPr bwMode="auto">
              <a:xfrm>
                <a:off x="2925659" y="5845765"/>
                <a:ext cx="101600" cy="100013"/>
              </a:xfrm>
              <a:custGeom>
                <a:avLst/>
                <a:gdLst>
                  <a:gd name="T0" fmla="*/ 36 w 64"/>
                  <a:gd name="T1" fmla="*/ 63 h 63"/>
                  <a:gd name="T2" fmla="*/ 0 w 64"/>
                  <a:gd name="T3" fmla="*/ 26 h 63"/>
                  <a:gd name="T4" fmla="*/ 28 w 64"/>
                  <a:gd name="T5" fmla="*/ 0 h 63"/>
                  <a:gd name="T6" fmla="*/ 34 w 64"/>
                  <a:gd name="T7" fmla="*/ 6 h 63"/>
                  <a:gd name="T8" fmla="*/ 14 w 64"/>
                  <a:gd name="T9" fmla="*/ 26 h 63"/>
                  <a:gd name="T10" fmla="*/ 22 w 64"/>
                  <a:gd name="T11" fmla="*/ 34 h 63"/>
                  <a:gd name="T12" fmla="*/ 41 w 64"/>
                  <a:gd name="T13" fmla="*/ 16 h 63"/>
                  <a:gd name="T14" fmla="*/ 47 w 64"/>
                  <a:gd name="T15" fmla="*/ 22 h 63"/>
                  <a:gd name="T16" fmla="*/ 28 w 64"/>
                  <a:gd name="T17" fmla="*/ 39 h 63"/>
                  <a:gd name="T18" fmla="*/ 38 w 64"/>
                  <a:gd name="T19" fmla="*/ 50 h 63"/>
                  <a:gd name="T20" fmla="*/ 58 w 64"/>
                  <a:gd name="T21" fmla="*/ 30 h 63"/>
                  <a:gd name="T22" fmla="*/ 64 w 64"/>
                  <a:gd name="T23" fmla="*/ 36 h 63"/>
                  <a:gd name="T24" fmla="*/ 36 w 64"/>
                  <a:gd name="T25" fmla="*/ 63 h 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4" h="63">
                    <a:moveTo>
                      <a:pt x="36" y="63"/>
                    </a:moveTo>
                    <a:lnTo>
                      <a:pt x="0" y="26"/>
                    </a:lnTo>
                    <a:lnTo>
                      <a:pt x="28" y="0"/>
                    </a:lnTo>
                    <a:lnTo>
                      <a:pt x="34" y="6"/>
                    </a:lnTo>
                    <a:lnTo>
                      <a:pt x="14" y="26"/>
                    </a:lnTo>
                    <a:lnTo>
                      <a:pt x="22" y="34"/>
                    </a:lnTo>
                    <a:lnTo>
                      <a:pt x="41" y="16"/>
                    </a:lnTo>
                    <a:lnTo>
                      <a:pt x="47" y="22"/>
                    </a:lnTo>
                    <a:lnTo>
                      <a:pt x="28" y="39"/>
                    </a:lnTo>
                    <a:lnTo>
                      <a:pt x="38" y="50"/>
                    </a:lnTo>
                    <a:lnTo>
                      <a:pt x="58" y="30"/>
                    </a:lnTo>
                    <a:lnTo>
                      <a:pt x="64" y="36"/>
                    </a:lnTo>
                    <a:lnTo>
                      <a:pt x="36" y="6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53" name="íṩḻîde"/>
              <p:cNvSpPr/>
              <p:nvPr/>
            </p:nvSpPr>
            <p:spPr bwMode="auto">
              <a:xfrm>
                <a:off x="2985984" y="5801315"/>
                <a:ext cx="82550" cy="80963"/>
              </a:xfrm>
              <a:custGeom>
                <a:avLst/>
                <a:gdLst>
                  <a:gd name="T0" fmla="*/ 34 w 45"/>
                  <a:gd name="T1" fmla="*/ 19 h 44"/>
                  <a:gd name="T2" fmla="*/ 41 w 45"/>
                  <a:gd name="T3" fmla="*/ 14 h 44"/>
                  <a:gd name="T4" fmla="*/ 45 w 45"/>
                  <a:gd name="T5" fmla="*/ 26 h 44"/>
                  <a:gd name="T6" fmla="*/ 40 w 45"/>
                  <a:gd name="T7" fmla="*/ 37 h 44"/>
                  <a:gd name="T8" fmla="*/ 26 w 45"/>
                  <a:gd name="T9" fmla="*/ 44 h 44"/>
                  <a:gd name="T10" fmla="*/ 10 w 45"/>
                  <a:gd name="T11" fmla="*/ 38 h 44"/>
                  <a:gd name="T12" fmla="*/ 1 w 45"/>
                  <a:gd name="T13" fmla="*/ 22 h 44"/>
                  <a:gd name="T14" fmla="*/ 6 w 45"/>
                  <a:gd name="T15" fmla="*/ 7 h 44"/>
                  <a:gd name="T16" fmla="*/ 18 w 45"/>
                  <a:gd name="T17" fmla="*/ 0 h 44"/>
                  <a:gd name="T18" fmla="*/ 27 w 45"/>
                  <a:gd name="T19" fmla="*/ 2 h 44"/>
                  <a:gd name="T20" fmla="*/ 23 w 45"/>
                  <a:gd name="T21" fmla="*/ 10 h 44"/>
                  <a:gd name="T22" fmla="*/ 17 w 45"/>
                  <a:gd name="T23" fmla="*/ 9 h 44"/>
                  <a:gd name="T24" fmla="*/ 11 w 45"/>
                  <a:gd name="T25" fmla="*/ 12 h 44"/>
                  <a:gd name="T26" fmla="*/ 9 w 45"/>
                  <a:gd name="T27" fmla="*/ 21 h 44"/>
                  <a:gd name="T28" fmla="*/ 15 w 45"/>
                  <a:gd name="T29" fmla="*/ 30 h 44"/>
                  <a:gd name="T30" fmla="*/ 26 w 45"/>
                  <a:gd name="T31" fmla="*/ 36 h 44"/>
                  <a:gd name="T32" fmla="*/ 34 w 45"/>
                  <a:gd name="T33" fmla="*/ 32 h 44"/>
                  <a:gd name="T34" fmla="*/ 36 w 45"/>
                  <a:gd name="T35" fmla="*/ 26 h 44"/>
                  <a:gd name="T36" fmla="*/ 34 w 45"/>
                  <a:gd name="T37" fmla="*/ 19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45" h="44">
                    <a:moveTo>
                      <a:pt x="34" y="19"/>
                    </a:moveTo>
                    <a:cubicBezTo>
                      <a:pt x="41" y="14"/>
                      <a:pt x="41" y="14"/>
                      <a:pt x="41" y="14"/>
                    </a:cubicBezTo>
                    <a:cubicBezTo>
                      <a:pt x="44" y="18"/>
                      <a:pt x="45" y="22"/>
                      <a:pt x="45" y="26"/>
                    </a:cubicBezTo>
                    <a:cubicBezTo>
                      <a:pt x="45" y="30"/>
                      <a:pt x="43" y="34"/>
                      <a:pt x="40" y="37"/>
                    </a:cubicBezTo>
                    <a:cubicBezTo>
                      <a:pt x="36" y="42"/>
                      <a:pt x="31" y="44"/>
                      <a:pt x="26" y="44"/>
                    </a:cubicBezTo>
                    <a:cubicBezTo>
                      <a:pt x="21" y="44"/>
                      <a:pt x="15" y="42"/>
                      <a:pt x="10" y="38"/>
                    </a:cubicBezTo>
                    <a:cubicBezTo>
                      <a:pt x="4" y="33"/>
                      <a:pt x="1" y="28"/>
                      <a:pt x="1" y="22"/>
                    </a:cubicBezTo>
                    <a:cubicBezTo>
                      <a:pt x="0" y="17"/>
                      <a:pt x="2" y="12"/>
                      <a:pt x="6" y="7"/>
                    </a:cubicBezTo>
                    <a:cubicBezTo>
                      <a:pt x="10" y="3"/>
                      <a:pt x="14" y="1"/>
                      <a:pt x="18" y="0"/>
                    </a:cubicBezTo>
                    <a:cubicBezTo>
                      <a:pt x="21" y="0"/>
                      <a:pt x="24" y="1"/>
                      <a:pt x="27" y="2"/>
                    </a:cubicBezTo>
                    <a:cubicBezTo>
                      <a:pt x="23" y="10"/>
                      <a:pt x="23" y="10"/>
                      <a:pt x="23" y="10"/>
                    </a:cubicBezTo>
                    <a:cubicBezTo>
                      <a:pt x="21" y="9"/>
                      <a:pt x="19" y="9"/>
                      <a:pt x="17" y="9"/>
                    </a:cubicBezTo>
                    <a:cubicBezTo>
                      <a:pt x="15" y="9"/>
                      <a:pt x="13" y="11"/>
                      <a:pt x="11" y="12"/>
                    </a:cubicBezTo>
                    <a:cubicBezTo>
                      <a:pt x="9" y="15"/>
                      <a:pt x="8" y="18"/>
                      <a:pt x="9" y="21"/>
                    </a:cubicBezTo>
                    <a:cubicBezTo>
                      <a:pt x="9" y="24"/>
                      <a:pt x="12" y="27"/>
                      <a:pt x="15" y="30"/>
                    </a:cubicBezTo>
                    <a:cubicBezTo>
                      <a:pt x="20" y="34"/>
                      <a:pt x="23" y="36"/>
                      <a:pt x="26" y="36"/>
                    </a:cubicBezTo>
                    <a:cubicBezTo>
                      <a:pt x="29" y="36"/>
                      <a:pt x="32" y="35"/>
                      <a:pt x="34" y="32"/>
                    </a:cubicBezTo>
                    <a:cubicBezTo>
                      <a:pt x="36" y="31"/>
                      <a:pt x="36" y="29"/>
                      <a:pt x="36" y="26"/>
                    </a:cubicBezTo>
                    <a:cubicBezTo>
                      <a:pt x="36" y="24"/>
                      <a:pt x="35" y="22"/>
                      <a:pt x="34" y="1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54" name="îŝḷïḓê"/>
              <p:cNvSpPr/>
              <p:nvPr/>
            </p:nvSpPr>
            <p:spPr bwMode="auto">
              <a:xfrm>
                <a:off x="3022497" y="5733053"/>
                <a:ext cx="103188" cy="101600"/>
              </a:xfrm>
              <a:custGeom>
                <a:avLst/>
                <a:gdLst>
                  <a:gd name="T0" fmla="*/ 42 w 65"/>
                  <a:gd name="T1" fmla="*/ 64 h 64"/>
                  <a:gd name="T2" fmla="*/ 0 w 65"/>
                  <a:gd name="T3" fmla="*/ 34 h 64"/>
                  <a:gd name="T4" fmla="*/ 6 w 65"/>
                  <a:gd name="T5" fmla="*/ 26 h 64"/>
                  <a:gd name="T6" fmla="*/ 22 w 65"/>
                  <a:gd name="T7" fmla="*/ 37 h 64"/>
                  <a:gd name="T8" fmla="*/ 33 w 65"/>
                  <a:gd name="T9" fmla="*/ 21 h 64"/>
                  <a:gd name="T10" fmla="*/ 17 w 65"/>
                  <a:gd name="T11" fmla="*/ 9 h 64"/>
                  <a:gd name="T12" fmla="*/ 23 w 65"/>
                  <a:gd name="T13" fmla="*/ 0 h 64"/>
                  <a:gd name="T14" fmla="*/ 65 w 65"/>
                  <a:gd name="T15" fmla="*/ 30 h 64"/>
                  <a:gd name="T16" fmla="*/ 59 w 65"/>
                  <a:gd name="T17" fmla="*/ 38 h 64"/>
                  <a:gd name="T18" fmla="*/ 40 w 65"/>
                  <a:gd name="T19" fmla="*/ 26 h 64"/>
                  <a:gd name="T20" fmla="*/ 29 w 65"/>
                  <a:gd name="T21" fmla="*/ 42 h 64"/>
                  <a:gd name="T22" fmla="*/ 47 w 65"/>
                  <a:gd name="T23" fmla="*/ 55 h 64"/>
                  <a:gd name="T24" fmla="*/ 42 w 65"/>
                  <a:gd name="T25" fmla="*/ 64 h 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5" h="64">
                    <a:moveTo>
                      <a:pt x="42" y="64"/>
                    </a:moveTo>
                    <a:lnTo>
                      <a:pt x="0" y="34"/>
                    </a:lnTo>
                    <a:lnTo>
                      <a:pt x="6" y="26"/>
                    </a:lnTo>
                    <a:lnTo>
                      <a:pt x="22" y="37"/>
                    </a:lnTo>
                    <a:lnTo>
                      <a:pt x="33" y="21"/>
                    </a:lnTo>
                    <a:lnTo>
                      <a:pt x="17" y="9"/>
                    </a:lnTo>
                    <a:lnTo>
                      <a:pt x="23" y="0"/>
                    </a:lnTo>
                    <a:lnTo>
                      <a:pt x="65" y="30"/>
                    </a:lnTo>
                    <a:lnTo>
                      <a:pt x="59" y="38"/>
                    </a:lnTo>
                    <a:lnTo>
                      <a:pt x="40" y="26"/>
                    </a:lnTo>
                    <a:lnTo>
                      <a:pt x="29" y="42"/>
                    </a:lnTo>
                    <a:lnTo>
                      <a:pt x="47" y="55"/>
                    </a:lnTo>
                    <a:lnTo>
                      <a:pt x="42" y="6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55" name="îşḷîḑe"/>
              <p:cNvSpPr/>
              <p:nvPr/>
            </p:nvSpPr>
            <p:spPr bwMode="auto">
              <a:xfrm>
                <a:off x="3062184" y="5672728"/>
                <a:ext cx="103188" cy="95250"/>
              </a:xfrm>
              <a:custGeom>
                <a:avLst/>
                <a:gdLst>
                  <a:gd name="T0" fmla="*/ 44 w 65"/>
                  <a:gd name="T1" fmla="*/ 60 h 60"/>
                  <a:gd name="T2" fmla="*/ 0 w 65"/>
                  <a:gd name="T3" fmla="*/ 34 h 60"/>
                  <a:gd name="T4" fmla="*/ 5 w 65"/>
                  <a:gd name="T5" fmla="*/ 26 h 60"/>
                  <a:gd name="T6" fmla="*/ 46 w 65"/>
                  <a:gd name="T7" fmla="*/ 24 h 60"/>
                  <a:gd name="T8" fmla="*/ 15 w 65"/>
                  <a:gd name="T9" fmla="*/ 8 h 60"/>
                  <a:gd name="T10" fmla="*/ 20 w 65"/>
                  <a:gd name="T11" fmla="*/ 0 h 60"/>
                  <a:gd name="T12" fmla="*/ 65 w 65"/>
                  <a:gd name="T13" fmla="*/ 24 h 60"/>
                  <a:gd name="T14" fmla="*/ 59 w 65"/>
                  <a:gd name="T15" fmla="*/ 33 h 60"/>
                  <a:gd name="T16" fmla="*/ 20 w 65"/>
                  <a:gd name="T17" fmla="*/ 34 h 60"/>
                  <a:gd name="T18" fmla="*/ 49 w 65"/>
                  <a:gd name="T19" fmla="*/ 52 h 60"/>
                  <a:gd name="T20" fmla="*/ 44 w 65"/>
                  <a:gd name="T21" fmla="*/ 60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65" h="60">
                    <a:moveTo>
                      <a:pt x="44" y="60"/>
                    </a:moveTo>
                    <a:lnTo>
                      <a:pt x="0" y="34"/>
                    </a:lnTo>
                    <a:lnTo>
                      <a:pt x="5" y="26"/>
                    </a:lnTo>
                    <a:lnTo>
                      <a:pt x="46" y="24"/>
                    </a:lnTo>
                    <a:lnTo>
                      <a:pt x="15" y="8"/>
                    </a:lnTo>
                    <a:lnTo>
                      <a:pt x="20" y="0"/>
                    </a:lnTo>
                    <a:lnTo>
                      <a:pt x="65" y="24"/>
                    </a:lnTo>
                    <a:lnTo>
                      <a:pt x="59" y="33"/>
                    </a:lnTo>
                    <a:lnTo>
                      <a:pt x="20" y="34"/>
                    </a:lnTo>
                    <a:lnTo>
                      <a:pt x="49" y="52"/>
                    </a:lnTo>
                    <a:lnTo>
                      <a:pt x="44" y="6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56" name="îşḷïḋê"/>
              <p:cNvSpPr/>
              <p:nvPr/>
            </p:nvSpPr>
            <p:spPr bwMode="auto">
              <a:xfrm>
                <a:off x="3106634" y="5606053"/>
                <a:ext cx="87313" cy="84138"/>
              </a:xfrm>
              <a:custGeom>
                <a:avLst/>
                <a:gdLst>
                  <a:gd name="T0" fmla="*/ 15 w 47"/>
                  <a:gd name="T1" fmla="*/ 43 h 46"/>
                  <a:gd name="T2" fmla="*/ 5 w 47"/>
                  <a:gd name="T3" fmla="*/ 36 h 46"/>
                  <a:gd name="T4" fmla="*/ 2 w 47"/>
                  <a:gd name="T5" fmla="*/ 30 h 46"/>
                  <a:gd name="T6" fmla="*/ 0 w 47"/>
                  <a:gd name="T7" fmla="*/ 23 h 46"/>
                  <a:gd name="T8" fmla="*/ 2 w 47"/>
                  <a:gd name="T9" fmla="*/ 14 h 46"/>
                  <a:gd name="T10" fmla="*/ 14 w 47"/>
                  <a:gd name="T11" fmla="*/ 2 h 46"/>
                  <a:gd name="T12" fmla="*/ 32 w 47"/>
                  <a:gd name="T13" fmla="*/ 3 h 46"/>
                  <a:gd name="T14" fmla="*/ 45 w 47"/>
                  <a:gd name="T15" fmla="*/ 15 h 46"/>
                  <a:gd name="T16" fmla="*/ 44 w 47"/>
                  <a:gd name="T17" fmla="*/ 32 h 46"/>
                  <a:gd name="T18" fmla="*/ 32 w 47"/>
                  <a:gd name="T19" fmla="*/ 44 h 46"/>
                  <a:gd name="T20" fmla="*/ 15 w 47"/>
                  <a:gd name="T21" fmla="*/ 43 h 46"/>
                  <a:gd name="T22" fmla="*/ 18 w 47"/>
                  <a:gd name="T23" fmla="*/ 34 h 46"/>
                  <a:gd name="T24" fmla="*/ 30 w 47"/>
                  <a:gd name="T25" fmla="*/ 35 h 46"/>
                  <a:gd name="T26" fmla="*/ 37 w 47"/>
                  <a:gd name="T27" fmla="*/ 29 h 46"/>
                  <a:gd name="T28" fmla="*/ 37 w 47"/>
                  <a:gd name="T29" fmla="*/ 19 h 46"/>
                  <a:gd name="T30" fmla="*/ 28 w 47"/>
                  <a:gd name="T31" fmla="*/ 12 h 46"/>
                  <a:gd name="T32" fmla="*/ 16 w 47"/>
                  <a:gd name="T33" fmla="*/ 10 h 46"/>
                  <a:gd name="T34" fmla="*/ 9 w 47"/>
                  <a:gd name="T35" fmla="*/ 17 h 46"/>
                  <a:gd name="T36" fmla="*/ 9 w 47"/>
                  <a:gd name="T37" fmla="*/ 27 h 46"/>
                  <a:gd name="T38" fmla="*/ 18 w 47"/>
                  <a:gd name="T39" fmla="*/ 34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47" h="46">
                    <a:moveTo>
                      <a:pt x="15" y="43"/>
                    </a:moveTo>
                    <a:cubicBezTo>
                      <a:pt x="11" y="41"/>
                      <a:pt x="8" y="39"/>
                      <a:pt x="5" y="36"/>
                    </a:cubicBezTo>
                    <a:cubicBezTo>
                      <a:pt x="4" y="34"/>
                      <a:pt x="2" y="32"/>
                      <a:pt x="2" y="30"/>
                    </a:cubicBezTo>
                    <a:cubicBezTo>
                      <a:pt x="1" y="28"/>
                      <a:pt x="0" y="26"/>
                      <a:pt x="0" y="23"/>
                    </a:cubicBezTo>
                    <a:cubicBezTo>
                      <a:pt x="0" y="20"/>
                      <a:pt x="1" y="17"/>
                      <a:pt x="2" y="14"/>
                    </a:cubicBezTo>
                    <a:cubicBezTo>
                      <a:pt x="5" y="8"/>
                      <a:pt x="9" y="4"/>
                      <a:pt x="14" y="2"/>
                    </a:cubicBezTo>
                    <a:cubicBezTo>
                      <a:pt x="19" y="0"/>
                      <a:pt x="25" y="1"/>
                      <a:pt x="32" y="3"/>
                    </a:cubicBezTo>
                    <a:cubicBezTo>
                      <a:pt x="38" y="6"/>
                      <a:pt x="43" y="10"/>
                      <a:pt x="45" y="15"/>
                    </a:cubicBezTo>
                    <a:cubicBezTo>
                      <a:pt x="47" y="21"/>
                      <a:pt x="47" y="26"/>
                      <a:pt x="44" y="32"/>
                    </a:cubicBezTo>
                    <a:cubicBezTo>
                      <a:pt x="41" y="38"/>
                      <a:pt x="38" y="42"/>
                      <a:pt x="32" y="44"/>
                    </a:cubicBezTo>
                    <a:cubicBezTo>
                      <a:pt x="27" y="46"/>
                      <a:pt x="21" y="45"/>
                      <a:pt x="15" y="43"/>
                    </a:cubicBezTo>
                    <a:close/>
                    <a:moveTo>
                      <a:pt x="18" y="34"/>
                    </a:moveTo>
                    <a:cubicBezTo>
                      <a:pt x="23" y="36"/>
                      <a:pt x="27" y="37"/>
                      <a:pt x="30" y="35"/>
                    </a:cubicBezTo>
                    <a:cubicBezTo>
                      <a:pt x="33" y="34"/>
                      <a:pt x="36" y="32"/>
                      <a:pt x="37" y="29"/>
                    </a:cubicBezTo>
                    <a:cubicBezTo>
                      <a:pt x="39" y="26"/>
                      <a:pt x="39" y="23"/>
                      <a:pt x="37" y="19"/>
                    </a:cubicBezTo>
                    <a:cubicBezTo>
                      <a:pt x="36" y="16"/>
                      <a:pt x="33" y="14"/>
                      <a:pt x="28" y="12"/>
                    </a:cubicBezTo>
                    <a:cubicBezTo>
                      <a:pt x="23" y="10"/>
                      <a:pt x="19" y="9"/>
                      <a:pt x="16" y="10"/>
                    </a:cubicBezTo>
                    <a:cubicBezTo>
                      <a:pt x="13" y="11"/>
                      <a:pt x="11" y="14"/>
                      <a:pt x="9" y="17"/>
                    </a:cubicBezTo>
                    <a:cubicBezTo>
                      <a:pt x="8" y="20"/>
                      <a:pt x="8" y="23"/>
                      <a:pt x="9" y="27"/>
                    </a:cubicBezTo>
                    <a:cubicBezTo>
                      <a:pt x="11" y="30"/>
                      <a:pt x="14" y="32"/>
                      <a:pt x="18" y="3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57" name="îṣlïḍè"/>
              <p:cNvSpPr/>
              <p:nvPr/>
            </p:nvSpPr>
            <p:spPr bwMode="auto">
              <a:xfrm>
                <a:off x="3128859" y="5560015"/>
                <a:ext cx="93663" cy="57150"/>
              </a:xfrm>
              <a:custGeom>
                <a:avLst/>
                <a:gdLst>
                  <a:gd name="T0" fmla="*/ 49 w 59"/>
                  <a:gd name="T1" fmla="*/ 36 h 36"/>
                  <a:gd name="T2" fmla="*/ 0 w 59"/>
                  <a:gd name="T3" fmla="*/ 21 h 36"/>
                  <a:gd name="T4" fmla="*/ 4 w 59"/>
                  <a:gd name="T5" fmla="*/ 10 h 36"/>
                  <a:gd name="T6" fmla="*/ 43 w 59"/>
                  <a:gd name="T7" fmla="*/ 24 h 36"/>
                  <a:gd name="T8" fmla="*/ 51 w 59"/>
                  <a:gd name="T9" fmla="*/ 0 h 36"/>
                  <a:gd name="T10" fmla="*/ 59 w 59"/>
                  <a:gd name="T11" fmla="*/ 2 h 36"/>
                  <a:gd name="T12" fmla="*/ 49 w 59"/>
                  <a:gd name="T13" fmla="*/ 36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59" h="36">
                    <a:moveTo>
                      <a:pt x="49" y="36"/>
                    </a:moveTo>
                    <a:lnTo>
                      <a:pt x="0" y="21"/>
                    </a:lnTo>
                    <a:lnTo>
                      <a:pt x="4" y="10"/>
                    </a:lnTo>
                    <a:lnTo>
                      <a:pt x="43" y="24"/>
                    </a:lnTo>
                    <a:lnTo>
                      <a:pt x="51" y="0"/>
                    </a:lnTo>
                    <a:lnTo>
                      <a:pt x="59" y="2"/>
                    </a:lnTo>
                    <a:lnTo>
                      <a:pt x="49" y="36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58" name="ïṩḷîḓê"/>
              <p:cNvSpPr/>
              <p:nvPr/>
            </p:nvSpPr>
            <p:spPr bwMode="auto">
              <a:xfrm>
                <a:off x="3152672" y="5469528"/>
                <a:ext cx="85725" cy="80963"/>
              </a:xfrm>
              <a:custGeom>
                <a:avLst/>
                <a:gdLst>
                  <a:gd name="T0" fmla="*/ 18 w 46"/>
                  <a:gd name="T1" fmla="*/ 43 h 44"/>
                  <a:gd name="T2" fmla="*/ 8 w 46"/>
                  <a:gd name="T3" fmla="*/ 38 h 44"/>
                  <a:gd name="T4" fmla="*/ 3 w 46"/>
                  <a:gd name="T5" fmla="*/ 33 h 44"/>
                  <a:gd name="T6" fmla="*/ 0 w 46"/>
                  <a:gd name="T7" fmla="*/ 27 h 44"/>
                  <a:gd name="T8" fmla="*/ 1 w 46"/>
                  <a:gd name="T9" fmla="*/ 17 h 44"/>
                  <a:gd name="T10" fmla="*/ 10 w 46"/>
                  <a:gd name="T11" fmla="*/ 3 h 44"/>
                  <a:gd name="T12" fmla="*/ 28 w 46"/>
                  <a:gd name="T13" fmla="*/ 1 h 44"/>
                  <a:gd name="T14" fmla="*/ 43 w 46"/>
                  <a:gd name="T15" fmla="*/ 11 h 44"/>
                  <a:gd name="T16" fmla="*/ 45 w 46"/>
                  <a:gd name="T17" fmla="*/ 27 h 44"/>
                  <a:gd name="T18" fmla="*/ 36 w 46"/>
                  <a:gd name="T19" fmla="*/ 41 h 44"/>
                  <a:gd name="T20" fmla="*/ 18 w 46"/>
                  <a:gd name="T21" fmla="*/ 43 h 44"/>
                  <a:gd name="T22" fmla="*/ 20 w 46"/>
                  <a:gd name="T23" fmla="*/ 34 h 44"/>
                  <a:gd name="T24" fmla="*/ 32 w 46"/>
                  <a:gd name="T25" fmla="*/ 33 h 44"/>
                  <a:gd name="T26" fmla="*/ 38 w 46"/>
                  <a:gd name="T27" fmla="*/ 25 h 44"/>
                  <a:gd name="T28" fmla="*/ 36 w 46"/>
                  <a:gd name="T29" fmla="*/ 16 h 44"/>
                  <a:gd name="T30" fmla="*/ 25 w 46"/>
                  <a:gd name="T31" fmla="*/ 10 h 44"/>
                  <a:gd name="T32" fmla="*/ 14 w 46"/>
                  <a:gd name="T33" fmla="*/ 11 h 44"/>
                  <a:gd name="T34" fmla="*/ 8 w 46"/>
                  <a:gd name="T35" fmla="*/ 19 h 44"/>
                  <a:gd name="T36" fmla="*/ 10 w 46"/>
                  <a:gd name="T37" fmla="*/ 28 h 44"/>
                  <a:gd name="T38" fmla="*/ 20 w 46"/>
                  <a:gd name="T39" fmla="*/ 34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46" h="44">
                    <a:moveTo>
                      <a:pt x="18" y="43"/>
                    </a:moveTo>
                    <a:cubicBezTo>
                      <a:pt x="14" y="42"/>
                      <a:pt x="10" y="40"/>
                      <a:pt x="8" y="38"/>
                    </a:cubicBezTo>
                    <a:cubicBezTo>
                      <a:pt x="6" y="37"/>
                      <a:pt x="4" y="35"/>
                      <a:pt x="3" y="33"/>
                    </a:cubicBezTo>
                    <a:cubicBezTo>
                      <a:pt x="1" y="31"/>
                      <a:pt x="1" y="29"/>
                      <a:pt x="0" y="27"/>
                    </a:cubicBezTo>
                    <a:cubicBezTo>
                      <a:pt x="0" y="24"/>
                      <a:pt x="0" y="21"/>
                      <a:pt x="1" y="17"/>
                    </a:cubicBezTo>
                    <a:cubicBezTo>
                      <a:pt x="2" y="11"/>
                      <a:pt x="5" y="6"/>
                      <a:pt x="10" y="3"/>
                    </a:cubicBezTo>
                    <a:cubicBezTo>
                      <a:pt x="15" y="0"/>
                      <a:pt x="21" y="0"/>
                      <a:pt x="28" y="1"/>
                    </a:cubicBezTo>
                    <a:cubicBezTo>
                      <a:pt x="34" y="3"/>
                      <a:pt x="39" y="6"/>
                      <a:pt x="43" y="11"/>
                    </a:cubicBezTo>
                    <a:cubicBezTo>
                      <a:pt x="46" y="15"/>
                      <a:pt x="46" y="21"/>
                      <a:pt x="45" y="27"/>
                    </a:cubicBezTo>
                    <a:cubicBezTo>
                      <a:pt x="44" y="33"/>
                      <a:pt x="40" y="38"/>
                      <a:pt x="36" y="41"/>
                    </a:cubicBezTo>
                    <a:cubicBezTo>
                      <a:pt x="31" y="44"/>
                      <a:pt x="25" y="44"/>
                      <a:pt x="18" y="43"/>
                    </a:cubicBezTo>
                    <a:close/>
                    <a:moveTo>
                      <a:pt x="20" y="34"/>
                    </a:moveTo>
                    <a:cubicBezTo>
                      <a:pt x="25" y="35"/>
                      <a:pt x="29" y="35"/>
                      <a:pt x="32" y="33"/>
                    </a:cubicBezTo>
                    <a:cubicBezTo>
                      <a:pt x="35" y="31"/>
                      <a:pt x="37" y="29"/>
                      <a:pt x="38" y="25"/>
                    </a:cubicBezTo>
                    <a:cubicBezTo>
                      <a:pt x="38" y="22"/>
                      <a:pt x="38" y="19"/>
                      <a:pt x="36" y="16"/>
                    </a:cubicBezTo>
                    <a:cubicBezTo>
                      <a:pt x="34" y="13"/>
                      <a:pt x="30" y="11"/>
                      <a:pt x="25" y="10"/>
                    </a:cubicBezTo>
                    <a:cubicBezTo>
                      <a:pt x="20" y="9"/>
                      <a:pt x="16" y="9"/>
                      <a:pt x="14" y="11"/>
                    </a:cubicBezTo>
                    <a:cubicBezTo>
                      <a:pt x="11" y="13"/>
                      <a:pt x="9" y="15"/>
                      <a:pt x="8" y="19"/>
                    </a:cubicBezTo>
                    <a:cubicBezTo>
                      <a:pt x="7" y="22"/>
                      <a:pt x="8" y="25"/>
                      <a:pt x="10" y="28"/>
                    </a:cubicBezTo>
                    <a:cubicBezTo>
                      <a:pt x="12" y="31"/>
                      <a:pt x="15" y="33"/>
                      <a:pt x="20" y="3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59" name="ïSļiďé"/>
              <p:cNvSpPr/>
              <p:nvPr/>
            </p:nvSpPr>
            <p:spPr bwMode="auto">
              <a:xfrm>
                <a:off x="3165372" y="5390153"/>
                <a:ext cx="85725" cy="77788"/>
              </a:xfrm>
              <a:custGeom>
                <a:avLst/>
                <a:gdLst>
                  <a:gd name="T0" fmla="*/ 29 w 46"/>
                  <a:gd name="T1" fmla="*/ 21 h 42"/>
                  <a:gd name="T2" fmla="*/ 22 w 46"/>
                  <a:gd name="T3" fmla="*/ 20 h 42"/>
                  <a:gd name="T4" fmla="*/ 24 w 46"/>
                  <a:gd name="T5" fmla="*/ 1 h 42"/>
                  <a:gd name="T6" fmla="*/ 41 w 46"/>
                  <a:gd name="T7" fmla="*/ 3 h 42"/>
                  <a:gd name="T8" fmla="*/ 45 w 46"/>
                  <a:gd name="T9" fmla="*/ 11 h 42"/>
                  <a:gd name="T10" fmla="*/ 46 w 46"/>
                  <a:gd name="T11" fmla="*/ 22 h 42"/>
                  <a:gd name="T12" fmla="*/ 42 w 46"/>
                  <a:gd name="T13" fmla="*/ 34 h 42"/>
                  <a:gd name="T14" fmla="*/ 33 w 46"/>
                  <a:gd name="T15" fmla="*/ 41 h 42"/>
                  <a:gd name="T16" fmla="*/ 21 w 46"/>
                  <a:gd name="T17" fmla="*/ 42 h 42"/>
                  <a:gd name="T18" fmla="*/ 9 w 46"/>
                  <a:gd name="T19" fmla="*/ 38 h 42"/>
                  <a:gd name="T20" fmla="*/ 2 w 46"/>
                  <a:gd name="T21" fmla="*/ 28 h 42"/>
                  <a:gd name="T22" fmla="*/ 1 w 46"/>
                  <a:gd name="T23" fmla="*/ 18 h 42"/>
                  <a:gd name="T24" fmla="*/ 6 w 46"/>
                  <a:gd name="T25" fmla="*/ 5 h 42"/>
                  <a:gd name="T26" fmla="*/ 16 w 46"/>
                  <a:gd name="T27" fmla="*/ 0 h 42"/>
                  <a:gd name="T28" fmla="*/ 16 w 46"/>
                  <a:gd name="T29" fmla="*/ 9 h 42"/>
                  <a:gd name="T30" fmla="*/ 11 w 46"/>
                  <a:gd name="T31" fmla="*/ 12 h 42"/>
                  <a:gd name="T32" fmla="*/ 8 w 46"/>
                  <a:gd name="T33" fmla="*/ 18 h 42"/>
                  <a:gd name="T34" fmla="*/ 11 w 46"/>
                  <a:gd name="T35" fmla="*/ 28 h 42"/>
                  <a:gd name="T36" fmla="*/ 21 w 46"/>
                  <a:gd name="T37" fmla="*/ 33 h 42"/>
                  <a:gd name="T38" fmla="*/ 34 w 46"/>
                  <a:gd name="T39" fmla="*/ 31 h 42"/>
                  <a:gd name="T40" fmla="*/ 38 w 46"/>
                  <a:gd name="T41" fmla="*/ 22 h 42"/>
                  <a:gd name="T42" fmla="*/ 38 w 46"/>
                  <a:gd name="T43" fmla="*/ 16 h 42"/>
                  <a:gd name="T44" fmla="*/ 36 w 46"/>
                  <a:gd name="T45" fmla="*/ 11 h 42"/>
                  <a:gd name="T46" fmla="*/ 30 w 46"/>
                  <a:gd name="T47" fmla="*/ 11 h 42"/>
                  <a:gd name="T48" fmla="*/ 29 w 46"/>
                  <a:gd name="T49" fmla="*/ 21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46" h="42">
                    <a:moveTo>
                      <a:pt x="29" y="21"/>
                    </a:moveTo>
                    <a:cubicBezTo>
                      <a:pt x="22" y="20"/>
                      <a:pt x="22" y="20"/>
                      <a:pt x="22" y="20"/>
                    </a:cubicBezTo>
                    <a:cubicBezTo>
                      <a:pt x="24" y="1"/>
                      <a:pt x="24" y="1"/>
                      <a:pt x="24" y="1"/>
                    </a:cubicBezTo>
                    <a:cubicBezTo>
                      <a:pt x="41" y="3"/>
                      <a:pt x="41" y="3"/>
                      <a:pt x="41" y="3"/>
                    </a:cubicBezTo>
                    <a:cubicBezTo>
                      <a:pt x="43" y="5"/>
                      <a:pt x="44" y="8"/>
                      <a:pt x="45" y="11"/>
                    </a:cubicBezTo>
                    <a:cubicBezTo>
                      <a:pt x="46" y="15"/>
                      <a:pt x="46" y="19"/>
                      <a:pt x="46" y="22"/>
                    </a:cubicBezTo>
                    <a:cubicBezTo>
                      <a:pt x="46" y="27"/>
                      <a:pt x="44" y="31"/>
                      <a:pt x="42" y="34"/>
                    </a:cubicBezTo>
                    <a:cubicBezTo>
                      <a:pt x="39" y="37"/>
                      <a:pt x="36" y="39"/>
                      <a:pt x="33" y="41"/>
                    </a:cubicBezTo>
                    <a:cubicBezTo>
                      <a:pt x="29" y="42"/>
                      <a:pt x="25" y="42"/>
                      <a:pt x="21" y="42"/>
                    </a:cubicBezTo>
                    <a:cubicBezTo>
                      <a:pt x="16" y="41"/>
                      <a:pt x="12" y="40"/>
                      <a:pt x="9" y="38"/>
                    </a:cubicBezTo>
                    <a:cubicBezTo>
                      <a:pt x="6" y="35"/>
                      <a:pt x="3" y="32"/>
                      <a:pt x="2" y="28"/>
                    </a:cubicBezTo>
                    <a:cubicBezTo>
                      <a:pt x="1" y="25"/>
                      <a:pt x="0" y="22"/>
                      <a:pt x="1" y="18"/>
                    </a:cubicBezTo>
                    <a:cubicBezTo>
                      <a:pt x="1" y="12"/>
                      <a:pt x="3" y="8"/>
                      <a:pt x="6" y="5"/>
                    </a:cubicBezTo>
                    <a:cubicBezTo>
                      <a:pt x="8" y="2"/>
                      <a:pt x="12" y="1"/>
                      <a:pt x="16" y="0"/>
                    </a:cubicBezTo>
                    <a:cubicBezTo>
                      <a:pt x="16" y="9"/>
                      <a:pt x="16" y="9"/>
                      <a:pt x="16" y="9"/>
                    </a:cubicBezTo>
                    <a:cubicBezTo>
                      <a:pt x="14" y="10"/>
                      <a:pt x="12" y="11"/>
                      <a:pt x="11" y="12"/>
                    </a:cubicBezTo>
                    <a:cubicBezTo>
                      <a:pt x="10" y="14"/>
                      <a:pt x="9" y="16"/>
                      <a:pt x="8" y="18"/>
                    </a:cubicBezTo>
                    <a:cubicBezTo>
                      <a:pt x="8" y="22"/>
                      <a:pt x="9" y="25"/>
                      <a:pt x="11" y="28"/>
                    </a:cubicBezTo>
                    <a:cubicBezTo>
                      <a:pt x="13" y="31"/>
                      <a:pt x="17" y="32"/>
                      <a:pt x="21" y="33"/>
                    </a:cubicBezTo>
                    <a:cubicBezTo>
                      <a:pt x="27" y="33"/>
                      <a:pt x="31" y="33"/>
                      <a:pt x="34" y="31"/>
                    </a:cubicBezTo>
                    <a:cubicBezTo>
                      <a:pt x="36" y="29"/>
                      <a:pt x="38" y="26"/>
                      <a:pt x="38" y="22"/>
                    </a:cubicBezTo>
                    <a:cubicBezTo>
                      <a:pt x="39" y="20"/>
                      <a:pt x="39" y="18"/>
                      <a:pt x="38" y="16"/>
                    </a:cubicBezTo>
                    <a:cubicBezTo>
                      <a:pt x="37" y="14"/>
                      <a:pt x="37" y="13"/>
                      <a:pt x="36" y="11"/>
                    </a:cubicBezTo>
                    <a:cubicBezTo>
                      <a:pt x="30" y="11"/>
                      <a:pt x="30" y="11"/>
                      <a:pt x="30" y="11"/>
                    </a:cubicBezTo>
                    <a:lnTo>
                      <a:pt x="29" y="2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60" name="îSḷiḋè"/>
              <p:cNvSpPr/>
              <p:nvPr/>
            </p:nvSpPr>
            <p:spPr bwMode="auto">
              <a:xfrm>
                <a:off x="3173309" y="5313953"/>
                <a:ext cx="80963" cy="76200"/>
              </a:xfrm>
              <a:custGeom>
                <a:avLst/>
                <a:gdLst>
                  <a:gd name="T0" fmla="*/ 51 w 51"/>
                  <a:gd name="T1" fmla="*/ 30 h 48"/>
                  <a:gd name="T2" fmla="*/ 29 w 51"/>
                  <a:gd name="T3" fmla="*/ 29 h 48"/>
                  <a:gd name="T4" fmla="*/ 0 w 51"/>
                  <a:gd name="T5" fmla="*/ 48 h 48"/>
                  <a:gd name="T6" fmla="*/ 0 w 51"/>
                  <a:gd name="T7" fmla="*/ 36 h 48"/>
                  <a:gd name="T8" fmla="*/ 20 w 51"/>
                  <a:gd name="T9" fmla="*/ 24 h 48"/>
                  <a:gd name="T10" fmla="*/ 0 w 51"/>
                  <a:gd name="T11" fmla="*/ 12 h 48"/>
                  <a:gd name="T12" fmla="*/ 0 w 51"/>
                  <a:gd name="T13" fmla="*/ 0 h 48"/>
                  <a:gd name="T14" fmla="*/ 30 w 51"/>
                  <a:gd name="T15" fmla="*/ 20 h 48"/>
                  <a:gd name="T16" fmla="*/ 51 w 51"/>
                  <a:gd name="T17" fmla="*/ 20 h 48"/>
                  <a:gd name="T18" fmla="*/ 51 w 51"/>
                  <a:gd name="T19" fmla="*/ 30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51" h="48">
                    <a:moveTo>
                      <a:pt x="51" y="30"/>
                    </a:moveTo>
                    <a:lnTo>
                      <a:pt x="29" y="29"/>
                    </a:lnTo>
                    <a:lnTo>
                      <a:pt x="0" y="48"/>
                    </a:lnTo>
                    <a:lnTo>
                      <a:pt x="0" y="36"/>
                    </a:lnTo>
                    <a:lnTo>
                      <a:pt x="20" y="24"/>
                    </a:lnTo>
                    <a:lnTo>
                      <a:pt x="0" y="12"/>
                    </a:lnTo>
                    <a:lnTo>
                      <a:pt x="0" y="0"/>
                    </a:lnTo>
                    <a:lnTo>
                      <a:pt x="30" y="20"/>
                    </a:lnTo>
                    <a:lnTo>
                      <a:pt x="51" y="20"/>
                    </a:lnTo>
                    <a:lnTo>
                      <a:pt x="51" y="3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61" name="îṣḷíḋé"/>
              <p:cNvSpPr/>
              <p:nvPr/>
            </p:nvSpPr>
            <p:spPr bwMode="auto">
              <a:xfrm>
                <a:off x="3163784" y="5193303"/>
                <a:ext cx="87313" cy="76200"/>
              </a:xfrm>
              <a:custGeom>
                <a:avLst/>
                <a:gdLst>
                  <a:gd name="T0" fmla="*/ 4 w 47"/>
                  <a:gd name="T1" fmla="*/ 41 h 41"/>
                  <a:gd name="T2" fmla="*/ 1 w 47"/>
                  <a:gd name="T3" fmla="*/ 24 h 41"/>
                  <a:gd name="T4" fmla="*/ 0 w 47"/>
                  <a:gd name="T5" fmla="*/ 16 h 41"/>
                  <a:gd name="T6" fmla="*/ 2 w 47"/>
                  <a:gd name="T7" fmla="*/ 11 h 41"/>
                  <a:gd name="T8" fmla="*/ 5 w 47"/>
                  <a:gd name="T9" fmla="*/ 7 h 41"/>
                  <a:gd name="T10" fmla="*/ 10 w 47"/>
                  <a:gd name="T11" fmla="*/ 5 h 41"/>
                  <a:gd name="T12" fmla="*/ 16 w 47"/>
                  <a:gd name="T13" fmla="*/ 6 h 41"/>
                  <a:gd name="T14" fmla="*/ 20 w 47"/>
                  <a:gd name="T15" fmla="*/ 10 h 41"/>
                  <a:gd name="T16" fmla="*/ 23 w 47"/>
                  <a:gd name="T17" fmla="*/ 3 h 41"/>
                  <a:gd name="T18" fmla="*/ 29 w 47"/>
                  <a:gd name="T19" fmla="*/ 0 h 41"/>
                  <a:gd name="T20" fmla="*/ 35 w 47"/>
                  <a:gd name="T21" fmla="*/ 1 h 41"/>
                  <a:gd name="T22" fmla="*/ 40 w 47"/>
                  <a:gd name="T23" fmla="*/ 4 h 41"/>
                  <a:gd name="T24" fmla="*/ 43 w 47"/>
                  <a:gd name="T25" fmla="*/ 10 h 41"/>
                  <a:gd name="T26" fmla="*/ 45 w 47"/>
                  <a:gd name="T27" fmla="*/ 20 h 41"/>
                  <a:gd name="T28" fmla="*/ 47 w 47"/>
                  <a:gd name="T29" fmla="*/ 35 h 41"/>
                  <a:gd name="T30" fmla="*/ 4 w 47"/>
                  <a:gd name="T31" fmla="*/ 41 h 41"/>
                  <a:gd name="T32" fmla="*/ 10 w 47"/>
                  <a:gd name="T33" fmla="*/ 31 h 41"/>
                  <a:gd name="T34" fmla="*/ 20 w 47"/>
                  <a:gd name="T35" fmla="*/ 30 h 41"/>
                  <a:gd name="T36" fmla="*/ 19 w 47"/>
                  <a:gd name="T37" fmla="*/ 24 h 41"/>
                  <a:gd name="T38" fmla="*/ 18 w 47"/>
                  <a:gd name="T39" fmla="*/ 18 h 41"/>
                  <a:gd name="T40" fmla="*/ 16 w 47"/>
                  <a:gd name="T41" fmla="*/ 15 h 41"/>
                  <a:gd name="T42" fmla="*/ 12 w 47"/>
                  <a:gd name="T43" fmla="*/ 14 h 41"/>
                  <a:gd name="T44" fmla="*/ 9 w 47"/>
                  <a:gd name="T45" fmla="*/ 15 h 41"/>
                  <a:gd name="T46" fmla="*/ 8 w 47"/>
                  <a:gd name="T47" fmla="*/ 19 h 41"/>
                  <a:gd name="T48" fmla="*/ 9 w 47"/>
                  <a:gd name="T49" fmla="*/ 26 h 41"/>
                  <a:gd name="T50" fmla="*/ 10 w 47"/>
                  <a:gd name="T51" fmla="*/ 31 h 41"/>
                  <a:gd name="T52" fmla="*/ 27 w 47"/>
                  <a:gd name="T53" fmla="*/ 29 h 41"/>
                  <a:gd name="T54" fmla="*/ 39 w 47"/>
                  <a:gd name="T55" fmla="*/ 27 h 41"/>
                  <a:gd name="T56" fmla="*/ 37 w 47"/>
                  <a:gd name="T57" fmla="*/ 19 h 41"/>
                  <a:gd name="T58" fmla="*/ 36 w 47"/>
                  <a:gd name="T59" fmla="*/ 13 h 41"/>
                  <a:gd name="T60" fmla="*/ 34 w 47"/>
                  <a:gd name="T61" fmla="*/ 10 h 41"/>
                  <a:gd name="T62" fmla="*/ 30 w 47"/>
                  <a:gd name="T63" fmla="*/ 10 h 41"/>
                  <a:gd name="T64" fmla="*/ 27 w 47"/>
                  <a:gd name="T65" fmla="*/ 11 h 41"/>
                  <a:gd name="T66" fmla="*/ 25 w 47"/>
                  <a:gd name="T67" fmla="*/ 14 h 41"/>
                  <a:gd name="T68" fmla="*/ 26 w 47"/>
                  <a:gd name="T69" fmla="*/ 22 h 41"/>
                  <a:gd name="T70" fmla="*/ 27 w 47"/>
                  <a:gd name="T71" fmla="*/ 29 h 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47" h="41">
                    <a:moveTo>
                      <a:pt x="4" y="41"/>
                    </a:moveTo>
                    <a:cubicBezTo>
                      <a:pt x="1" y="24"/>
                      <a:pt x="1" y="24"/>
                      <a:pt x="1" y="24"/>
                    </a:cubicBezTo>
                    <a:cubicBezTo>
                      <a:pt x="1" y="20"/>
                      <a:pt x="0" y="18"/>
                      <a:pt x="0" y="16"/>
                    </a:cubicBezTo>
                    <a:cubicBezTo>
                      <a:pt x="1" y="14"/>
                      <a:pt x="1" y="13"/>
                      <a:pt x="2" y="11"/>
                    </a:cubicBezTo>
                    <a:cubicBezTo>
                      <a:pt x="2" y="10"/>
                      <a:pt x="3" y="9"/>
                      <a:pt x="5" y="7"/>
                    </a:cubicBezTo>
                    <a:cubicBezTo>
                      <a:pt x="6" y="6"/>
                      <a:pt x="8" y="6"/>
                      <a:pt x="10" y="5"/>
                    </a:cubicBezTo>
                    <a:cubicBezTo>
                      <a:pt x="12" y="5"/>
                      <a:pt x="14" y="5"/>
                      <a:pt x="16" y="6"/>
                    </a:cubicBezTo>
                    <a:cubicBezTo>
                      <a:pt x="17" y="7"/>
                      <a:pt x="19" y="8"/>
                      <a:pt x="20" y="10"/>
                    </a:cubicBezTo>
                    <a:cubicBezTo>
                      <a:pt x="20" y="7"/>
                      <a:pt x="21" y="5"/>
                      <a:pt x="23" y="3"/>
                    </a:cubicBezTo>
                    <a:cubicBezTo>
                      <a:pt x="25" y="2"/>
                      <a:pt x="27" y="1"/>
                      <a:pt x="29" y="0"/>
                    </a:cubicBezTo>
                    <a:cubicBezTo>
                      <a:pt x="31" y="0"/>
                      <a:pt x="33" y="0"/>
                      <a:pt x="35" y="1"/>
                    </a:cubicBezTo>
                    <a:cubicBezTo>
                      <a:pt x="37" y="2"/>
                      <a:pt x="39" y="3"/>
                      <a:pt x="40" y="4"/>
                    </a:cubicBezTo>
                    <a:cubicBezTo>
                      <a:pt x="42" y="5"/>
                      <a:pt x="43" y="7"/>
                      <a:pt x="43" y="10"/>
                    </a:cubicBezTo>
                    <a:cubicBezTo>
                      <a:pt x="44" y="11"/>
                      <a:pt x="44" y="15"/>
                      <a:pt x="45" y="20"/>
                    </a:cubicBezTo>
                    <a:cubicBezTo>
                      <a:pt x="47" y="35"/>
                      <a:pt x="47" y="35"/>
                      <a:pt x="47" y="35"/>
                    </a:cubicBezTo>
                    <a:lnTo>
                      <a:pt x="4" y="41"/>
                    </a:lnTo>
                    <a:close/>
                    <a:moveTo>
                      <a:pt x="10" y="31"/>
                    </a:moveTo>
                    <a:cubicBezTo>
                      <a:pt x="20" y="30"/>
                      <a:pt x="20" y="30"/>
                      <a:pt x="20" y="30"/>
                    </a:cubicBezTo>
                    <a:cubicBezTo>
                      <a:pt x="19" y="24"/>
                      <a:pt x="19" y="24"/>
                      <a:pt x="19" y="24"/>
                    </a:cubicBezTo>
                    <a:cubicBezTo>
                      <a:pt x="18" y="21"/>
                      <a:pt x="18" y="19"/>
                      <a:pt x="18" y="18"/>
                    </a:cubicBezTo>
                    <a:cubicBezTo>
                      <a:pt x="17" y="16"/>
                      <a:pt x="17" y="15"/>
                      <a:pt x="16" y="15"/>
                    </a:cubicBezTo>
                    <a:cubicBezTo>
                      <a:pt x="15" y="14"/>
                      <a:pt x="14" y="14"/>
                      <a:pt x="12" y="14"/>
                    </a:cubicBezTo>
                    <a:cubicBezTo>
                      <a:pt x="11" y="14"/>
                      <a:pt x="10" y="14"/>
                      <a:pt x="9" y="15"/>
                    </a:cubicBezTo>
                    <a:cubicBezTo>
                      <a:pt x="8" y="16"/>
                      <a:pt x="8" y="17"/>
                      <a:pt x="8" y="19"/>
                    </a:cubicBezTo>
                    <a:cubicBezTo>
                      <a:pt x="8" y="20"/>
                      <a:pt x="8" y="22"/>
                      <a:pt x="9" y="26"/>
                    </a:cubicBezTo>
                    <a:lnTo>
                      <a:pt x="10" y="31"/>
                    </a:lnTo>
                    <a:close/>
                    <a:moveTo>
                      <a:pt x="27" y="29"/>
                    </a:moveTo>
                    <a:cubicBezTo>
                      <a:pt x="39" y="27"/>
                      <a:pt x="39" y="27"/>
                      <a:pt x="39" y="27"/>
                    </a:cubicBezTo>
                    <a:cubicBezTo>
                      <a:pt x="37" y="19"/>
                      <a:pt x="37" y="19"/>
                      <a:pt x="37" y="19"/>
                    </a:cubicBezTo>
                    <a:cubicBezTo>
                      <a:pt x="37" y="16"/>
                      <a:pt x="37" y="14"/>
                      <a:pt x="36" y="13"/>
                    </a:cubicBezTo>
                    <a:cubicBezTo>
                      <a:pt x="36" y="12"/>
                      <a:pt x="35" y="11"/>
                      <a:pt x="34" y="10"/>
                    </a:cubicBezTo>
                    <a:cubicBezTo>
                      <a:pt x="33" y="10"/>
                      <a:pt x="32" y="9"/>
                      <a:pt x="30" y="10"/>
                    </a:cubicBezTo>
                    <a:cubicBezTo>
                      <a:pt x="29" y="10"/>
                      <a:pt x="28" y="10"/>
                      <a:pt x="27" y="11"/>
                    </a:cubicBezTo>
                    <a:cubicBezTo>
                      <a:pt x="26" y="12"/>
                      <a:pt x="26" y="13"/>
                      <a:pt x="25" y="14"/>
                    </a:cubicBezTo>
                    <a:cubicBezTo>
                      <a:pt x="25" y="15"/>
                      <a:pt x="25" y="18"/>
                      <a:pt x="26" y="22"/>
                    </a:cubicBezTo>
                    <a:lnTo>
                      <a:pt x="27" y="2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62" name="îṩliďè"/>
              <p:cNvSpPr/>
              <p:nvPr/>
            </p:nvSpPr>
            <p:spPr bwMode="auto">
              <a:xfrm>
                <a:off x="3146322" y="5120278"/>
                <a:ext cx="93663" cy="79375"/>
              </a:xfrm>
              <a:custGeom>
                <a:avLst/>
                <a:gdLst>
                  <a:gd name="T0" fmla="*/ 59 w 59"/>
                  <a:gd name="T1" fmla="*/ 37 h 50"/>
                  <a:gd name="T2" fmla="*/ 9 w 59"/>
                  <a:gd name="T3" fmla="*/ 50 h 50"/>
                  <a:gd name="T4" fmla="*/ 0 w 59"/>
                  <a:gd name="T5" fmla="*/ 13 h 50"/>
                  <a:gd name="T6" fmla="*/ 8 w 59"/>
                  <a:gd name="T7" fmla="*/ 10 h 50"/>
                  <a:gd name="T8" fmla="*/ 15 w 59"/>
                  <a:gd name="T9" fmla="*/ 37 h 50"/>
                  <a:gd name="T10" fmla="*/ 25 w 59"/>
                  <a:gd name="T11" fmla="*/ 35 h 50"/>
                  <a:gd name="T12" fmla="*/ 19 w 59"/>
                  <a:gd name="T13" fmla="*/ 9 h 50"/>
                  <a:gd name="T14" fmla="*/ 27 w 59"/>
                  <a:gd name="T15" fmla="*/ 8 h 50"/>
                  <a:gd name="T16" fmla="*/ 34 w 59"/>
                  <a:gd name="T17" fmla="*/ 32 h 50"/>
                  <a:gd name="T18" fmla="*/ 47 w 59"/>
                  <a:gd name="T19" fmla="*/ 29 h 50"/>
                  <a:gd name="T20" fmla="*/ 40 w 59"/>
                  <a:gd name="T21" fmla="*/ 1 h 50"/>
                  <a:gd name="T22" fmla="*/ 49 w 59"/>
                  <a:gd name="T23" fmla="*/ 0 h 50"/>
                  <a:gd name="T24" fmla="*/ 59 w 59"/>
                  <a:gd name="T25" fmla="*/ 37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59" h="50">
                    <a:moveTo>
                      <a:pt x="59" y="37"/>
                    </a:moveTo>
                    <a:lnTo>
                      <a:pt x="9" y="50"/>
                    </a:lnTo>
                    <a:lnTo>
                      <a:pt x="0" y="13"/>
                    </a:lnTo>
                    <a:lnTo>
                      <a:pt x="8" y="10"/>
                    </a:lnTo>
                    <a:lnTo>
                      <a:pt x="15" y="37"/>
                    </a:lnTo>
                    <a:lnTo>
                      <a:pt x="25" y="35"/>
                    </a:lnTo>
                    <a:lnTo>
                      <a:pt x="19" y="9"/>
                    </a:lnTo>
                    <a:lnTo>
                      <a:pt x="27" y="8"/>
                    </a:lnTo>
                    <a:lnTo>
                      <a:pt x="34" y="32"/>
                    </a:lnTo>
                    <a:lnTo>
                      <a:pt x="47" y="29"/>
                    </a:lnTo>
                    <a:lnTo>
                      <a:pt x="40" y="1"/>
                    </a:lnTo>
                    <a:lnTo>
                      <a:pt x="49" y="0"/>
                    </a:lnTo>
                    <a:lnTo>
                      <a:pt x="59" y="3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63" name="iṧlíḋè"/>
              <p:cNvSpPr/>
              <p:nvPr/>
            </p:nvSpPr>
            <p:spPr bwMode="auto">
              <a:xfrm>
                <a:off x="3138384" y="5096465"/>
                <a:ext cx="82550" cy="38100"/>
              </a:xfrm>
              <a:custGeom>
                <a:avLst/>
                <a:gdLst>
                  <a:gd name="T0" fmla="*/ 52 w 52"/>
                  <a:gd name="T1" fmla="*/ 9 h 24"/>
                  <a:gd name="T2" fmla="*/ 3 w 52"/>
                  <a:gd name="T3" fmla="*/ 24 h 24"/>
                  <a:gd name="T4" fmla="*/ 0 w 52"/>
                  <a:gd name="T5" fmla="*/ 15 h 24"/>
                  <a:gd name="T6" fmla="*/ 49 w 52"/>
                  <a:gd name="T7" fmla="*/ 0 h 24"/>
                  <a:gd name="T8" fmla="*/ 52 w 52"/>
                  <a:gd name="T9" fmla="*/ 9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2" h="24">
                    <a:moveTo>
                      <a:pt x="52" y="9"/>
                    </a:moveTo>
                    <a:lnTo>
                      <a:pt x="3" y="24"/>
                    </a:lnTo>
                    <a:lnTo>
                      <a:pt x="0" y="15"/>
                    </a:lnTo>
                    <a:lnTo>
                      <a:pt x="49" y="0"/>
                    </a:lnTo>
                    <a:lnTo>
                      <a:pt x="52" y="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64" name="islïḓè"/>
              <p:cNvSpPr/>
              <p:nvPr/>
            </p:nvSpPr>
            <p:spPr bwMode="auto">
              <a:xfrm>
                <a:off x="3120922" y="5047253"/>
                <a:ext cx="88900" cy="52388"/>
              </a:xfrm>
              <a:custGeom>
                <a:avLst/>
                <a:gdLst>
                  <a:gd name="T0" fmla="*/ 3 w 48"/>
                  <a:gd name="T1" fmla="*/ 20 h 28"/>
                  <a:gd name="T2" fmla="*/ 0 w 48"/>
                  <a:gd name="T3" fmla="*/ 12 h 28"/>
                  <a:gd name="T4" fmla="*/ 26 w 48"/>
                  <a:gd name="T5" fmla="*/ 2 h 28"/>
                  <a:gd name="T6" fmla="*/ 34 w 48"/>
                  <a:gd name="T7" fmla="*/ 0 h 28"/>
                  <a:gd name="T8" fmla="*/ 42 w 48"/>
                  <a:gd name="T9" fmla="*/ 3 h 28"/>
                  <a:gd name="T10" fmla="*/ 47 w 48"/>
                  <a:gd name="T11" fmla="*/ 10 h 28"/>
                  <a:gd name="T12" fmla="*/ 47 w 48"/>
                  <a:gd name="T13" fmla="*/ 21 h 28"/>
                  <a:gd name="T14" fmla="*/ 38 w 48"/>
                  <a:gd name="T15" fmla="*/ 28 h 28"/>
                  <a:gd name="T16" fmla="*/ 34 w 48"/>
                  <a:gd name="T17" fmla="*/ 20 h 28"/>
                  <a:gd name="T18" fmla="*/ 39 w 48"/>
                  <a:gd name="T19" fmla="*/ 17 h 28"/>
                  <a:gd name="T20" fmla="*/ 40 w 48"/>
                  <a:gd name="T21" fmla="*/ 13 h 28"/>
                  <a:gd name="T22" fmla="*/ 37 w 48"/>
                  <a:gd name="T23" fmla="*/ 9 h 28"/>
                  <a:gd name="T24" fmla="*/ 30 w 48"/>
                  <a:gd name="T25" fmla="*/ 10 h 28"/>
                  <a:gd name="T26" fmla="*/ 3 w 48"/>
                  <a:gd name="T27" fmla="*/ 20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48" h="28">
                    <a:moveTo>
                      <a:pt x="3" y="20"/>
                    </a:moveTo>
                    <a:cubicBezTo>
                      <a:pt x="0" y="12"/>
                      <a:pt x="0" y="12"/>
                      <a:pt x="0" y="12"/>
                    </a:cubicBezTo>
                    <a:cubicBezTo>
                      <a:pt x="26" y="2"/>
                      <a:pt x="26" y="2"/>
                      <a:pt x="26" y="2"/>
                    </a:cubicBezTo>
                    <a:cubicBezTo>
                      <a:pt x="29" y="1"/>
                      <a:pt x="32" y="0"/>
                      <a:pt x="34" y="0"/>
                    </a:cubicBezTo>
                    <a:cubicBezTo>
                      <a:pt x="37" y="0"/>
                      <a:pt x="39" y="1"/>
                      <a:pt x="42" y="3"/>
                    </a:cubicBezTo>
                    <a:cubicBezTo>
                      <a:pt x="44" y="4"/>
                      <a:pt x="46" y="7"/>
                      <a:pt x="47" y="10"/>
                    </a:cubicBezTo>
                    <a:cubicBezTo>
                      <a:pt x="48" y="14"/>
                      <a:pt x="48" y="18"/>
                      <a:pt x="47" y="21"/>
                    </a:cubicBezTo>
                    <a:cubicBezTo>
                      <a:pt x="45" y="24"/>
                      <a:pt x="42" y="26"/>
                      <a:pt x="38" y="28"/>
                    </a:cubicBezTo>
                    <a:cubicBezTo>
                      <a:pt x="34" y="20"/>
                      <a:pt x="34" y="20"/>
                      <a:pt x="34" y="20"/>
                    </a:cubicBezTo>
                    <a:cubicBezTo>
                      <a:pt x="37" y="19"/>
                      <a:pt x="38" y="18"/>
                      <a:pt x="39" y="17"/>
                    </a:cubicBezTo>
                    <a:cubicBezTo>
                      <a:pt x="40" y="16"/>
                      <a:pt x="40" y="14"/>
                      <a:pt x="40" y="13"/>
                    </a:cubicBezTo>
                    <a:cubicBezTo>
                      <a:pt x="39" y="11"/>
                      <a:pt x="38" y="10"/>
                      <a:pt x="37" y="9"/>
                    </a:cubicBezTo>
                    <a:cubicBezTo>
                      <a:pt x="35" y="9"/>
                      <a:pt x="33" y="9"/>
                      <a:pt x="30" y="10"/>
                    </a:cubicBezTo>
                    <a:lnTo>
                      <a:pt x="3" y="2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65" name="íṥ1iḍe"/>
              <p:cNvSpPr/>
              <p:nvPr/>
            </p:nvSpPr>
            <p:spPr bwMode="auto">
              <a:xfrm>
                <a:off x="3112984" y="5017090"/>
                <a:ext cx="80963" cy="46038"/>
              </a:xfrm>
              <a:custGeom>
                <a:avLst/>
                <a:gdLst>
                  <a:gd name="T0" fmla="*/ 51 w 51"/>
                  <a:gd name="T1" fmla="*/ 9 h 29"/>
                  <a:gd name="T2" fmla="*/ 3 w 51"/>
                  <a:gd name="T3" fmla="*/ 29 h 29"/>
                  <a:gd name="T4" fmla="*/ 0 w 51"/>
                  <a:gd name="T5" fmla="*/ 19 h 29"/>
                  <a:gd name="T6" fmla="*/ 46 w 51"/>
                  <a:gd name="T7" fmla="*/ 0 h 29"/>
                  <a:gd name="T8" fmla="*/ 51 w 51"/>
                  <a:gd name="T9" fmla="*/ 9 h 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1" h="29">
                    <a:moveTo>
                      <a:pt x="51" y="9"/>
                    </a:moveTo>
                    <a:lnTo>
                      <a:pt x="3" y="29"/>
                    </a:lnTo>
                    <a:lnTo>
                      <a:pt x="0" y="19"/>
                    </a:lnTo>
                    <a:lnTo>
                      <a:pt x="46" y="0"/>
                    </a:lnTo>
                    <a:lnTo>
                      <a:pt x="51" y="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66" name="iṥľîḋé"/>
              <p:cNvSpPr/>
              <p:nvPr/>
            </p:nvSpPr>
            <p:spPr bwMode="auto">
              <a:xfrm>
                <a:off x="3081234" y="4948828"/>
                <a:ext cx="101600" cy="93663"/>
              </a:xfrm>
              <a:custGeom>
                <a:avLst/>
                <a:gdLst>
                  <a:gd name="T0" fmla="*/ 64 w 64"/>
                  <a:gd name="T1" fmla="*/ 36 h 59"/>
                  <a:gd name="T2" fmla="*/ 18 w 64"/>
                  <a:gd name="T3" fmla="*/ 59 h 59"/>
                  <a:gd name="T4" fmla="*/ 14 w 64"/>
                  <a:gd name="T5" fmla="*/ 50 h 59"/>
                  <a:gd name="T6" fmla="*/ 35 w 64"/>
                  <a:gd name="T7" fmla="*/ 16 h 59"/>
                  <a:gd name="T8" fmla="*/ 3 w 64"/>
                  <a:gd name="T9" fmla="*/ 31 h 59"/>
                  <a:gd name="T10" fmla="*/ 0 w 64"/>
                  <a:gd name="T11" fmla="*/ 22 h 59"/>
                  <a:gd name="T12" fmla="*/ 45 w 64"/>
                  <a:gd name="T13" fmla="*/ 0 h 59"/>
                  <a:gd name="T14" fmla="*/ 50 w 64"/>
                  <a:gd name="T15" fmla="*/ 8 h 59"/>
                  <a:gd name="T16" fmla="*/ 29 w 64"/>
                  <a:gd name="T17" fmla="*/ 42 h 59"/>
                  <a:gd name="T18" fmla="*/ 59 w 64"/>
                  <a:gd name="T19" fmla="*/ 26 h 59"/>
                  <a:gd name="T20" fmla="*/ 64 w 64"/>
                  <a:gd name="T21" fmla="*/ 36 h 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64" h="59">
                    <a:moveTo>
                      <a:pt x="64" y="36"/>
                    </a:moveTo>
                    <a:lnTo>
                      <a:pt x="18" y="59"/>
                    </a:lnTo>
                    <a:lnTo>
                      <a:pt x="14" y="50"/>
                    </a:lnTo>
                    <a:lnTo>
                      <a:pt x="35" y="16"/>
                    </a:lnTo>
                    <a:lnTo>
                      <a:pt x="3" y="31"/>
                    </a:lnTo>
                    <a:lnTo>
                      <a:pt x="0" y="22"/>
                    </a:lnTo>
                    <a:lnTo>
                      <a:pt x="45" y="0"/>
                    </a:lnTo>
                    <a:lnTo>
                      <a:pt x="50" y="8"/>
                    </a:lnTo>
                    <a:lnTo>
                      <a:pt x="29" y="42"/>
                    </a:lnTo>
                    <a:lnTo>
                      <a:pt x="59" y="26"/>
                    </a:lnTo>
                    <a:lnTo>
                      <a:pt x="64" y="36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67" name="îślidè"/>
              <p:cNvSpPr/>
              <p:nvPr/>
            </p:nvSpPr>
            <p:spPr bwMode="auto">
              <a:xfrm>
                <a:off x="3047897" y="4877390"/>
                <a:ext cx="84138" cy="88900"/>
              </a:xfrm>
              <a:custGeom>
                <a:avLst/>
                <a:gdLst>
                  <a:gd name="T0" fmla="*/ 28 w 46"/>
                  <a:gd name="T1" fmla="*/ 21 h 48"/>
                  <a:gd name="T2" fmla="*/ 22 w 46"/>
                  <a:gd name="T3" fmla="*/ 25 h 48"/>
                  <a:gd name="T4" fmla="*/ 11 w 46"/>
                  <a:gd name="T5" fmla="*/ 9 h 48"/>
                  <a:gd name="T6" fmla="*/ 26 w 46"/>
                  <a:gd name="T7" fmla="*/ 0 h 48"/>
                  <a:gd name="T8" fmla="*/ 35 w 46"/>
                  <a:gd name="T9" fmla="*/ 4 h 48"/>
                  <a:gd name="T10" fmla="*/ 42 w 46"/>
                  <a:gd name="T11" fmla="*/ 12 h 48"/>
                  <a:gd name="T12" fmla="*/ 46 w 46"/>
                  <a:gd name="T13" fmla="*/ 24 h 48"/>
                  <a:gd name="T14" fmla="*/ 43 w 46"/>
                  <a:gd name="T15" fmla="*/ 35 h 48"/>
                  <a:gd name="T16" fmla="*/ 35 w 46"/>
                  <a:gd name="T17" fmla="*/ 43 h 48"/>
                  <a:gd name="T18" fmla="*/ 23 w 46"/>
                  <a:gd name="T19" fmla="*/ 47 h 48"/>
                  <a:gd name="T20" fmla="*/ 12 w 46"/>
                  <a:gd name="T21" fmla="*/ 45 h 48"/>
                  <a:gd name="T22" fmla="*/ 4 w 46"/>
                  <a:gd name="T23" fmla="*/ 37 h 48"/>
                  <a:gd name="T24" fmla="*/ 0 w 46"/>
                  <a:gd name="T25" fmla="*/ 24 h 48"/>
                  <a:gd name="T26" fmla="*/ 5 w 46"/>
                  <a:gd name="T27" fmla="*/ 14 h 48"/>
                  <a:gd name="T28" fmla="*/ 11 w 46"/>
                  <a:gd name="T29" fmla="*/ 21 h 48"/>
                  <a:gd name="T30" fmla="*/ 9 w 46"/>
                  <a:gd name="T31" fmla="*/ 27 h 48"/>
                  <a:gd name="T32" fmla="*/ 11 w 46"/>
                  <a:gd name="T33" fmla="*/ 33 h 48"/>
                  <a:gd name="T34" fmla="*/ 19 w 46"/>
                  <a:gd name="T35" fmla="*/ 39 h 48"/>
                  <a:gd name="T36" fmla="*/ 30 w 46"/>
                  <a:gd name="T37" fmla="*/ 36 h 48"/>
                  <a:gd name="T38" fmla="*/ 38 w 46"/>
                  <a:gd name="T39" fmla="*/ 26 h 48"/>
                  <a:gd name="T40" fmla="*/ 36 w 46"/>
                  <a:gd name="T41" fmla="*/ 17 h 48"/>
                  <a:gd name="T42" fmla="*/ 32 w 46"/>
                  <a:gd name="T43" fmla="*/ 13 h 48"/>
                  <a:gd name="T44" fmla="*/ 27 w 46"/>
                  <a:gd name="T45" fmla="*/ 10 h 48"/>
                  <a:gd name="T46" fmla="*/ 23 w 46"/>
                  <a:gd name="T47" fmla="*/ 13 h 48"/>
                  <a:gd name="T48" fmla="*/ 28 w 46"/>
                  <a:gd name="T49" fmla="*/ 21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46" h="48">
                    <a:moveTo>
                      <a:pt x="28" y="21"/>
                    </a:moveTo>
                    <a:cubicBezTo>
                      <a:pt x="22" y="25"/>
                      <a:pt x="22" y="25"/>
                      <a:pt x="22" y="25"/>
                    </a:cubicBezTo>
                    <a:cubicBezTo>
                      <a:pt x="11" y="9"/>
                      <a:pt x="11" y="9"/>
                      <a:pt x="11" y="9"/>
                    </a:cubicBezTo>
                    <a:cubicBezTo>
                      <a:pt x="26" y="0"/>
                      <a:pt x="26" y="0"/>
                      <a:pt x="26" y="0"/>
                    </a:cubicBezTo>
                    <a:cubicBezTo>
                      <a:pt x="29" y="1"/>
                      <a:pt x="31" y="2"/>
                      <a:pt x="35" y="4"/>
                    </a:cubicBezTo>
                    <a:cubicBezTo>
                      <a:pt x="38" y="6"/>
                      <a:pt x="40" y="9"/>
                      <a:pt x="42" y="12"/>
                    </a:cubicBezTo>
                    <a:cubicBezTo>
                      <a:pt x="45" y="16"/>
                      <a:pt x="46" y="20"/>
                      <a:pt x="46" y="24"/>
                    </a:cubicBezTo>
                    <a:cubicBezTo>
                      <a:pt x="46" y="28"/>
                      <a:pt x="45" y="31"/>
                      <a:pt x="43" y="35"/>
                    </a:cubicBezTo>
                    <a:cubicBezTo>
                      <a:pt x="41" y="38"/>
                      <a:pt x="38" y="41"/>
                      <a:pt x="35" y="43"/>
                    </a:cubicBezTo>
                    <a:cubicBezTo>
                      <a:pt x="31" y="46"/>
                      <a:pt x="27" y="47"/>
                      <a:pt x="23" y="47"/>
                    </a:cubicBezTo>
                    <a:cubicBezTo>
                      <a:pt x="19" y="48"/>
                      <a:pt x="15" y="47"/>
                      <a:pt x="12" y="45"/>
                    </a:cubicBezTo>
                    <a:cubicBezTo>
                      <a:pt x="9" y="43"/>
                      <a:pt x="6" y="41"/>
                      <a:pt x="4" y="37"/>
                    </a:cubicBezTo>
                    <a:cubicBezTo>
                      <a:pt x="1" y="32"/>
                      <a:pt x="0" y="28"/>
                      <a:pt x="0" y="24"/>
                    </a:cubicBezTo>
                    <a:cubicBezTo>
                      <a:pt x="0" y="21"/>
                      <a:pt x="2" y="17"/>
                      <a:pt x="5" y="14"/>
                    </a:cubicBezTo>
                    <a:cubicBezTo>
                      <a:pt x="11" y="21"/>
                      <a:pt x="11" y="21"/>
                      <a:pt x="11" y="21"/>
                    </a:cubicBezTo>
                    <a:cubicBezTo>
                      <a:pt x="10" y="23"/>
                      <a:pt x="9" y="24"/>
                      <a:pt x="9" y="27"/>
                    </a:cubicBezTo>
                    <a:cubicBezTo>
                      <a:pt x="8" y="29"/>
                      <a:pt x="9" y="31"/>
                      <a:pt x="11" y="33"/>
                    </a:cubicBezTo>
                    <a:cubicBezTo>
                      <a:pt x="13" y="36"/>
                      <a:pt x="15" y="38"/>
                      <a:pt x="19" y="39"/>
                    </a:cubicBezTo>
                    <a:cubicBezTo>
                      <a:pt x="22" y="39"/>
                      <a:pt x="26" y="38"/>
                      <a:pt x="30" y="36"/>
                    </a:cubicBezTo>
                    <a:cubicBezTo>
                      <a:pt x="34" y="33"/>
                      <a:pt x="37" y="30"/>
                      <a:pt x="38" y="26"/>
                    </a:cubicBezTo>
                    <a:cubicBezTo>
                      <a:pt x="39" y="23"/>
                      <a:pt x="38" y="20"/>
                      <a:pt x="36" y="17"/>
                    </a:cubicBezTo>
                    <a:cubicBezTo>
                      <a:pt x="35" y="15"/>
                      <a:pt x="34" y="14"/>
                      <a:pt x="32" y="13"/>
                    </a:cubicBezTo>
                    <a:cubicBezTo>
                      <a:pt x="30" y="11"/>
                      <a:pt x="29" y="10"/>
                      <a:pt x="27" y="10"/>
                    </a:cubicBezTo>
                    <a:cubicBezTo>
                      <a:pt x="23" y="13"/>
                      <a:pt x="23" y="13"/>
                      <a:pt x="23" y="13"/>
                    </a:cubicBezTo>
                    <a:lnTo>
                      <a:pt x="28" y="2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68" name="îŝ1ide"/>
              <p:cNvSpPr/>
              <p:nvPr/>
            </p:nvSpPr>
            <p:spPr bwMode="auto">
              <a:xfrm>
                <a:off x="1981097" y="4907553"/>
                <a:ext cx="931863" cy="969963"/>
              </a:xfrm>
              <a:custGeom>
                <a:avLst/>
                <a:gdLst>
                  <a:gd name="T0" fmla="*/ 488 w 506"/>
                  <a:gd name="T1" fmla="*/ 144 h 525"/>
                  <a:gd name="T2" fmla="*/ 449 w 506"/>
                  <a:gd name="T3" fmla="*/ 161 h 525"/>
                  <a:gd name="T4" fmla="*/ 473 w 506"/>
                  <a:gd name="T5" fmla="*/ 361 h 525"/>
                  <a:gd name="T6" fmla="*/ 434 w 506"/>
                  <a:gd name="T7" fmla="*/ 382 h 525"/>
                  <a:gd name="T8" fmla="*/ 463 w 506"/>
                  <a:gd name="T9" fmla="*/ 392 h 525"/>
                  <a:gd name="T10" fmla="*/ 434 w 506"/>
                  <a:gd name="T11" fmla="*/ 455 h 525"/>
                  <a:gd name="T12" fmla="*/ 418 w 506"/>
                  <a:gd name="T13" fmla="*/ 525 h 525"/>
                  <a:gd name="T14" fmla="*/ 328 w 506"/>
                  <a:gd name="T15" fmla="*/ 392 h 525"/>
                  <a:gd name="T16" fmla="*/ 200 w 506"/>
                  <a:gd name="T17" fmla="*/ 376 h 525"/>
                  <a:gd name="T18" fmla="*/ 179 w 506"/>
                  <a:gd name="T19" fmla="*/ 525 h 525"/>
                  <a:gd name="T20" fmla="*/ 72 w 506"/>
                  <a:gd name="T21" fmla="*/ 510 h 525"/>
                  <a:gd name="T22" fmla="*/ 44 w 506"/>
                  <a:gd name="T23" fmla="*/ 439 h 525"/>
                  <a:gd name="T24" fmla="*/ 72 w 506"/>
                  <a:gd name="T25" fmla="*/ 392 h 525"/>
                  <a:gd name="T26" fmla="*/ 57 w 506"/>
                  <a:gd name="T27" fmla="*/ 382 h 525"/>
                  <a:gd name="T28" fmla="*/ 18 w 506"/>
                  <a:gd name="T29" fmla="*/ 161 h 525"/>
                  <a:gd name="T30" fmla="*/ 56 w 506"/>
                  <a:gd name="T31" fmla="*/ 144 h 525"/>
                  <a:gd name="T32" fmla="*/ 0 w 506"/>
                  <a:gd name="T33" fmla="*/ 21 h 525"/>
                  <a:gd name="T34" fmla="*/ 92 w 506"/>
                  <a:gd name="T35" fmla="*/ 21 h 525"/>
                  <a:gd name="T36" fmla="*/ 403 w 506"/>
                  <a:gd name="T37" fmla="*/ 82 h 525"/>
                  <a:gd name="T38" fmla="*/ 457 w 506"/>
                  <a:gd name="T39" fmla="*/ 0 h 525"/>
                  <a:gd name="T40" fmla="*/ 461 w 506"/>
                  <a:gd name="T41" fmla="*/ 82 h 525"/>
                  <a:gd name="T42" fmla="*/ 455 w 506"/>
                  <a:gd name="T43" fmla="*/ 24 h 525"/>
                  <a:gd name="T44" fmla="*/ 435 w 506"/>
                  <a:gd name="T45" fmla="*/ 82 h 525"/>
                  <a:gd name="T46" fmla="*/ 454 w 506"/>
                  <a:gd name="T47" fmla="*/ 127 h 525"/>
                  <a:gd name="T48" fmla="*/ 49 w 506"/>
                  <a:gd name="T49" fmla="*/ 112 h 525"/>
                  <a:gd name="T50" fmla="*/ 78 w 506"/>
                  <a:gd name="T51" fmla="*/ 127 h 525"/>
                  <a:gd name="T52" fmla="*/ 81 w 506"/>
                  <a:gd name="T53" fmla="*/ 161 h 525"/>
                  <a:gd name="T54" fmla="*/ 426 w 506"/>
                  <a:gd name="T55" fmla="*/ 145 h 525"/>
                  <a:gd name="T56" fmla="*/ 454 w 506"/>
                  <a:gd name="T57" fmla="*/ 127 h 525"/>
                  <a:gd name="T58" fmla="*/ 450 w 506"/>
                  <a:gd name="T59" fmla="*/ 178 h 525"/>
                  <a:gd name="T60" fmla="*/ 65 w 506"/>
                  <a:gd name="T61" fmla="*/ 335 h 525"/>
                  <a:gd name="T62" fmla="*/ 421 w 506"/>
                  <a:gd name="T63" fmla="*/ 349 h 525"/>
                  <a:gd name="T64" fmla="*/ 398 w 506"/>
                  <a:gd name="T65" fmla="*/ 490 h 525"/>
                  <a:gd name="T66" fmla="*/ 356 w 506"/>
                  <a:gd name="T67" fmla="*/ 371 h 525"/>
                  <a:gd name="T68" fmla="*/ 389 w 506"/>
                  <a:gd name="T69" fmla="*/ 496 h 525"/>
                  <a:gd name="T70" fmla="*/ 150 w 506"/>
                  <a:gd name="T71" fmla="*/ 496 h 525"/>
                  <a:gd name="T72" fmla="*/ 108 w 506"/>
                  <a:gd name="T73" fmla="*/ 371 h 525"/>
                  <a:gd name="T74" fmla="*/ 117 w 506"/>
                  <a:gd name="T75" fmla="*/ 496 h 525"/>
                  <a:gd name="T76" fmla="*/ 71 w 506"/>
                  <a:gd name="T77" fmla="*/ 82 h 525"/>
                  <a:gd name="T78" fmla="*/ 51 w 506"/>
                  <a:gd name="T79" fmla="*/ 24 h 525"/>
                  <a:gd name="T80" fmla="*/ 45 w 506"/>
                  <a:gd name="T81" fmla="*/ 82 h 5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506" h="525">
                    <a:moveTo>
                      <a:pt x="506" y="21"/>
                    </a:moveTo>
                    <a:cubicBezTo>
                      <a:pt x="488" y="144"/>
                      <a:pt x="488" y="144"/>
                      <a:pt x="488" y="144"/>
                    </a:cubicBezTo>
                    <a:cubicBezTo>
                      <a:pt x="450" y="144"/>
                      <a:pt x="450" y="144"/>
                      <a:pt x="450" y="144"/>
                    </a:cubicBezTo>
                    <a:cubicBezTo>
                      <a:pt x="449" y="161"/>
                      <a:pt x="449" y="161"/>
                      <a:pt x="449" y="161"/>
                    </a:cubicBezTo>
                    <a:cubicBezTo>
                      <a:pt x="488" y="161"/>
                      <a:pt x="488" y="161"/>
                      <a:pt x="488" y="161"/>
                    </a:cubicBezTo>
                    <a:cubicBezTo>
                      <a:pt x="473" y="361"/>
                      <a:pt x="473" y="361"/>
                      <a:pt x="473" y="361"/>
                    </a:cubicBezTo>
                    <a:cubicBezTo>
                      <a:pt x="473" y="372"/>
                      <a:pt x="462" y="382"/>
                      <a:pt x="450" y="382"/>
                    </a:cubicBezTo>
                    <a:cubicBezTo>
                      <a:pt x="434" y="382"/>
                      <a:pt x="434" y="382"/>
                      <a:pt x="434" y="382"/>
                    </a:cubicBezTo>
                    <a:cubicBezTo>
                      <a:pt x="434" y="392"/>
                      <a:pt x="434" y="392"/>
                      <a:pt x="434" y="392"/>
                    </a:cubicBezTo>
                    <a:cubicBezTo>
                      <a:pt x="463" y="392"/>
                      <a:pt x="463" y="392"/>
                      <a:pt x="463" y="392"/>
                    </a:cubicBezTo>
                    <a:cubicBezTo>
                      <a:pt x="463" y="439"/>
                      <a:pt x="463" y="439"/>
                      <a:pt x="463" y="439"/>
                    </a:cubicBezTo>
                    <a:cubicBezTo>
                      <a:pt x="463" y="448"/>
                      <a:pt x="450" y="455"/>
                      <a:pt x="434" y="455"/>
                    </a:cubicBezTo>
                    <a:cubicBezTo>
                      <a:pt x="434" y="510"/>
                      <a:pt x="434" y="510"/>
                      <a:pt x="434" y="510"/>
                    </a:cubicBezTo>
                    <a:cubicBezTo>
                      <a:pt x="434" y="518"/>
                      <a:pt x="427" y="525"/>
                      <a:pt x="418" y="525"/>
                    </a:cubicBezTo>
                    <a:cubicBezTo>
                      <a:pt x="328" y="525"/>
                      <a:pt x="328" y="525"/>
                      <a:pt x="328" y="525"/>
                    </a:cubicBezTo>
                    <a:cubicBezTo>
                      <a:pt x="328" y="392"/>
                      <a:pt x="328" y="392"/>
                      <a:pt x="328" y="392"/>
                    </a:cubicBezTo>
                    <a:cubicBezTo>
                      <a:pt x="328" y="383"/>
                      <a:pt x="318" y="376"/>
                      <a:pt x="307" y="376"/>
                    </a:cubicBezTo>
                    <a:cubicBezTo>
                      <a:pt x="200" y="376"/>
                      <a:pt x="200" y="376"/>
                      <a:pt x="200" y="376"/>
                    </a:cubicBezTo>
                    <a:cubicBezTo>
                      <a:pt x="188" y="376"/>
                      <a:pt x="179" y="383"/>
                      <a:pt x="179" y="392"/>
                    </a:cubicBezTo>
                    <a:cubicBezTo>
                      <a:pt x="179" y="525"/>
                      <a:pt x="179" y="525"/>
                      <a:pt x="179" y="525"/>
                    </a:cubicBezTo>
                    <a:cubicBezTo>
                      <a:pt x="89" y="525"/>
                      <a:pt x="89" y="525"/>
                      <a:pt x="89" y="525"/>
                    </a:cubicBezTo>
                    <a:cubicBezTo>
                      <a:pt x="80" y="525"/>
                      <a:pt x="72" y="518"/>
                      <a:pt x="72" y="510"/>
                    </a:cubicBezTo>
                    <a:cubicBezTo>
                      <a:pt x="72" y="455"/>
                      <a:pt x="72" y="455"/>
                      <a:pt x="72" y="455"/>
                    </a:cubicBezTo>
                    <a:cubicBezTo>
                      <a:pt x="56" y="455"/>
                      <a:pt x="44" y="448"/>
                      <a:pt x="44" y="439"/>
                    </a:cubicBezTo>
                    <a:cubicBezTo>
                      <a:pt x="44" y="392"/>
                      <a:pt x="44" y="392"/>
                      <a:pt x="44" y="392"/>
                    </a:cubicBezTo>
                    <a:cubicBezTo>
                      <a:pt x="72" y="392"/>
                      <a:pt x="72" y="392"/>
                      <a:pt x="72" y="392"/>
                    </a:cubicBezTo>
                    <a:cubicBezTo>
                      <a:pt x="72" y="382"/>
                      <a:pt x="72" y="382"/>
                      <a:pt x="72" y="382"/>
                    </a:cubicBezTo>
                    <a:cubicBezTo>
                      <a:pt x="57" y="382"/>
                      <a:pt x="57" y="382"/>
                      <a:pt x="57" y="382"/>
                    </a:cubicBezTo>
                    <a:cubicBezTo>
                      <a:pt x="44" y="382"/>
                      <a:pt x="34" y="372"/>
                      <a:pt x="34" y="361"/>
                    </a:cubicBezTo>
                    <a:cubicBezTo>
                      <a:pt x="18" y="161"/>
                      <a:pt x="18" y="161"/>
                      <a:pt x="18" y="161"/>
                    </a:cubicBezTo>
                    <a:cubicBezTo>
                      <a:pt x="58" y="161"/>
                      <a:pt x="58" y="161"/>
                      <a:pt x="58" y="161"/>
                    </a:cubicBezTo>
                    <a:cubicBezTo>
                      <a:pt x="56" y="144"/>
                      <a:pt x="56" y="144"/>
                      <a:pt x="56" y="144"/>
                    </a:cubicBezTo>
                    <a:cubicBezTo>
                      <a:pt x="18" y="144"/>
                      <a:pt x="18" y="144"/>
                      <a:pt x="18" y="144"/>
                    </a:cubicBezTo>
                    <a:cubicBezTo>
                      <a:pt x="0" y="21"/>
                      <a:pt x="0" y="21"/>
                      <a:pt x="0" y="21"/>
                    </a:cubicBezTo>
                    <a:cubicBezTo>
                      <a:pt x="2" y="7"/>
                      <a:pt x="31" y="0"/>
                      <a:pt x="49" y="0"/>
                    </a:cubicBezTo>
                    <a:cubicBezTo>
                      <a:pt x="73" y="0"/>
                      <a:pt x="80" y="3"/>
                      <a:pt x="92" y="21"/>
                    </a:cubicBezTo>
                    <a:cubicBezTo>
                      <a:pt x="103" y="82"/>
                      <a:pt x="103" y="82"/>
                      <a:pt x="103" y="82"/>
                    </a:cubicBezTo>
                    <a:cubicBezTo>
                      <a:pt x="403" y="82"/>
                      <a:pt x="403" y="82"/>
                      <a:pt x="403" y="82"/>
                    </a:cubicBezTo>
                    <a:cubicBezTo>
                      <a:pt x="415" y="21"/>
                      <a:pt x="415" y="21"/>
                      <a:pt x="415" y="21"/>
                    </a:cubicBezTo>
                    <a:cubicBezTo>
                      <a:pt x="426" y="3"/>
                      <a:pt x="433" y="0"/>
                      <a:pt x="457" y="0"/>
                    </a:cubicBezTo>
                    <a:cubicBezTo>
                      <a:pt x="475" y="0"/>
                      <a:pt x="504" y="7"/>
                      <a:pt x="506" y="21"/>
                    </a:cubicBezTo>
                    <a:close/>
                    <a:moveTo>
                      <a:pt x="461" y="82"/>
                    </a:moveTo>
                    <a:cubicBezTo>
                      <a:pt x="469" y="32"/>
                      <a:pt x="469" y="32"/>
                      <a:pt x="469" y="32"/>
                    </a:cubicBezTo>
                    <a:cubicBezTo>
                      <a:pt x="469" y="24"/>
                      <a:pt x="463" y="24"/>
                      <a:pt x="455" y="24"/>
                    </a:cubicBezTo>
                    <a:cubicBezTo>
                      <a:pt x="450" y="24"/>
                      <a:pt x="447" y="26"/>
                      <a:pt x="445" y="32"/>
                    </a:cubicBezTo>
                    <a:cubicBezTo>
                      <a:pt x="435" y="82"/>
                      <a:pt x="435" y="82"/>
                      <a:pt x="435" y="82"/>
                    </a:cubicBezTo>
                    <a:lnTo>
                      <a:pt x="461" y="82"/>
                    </a:lnTo>
                    <a:close/>
                    <a:moveTo>
                      <a:pt x="454" y="127"/>
                    </a:moveTo>
                    <a:cubicBezTo>
                      <a:pt x="457" y="112"/>
                      <a:pt x="457" y="112"/>
                      <a:pt x="457" y="112"/>
                    </a:cubicBezTo>
                    <a:cubicBezTo>
                      <a:pt x="49" y="112"/>
                      <a:pt x="49" y="112"/>
                      <a:pt x="49" y="112"/>
                    </a:cubicBezTo>
                    <a:cubicBezTo>
                      <a:pt x="52" y="127"/>
                      <a:pt x="52" y="127"/>
                      <a:pt x="52" y="127"/>
                    </a:cubicBezTo>
                    <a:cubicBezTo>
                      <a:pt x="78" y="127"/>
                      <a:pt x="78" y="127"/>
                      <a:pt x="78" y="127"/>
                    </a:cubicBezTo>
                    <a:cubicBezTo>
                      <a:pt x="80" y="145"/>
                      <a:pt x="80" y="145"/>
                      <a:pt x="80" y="145"/>
                    </a:cubicBezTo>
                    <a:cubicBezTo>
                      <a:pt x="81" y="161"/>
                      <a:pt x="81" y="161"/>
                      <a:pt x="81" y="161"/>
                    </a:cubicBezTo>
                    <a:cubicBezTo>
                      <a:pt x="425" y="161"/>
                      <a:pt x="425" y="161"/>
                      <a:pt x="425" y="161"/>
                    </a:cubicBezTo>
                    <a:cubicBezTo>
                      <a:pt x="426" y="145"/>
                      <a:pt x="426" y="145"/>
                      <a:pt x="426" y="145"/>
                    </a:cubicBezTo>
                    <a:cubicBezTo>
                      <a:pt x="428" y="127"/>
                      <a:pt x="428" y="127"/>
                      <a:pt x="428" y="127"/>
                    </a:cubicBezTo>
                    <a:lnTo>
                      <a:pt x="454" y="127"/>
                    </a:lnTo>
                    <a:close/>
                    <a:moveTo>
                      <a:pt x="441" y="335"/>
                    </a:moveTo>
                    <a:cubicBezTo>
                      <a:pt x="450" y="178"/>
                      <a:pt x="450" y="178"/>
                      <a:pt x="450" y="178"/>
                    </a:cubicBezTo>
                    <a:cubicBezTo>
                      <a:pt x="56" y="178"/>
                      <a:pt x="56" y="178"/>
                      <a:pt x="56" y="178"/>
                    </a:cubicBezTo>
                    <a:cubicBezTo>
                      <a:pt x="65" y="335"/>
                      <a:pt x="65" y="335"/>
                      <a:pt x="65" y="335"/>
                    </a:cubicBezTo>
                    <a:cubicBezTo>
                      <a:pt x="65" y="343"/>
                      <a:pt x="74" y="349"/>
                      <a:pt x="85" y="349"/>
                    </a:cubicBezTo>
                    <a:cubicBezTo>
                      <a:pt x="421" y="349"/>
                      <a:pt x="421" y="349"/>
                      <a:pt x="421" y="349"/>
                    </a:cubicBezTo>
                    <a:cubicBezTo>
                      <a:pt x="432" y="349"/>
                      <a:pt x="441" y="343"/>
                      <a:pt x="441" y="335"/>
                    </a:cubicBezTo>
                    <a:close/>
                    <a:moveTo>
                      <a:pt x="398" y="490"/>
                    </a:moveTo>
                    <a:cubicBezTo>
                      <a:pt x="398" y="371"/>
                      <a:pt x="398" y="371"/>
                      <a:pt x="398" y="371"/>
                    </a:cubicBezTo>
                    <a:cubicBezTo>
                      <a:pt x="356" y="371"/>
                      <a:pt x="356" y="371"/>
                      <a:pt x="356" y="371"/>
                    </a:cubicBezTo>
                    <a:cubicBezTo>
                      <a:pt x="356" y="496"/>
                      <a:pt x="356" y="496"/>
                      <a:pt x="356" y="496"/>
                    </a:cubicBezTo>
                    <a:cubicBezTo>
                      <a:pt x="389" y="496"/>
                      <a:pt x="389" y="496"/>
                      <a:pt x="389" y="496"/>
                    </a:cubicBezTo>
                    <a:cubicBezTo>
                      <a:pt x="394" y="496"/>
                      <a:pt x="398" y="496"/>
                      <a:pt x="398" y="490"/>
                    </a:cubicBezTo>
                    <a:close/>
                    <a:moveTo>
                      <a:pt x="150" y="496"/>
                    </a:moveTo>
                    <a:cubicBezTo>
                      <a:pt x="150" y="371"/>
                      <a:pt x="150" y="371"/>
                      <a:pt x="150" y="371"/>
                    </a:cubicBezTo>
                    <a:cubicBezTo>
                      <a:pt x="108" y="371"/>
                      <a:pt x="108" y="371"/>
                      <a:pt x="108" y="371"/>
                    </a:cubicBezTo>
                    <a:cubicBezTo>
                      <a:pt x="108" y="490"/>
                      <a:pt x="108" y="490"/>
                      <a:pt x="108" y="490"/>
                    </a:cubicBezTo>
                    <a:cubicBezTo>
                      <a:pt x="108" y="496"/>
                      <a:pt x="112" y="496"/>
                      <a:pt x="117" y="496"/>
                    </a:cubicBezTo>
                    <a:lnTo>
                      <a:pt x="150" y="496"/>
                    </a:lnTo>
                    <a:close/>
                    <a:moveTo>
                      <a:pt x="71" y="82"/>
                    </a:moveTo>
                    <a:cubicBezTo>
                      <a:pt x="61" y="32"/>
                      <a:pt x="61" y="32"/>
                      <a:pt x="61" y="32"/>
                    </a:cubicBezTo>
                    <a:cubicBezTo>
                      <a:pt x="60" y="26"/>
                      <a:pt x="57" y="24"/>
                      <a:pt x="51" y="24"/>
                    </a:cubicBezTo>
                    <a:cubicBezTo>
                      <a:pt x="43" y="24"/>
                      <a:pt x="37" y="24"/>
                      <a:pt x="37" y="32"/>
                    </a:cubicBezTo>
                    <a:cubicBezTo>
                      <a:pt x="45" y="82"/>
                      <a:pt x="45" y="82"/>
                      <a:pt x="45" y="82"/>
                    </a:cubicBezTo>
                    <a:lnTo>
                      <a:pt x="71" y="8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69" name="í$ḻíde"/>
              <p:cNvSpPr/>
              <p:nvPr/>
            </p:nvSpPr>
            <p:spPr bwMode="auto">
              <a:xfrm>
                <a:off x="2144609" y="5142503"/>
                <a:ext cx="604838" cy="31750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</p:grpSp>
      </p:grpSp>
    </p:spTree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zh-CN" altLang="en-US"/>
              <a:t>单击此处编辑母版副标题样式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97B5FA-0921-464F-AAE1-844C04324D75}" type="datetimeFigureOut">
              <a:rPr lang="zh-CN" altLang="en-US" smtClean="0"/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5CE74E-AB26-4998-AD42-012C4C1AD076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图片 7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796" b="7796"/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10" name="矩形 9"/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gradFill flip="none" rotWithShape="1">
            <a:gsLst>
              <a:gs pos="0">
                <a:srgbClr val="A22B17">
                  <a:lumMod val="94000"/>
                  <a:lumOff val="6000"/>
                </a:srgbClr>
              </a:gs>
              <a:gs pos="100000">
                <a:srgbClr val="A22B17">
                  <a:alpha val="72000"/>
                  <a:lumMod val="85000"/>
                  <a:lumOff val="15000"/>
                </a:srgb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zh-CN" altLang="en-US" sz="1350" dirty="0"/>
          </a:p>
        </p:txBody>
      </p:sp>
      <p:grpSp>
        <p:nvGrpSpPr>
          <p:cNvPr id="12" name="组合 11"/>
          <p:cNvGrpSpPr/>
          <p:nvPr/>
        </p:nvGrpSpPr>
        <p:grpSpPr>
          <a:xfrm>
            <a:off x="-2686175" y="-15557"/>
            <a:ext cx="5372351" cy="7169530"/>
            <a:chOff x="1560409" y="2069897"/>
            <a:chExt cx="1776413" cy="1778000"/>
          </a:xfrm>
        </p:grpSpPr>
        <p:sp>
          <p:nvSpPr>
            <p:cNvPr id="71" name="îS1îḋé"/>
            <p:cNvSpPr/>
            <p:nvPr/>
          </p:nvSpPr>
          <p:spPr bwMode="auto">
            <a:xfrm>
              <a:off x="1560409" y="2069897"/>
              <a:ext cx="1776413" cy="1778000"/>
            </a:xfrm>
            <a:prstGeom prst="ellipse">
              <a:avLst/>
            </a:prstGeom>
            <a:noFill/>
            <a:ln w="98425" cap="flat">
              <a:solidFill>
                <a:schemeClr val="bg1">
                  <a:alpha val="10000"/>
                </a:schemeClr>
              </a:solidFill>
              <a:prstDash val="solid"/>
              <a:miter lim="800000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anchor="ctr"/>
            <a:lstStyle/>
            <a:p>
              <a:pPr algn="ctr"/>
              <a:endParaRPr sz="1350" dirty="0"/>
            </a:p>
          </p:txBody>
        </p:sp>
        <p:sp>
          <p:nvSpPr>
            <p:cNvPr id="72" name="îṣḷïďé"/>
            <p:cNvSpPr/>
            <p:nvPr/>
          </p:nvSpPr>
          <p:spPr bwMode="auto">
            <a:xfrm>
              <a:off x="1779484" y="2288972"/>
              <a:ext cx="1336675" cy="1338263"/>
            </a:xfrm>
            <a:prstGeom prst="ellipse">
              <a:avLst/>
            </a:prstGeom>
            <a:noFill/>
            <a:ln w="19050" cap="flat">
              <a:solidFill>
                <a:schemeClr val="bg1">
                  <a:alpha val="21000"/>
                </a:schemeClr>
              </a:solidFill>
              <a:prstDash val="solid"/>
              <a:miter lim="800000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anchor="ctr"/>
            <a:lstStyle/>
            <a:p>
              <a:pPr algn="ctr"/>
              <a:endParaRPr sz="1350"/>
            </a:p>
          </p:txBody>
        </p:sp>
      </p:grpSp>
      <p:grpSp>
        <p:nvGrpSpPr>
          <p:cNvPr id="13" name="组合 12"/>
          <p:cNvGrpSpPr/>
          <p:nvPr/>
        </p:nvGrpSpPr>
        <p:grpSpPr>
          <a:xfrm>
            <a:off x="-2438923" y="218094"/>
            <a:ext cx="4877843" cy="6702232"/>
            <a:chOff x="1641372" y="4491628"/>
            <a:chExt cx="1612900" cy="1662113"/>
          </a:xfrm>
          <a:solidFill>
            <a:schemeClr val="bg1">
              <a:alpha val="10000"/>
            </a:schemeClr>
          </a:solidFill>
        </p:grpSpPr>
        <p:sp>
          <p:nvSpPr>
            <p:cNvPr id="14" name="ïś1íďê"/>
            <p:cNvSpPr/>
            <p:nvPr/>
          </p:nvSpPr>
          <p:spPr bwMode="auto">
            <a:xfrm>
              <a:off x="2889147" y="4701178"/>
              <a:ext cx="153988" cy="138113"/>
            </a:xfrm>
            <a:custGeom>
              <a:avLst/>
              <a:gdLst>
                <a:gd name="T0" fmla="*/ 62 w 83"/>
                <a:gd name="T1" fmla="*/ 8 h 75"/>
                <a:gd name="T2" fmla="*/ 53 w 83"/>
                <a:gd name="T3" fmla="*/ 10 h 75"/>
                <a:gd name="T4" fmla="*/ 57 w 83"/>
                <a:gd name="T5" fmla="*/ 0 h 75"/>
                <a:gd name="T6" fmla="*/ 44 w 83"/>
                <a:gd name="T7" fmla="*/ 21 h 75"/>
                <a:gd name="T8" fmla="*/ 58 w 83"/>
                <a:gd name="T9" fmla="*/ 11 h 75"/>
                <a:gd name="T10" fmla="*/ 54 w 83"/>
                <a:gd name="T11" fmla="*/ 18 h 75"/>
                <a:gd name="T12" fmla="*/ 28 w 83"/>
                <a:gd name="T13" fmla="*/ 18 h 75"/>
                <a:gd name="T14" fmla="*/ 19 w 83"/>
                <a:gd name="T15" fmla="*/ 17 h 75"/>
                <a:gd name="T16" fmla="*/ 25 w 83"/>
                <a:gd name="T17" fmla="*/ 12 h 75"/>
                <a:gd name="T18" fmla="*/ 1 w 83"/>
                <a:gd name="T19" fmla="*/ 30 h 75"/>
                <a:gd name="T20" fmla="*/ 13 w 83"/>
                <a:gd name="T21" fmla="*/ 24 h 75"/>
                <a:gd name="T22" fmla="*/ 36 w 83"/>
                <a:gd name="T23" fmla="*/ 28 h 75"/>
                <a:gd name="T24" fmla="*/ 22 w 83"/>
                <a:gd name="T25" fmla="*/ 35 h 75"/>
                <a:gd name="T26" fmla="*/ 45 w 83"/>
                <a:gd name="T27" fmla="*/ 41 h 75"/>
                <a:gd name="T28" fmla="*/ 42 w 83"/>
                <a:gd name="T29" fmla="*/ 41 h 75"/>
                <a:gd name="T30" fmla="*/ 35 w 83"/>
                <a:gd name="T31" fmla="*/ 40 h 75"/>
                <a:gd name="T32" fmla="*/ 37 w 83"/>
                <a:gd name="T33" fmla="*/ 45 h 75"/>
                <a:gd name="T34" fmla="*/ 12 w 83"/>
                <a:gd name="T35" fmla="*/ 34 h 75"/>
                <a:gd name="T36" fmla="*/ 9 w 83"/>
                <a:gd name="T37" fmla="*/ 35 h 75"/>
                <a:gd name="T38" fmla="*/ 20 w 83"/>
                <a:gd name="T39" fmla="*/ 64 h 75"/>
                <a:gd name="T40" fmla="*/ 0 w 83"/>
                <a:gd name="T41" fmla="*/ 57 h 75"/>
                <a:gd name="T42" fmla="*/ 35 w 83"/>
                <a:gd name="T43" fmla="*/ 58 h 75"/>
                <a:gd name="T44" fmla="*/ 46 w 83"/>
                <a:gd name="T45" fmla="*/ 57 h 75"/>
                <a:gd name="T46" fmla="*/ 42 w 83"/>
                <a:gd name="T47" fmla="*/ 48 h 75"/>
                <a:gd name="T48" fmla="*/ 62 w 83"/>
                <a:gd name="T49" fmla="*/ 57 h 75"/>
                <a:gd name="T50" fmla="*/ 61 w 83"/>
                <a:gd name="T51" fmla="*/ 35 h 75"/>
                <a:gd name="T52" fmla="*/ 62 w 83"/>
                <a:gd name="T53" fmla="*/ 34 h 75"/>
                <a:gd name="T54" fmla="*/ 66 w 83"/>
                <a:gd name="T55" fmla="*/ 16 h 75"/>
                <a:gd name="T56" fmla="*/ 63 w 83"/>
                <a:gd name="T57" fmla="*/ 44 h 75"/>
                <a:gd name="T58" fmla="*/ 54 w 83"/>
                <a:gd name="T59" fmla="*/ 32 h 75"/>
                <a:gd name="T60" fmla="*/ 60 w 83"/>
                <a:gd name="T61" fmla="*/ 27 h 75"/>
                <a:gd name="T62" fmla="*/ 67 w 83"/>
                <a:gd name="T63" fmla="*/ 18 h 75"/>
                <a:gd name="T64" fmla="*/ 77 w 83"/>
                <a:gd name="T65" fmla="*/ 23 h 75"/>
                <a:gd name="T66" fmla="*/ 60 w 83"/>
                <a:gd name="T67" fmla="*/ 27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83" h="75">
                  <a:moveTo>
                    <a:pt x="66" y="16"/>
                  </a:moveTo>
                  <a:cubicBezTo>
                    <a:pt x="65" y="13"/>
                    <a:pt x="63" y="11"/>
                    <a:pt x="62" y="8"/>
                  </a:cubicBezTo>
                  <a:cubicBezTo>
                    <a:pt x="59" y="9"/>
                    <a:pt x="57" y="9"/>
                    <a:pt x="54" y="10"/>
                  </a:cubicBezTo>
                  <a:cubicBezTo>
                    <a:pt x="54" y="10"/>
                    <a:pt x="53" y="10"/>
                    <a:pt x="53" y="10"/>
                  </a:cubicBezTo>
                  <a:cubicBezTo>
                    <a:pt x="54" y="7"/>
                    <a:pt x="57" y="6"/>
                    <a:pt x="59" y="3"/>
                  </a:cubicBezTo>
                  <a:cubicBezTo>
                    <a:pt x="58" y="2"/>
                    <a:pt x="58" y="1"/>
                    <a:pt x="57" y="0"/>
                  </a:cubicBezTo>
                  <a:cubicBezTo>
                    <a:pt x="48" y="1"/>
                    <a:pt x="37" y="9"/>
                    <a:pt x="42" y="19"/>
                  </a:cubicBezTo>
                  <a:cubicBezTo>
                    <a:pt x="42" y="19"/>
                    <a:pt x="43" y="20"/>
                    <a:pt x="44" y="21"/>
                  </a:cubicBezTo>
                  <a:cubicBezTo>
                    <a:pt x="47" y="19"/>
                    <a:pt x="48" y="15"/>
                    <a:pt x="51" y="14"/>
                  </a:cubicBezTo>
                  <a:cubicBezTo>
                    <a:pt x="53" y="13"/>
                    <a:pt x="55" y="13"/>
                    <a:pt x="58" y="11"/>
                  </a:cubicBezTo>
                  <a:cubicBezTo>
                    <a:pt x="58" y="11"/>
                    <a:pt x="59" y="11"/>
                    <a:pt x="59" y="11"/>
                  </a:cubicBezTo>
                  <a:cubicBezTo>
                    <a:pt x="57" y="14"/>
                    <a:pt x="56" y="16"/>
                    <a:pt x="54" y="18"/>
                  </a:cubicBezTo>
                  <a:cubicBezTo>
                    <a:pt x="54" y="21"/>
                    <a:pt x="55" y="24"/>
                    <a:pt x="54" y="27"/>
                  </a:cubicBezTo>
                  <a:cubicBezTo>
                    <a:pt x="54" y="27"/>
                    <a:pt x="30" y="18"/>
                    <a:pt x="28" y="18"/>
                  </a:cubicBezTo>
                  <a:cubicBezTo>
                    <a:pt x="25" y="17"/>
                    <a:pt x="22" y="17"/>
                    <a:pt x="20" y="17"/>
                  </a:cubicBezTo>
                  <a:cubicBezTo>
                    <a:pt x="19" y="17"/>
                    <a:pt x="19" y="17"/>
                    <a:pt x="19" y="17"/>
                  </a:cubicBezTo>
                  <a:cubicBezTo>
                    <a:pt x="22" y="15"/>
                    <a:pt x="23" y="15"/>
                    <a:pt x="25" y="13"/>
                  </a:cubicBezTo>
                  <a:cubicBezTo>
                    <a:pt x="25" y="12"/>
                    <a:pt x="25" y="12"/>
                    <a:pt x="25" y="12"/>
                  </a:cubicBezTo>
                  <a:cubicBezTo>
                    <a:pt x="18" y="12"/>
                    <a:pt x="11" y="16"/>
                    <a:pt x="4" y="18"/>
                  </a:cubicBezTo>
                  <a:cubicBezTo>
                    <a:pt x="0" y="22"/>
                    <a:pt x="0" y="25"/>
                    <a:pt x="1" y="30"/>
                  </a:cubicBezTo>
                  <a:cubicBezTo>
                    <a:pt x="3" y="31"/>
                    <a:pt x="3" y="31"/>
                    <a:pt x="3" y="31"/>
                  </a:cubicBezTo>
                  <a:cubicBezTo>
                    <a:pt x="6" y="29"/>
                    <a:pt x="9" y="26"/>
                    <a:pt x="13" y="24"/>
                  </a:cubicBezTo>
                  <a:cubicBezTo>
                    <a:pt x="19" y="20"/>
                    <a:pt x="30" y="22"/>
                    <a:pt x="37" y="27"/>
                  </a:cubicBezTo>
                  <a:cubicBezTo>
                    <a:pt x="37" y="28"/>
                    <a:pt x="36" y="28"/>
                    <a:pt x="36" y="28"/>
                  </a:cubicBezTo>
                  <a:cubicBezTo>
                    <a:pt x="31" y="29"/>
                    <a:pt x="28" y="28"/>
                    <a:pt x="22" y="32"/>
                  </a:cubicBezTo>
                  <a:cubicBezTo>
                    <a:pt x="22" y="33"/>
                    <a:pt x="22" y="34"/>
                    <a:pt x="22" y="35"/>
                  </a:cubicBezTo>
                  <a:cubicBezTo>
                    <a:pt x="22" y="37"/>
                    <a:pt x="22" y="37"/>
                    <a:pt x="24" y="39"/>
                  </a:cubicBezTo>
                  <a:cubicBezTo>
                    <a:pt x="31" y="37"/>
                    <a:pt x="37" y="36"/>
                    <a:pt x="45" y="41"/>
                  </a:cubicBezTo>
                  <a:cubicBezTo>
                    <a:pt x="44" y="41"/>
                    <a:pt x="44" y="41"/>
                    <a:pt x="44" y="41"/>
                  </a:cubicBezTo>
                  <a:cubicBezTo>
                    <a:pt x="43" y="41"/>
                    <a:pt x="42" y="41"/>
                    <a:pt x="42" y="41"/>
                  </a:cubicBezTo>
                  <a:cubicBezTo>
                    <a:pt x="41" y="40"/>
                    <a:pt x="40" y="39"/>
                    <a:pt x="39" y="39"/>
                  </a:cubicBezTo>
                  <a:cubicBezTo>
                    <a:pt x="37" y="41"/>
                    <a:pt x="37" y="41"/>
                    <a:pt x="35" y="40"/>
                  </a:cubicBezTo>
                  <a:cubicBezTo>
                    <a:pt x="35" y="40"/>
                    <a:pt x="34" y="41"/>
                    <a:pt x="34" y="41"/>
                  </a:cubicBezTo>
                  <a:cubicBezTo>
                    <a:pt x="35" y="43"/>
                    <a:pt x="35" y="43"/>
                    <a:pt x="37" y="45"/>
                  </a:cubicBezTo>
                  <a:cubicBezTo>
                    <a:pt x="36" y="46"/>
                    <a:pt x="36" y="47"/>
                    <a:pt x="35" y="48"/>
                  </a:cubicBezTo>
                  <a:cubicBezTo>
                    <a:pt x="27" y="44"/>
                    <a:pt x="20" y="40"/>
                    <a:pt x="12" y="34"/>
                  </a:cubicBezTo>
                  <a:cubicBezTo>
                    <a:pt x="11" y="34"/>
                    <a:pt x="11" y="34"/>
                    <a:pt x="10" y="34"/>
                  </a:cubicBezTo>
                  <a:cubicBezTo>
                    <a:pt x="9" y="34"/>
                    <a:pt x="9" y="35"/>
                    <a:pt x="9" y="35"/>
                  </a:cubicBezTo>
                  <a:cubicBezTo>
                    <a:pt x="11" y="55"/>
                    <a:pt x="20" y="44"/>
                    <a:pt x="31" y="54"/>
                  </a:cubicBezTo>
                  <a:cubicBezTo>
                    <a:pt x="27" y="58"/>
                    <a:pt x="23" y="61"/>
                    <a:pt x="20" y="64"/>
                  </a:cubicBezTo>
                  <a:cubicBezTo>
                    <a:pt x="15" y="63"/>
                    <a:pt x="6" y="55"/>
                    <a:pt x="1" y="56"/>
                  </a:cubicBezTo>
                  <a:cubicBezTo>
                    <a:pt x="1" y="56"/>
                    <a:pt x="1" y="56"/>
                    <a:pt x="0" y="57"/>
                  </a:cubicBezTo>
                  <a:cubicBezTo>
                    <a:pt x="2" y="62"/>
                    <a:pt x="7" y="67"/>
                    <a:pt x="9" y="72"/>
                  </a:cubicBezTo>
                  <a:cubicBezTo>
                    <a:pt x="17" y="75"/>
                    <a:pt x="26" y="66"/>
                    <a:pt x="35" y="58"/>
                  </a:cubicBezTo>
                  <a:cubicBezTo>
                    <a:pt x="37" y="60"/>
                    <a:pt x="39" y="63"/>
                    <a:pt x="42" y="65"/>
                  </a:cubicBezTo>
                  <a:cubicBezTo>
                    <a:pt x="46" y="63"/>
                    <a:pt x="46" y="60"/>
                    <a:pt x="46" y="57"/>
                  </a:cubicBezTo>
                  <a:cubicBezTo>
                    <a:pt x="45" y="54"/>
                    <a:pt x="43" y="53"/>
                    <a:pt x="40" y="50"/>
                  </a:cubicBezTo>
                  <a:cubicBezTo>
                    <a:pt x="41" y="49"/>
                    <a:pt x="42" y="48"/>
                    <a:pt x="42" y="48"/>
                  </a:cubicBezTo>
                  <a:cubicBezTo>
                    <a:pt x="46" y="48"/>
                    <a:pt x="49" y="48"/>
                    <a:pt x="53" y="46"/>
                  </a:cubicBezTo>
                  <a:cubicBezTo>
                    <a:pt x="56" y="49"/>
                    <a:pt x="59" y="53"/>
                    <a:pt x="62" y="57"/>
                  </a:cubicBezTo>
                  <a:cubicBezTo>
                    <a:pt x="65" y="56"/>
                    <a:pt x="68" y="55"/>
                    <a:pt x="70" y="52"/>
                  </a:cubicBezTo>
                  <a:cubicBezTo>
                    <a:pt x="72" y="47"/>
                    <a:pt x="66" y="40"/>
                    <a:pt x="61" y="35"/>
                  </a:cubicBezTo>
                  <a:cubicBezTo>
                    <a:pt x="61" y="35"/>
                    <a:pt x="61" y="35"/>
                    <a:pt x="61" y="35"/>
                  </a:cubicBezTo>
                  <a:cubicBezTo>
                    <a:pt x="62" y="34"/>
                    <a:pt x="62" y="34"/>
                    <a:pt x="62" y="34"/>
                  </a:cubicBezTo>
                  <a:cubicBezTo>
                    <a:pt x="69" y="34"/>
                    <a:pt x="72" y="37"/>
                    <a:pt x="79" y="32"/>
                  </a:cubicBezTo>
                  <a:cubicBezTo>
                    <a:pt x="83" y="17"/>
                    <a:pt x="74" y="21"/>
                    <a:pt x="66" y="16"/>
                  </a:cubicBezTo>
                  <a:close/>
                  <a:moveTo>
                    <a:pt x="63" y="44"/>
                  </a:moveTo>
                  <a:cubicBezTo>
                    <a:pt x="63" y="44"/>
                    <a:pt x="63" y="44"/>
                    <a:pt x="63" y="44"/>
                  </a:cubicBezTo>
                  <a:cubicBezTo>
                    <a:pt x="55" y="42"/>
                    <a:pt x="46" y="34"/>
                    <a:pt x="38" y="32"/>
                  </a:cubicBezTo>
                  <a:cubicBezTo>
                    <a:pt x="43" y="28"/>
                    <a:pt x="48" y="31"/>
                    <a:pt x="54" y="32"/>
                  </a:cubicBezTo>
                  <a:cubicBezTo>
                    <a:pt x="57" y="36"/>
                    <a:pt x="60" y="40"/>
                    <a:pt x="63" y="44"/>
                  </a:cubicBezTo>
                  <a:close/>
                  <a:moveTo>
                    <a:pt x="60" y="27"/>
                  </a:moveTo>
                  <a:cubicBezTo>
                    <a:pt x="60" y="27"/>
                    <a:pt x="60" y="26"/>
                    <a:pt x="59" y="26"/>
                  </a:cubicBezTo>
                  <a:cubicBezTo>
                    <a:pt x="61" y="23"/>
                    <a:pt x="63" y="20"/>
                    <a:pt x="67" y="18"/>
                  </a:cubicBezTo>
                  <a:cubicBezTo>
                    <a:pt x="69" y="19"/>
                    <a:pt x="71" y="19"/>
                    <a:pt x="74" y="20"/>
                  </a:cubicBezTo>
                  <a:cubicBezTo>
                    <a:pt x="75" y="21"/>
                    <a:pt x="76" y="22"/>
                    <a:pt x="77" y="23"/>
                  </a:cubicBezTo>
                  <a:cubicBezTo>
                    <a:pt x="77" y="24"/>
                    <a:pt x="77" y="24"/>
                    <a:pt x="77" y="25"/>
                  </a:cubicBezTo>
                  <a:cubicBezTo>
                    <a:pt x="72" y="29"/>
                    <a:pt x="66" y="27"/>
                    <a:pt x="60" y="2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15" name="ïṩḻîḓé"/>
            <p:cNvSpPr/>
            <p:nvPr/>
          </p:nvSpPr>
          <p:spPr bwMode="auto">
            <a:xfrm>
              <a:off x="2728809" y="4582115"/>
              <a:ext cx="101600" cy="147638"/>
            </a:xfrm>
            <a:custGeom>
              <a:avLst/>
              <a:gdLst>
                <a:gd name="T0" fmla="*/ 47 w 55"/>
                <a:gd name="T1" fmla="*/ 0 h 80"/>
                <a:gd name="T2" fmla="*/ 49 w 55"/>
                <a:gd name="T3" fmla="*/ 20 h 80"/>
                <a:gd name="T4" fmla="*/ 51 w 55"/>
                <a:gd name="T5" fmla="*/ 34 h 80"/>
                <a:gd name="T6" fmla="*/ 28 w 55"/>
                <a:gd name="T7" fmla="*/ 38 h 80"/>
                <a:gd name="T8" fmla="*/ 41 w 55"/>
                <a:gd name="T9" fmla="*/ 68 h 80"/>
                <a:gd name="T10" fmla="*/ 25 w 55"/>
                <a:gd name="T11" fmla="*/ 74 h 80"/>
                <a:gd name="T12" fmla="*/ 26 w 55"/>
                <a:gd name="T13" fmla="*/ 39 h 80"/>
                <a:gd name="T14" fmla="*/ 23 w 55"/>
                <a:gd name="T15" fmla="*/ 40 h 80"/>
                <a:gd name="T16" fmla="*/ 7 w 55"/>
                <a:gd name="T17" fmla="*/ 54 h 80"/>
                <a:gd name="T18" fmla="*/ 0 w 55"/>
                <a:gd name="T19" fmla="*/ 43 h 80"/>
                <a:gd name="T20" fmla="*/ 14 w 55"/>
                <a:gd name="T21" fmla="*/ 28 h 80"/>
                <a:gd name="T22" fmla="*/ 6 w 55"/>
                <a:gd name="T23" fmla="*/ 15 h 80"/>
                <a:gd name="T24" fmla="*/ 7 w 55"/>
                <a:gd name="T25" fmla="*/ 15 h 80"/>
                <a:gd name="T26" fmla="*/ 26 w 55"/>
                <a:gd name="T27" fmla="*/ 18 h 80"/>
                <a:gd name="T28" fmla="*/ 47 w 55"/>
                <a:gd name="T29" fmla="*/ 0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55" h="80">
                  <a:moveTo>
                    <a:pt x="47" y="0"/>
                  </a:moveTo>
                  <a:cubicBezTo>
                    <a:pt x="55" y="7"/>
                    <a:pt x="49" y="11"/>
                    <a:pt x="49" y="20"/>
                  </a:cubicBezTo>
                  <a:cubicBezTo>
                    <a:pt x="49" y="25"/>
                    <a:pt x="55" y="25"/>
                    <a:pt x="51" y="34"/>
                  </a:cubicBezTo>
                  <a:cubicBezTo>
                    <a:pt x="44" y="37"/>
                    <a:pt x="34" y="32"/>
                    <a:pt x="28" y="38"/>
                  </a:cubicBezTo>
                  <a:cubicBezTo>
                    <a:pt x="38" y="44"/>
                    <a:pt x="45" y="59"/>
                    <a:pt x="41" y="68"/>
                  </a:cubicBezTo>
                  <a:cubicBezTo>
                    <a:pt x="39" y="74"/>
                    <a:pt x="28" y="80"/>
                    <a:pt x="25" y="74"/>
                  </a:cubicBezTo>
                  <a:cubicBezTo>
                    <a:pt x="19" y="62"/>
                    <a:pt x="39" y="55"/>
                    <a:pt x="26" y="39"/>
                  </a:cubicBezTo>
                  <a:cubicBezTo>
                    <a:pt x="25" y="39"/>
                    <a:pt x="25" y="39"/>
                    <a:pt x="23" y="40"/>
                  </a:cubicBezTo>
                  <a:cubicBezTo>
                    <a:pt x="17" y="44"/>
                    <a:pt x="14" y="52"/>
                    <a:pt x="7" y="54"/>
                  </a:cubicBezTo>
                  <a:cubicBezTo>
                    <a:pt x="2" y="51"/>
                    <a:pt x="2" y="48"/>
                    <a:pt x="0" y="43"/>
                  </a:cubicBezTo>
                  <a:cubicBezTo>
                    <a:pt x="3" y="39"/>
                    <a:pt x="14" y="30"/>
                    <a:pt x="14" y="28"/>
                  </a:cubicBezTo>
                  <a:cubicBezTo>
                    <a:pt x="14" y="25"/>
                    <a:pt x="7" y="19"/>
                    <a:pt x="6" y="15"/>
                  </a:cubicBezTo>
                  <a:cubicBezTo>
                    <a:pt x="6" y="15"/>
                    <a:pt x="7" y="15"/>
                    <a:pt x="7" y="15"/>
                  </a:cubicBezTo>
                  <a:cubicBezTo>
                    <a:pt x="13" y="15"/>
                    <a:pt x="20" y="18"/>
                    <a:pt x="26" y="18"/>
                  </a:cubicBezTo>
                  <a:cubicBezTo>
                    <a:pt x="34" y="17"/>
                    <a:pt x="41" y="5"/>
                    <a:pt x="47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16" name="išḷïḓe"/>
            <p:cNvSpPr/>
            <p:nvPr/>
          </p:nvSpPr>
          <p:spPr bwMode="auto">
            <a:xfrm>
              <a:off x="2490684" y="4510678"/>
              <a:ext cx="144463" cy="160338"/>
            </a:xfrm>
            <a:custGeom>
              <a:avLst/>
              <a:gdLst>
                <a:gd name="T0" fmla="*/ 55 w 78"/>
                <a:gd name="T1" fmla="*/ 64 h 87"/>
                <a:gd name="T2" fmla="*/ 62 w 78"/>
                <a:gd name="T3" fmla="*/ 50 h 87"/>
                <a:gd name="T4" fmla="*/ 54 w 78"/>
                <a:gd name="T5" fmla="*/ 43 h 87"/>
                <a:gd name="T6" fmla="*/ 69 w 78"/>
                <a:gd name="T7" fmla="*/ 29 h 87"/>
                <a:gd name="T8" fmla="*/ 67 w 78"/>
                <a:gd name="T9" fmla="*/ 21 h 87"/>
                <a:gd name="T10" fmla="*/ 70 w 78"/>
                <a:gd name="T11" fmla="*/ 11 h 87"/>
                <a:gd name="T12" fmla="*/ 69 w 78"/>
                <a:gd name="T13" fmla="*/ 3 h 87"/>
                <a:gd name="T14" fmla="*/ 64 w 78"/>
                <a:gd name="T15" fmla="*/ 0 h 87"/>
                <a:gd name="T16" fmla="*/ 63 w 78"/>
                <a:gd name="T17" fmla="*/ 0 h 87"/>
                <a:gd name="T18" fmla="*/ 63 w 78"/>
                <a:gd name="T19" fmla="*/ 12 h 87"/>
                <a:gd name="T20" fmla="*/ 42 w 78"/>
                <a:gd name="T21" fmla="*/ 25 h 87"/>
                <a:gd name="T22" fmla="*/ 42 w 78"/>
                <a:gd name="T23" fmla="*/ 33 h 87"/>
                <a:gd name="T24" fmla="*/ 33 w 78"/>
                <a:gd name="T25" fmla="*/ 36 h 87"/>
                <a:gd name="T26" fmla="*/ 39 w 78"/>
                <a:gd name="T27" fmla="*/ 33 h 87"/>
                <a:gd name="T28" fmla="*/ 39 w 78"/>
                <a:gd name="T29" fmla="*/ 23 h 87"/>
                <a:gd name="T30" fmla="*/ 36 w 78"/>
                <a:gd name="T31" fmla="*/ 0 h 87"/>
                <a:gd name="T32" fmla="*/ 36 w 78"/>
                <a:gd name="T33" fmla="*/ 0 h 87"/>
                <a:gd name="T34" fmla="*/ 36 w 78"/>
                <a:gd name="T35" fmla="*/ 8 h 87"/>
                <a:gd name="T36" fmla="*/ 30 w 78"/>
                <a:gd name="T37" fmla="*/ 24 h 87"/>
                <a:gd name="T38" fmla="*/ 1 w 78"/>
                <a:gd name="T39" fmla="*/ 29 h 87"/>
                <a:gd name="T40" fmla="*/ 0 w 78"/>
                <a:gd name="T41" fmla="*/ 31 h 87"/>
                <a:gd name="T42" fmla="*/ 18 w 78"/>
                <a:gd name="T43" fmla="*/ 39 h 87"/>
                <a:gd name="T44" fmla="*/ 25 w 78"/>
                <a:gd name="T45" fmla="*/ 36 h 87"/>
                <a:gd name="T46" fmla="*/ 25 w 78"/>
                <a:gd name="T47" fmla="*/ 36 h 87"/>
                <a:gd name="T48" fmla="*/ 3 w 78"/>
                <a:gd name="T49" fmla="*/ 62 h 87"/>
                <a:gd name="T50" fmla="*/ 5 w 78"/>
                <a:gd name="T51" fmla="*/ 67 h 87"/>
                <a:gd name="T52" fmla="*/ 12 w 78"/>
                <a:gd name="T53" fmla="*/ 66 h 87"/>
                <a:gd name="T54" fmla="*/ 22 w 78"/>
                <a:gd name="T55" fmla="*/ 74 h 87"/>
                <a:gd name="T56" fmla="*/ 25 w 78"/>
                <a:gd name="T57" fmla="*/ 61 h 87"/>
                <a:gd name="T58" fmla="*/ 30 w 78"/>
                <a:gd name="T59" fmla="*/ 49 h 87"/>
                <a:gd name="T60" fmla="*/ 48 w 78"/>
                <a:gd name="T61" fmla="*/ 63 h 87"/>
                <a:gd name="T62" fmla="*/ 24 w 78"/>
                <a:gd name="T63" fmla="*/ 71 h 87"/>
                <a:gd name="T64" fmla="*/ 48 w 78"/>
                <a:gd name="T65" fmla="*/ 71 h 87"/>
                <a:gd name="T66" fmla="*/ 51 w 78"/>
                <a:gd name="T67" fmla="*/ 69 h 87"/>
                <a:gd name="T68" fmla="*/ 77 w 78"/>
                <a:gd name="T69" fmla="*/ 87 h 87"/>
                <a:gd name="T70" fmla="*/ 78 w 78"/>
                <a:gd name="T71" fmla="*/ 86 h 87"/>
                <a:gd name="T72" fmla="*/ 55 w 78"/>
                <a:gd name="T73" fmla="*/ 64 h 87"/>
                <a:gd name="T74" fmla="*/ 15 w 78"/>
                <a:gd name="T75" fmla="*/ 64 h 87"/>
                <a:gd name="T76" fmla="*/ 15 w 78"/>
                <a:gd name="T77" fmla="*/ 65 h 87"/>
                <a:gd name="T78" fmla="*/ 11 w 78"/>
                <a:gd name="T79" fmla="*/ 63 h 87"/>
                <a:gd name="T80" fmla="*/ 12 w 78"/>
                <a:gd name="T81" fmla="*/ 60 h 87"/>
                <a:gd name="T82" fmla="*/ 15 w 78"/>
                <a:gd name="T83" fmla="*/ 57 h 87"/>
                <a:gd name="T84" fmla="*/ 17 w 78"/>
                <a:gd name="T85" fmla="*/ 58 h 87"/>
                <a:gd name="T86" fmla="*/ 15 w 78"/>
                <a:gd name="T87" fmla="*/ 64 h 87"/>
                <a:gd name="T88" fmla="*/ 32 w 78"/>
                <a:gd name="T89" fmla="*/ 46 h 87"/>
                <a:gd name="T90" fmla="*/ 44 w 78"/>
                <a:gd name="T91" fmla="*/ 34 h 87"/>
                <a:gd name="T92" fmla="*/ 52 w 78"/>
                <a:gd name="T93" fmla="*/ 35 h 87"/>
                <a:gd name="T94" fmla="*/ 46 w 78"/>
                <a:gd name="T95" fmla="*/ 50 h 87"/>
                <a:gd name="T96" fmla="*/ 48 w 78"/>
                <a:gd name="T97" fmla="*/ 52 h 87"/>
                <a:gd name="T98" fmla="*/ 56 w 78"/>
                <a:gd name="T99" fmla="*/ 50 h 87"/>
                <a:gd name="T100" fmla="*/ 52 w 78"/>
                <a:gd name="T101" fmla="*/ 61 h 87"/>
                <a:gd name="T102" fmla="*/ 32 w 78"/>
                <a:gd name="T103" fmla="*/ 46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78" h="87">
                  <a:moveTo>
                    <a:pt x="55" y="64"/>
                  </a:moveTo>
                  <a:cubicBezTo>
                    <a:pt x="58" y="60"/>
                    <a:pt x="60" y="55"/>
                    <a:pt x="62" y="50"/>
                  </a:cubicBezTo>
                  <a:cubicBezTo>
                    <a:pt x="61" y="47"/>
                    <a:pt x="58" y="44"/>
                    <a:pt x="54" y="43"/>
                  </a:cubicBezTo>
                  <a:cubicBezTo>
                    <a:pt x="57" y="36"/>
                    <a:pt x="64" y="33"/>
                    <a:pt x="69" y="29"/>
                  </a:cubicBezTo>
                  <a:cubicBezTo>
                    <a:pt x="69" y="25"/>
                    <a:pt x="67" y="24"/>
                    <a:pt x="67" y="21"/>
                  </a:cubicBezTo>
                  <a:cubicBezTo>
                    <a:pt x="68" y="18"/>
                    <a:pt x="69" y="15"/>
                    <a:pt x="70" y="11"/>
                  </a:cubicBezTo>
                  <a:cubicBezTo>
                    <a:pt x="70" y="9"/>
                    <a:pt x="69" y="6"/>
                    <a:pt x="69" y="3"/>
                  </a:cubicBezTo>
                  <a:cubicBezTo>
                    <a:pt x="68" y="2"/>
                    <a:pt x="67" y="1"/>
                    <a:pt x="64" y="0"/>
                  </a:cubicBezTo>
                  <a:cubicBezTo>
                    <a:pt x="64" y="0"/>
                    <a:pt x="63" y="0"/>
                    <a:pt x="63" y="0"/>
                  </a:cubicBezTo>
                  <a:cubicBezTo>
                    <a:pt x="61" y="5"/>
                    <a:pt x="63" y="8"/>
                    <a:pt x="63" y="12"/>
                  </a:cubicBezTo>
                  <a:cubicBezTo>
                    <a:pt x="63" y="24"/>
                    <a:pt x="52" y="26"/>
                    <a:pt x="42" y="25"/>
                  </a:cubicBezTo>
                  <a:cubicBezTo>
                    <a:pt x="41" y="28"/>
                    <a:pt x="41" y="31"/>
                    <a:pt x="42" y="33"/>
                  </a:cubicBezTo>
                  <a:cubicBezTo>
                    <a:pt x="39" y="34"/>
                    <a:pt x="36" y="35"/>
                    <a:pt x="33" y="36"/>
                  </a:cubicBezTo>
                  <a:cubicBezTo>
                    <a:pt x="34" y="32"/>
                    <a:pt x="36" y="32"/>
                    <a:pt x="39" y="33"/>
                  </a:cubicBezTo>
                  <a:cubicBezTo>
                    <a:pt x="41" y="29"/>
                    <a:pt x="38" y="27"/>
                    <a:pt x="39" y="23"/>
                  </a:cubicBezTo>
                  <a:cubicBezTo>
                    <a:pt x="39" y="14"/>
                    <a:pt x="53" y="6"/>
                    <a:pt x="36" y="0"/>
                  </a:cubicBezTo>
                  <a:cubicBezTo>
                    <a:pt x="36" y="0"/>
                    <a:pt x="36" y="0"/>
                    <a:pt x="36" y="0"/>
                  </a:cubicBezTo>
                  <a:cubicBezTo>
                    <a:pt x="35" y="3"/>
                    <a:pt x="36" y="5"/>
                    <a:pt x="36" y="8"/>
                  </a:cubicBezTo>
                  <a:cubicBezTo>
                    <a:pt x="34" y="14"/>
                    <a:pt x="32" y="19"/>
                    <a:pt x="30" y="24"/>
                  </a:cubicBezTo>
                  <a:cubicBezTo>
                    <a:pt x="22" y="26"/>
                    <a:pt x="9" y="26"/>
                    <a:pt x="1" y="29"/>
                  </a:cubicBezTo>
                  <a:cubicBezTo>
                    <a:pt x="1" y="30"/>
                    <a:pt x="1" y="30"/>
                    <a:pt x="0" y="31"/>
                  </a:cubicBezTo>
                  <a:cubicBezTo>
                    <a:pt x="1" y="35"/>
                    <a:pt x="12" y="39"/>
                    <a:pt x="18" y="39"/>
                  </a:cubicBezTo>
                  <a:cubicBezTo>
                    <a:pt x="20" y="38"/>
                    <a:pt x="22" y="37"/>
                    <a:pt x="25" y="36"/>
                  </a:cubicBezTo>
                  <a:cubicBezTo>
                    <a:pt x="25" y="36"/>
                    <a:pt x="25" y="36"/>
                    <a:pt x="25" y="36"/>
                  </a:cubicBezTo>
                  <a:cubicBezTo>
                    <a:pt x="21" y="52"/>
                    <a:pt x="9" y="50"/>
                    <a:pt x="3" y="62"/>
                  </a:cubicBezTo>
                  <a:cubicBezTo>
                    <a:pt x="4" y="63"/>
                    <a:pt x="4" y="65"/>
                    <a:pt x="5" y="67"/>
                  </a:cubicBezTo>
                  <a:cubicBezTo>
                    <a:pt x="7" y="67"/>
                    <a:pt x="10" y="67"/>
                    <a:pt x="12" y="66"/>
                  </a:cubicBezTo>
                  <a:cubicBezTo>
                    <a:pt x="17" y="68"/>
                    <a:pt x="17" y="72"/>
                    <a:pt x="22" y="74"/>
                  </a:cubicBezTo>
                  <a:cubicBezTo>
                    <a:pt x="25" y="71"/>
                    <a:pt x="24" y="66"/>
                    <a:pt x="25" y="61"/>
                  </a:cubicBezTo>
                  <a:cubicBezTo>
                    <a:pt x="25" y="56"/>
                    <a:pt x="28" y="52"/>
                    <a:pt x="30" y="49"/>
                  </a:cubicBezTo>
                  <a:cubicBezTo>
                    <a:pt x="40" y="53"/>
                    <a:pt x="42" y="58"/>
                    <a:pt x="48" y="63"/>
                  </a:cubicBezTo>
                  <a:cubicBezTo>
                    <a:pt x="44" y="74"/>
                    <a:pt x="29" y="63"/>
                    <a:pt x="24" y="71"/>
                  </a:cubicBezTo>
                  <a:cubicBezTo>
                    <a:pt x="39" y="78"/>
                    <a:pt x="36" y="74"/>
                    <a:pt x="48" y="71"/>
                  </a:cubicBezTo>
                  <a:cubicBezTo>
                    <a:pt x="49" y="70"/>
                    <a:pt x="50" y="70"/>
                    <a:pt x="51" y="69"/>
                  </a:cubicBezTo>
                  <a:cubicBezTo>
                    <a:pt x="58" y="79"/>
                    <a:pt x="58" y="87"/>
                    <a:pt x="77" y="87"/>
                  </a:cubicBezTo>
                  <a:cubicBezTo>
                    <a:pt x="77" y="87"/>
                    <a:pt x="78" y="86"/>
                    <a:pt x="78" y="86"/>
                  </a:cubicBezTo>
                  <a:cubicBezTo>
                    <a:pt x="74" y="76"/>
                    <a:pt x="60" y="73"/>
                    <a:pt x="55" y="64"/>
                  </a:cubicBezTo>
                  <a:close/>
                  <a:moveTo>
                    <a:pt x="15" y="64"/>
                  </a:moveTo>
                  <a:cubicBezTo>
                    <a:pt x="15" y="65"/>
                    <a:pt x="15" y="65"/>
                    <a:pt x="15" y="65"/>
                  </a:cubicBezTo>
                  <a:cubicBezTo>
                    <a:pt x="14" y="64"/>
                    <a:pt x="13" y="64"/>
                    <a:pt x="11" y="63"/>
                  </a:cubicBezTo>
                  <a:cubicBezTo>
                    <a:pt x="11" y="62"/>
                    <a:pt x="12" y="61"/>
                    <a:pt x="12" y="60"/>
                  </a:cubicBezTo>
                  <a:cubicBezTo>
                    <a:pt x="13" y="59"/>
                    <a:pt x="14" y="58"/>
                    <a:pt x="15" y="57"/>
                  </a:cubicBezTo>
                  <a:cubicBezTo>
                    <a:pt x="16" y="57"/>
                    <a:pt x="16" y="58"/>
                    <a:pt x="17" y="58"/>
                  </a:cubicBezTo>
                  <a:cubicBezTo>
                    <a:pt x="16" y="60"/>
                    <a:pt x="16" y="62"/>
                    <a:pt x="15" y="64"/>
                  </a:cubicBezTo>
                  <a:close/>
                  <a:moveTo>
                    <a:pt x="32" y="46"/>
                  </a:moveTo>
                  <a:cubicBezTo>
                    <a:pt x="35" y="43"/>
                    <a:pt x="44" y="37"/>
                    <a:pt x="44" y="34"/>
                  </a:cubicBezTo>
                  <a:cubicBezTo>
                    <a:pt x="47" y="34"/>
                    <a:pt x="49" y="35"/>
                    <a:pt x="52" y="35"/>
                  </a:cubicBezTo>
                  <a:cubicBezTo>
                    <a:pt x="50" y="40"/>
                    <a:pt x="45" y="44"/>
                    <a:pt x="46" y="50"/>
                  </a:cubicBezTo>
                  <a:cubicBezTo>
                    <a:pt x="46" y="51"/>
                    <a:pt x="47" y="51"/>
                    <a:pt x="48" y="52"/>
                  </a:cubicBezTo>
                  <a:cubicBezTo>
                    <a:pt x="50" y="51"/>
                    <a:pt x="53" y="49"/>
                    <a:pt x="56" y="50"/>
                  </a:cubicBezTo>
                  <a:cubicBezTo>
                    <a:pt x="55" y="54"/>
                    <a:pt x="53" y="57"/>
                    <a:pt x="52" y="61"/>
                  </a:cubicBezTo>
                  <a:cubicBezTo>
                    <a:pt x="45" y="56"/>
                    <a:pt x="44" y="49"/>
                    <a:pt x="32" y="4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17" name="ï$ľíḍe"/>
            <p:cNvSpPr/>
            <p:nvPr/>
          </p:nvSpPr>
          <p:spPr bwMode="auto">
            <a:xfrm>
              <a:off x="2255734" y="4491628"/>
              <a:ext cx="136525" cy="174625"/>
            </a:xfrm>
            <a:custGeom>
              <a:avLst/>
              <a:gdLst>
                <a:gd name="T0" fmla="*/ 74 w 74"/>
                <a:gd name="T1" fmla="*/ 41 h 94"/>
                <a:gd name="T2" fmla="*/ 64 w 74"/>
                <a:gd name="T3" fmla="*/ 35 h 94"/>
                <a:gd name="T4" fmla="*/ 51 w 74"/>
                <a:gd name="T5" fmla="*/ 5 h 94"/>
                <a:gd name="T6" fmla="*/ 58 w 74"/>
                <a:gd name="T7" fmla="*/ 39 h 94"/>
                <a:gd name="T8" fmla="*/ 47 w 74"/>
                <a:gd name="T9" fmla="*/ 47 h 94"/>
                <a:gd name="T10" fmla="*/ 55 w 74"/>
                <a:gd name="T11" fmla="*/ 34 h 94"/>
                <a:gd name="T12" fmla="*/ 47 w 74"/>
                <a:gd name="T13" fmla="*/ 29 h 94"/>
                <a:gd name="T14" fmla="*/ 54 w 74"/>
                <a:gd name="T15" fmla="*/ 22 h 94"/>
                <a:gd name="T16" fmla="*/ 54 w 74"/>
                <a:gd name="T17" fmla="*/ 20 h 94"/>
                <a:gd name="T18" fmla="*/ 54 w 74"/>
                <a:gd name="T19" fmla="*/ 19 h 94"/>
                <a:gd name="T20" fmla="*/ 41 w 74"/>
                <a:gd name="T21" fmla="*/ 19 h 94"/>
                <a:gd name="T22" fmla="*/ 44 w 74"/>
                <a:gd name="T23" fmla="*/ 22 h 94"/>
                <a:gd name="T24" fmla="*/ 44 w 74"/>
                <a:gd name="T25" fmla="*/ 32 h 94"/>
                <a:gd name="T26" fmla="*/ 48 w 74"/>
                <a:gd name="T27" fmla="*/ 37 h 94"/>
                <a:gd name="T28" fmla="*/ 40 w 74"/>
                <a:gd name="T29" fmla="*/ 58 h 94"/>
                <a:gd name="T30" fmla="*/ 44 w 74"/>
                <a:gd name="T31" fmla="*/ 61 h 94"/>
                <a:gd name="T32" fmla="*/ 59 w 74"/>
                <a:gd name="T33" fmla="*/ 46 h 94"/>
                <a:gd name="T34" fmla="*/ 59 w 74"/>
                <a:gd name="T35" fmla="*/ 46 h 94"/>
                <a:gd name="T36" fmla="*/ 66 w 74"/>
                <a:gd name="T37" fmla="*/ 93 h 94"/>
                <a:gd name="T38" fmla="*/ 68 w 74"/>
                <a:gd name="T39" fmla="*/ 93 h 94"/>
                <a:gd name="T40" fmla="*/ 65 w 74"/>
                <a:gd name="T41" fmla="*/ 42 h 94"/>
                <a:gd name="T42" fmla="*/ 73 w 74"/>
                <a:gd name="T43" fmla="*/ 41 h 94"/>
                <a:gd name="T44" fmla="*/ 74 w 74"/>
                <a:gd name="T45" fmla="*/ 41 h 94"/>
                <a:gd name="T46" fmla="*/ 43 w 74"/>
                <a:gd name="T47" fmla="*/ 42 h 94"/>
                <a:gd name="T48" fmla="*/ 35 w 74"/>
                <a:gd name="T49" fmla="*/ 48 h 94"/>
                <a:gd name="T50" fmla="*/ 39 w 74"/>
                <a:gd name="T51" fmla="*/ 38 h 94"/>
                <a:gd name="T52" fmla="*/ 37 w 74"/>
                <a:gd name="T53" fmla="*/ 29 h 94"/>
                <a:gd name="T54" fmla="*/ 40 w 74"/>
                <a:gd name="T55" fmla="*/ 27 h 94"/>
                <a:gd name="T56" fmla="*/ 34 w 74"/>
                <a:gd name="T57" fmla="*/ 16 h 94"/>
                <a:gd name="T58" fmla="*/ 32 w 74"/>
                <a:gd name="T59" fmla="*/ 15 h 94"/>
                <a:gd name="T60" fmla="*/ 4 w 74"/>
                <a:gd name="T61" fmla="*/ 46 h 94"/>
                <a:gd name="T62" fmla="*/ 30 w 74"/>
                <a:gd name="T63" fmla="*/ 29 h 94"/>
                <a:gd name="T64" fmla="*/ 8 w 74"/>
                <a:gd name="T65" fmla="*/ 52 h 94"/>
                <a:gd name="T66" fmla="*/ 0 w 74"/>
                <a:gd name="T67" fmla="*/ 56 h 94"/>
                <a:gd name="T68" fmla="*/ 3 w 74"/>
                <a:gd name="T69" fmla="*/ 61 h 94"/>
                <a:gd name="T70" fmla="*/ 23 w 74"/>
                <a:gd name="T71" fmla="*/ 54 h 94"/>
                <a:gd name="T72" fmla="*/ 25 w 74"/>
                <a:gd name="T73" fmla="*/ 53 h 94"/>
                <a:gd name="T74" fmla="*/ 25 w 74"/>
                <a:gd name="T75" fmla="*/ 53 h 94"/>
                <a:gd name="T76" fmla="*/ 20 w 74"/>
                <a:gd name="T77" fmla="*/ 72 h 94"/>
                <a:gd name="T78" fmla="*/ 25 w 74"/>
                <a:gd name="T79" fmla="*/ 76 h 94"/>
                <a:gd name="T80" fmla="*/ 26 w 74"/>
                <a:gd name="T81" fmla="*/ 76 h 94"/>
                <a:gd name="T82" fmla="*/ 30 w 74"/>
                <a:gd name="T83" fmla="*/ 67 h 94"/>
                <a:gd name="T84" fmla="*/ 31 w 74"/>
                <a:gd name="T85" fmla="*/ 66 h 94"/>
                <a:gd name="T86" fmla="*/ 32 w 74"/>
                <a:gd name="T87" fmla="*/ 75 h 94"/>
                <a:gd name="T88" fmla="*/ 35 w 74"/>
                <a:gd name="T89" fmla="*/ 76 h 94"/>
                <a:gd name="T90" fmla="*/ 38 w 74"/>
                <a:gd name="T91" fmla="*/ 76 h 94"/>
                <a:gd name="T92" fmla="*/ 35 w 74"/>
                <a:gd name="T93" fmla="*/ 61 h 94"/>
                <a:gd name="T94" fmla="*/ 43 w 74"/>
                <a:gd name="T95" fmla="*/ 42 h 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74" h="94">
                  <a:moveTo>
                    <a:pt x="74" y="41"/>
                  </a:moveTo>
                  <a:cubicBezTo>
                    <a:pt x="73" y="36"/>
                    <a:pt x="70" y="34"/>
                    <a:pt x="64" y="35"/>
                  </a:cubicBezTo>
                  <a:cubicBezTo>
                    <a:pt x="63" y="24"/>
                    <a:pt x="67" y="0"/>
                    <a:pt x="51" y="5"/>
                  </a:cubicBezTo>
                  <a:cubicBezTo>
                    <a:pt x="50" y="9"/>
                    <a:pt x="61" y="31"/>
                    <a:pt x="58" y="39"/>
                  </a:cubicBezTo>
                  <a:cubicBezTo>
                    <a:pt x="58" y="39"/>
                    <a:pt x="47" y="47"/>
                    <a:pt x="47" y="47"/>
                  </a:cubicBezTo>
                  <a:cubicBezTo>
                    <a:pt x="48" y="41"/>
                    <a:pt x="53" y="39"/>
                    <a:pt x="55" y="34"/>
                  </a:cubicBezTo>
                  <a:cubicBezTo>
                    <a:pt x="56" y="30"/>
                    <a:pt x="49" y="31"/>
                    <a:pt x="47" y="29"/>
                  </a:cubicBezTo>
                  <a:cubicBezTo>
                    <a:pt x="48" y="26"/>
                    <a:pt x="51" y="23"/>
                    <a:pt x="54" y="22"/>
                  </a:cubicBezTo>
                  <a:cubicBezTo>
                    <a:pt x="54" y="21"/>
                    <a:pt x="54" y="21"/>
                    <a:pt x="54" y="20"/>
                  </a:cubicBezTo>
                  <a:cubicBezTo>
                    <a:pt x="54" y="20"/>
                    <a:pt x="54" y="19"/>
                    <a:pt x="54" y="19"/>
                  </a:cubicBezTo>
                  <a:cubicBezTo>
                    <a:pt x="50" y="17"/>
                    <a:pt x="45" y="17"/>
                    <a:pt x="41" y="19"/>
                  </a:cubicBezTo>
                  <a:cubicBezTo>
                    <a:pt x="41" y="22"/>
                    <a:pt x="42" y="22"/>
                    <a:pt x="44" y="22"/>
                  </a:cubicBezTo>
                  <a:cubicBezTo>
                    <a:pt x="44" y="26"/>
                    <a:pt x="44" y="29"/>
                    <a:pt x="44" y="32"/>
                  </a:cubicBezTo>
                  <a:cubicBezTo>
                    <a:pt x="45" y="34"/>
                    <a:pt x="47" y="35"/>
                    <a:pt x="48" y="37"/>
                  </a:cubicBezTo>
                  <a:cubicBezTo>
                    <a:pt x="46" y="41"/>
                    <a:pt x="35" y="51"/>
                    <a:pt x="40" y="58"/>
                  </a:cubicBezTo>
                  <a:cubicBezTo>
                    <a:pt x="41" y="60"/>
                    <a:pt x="42" y="60"/>
                    <a:pt x="44" y="61"/>
                  </a:cubicBezTo>
                  <a:cubicBezTo>
                    <a:pt x="49" y="55"/>
                    <a:pt x="51" y="50"/>
                    <a:pt x="59" y="46"/>
                  </a:cubicBezTo>
                  <a:cubicBezTo>
                    <a:pt x="59" y="46"/>
                    <a:pt x="59" y="46"/>
                    <a:pt x="59" y="46"/>
                  </a:cubicBezTo>
                  <a:cubicBezTo>
                    <a:pt x="61" y="60"/>
                    <a:pt x="59" y="83"/>
                    <a:pt x="66" y="93"/>
                  </a:cubicBezTo>
                  <a:cubicBezTo>
                    <a:pt x="67" y="94"/>
                    <a:pt x="67" y="93"/>
                    <a:pt x="68" y="93"/>
                  </a:cubicBezTo>
                  <a:cubicBezTo>
                    <a:pt x="68" y="78"/>
                    <a:pt x="67" y="60"/>
                    <a:pt x="65" y="42"/>
                  </a:cubicBezTo>
                  <a:cubicBezTo>
                    <a:pt x="68" y="42"/>
                    <a:pt x="72" y="42"/>
                    <a:pt x="73" y="41"/>
                  </a:cubicBezTo>
                  <a:cubicBezTo>
                    <a:pt x="74" y="41"/>
                    <a:pt x="74" y="41"/>
                    <a:pt x="74" y="41"/>
                  </a:cubicBezTo>
                  <a:close/>
                  <a:moveTo>
                    <a:pt x="43" y="42"/>
                  </a:moveTo>
                  <a:cubicBezTo>
                    <a:pt x="39" y="44"/>
                    <a:pt x="38" y="46"/>
                    <a:pt x="35" y="48"/>
                  </a:cubicBezTo>
                  <a:cubicBezTo>
                    <a:pt x="35" y="42"/>
                    <a:pt x="39" y="42"/>
                    <a:pt x="39" y="38"/>
                  </a:cubicBezTo>
                  <a:cubicBezTo>
                    <a:pt x="40" y="35"/>
                    <a:pt x="37" y="33"/>
                    <a:pt x="37" y="29"/>
                  </a:cubicBezTo>
                  <a:cubicBezTo>
                    <a:pt x="38" y="28"/>
                    <a:pt x="39" y="28"/>
                    <a:pt x="40" y="27"/>
                  </a:cubicBezTo>
                  <a:cubicBezTo>
                    <a:pt x="41" y="24"/>
                    <a:pt x="36" y="16"/>
                    <a:pt x="34" y="16"/>
                  </a:cubicBezTo>
                  <a:cubicBezTo>
                    <a:pt x="33" y="16"/>
                    <a:pt x="32" y="15"/>
                    <a:pt x="32" y="15"/>
                  </a:cubicBezTo>
                  <a:cubicBezTo>
                    <a:pt x="22" y="28"/>
                    <a:pt x="10" y="30"/>
                    <a:pt x="4" y="46"/>
                  </a:cubicBezTo>
                  <a:cubicBezTo>
                    <a:pt x="13" y="41"/>
                    <a:pt x="17" y="31"/>
                    <a:pt x="30" y="29"/>
                  </a:cubicBezTo>
                  <a:cubicBezTo>
                    <a:pt x="29" y="39"/>
                    <a:pt x="16" y="48"/>
                    <a:pt x="8" y="52"/>
                  </a:cubicBezTo>
                  <a:cubicBezTo>
                    <a:pt x="4" y="54"/>
                    <a:pt x="2" y="52"/>
                    <a:pt x="0" y="56"/>
                  </a:cubicBezTo>
                  <a:cubicBezTo>
                    <a:pt x="0" y="59"/>
                    <a:pt x="1" y="60"/>
                    <a:pt x="3" y="61"/>
                  </a:cubicBezTo>
                  <a:cubicBezTo>
                    <a:pt x="10" y="63"/>
                    <a:pt x="22" y="58"/>
                    <a:pt x="23" y="54"/>
                  </a:cubicBezTo>
                  <a:cubicBezTo>
                    <a:pt x="24" y="54"/>
                    <a:pt x="24" y="53"/>
                    <a:pt x="25" y="53"/>
                  </a:cubicBezTo>
                  <a:cubicBezTo>
                    <a:pt x="25" y="53"/>
                    <a:pt x="25" y="53"/>
                    <a:pt x="25" y="53"/>
                  </a:cubicBezTo>
                  <a:cubicBezTo>
                    <a:pt x="23" y="59"/>
                    <a:pt x="22" y="66"/>
                    <a:pt x="20" y="72"/>
                  </a:cubicBezTo>
                  <a:cubicBezTo>
                    <a:pt x="21" y="74"/>
                    <a:pt x="23" y="75"/>
                    <a:pt x="25" y="76"/>
                  </a:cubicBezTo>
                  <a:cubicBezTo>
                    <a:pt x="25" y="76"/>
                    <a:pt x="26" y="76"/>
                    <a:pt x="26" y="76"/>
                  </a:cubicBezTo>
                  <a:cubicBezTo>
                    <a:pt x="28" y="73"/>
                    <a:pt x="29" y="70"/>
                    <a:pt x="30" y="67"/>
                  </a:cubicBezTo>
                  <a:cubicBezTo>
                    <a:pt x="31" y="67"/>
                    <a:pt x="31" y="67"/>
                    <a:pt x="31" y="66"/>
                  </a:cubicBezTo>
                  <a:cubicBezTo>
                    <a:pt x="32" y="69"/>
                    <a:pt x="32" y="72"/>
                    <a:pt x="32" y="75"/>
                  </a:cubicBezTo>
                  <a:cubicBezTo>
                    <a:pt x="33" y="75"/>
                    <a:pt x="34" y="76"/>
                    <a:pt x="35" y="76"/>
                  </a:cubicBezTo>
                  <a:cubicBezTo>
                    <a:pt x="36" y="76"/>
                    <a:pt x="37" y="76"/>
                    <a:pt x="38" y="76"/>
                  </a:cubicBezTo>
                  <a:cubicBezTo>
                    <a:pt x="37" y="71"/>
                    <a:pt x="36" y="66"/>
                    <a:pt x="35" y="61"/>
                  </a:cubicBezTo>
                  <a:cubicBezTo>
                    <a:pt x="38" y="54"/>
                    <a:pt x="40" y="48"/>
                    <a:pt x="43" y="4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18" name="î$ḻîḑe"/>
            <p:cNvSpPr/>
            <p:nvPr/>
          </p:nvSpPr>
          <p:spPr bwMode="auto">
            <a:xfrm>
              <a:off x="2055709" y="4566240"/>
              <a:ext cx="136525" cy="150813"/>
            </a:xfrm>
            <a:custGeom>
              <a:avLst/>
              <a:gdLst>
                <a:gd name="T0" fmla="*/ 55 w 74"/>
                <a:gd name="T1" fmla="*/ 53 h 82"/>
                <a:gd name="T2" fmla="*/ 54 w 74"/>
                <a:gd name="T3" fmla="*/ 51 h 82"/>
                <a:gd name="T4" fmla="*/ 57 w 74"/>
                <a:gd name="T5" fmla="*/ 49 h 82"/>
                <a:gd name="T6" fmla="*/ 56 w 74"/>
                <a:gd name="T7" fmla="*/ 45 h 82"/>
                <a:gd name="T8" fmla="*/ 52 w 74"/>
                <a:gd name="T9" fmla="*/ 45 h 82"/>
                <a:gd name="T10" fmla="*/ 51 w 74"/>
                <a:gd name="T11" fmla="*/ 44 h 82"/>
                <a:gd name="T12" fmla="*/ 60 w 74"/>
                <a:gd name="T13" fmla="*/ 32 h 82"/>
                <a:gd name="T14" fmla="*/ 60 w 74"/>
                <a:gd name="T15" fmla="*/ 30 h 82"/>
                <a:gd name="T16" fmla="*/ 34 w 74"/>
                <a:gd name="T17" fmla="*/ 38 h 82"/>
                <a:gd name="T18" fmla="*/ 33 w 74"/>
                <a:gd name="T19" fmla="*/ 38 h 82"/>
                <a:gd name="T20" fmla="*/ 60 w 74"/>
                <a:gd name="T21" fmla="*/ 16 h 82"/>
                <a:gd name="T22" fmla="*/ 61 w 74"/>
                <a:gd name="T23" fmla="*/ 10 h 82"/>
                <a:gd name="T24" fmla="*/ 42 w 74"/>
                <a:gd name="T25" fmla="*/ 11 h 82"/>
                <a:gd name="T26" fmla="*/ 27 w 74"/>
                <a:gd name="T27" fmla="*/ 0 h 82"/>
                <a:gd name="T28" fmla="*/ 24 w 74"/>
                <a:gd name="T29" fmla="*/ 0 h 82"/>
                <a:gd name="T30" fmla="*/ 29 w 74"/>
                <a:gd name="T31" fmla="*/ 21 h 82"/>
                <a:gd name="T32" fmla="*/ 11 w 74"/>
                <a:gd name="T33" fmla="*/ 39 h 82"/>
                <a:gd name="T34" fmla="*/ 1 w 74"/>
                <a:gd name="T35" fmla="*/ 44 h 82"/>
                <a:gd name="T36" fmla="*/ 0 w 74"/>
                <a:gd name="T37" fmla="*/ 47 h 82"/>
                <a:gd name="T38" fmla="*/ 35 w 74"/>
                <a:gd name="T39" fmla="*/ 26 h 82"/>
                <a:gd name="T40" fmla="*/ 35 w 74"/>
                <a:gd name="T41" fmla="*/ 26 h 82"/>
                <a:gd name="T42" fmla="*/ 30 w 74"/>
                <a:gd name="T43" fmla="*/ 48 h 82"/>
                <a:gd name="T44" fmla="*/ 40 w 74"/>
                <a:gd name="T45" fmla="*/ 57 h 82"/>
                <a:gd name="T46" fmla="*/ 35 w 74"/>
                <a:gd name="T47" fmla="*/ 78 h 82"/>
                <a:gd name="T48" fmla="*/ 45 w 74"/>
                <a:gd name="T49" fmla="*/ 82 h 82"/>
                <a:gd name="T50" fmla="*/ 47 w 74"/>
                <a:gd name="T51" fmla="*/ 80 h 82"/>
                <a:gd name="T52" fmla="*/ 46 w 74"/>
                <a:gd name="T53" fmla="*/ 67 h 82"/>
                <a:gd name="T54" fmla="*/ 47 w 74"/>
                <a:gd name="T55" fmla="*/ 66 h 82"/>
                <a:gd name="T56" fmla="*/ 50 w 74"/>
                <a:gd name="T57" fmla="*/ 73 h 82"/>
                <a:gd name="T58" fmla="*/ 58 w 74"/>
                <a:gd name="T59" fmla="*/ 79 h 82"/>
                <a:gd name="T60" fmla="*/ 59 w 74"/>
                <a:gd name="T61" fmla="*/ 79 h 82"/>
                <a:gd name="T62" fmla="*/ 53 w 74"/>
                <a:gd name="T63" fmla="*/ 57 h 82"/>
                <a:gd name="T64" fmla="*/ 56 w 74"/>
                <a:gd name="T65" fmla="*/ 55 h 82"/>
                <a:gd name="T66" fmla="*/ 56 w 74"/>
                <a:gd name="T67" fmla="*/ 55 h 82"/>
                <a:gd name="T68" fmla="*/ 69 w 74"/>
                <a:gd name="T69" fmla="*/ 69 h 82"/>
                <a:gd name="T70" fmla="*/ 74 w 74"/>
                <a:gd name="T71" fmla="*/ 64 h 82"/>
                <a:gd name="T72" fmla="*/ 55 w 74"/>
                <a:gd name="T73" fmla="*/ 53 h 82"/>
                <a:gd name="T74" fmla="*/ 40 w 74"/>
                <a:gd name="T75" fmla="*/ 46 h 82"/>
                <a:gd name="T76" fmla="*/ 39 w 74"/>
                <a:gd name="T77" fmla="*/ 46 h 82"/>
                <a:gd name="T78" fmla="*/ 38 w 74"/>
                <a:gd name="T79" fmla="*/ 46 h 82"/>
                <a:gd name="T80" fmla="*/ 37 w 74"/>
                <a:gd name="T81" fmla="*/ 44 h 82"/>
                <a:gd name="T82" fmla="*/ 44 w 74"/>
                <a:gd name="T83" fmla="*/ 36 h 82"/>
                <a:gd name="T84" fmla="*/ 46 w 74"/>
                <a:gd name="T85" fmla="*/ 35 h 82"/>
                <a:gd name="T86" fmla="*/ 46 w 74"/>
                <a:gd name="T87" fmla="*/ 35 h 82"/>
                <a:gd name="T88" fmla="*/ 40 w 74"/>
                <a:gd name="T89" fmla="*/ 46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74" h="82">
                  <a:moveTo>
                    <a:pt x="55" y="53"/>
                  </a:moveTo>
                  <a:cubicBezTo>
                    <a:pt x="55" y="53"/>
                    <a:pt x="54" y="52"/>
                    <a:pt x="54" y="51"/>
                  </a:cubicBezTo>
                  <a:cubicBezTo>
                    <a:pt x="55" y="51"/>
                    <a:pt x="56" y="50"/>
                    <a:pt x="57" y="49"/>
                  </a:cubicBezTo>
                  <a:cubicBezTo>
                    <a:pt x="57" y="48"/>
                    <a:pt x="56" y="47"/>
                    <a:pt x="56" y="45"/>
                  </a:cubicBezTo>
                  <a:cubicBezTo>
                    <a:pt x="54" y="45"/>
                    <a:pt x="53" y="45"/>
                    <a:pt x="52" y="45"/>
                  </a:cubicBezTo>
                  <a:cubicBezTo>
                    <a:pt x="51" y="45"/>
                    <a:pt x="51" y="44"/>
                    <a:pt x="51" y="44"/>
                  </a:cubicBezTo>
                  <a:cubicBezTo>
                    <a:pt x="53" y="40"/>
                    <a:pt x="59" y="36"/>
                    <a:pt x="60" y="32"/>
                  </a:cubicBezTo>
                  <a:cubicBezTo>
                    <a:pt x="60" y="31"/>
                    <a:pt x="60" y="31"/>
                    <a:pt x="60" y="30"/>
                  </a:cubicBezTo>
                  <a:cubicBezTo>
                    <a:pt x="50" y="21"/>
                    <a:pt x="41" y="31"/>
                    <a:pt x="34" y="38"/>
                  </a:cubicBezTo>
                  <a:cubicBezTo>
                    <a:pt x="33" y="38"/>
                    <a:pt x="33" y="38"/>
                    <a:pt x="33" y="38"/>
                  </a:cubicBezTo>
                  <a:cubicBezTo>
                    <a:pt x="34" y="30"/>
                    <a:pt x="48" y="16"/>
                    <a:pt x="60" y="16"/>
                  </a:cubicBezTo>
                  <a:cubicBezTo>
                    <a:pt x="61" y="14"/>
                    <a:pt x="61" y="12"/>
                    <a:pt x="61" y="10"/>
                  </a:cubicBezTo>
                  <a:cubicBezTo>
                    <a:pt x="50" y="3"/>
                    <a:pt x="52" y="11"/>
                    <a:pt x="42" y="11"/>
                  </a:cubicBezTo>
                  <a:cubicBezTo>
                    <a:pt x="38" y="10"/>
                    <a:pt x="32" y="1"/>
                    <a:pt x="27" y="0"/>
                  </a:cubicBezTo>
                  <a:cubicBezTo>
                    <a:pt x="26" y="0"/>
                    <a:pt x="25" y="0"/>
                    <a:pt x="24" y="0"/>
                  </a:cubicBezTo>
                  <a:cubicBezTo>
                    <a:pt x="21" y="5"/>
                    <a:pt x="30" y="14"/>
                    <a:pt x="29" y="21"/>
                  </a:cubicBezTo>
                  <a:cubicBezTo>
                    <a:pt x="19" y="27"/>
                    <a:pt x="17" y="33"/>
                    <a:pt x="11" y="39"/>
                  </a:cubicBezTo>
                  <a:cubicBezTo>
                    <a:pt x="8" y="42"/>
                    <a:pt x="4" y="42"/>
                    <a:pt x="1" y="44"/>
                  </a:cubicBezTo>
                  <a:cubicBezTo>
                    <a:pt x="1" y="45"/>
                    <a:pt x="0" y="46"/>
                    <a:pt x="0" y="47"/>
                  </a:cubicBezTo>
                  <a:cubicBezTo>
                    <a:pt x="11" y="69"/>
                    <a:pt x="23" y="30"/>
                    <a:pt x="35" y="26"/>
                  </a:cubicBezTo>
                  <a:cubicBezTo>
                    <a:pt x="35" y="26"/>
                    <a:pt x="35" y="26"/>
                    <a:pt x="35" y="26"/>
                  </a:cubicBezTo>
                  <a:cubicBezTo>
                    <a:pt x="33" y="33"/>
                    <a:pt x="28" y="39"/>
                    <a:pt x="30" y="48"/>
                  </a:cubicBezTo>
                  <a:cubicBezTo>
                    <a:pt x="30" y="51"/>
                    <a:pt x="37" y="56"/>
                    <a:pt x="40" y="57"/>
                  </a:cubicBezTo>
                  <a:cubicBezTo>
                    <a:pt x="37" y="64"/>
                    <a:pt x="32" y="69"/>
                    <a:pt x="35" y="78"/>
                  </a:cubicBezTo>
                  <a:cubicBezTo>
                    <a:pt x="39" y="79"/>
                    <a:pt x="42" y="80"/>
                    <a:pt x="45" y="82"/>
                  </a:cubicBezTo>
                  <a:cubicBezTo>
                    <a:pt x="46" y="81"/>
                    <a:pt x="46" y="81"/>
                    <a:pt x="47" y="80"/>
                  </a:cubicBezTo>
                  <a:cubicBezTo>
                    <a:pt x="49" y="77"/>
                    <a:pt x="45" y="70"/>
                    <a:pt x="46" y="67"/>
                  </a:cubicBezTo>
                  <a:cubicBezTo>
                    <a:pt x="46" y="66"/>
                    <a:pt x="46" y="66"/>
                    <a:pt x="47" y="66"/>
                  </a:cubicBezTo>
                  <a:cubicBezTo>
                    <a:pt x="48" y="67"/>
                    <a:pt x="49" y="71"/>
                    <a:pt x="50" y="73"/>
                  </a:cubicBezTo>
                  <a:cubicBezTo>
                    <a:pt x="52" y="76"/>
                    <a:pt x="55" y="77"/>
                    <a:pt x="58" y="79"/>
                  </a:cubicBezTo>
                  <a:cubicBezTo>
                    <a:pt x="58" y="79"/>
                    <a:pt x="58" y="79"/>
                    <a:pt x="59" y="79"/>
                  </a:cubicBezTo>
                  <a:cubicBezTo>
                    <a:pt x="60" y="72"/>
                    <a:pt x="53" y="64"/>
                    <a:pt x="53" y="57"/>
                  </a:cubicBezTo>
                  <a:cubicBezTo>
                    <a:pt x="54" y="56"/>
                    <a:pt x="55" y="56"/>
                    <a:pt x="56" y="55"/>
                  </a:cubicBezTo>
                  <a:cubicBezTo>
                    <a:pt x="56" y="55"/>
                    <a:pt x="56" y="55"/>
                    <a:pt x="56" y="55"/>
                  </a:cubicBezTo>
                  <a:cubicBezTo>
                    <a:pt x="63" y="60"/>
                    <a:pt x="59" y="67"/>
                    <a:pt x="69" y="69"/>
                  </a:cubicBezTo>
                  <a:cubicBezTo>
                    <a:pt x="71" y="67"/>
                    <a:pt x="72" y="66"/>
                    <a:pt x="74" y="64"/>
                  </a:cubicBezTo>
                  <a:cubicBezTo>
                    <a:pt x="71" y="56"/>
                    <a:pt x="63" y="51"/>
                    <a:pt x="55" y="53"/>
                  </a:cubicBezTo>
                  <a:close/>
                  <a:moveTo>
                    <a:pt x="40" y="46"/>
                  </a:moveTo>
                  <a:cubicBezTo>
                    <a:pt x="40" y="46"/>
                    <a:pt x="39" y="46"/>
                    <a:pt x="39" y="46"/>
                  </a:cubicBezTo>
                  <a:cubicBezTo>
                    <a:pt x="38" y="46"/>
                    <a:pt x="38" y="46"/>
                    <a:pt x="38" y="46"/>
                  </a:cubicBezTo>
                  <a:cubicBezTo>
                    <a:pt x="38" y="45"/>
                    <a:pt x="37" y="45"/>
                    <a:pt x="37" y="44"/>
                  </a:cubicBezTo>
                  <a:cubicBezTo>
                    <a:pt x="39" y="41"/>
                    <a:pt x="42" y="39"/>
                    <a:pt x="44" y="36"/>
                  </a:cubicBezTo>
                  <a:cubicBezTo>
                    <a:pt x="45" y="36"/>
                    <a:pt x="45" y="35"/>
                    <a:pt x="46" y="35"/>
                  </a:cubicBezTo>
                  <a:cubicBezTo>
                    <a:pt x="46" y="35"/>
                    <a:pt x="46" y="35"/>
                    <a:pt x="46" y="35"/>
                  </a:cubicBezTo>
                  <a:cubicBezTo>
                    <a:pt x="44" y="39"/>
                    <a:pt x="42" y="42"/>
                    <a:pt x="40" y="4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19" name="ïşḻíḍe"/>
            <p:cNvSpPr/>
            <p:nvPr/>
          </p:nvSpPr>
          <p:spPr bwMode="auto">
            <a:xfrm>
              <a:off x="1882672" y="4669428"/>
              <a:ext cx="160338" cy="169863"/>
            </a:xfrm>
            <a:custGeom>
              <a:avLst/>
              <a:gdLst>
                <a:gd name="T0" fmla="*/ 29 w 87"/>
                <a:gd name="T1" fmla="*/ 8 h 92"/>
                <a:gd name="T2" fmla="*/ 52 w 87"/>
                <a:gd name="T3" fmla="*/ 17 h 92"/>
                <a:gd name="T4" fmla="*/ 61 w 87"/>
                <a:gd name="T5" fmla="*/ 16 h 92"/>
                <a:gd name="T6" fmla="*/ 62 w 87"/>
                <a:gd name="T7" fmla="*/ 17 h 92"/>
                <a:gd name="T8" fmla="*/ 69 w 87"/>
                <a:gd name="T9" fmla="*/ 42 h 92"/>
                <a:gd name="T10" fmla="*/ 86 w 87"/>
                <a:gd name="T11" fmla="*/ 35 h 92"/>
                <a:gd name="T12" fmla="*/ 87 w 87"/>
                <a:gd name="T13" fmla="*/ 39 h 92"/>
                <a:gd name="T14" fmla="*/ 76 w 87"/>
                <a:gd name="T15" fmla="*/ 55 h 92"/>
                <a:gd name="T16" fmla="*/ 67 w 87"/>
                <a:gd name="T17" fmla="*/ 76 h 92"/>
                <a:gd name="T18" fmla="*/ 65 w 87"/>
                <a:gd name="T19" fmla="*/ 74 h 92"/>
                <a:gd name="T20" fmla="*/ 69 w 87"/>
                <a:gd name="T21" fmla="*/ 53 h 92"/>
                <a:gd name="T22" fmla="*/ 55 w 87"/>
                <a:gd name="T23" fmla="*/ 40 h 92"/>
                <a:gd name="T24" fmla="*/ 45 w 87"/>
                <a:gd name="T25" fmla="*/ 44 h 92"/>
                <a:gd name="T26" fmla="*/ 46 w 87"/>
                <a:gd name="T27" fmla="*/ 89 h 92"/>
                <a:gd name="T28" fmla="*/ 38 w 87"/>
                <a:gd name="T29" fmla="*/ 92 h 92"/>
                <a:gd name="T30" fmla="*/ 27 w 87"/>
                <a:gd name="T31" fmla="*/ 68 h 92"/>
                <a:gd name="T32" fmla="*/ 14 w 87"/>
                <a:gd name="T33" fmla="*/ 70 h 92"/>
                <a:gd name="T34" fmla="*/ 12 w 87"/>
                <a:gd name="T35" fmla="*/ 65 h 92"/>
                <a:gd name="T36" fmla="*/ 18 w 87"/>
                <a:gd name="T37" fmla="*/ 58 h 92"/>
                <a:gd name="T38" fmla="*/ 0 w 87"/>
                <a:gd name="T39" fmla="*/ 42 h 92"/>
                <a:gd name="T40" fmla="*/ 0 w 87"/>
                <a:gd name="T41" fmla="*/ 42 h 92"/>
                <a:gd name="T42" fmla="*/ 21 w 87"/>
                <a:gd name="T43" fmla="*/ 39 h 92"/>
                <a:gd name="T44" fmla="*/ 27 w 87"/>
                <a:gd name="T45" fmla="*/ 48 h 92"/>
                <a:gd name="T46" fmla="*/ 34 w 87"/>
                <a:gd name="T47" fmla="*/ 52 h 92"/>
                <a:gd name="T48" fmla="*/ 36 w 87"/>
                <a:gd name="T49" fmla="*/ 62 h 92"/>
                <a:gd name="T50" fmla="*/ 39 w 87"/>
                <a:gd name="T51" fmla="*/ 44 h 92"/>
                <a:gd name="T52" fmla="*/ 46 w 87"/>
                <a:gd name="T53" fmla="*/ 28 h 92"/>
                <a:gd name="T54" fmla="*/ 29 w 87"/>
                <a:gd name="T55" fmla="*/ 8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87" h="92">
                  <a:moveTo>
                    <a:pt x="29" y="8"/>
                  </a:moveTo>
                  <a:cubicBezTo>
                    <a:pt x="42" y="0"/>
                    <a:pt x="43" y="12"/>
                    <a:pt x="52" y="17"/>
                  </a:cubicBezTo>
                  <a:cubicBezTo>
                    <a:pt x="55" y="15"/>
                    <a:pt x="58" y="15"/>
                    <a:pt x="61" y="16"/>
                  </a:cubicBezTo>
                  <a:cubicBezTo>
                    <a:pt x="61" y="16"/>
                    <a:pt x="62" y="17"/>
                    <a:pt x="62" y="17"/>
                  </a:cubicBezTo>
                  <a:cubicBezTo>
                    <a:pt x="62" y="26"/>
                    <a:pt x="58" y="33"/>
                    <a:pt x="69" y="42"/>
                  </a:cubicBezTo>
                  <a:cubicBezTo>
                    <a:pt x="75" y="35"/>
                    <a:pt x="80" y="33"/>
                    <a:pt x="86" y="35"/>
                  </a:cubicBezTo>
                  <a:cubicBezTo>
                    <a:pt x="87" y="36"/>
                    <a:pt x="87" y="38"/>
                    <a:pt x="87" y="39"/>
                  </a:cubicBezTo>
                  <a:cubicBezTo>
                    <a:pt x="83" y="45"/>
                    <a:pt x="80" y="50"/>
                    <a:pt x="76" y="55"/>
                  </a:cubicBezTo>
                  <a:cubicBezTo>
                    <a:pt x="71" y="62"/>
                    <a:pt x="71" y="70"/>
                    <a:pt x="67" y="76"/>
                  </a:cubicBezTo>
                  <a:cubicBezTo>
                    <a:pt x="66" y="75"/>
                    <a:pt x="66" y="75"/>
                    <a:pt x="65" y="74"/>
                  </a:cubicBezTo>
                  <a:cubicBezTo>
                    <a:pt x="63" y="66"/>
                    <a:pt x="67" y="60"/>
                    <a:pt x="69" y="53"/>
                  </a:cubicBezTo>
                  <a:cubicBezTo>
                    <a:pt x="64" y="51"/>
                    <a:pt x="60" y="46"/>
                    <a:pt x="55" y="40"/>
                  </a:cubicBezTo>
                  <a:cubicBezTo>
                    <a:pt x="52" y="42"/>
                    <a:pt x="49" y="41"/>
                    <a:pt x="45" y="44"/>
                  </a:cubicBezTo>
                  <a:cubicBezTo>
                    <a:pt x="40" y="59"/>
                    <a:pt x="48" y="75"/>
                    <a:pt x="46" y="89"/>
                  </a:cubicBezTo>
                  <a:cubicBezTo>
                    <a:pt x="43" y="92"/>
                    <a:pt x="41" y="91"/>
                    <a:pt x="38" y="92"/>
                  </a:cubicBezTo>
                  <a:cubicBezTo>
                    <a:pt x="31" y="83"/>
                    <a:pt x="33" y="76"/>
                    <a:pt x="27" y="68"/>
                  </a:cubicBezTo>
                  <a:cubicBezTo>
                    <a:pt x="23" y="71"/>
                    <a:pt x="18" y="71"/>
                    <a:pt x="14" y="70"/>
                  </a:cubicBezTo>
                  <a:cubicBezTo>
                    <a:pt x="12" y="68"/>
                    <a:pt x="12" y="67"/>
                    <a:pt x="12" y="65"/>
                  </a:cubicBezTo>
                  <a:cubicBezTo>
                    <a:pt x="14" y="63"/>
                    <a:pt x="16" y="60"/>
                    <a:pt x="18" y="58"/>
                  </a:cubicBezTo>
                  <a:cubicBezTo>
                    <a:pt x="13" y="49"/>
                    <a:pt x="3" y="48"/>
                    <a:pt x="0" y="42"/>
                  </a:cubicBezTo>
                  <a:cubicBezTo>
                    <a:pt x="0" y="42"/>
                    <a:pt x="0" y="42"/>
                    <a:pt x="0" y="42"/>
                  </a:cubicBezTo>
                  <a:cubicBezTo>
                    <a:pt x="6" y="39"/>
                    <a:pt x="15" y="35"/>
                    <a:pt x="21" y="39"/>
                  </a:cubicBezTo>
                  <a:cubicBezTo>
                    <a:pt x="23" y="42"/>
                    <a:pt x="25" y="45"/>
                    <a:pt x="27" y="48"/>
                  </a:cubicBezTo>
                  <a:cubicBezTo>
                    <a:pt x="29" y="50"/>
                    <a:pt x="31" y="51"/>
                    <a:pt x="34" y="52"/>
                  </a:cubicBezTo>
                  <a:cubicBezTo>
                    <a:pt x="34" y="55"/>
                    <a:pt x="35" y="58"/>
                    <a:pt x="36" y="62"/>
                  </a:cubicBezTo>
                  <a:cubicBezTo>
                    <a:pt x="39" y="56"/>
                    <a:pt x="38" y="50"/>
                    <a:pt x="39" y="44"/>
                  </a:cubicBezTo>
                  <a:cubicBezTo>
                    <a:pt x="42" y="39"/>
                    <a:pt x="44" y="34"/>
                    <a:pt x="46" y="28"/>
                  </a:cubicBezTo>
                  <a:cubicBezTo>
                    <a:pt x="42" y="22"/>
                    <a:pt x="31" y="15"/>
                    <a:pt x="29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20" name="íṩľíḑè"/>
            <p:cNvSpPr/>
            <p:nvPr/>
          </p:nvSpPr>
          <p:spPr bwMode="auto">
            <a:xfrm>
              <a:off x="2243034" y="6066428"/>
              <a:ext cx="22225" cy="25400"/>
            </a:xfrm>
            <a:custGeom>
              <a:avLst/>
              <a:gdLst>
                <a:gd name="T0" fmla="*/ 0 w 14"/>
                <a:gd name="T1" fmla="*/ 12 h 16"/>
                <a:gd name="T2" fmla="*/ 2 w 14"/>
                <a:gd name="T3" fmla="*/ 0 h 16"/>
                <a:gd name="T4" fmla="*/ 14 w 14"/>
                <a:gd name="T5" fmla="*/ 4 h 16"/>
                <a:gd name="T6" fmla="*/ 11 w 14"/>
                <a:gd name="T7" fmla="*/ 16 h 16"/>
                <a:gd name="T8" fmla="*/ 0 w 14"/>
                <a:gd name="T9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" h="16">
                  <a:moveTo>
                    <a:pt x="0" y="12"/>
                  </a:moveTo>
                  <a:lnTo>
                    <a:pt x="2" y="0"/>
                  </a:lnTo>
                  <a:lnTo>
                    <a:pt x="14" y="4"/>
                  </a:lnTo>
                  <a:lnTo>
                    <a:pt x="11" y="16"/>
                  </a:lnTo>
                  <a:lnTo>
                    <a:pt x="0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21" name="îṣḷïḓê"/>
            <p:cNvSpPr/>
            <p:nvPr/>
          </p:nvSpPr>
          <p:spPr bwMode="auto">
            <a:xfrm>
              <a:off x="2292247" y="6042615"/>
              <a:ext cx="49213" cy="100013"/>
            </a:xfrm>
            <a:custGeom>
              <a:avLst/>
              <a:gdLst>
                <a:gd name="T0" fmla="*/ 17 w 27"/>
                <a:gd name="T1" fmla="*/ 54 h 54"/>
                <a:gd name="T2" fmla="*/ 7 w 27"/>
                <a:gd name="T3" fmla="*/ 52 h 54"/>
                <a:gd name="T4" fmla="*/ 14 w 27"/>
                <a:gd name="T5" fmla="*/ 15 h 54"/>
                <a:gd name="T6" fmla="*/ 0 w 27"/>
                <a:gd name="T7" fmla="*/ 20 h 54"/>
                <a:gd name="T8" fmla="*/ 1 w 27"/>
                <a:gd name="T9" fmla="*/ 11 h 54"/>
                <a:gd name="T10" fmla="*/ 11 w 27"/>
                <a:gd name="T11" fmla="*/ 7 h 54"/>
                <a:gd name="T12" fmla="*/ 18 w 27"/>
                <a:gd name="T13" fmla="*/ 0 h 54"/>
                <a:gd name="T14" fmla="*/ 27 w 27"/>
                <a:gd name="T15" fmla="*/ 2 h 54"/>
                <a:gd name="T16" fmla="*/ 17 w 27"/>
                <a:gd name="T17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7" h="54">
                  <a:moveTo>
                    <a:pt x="17" y="54"/>
                  </a:moveTo>
                  <a:cubicBezTo>
                    <a:pt x="7" y="52"/>
                    <a:pt x="7" y="52"/>
                    <a:pt x="7" y="52"/>
                  </a:cubicBezTo>
                  <a:cubicBezTo>
                    <a:pt x="14" y="15"/>
                    <a:pt x="14" y="15"/>
                    <a:pt x="14" y="15"/>
                  </a:cubicBezTo>
                  <a:cubicBezTo>
                    <a:pt x="10" y="17"/>
                    <a:pt x="5" y="19"/>
                    <a:pt x="0" y="20"/>
                  </a:cubicBezTo>
                  <a:cubicBezTo>
                    <a:pt x="1" y="11"/>
                    <a:pt x="1" y="11"/>
                    <a:pt x="1" y="11"/>
                  </a:cubicBezTo>
                  <a:cubicBezTo>
                    <a:pt x="4" y="10"/>
                    <a:pt x="7" y="9"/>
                    <a:pt x="11" y="7"/>
                  </a:cubicBezTo>
                  <a:cubicBezTo>
                    <a:pt x="14" y="6"/>
                    <a:pt x="17" y="3"/>
                    <a:pt x="18" y="0"/>
                  </a:cubicBezTo>
                  <a:cubicBezTo>
                    <a:pt x="27" y="2"/>
                    <a:pt x="27" y="2"/>
                    <a:pt x="27" y="2"/>
                  </a:cubicBezTo>
                  <a:lnTo>
                    <a:pt x="17" y="5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22" name="i$ḻîḓé"/>
            <p:cNvSpPr/>
            <p:nvPr/>
          </p:nvSpPr>
          <p:spPr bwMode="auto">
            <a:xfrm>
              <a:off x="2363684" y="6052140"/>
              <a:ext cx="66675" cy="100013"/>
            </a:xfrm>
            <a:custGeom>
              <a:avLst/>
              <a:gdLst>
                <a:gd name="T0" fmla="*/ 0 w 36"/>
                <a:gd name="T1" fmla="*/ 40 h 54"/>
                <a:gd name="T2" fmla="*/ 10 w 36"/>
                <a:gd name="T3" fmla="*/ 39 h 54"/>
                <a:gd name="T4" fmla="*/ 11 w 36"/>
                <a:gd name="T5" fmla="*/ 44 h 54"/>
                <a:gd name="T6" fmla="*/ 15 w 36"/>
                <a:gd name="T7" fmla="*/ 46 h 54"/>
                <a:gd name="T8" fmla="*/ 21 w 36"/>
                <a:gd name="T9" fmla="*/ 43 h 54"/>
                <a:gd name="T10" fmla="*/ 24 w 36"/>
                <a:gd name="T11" fmla="*/ 31 h 54"/>
                <a:gd name="T12" fmla="*/ 15 w 36"/>
                <a:gd name="T13" fmla="*/ 35 h 54"/>
                <a:gd name="T14" fmla="*/ 4 w 36"/>
                <a:gd name="T15" fmla="*/ 30 h 54"/>
                <a:gd name="T16" fmla="*/ 0 w 36"/>
                <a:gd name="T17" fmla="*/ 17 h 54"/>
                <a:gd name="T18" fmla="*/ 6 w 36"/>
                <a:gd name="T19" fmla="*/ 4 h 54"/>
                <a:gd name="T20" fmla="*/ 19 w 36"/>
                <a:gd name="T21" fmla="*/ 0 h 54"/>
                <a:gd name="T22" fmla="*/ 31 w 36"/>
                <a:gd name="T23" fmla="*/ 7 h 54"/>
                <a:gd name="T24" fmla="*/ 35 w 36"/>
                <a:gd name="T25" fmla="*/ 28 h 54"/>
                <a:gd name="T26" fmla="*/ 28 w 36"/>
                <a:gd name="T27" fmla="*/ 49 h 54"/>
                <a:gd name="T28" fmla="*/ 14 w 36"/>
                <a:gd name="T29" fmla="*/ 54 h 54"/>
                <a:gd name="T30" fmla="*/ 4 w 36"/>
                <a:gd name="T31" fmla="*/ 50 h 54"/>
                <a:gd name="T32" fmla="*/ 0 w 36"/>
                <a:gd name="T33" fmla="*/ 40 h 54"/>
                <a:gd name="T34" fmla="*/ 24 w 36"/>
                <a:gd name="T35" fmla="*/ 19 h 54"/>
                <a:gd name="T36" fmla="*/ 23 w 36"/>
                <a:gd name="T37" fmla="*/ 11 h 54"/>
                <a:gd name="T38" fmla="*/ 18 w 36"/>
                <a:gd name="T39" fmla="*/ 8 h 54"/>
                <a:gd name="T40" fmla="*/ 13 w 36"/>
                <a:gd name="T41" fmla="*/ 10 h 54"/>
                <a:gd name="T42" fmla="*/ 10 w 36"/>
                <a:gd name="T43" fmla="*/ 17 h 54"/>
                <a:gd name="T44" fmla="*/ 12 w 36"/>
                <a:gd name="T45" fmla="*/ 25 h 54"/>
                <a:gd name="T46" fmla="*/ 17 w 36"/>
                <a:gd name="T47" fmla="*/ 28 h 54"/>
                <a:gd name="T48" fmla="*/ 22 w 36"/>
                <a:gd name="T49" fmla="*/ 26 h 54"/>
                <a:gd name="T50" fmla="*/ 24 w 36"/>
                <a:gd name="T51" fmla="*/ 19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36" h="54">
                  <a:moveTo>
                    <a:pt x="0" y="40"/>
                  </a:moveTo>
                  <a:cubicBezTo>
                    <a:pt x="10" y="39"/>
                    <a:pt x="10" y="39"/>
                    <a:pt x="10" y="39"/>
                  </a:cubicBezTo>
                  <a:cubicBezTo>
                    <a:pt x="10" y="41"/>
                    <a:pt x="10" y="43"/>
                    <a:pt x="11" y="44"/>
                  </a:cubicBezTo>
                  <a:cubicBezTo>
                    <a:pt x="12" y="45"/>
                    <a:pt x="14" y="46"/>
                    <a:pt x="15" y="46"/>
                  </a:cubicBezTo>
                  <a:cubicBezTo>
                    <a:pt x="17" y="46"/>
                    <a:pt x="19" y="45"/>
                    <a:pt x="21" y="43"/>
                  </a:cubicBezTo>
                  <a:cubicBezTo>
                    <a:pt x="22" y="41"/>
                    <a:pt x="24" y="37"/>
                    <a:pt x="24" y="31"/>
                  </a:cubicBezTo>
                  <a:cubicBezTo>
                    <a:pt x="22" y="34"/>
                    <a:pt x="18" y="35"/>
                    <a:pt x="15" y="35"/>
                  </a:cubicBezTo>
                  <a:cubicBezTo>
                    <a:pt x="10" y="35"/>
                    <a:pt x="7" y="33"/>
                    <a:pt x="4" y="30"/>
                  </a:cubicBezTo>
                  <a:cubicBezTo>
                    <a:pt x="1" y="26"/>
                    <a:pt x="0" y="22"/>
                    <a:pt x="0" y="17"/>
                  </a:cubicBezTo>
                  <a:cubicBezTo>
                    <a:pt x="1" y="11"/>
                    <a:pt x="3" y="7"/>
                    <a:pt x="6" y="4"/>
                  </a:cubicBezTo>
                  <a:cubicBezTo>
                    <a:pt x="10" y="1"/>
                    <a:pt x="14" y="0"/>
                    <a:pt x="19" y="0"/>
                  </a:cubicBezTo>
                  <a:cubicBezTo>
                    <a:pt x="24" y="0"/>
                    <a:pt x="28" y="3"/>
                    <a:pt x="31" y="7"/>
                  </a:cubicBezTo>
                  <a:cubicBezTo>
                    <a:pt x="35" y="12"/>
                    <a:pt x="36" y="19"/>
                    <a:pt x="35" y="28"/>
                  </a:cubicBezTo>
                  <a:cubicBezTo>
                    <a:pt x="34" y="38"/>
                    <a:pt x="32" y="44"/>
                    <a:pt x="28" y="49"/>
                  </a:cubicBezTo>
                  <a:cubicBezTo>
                    <a:pt x="24" y="53"/>
                    <a:pt x="20" y="54"/>
                    <a:pt x="14" y="54"/>
                  </a:cubicBezTo>
                  <a:cubicBezTo>
                    <a:pt x="10" y="54"/>
                    <a:pt x="7" y="52"/>
                    <a:pt x="4" y="50"/>
                  </a:cubicBezTo>
                  <a:cubicBezTo>
                    <a:pt x="2" y="48"/>
                    <a:pt x="0" y="44"/>
                    <a:pt x="0" y="40"/>
                  </a:cubicBezTo>
                  <a:close/>
                  <a:moveTo>
                    <a:pt x="24" y="19"/>
                  </a:moveTo>
                  <a:cubicBezTo>
                    <a:pt x="25" y="16"/>
                    <a:pt x="24" y="13"/>
                    <a:pt x="23" y="11"/>
                  </a:cubicBezTo>
                  <a:cubicBezTo>
                    <a:pt x="21" y="10"/>
                    <a:pt x="20" y="9"/>
                    <a:pt x="18" y="8"/>
                  </a:cubicBezTo>
                  <a:cubicBezTo>
                    <a:pt x="16" y="8"/>
                    <a:pt x="14" y="9"/>
                    <a:pt x="13" y="10"/>
                  </a:cubicBezTo>
                  <a:cubicBezTo>
                    <a:pt x="11" y="12"/>
                    <a:pt x="11" y="14"/>
                    <a:pt x="10" y="17"/>
                  </a:cubicBezTo>
                  <a:cubicBezTo>
                    <a:pt x="10" y="21"/>
                    <a:pt x="11" y="23"/>
                    <a:pt x="12" y="25"/>
                  </a:cubicBezTo>
                  <a:cubicBezTo>
                    <a:pt x="13" y="27"/>
                    <a:pt x="15" y="28"/>
                    <a:pt x="17" y="28"/>
                  </a:cubicBezTo>
                  <a:cubicBezTo>
                    <a:pt x="19" y="28"/>
                    <a:pt x="20" y="27"/>
                    <a:pt x="22" y="26"/>
                  </a:cubicBezTo>
                  <a:cubicBezTo>
                    <a:pt x="23" y="24"/>
                    <a:pt x="24" y="22"/>
                    <a:pt x="24" y="1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23" name="îṧľîḋé"/>
            <p:cNvSpPr/>
            <p:nvPr/>
          </p:nvSpPr>
          <p:spPr bwMode="auto">
            <a:xfrm>
              <a:off x="2446234" y="6053728"/>
              <a:ext cx="66675" cy="100013"/>
            </a:xfrm>
            <a:custGeom>
              <a:avLst/>
              <a:gdLst>
                <a:gd name="T0" fmla="*/ 0 w 36"/>
                <a:gd name="T1" fmla="*/ 40 h 54"/>
                <a:gd name="T2" fmla="*/ 10 w 36"/>
                <a:gd name="T3" fmla="*/ 39 h 54"/>
                <a:gd name="T4" fmla="*/ 13 w 36"/>
                <a:gd name="T5" fmla="*/ 44 h 54"/>
                <a:gd name="T6" fmla="*/ 18 w 36"/>
                <a:gd name="T7" fmla="*/ 46 h 54"/>
                <a:gd name="T8" fmla="*/ 23 w 36"/>
                <a:gd name="T9" fmla="*/ 43 h 54"/>
                <a:gd name="T10" fmla="*/ 25 w 36"/>
                <a:gd name="T11" fmla="*/ 35 h 54"/>
                <a:gd name="T12" fmla="*/ 23 w 36"/>
                <a:gd name="T13" fmla="*/ 28 h 54"/>
                <a:gd name="T14" fmla="*/ 17 w 36"/>
                <a:gd name="T15" fmla="*/ 26 h 54"/>
                <a:gd name="T16" fmla="*/ 9 w 36"/>
                <a:gd name="T17" fmla="*/ 30 h 54"/>
                <a:gd name="T18" fmla="*/ 1 w 36"/>
                <a:gd name="T19" fmla="*/ 29 h 54"/>
                <a:gd name="T20" fmla="*/ 5 w 36"/>
                <a:gd name="T21" fmla="*/ 1 h 54"/>
                <a:gd name="T22" fmla="*/ 32 w 36"/>
                <a:gd name="T23" fmla="*/ 0 h 54"/>
                <a:gd name="T24" fmla="*/ 32 w 36"/>
                <a:gd name="T25" fmla="*/ 10 h 54"/>
                <a:gd name="T26" fmla="*/ 13 w 36"/>
                <a:gd name="T27" fmla="*/ 10 h 54"/>
                <a:gd name="T28" fmla="*/ 12 w 36"/>
                <a:gd name="T29" fmla="*/ 19 h 54"/>
                <a:gd name="T30" fmla="*/ 19 w 36"/>
                <a:gd name="T31" fmla="*/ 17 h 54"/>
                <a:gd name="T32" fmla="*/ 30 w 36"/>
                <a:gd name="T33" fmla="*/ 22 h 54"/>
                <a:gd name="T34" fmla="*/ 36 w 36"/>
                <a:gd name="T35" fmla="*/ 34 h 54"/>
                <a:gd name="T36" fmla="*/ 32 w 36"/>
                <a:gd name="T37" fmla="*/ 46 h 54"/>
                <a:gd name="T38" fmla="*/ 18 w 36"/>
                <a:gd name="T39" fmla="*/ 54 h 54"/>
                <a:gd name="T40" fmla="*/ 6 w 36"/>
                <a:gd name="T41" fmla="*/ 50 h 54"/>
                <a:gd name="T42" fmla="*/ 0 w 36"/>
                <a:gd name="T43" fmla="*/ 40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36" h="54">
                  <a:moveTo>
                    <a:pt x="0" y="40"/>
                  </a:moveTo>
                  <a:cubicBezTo>
                    <a:pt x="10" y="39"/>
                    <a:pt x="10" y="39"/>
                    <a:pt x="10" y="39"/>
                  </a:cubicBezTo>
                  <a:cubicBezTo>
                    <a:pt x="11" y="41"/>
                    <a:pt x="11" y="43"/>
                    <a:pt x="13" y="44"/>
                  </a:cubicBezTo>
                  <a:cubicBezTo>
                    <a:pt x="14" y="45"/>
                    <a:pt x="16" y="46"/>
                    <a:pt x="18" y="46"/>
                  </a:cubicBezTo>
                  <a:cubicBezTo>
                    <a:pt x="20" y="46"/>
                    <a:pt x="22" y="45"/>
                    <a:pt x="23" y="43"/>
                  </a:cubicBezTo>
                  <a:cubicBezTo>
                    <a:pt x="25" y="41"/>
                    <a:pt x="25" y="38"/>
                    <a:pt x="25" y="35"/>
                  </a:cubicBezTo>
                  <a:cubicBezTo>
                    <a:pt x="25" y="32"/>
                    <a:pt x="24" y="29"/>
                    <a:pt x="23" y="28"/>
                  </a:cubicBezTo>
                  <a:cubicBezTo>
                    <a:pt x="21" y="26"/>
                    <a:pt x="19" y="25"/>
                    <a:pt x="17" y="26"/>
                  </a:cubicBezTo>
                  <a:cubicBezTo>
                    <a:pt x="14" y="26"/>
                    <a:pt x="11" y="27"/>
                    <a:pt x="9" y="30"/>
                  </a:cubicBezTo>
                  <a:cubicBezTo>
                    <a:pt x="1" y="29"/>
                    <a:pt x="1" y="29"/>
                    <a:pt x="1" y="29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2" y="10"/>
                    <a:pt x="32" y="10"/>
                    <a:pt x="32" y="10"/>
                  </a:cubicBezTo>
                  <a:cubicBezTo>
                    <a:pt x="13" y="10"/>
                    <a:pt x="13" y="10"/>
                    <a:pt x="13" y="10"/>
                  </a:cubicBezTo>
                  <a:cubicBezTo>
                    <a:pt x="12" y="19"/>
                    <a:pt x="12" y="19"/>
                    <a:pt x="12" y="19"/>
                  </a:cubicBezTo>
                  <a:cubicBezTo>
                    <a:pt x="14" y="18"/>
                    <a:pt x="16" y="17"/>
                    <a:pt x="19" y="17"/>
                  </a:cubicBezTo>
                  <a:cubicBezTo>
                    <a:pt x="23" y="17"/>
                    <a:pt x="27" y="19"/>
                    <a:pt x="30" y="22"/>
                  </a:cubicBezTo>
                  <a:cubicBezTo>
                    <a:pt x="34" y="25"/>
                    <a:pt x="35" y="29"/>
                    <a:pt x="36" y="34"/>
                  </a:cubicBezTo>
                  <a:cubicBezTo>
                    <a:pt x="36" y="39"/>
                    <a:pt x="35" y="43"/>
                    <a:pt x="32" y="46"/>
                  </a:cubicBezTo>
                  <a:cubicBezTo>
                    <a:pt x="29" y="51"/>
                    <a:pt x="24" y="54"/>
                    <a:pt x="18" y="54"/>
                  </a:cubicBezTo>
                  <a:cubicBezTo>
                    <a:pt x="13" y="54"/>
                    <a:pt x="9" y="53"/>
                    <a:pt x="6" y="50"/>
                  </a:cubicBezTo>
                  <a:cubicBezTo>
                    <a:pt x="3" y="48"/>
                    <a:pt x="1" y="44"/>
                    <a:pt x="0" y="4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24" name="i$ḻïḑê"/>
            <p:cNvSpPr/>
            <p:nvPr/>
          </p:nvSpPr>
          <p:spPr bwMode="auto">
            <a:xfrm>
              <a:off x="2522434" y="6045790"/>
              <a:ext cx="74613" cy="103188"/>
            </a:xfrm>
            <a:custGeom>
              <a:avLst/>
              <a:gdLst>
                <a:gd name="T0" fmla="*/ 39 w 40"/>
                <a:gd name="T1" fmla="*/ 42 h 56"/>
                <a:gd name="T2" fmla="*/ 40 w 40"/>
                <a:gd name="T3" fmla="*/ 51 h 56"/>
                <a:gd name="T4" fmla="*/ 5 w 40"/>
                <a:gd name="T5" fmla="*/ 56 h 56"/>
                <a:gd name="T6" fmla="*/ 7 w 40"/>
                <a:gd name="T7" fmla="*/ 46 h 56"/>
                <a:gd name="T8" fmla="*/ 16 w 40"/>
                <a:gd name="T9" fmla="*/ 32 h 56"/>
                <a:gd name="T10" fmla="*/ 23 w 40"/>
                <a:gd name="T11" fmla="*/ 22 h 56"/>
                <a:gd name="T12" fmla="*/ 24 w 40"/>
                <a:gd name="T13" fmla="*/ 15 h 56"/>
                <a:gd name="T14" fmla="*/ 22 w 40"/>
                <a:gd name="T15" fmla="*/ 10 h 56"/>
                <a:gd name="T16" fmla="*/ 17 w 40"/>
                <a:gd name="T17" fmla="*/ 9 h 56"/>
                <a:gd name="T18" fmla="*/ 12 w 40"/>
                <a:gd name="T19" fmla="*/ 12 h 56"/>
                <a:gd name="T20" fmla="*/ 11 w 40"/>
                <a:gd name="T21" fmla="*/ 19 h 56"/>
                <a:gd name="T22" fmla="*/ 1 w 40"/>
                <a:gd name="T23" fmla="*/ 19 h 56"/>
                <a:gd name="T24" fmla="*/ 4 w 40"/>
                <a:gd name="T25" fmla="*/ 6 h 56"/>
                <a:gd name="T26" fmla="*/ 16 w 40"/>
                <a:gd name="T27" fmla="*/ 1 h 56"/>
                <a:gd name="T28" fmla="*/ 28 w 40"/>
                <a:gd name="T29" fmla="*/ 3 h 56"/>
                <a:gd name="T30" fmla="*/ 34 w 40"/>
                <a:gd name="T31" fmla="*/ 13 h 56"/>
                <a:gd name="T32" fmla="*/ 34 w 40"/>
                <a:gd name="T33" fmla="*/ 20 h 56"/>
                <a:gd name="T34" fmla="*/ 31 w 40"/>
                <a:gd name="T35" fmla="*/ 27 h 56"/>
                <a:gd name="T36" fmla="*/ 26 w 40"/>
                <a:gd name="T37" fmla="*/ 35 h 56"/>
                <a:gd name="T38" fmla="*/ 20 w 40"/>
                <a:gd name="T39" fmla="*/ 42 h 56"/>
                <a:gd name="T40" fmla="*/ 19 w 40"/>
                <a:gd name="T41" fmla="*/ 45 h 56"/>
                <a:gd name="T42" fmla="*/ 39 w 40"/>
                <a:gd name="T43" fmla="*/ 42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40" h="56">
                  <a:moveTo>
                    <a:pt x="39" y="42"/>
                  </a:moveTo>
                  <a:cubicBezTo>
                    <a:pt x="40" y="51"/>
                    <a:pt x="40" y="51"/>
                    <a:pt x="40" y="51"/>
                  </a:cubicBezTo>
                  <a:cubicBezTo>
                    <a:pt x="5" y="56"/>
                    <a:pt x="5" y="56"/>
                    <a:pt x="5" y="56"/>
                  </a:cubicBezTo>
                  <a:cubicBezTo>
                    <a:pt x="5" y="53"/>
                    <a:pt x="5" y="49"/>
                    <a:pt x="7" y="46"/>
                  </a:cubicBezTo>
                  <a:cubicBezTo>
                    <a:pt x="8" y="42"/>
                    <a:pt x="11" y="38"/>
                    <a:pt x="16" y="32"/>
                  </a:cubicBezTo>
                  <a:cubicBezTo>
                    <a:pt x="20" y="27"/>
                    <a:pt x="22" y="23"/>
                    <a:pt x="23" y="22"/>
                  </a:cubicBezTo>
                  <a:cubicBezTo>
                    <a:pt x="24" y="19"/>
                    <a:pt x="25" y="17"/>
                    <a:pt x="24" y="15"/>
                  </a:cubicBezTo>
                  <a:cubicBezTo>
                    <a:pt x="24" y="13"/>
                    <a:pt x="23" y="11"/>
                    <a:pt x="22" y="10"/>
                  </a:cubicBezTo>
                  <a:cubicBezTo>
                    <a:pt x="21" y="9"/>
                    <a:pt x="19" y="9"/>
                    <a:pt x="17" y="9"/>
                  </a:cubicBezTo>
                  <a:cubicBezTo>
                    <a:pt x="15" y="10"/>
                    <a:pt x="13" y="11"/>
                    <a:pt x="12" y="12"/>
                  </a:cubicBezTo>
                  <a:cubicBezTo>
                    <a:pt x="11" y="13"/>
                    <a:pt x="10" y="16"/>
                    <a:pt x="11" y="19"/>
                  </a:cubicBezTo>
                  <a:cubicBezTo>
                    <a:pt x="1" y="19"/>
                    <a:pt x="1" y="19"/>
                    <a:pt x="1" y="19"/>
                  </a:cubicBezTo>
                  <a:cubicBezTo>
                    <a:pt x="0" y="13"/>
                    <a:pt x="2" y="9"/>
                    <a:pt x="4" y="6"/>
                  </a:cubicBezTo>
                  <a:cubicBezTo>
                    <a:pt x="7" y="3"/>
                    <a:pt x="11" y="2"/>
                    <a:pt x="16" y="1"/>
                  </a:cubicBezTo>
                  <a:cubicBezTo>
                    <a:pt x="21" y="0"/>
                    <a:pt x="25" y="1"/>
                    <a:pt x="28" y="3"/>
                  </a:cubicBezTo>
                  <a:cubicBezTo>
                    <a:pt x="32" y="6"/>
                    <a:pt x="34" y="9"/>
                    <a:pt x="34" y="13"/>
                  </a:cubicBezTo>
                  <a:cubicBezTo>
                    <a:pt x="35" y="15"/>
                    <a:pt x="35" y="18"/>
                    <a:pt x="34" y="20"/>
                  </a:cubicBezTo>
                  <a:cubicBezTo>
                    <a:pt x="34" y="22"/>
                    <a:pt x="33" y="25"/>
                    <a:pt x="31" y="27"/>
                  </a:cubicBezTo>
                  <a:cubicBezTo>
                    <a:pt x="30" y="29"/>
                    <a:pt x="28" y="32"/>
                    <a:pt x="26" y="35"/>
                  </a:cubicBezTo>
                  <a:cubicBezTo>
                    <a:pt x="23" y="38"/>
                    <a:pt x="21" y="41"/>
                    <a:pt x="20" y="42"/>
                  </a:cubicBezTo>
                  <a:cubicBezTo>
                    <a:pt x="20" y="43"/>
                    <a:pt x="19" y="44"/>
                    <a:pt x="19" y="45"/>
                  </a:cubicBezTo>
                  <a:lnTo>
                    <a:pt x="39" y="4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25" name="íṧlíḍe"/>
            <p:cNvSpPr/>
            <p:nvPr/>
          </p:nvSpPr>
          <p:spPr bwMode="auto">
            <a:xfrm>
              <a:off x="2611334" y="6072778"/>
              <a:ext cx="22225" cy="23813"/>
            </a:xfrm>
            <a:custGeom>
              <a:avLst/>
              <a:gdLst>
                <a:gd name="T0" fmla="*/ 3 w 14"/>
                <a:gd name="T1" fmla="*/ 15 h 15"/>
                <a:gd name="T2" fmla="*/ 0 w 14"/>
                <a:gd name="T3" fmla="*/ 3 h 15"/>
                <a:gd name="T4" fmla="*/ 11 w 14"/>
                <a:gd name="T5" fmla="*/ 0 h 15"/>
                <a:gd name="T6" fmla="*/ 14 w 14"/>
                <a:gd name="T7" fmla="*/ 12 h 15"/>
                <a:gd name="T8" fmla="*/ 3 w 14"/>
                <a:gd name="T9" fmla="*/ 15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" h="15">
                  <a:moveTo>
                    <a:pt x="3" y="15"/>
                  </a:moveTo>
                  <a:lnTo>
                    <a:pt x="0" y="3"/>
                  </a:lnTo>
                  <a:lnTo>
                    <a:pt x="11" y="0"/>
                  </a:lnTo>
                  <a:lnTo>
                    <a:pt x="14" y="12"/>
                  </a:lnTo>
                  <a:lnTo>
                    <a:pt x="3" y="1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26" name="îŝľîḓê"/>
            <p:cNvSpPr/>
            <p:nvPr/>
          </p:nvSpPr>
          <p:spPr bwMode="auto">
            <a:xfrm>
              <a:off x="2108097" y="5261565"/>
              <a:ext cx="141288" cy="257175"/>
            </a:xfrm>
            <a:custGeom>
              <a:avLst/>
              <a:gdLst>
                <a:gd name="T0" fmla="*/ 12 w 77"/>
                <a:gd name="T1" fmla="*/ 25 h 139"/>
                <a:gd name="T2" fmla="*/ 9 w 77"/>
                <a:gd name="T3" fmla="*/ 21 h 139"/>
                <a:gd name="T4" fmla="*/ 12 w 77"/>
                <a:gd name="T5" fmla="*/ 17 h 139"/>
                <a:gd name="T6" fmla="*/ 39 w 77"/>
                <a:gd name="T7" fmla="*/ 21 h 139"/>
                <a:gd name="T8" fmla="*/ 46 w 77"/>
                <a:gd name="T9" fmla="*/ 36 h 139"/>
                <a:gd name="T10" fmla="*/ 46 w 77"/>
                <a:gd name="T11" fmla="*/ 39 h 139"/>
                <a:gd name="T12" fmla="*/ 61 w 77"/>
                <a:gd name="T13" fmla="*/ 33 h 139"/>
                <a:gd name="T14" fmla="*/ 57 w 77"/>
                <a:gd name="T15" fmla="*/ 16 h 139"/>
                <a:gd name="T16" fmla="*/ 35 w 77"/>
                <a:gd name="T17" fmla="*/ 9 h 139"/>
                <a:gd name="T18" fmla="*/ 27 w 77"/>
                <a:gd name="T19" fmla="*/ 3 h 139"/>
                <a:gd name="T20" fmla="*/ 32 w 77"/>
                <a:gd name="T21" fmla="*/ 0 h 139"/>
                <a:gd name="T22" fmla="*/ 61 w 77"/>
                <a:gd name="T23" fmla="*/ 9 h 139"/>
                <a:gd name="T24" fmla="*/ 72 w 77"/>
                <a:gd name="T25" fmla="*/ 30 h 139"/>
                <a:gd name="T26" fmla="*/ 48 w 77"/>
                <a:gd name="T27" fmla="*/ 45 h 139"/>
                <a:gd name="T28" fmla="*/ 45 w 77"/>
                <a:gd name="T29" fmla="*/ 46 h 139"/>
                <a:gd name="T30" fmla="*/ 45 w 77"/>
                <a:gd name="T31" fmla="*/ 54 h 139"/>
                <a:gd name="T32" fmla="*/ 59 w 77"/>
                <a:gd name="T33" fmla="*/ 61 h 139"/>
                <a:gd name="T34" fmla="*/ 77 w 77"/>
                <a:gd name="T35" fmla="*/ 80 h 139"/>
                <a:gd name="T36" fmla="*/ 75 w 77"/>
                <a:gd name="T37" fmla="*/ 84 h 139"/>
                <a:gd name="T38" fmla="*/ 71 w 77"/>
                <a:gd name="T39" fmla="*/ 83 h 139"/>
                <a:gd name="T40" fmla="*/ 59 w 77"/>
                <a:gd name="T41" fmla="*/ 70 h 139"/>
                <a:gd name="T42" fmla="*/ 45 w 77"/>
                <a:gd name="T43" fmla="*/ 63 h 139"/>
                <a:gd name="T44" fmla="*/ 45 w 77"/>
                <a:gd name="T45" fmla="*/ 77 h 139"/>
                <a:gd name="T46" fmla="*/ 53 w 77"/>
                <a:gd name="T47" fmla="*/ 83 h 139"/>
                <a:gd name="T48" fmla="*/ 66 w 77"/>
                <a:gd name="T49" fmla="*/ 102 h 139"/>
                <a:gd name="T50" fmla="*/ 72 w 77"/>
                <a:gd name="T51" fmla="*/ 121 h 139"/>
                <a:gd name="T52" fmla="*/ 70 w 77"/>
                <a:gd name="T53" fmla="*/ 124 h 139"/>
                <a:gd name="T54" fmla="*/ 67 w 77"/>
                <a:gd name="T55" fmla="*/ 122 h 139"/>
                <a:gd name="T56" fmla="*/ 64 w 77"/>
                <a:gd name="T57" fmla="*/ 115 h 139"/>
                <a:gd name="T58" fmla="*/ 55 w 77"/>
                <a:gd name="T59" fmla="*/ 97 h 139"/>
                <a:gd name="T60" fmla="*/ 45 w 77"/>
                <a:gd name="T61" fmla="*/ 87 h 139"/>
                <a:gd name="T62" fmla="*/ 45 w 77"/>
                <a:gd name="T63" fmla="*/ 102 h 139"/>
                <a:gd name="T64" fmla="*/ 44 w 77"/>
                <a:gd name="T65" fmla="*/ 136 h 139"/>
                <a:gd name="T66" fmla="*/ 41 w 77"/>
                <a:gd name="T67" fmla="*/ 139 h 139"/>
                <a:gd name="T68" fmla="*/ 38 w 77"/>
                <a:gd name="T69" fmla="*/ 137 h 139"/>
                <a:gd name="T70" fmla="*/ 37 w 77"/>
                <a:gd name="T71" fmla="*/ 103 h 139"/>
                <a:gd name="T72" fmla="*/ 37 w 77"/>
                <a:gd name="T73" fmla="*/ 86 h 139"/>
                <a:gd name="T74" fmla="*/ 28 w 77"/>
                <a:gd name="T75" fmla="*/ 92 h 139"/>
                <a:gd name="T76" fmla="*/ 19 w 77"/>
                <a:gd name="T77" fmla="*/ 109 h 139"/>
                <a:gd name="T78" fmla="*/ 12 w 77"/>
                <a:gd name="T79" fmla="*/ 121 h 139"/>
                <a:gd name="T80" fmla="*/ 8 w 77"/>
                <a:gd name="T81" fmla="*/ 122 h 139"/>
                <a:gd name="T82" fmla="*/ 7 w 77"/>
                <a:gd name="T83" fmla="*/ 120 h 139"/>
                <a:gd name="T84" fmla="*/ 8 w 77"/>
                <a:gd name="T85" fmla="*/ 117 h 139"/>
                <a:gd name="T86" fmla="*/ 11 w 77"/>
                <a:gd name="T87" fmla="*/ 106 h 139"/>
                <a:gd name="T88" fmla="*/ 22 w 77"/>
                <a:gd name="T89" fmla="*/ 86 h 139"/>
                <a:gd name="T90" fmla="*/ 37 w 77"/>
                <a:gd name="T91" fmla="*/ 76 h 139"/>
                <a:gd name="T92" fmla="*/ 37 w 77"/>
                <a:gd name="T93" fmla="*/ 68 h 139"/>
                <a:gd name="T94" fmla="*/ 37 w 77"/>
                <a:gd name="T95" fmla="*/ 63 h 139"/>
                <a:gd name="T96" fmla="*/ 24 w 77"/>
                <a:gd name="T97" fmla="*/ 69 h 139"/>
                <a:gd name="T98" fmla="*/ 16 w 77"/>
                <a:gd name="T99" fmla="*/ 77 h 139"/>
                <a:gd name="T100" fmla="*/ 9 w 77"/>
                <a:gd name="T101" fmla="*/ 85 h 139"/>
                <a:gd name="T102" fmla="*/ 6 w 77"/>
                <a:gd name="T103" fmla="*/ 86 h 139"/>
                <a:gd name="T104" fmla="*/ 5 w 77"/>
                <a:gd name="T105" fmla="*/ 82 h 139"/>
                <a:gd name="T106" fmla="*/ 22 w 77"/>
                <a:gd name="T107" fmla="*/ 60 h 139"/>
                <a:gd name="T108" fmla="*/ 37 w 77"/>
                <a:gd name="T109" fmla="*/ 54 h 139"/>
                <a:gd name="T110" fmla="*/ 37 w 77"/>
                <a:gd name="T111" fmla="*/ 47 h 139"/>
                <a:gd name="T112" fmla="*/ 3 w 77"/>
                <a:gd name="T113" fmla="*/ 45 h 139"/>
                <a:gd name="T114" fmla="*/ 0 w 77"/>
                <a:gd name="T115" fmla="*/ 40 h 139"/>
                <a:gd name="T116" fmla="*/ 5 w 77"/>
                <a:gd name="T117" fmla="*/ 38 h 139"/>
                <a:gd name="T118" fmla="*/ 37 w 77"/>
                <a:gd name="T119" fmla="*/ 39 h 139"/>
                <a:gd name="T120" fmla="*/ 37 w 77"/>
                <a:gd name="T121" fmla="*/ 39 h 139"/>
                <a:gd name="T122" fmla="*/ 33 w 77"/>
                <a:gd name="T123" fmla="*/ 28 h 139"/>
                <a:gd name="T124" fmla="*/ 12 w 77"/>
                <a:gd name="T125" fmla="*/ 25 h 1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77" h="139">
                  <a:moveTo>
                    <a:pt x="12" y="25"/>
                  </a:moveTo>
                  <a:cubicBezTo>
                    <a:pt x="10" y="25"/>
                    <a:pt x="9" y="24"/>
                    <a:pt x="9" y="21"/>
                  </a:cubicBezTo>
                  <a:cubicBezTo>
                    <a:pt x="9" y="18"/>
                    <a:pt x="10" y="17"/>
                    <a:pt x="12" y="17"/>
                  </a:cubicBezTo>
                  <a:cubicBezTo>
                    <a:pt x="24" y="17"/>
                    <a:pt x="33" y="18"/>
                    <a:pt x="39" y="21"/>
                  </a:cubicBezTo>
                  <a:cubicBezTo>
                    <a:pt x="45" y="24"/>
                    <a:pt x="47" y="28"/>
                    <a:pt x="46" y="36"/>
                  </a:cubicBezTo>
                  <a:cubicBezTo>
                    <a:pt x="46" y="37"/>
                    <a:pt x="46" y="38"/>
                    <a:pt x="46" y="39"/>
                  </a:cubicBezTo>
                  <a:cubicBezTo>
                    <a:pt x="53" y="38"/>
                    <a:pt x="58" y="35"/>
                    <a:pt x="61" y="33"/>
                  </a:cubicBezTo>
                  <a:cubicBezTo>
                    <a:pt x="65" y="27"/>
                    <a:pt x="64" y="22"/>
                    <a:pt x="57" y="16"/>
                  </a:cubicBezTo>
                  <a:cubicBezTo>
                    <a:pt x="52" y="12"/>
                    <a:pt x="44" y="9"/>
                    <a:pt x="35" y="9"/>
                  </a:cubicBezTo>
                  <a:cubicBezTo>
                    <a:pt x="30" y="8"/>
                    <a:pt x="28" y="6"/>
                    <a:pt x="27" y="3"/>
                  </a:cubicBezTo>
                  <a:cubicBezTo>
                    <a:pt x="27" y="1"/>
                    <a:pt x="29" y="0"/>
                    <a:pt x="32" y="0"/>
                  </a:cubicBezTo>
                  <a:cubicBezTo>
                    <a:pt x="44" y="0"/>
                    <a:pt x="53" y="3"/>
                    <a:pt x="61" y="9"/>
                  </a:cubicBezTo>
                  <a:cubicBezTo>
                    <a:pt x="69" y="16"/>
                    <a:pt x="73" y="23"/>
                    <a:pt x="72" y="30"/>
                  </a:cubicBezTo>
                  <a:cubicBezTo>
                    <a:pt x="68" y="37"/>
                    <a:pt x="60" y="43"/>
                    <a:pt x="48" y="45"/>
                  </a:cubicBezTo>
                  <a:cubicBezTo>
                    <a:pt x="47" y="46"/>
                    <a:pt x="46" y="46"/>
                    <a:pt x="45" y="46"/>
                  </a:cubicBezTo>
                  <a:cubicBezTo>
                    <a:pt x="45" y="48"/>
                    <a:pt x="45" y="51"/>
                    <a:pt x="45" y="54"/>
                  </a:cubicBezTo>
                  <a:cubicBezTo>
                    <a:pt x="49" y="54"/>
                    <a:pt x="54" y="57"/>
                    <a:pt x="59" y="61"/>
                  </a:cubicBezTo>
                  <a:cubicBezTo>
                    <a:pt x="66" y="66"/>
                    <a:pt x="72" y="72"/>
                    <a:pt x="77" y="80"/>
                  </a:cubicBezTo>
                  <a:cubicBezTo>
                    <a:pt x="77" y="82"/>
                    <a:pt x="77" y="83"/>
                    <a:pt x="75" y="84"/>
                  </a:cubicBezTo>
                  <a:cubicBezTo>
                    <a:pt x="74" y="85"/>
                    <a:pt x="72" y="85"/>
                    <a:pt x="71" y="83"/>
                  </a:cubicBezTo>
                  <a:cubicBezTo>
                    <a:pt x="69" y="80"/>
                    <a:pt x="65" y="76"/>
                    <a:pt x="59" y="70"/>
                  </a:cubicBezTo>
                  <a:cubicBezTo>
                    <a:pt x="54" y="66"/>
                    <a:pt x="49" y="64"/>
                    <a:pt x="45" y="63"/>
                  </a:cubicBezTo>
                  <a:cubicBezTo>
                    <a:pt x="45" y="77"/>
                    <a:pt x="45" y="77"/>
                    <a:pt x="45" y="77"/>
                  </a:cubicBezTo>
                  <a:cubicBezTo>
                    <a:pt x="48" y="78"/>
                    <a:pt x="51" y="80"/>
                    <a:pt x="53" y="83"/>
                  </a:cubicBezTo>
                  <a:cubicBezTo>
                    <a:pt x="59" y="88"/>
                    <a:pt x="63" y="94"/>
                    <a:pt x="66" y="102"/>
                  </a:cubicBezTo>
                  <a:cubicBezTo>
                    <a:pt x="71" y="109"/>
                    <a:pt x="73" y="116"/>
                    <a:pt x="72" y="121"/>
                  </a:cubicBezTo>
                  <a:cubicBezTo>
                    <a:pt x="72" y="122"/>
                    <a:pt x="72" y="123"/>
                    <a:pt x="70" y="124"/>
                  </a:cubicBezTo>
                  <a:cubicBezTo>
                    <a:pt x="69" y="124"/>
                    <a:pt x="68" y="124"/>
                    <a:pt x="67" y="122"/>
                  </a:cubicBezTo>
                  <a:cubicBezTo>
                    <a:pt x="67" y="121"/>
                    <a:pt x="66" y="118"/>
                    <a:pt x="64" y="115"/>
                  </a:cubicBezTo>
                  <a:cubicBezTo>
                    <a:pt x="60" y="107"/>
                    <a:pt x="57" y="102"/>
                    <a:pt x="55" y="97"/>
                  </a:cubicBezTo>
                  <a:cubicBezTo>
                    <a:pt x="51" y="91"/>
                    <a:pt x="48" y="88"/>
                    <a:pt x="45" y="87"/>
                  </a:cubicBezTo>
                  <a:cubicBezTo>
                    <a:pt x="45" y="102"/>
                    <a:pt x="45" y="102"/>
                    <a:pt x="45" y="102"/>
                  </a:cubicBezTo>
                  <a:cubicBezTo>
                    <a:pt x="45" y="117"/>
                    <a:pt x="45" y="128"/>
                    <a:pt x="44" y="136"/>
                  </a:cubicBezTo>
                  <a:cubicBezTo>
                    <a:pt x="43" y="137"/>
                    <a:pt x="42" y="138"/>
                    <a:pt x="41" y="139"/>
                  </a:cubicBezTo>
                  <a:cubicBezTo>
                    <a:pt x="40" y="139"/>
                    <a:pt x="39" y="139"/>
                    <a:pt x="38" y="137"/>
                  </a:cubicBezTo>
                  <a:cubicBezTo>
                    <a:pt x="37" y="135"/>
                    <a:pt x="37" y="123"/>
                    <a:pt x="37" y="103"/>
                  </a:cubicBezTo>
                  <a:cubicBezTo>
                    <a:pt x="37" y="97"/>
                    <a:pt x="37" y="92"/>
                    <a:pt x="37" y="86"/>
                  </a:cubicBezTo>
                  <a:cubicBezTo>
                    <a:pt x="34" y="87"/>
                    <a:pt x="31" y="89"/>
                    <a:pt x="28" y="92"/>
                  </a:cubicBezTo>
                  <a:cubicBezTo>
                    <a:pt x="24" y="98"/>
                    <a:pt x="21" y="103"/>
                    <a:pt x="19" y="109"/>
                  </a:cubicBezTo>
                  <a:cubicBezTo>
                    <a:pt x="17" y="113"/>
                    <a:pt x="15" y="117"/>
                    <a:pt x="12" y="121"/>
                  </a:cubicBezTo>
                  <a:cubicBezTo>
                    <a:pt x="11" y="122"/>
                    <a:pt x="9" y="122"/>
                    <a:pt x="8" y="122"/>
                  </a:cubicBezTo>
                  <a:cubicBezTo>
                    <a:pt x="7" y="122"/>
                    <a:pt x="7" y="121"/>
                    <a:pt x="7" y="120"/>
                  </a:cubicBezTo>
                  <a:cubicBezTo>
                    <a:pt x="7" y="119"/>
                    <a:pt x="7" y="118"/>
                    <a:pt x="8" y="117"/>
                  </a:cubicBezTo>
                  <a:cubicBezTo>
                    <a:pt x="9" y="112"/>
                    <a:pt x="10" y="108"/>
                    <a:pt x="11" y="106"/>
                  </a:cubicBezTo>
                  <a:cubicBezTo>
                    <a:pt x="13" y="101"/>
                    <a:pt x="17" y="94"/>
                    <a:pt x="22" y="86"/>
                  </a:cubicBezTo>
                  <a:cubicBezTo>
                    <a:pt x="27" y="80"/>
                    <a:pt x="32" y="77"/>
                    <a:pt x="37" y="76"/>
                  </a:cubicBezTo>
                  <a:cubicBezTo>
                    <a:pt x="37" y="68"/>
                    <a:pt x="37" y="68"/>
                    <a:pt x="37" y="68"/>
                  </a:cubicBezTo>
                  <a:cubicBezTo>
                    <a:pt x="37" y="63"/>
                    <a:pt x="37" y="63"/>
                    <a:pt x="37" y="63"/>
                  </a:cubicBezTo>
                  <a:cubicBezTo>
                    <a:pt x="33" y="64"/>
                    <a:pt x="29" y="66"/>
                    <a:pt x="24" y="69"/>
                  </a:cubicBezTo>
                  <a:cubicBezTo>
                    <a:pt x="23" y="70"/>
                    <a:pt x="20" y="72"/>
                    <a:pt x="16" y="77"/>
                  </a:cubicBezTo>
                  <a:cubicBezTo>
                    <a:pt x="13" y="81"/>
                    <a:pt x="11" y="83"/>
                    <a:pt x="9" y="85"/>
                  </a:cubicBezTo>
                  <a:cubicBezTo>
                    <a:pt x="8" y="86"/>
                    <a:pt x="7" y="87"/>
                    <a:pt x="6" y="86"/>
                  </a:cubicBezTo>
                  <a:cubicBezTo>
                    <a:pt x="5" y="86"/>
                    <a:pt x="5" y="84"/>
                    <a:pt x="5" y="82"/>
                  </a:cubicBezTo>
                  <a:cubicBezTo>
                    <a:pt x="10" y="73"/>
                    <a:pt x="15" y="65"/>
                    <a:pt x="22" y="60"/>
                  </a:cubicBezTo>
                  <a:cubicBezTo>
                    <a:pt x="27" y="56"/>
                    <a:pt x="32" y="54"/>
                    <a:pt x="37" y="54"/>
                  </a:cubicBezTo>
                  <a:cubicBezTo>
                    <a:pt x="37" y="47"/>
                    <a:pt x="37" y="47"/>
                    <a:pt x="37" y="47"/>
                  </a:cubicBezTo>
                  <a:cubicBezTo>
                    <a:pt x="22" y="49"/>
                    <a:pt x="10" y="48"/>
                    <a:pt x="3" y="45"/>
                  </a:cubicBezTo>
                  <a:cubicBezTo>
                    <a:pt x="1" y="44"/>
                    <a:pt x="0" y="42"/>
                    <a:pt x="0" y="40"/>
                  </a:cubicBezTo>
                  <a:cubicBezTo>
                    <a:pt x="1" y="38"/>
                    <a:pt x="3" y="38"/>
                    <a:pt x="5" y="38"/>
                  </a:cubicBezTo>
                  <a:cubicBezTo>
                    <a:pt x="12" y="40"/>
                    <a:pt x="22" y="40"/>
                    <a:pt x="37" y="39"/>
                  </a:cubicBezTo>
                  <a:cubicBezTo>
                    <a:pt x="37" y="39"/>
                    <a:pt x="37" y="39"/>
                    <a:pt x="37" y="39"/>
                  </a:cubicBezTo>
                  <a:cubicBezTo>
                    <a:pt x="38" y="32"/>
                    <a:pt x="36" y="29"/>
                    <a:pt x="33" y="28"/>
                  </a:cubicBezTo>
                  <a:cubicBezTo>
                    <a:pt x="26" y="25"/>
                    <a:pt x="19" y="24"/>
                    <a:pt x="12" y="2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27" name="íṣlíḑe"/>
            <p:cNvSpPr/>
            <p:nvPr/>
          </p:nvSpPr>
          <p:spPr bwMode="auto">
            <a:xfrm>
              <a:off x="2273197" y="5255215"/>
              <a:ext cx="163513" cy="263525"/>
            </a:xfrm>
            <a:custGeom>
              <a:avLst/>
              <a:gdLst>
                <a:gd name="T0" fmla="*/ 47 w 88"/>
                <a:gd name="T1" fmla="*/ 8 h 143"/>
                <a:gd name="T2" fmla="*/ 74 w 88"/>
                <a:gd name="T3" fmla="*/ 14 h 143"/>
                <a:gd name="T4" fmla="*/ 82 w 88"/>
                <a:gd name="T5" fmla="*/ 26 h 143"/>
                <a:gd name="T6" fmla="*/ 79 w 88"/>
                <a:gd name="T7" fmla="*/ 75 h 143"/>
                <a:gd name="T8" fmla="*/ 86 w 88"/>
                <a:gd name="T9" fmla="*/ 136 h 143"/>
                <a:gd name="T10" fmla="*/ 73 w 88"/>
                <a:gd name="T11" fmla="*/ 45 h 143"/>
                <a:gd name="T12" fmla="*/ 67 w 88"/>
                <a:gd name="T13" fmla="*/ 44 h 143"/>
                <a:gd name="T14" fmla="*/ 54 w 88"/>
                <a:gd name="T15" fmla="*/ 58 h 143"/>
                <a:gd name="T16" fmla="*/ 22 w 88"/>
                <a:gd name="T17" fmla="*/ 54 h 143"/>
                <a:gd name="T18" fmla="*/ 15 w 88"/>
                <a:gd name="T19" fmla="*/ 45 h 143"/>
                <a:gd name="T20" fmla="*/ 11 w 88"/>
                <a:gd name="T21" fmla="*/ 91 h 143"/>
                <a:gd name="T22" fmla="*/ 9 w 88"/>
                <a:gd name="T23" fmla="*/ 118 h 143"/>
                <a:gd name="T24" fmla="*/ 2 w 88"/>
                <a:gd name="T25" fmla="*/ 139 h 143"/>
                <a:gd name="T26" fmla="*/ 6 w 88"/>
                <a:gd name="T27" fmla="*/ 80 h 143"/>
                <a:gd name="T28" fmla="*/ 2 w 88"/>
                <a:gd name="T29" fmla="*/ 26 h 143"/>
                <a:gd name="T30" fmla="*/ 32 w 88"/>
                <a:gd name="T31" fmla="*/ 10 h 143"/>
                <a:gd name="T32" fmla="*/ 39 w 88"/>
                <a:gd name="T33" fmla="*/ 0 h 143"/>
                <a:gd name="T34" fmla="*/ 24 w 88"/>
                <a:gd name="T35" fmla="*/ 23 h 143"/>
                <a:gd name="T36" fmla="*/ 66 w 88"/>
                <a:gd name="T37" fmla="*/ 29 h 143"/>
                <a:gd name="T38" fmla="*/ 67 w 88"/>
                <a:gd name="T39" fmla="*/ 37 h 143"/>
                <a:gd name="T40" fmla="*/ 73 w 88"/>
                <a:gd name="T41" fmla="*/ 34 h 143"/>
                <a:gd name="T42" fmla="*/ 66 w 88"/>
                <a:gd name="T43" fmla="*/ 20 h 143"/>
                <a:gd name="T44" fmla="*/ 13 w 88"/>
                <a:gd name="T45" fmla="*/ 21 h 143"/>
                <a:gd name="T46" fmla="*/ 12 w 88"/>
                <a:gd name="T47" fmla="*/ 32 h 143"/>
                <a:gd name="T48" fmla="*/ 17 w 88"/>
                <a:gd name="T49" fmla="*/ 38 h 143"/>
                <a:gd name="T50" fmla="*/ 24 w 88"/>
                <a:gd name="T51" fmla="*/ 23 h 143"/>
                <a:gd name="T52" fmla="*/ 61 w 88"/>
                <a:gd name="T53" fmla="*/ 64 h 143"/>
                <a:gd name="T54" fmla="*/ 66 w 88"/>
                <a:gd name="T55" fmla="*/ 96 h 143"/>
                <a:gd name="T56" fmla="*/ 61 w 88"/>
                <a:gd name="T57" fmla="*/ 136 h 143"/>
                <a:gd name="T58" fmla="*/ 59 w 88"/>
                <a:gd name="T59" fmla="*/ 143 h 143"/>
                <a:gd name="T60" fmla="*/ 46 w 88"/>
                <a:gd name="T61" fmla="*/ 105 h 143"/>
                <a:gd name="T62" fmla="*/ 30 w 88"/>
                <a:gd name="T63" fmla="*/ 140 h 143"/>
                <a:gd name="T64" fmla="*/ 26 w 88"/>
                <a:gd name="T65" fmla="*/ 137 h 143"/>
                <a:gd name="T66" fmla="*/ 32 w 88"/>
                <a:gd name="T67" fmla="*/ 121 h 143"/>
                <a:gd name="T68" fmla="*/ 35 w 88"/>
                <a:gd name="T69" fmla="*/ 105 h 143"/>
                <a:gd name="T70" fmla="*/ 18 w 88"/>
                <a:gd name="T71" fmla="*/ 75 h 143"/>
                <a:gd name="T72" fmla="*/ 24 w 88"/>
                <a:gd name="T73" fmla="*/ 35 h 143"/>
                <a:gd name="T74" fmla="*/ 39 w 88"/>
                <a:gd name="T75" fmla="*/ 37 h 143"/>
                <a:gd name="T76" fmla="*/ 34 w 88"/>
                <a:gd name="T77" fmla="*/ 29 h 143"/>
                <a:gd name="T78" fmla="*/ 24 w 88"/>
                <a:gd name="T79" fmla="*/ 35 h 143"/>
                <a:gd name="T80" fmla="*/ 62 w 88"/>
                <a:gd name="T81" fmla="*/ 84 h 143"/>
                <a:gd name="T82" fmla="*/ 43 w 88"/>
                <a:gd name="T83" fmla="*/ 81 h 143"/>
                <a:gd name="T84" fmla="*/ 25 w 88"/>
                <a:gd name="T85" fmla="*/ 87 h 143"/>
                <a:gd name="T86" fmla="*/ 26 w 88"/>
                <a:gd name="T87" fmla="*/ 48 h 143"/>
                <a:gd name="T88" fmla="*/ 38 w 88"/>
                <a:gd name="T89" fmla="*/ 52 h 143"/>
                <a:gd name="T90" fmla="*/ 25 w 88"/>
                <a:gd name="T91" fmla="*/ 44 h 143"/>
                <a:gd name="T92" fmla="*/ 32 w 88"/>
                <a:gd name="T93" fmla="*/ 69 h 143"/>
                <a:gd name="T94" fmla="*/ 41 w 88"/>
                <a:gd name="T95" fmla="*/ 75 h 143"/>
                <a:gd name="T96" fmla="*/ 57 w 88"/>
                <a:gd name="T97" fmla="*/ 70 h 143"/>
                <a:gd name="T98" fmla="*/ 56 w 88"/>
                <a:gd name="T99" fmla="*/ 98 h 143"/>
                <a:gd name="T100" fmla="*/ 54 w 88"/>
                <a:gd name="T101" fmla="*/ 93 h 143"/>
                <a:gd name="T102" fmla="*/ 36 w 88"/>
                <a:gd name="T103" fmla="*/ 93 h 143"/>
                <a:gd name="T104" fmla="*/ 32 w 88"/>
                <a:gd name="T105" fmla="*/ 98 h 143"/>
                <a:gd name="T106" fmla="*/ 56 w 88"/>
                <a:gd name="T107" fmla="*/ 29 h 143"/>
                <a:gd name="T108" fmla="*/ 46 w 88"/>
                <a:gd name="T109" fmla="*/ 29 h 143"/>
                <a:gd name="T110" fmla="*/ 60 w 88"/>
                <a:gd name="T111" fmla="*/ 37 h 143"/>
                <a:gd name="T112" fmla="*/ 56 w 88"/>
                <a:gd name="T113" fmla="*/ 29 h 143"/>
                <a:gd name="T114" fmla="*/ 60 w 88"/>
                <a:gd name="T115" fmla="*/ 43 h 143"/>
                <a:gd name="T116" fmla="*/ 46 w 88"/>
                <a:gd name="T117" fmla="*/ 52 h 143"/>
                <a:gd name="T118" fmla="*/ 59 w 88"/>
                <a:gd name="T119" fmla="*/ 48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88" h="143">
                  <a:moveTo>
                    <a:pt x="43" y="2"/>
                  </a:moveTo>
                  <a:cubicBezTo>
                    <a:pt x="45" y="3"/>
                    <a:pt x="47" y="6"/>
                    <a:pt x="47" y="8"/>
                  </a:cubicBezTo>
                  <a:cubicBezTo>
                    <a:pt x="47" y="9"/>
                    <a:pt x="48" y="10"/>
                    <a:pt x="49" y="10"/>
                  </a:cubicBezTo>
                  <a:cubicBezTo>
                    <a:pt x="57" y="10"/>
                    <a:pt x="66" y="12"/>
                    <a:pt x="74" y="14"/>
                  </a:cubicBezTo>
                  <a:cubicBezTo>
                    <a:pt x="78" y="16"/>
                    <a:pt x="81" y="18"/>
                    <a:pt x="81" y="19"/>
                  </a:cubicBezTo>
                  <a:cubicBezTo>
                    <a:pt x="82" y="21"/>
                    <a:pt x="82" y="24"/>
                    <a:pt x="82" y="26"/>
                  </a:cubicBezTo>
                  <a:cubicBezTo>
                    <a:pt x="82" y="27"/>
                    <a:pt x="82" y="27"/>
                    <a:pt x="82" y="28"/>
                  </a:cubicBezTo>
                  <a:cubicBezTo>
                    <a:pt x="79" y="39"/>
                    <a:pt x="78" y="55"/>
                    <a:pt x="79" y="75"/>
                  </a:cubicBezTo>
                  <a:cubicBezTo>
                    <a:pt x="80" y="87"/>
                    <a:pt x="83" y="106"/>
                    <a:pt x="87" y="131"/>
                  </a:cubicBezTo>
                  <a:cubicBezTo>
                    <a:pt x="88" y="134"/>
                    <a:pt x="87" y="135"/>
                    <a:pt x="86" y="136"/>
                  </a:cubicBezTo>
                  <a:cubicBezTo>
                    <a:pt x="84" y="137"/>
                    <a:pt x="82" y="136"/>
                    <a:pt x="82" y="133"/>
                  </a:cubicBezTo>
                  <a:cubicBezTo>
                    <a:pt x="74" y="106"/>
                    <a:pt x="71" y="76"/>
                    <a:pt x="73" y="45"/>
                  </a:cubicBezTo>
                  <a:cubicBezTo>
                    <a:pt x="72" y="45"/>
                    <a:pt x="71" y="44"/>
                    <a:pt x="70" y="44"/>
                  </a:cubicBezTo>
                  <a:cubicBezTo>
                    <a:pt x="69" y="44"/>
                    <a:pt x="68" y="44"/>
                    <a:pt x="67" y="44"/>
                  </a:cubicBezTo>
                  <a:cubicBezTo>
                    <a:pt x="67" y="48"/>
                    <a:pt x="66" y="51"/>
                    <a:pt x="64" y="54"/>
                  </a:cubicBezTo>
                  <a:cubicBezTo>
                    <a:pt x="62" y="57"/>
                    <a:pt x="59" y="59"/>
                    <a:pt x="54" y="58"/>
                  </a:cubicBezTo>
                  <a:cubicBezTo>
                    <a:pt x="47" y="58"/>
                    <a:pt x="39" y="58"/>
                    <a:pt x="32" y="58"/>
                  </a:cubicBezTo>
                  <a:cubicBezTo>
                    <a:pt x="28" y="59"/>
                    <a:pt x="25" y="58"/>
                    <a:pt x="22" y="54"/>
                  </a:cubicBezTo>
                  <a:cubicBezTo>
                    <a:pt x="20" y="51"/>
                    <a:pt x="19" y="48"/>
                    <a:pt x="18" y="45"/>
                  </a:cubicBezTo>
                  <a:cubicBezTo>
                    <a:pt x="17" y="45"/>
                    <a:pt x="16" y="45"/>
                    <a:pt x="15" y="45"/>
                  </a:cubicBezTo>
                  <a:cubicBezTo>
                    <a:pt x="14" y="45"/>
                    <a:pt x="13" y="45"/>
                    <a:pt x="13" y="45"/>
                  </a:cubicBezTo>
                  <a:cubicBezTo>
                    <a:pt x="13" y="60"/>
                    <a:pt x="13" y="75"/>
                    <a:pt x="11" y="91"/>
                  </a:cubicBezTo>
                  <a:cubicBezTo>
                    <a:pt x="11" y="95"/>
                    <a:pt x="11" y="102"/>
                    <a:pt x="10" y="111"/>
                  </a:cubicBezTo>
                  <a:cubicBezTo>
                    <a:pt x="10" y="108"/>
                    <a:pt x="10" y="111"/>
                    <a:pt x="9" y="118"/>
                  </a:cubicBezTo>
                  <a:cubicBezTo>
                    <a:pt x="9" y="124"/>
                    <a:pt x="8" y="130"/>
                    <a:pt x="6" y="134"/>
                  </a:cubicBezTo>
                  <a:cubicBezTo>
                    <a:pt x="5" y="138"/>
                    <a:pt x="3" y="139"/>
                    <a:pt x="2" y="139"/>
                  </a:cubicBezTo>
                  <a:cubicBezTo>
                    <a:pt x="0" y="139"/>
                    <a:pt x="0" y="137"/>
                    <a:pt x="0" y="133"/>
                  </a:cubicBezTo>
                  <a:cubicBezTo>
                    <a:pt x="3" y="112"/>
                    <a:pt x="5" y="94"/>
                    <a:pt x="6" y="80"/>
                  </a:cubicBezTo>
                  <a:cubicBezTo>
                    <a:pt x="8" y="64"/>
                    <a:pt x="7" y="51"/>
                    <a:pt x="6" y="38"/>
                  </a:cubicBezTo>
                  <a:cubicBezTo>
                    <a:pt x="5" y="34"/>
                    <a:pt x="4" y="30"/>
                    <a:pt x="2" y="26"/>
                  </a:cubicBezTo>
                  <a:cubicBezTo>
                    <a:pt x="0" y="21"/>
                    <a:pt x="1" y="17"/>
                    <a:pt x="6" y="16"/>
                  </a:cubicBezTo>
                  <a:cubicBezTo>
                    <a:pt x="14" y="12"/>
                    <a:pt x="23" y="11"/>
                    <a:pt x="32" y="10"/>
                  </a:cubicBezTo>
                  <a:cubicBezTo>
                    <a:pt x="36" y="9"/>
                    <a:pt x="38" y="7"/>
                    <a:pt x="38" y="4"/>
                  </a:cubicBezTo>
                  <a:cubicBezTo>
                    <a:pt x="38" y="2"/>
                    <a:pt x="38" y="1"/>
                    <a:pt x="39" y="0"/>
                  </a:cubicBezTo>
                  <a:cubicBezTo>
                    <a:pt x="41" y="0"/>
                    <a:pt x="42" y="0"/>
                    <a:pt x="43" y="2"/>
                  </a:cubicBezTo>
                  <a:close/>
                  <a:moveTo>
                    <a:pt x="24" y="23"/>
                  </a:moveTo>
                  <a:cubicBezTo>
                    <a:pt x="33" y="22"/>
                    <a:pt x="44" y="22"/>
                    <a:pt x="58" y="23"/>
                  </a:cubicBezTo>
                  <a:cubicBezTo>
                    <a:pt x="63" y="24"/>
                    <a:pt x="66" y="26"/>
                    <a:pt x="66" y="29"/>
                  </a:cubicBezTo>
                  <a:cubicBezTo>
                    <a:pt x="66" y="30"/>
                    <a:pt x="66" y="30"/>
                    <a:pt x="67" y="31"/>
                  </a:cubicBezTo>
                  <a:cubicBezTo>
                    <a:pt x="67" y="33"/>
                    <a:pt x="67" y="35"/>
                    <a:pt x="67" y="37"/>
                  </a:cubicBezTo>
                  <a:cubicBezTo>
                    <a:pt x="69" y="38"/>
                    <a:pt x="71" y="38"/>
                    <a:pt x="73" y="38"/>
                  </a:cubicBezTo>
                  <a:cubicBezTo>
                    <a:pt x="73" y="37"/>
                    <a:pt x="73" y="36"/>
                    <a:pt x="73" y="34"/>
                  </a:cubicBezTo>
                  <a:cubicBezTo>
                    <a:pt x="73" y="32"/>
                    <a:pt x="73" y="30"/>
                    <a:pt x="74" y="29"/>
                  </a:cubicBezTo>
                  <a:cubicBezTo>
                    <a:pt x="75" y="25"/>
                    <a:pt x="72" y="21"/>
                    <a:pt x="66" y="20"/>
                  </a:cubicBezTo>
                  <a:cubicBezTo>
                    <a:pt x="58" y="17"/>
                    <a:pt x="50" y="16"/>
                    <a:pt x="40" y="16"/>
                  </a:cubicBezTo>
                  <a:cubicBezTo>
                    <a:pt x="29" y="16"/>
                    <a:pt x="20" y="18"/>
                    <a:pt x="13" y="21"/>
                  </a:cubicBezTo>
                  <a:cubicBezTo>
                    <a:pt x="11" y="22"/>
                    <a:pt x="11" y="24"/>
                    <a:pt x="11" y="26"/>
                  </a:cubicBezTo>
                  <a:cubicBezTo>
                    <a:pt x="11" y="28"/>
                    <a:pt x="12" y="30"/>
                    <a:pt x="12" y="32"/>
                  </a:cubicBezTo>
                  <a:cubicBezTo>
                    <a:pt x="12" y="35"/>
                    <a:pt x="12" y="37"/>
                    <a:pt x="12" y="38"/>
                  </a:cubicBezTo>
                  <a:cubicBezTo>
                    <a:pt x="14" y="38"/>
                    <a:pt x="15" y="38"/>
                    <a:pt x="17" y="38"/>
                  </a:cubicBezTo>
                  <a:cubicBezTo>
                    <a:pt x="17" y="35"/>
                    <a:pt x="17" y="32"/>
                    <a:pt x="17" y="30"/>
                  </a:cubicBezTo>
                  <a:cubicBezTo>
                    <a:pt x="18" y="26"/>
                    <a:pt x="20" y="24"/>
                    <a:pt x="24" y="23"/>
                  </a:cubicBezTo>
                  <a:close/>
                  <a:moveTo>
                    <a:pt x="28" y="64"/>
                  </a:moveTo>
                  <a:cubicBezTo>
                    <a:pt x="39" y="62"/>
                    <a:pt x="50" y="62"/>
                    <a:pt x="61" y="64"/>
                  </a:cubicBezTo>
                  <a:cubicBezTo>
                    <a:pt x="65" y="65"/>
                    <a:pt x="67" y="67"/>
                    <a:pt x="67" y="71"/>
                  </a:cubicBezTo>
                  <a:cubicBezTo>
                    <a:pt x="69" y="79"/>
                    <a:pt x="68" y="88"/>
                    <a:pt x="66" y="96"/>
                  </a:cubicBezTo>
                  <a:cubicBezTo>
                    <a:pt x="65" y="102"/>
                    <a:pt x="61" y="105"/>
                    <a:pt x="54" y="105"/>
                  </a:cubicBezTo>
                  <a:cubicBezTo>
                    <a:pt x="55" y="115"/>
                    <a:pt x="57" y="125"/>
                    <a:pt x="61" y="136"/>
                  </a:cubicBezTo>
                  <a:cubicBezTo>
                    <a:pt x="63" y="138"/>
                    <a:pt x="63" y="140"/>
                    <a:pt x="61" y="142"/>
                  </a:cubicBezTo>
                  <a:cubicBezTo>
                    <a:pt x="60" y="142"/>
                    <a:pt x="59" y="143"/>
                    <a:pt x="59" y="143"/>
                  </a:cubicBezTo>
                  <a:cubicBezTo>
                    <a:pt x="58" y="143"/>
                    <a:pt x="57" y="142"/>
                    <a:pt x="57" y="141"/>
                  </a:cubicBezTo>
                  <a:cubicBezTo>
                    <a:pt x="52" y="131"/>
                    <a:pt x="48" y="120"/>
                    <a:pt x="46" y="105"/>
                  </a:cubicBezTo>
                  <a:cubicBezTo>
                    <a:pt x="41" y="105"/>
                    <a:pt x="41" y="105"/>
                    <a:pt x="41" y="105"/>
                  </a:cubicBezTo>
                  <a:cubicBezTo>
                    <a:pt x="40" y="120"/>
                    <a:pt x="37" y="131"/>
                    <a:pt x="30" y="140"/>
                  </a:cubicBezTo>
                  <a:cubicBezTo>
                    <a:pt x="29" y="141"/>
                    <a:pt x="27" y="142"/>
                    <a:pt x="26" y="142"/>
                  </a:cubicBezTo>
                  <a:cubicBezTo>
                    <a:pt x="25" y="141"/>
                    <a:pt x="25" y="139"/>
                    <a:pt x="26" y="137"/>
                  </a:cubicBezTo>
                  <a:cubicBezTo>
                    <a:pt x="26" y="137"/>
                    <a:pt x="26" y="135"/>
                    <a:pt x="28" y="132"/>
                  </a:cubicBezTo>
                  <a:cubicBezTo>
                    <a:pt x="30" y="127"/>
                    <a:pt x="32" y="123"/>
                    <a:pt x="32" y="121"/>
                  </a:cubicBezTo>
                  <a:cubicBezTo>
                    <a:pt x="33" y="118"/>
                    <a:pt x="34" y="113"/>
                    <a:pt x="35" y="107"/>
                  </a:cubicBezTo>
                  <a:cubicBezTo>
                    <a:pt x="35" y="106"/>
                    <a:pt x="35" y="106"/>
                    <a:pt x="35" y="105"/>
                  </a:cubicBezTo>
                  <a:cubicBezTo>
                    <a:pt x="29" y="105"/>
                    <a:pt x="25" y="103"/>
                    <a:pt x="22" y="98"/>
                  </a:cubicBezTo>
                  <a:cubicBezTo>
                    <a:pt x="19" y="93"/>
                    <a:pt x="17" y="85"/>
                    <a:pt x="18" y="75"/>
                  </a:cubicBezTo>
                  <a:cubicBezTo>
                    <a:pt x="19" y="68"/>
                    <a:pt x="22" y="65"/>
                    <a:pt x="28" y="64"/>
                  </a:cubicBezTo>
                  <a:close/>
                  <a:moveTo>
                    <a:pt x="24" y="35"/>
                  </a:moveTo>
                  <a:cubicBezTo>
                    <a:pt x="24" y="36"/>
                    <a:pt x="24" y="36"/>
                    <a:pt x="24" y="37"/>
                  </a:cubicBezTo>
                  <a:cubicBezTo>
                    <a:pt x="29" y="37"/>
                    <a:pt x="34" y="37"/>
                    <a:pt x="39" y="37"/>
                  </a:cubicBezTo>
                  <a:cubicBezTo>
                    <a:pt x="39" y="34"/>
                    <a:pt x="38" y="31"/>
                    <a:pt x="38" y="29"/>
                  </a:cubicBezTo>
                  <a:cubicBezTo>
                    <a:pt x="37" y="29"/>
                    <a:pt x="36" y="29"/>
                    <a:pt x="34" y="29"/>
                  </a:cubicBezTo>
                  <a:cubicBezTo>
                    <a:pt x="31" y="29"/>
                    <a:pt x="30" y="29"/>
                    <a:pt x="28" y="29"/>
                  </a:cubicBezTo>
                  <a:cubicBezTo>
                    <a:pt x="25" y="31"/>
                    <a:pt x="24" y="32"/>
                    <a:pt x="24" y="35"/>
                  </a:cubicBezTo>
                  <a:close/>
                  <a:moveTo>
                    <a:pt x="61" y="87"/>
                  </a:moveTo>
                  <a:cubicBezTo>
                    <a:pt x="61" y="86"/>
                    <a:pt x="62" y="85"/>
                    <a:pt x="62" y="84"/>
                  </a:cubicBezTo>
                  <a:cubicBezTo>
                    <a:pt x="62" y="83"/>
                    <a:pt x="62" y="82"/>
                    <a:pt x="62" y="82"/>
                  </a:cubicBezTo>
                  <a:cubicBezTo>
                    <a:pt x="56" y="81"/>
                    <a:pt x="50" y="80"/>
                    <a:pt x="43" y="81"/>
                  </a:cubicBezTo>
                  <a:cubicBezTo>
                    <a:pt x="37" y="81"/>
                    <a:pt x="31" y="82"/>
                    <a:pt x="24" y="83"/>
                  </a:cubicBezTo>
                  <a:cubicBezTo>
                    <a:pt x="25" y="87"/>
                    <a:pt x="25" y="87"/>
                    <a:pt x="25" y="87"/>
                  </a:cubicBezTo>
                  <a:cubicBezTo>
                    <a:pt x="35" y="86"/>
                    <a:pt x="48" y="86"/>
                    <a:pt x="61" y="87"/>
                  </a:cubicBezTo>
                  <a:close/>
                  <a:moveTo>
                    <a:pt x="26" y="48"/>
                  </a:moveTo>
                  <a:cubicBezTo>
                    <a:pt x="28" y="51"/>
                    <a:pt x="30" y="52"/>
                    <a:pt x="35" y="52"/>
                  </a:cubicBezTo>
                  <a:cubicBezTo>
                    <a:pt x="38" y="52"/>
                    <a:pt x="38" y="52"/>
                    <a:pt x="38" y="52"/>
                  </a:cubicBezTo>
                  <a:cubicBezTo>
                    <a:pt x="38" y="49"/>
                    <a:pt x="39" y="46"/>
                    <a:pt x="39" y="44"/>
                  </a:cubicBezTo>
                  <a:cubicBezTo>
                    <a:pt x="34" y="44"/>
                    <a:pt x="30" y="44"/>
                    <a:pt x="25" y="44"/>
                  </a:cubicBezTo>
                  <a:cubicBezTo>
                    <a:pt x="25" y="46"/>
                    <a:pt x="25" y="47"/>
                    <a:pt x="26" y="48"/>
                  </a:cubicBezTo>
                  <a:close/>
                  <a:moveTo>
                    <a:pt x="32" y="69"/>
                  </a:moveTo>
                  <a:cubicBezTo>
                    <a:pt x="28" y="70"/>
                    <a:pt x="25" y="72"/>
                    <a:pt x="25" y="76"/>
                  </a:cubicBezTo>
                  <a:cubicBezTo>
                    <a:pt x="30" y="75"/>
                    <a:pt x="35" y="75"/>
                    <a:pt x="41" y="75"/>
                  </a:cubicBezTo>
                  <a:cubicBezTo>
                    <a:pt x="46" y="74"/>
                    <a:pt x="53" y="74"/>
                    <a:pt x="61" y="75"/>
                  </a:cubicBezTo>
                  <a:cubicBezTo>
                    <a:pt x="61" y="72"/>
                    <a:pt x="59" y="71"/>
                    <a:pt x="57" y="70"/>
                  </a:cubicBezTo>
                  <a:cubicBezTo>
                    <a:pt x="49" y="68"/>
                    <a:pt x="40" y="68"/>
                    <a:pt x="32" y="69"/>
                  </a:cubicBezTo>
                  <a:close/>
                  <a:moveTo>
                    <a:pt x="56" y="98"/>
                  </a:moveTo>
                  <a:cubicBezTo>
                    <a:pt x="59" y="97"/>
                    <a:pt x="60" y="96"/>
                    <a:pt x="61" y="93"/>
                  </a:cubicBezTo>
                  <a:cubicBezTo>
                    <a:pt x="60" y="93"/>
                    <a:pt x="57" y="93"/>
                    <a:pt x="54" y="93"/>
                  </a:cubicBezTo>
                  <a:cubicBezTo>
                    <a:pt x="48" y="92"/>
                    <a:pt x="44" y="92"/>
                    <a:pt x="41" y="92"/>
                  </a:cubicBezTo>
                  <a:cubicBezTo>
                    <a:pt x="40" y="92"/>
                    <a:pt x="38" y="92"/>
                    <a:pt x="36" y="93"/>
                  </a:cubicBezTo>
                  <a:cubicBezTo>
                    <a:pt x="31" y="93"/>
                    <a:pt x="28" y="94"/>
                    <a:pt x="26" y="94"/>
                  </a:cubicBezTo>
                  <a:cubicBezTo>
                    <a:pt x="27" y="96"/>
                    <a:pt x="29" y="98"/>
                    <a:pt x="32" y="98"/>
                  </a:cubicBezTo>
                  <a:cubicBezTo>
                    <a:pt x="39" y="99"/>
                    <a:pt x="47" y="99"/>
                    <a:pt x="56" y="98"/>
                  </a:cubicBezTo>
                  <a:close/>
                  <a:moveTo>
                    <a:pt x="56" y="29"/>
                  </a:moveTo>
                  <a:cubicBezTo>
                    <a:pt x="55" y="29"/>
                    <a:pt x="53" y="29"/>
                    <a:pt x="51" y="29"/>
                  </a:cubicBezTo>
                  <a:cubicBezTo>
                    <a:pt x="49" y="29"/>
                    <a:pt x="47" y="29"/>
                    <a:pt x="46" y="29"/>
                  </a:cubicBezTo>
                  <a:cubicBezTo>
                    <a:pt x="46" y="31"/>
                    <a:pt x="46" y="34"/>
                    <a:pt x="46" y="37"/>
                  </a:cubicBezTo>
                  <a:cubicBezTo>
                    <a:pt x="50" y="37"/>
                    <a:pt x="55" y="37"/>
                    <a:pt x="60" y="37"/>
                  </a:cubicBezTo>
                  <a:cubicBezTo>
                    <a:pt x="60" y="35"/>
                    <a:pt x="60" y="35"/>
                    <a:pt x="60" y="35"/>
                  </a:cubicBezTo>
                  <a:cubicBezTo>
                    <a:pt x="60" y="32"/>
                    <a:pt x="58" y="30"/>
                    <a:pt x="56" y="29"/>
                  </a:cubicBezTo>
                  <a:close/>
                  <a:moveTo>
                    <a:pt x="59" y="48"/>
                  </a:moveTo>
                  <a:cubicBezTo>
                    <a:pt x="59" y="47"/>
                    <a:pt x="59" y="45"/>
                    <a:pt x="60" y="43"/>
                  </a:cubicBezTo>
                  <a:cubicBezTo>
                    <a:pt x="55" y="43"/>
                    <a:pt x="51" y="43"/>
                    <a:pt x="46" y="43"/>
                  </a:cubicBezTo>
                  <a:cubicBezTo>
                    <a:pt x="46" y="52"/>
                    <a:pt x="46" y="52"/>
                    <a:pt x="46" y="52"/>
                  </a:cubicBezTo>
                  <a:cubicBezTo>
                    <a:pt x="48" y="52"/>
                    <a:pt x="51" y="52"/>
                    <a:pt x="54" y="52"/>
                  </a:cubicBezTo>
                  <a:cubicBezTo>
                    <a:pt x="57" y="51"/>
                    <a:pt x="59" y="49"/>
                    <a:pt x="59" y="4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28" name="îSḻide"/>
            <p:cNvSpPr/>
            <p:nvPr/>
          </p:nvSpPr>
          <p:spPr bwMode="auto">
            <a:xfrm>
              <a:off x="2449409" y="5256803"/>
              <a:ext cx="139700" cy="265113"/>
            </a:xfrm>
            <a:custGeom>
              <a:avLst/>
              <a:gdLst>
                <a:gd name="T0" fmla="*/ 56 w 76"/>
                <a:gd name="T1" fmla="*/ 3 h 144"/>
                <a:gd name="T2" fmla="*/ 61 w 76"/>
                <a:gd name="T3" fmla="*/ 45 h 144"/>
                <a:gd name="T4" fmla="*/ 50 w 76"/>
                <a:gd name="T5" fmla="*/ 74 h 144"/>
                <a:gd name="T6" fmla="*/ 68 w 76"/>
                <a:gd name="T7" fmla="*/ 65 h 144"/>
                <a:gd name="T8" fmla="*/ 70 w 76"/>
                <a:gd name="T9" fmla="*/ 31 h 144"/>
                <a:gd name="T10" fmla="*/ 74 w 76"/>
                <a:gd name="T11" fmla="*/ 31 h 144"/>
                <a:gd name="T12" fmla="*/ 74 w 76"/>
                <a:gd name="T13" fmla="*/ 64 h 144"/>
                <a:gd name="T14" fmla="*/ 50 w 76"/>
                <a:gd name="T15" fmla="*/ 81 h 144"/>
                <a:gd name="T16" fmla="*/ 69 w 76"/>
                <a:gd name="T17" fmla="*/ 103 h 144"/>
                <a:gd name="T18" fmla="*/ 74 w 76"/>
                <a:gd name="T19" fmla="*/ 140 h 144"/>
                <a:gd name="T20" fmla="*/ 63 w 76"/>
                <a:gd name="T21" fmla="*/ 105 h 144"/>
                <a:gd name="T22" fmla="*/ 52 w 76"/>
                <a:gd name="T23" fmla="*/ 138 h 144"/>
                <a:gd name="T24" fmla="*/ 46 w 76"/>
                <a:gd name="T25" fmla="*/ 139 h 144"/>
                <a:gd name="T26" fmla="*/ 42 w 76"/>
                <a:gd name="T27" fmla="*/ 57 h 144"/>
                <a:gd name="T28" fmla="*/ 35 w 76"/>
                <a:gd name="T29" fmla="*/ 132 h 144"/>
                <a:gd name="T30" fmla="*/ 27 w 76"/>
                <a:gd name="T31" fmla="*/ 136 h 144"/>
                <a:gd name="T32" fmla="*/ 29 w 76"/>
                <a:gd name="T33" fmla="*/ 95 h 144"/>
                <a:gd name="T34" fmla="*/ 5 w 76"/>
                <a:gd name="T35" fmla="*/ 135 h 144"/>
                <a:gd name="T36" fmla="*/ 0 w 76"/>
                <a:gd name="T37" fmla="*/ 135 h 144"/>
                <a:gd name="T38" fmla="*/ 30 w 76"/>
                <a:gd name="T39" fmla="*/ 86 h 144"/>
                <a:gd name="T40" fmla="*/ 26 w 76"/>
                <a:gd name="T41" fmla="*/ 80 h 144"/>
                <a:gd name="T42" fmla="*/ 5 w 76"/>
                <a:gd name="T43" fmla="*/ 66 h 144"/>
                <a:gd name="T44" fmla="*/ 3 w 76"/>
                <a:gd name="T45" fmla="*/ 29 h 144"/>
                <a:gd name="T46" fmla="*/ 9 w 76"/>
                <a:gd name="T47" fmla="*/ 59 h 144"/>
                <a:gd name="T48" fmla="*/ 31 w 76"/>
                <a:gd name="T49" fmla="*/ 74 h 144"/>
                <a:gd name="T50" fmla="*/ 32 w 76"/>
                <a:gd name="T51" fmla="*/ 57 h 144"/>
                <a:gd name="T52" fmla="*/ 16 w 76"/>
                <a:gd name="T53" fmla="*/ 14 h 144"/>
                <a:gd name="T54" fmla="*/ 22 w 76"/>
                <a:gd name="T55" fmla="*/ 19 h 144"/>
                <a:gd name="T56" fmla="*/ 57 w 76"/>
                <a:gd name="T57" fmla="*/ 19 h 144"/>
                <a:gd name="T58" fmla="*/ 50 w 76"/>
                <a:gd name="T59" fmla="*/ 9 h 144"/>
                <a:gd name="T60" fmla="*/ 22 w 76"/>
                <a:gd name="T61" fmla="*/ 19 h 144"/>
                <a:gd name="T62" fmla="*/ 23 w 76"/>
                <a:gd name="T63" fmla="*/ 31 h 144"/>
                <a:gd name="T64" fmla="*/ 57 w 76"/>
                <a:gd name="T65" fmla="*/ 34 h 144"/>
                <a:gd name="T66" fmla="*/ 22 w 76"/>
                <a:gd name="T67" fmla="*/ 27 h 144"/>
                <a:gd name="T68" fmla="*/ 48 w 76"/>
                <a:gd name="T69" fmla="*/ 50 h 144"/>
                <a:gd name="T70" fmla="*/ 57 w 76"/>
                <a:gd name="T71" fmla="*/ 41 h 144"/>
                <a:gd name="T72" fmla="*/ 25 w 76"/>
                <a:gd name="T73" fmla="*/ 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76" h="144">
                  <a:moveTo>
                    <a:pt x="27" y="2"/>
                  </a:moveTo>
                  <a:cubicBezTo>
                    <a:pt x="37" y="0"/>
                    <a:pt x="47" y="0"/>
                    <a:pt x="56" y="3"/>
                  </a:cubicBezTo>
                  <a:cubicBezTo>
                    <a:pt x="60" y="3"/>
                    <a:pt x="62" y="7"/>
                    <a:pt x="63" y="15"/>
                  </a:cubicBezTo>
                  <a:cubicBezTo>
                    <a:pt x="65" y="25"/>
                    <a:pt x="64" y="35"/>
                    <a:pt x="61" y="45"/>
                  </a:cubicBezTo>
                  <a:cubicBezTo>
                    <a:pt x="60" y="53"/>
                    <a:pt x="55" y="56"/>
                    <a:pt x="49" y="57"/>
                  </a:cubicBezTo>
                  <a:cubicBezTo>
                    <a:pt x="49" y="62"/>
                    <a:pt x="50" y="68"/>
                    <a:pt x="50" y="74"/>
                  </a:cubicBezTo>
                  <a:cubicBezTo>
                    <a:pt x="53" y="74"/>
                    <a:pt x="56" y="74"/>
                    <a:pt x="58" y="74"/>
                  </a:cubicBezTo>
                  <a:cubicBezTo>
                    <a:pt x="62" y="75"/>
                    <a:pt x="66" y="72"/>
                    <a:pt x="68" y="65"/>
                  </a:cubicBezTo>
                  <a:cubicBezTo>
                    <a:pt x="69" y="62"/>
                    <a:pt x="70" y="53"/>
                    <a:pt x="70" y="39"/>
                  </a:cubicBezTo>
                  <a:cubicBezTo>
                    <a:pt x="70" y="35"/>
                    <a:pt x="70" y="32"/>
                    <a:pt x="70" y="31"/>
                  </a:cubicBezTo>
                  <a:cubicBezTo>
                    <a:pt x="71" y="31"/>
                    <a:pt x="71" y="30"/>
                    <a:pt x="72" y="30"/>
                  </a:cubicBezTo>
                  <a:cubicBezTo>
                    <a:pt x="73" y="30"/>
                    <a:pt x="74" y="30"/>
                    <a:pt x="74" y="31"/>
                  </a:cubicBezTo>
                  <a:cubicBezTo>
                    <a:pt x="75" y="33"/>
                    <a:pt x="76" y="36"/>
                    <a:pt x="76" y="41"/>
                  </a:cubicBezTo>
                  <a:cubicBezTo>
                    <a:pt x="76" y="49"/>
                    <a:pt x="75" y="56"/>
                    <a:pt x="74" y="64"/>
                  </a:cubicBezTo>
                  <a:cubicBezTo>
                    <a:pt x="72" y="75"/>
                    <a:pt x="67" y="81"/>
                    <a:pt x="58" y="81"/>
                  </a:cubicBezTo>
                  <a:cubicBezTo>
                    <a:pt x="50" y="81"/>
                    <a:pt x="50" y="81"/>
                    <a:pt x="50" y="81"/>
                  </a:cubicBezTo>
                  <a:cubicBezTo>
                    <a:pt x="50" y="87"/>
                    <a:pt x="50" y="87"/>
                    <a:pt x="50" y="87"/>
                  </a:cubicBezTo>
                  <a:cubicBezTo>
                    <a:pt x="60" y="87"/>
                    <a:pt x="66" y="92"/>
                    <a:pt x="69" y="103"/>
                  </a:cubicBezTo>
                  <a:cubicBezTo>
                    <a:pt x="72" y="112"/>
                    <a:pt x="74" y="122"/>
                    <a:pt x="76" y="134"/>
                  </a:cubicBezTo>
                  <a:cubicBezTo>
                    <a:pt x="76" y="138"/>
                    <a:pt x="75" y="140"/>
                    <a:pt x="74" y="140"/>
                  </a:cubicBezTo>
                  <a:cubicBezTo>
                    <a:pt x="72" y="141"/>
                    <a:pt x="71" y="139"/>
                    <a:pt x="70" y="136"/>
                  </a:cubicBezTo>
                  <a:cubicBezTo>
                    <a:pt x="68" y="126"/>
                    <a:pt x="66" y="116"/>
                    <a:pt x="63" y="105"/>
                  </a:cubicBezTo>
                  <a:cubicBezTo>
                    <a:pt x="61" y="98"/>
                    <a:pt x="57" y="95"/>
                    <a:pt x="50" y="95"/>
                  </a:cubicBezTo>
                  <a:cubicBezTo>
                    <a:pt x="50" y="109"/>
                    <a:pt x="51" y="123"/>
                    <a:pt x="52" y="138"/>
                  </a:cubicBezTo>
                  <a:cubicBezTo>
                    <a:pt x="52" y="141"/>
                    <a:pt x="51" y="143"/>
                    <a:pt x="49" y="144"/>
                  </a:cubicBezTo>
                  <a:cubicBezTo>
                    <a:pt x="47" y="144"/>
                    <a:pt x="46" y="142"/>
                    <a:pt x="46" y="139"/>
                  </a:cubicBezTo>
                  <a:cubicBezTo>
                    <a:pt x="44" y="134"/>
                    <a:pt x="43" y="118"/>
                    <a:pt x="43" y="92"/>
                  </a:cubicBezTo>
                  <a:cubicBezTo>
                    <a:pt x="43" y="76"/>
                    <a:pt x="43" y="64"/>
                    <a:pt x="42" y="57"/>
                  </a:cubicBezTo>
                  <a:cubicBezTo>
                    <a:pt x="38" y="57"/>
                    <a:pt x="38" y="57"/>
                    <a:pt x="38" y="57"/>
                  </a:cubicBezTo>
                  <a:cubicBezTo>
                    <a:pt x="36" y="88"/>
                    <a:pt x="35" y="113"/>
                    <a:pt x="35" y="132"/>
                  </a:cubicBezTo>
                  <a:cubicBezTo>
                    <a:pt x="35" y="138"/>
                    <a:pt x="33" y="142"/>
                    <a:pt x="31" y="142"/>
                  </a:cubicBezTo>
                  <a:cubicBezTo>
                    <a:pt x="29" y="142"/>
                    <a:pt x="27" y="140"/>
                    <a:pt x="27" y="136"/>
                  </a:cubicBezTo>
                  <a:cubicBezTo>
                    <a:pt x="27" y="136"/>
                    <a:pt x="27" y="134"/>
                    <a:pt x="27" y="132"/>
                  </a:cubicBezTo>
                  <a:cubicBezTo>
                    <a:pt x="28" y="118"/>
                    <a:pt x="29" y="105"/>
                    <a:pt x="29" y="95"/>
                  </a:cubicBezTo>
                  <a:cubicBezTo>
                    <a:pt x="19" y="95"/>
                    <a:pt x="14" y="98"/>
                    <a:pt x="13" y="105"/>
                  </a:cubicBezTo>
                  <a:cubicBezTo>
                    <a:pt x="10" y="114"/>
                    <a:pt x="7" y="124"/>
                    <a:pt x="5" y="135"/>
                  </a:cubicBezTo>
                  <a:cubicBezTo>
                    <a:pt x="4" y="137"/>
                    <a:pt x="3" y="139"/>
                    <a:pt x="2" y="139"/>
                  </a:cubicBezTo>
                  <a:cubicBezTo>
                    <a:pt x="1" y="140"/>
                    <a:pt x="0" y="138"/>
                    <a:pt x="0" y="135"/>
                  </a:cubicBezTo>
                  <a:cubicBezTo>
                    <a:pt x="0" y="125"/>
                    <a:pt x="2" y="115"/>
                    <a:pt x="7" y="104"/>
                  </a:cubicBezTo>
                  <a:cubicBezTo>
                    <a:pt x="11" y="92"/>
                    <a:pt x="18" y="86"/>
                    <a:pt x="30" y="86"/>
                  </a:cubicBezTo>
                  <a:cubicBezTo>
                    <a:pt x="30" y="85"/>
                    <a:pt x="30" y="83"/>
                    <a:pt x="31" y="80"/>
                  </a:cubicBezTo>
                  <a:cubicBezTo>
                    <a:pt x="29" y="81"/>
                    <a:pt x="28" y="81"/>
                    <a:pt x="26" y="80"/>
                  </a:cubicBezTo>
                  <a:cubicBezTo>
                    <a:pt x="24" y="80"/>
                    <a:pt x="23" y="80"/>
                    <a:pt x="22" y="80"/>
                  </a:cubicBezTo>
                  <a:cubicBezTo>
                    <a:pt x="14" y="81"/>
                    <a:pt x="8" y="76"/>
                    <a:pt x="5" y="66"/>
                  </a:cubicBezTo>
                  <a:cubicBezTo>
                    <a:pt x="2" y="59"/>
                    <a:pt x="0" y="49"/>
                    <a:pt x="0" y="37"/>
                  </a:cubicBezTo>
                  <a:cubicBezTo>
                    <a:pt x="0" y="32"/>
                    <a:pt x="1" y="29"/>
                    <a:pt x="3" y="29"/>
                  </a:cubicBezTo>
                  <a:cubicBezTo>
                    <a:pt x="6" y="31"/>
                    <a:pt x="8" y="35"/>
                    <a:pt x="8" y="39"/>
                  </a:cubicBezTo>
                  <a:cubicBezTo>
                    <a:pt x="7" y="45"/>
                    <a:pt x="7" y="52"/>
                    <a:pt x="9" y="59"/>
                  </a:cubicBezTo>
                  <a:cubicBezTo>
                    <a:pt x="10" y="68"/>
                    <a:pt x="16" y="73"/>
                    <a:pt x="24" y="74"/>
                  </a:cubicBezTo>
                  <a:cubicBezTo>
                    <a:pt x="26" y="74"/>
                    <a:pt x="29" y="74"/>
                    <a:pt x="31" y="74"/>
                  </a:cubicBezTo>
                  <a:cubicBezTo>
                    <a:pt x="31" y="72"/>
                    <a:pt x="31" y="69"/>
                    <a:pt x="31" y="65"/>
                  </a:cubicBezTo>
                  <a:cubicBezTo>
                    <a:pt x="31" y="61"/>
                    <a:pt x="32" y="58"/>
                    <a:pt x="32" y="57"/>
                  </a:cubicBezTo>
                  <a:cubicBezTo>
                    <a:pt x="25" y="56"/>
                    <a:pt x="20" y="53"/>
                    <a:pt x="19" y="48"/>
                  </a:cubicBezTo>
                  <a:cubicBezTo>
                    <a:pt x="15" y="36"/>
                    <a:pt x="14" y="25"/>
                    <a:pt x="16" y="14"/>
                  </a:cubicBezTo>
                  <a:cubicBezTo>
                    <a:pt x="17" y="6"/>
                    <a:pt x="21" y="2"/>
                    <a:pt x="27" y="2"/>
                  </a:cubicBezTo>
                  <a:close/>
                  <a:moveTo>
                    <a:pt x="22" y="19"/>
                  </a:moveTo>
                  <a:cubicBezTo>
                    <a:pt x="22" y="20"/>
                    <a:pt x="22" y="20"/>
                    <a:pt x="22" y="20"/>
                  </a:cubicBezTo>
                  <a:cubicBezTo>
                    <a:pt x="30" y="20"/>
                    <a:pt x="42" y="19"/>
                    <a:pt x="57" y="19"/>
                  </a:cubicBezTo>
                  <a:cubicBezTo>
                    <a:pt x="57" y="18"/>
                    <a:pt x="57" y="17"/>
                    <a:pt x="57" y="16"/>
                  </a:cubicBezTo>
                  <a:cubicBezTo>
                    <a:pt x="56" y="13"/>
                    <a:pt x="54" y="10"/>
                    <a:pt x="50" y="9"/>
                  </a:cubicBezTo>
                  <a:cubicBezTo>
                    <a:pt x="44" y="8"/>
                    <a:pt x="37" y="7"/>
                    <a:pt x="31" y="9"/>
                  </a:cubicBezTo>
                  <a:cubicBezTo>
                    <a:pt x="25" y="11"/>
                    <a:pt x="22" y="14"/>
                    <a:pt x="22" y="19"/>
                  </a:cubicBezTo>
                  <a:close/>
                  <a:moveTo>
                    <a:pt x="22" y="27"/>
                  </a:moveTo>
                  <a:cubicBezTo>
                    <a:pt x="22" y="28"/>
                    <a:pt x="22" y="29"/>
                    <a:pt x="23" y="31"/>
                  </a:cubicBezTo>
                  <a:cubicBezTo>
                    <a:pt x="23" y="32"/>
                    <a:pt x="23" y="33"/>
                    <a:pt x="23" y="34"/>
                  </a:cubicBezTo>
                  <a:cubicBezTo>
                    <a:pt x="57" y="34"/>
                    <a:pt x="57" y="34"/>
                    <a:pt x="57" y="34"/>
                  </a:cubicBezTo>
                  <a:cubicBezTo>
                    <a:pt x="57" y="27"/>
                    <a:pt x="57" y="27"/>
                    <a:pt x="57" y="27"/>
                  </a:cubicBezTo>
                  <a:cubicBezTo>
                    <a:pt x="45" y="26"/>
                    <a:pt x="33" y="26"/>
                    <a:pt x="22" y="27"/>
                  </a:cubicBezTo>
                  <a:close/>
                  <a:moveTo>
                    <a:pt x="35" y="50"/>
                  </a:moveTo>
                  <a:cubicBezTo>
                    <a:pt x="48" y="50"/>
                    <a:pt x="48" y="50"/>
                    <a:pt x="48" y="50"/>
                  </a:cubicBezTo>
                  <a:cubicBezTo>
                    <a:pt x="53" y="50"/>
                    <a:pt x="55" y="47"/>
                    <a:pt x="57" y="42"/>
                  </a:cubicBezTo>
                  <a:cubicBezTo>
                    <a:pt x="57" y="41"/>
                    <a:pt x="57" y="41"/>
                    <a:pt x="57" y="41"/>
                  </a:cubicBezTo>
                  <a:cubicBezTo>
                    <a:pt x="43" y="41"/>
                    <a:pt x="32" y="41"/>
                    <a:pt x="24" y="42"/>
                  </a:cubicBezTo>
                  <a:cubicBezTo>
                    <a:pt x="24" y="43"/>
                    <a:pt x="24" y="43"/>
                    <a:pt x="25" y="44"/>
                  </a:cubicBezTo>
                  <a:cubicBezTo>
                    <a:pt x="27" y="48"/>
                    <a:pt x="30" y="50"/>
                    <a:pt x="35" y="5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29" name="iṣlîḋè"/>
            <p:cNvSpPr/>
            <p:nvPr/>
          </p:nvSpPr>
          <p:spPr bwMode="auto">
            <a:xfrm>
              <a:off x="2604984" y="5259978"/>
              <a:ext cx="177800" cy="255588"/>
            </a:xfrm>
            <a:custGeom>
              <a:avLst/>
              <a:gdLst>
                <a:gd name="T0" fmla="*/ 5 w 96"/>
                <a:gd name="T1" fmla="*/ 37 h 138"/>
                <a:gd name="T2" fmla="*/ 24 w 96"/>
                <a:gd name="T3" fmla="*/ 49 h 138"/>
                <a:gd name="T4" fmla="*/ 7 w 96"/>
                <a:gd name="T5" fmla="*/ 26 h 138"/>
                <a:gd name="T6" fmla="*/ 0 w 96"/>
                <a:gd name="T7" fmla="*/ 22 h 138"/>
                <a:gd name="T8" fmla="*/ 44 w 96"/>
                <a:gd name="T9" fmla="*/ 19 h 138"/>
                <a:gd name="T10" fmla="*/ 40 w 96"/>
                <a:gd name="T11" fmla="*/ 26 h 138"/>
                <a:gd name="T12" fmla="*/ 29 w 96"/>
                <a:gd name="T13" fmla="*/ 49 h 138"/>
                <a:gd name="T14" fmla="*/ 42 w 96"/>
                <a:gd name="T15" fmla="*/ 39 h 138"/>
                <a:gd name="T16" fmla="*/ 36 w 96"/>
                <a:gd name="T17" fmla="*/ 64 h 138"/>
                <a:gd name="T18" fmla="*/ 44 w 96"/>
                <a:gd name="T19" fmla="*/ 70 h 138"/>
                <a:gd name="T20" fmla="*/ 30 w 96"/>
                <a:gd name="T21" fmla="*/ 78 h 138"/>
                <a:gd name="T22" fmla="*/ 48 w 96"/>
                <a:gd name="T23" fmla="*/ 111 h 138"/>
                <a:gd name="T24" fmla="*/ 42 w 96"/>
                <a:gd name="T25" fmla="*/ 124 h 138"/>
                <a:gd name="T26" fmla="*/ 33 w 96"/>
                <a:gd name="T27" fmla="*/ 93 h 138"/>
                <a:gd name="T28" fmla="*/ 30 w 96"/>
                <a:gd name="T29" fmla="*/ 116 h 138"/>
                <a:gd name="T30" fmla="*/ 24 w 96"/>
                <a:gd name="T31" fmla="*/ 133 h 138"/>
                <a:gd name="T32" fmla="*/ 20 w 96"/>
                <a:gd name="T33" fmla="*/ 93 h 138"/>
                <a:gd name="T34" fmla="*/ 11 w 96"/>
                <a:gd name="T35" fmla="*/ 122 h 138"/>
                <a:gd name="T36" fmla="*/ 8 w 96"/>
                <a:gd name="T37" fmla="*/ 102 h 138"/>
                <a:gd name="T38" fmla="*/ 24 w 96"/>
                <a:gd name="T39" fmla="*/ 81 h 138"/>
                <a:gd name="T40" fmla="*/ 3 w 96"/>
                <a:gd name="T41" fmla="*/ 77 h 138"/>
                <a:gd name="T42" fmla="*/ 14 w 96"/>
                <a:gd name="T43" fmla="*/ 70 h 138"/>
                <a:gd name="T44" fmla="*/ 20 w 96"/>
                <a:gd name="T45" fmla="*/ 65 h 138"/>
                <a:gd name="T46" fmla="*/ 2 w 96"/>
                <a:gd name="T47" fmla="*/ 37 h 138"/>
                <a:gd name="T48" fmla="*/ 40 w 96"/>
                <a:gd name="T49" fmla="*/ 3 h 138"/>
                <a:gd name="T50" fmla="*/ 14 w 96"/>
                <a:gd name="T51" fmla="*/ 11 h 138"/>
                <a:gd name="T52" fmla="*/ 5 w 96"/>
                <a:gd name="T53" fmla="*/ 6 h 138"/>
                <a:gd name="T54" fmla="*/ 33 w 96"/>
                <a:gd name="T55" fmla="*/ 26 h 138"/>
                <a:gd name="T56" fmla="*/ 27 w 96"/>
                <a:gd name="T57" fmla="*/ 45 h 138"/>
                <a:gd name="T58" fmla="*/ 54 w 96"/>
                <a:gd name="T59" fmla="*/ 2 h 138"/>
                <a:gd name="T60" fmla="*/ 58 w 96"/>
                <a:gd name="T61" fmla="*/ 10 h 138"/>
                <a:gd name="T62" fmla="*/ 88 w 96"/>
                <a:gd name="T63" fmla="*/ 22 h 138"/>
                <a:gd name="T64" fmla="*/ 74 w 96"/>
                <a:gd name="T65" fmla="*/ 37 h 138"/>
                <a:gd name="T66" fmla="*/ 62 w 96"/>
                <a:gd name="T67" fmla="*/ 66 h 138"/>
                <a:gd name="T68" fmla="*/ 53 w 96"/>
                <a:gd name="T69" fmla="*/ 136 h 138"/>
                <a:gd name="T70" fmla="*/ 48 w 96"/>
                <a:gd name="T71" fmla="*/ 130 h 138"/>
                <a:gd name="T72" fmla="*/ 55 w 96"/>
                <a:gd name="T73" fmla="*/ 48 h 138"/>
                <a:gd name="T74" fmla="*/ 76 w 96"/>
                <a:gd name="T75" fmla="*/ 31 h 138"/>
                <a:gd name="T76" fmla="*/ 65 w 96"/>
                <a:gd name="T77" fmla="*/ 18 h 138"/>
                <a:gd name="T78" fmla="*/ 52 w 96"/>
                <a:gd name="T79" fmla="*/ 13 h 138"/>
                <a:gd name="T80" fmla="*/ 94 w 96"/>
                <a:gd name="T81" fmla="*/ 74 h 138"/>
                <a:gd name="T82" fmla="*/ 76 w 96"/>
                <a:gd name="T83" fmla="*/ 54 h 138"/>
                <a:gd name="T84" fmla="*/ 83 w 96"/>
                <a:gd name="T85" fmla="*/ 119 h 138"/>
                <a:gd name="T86" fmla="*/ 88 w 96"/>
                <a:gd name="T87" fmla="*/ 133 h 138"/>
                <a:gd name="T88" fmla="*/ 70 w 96"/>
                <a:gd name="T89" fmla="*/ 93 h 138"/>
                <a:gd name="T90" fmla="*/ 70 w 96"/>
                <a:gd name="T91" fmla="*/ 42 h 138"/>
                <a:gd name="T92" fmla="*/ 95 w 96"/>
                <a:gd name="T93" fmla="*/ 70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96" h="138">
                  <a:moveTo>
                    <a:pt x="2" y="37"/>
                  </a:moveTo>
                  <a:cubicBezTo>
                    <a:pt x="2" y="36"/>
                    <a:pt x="2" y="35"/>
                    <a:pt x="3" y="35"/>
                  </a:cubicBezTo>
                  <a:cubicBezTo>
                    <a:pt x="4" y="35"/>
                    <a:pt x="5" y="36"/>
                    <a:pt x="5" y="37"/>
                  </a:cubicBezTo>
                  <a:cubicBezTo>
                    <a:pt x="9" y="49"/>
                    <a:pt x="14" y="56"/>
                    <a:pt x="21" y="59"/>
                  </a:cubicBezTo>
                  <a:cubicBezTo>
                    <a:pt x="21" y="59"/>
                    <a:pt x="22" y="60"/>
                    <a:pt x="24" y="60"/>
                  </a:cubicBezTo>
                  <a:cubicBezTo>
                    <a:pt x="24" y="56"/>
                    <a:pt x="24" y="53"/>
                    <a:pt x="24" y="49"/>
                  </a:cubicBezTo>
                  <a:cubicBezTo>
                    <a:pt x="21" y="48"/>
                    <a:pt x="18" y="46"/>
                    <a:pt x="16" y="42"/>
                  </a:cubicBezTo>
                  <a:cubicBezTo>
                    <a:pt x="13" y="38"/>
                    <a:pt x="12" y="33"/>
                    <a:pt x="12" y="26"/>
                  </a:cubicBezTo>
                  <a:cubicBezTo>
                    <a:pt x="9" y="26"/>
                    <a:pt x="8" y="26"/>
                    <a:pt x="7" y="26"/>
                  </a:cubicBezTo>
                  <a:cubicBezTo>
                    <a:pt x="4" y="27"/>
                    <a:pt x="2" y="27"/>
                    <a:pt x="1" y="25"/>
                  </a:cubicBezTo>
                  <a:cubicBezTo>
                    <a:pt x="0" y="24"/>
                    <a:pt x="0" y="23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1" y="19"/>
                    <a:pt x="2" y="18"/>
                    <a:pt x="4" y="19"/>
                  </a:cubicBezTo>
                  <a:cubicBezTo>
                    <a:pt x="6" y="19"/>
                    <a:pt x="8" y="19"/>
                    <a:pt x="11" y="19"/>
                  </a:cubicBezTo>
                  <a:cubicBezTo>
                    <a:pt x="44" y="19"/>
                    <a:pt x="44" y="19"/>
                    <a:pt x="44" y="19"/>
                  </a:cubicBezTo>
                  <a:cubicBezTo>
                    <a:pt x="46" y="19"/>
                    <a:pt x="48" y="20"/>
                    <a:pt x="48" y="23"/>
                  </a:cubicBezTo>
                  <a:cubicBezTo>
                    <a:pt x="47" y="25"/>
                    <a:pt x="45" y="26"/>
                    <a:pt x="42" y="26"/>
                  </a:cubicBezTo>
                  <a:cubicBezTo>
                    <a:pt x="42" y="26"/>
                    <a:pt x="41" y="26"/>
                    <a:pt x="40" y="26"/>
                  </a:cubicBezTo>
                  <a:cubicBezTo>
                    <a:pt x="40" y="26"/>
                    <a:pt x="40" y="26"/>
                    <a:pt x="40" y="26"/>
                  </a:cubicBezTo>
                  <a:cubicBezTo>
                    <a:pt x="39" y="34"/>
                    <a:pt x="38" y="39"/>
                    <a:pt x="37" y="42"/>
                  </a:cubicBezTo>
                  <a:cubicBezTo>
                    <a:pt x="34" y="46"/>
                    <a:pt x="32" y="49"/>
                    <a:pt x="29" y="49"/>
                  </a:cubicBezTo>
                  <a:cubicBezTo>
                    <a:pt x="30" y="53"/>
                    <a:pt x="30" y="56"/>
                    <a:pt x="30" y="60"/>
                  </a:cubicBezTo>
                  <a:cubicBezTo>
                    <a:pt x="31" y="60"/>
                    <a:pt x="32" y="59"/>
                    <a:pt x="33" y="58"/>
                  </a:cubicBezTo>
                  <a:cubicBezTo>
                    <a:pt x="39" y="56"/>
                    <a:pt x="42" y="49"/>
                    <a:pt x="42" y="39"/>
                  </a:cubicBezTo>
                  <a:cubicBezTo>
                    <a:pt x="43" y="37"/>
                    <a:pt x="44" y="36"/>
                    <a:pt x="46" y="36"/>
                  </a:cubicBezTo>
                  <a:cubicBezTo>
                    <a:pt x="47" y="36"/>
                    <a:pt x="48" y="37"/>
                    <a:pt x="48" y="39"/>
                  </a:cubicBezTo>
                  <a:cubicBezTo>
                    <a:pt x="49" y="49"/>
                    <a:pt x="45" y="57"/>
                    <a:pt x="36" y="64"/>
                  </a:cubicBezTo>
                  <a:cubicBezTo>
                    <a:pt x="34" y="65"/>
                    <a:pt x="32" y="66"/>
                    <a:pt x="30" y="66"/>
                  </a:cubicBezTo>
                  <a:cubicBezTo>
                    <a:pt x="30" y="70"/>
                    <a:pt x="30" y="70"/>
                    <a:pt x="30" y="70"/>
                  </a:cubicBezTo>
                  <a:cubicBezTo>
                    <a:pt x="44" y="70"/>
                    <a:pt x="44" y="70"/>
                    <a:pt x="44" y="70"/>
                  </a:cubicBezTo>
                  <a:cubicBezTo>
                    <a:pt x="47" y="70"/>
                    <a:pt x="49" y="71"/>
                    <a:pt x="49" y="73"/>
                  </a:cubicBezTo>
                  <a:cubicBezTo>
                    <a:pt x="49" y="76"/>
                    <a:pt x="47" y="77"/>
                    <a:pt x="43" y="77"/>
                  </a:cubicBezTo>
                  <a:cubicBezTo>
                    <a:pt x="37" y="77"/>
                    <a:pt x="33" y="77"/>
                    <a:pt x="30" y="78"/>
                  </a:cubicBezTo>
                  <a:cubicBezTo>
                    <a:pt x="30" y="80"/>
                    <a:pt x="30" y="82"/>
                    <a:pt x="30" y="84"/>
                  </a:cubicBezTo>
                  <a:cubicBezTo>
                    <a:pt x="34" y="84"/>
                    <a:pt x="37" y="87"/>
                    <a:pt x="40" y="91"/>
                  </a:cubicBezTo>
                  <a:cubicBezTo>
                    <a:pt x="44" y="96"/>
                    <a:pt x="46" y="103"/>
                    <a:pt x="48" y="111"/>
                  </a:cubicBezTo>
                  <a:cubicBezTo>
                    <a:pt x="49" y="116"/>
                    <a:pt x="49" y="120"/>
                    <a:pt x="48" y="124"/>
                  </a:cubicBezTo>
                  <a:cubicBezTo>
                    <a:pt x="47" y="125"/>
                    <a:pt x="46" y="125"/>
                    <a:pt x="45" y="125"/>
                  </a:cubicBezTo>
                  <a:cubicBezTo>
                    <a:pt x="44" y="125"/>
                    <a:pt x="43" y="125"/>
                    <a:pt x="42" y="124"/>
                  </a:cubicBezTo>
                  <a:cubicBezTo>
                    <a:pt x="42" y="123"/>
                    <a:pt x="42" y="121"/>
                    <a:pt x="42" y="118"/>
                  </a:cubicBezTo>
                  <a:cubicBezTo>
                    <a:pt x="41" y="116"/>
                    <a:pt x="41" y="114"/>
                    <a:pt x="41" y="113"/>
                  </a:cubicBezTo>
                  <a:cubicBezTo>
                    <a:pt x="40" y="104"/>
                    <a:pt x="37" y="97"/>
                    <a:pt x="33" y="93"/>
                  </a:cubicBezTo>
                  <a:cubicBezTo>
                    <a:pt x="33" y="92"/>
                    <a:pt x="32" y="91"/>
                    <a:pt x="30" y="91"/>
                  </a:cubicBezTo>
                  <a:cubicBezTo>
                    <a:pt x="31" y="97"/>
                    <a:pt x="31" y="101"/>
                    <a:pt x="31" y="105"/>
                  </a:cubicBezTo>
                  <a:cubicBezTo>
                    <a:pt x="31" y="107"/>
                    <a:pt x="31" y="111"/>
                    <a:pt x="30" y="116"/>
                  </a:cubicBezTo>
                  <a:cubicBezTo>
                    <a:pt x="30" y="124"/>
                    <a:pt x="30" y="129"/>
                    <a:pt x="29" y="133"/>
                  </a:cubicBezTo>
                  <a:cubicBezTo>
                    <a:pt x="29" y="136"/>
                    <a:pt x="28" y="137"/>
                    <a:pt x="27" y="137"/>
                  </a:cubicBezTo>
                  <a:cubicBezTo>
                    <a:pt x="26" y="137"/>
                    <a:pt x="25" y="136"/>
                    <a:pt x="24" y="133"/>
                  </a:cubicBezTo>
                  <a:cubicBezTo>
                    <a:pt x="24" y="120"/>
                    <a:pt x="24" y="111"/>
                    <a:pt x="24" y="105"/>
                  </a:cubicBezTo>
                  <a:cubicBezTo>
                    <a:pt x="24" y="100"/>
                    <a:pt x="24" y="95"/>
                    <a:pt x="24" y="90"/>
                  </a:cubicBezTo>
                  <a:cubicBezTo>
                    <a:pt x="22" y="91"/>
                    <a:pt x="21" y="92"/>
                    <a:pt x="20" y="93"/>
                  </a:cubicBezTo>
                  <a:cubicBezTo>
                    <a:pt x="18" y="94"/>
                    <a:pt x="16" y="98"/>
                    <a:pt x="14" y="102"/>
                  </a:cubicBezTo>
                  <a:cubicBezTo>
                    <a:pt x="13" y="104"/>
                    <a:pt x="13" y="104"/>
                    <a:pt x="13" y="104"/>
                  </a:cubicBezTo>
                  <a:cubicBezTo>
                    <a:pt x="12" y="108"/>
                    <a:pt x="11" y="114"/>
                    <a:pt x="11" y="122"/>
                  </a:cubicBezTo>
                  <a:cubicBezTo>
                    <a:pt x="10" y="124"/>
                    <a:pt x="9" y="125"/>
                    <a:pt x="7" y="125"/>
                  </a:cubicBezTo>
                  <a:cubicBezTo>
                    <a:pt x="6" y="125"/>
                    <a:pt x="5" y="124"/>
                    <a:pt x="5" y="122"/>
                  </a:cubicBezTo>
                  <a:cubicBezTo>
                    <a:pt x="6" y="115"/>
                    <a:pt x="7" y="108"/>
                    <a:pt x="8" y="102"/>
                  </a:cubicBezTo>
                  <a:cubicBezTo>
                    <a:pt x="9" y="97"/>
                    <a:pt x="11" y="92"/>
                    <a:pt x="14" y="89"/>
                  </a:cubicBezTo>
                  <a:cubicBezTo>
                    <a:pt x="17" y="86"/>
                    <a:pt x="20" y="84"/>
                    <a:pt x="24" y="84"/>
                  </a:cubicBezTo>
                  <a:cubicBezTo>
                    <a:pt x="24" y="81"/>
                    <a:pt x="24" y="81"/>
                    <a:pt x="24" y="81"/>
                  </a:cubicBezTo>
                  <a:cubicBezTo>
                    <a:pt x="24" y="80"/>
                    <a:pt x="24" y="79"/>
                    <a:pt x="24" y="78"/>
                  </a:cubicBezTo>
                  <a:cubicBezTo>
                    <a:pt x="14" y="78"/>
                    <a:pt x="9" y="78"/>
                    <a:pt x="9" y="78"/>
                  </a:cubicBezTo>
                  <a:cubicBezTo>
                    <a:pt x="6" y="79"/>
                    <a:pt x="4" y="79"/>
                    <a:pt x="3" y="77"/>
                  </a:cubicBezTo>
                  <a:cubicBezTo>
                    <a:pt x="2" y="76"/>
                    <a:pt x="2" y="74"/>
                    <a:pt x="3" y="72"/>
                  </a:cubicBezTo>
                  <a:cubicBezTo>
                    <a:pt x="3" y="70"/>
                    <a:pt x="4" y="70"/>
                    <a:pt x="7" y="70"/>
                  </a:cubicBezTo>
                  <a:cubicBezTo>
                    <a:pt x="8" y="70"/>
                    <a:pt x="10" y="70"/>
                    <a:pt x="14" y="70"/>
                  </a:cubicBezTo>
                  <a:cubicBezTo>
                    <a:pt x="24" y="70"/>
                    <a:pt x="24" y="70"/>
                    <a:pt x="24" y="70"/>
                  </a:cubicBezTo>
                  <a:cubicBezTo>
                    <a:pt x="24" y="66"/>
                    <a:pt x="24" y="66"/>
                    <a:pt x="24" y="66"/>
                  </a:cubicBezTo>
                  <a:cubicBezTo>
                    <a:pt x="22" y="66"/>
                    <a:pt x="21" y="66"/>
                    <a:pt x="20" y="65"/>
                  </a:cubicBezTo>
                  <a:cubicBezTo>
                    <a:pt x="12" y="62"/>
                    <a:pt x="6" y="56"/>
                    <a:pt x="2" y="46"/>
                  </a:cubicBezTo>
                  <a:cubicBezTo>
                    <a:pt x="2" y="46"/>
                    <a:pt x="2" y="43"/>
                    <a:pt x="2" y="40"/>
                  </a:cubicBezTo>
                  <a:cubicBezTo>
                    <a:pt x="2" y="39"/>
                    <a:pt x="2" y="38"/>
                    <a:pt x="2" y="37"/>
                  </a:cubicBezTo>
                  <a:close/>
                  <a:moveTo>
                    <a:pt x="9" y="3"/>
                  </a:moveTo>
                  <a:cubicBezTo>
                    <a:pt x="11" y="3"/>
                    <a:pt x="15" y="3"/>
                    <a:pt x="19" y="3"/>
                  </a:cubicBezTo>
                  <a:cubicBezTo>
                    <a:pt x="40" y="3"/>
                    <a:pt x="40" y="3"/>
                    <a:pt x="40" y="3"/>
                  </a:cubicBezTo>
                  <a:cubicBezTo>
                    <a:pt x="43" y="3"/>
                    <a:pt x="44" y="5"/>
                    <a:pt x="44" y="7"/>
                  </a:cubicBezTo>
                  <a:cubicBezTo>
                    <a:pt x="44" y="9"/>
                    <a:pt x="42" y="10"/>
                    <a:pt x="39" y="10"/>
                  </a:cubicBezTo>
                  <a:cubicBezTo>
                    <a:pt x="34" y="10"/>
                    <a:pt x="25" y="10"/>
                    <a:pt x="14" y="11"/>
                  </a:cubicBezTo>
                  <a:cubicBezTo>
                    <a:pt x="13" y="11"/>
                    <a:pt x="12" y="11"/>
                    <a:pt x="11" y="11"/>
                  </a:cubicBezTo>
                  <a:cubicBezTo>
                    <a:pt x="7" y="11"/>
                    <a:pt x="5" y="11"/>
                    <a:pt x="5" y="9"/>
                  </a:cubicBezTo>
                  <a:cubicBezTo>
                    <a:pt x="5" y="9"/>
                    <a:pt x="4" y="8"/>
                    <a:pt x="5" y="6"/>
                  </a:cubicBezTo>
                  <a:cubicBezTo>
                    <a:pt x="5" y="5"/>
                    <a:pt x="5" y="5"/>
                    <a:pt x="5" y="5"/>
                  </a:cubicBezTo>
                  <a:cubicBezTo>
                    <a:pt x="5" y="3"/>
                    <a:pt x="6" y="3"/>
                    <a:pt x="9" y="3"/>
                  </a:cubicBezTo>
                  <a:close/>
                  <a:moveTo>
                    <a:pt x="33" y="26"/>
                  </a:moveTo>
                  <a:cubicBezTo>
                    <a:pt x="28" y="26"/>
                    <a:pt x="23" y="26"/>
                    <a:pt x="17" y="26"/>
                  </a:cubicBezTo>
                  <a:cubicBezTo>
                    <a:pt x="18" y="32"/>
                    <a:pt x="20" y="38"/>
                    <a:pt x="24" y="42"/>
                  </a:cubicBezTo>
                  <a:cubicBezTo>
                    <a:pt x="25" y="44"/>
                    <a:pt x="26" y="45"/>
                    <a:pt x="27" y="45"/>
                  </a:cubicBezTo>
                  <a:cubicBezTo>
                    <a:pt x="28" y="45"/>
                    <a:pt x="29" y="44"/>
                    <a:pt x="29" y="42"/>
                  </a:cubicBezTo>
                  <a:cubicBezTo>
                    <a:pt x="32" y="38"/>
                    <a:pt x="33" y="33"/>
                    <a:pt x="33" y="26"/>
                  </a:cubicBezTo>
                  <a:close/>
                  <a:moveTo>
                    <a:pt x="54" y="2"/>
                  </a:moveTo>
                  <a:cubicBezTo>
                    <a:pt x="55" y="0"/>
                    <a:pt x="57" y="0"/>
                    <a:pt x="58" y="1"/>
                  </a:cubicBezTo>
                  <a:cubicBezTo>
                    <a:pt x="59" y="2"/>
                    <a:pt x="60" y="4"/>
                    <a:pt x="59" y="6"/>
                  </a:cubicBezTo>
                  <a:cubicBezTo>
                    <a:pt x="57" y="8"/>
                    <a:pt x="57" y="9"/>
                    <a:pt x="58" y="10"/>
                  </a:cubicBezTo>
                  <a:cubicBezTo>
                    <a:pt x="59" y="11"/>
                    <a:pt x="61" y="12"/>
                    <a:pt x="63" y="11"/>
                  </a:cubicBezTo>
                  <a:cubicBezTo>
                    <a:pt x="67" y="9"/>
                    <a:pt x="73" y="9"/>
                    <a:pt x="80" y="11"/>
                  </a:cubicBezTo>
                  <a:cubicBezTo>
                    <a:pt x="84" y="13"/>
                    <a:pt x="87" y="16"/>
                    <a:pt x="88" y="22"/>
                  </a:cubicBezTo>
                  <a:cubicBezTo>
                    <a:pt x="89" y="27"/>
                    <a:pt x="88" y="32"/>
                    <a:pt x="85" y="35"/>
                  </a:cubicBezTo>
                  <a:cubicBezTo>
                    <a:pt x="84" y="38"/>
                    <a:pt x="81" y="39"/>
                    <a:pt x="75" y="37"/>
                  </a:cubicBezTo>
                  <a:cubicBezTo>
                    <a:pt x="75" y="37"/>
                    <a:pt x="74" y="37"/>
                    <a:pt x="74" y="37"/>
                  </a:cubicBezTo>
                  <a:cubicBezTo>
                    <a:pt x="69" y="37"/>
                    <a:pt x="66" y="37"/>
                    <a:pt x="63" y="38"/>
                  </a:cubicBezTo>
                  <a:cubicBezTo>
                    <a:pt x="62" y="38"/>
                    <a:pt x="61" y="40"/>
                    <a:pt x="61" y="43"/>
                  </a:cubicBezTo>
                  <a:cubicBezTo>
                    <a:pt x="62" y="48"/>
                    <a:pt x="62" y="56"/>
                    <a:pt x="62" y="66"/>
                  </a:cubicBezTo>
                  <a:cubicBezTo>
                    <a:pt x="62" y="70"/>
                    <a:pt x="61" y="76"/>
                    <a:pt x="61" y="84"/>
                  </a:cubicBezTo>
                  <a:cubicBezTo>
                    <a:pt x="59" y="99"/>
                    <a:pt x="58" y="110"/>
                    <a:pt x="57" y="116"/>
                  </a:cubicBezTo>
                  <a:cubicBezTo>
                    <a:pt x="57" y="122"/>
                    <a:pt x="55" y="128"/>
                    <a:pt x="53" y="136"/>
                  </a:cubicBezTo>
                  <a:cubicBezTo>
                    <a:pt x="52" y="137"/>
                    <a:pt x="51" y="138"/>
                    <a:pt x="50" y="138"/>
                  </a:cubicBezTo>
                  <a:cubicBezTo>
                    <a:pt x="48" y="138"/>
                    <a:pt x="48" y="137"/>
                    <a:pt x="48" y="136"/>
                  </a:cubicBezTo>
                  <a:cubicBezTo>
                    <a:pt x="48" y="135"/>
                    <a:pt x="48" y="133"/>
                    <a:pt x="48" y="130"/>
                  </a:cubicBezTo>
                  <a:cubicBezTo>
                    <a:pt x="49" y="127"/>
                    <a:pt x="49" y="126"/>
                    <a:pt x="49" y="125"/>
                  </a:cubicBezTo>
                  <a:cubicBezTo>
                    <a:pt x="53" y="104"/>
                    <a:pt x="55" y="85"/>
                    <a:pt x="55" y="68"/>
                  </a:cubicBezTo>
                  <a:cubicBezTo>
                    <a:pt x="56" y="60"/>
                    <a:pt x="56" y="54"/>
                    <a:pt x="55" y="48"/>
                  </a:cubicBezTo>
                  <a:cubicBezTo>
                    <a:pt x="54" y="45"/>
                    <a:pt x="53" y="42"/>
                    <a:pt x="52" y="40"/>
                  </a:cubicBezTo>
                  <a:cubicBezTo>
                    <a:pt x="50" y="38"/>
                    <a:pt x="51" y="36"/>
                    <a:pt x="54" y="34"/>
                  </a:cubicBezTo>
                  <a:cubicBezTo>
                    <a:pt x="58" y="30"/>
                    <a:pt x="66" y="29"/>
                    <a:pt x="76" y="31"/>
                  </a:cubicBezTo>
                  <a:cubicBezTo>
                    <a:pt x="81" y="32"/>
                    <a:pt x="83" y="30"/>
                    <a:pt x="83" y="25"/>
                  </a:cubicBezTo>
                  <a:cubicBezTo>
                    <a:pt x="83" y="21"/>
                    <a:pt x="81" y="18"/>
                    <a:pt x="77" y="18"/>
                  </a:cubicBezTo>
                  <a:cubicBezTo>
                    <a:pt x="70" y="17"/>
                    <a:pt x="66" y="17"/>
                    <a:pt x="65" y="18"/>
                  </a:cubicBezTo>
                  <a:cubicBezTo>
                    <a:pt x="63" y="19"/>
                    <a:pt x="60" y="19"/>
                    <a:pt x="57" y="19"/>
                  </a:cubicBezTo>
                  <a:cubicBezTo>
                    <a:pt x="57" y="18"/>
                    <a:pt x="55" y="17"/>
                    <a:pt x="53" y="15"/>
                  </a:cubicBezTo>
                  <a:cubicBezTo>
                    <a:pt x="53" y="14"/>
                    <a:pt x="52" y="14"/>
                    <a:pt x="52" y="13"/>
                  </a:cubicBezTo>
                  <a:cubicBezTo>
                    <a:pt x="50" y="10"/>
                    <a:pt x="51" y="6"/>
                    <a:pt x="54" y="2"/>
                  </a:cubicBezTo>
                  <a:close/>
                  <a:moveTo>
                    <a:pt x="95" y="70"/>
                  </a:moveTo>
                  <a:cubicBezTo>
                    <a:pt x="96" y="72"/>
                    <a:pt x="95" y="73"/>
                    <a:pt x="94" y="74"/>
                  </a:cubicBezTo>
                  <a:cubicBezTo>
                    <a:pt x="92" y="74"/>
                    <a:pt x="91" y="74"/>
                    <a:pt x="90" y="72"/>
                  </a:cubicBezTo>
                  <a:cubicBezTo>
                    <a:pt x="88" y="67"/>
                    <a:pt x="84" y="62"/>
                    <a:pt x="78" y="56"/>
                  </a:cubicBezTo>
                  <a:cubicBezTo>
                    <a:pt x="77" y="55"/>
                    <a:pt x="76" y="54"/>
                    <a:pt x="76" y="54"/>
                  </a:cubicBezTo>
                  <a:cubicBezTo>
                    <a:pt x="75" y="56"/>
                    <a:pt x="75" y="56"/>
                    <a:pt x="75" y="56"/>
                  </a:cubicBezTo>
                  <a:cubicBezTo>
                    <a:pt x="75" y="61"/>
                    <a:pt x="75" y="73"/>
                    <a:pt x="77" y="93"/>
                  </a:cubicBezTo>
                  <a:cubicBezTo>
                    <a:pt x="78" y="99"/>
                    <a:pt x="80" y="107"/>
                    <a:pt x="83" y="119"/>
                  </a:cubicBezTo>
                  <a:cubicBezTo>
                    <a:pt x="84" y="122"/>
                    <a:pt x="85" y="124"/>
                    <a:pt x="85" y="124"/>
                  </a:cubicBezTo>
                  <a:cubicBezTo>
                    <a:pt x="86" y="126"/>
                    <a:pt x="86" y="128"/>
                    <a:pt x="87" y="131"/>
                  </a:cubicBezTo>
                  <a:cubicBezTo>
                    <a:pt x="88" y="132"/>
                    <a:pt x="88" y="133"/>
                    <a:pt x="88" y="133"/>
                  </a:cubicBezTo>
                  <a:cubicBezTo>
                    <a:pt x="88" y="135"/>
                    <a:pt x="88" y="136"/>
                    <a:pt x="86" y="136"/>
                  </a:cubicBezTo>
                  <a:cubicBezTo>
                    <a:pt x="84" y="136"/>
                    <a:pt x="83" y="135"/>
                    <a:pt x="82" y="133"/>
                  </a:cubicBezTo>
                  <a:cubicBezTo>
                    <a:pt x="77" y="123"/>
                    <a:pt x="73" y="110"/>
                    <a:pt x="70" y="93"/>
                  </a:cubicBezTo>
                  <a:cubicBezTo>
                    <a:pt x="69" y="79"/>
                    <a:pt x="68" y="68"/>
                    <a:pt x="68" y="58"/>
                  </a:cubicBezTo>
                  <a:cubicBezTo>
                    <a:pt x="68" y="51"/>
                    <a:pt x="68" y="46"/>
                    <a:pt x="68" y="44"/>
                  </a:cubicBezTo>
                  <a:cubicBezTo>
                    <a:pt x="68" y="43"/>
                    <a:pt x="69" y="42"/>
                    <a:pt x="70" y="42"/>
                  </a:cubicBezTo>
                  <a:cubicBezTo>
                    <a:pt x="71" y="41"/>
                    <a:pt x="71" y="41"/>
                    <a:pt x="72" y="42"/>
                  </a:cubicBezTo>
                  <a:cubicBezTo>
                    <a:pt x="76" y="45"/>
                    <a:pt x="78" y="48"/>
                    <a:pt x="80" y="49"/>
                  </a:cubicBezTo>
                  <a:cubicBezTo>
                    <a:pt x="86" y="54"/>
                    <a:pt x="91" y="61"/>
                    <a:pt x="95" y="7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30" name="íṣ1ïḑe"/>
            <p:cNvSpPr/>
            <p:nvPr/>
          </p:nvSpPr>
          <p:spPr bwMode="auto">
            <a:xfrm>
              <a:off x="1750909" y="4905965"/>
              <a:ext cx="93663" cy="87313"/>
            </a:xfrm>
            <a:custGeom>
              <a:avLst/>
              <a:gdLst>
                <a:gd name="T0" fmla="*/ 51 w 51"/>
                <a:gd name="T1" fmla="*/ 17 h 47"/>
                <a:gd name="T2" fmla="*/ 46 w 51"/>
                <a:gd name="T3" fmla="*/ 25 h 47"/>
                <a:gd name="T4" fmla="*/ 26 w 51"/>
                <a:gd name="T5" fmla="*/ 13 h 47"/>
                <a:gd name="T6" fmla="*/ 20 w 51"/>
                <a:gd name="T7" fmla="*/ 9 h 47"/>
                <a:gd name="T8" fmla="*/ 14 w 51"/>
                <a:gd name="T9" fmla="*/ 9 h 47"/>
                <a:gd name="T10" fmla="*/ 10 w 51"/>
                <a:gd name="T11" fmla="*/ 13 h 47"/>
                <a:gd name="T12" fmla="*/ 8 w 51"/>
                <a:gd name="T13" fmla="*/ 19 h 47"/>
                <a:gd name="T14" fmla="*/ 10 w 51"/>
                <a:gd name="T15" fmla="*/ 23 h 47"/>
                <a:gd name="T16" fmla="*/ 17 w 51"/>
                <a:gd name="T17" fmla="*/ 27 h 47"/>
                <a:gd name="T18" fmla="*/ 37 w 51"/>
                <a:gd name="T19" fmla="*/ 40 h 47"/>
                <a:gd name="T20" fmla="*/ 33 w 51"/>
                <a:gd name="T21" fmla="*/ 47 h 47"/>
                <a:gd name="T22" fmla="*/ 13 w 51"/>
                <a:gd name="T23" fmla="*/ 35 h 47"/>
                <a:gd name="T24" fmla="*/ 4 w 51"/>
                <a:gd name="T25" fmla="*/ 29 h 47"/>
                <a:gd name="T26" fmla="*/ 1 w 51"/>
                <a:gd name="T27" fmla="*/ 24 h 47"/>
                <a:gd name="T28" fmla="*/ 0 w 51"/>
                <a:gd name="T29" fmla="*/ 18 h 47"/>
                <a:gd name="T30" fmla="*/ 3 w 51"/>
                <a:gd name="T31" fmla="*/ 10 h 47"/>
                <a:gd name="T32" fmla="*/ 10 w 51"/>
                <a:gd name="T33" fmla="*/ 2 h 47"/>
                <a:gd name="T34" fmla="*/ 15 w 51"/>
                <a:gd name="T35" fmla="*/ 0 h 47"/>
                <a:gd name="T36" fmla="*/ 21 w 51"/>
                <a:gd name="T37" fmla="*/ 0 h 47"/>
                <a:gd name="T38" fmla="*/ 31 w 51"/>
                <a:gd name="T39" fmla="*/ 5 h 47"/>
                <a:gd name="T40" fmla="*/ 51 w 51"/>
                <a:gd name="T41" fmla="*/ 17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51" h="47">
                  <a:moveTo>
                    <a:pt x="51" y="17"/>
                  </a:moveTo>
                  <a:cubicBezTo>
                    <a:pt x="46" y="25"/>
                    <a:pt x="46" y="25"/>
                    <a:pt x="46" y="25"/>
                  </a:cubicBezTo>
                  <a:cubicBezTo>
                    <a:pt x="26" y="13"/>
                    <a:pt x="26" y="13"/>
                    <a:pt x="26" y="13"/>
                  </a:cubicBezTo>
                  <a:cubicBezTo>
                    <a:pt x="23" y="11"/>
                    <a:pt x="21" y="10"/>
                    <a:pt x="20" y="9"/>
                  </a:cubicBezTo>
                  <a:cubicBezTo>
                    <a:pt x="18" y="9"/>
                    <a:pt x="16" y="9"/>
                    <a:pt x="14" y="9"/>
                  </a:cubicBezTo>
                  <a:cubicBezTo>
                    <a:pt x="13" y="10"/>
                    <a:pt x="11" y="11"/>
                    <a:pt x="10" y="13"/>
                  </a:cubicBezTo>
                  <a:cubicBezTo>
                    <a:pt x="9" y="16"/>
                    <a:pt x="8" y="17"/>
                    <a:pt x="8" y="19"/>
                  </a:cubicBezTo>
                  <a:cubicBezTo>
                    <a:pt x="9" y="21"/>
                    <a:pt x="9" y="22"/>
                    <a:pt x="10" y="23"/>
                  </a:cubicBezTo>
                  <a:cubicBezTo>
                    <a:pt x="12" y="24"/>
                    <a:pt x="14" y="25"/>
                    <a:pt x="17" y="27"/>
                  </a:cubicBezTo>
                  <a:cubicBezTo>
                    <a:pt x="37" y="40"/>
                    <a:pt x="37" y="40"/>
                    <a:pt x="37" y="40"/>
                  </a:cubicBezTo>
                  <a:cubicBezTo>
                    <a:pt x="33" y="47"/>
                    <a:pt x="33" y="47"/>
                    <a:pt x="33" y="47"/>
                  </a:cubicBezTo>
                  <a:cubicBezTo>
                    <a:pt x="13" y="35"/>
                    <a:pt x="13" y="35"/>
                    <a:pt x="13" y="35"/>
                  </a:cubicBezTo>
                  <a:cubicBezTo>
                    <a:pt x="9" y="33"/>
                    <a:pt x="6" y="31"/>
                    <a:pt x="4" y="29"/>
                  </a:cubicBezTo>
                  <a:cubicBezTo>
                    <a:pt x="2" y="28"/>
                    <a:pt x="1" y="26"/>
                    <a:pt x="1" y="24"/>
                  </a:cubicBezTo>
                  <a:cubicBezTo>
                    <a:pt x="0" y="22"/>
                    <a:pt x="0" y="20"/>
                    <a:pt x="0" y="18"/>
                  </a:cubicBezTo>
                  <a:cubicBezTo>
                    <a:pt x="0" y="15"/>
                    <a:pt x="2" y="13"/>
                    <a:pt x="3" y="10"/>
                  </a:cubicBezTo>
                  <a:cubicBezTo>
                    <a:pt x="6" y="6"/>
                    <a:pt x="8" y="4"/>
                    <a:pt x="10" y="2"/>
                  </a:cubicBezTo>
                  <a:cubicBezTo>
                    <a:pt x="11" y="1"/>
                    <a:pt x="13" y="0"/>
                    <a:pt x="15" y="0"/>
                  </a:cubicBezTo>
                  <a:cubicBezTo>
                    <a:pt x="17" y="0"/>
                    <a:pt x="19" y="0"/>
                    <a:pt x="21" y="0"/>
                  </a:cubicBezTo>
                  <a:cubicBezTo>
                    <a:pt x="23" y="1"/>
                    <a:pt x="27" y="3"/>
                    <a:pt x="31" y="5"/>
                  </a:cubicBezTo>
                  <a:lnTo>
                    <a:pt x="51" y="1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31" name="íṧḷîde"/>
            <p:cNvSpPr/>
            <p:nvPr/>
          </p:nvSpPr>
          <p:spPr bwMode="auto">
            <a:xfrm>
              <a:off x="1704872" y="4971053"/>
              <a:ext cx="100013" cy="92075"/>
            </a:xfrm>
            <a:custGeom>
              <a:avLst/>
              <a:gdLst>
                <a:gd name="T0" fmla="*/ 17 w 63"/>
                <a:gd name="T1" fmla="*/ 0 h 58"/>
                <a:gd name="T2" fmla="*/ 63 w 63"/>
                <a:gd name="T3" fmla="*/ 21 h 58"/>
                <a:gd name="T4" fmla="*/ 59 w 63"/>
                <a:gd name="T5" fmla="*/ 30 h 58"/>
                <a:gd name="T6" fmla="*/ 19 w 63"/>
                <a:gd name="T7" fmla="*/ 35 h 58"/>
                <a:gd name="T8" fmla="*/ 50 w 63"/>
                <a:gd name="T9" fmla="*/ 50 h 58"/>
                <a:gd name="T10" fmla="*/ 46 w 63"/>
                <a:gd name="T11" fmla="*/ 58 h 58"/>
                <a:gd name="T12" fmla="*/ 0 w 63"/>
                <a:gd name="T13" fmla="*/ 37 h 58"/>
                <a:gd name="T14" fmla="*/ 4 w 63"/>
                <a:gd name="T15" fmla="*/ 26 h 58"/>
                <a:gd name="T16" fmla="*/ 43 w 63"/>
                <a:gd name="T17" fmla="*/ 22 h 58"/>
                <a:gd name="T18" fmla="*/ 12 w 63"/>
                <a:gd name="T19" fmla="*/ 8 h 58"/>
                <a:gd name="T20" fmla="*/ 17 w 63"/>
                <a:gd name="T21" fmla="*/ 0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63" h="58">
                  <a:moveTo>
                    <a:pt x="17" y="0"/>
                  </a:moveTo>
                  <a:lnTo>
                    <a:pt x="63" y="21"/>
                  </a:lnTo>
                  <a:lnTo>
                    <a:pt x="59" y="30"/>
                  </a:lnTo>
                  <a:lnTo>
                    <a:pt x="19" y="35"/>
                  </a:lnTo>
                  <a:lnTo>
                    <a:pt x="50" y="50"/>
                  </a:lnTo>
                  <a:lnTo>
                    <a:pt x="46" y="58"/>
                  </a:lnTo>
                  <a:lnTo>
                    <a:pt x="0" y="37"/>
                  </a:lnTo>
                  <a:lnTo>
                    <a:pt x="4" y="26"/>
                  </a:lnTo>
                  <a:lnTo>
                    <a:pt x="43" y="22"/>
                  </a:lnTo>
                  <a:lnTo>
                    <a:pt x="12" y="8"/>
                  </a:lnTo>
                  <a:lnTo>
                    <a:pt x="1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32" name="íS1îḍé"/>
            <p:cNvSpPr/>
            <p:nvPr/>
          </p:nvSpPr>
          <p:spPr bwMode="auto">
            <a:xfrm>
              <a:off x="1690584" y="5045665"/>
              <a:ext cx="84138" cy="44450"/>
            </a:xfrm>
            <a:custGeom>
              <a:avLst/>
              <a:gdLst>
                <a:gd name="T0" fmla="*/ 5 w 53"/>
                <a:gd name="T1" fmla="*/ 0 h 28"/>
                <a:gd name="T2" fmla="*/ 53 w 53"/>
                <a:gd name="T3" fmla="*/ 19 h 28"/>
                <a:gd name="T4" fmla="*/ 49 w 53"/>
                <a:gd name="T5" fmla="*/ 28 h 28"/>
                <a:gd name="T6" fmla="*/ 0 w 53"/>
                <a:gd name="T7" fmla="*/ 10 h 28"/>
                <a:gd name="T8" fmla="*/ 5 w 53"/>
                <a:gd name="T9" fmla="*/ 0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3" h="28">
                  <a:moveTo>
                    <a:pt x="5" y="0"/>
                  </a:moveTo>
                  <a:lnTo>
                    <a:pt x="53" y="19"/>
                  </a:lnTo>
                  <a:lnTo>
                    <a:pt x="49" y="28"/>
                  </a:lnTo>
                  <a:lnTo>
                    <a:pt x="0" y="10"/>
                  </a:lnTo>
                  <a:lnTo>
                    <a:pt x="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33" name="íṧļïḋè"/>
            <p:cNvSpPr/>
            <p:nvPr/>
          </p:nvSpPr>
          <p:spPr bwMode="auto">
            <a:xfrm>
              <a:off x="1674709" y="5091703"/>
              <a:ext cx="92075" cy="73025"/>
            </a:xfrm>
            <a:custGeom>
              <a:avLst/>
              <a:gdLst>
                <a:gd name="T0" fmla="*/ 4 w 58"/>
                <a:gd name="T1" fmla="*/ 3 h 46"/>
                <a:gd name="T2" fmla="*/ 58 w 58"/>
                <a:gd name="T3" fmla="*/ 0 h 46"/>
                <a:gd name="T4" fmla="*/ 55 w 58"/>
                <a:gd name="T5" fmla="*/ 11 h 46"/>
                <a:gd name="T6" fmla="*/ 14 w 58"/>
                <a:gd name="T7" fmla="*/ 13 h 46"/>
                <a:gd name="T8" fmla="*/ 46 w 58"/>
                <a:gd name="T9" fmla="*/ 35 h 46"/>
                <a:gd name="T10" fmla="*/ 44 w 58"/>
                <a:gd name="T11" fmla="*/ 46 h 46"/>
                <a:gd name="T12" fmla="*/ 0 w 58"/>
                <a:gd name="T13" fmla="*/ 14 h 46"/>
                <a:gd name="T14" fmla="*/ 4 w 58"/>
                <a:gd name="T15" fmla="*/ 3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8" h="46">
                  <a:moveTo>
                    <a:pt x="4" y="3"/>
                  </a:moveTo>
                  <a:lnTo>
                    <a:pt x="58" y="0"/>
                  </a:lnTo>
                  <a:lnTo>
                    <a:pt x="55" y="11"/>
                  </a:lnTo>
                  <a:lnTo>
                    <a:pt x="14" y="13"/>
                  </a:lnTo>
                  <a:lnTo>
                    <a:pt x="46" y="35"/>
                  </a:lnTo>
                  <a:lnTo>
                    <a:pt x="44" y="46"/>
                  </a:lnTo>
                  <a:lnTo>
                    <a:pt x="0" y="14"/>
                  </a:lnTo>
                  <a:lnTo>
                    <a:pt x="4" y="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34" name="ïṡḷiḋé"/>
            <p:cNvSpPr/>
            <p:nvPr/>
          </p:nvSpPr>
          <p:spPr bwMode="auto">
            <a:xfrm>
              <a:off x="1652484" y="5153615"/>
              <a:ext cx="90488" cy="73025"/>
            </a:xfrm>
            <a:custGeom>
              <a:avLst/>
              <a:gdLst>
                <a:gd name="T0" fmla="*/ 7 w 57"/>
                <a:gd name="T1" fmla="*/ 0 h 46"/>
                <a:gd name="T2" fmla="*/ 57 w 57"/>
                <a:gd name="T3" fmla="*/ 10 h 46"/>
                <a:gd name="T4" fmla="*/ 50 w 57"/>
                <a:gd name="T5" fmla="*/ 46 h 46"/>
                <a:gd name="T6" fmla="*/ 42 w 57"/>
                <a:gd name="T7" fmla="*/ 45 h 46"/>
                <a:gd name="T8" fmla="*/ 47 w 57"/>
                <a:gd name="T9" fmla="*/ 18 h 46"/>
                <a:gd name="T10" fmla="*/ 36 w 57"/>
                <a:gd name="T11" fmla="*/ 16 h 46"/>
                <a:gd name="T12" fmla="*/ 30 w 57"/>
                <a:gd name="T13" fmla="*/ 40 h 46"/>
                <a:gd name="T14" fmla="*/ 22 w 57"/>
                <a:gd name="T15" fmla="*/ 39 h 46"/>
                <a:gd name="T16" fmla="*/ 27 w 57"/>
                <a:gd name="T17" fmla="*/ 14 h 46"/>
                <a:gd name="T18" fmla="*/ 14 w 57"/>
                <a:gd name="T19" fmla="*/ 11 h 46"/>
                <a:gd name="T20" fmla="*/ 8 w 57"/>
                <a:gd name="T21" fmla="*/ 39 h 46"/>
                <a:gd name="T22" fmla="*/ 0 w 57"/>
                <a:gd name="T23" fmla="*/ 38 h 46"/>
                <a:gd name="T24" fmla="*/ 7 w 57"/>
                <a:gd name="T25" fmla="*/ 0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57" h="46">
                  <a:moveTo>
                    <a:pt x="7" y="0"/>
                  </a:moveTo>
                  <a:lnTo>
                    <a:pt x="57" y="10"/>
                  </a:lnTo>
                  <a:lnTo>
                    <a:pt x="50" y="46"/>
                  </a:lnTo>
                  <a:lnTo>
                    <a:pt x="42" y="45"/>
                  </a:lnTo>
                  <a:lnTo>
                    <a:pt x="47" y="18"/>
                  </a:lnTo>
                  <a:lnTo>
                    <a:pt x="36" y="16"/>
                  </a:lnTo>
                  <a:lnTo>
                    <a:pt x="30" y="40"/>
                  </a:lnTo>
                  <a:lnTo>
                    <a:pt x="22" y="39"/>
                  </a:lnTo>
                  <a:lnTo>
                    <a:pt x="27" y="14"/>
                  </a:lnTo>
                  <a:lnTo>
                    <a:pt x="14" y="11"/>
                  </a:lnTo>
                  <a:lnTo>
                    <a:pt x="8" y="39"/>
                  </a:lnTo>
                  <a:lnTo>
                    <a:pt x="0" y="38"/>
                  </a:lnTo>
                  <a:lnTo>
                    <a:pt x="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35" name="ïşļiḋe"/>
            <p:cNvSpPr/>
            <p:nvPr/>
          </p:nvSpPr>
          <p:spPr bwMode="auto">
            <a:xfrm>
              <a:off x="1641372" y="5231403"/>
              <a:ext cx="88900" cy="71438"/>
            </a:xfrm>
            <a:custGeom>
              <a:avLst/>
              <a:gdLst>
                <a:gd name="T0" fmla="*/ 4 w 48"/>
                <a:gd name="T1" fmla="*/ 0 h 39"/>
                <a:gd name="T2" fmla="*/ 48 w 48"/>
                <a:gd name="T3" fmla="*/ 4 h 39"/>
                <a:gd name="T4" fmla="*/ 46 w 48"/>
                <a:gd name="T5" fmla="*/ 23 h 39"/>
                <a:gd name="T6" fmla="*/ 44 w 48"/>
                <a:gd name="T7" fmla="*/ 33 h 39"/>
                <a:gd name="T8" fmla="*/ 39 w 48"/>
                <a:gd name="T9" fmla="*/ 38 h 39"/>
                <a:gd name="T10" fmla="*/ 32 w 48"/>
                <a:gd name="T11" fmla="*/ 39 h 39"/>
                <a:gd name="T12" fmla="*/ 24 w 48"/>
                <a:gd name="T13" fmla="*/ 35 h 39"/>
                <a:gd name="T14" fmla="*/ 21 w 48"/>
                <a:gd name="T15" fmla="*/ 26 h 39"/>
                <a:gd name="T16" fmla="*/ 17 w 48"/>
                <a:gd name="T17" fmla="*/ 30 h 39"/>
                <a:gd name="T18" fmla="*/ 9 w 48"/>
                <a:gd name="T19" fmla="*/ 35 h 39"/>
                <a:gd name="T20" fmla="*/ 0 w 48"/>
                <a:gd name="T21" fmla="*/ 39 h 39"/>
                <a:gd name="T22" fmla="*/ 1 w 48"/>
                <a:gd name="T23" fmla="*/ 29 h 39"/>
                <a:gd name="T24" fmla="*/ 12 w 48"/>
                <a:gd name="T25" fmla="*/ 23 h 39"/>
                <a:gd name="T26" fmla="*/ 18 w 48"/>
                <a:gd name="T27" fmla="*/ 19 h 39"/>
                <a:gd name="T28" fmla="*/ 20 w 48"/>
                <a:gd name="T29" fmla="*/ 17 h 39"/>
                <a:gd name="T30" fmla="*/ 21 w 48"/>
                <a:gd name="T31" fmla="*/ 12 h 39"/>
                <a:gd name="T32" fmla="*/ 22 w 48"/>
                <a:gd name="T33" fmla="*/ 11 h 39"/>
                <a:gd name="T34" fmla="*/ 3 w 48"/>
                <a:gd name="T35" fmla="*/ 9 h 39"/>
                <a:gd name="T36" fmla="*/ 4 w 48"/>
                <a:gd name="T37" fmla="*/ 0 h 39"/>
                <a:gd name="T38" fmla="*/ 29 w 48"/>
                <a:gd name="T39" fmla="*/ 11 h 39"/>
                <a:gd name="T40" fmla="*/ 28 w 48"/>
                <a:gd name="T41" fmla="*/ 18 h 39"/>
                <a:gd name="T42" fmla="*/ 28 w 48"/>
                <a:gd name="T43" fmla="*/ 26 h 39"/>
                <a:gd name="T44" fmla="*/ 29 w 48"/>
                <a:gd name="T45" fmla="*/ 28 h 39"/>
                <a:gd name="T46" fmla="*/ 32 w 48"/>
                <a:gd name="T47" fmla="*/ 30 h 39"/>
                <a:gd name="T48" fmla="*/ 36 w 48"/>
                <a:gd name="T49" fmla="*/ 29 h 39"/>
                <a:gd name="T50" fmla="*/ 38 w 48"/>
                <a:gd name="T51" fmla="*/ 26 h 39"/>
                <a:gd name="T52" fmla="*/ 39 w 48"/>
                <a:gd name="T53" fmla="*/ 19 h 39"/>
                <a:gd name="T54" fmla="*/ 40 w 48"/>
                <a:gd name="T55" fmla="*/ 12 h 39"/>
                <a:gd name="T56" fmla="*/ 29 w 48"/>
                <a:gd name="T57" fmla="*/ 11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48" h="39">
                  <a:moveTo>
                    <a:pt x="4" y="0"/>
                  </a:moveTo>
                  <a:cubicBezTo>
                    <a:pt x="48" y="4"/>
                    <a:pt x="48" y="4"/>
                    <a:pt x="48" y="4"/>
                  </a:cubicBezTo>
                  <a:cubicBezTo>
                    <a:pt x="46" y="23"/>
                    <a:pt x="46" y="23"/>
                    <a:pt x="46" y="23"/>
                  </a:cubicBezTo>
                  <a:cubicBezTo>
                    <a:pt x="46" y="27"/>
                    <a:pt x="45" y="31"/>
                    <a:pt x="44" y="33"/>
                  </a:cubicBezTo>
                  <a:cubicBezTo>
                    <a:pt x="43" y="35"/>
                    <a:pt x="41" y="36"/>
                    <a:pt x="39" y="38"/>
                  </a:cubicBezTo>
                  <a:cubicBezTo>
                    <a:pt x="37" y="39"/>
                    <a:pt x="35" y="39"/>
                    <a:pt x="32" y="39"/>
                  </a:cubicBezTo>
                  <a:cubicBezTo>
                    <a:pt x="29" y="38"/>
                    <a:pt x="26" y="37"/>
                    <a:pt x="24" y="35"/>
                  </a:cubicBezTo>
                  <a:cubicBezTo>
                    <a:pt x="22" y="33"/>
                    <a:pt x="21" y="30"/>
                    <a:pt x="21" y="26"/>
                  </a:cubicBezTo>
                  <a:cubicBezTo>
                    <a:pt x="20" y="28"/>
                    <a:pt x="18" y="29"/>
                    <a:pt x="17" y="30"/>
                  </a:cubicBezTo>
                  <a:cubicBezTo>
                    <a:pt x="16" y="32"/>
                    <a:pt x="13" y="33"/>
                    <a:pt x="9" y="35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1" y="29"/>
                    <a:pt x="1" y="29"/>
                    <a:pt x="1" y="29"/>
                  </a:cubicBezTo>
                  <a:cubicBezTo>
                    <a:pt x="12" y="23"/>
                    <a:pt x="12" y="23"/>
                    <a:pt x="12" y="23"/>
                  </a:cubicBezTo>
                  <a:cubicBezTo>
                    <a:pt x="15" y="21"/>
                    <a:pt x="17" y="20"/>
                    <a:pt x="18" y="19"/>
                  </a:cubicBezTo>
                  <a:cubicBezTo>
                    <a:pt x="19" y="18"/>
                    <a:pt x="20" y="18"/>
                    <a:pt x="20" y="17"/>
                  </a:cubicBezTo>
                  <a:cubicBezTo>
                    <a:pt x="21" y="16"/>
                    <a:pt x="21" y="14"/>
                    <a:pt x="21" y="12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3" y="9"/>
                    <a:pt x="3" y="9"/>
                    <a:pt x="3" y="9"/>
                  </a:cubicBezTo>
                  <a:lnTo>
                    <a:pt x="4" y="0"/>
                  </a:lnTo>
                  <a:close/>
                  <a:moveTo>
                    <a:pt x="29" y="11"/>
                  </a:moveTo>
                  <a:cubicBezTo>
                    <a:pt x="28" y="18"/>
                    <a:pt x="28" y="18"/>
                    <a:pt x="28" y="18"/>
                  </a:cubicBezTo>
                  <a:cubicBezTo>
                    <a:pt x="28" y="22"/>
                    <a:pt x="27" y="25"/>
                    <a:pt x="28" y="26"/>
                  </a:cubicBezTo>
                  <a:cubicBezTo>
                    <a:pt x="28" y="27"/>
                    <a:pt x="28" y="28"/>
                    <a:pt x="29" y="28"/>
                  </a:cubicBezTo>
                  <a:cubicBezTo>
                    <a:pt x="30" y="29"/>
                    <a:pt x="31" y="30"/>
                    <a:pt x="32" y="30"/>
                  </a:cubicBezTo>
                  <a:cubicBezTo>
                    <a:pt x="34" y="30"/>
                    <a:pt x="35" y="30"/>
                    <a:pt x="36" y="29"/>
                  </a:cubicBezTo>
                  <a:cubicBezTo>
                    <a:pt x="37" y="28"/>
                    <a:pt x="38" y="27"/>
                    <a:pt x="38" y="26"/>
                  </a:cubicBezTo>
                  <a:cubicBezTo>
                    <a:pt x="38" y="25"/>
                    <a:pt x="39" y="23"/>
                    <a:pt x="39" y="19"/>
                  </a:cubicBezTo>
                  <a:cubicBezTo>
                    <a:pt x="40" y="12"/>
                    <a:pt x="40" y="12"/>
                    <a:pt x="40" y="12"/>
                  </a:cubicBezTo>
                  <a:lnTo>
                    <a:pt x="29" y="1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36" name="îś1iḓê"/>
            <p:cNvSpPr/>
            <p:nvPr/>
          </p:nvSpPr>
          <p:spPr bwMode="auto">
            <a:xfrm>
              <a:off x="1641372" y="5312365"/>
              <a:ext cx="82550" cy="66675"/>
            </a:xfrm>
            <a:custGeom>
              <a:avLst/>
              <a:gdLst>
                <a:gd name="T0" fmla="*/ 15 w 45"/>
                <a:gd name="T1" fmla="*/ 0 h 36"/>
                <a:gd name="T2" fmla="*/ 16 w 45"/>
                <a:gd name="T3" fmla="*/ 8 h 36"/>
                <a:gd name="T4" fmla="*/ 9 w 45"/>
                <a:gd name="T5" fmla="*/ 12 h 36"/>
                <a:gd name="T6" fmla="*/ 7 w 45"/>
                <a:gd name="T7" fmla="*/ 18 h 36"/>
                <a:gd name="T8" fmla="*/ 9 w 45"/>
                <a:gd name="T9" fmla="*/ 25 h 36"/>
                <a:gd name="T10" fmla="*/ 13 w 45"/>
                <a:gd name="T11" fmla="*/ 27 h 36"/>
                <a:gd name="T12" fmla="*/ 16 w 45"/>
                <a:gd name="T13" fmla="*/ 26 h 36"/>
                <a:gd name="T14" fmla="*/ 18 w 45"/>
                <a:gd name="T15" fmla="*/ 23 h 36"/>
                <a:gd name="T16" fmla="*/ 20 w 45"/>
                <a:gd name="T17" fmla="*/ 15 h 36"/>
                <a:gd name="T18" fmla="*/ 24 w 45"/>
                <a:gd name="T19" fmla="*/ 5 h 36"/>
                <a:gd name="T20" fmla="*/ 33 w 45"/>
                <a:gd name="T21" fmla="*/ 1 h 36"/>
                <a:gd name="T22" fmla="*/ 39 w 45"/>
                <a:gd name="T23" fmla="*/ 3 h 36"/>
                <a:gd name="T24" fmla="*/ 44 w 45"/>
                <a:gd name="T25" fmla="*/ 9 h 36"/>
                <a:gd name="T26" fmla="*/ 45 w 45"/>
                <a:gd name="T27" fmla="*/ 17 h 36"/>
                <a:gd name="T28" fmla="*/ 42 w 45"/>
                <a:gd name="T29" fmla="*/ 30 h 36"/>
                <a:gd name="T30" fmla="*/ 32 w 45"/>
                <a:gd name="T31" fmla="*/ 34 h 36"/>
                <a:gd name="T32" fmla="*/ 31 w 45"/>
                <a:gd name="T33" fmla="*/ 25 h 36"/>
                <a:gd name="T34" fmla="*/ 36 w 45"/>
                <a:gd name="T35" fmla="*/ 23 h 36"/>
                <a:gd name="T36" fmla="*/ 38 w 45"/>
                <a:gd name="T37" fmla="*/ 17 h 36"/>
                <a:gd name="T38" fmla="*/ 36 w 45"/>
                <a:gd name="T39" fmla="*/ 11 h 36"/>
                <a:gd name="T40" fmla="*/ 33 w 45"/>
                <a:gd name="T41" fmla="*/ 10 h 36"/>
                <a:gd name="T42" fmla="*/ 31 w 45"/>
                <a:gd name="T43" fmla="*/ 11 h 36"/>
                <a:gd name="T44" fmla="*/ 28 w 45"/>
                <a:gd name="T45" fmla="*/ 19 h 36"/>
                <a:gd name="T46" fmla="*/ 25 w 45"/>
                <a:gd name="T47" fmla="*/ 29 h 36"/>
                <a:gd name="T48" fmla="*/ 20 w 45"/>
                <a:gd name="T49" fmla="*/ 34 h 36"/>
                <a:gd name="T50" fmla="*/ 13 w 45"/>
                <a:gd name="T51" fmla="*/ 36 h 36"/>
                <a:gd name="T52" fmla="*/ 6 w 45"/>
                <a:gd name="T53" fmla="*/ 33 h 36"/>
                <a:gd name="T54" fmla="*/ 1 w 45"/>
                <a:gd name="T55" fmla="*/ 28 h 36"/>
                <a:gd name="T56" fmla="*/ 0 w 45"/>
                <a:gd name="T57" fmla="*/ 18 h 36"/>
                <a:gd name="T58" fmla="*/ 3 w 45"/>
                <a:gd name="T59" fmla="*/ 5 h 36"/>
                <a:gd name="T60" fmla="*/ 15 w 45"/>
                <a:gd name="T61" fmla="*/ 0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45" h="36">
                  <a:moveTo>
                    <a:pt x="15" y="0"/>
                  </a:moveTo>
                  <a:cubicBezTo>
                    <a:pt x="16" y="8"/>
                    <a:pt x="16" y="8"/>
                    <a:pt x="16" y="8"/>
                  </a:cubicBezTo>
                  <a:cubicBezTo>
                    <a:pt x="13" y="9"/>
                    <a:pt x="10" y="10"/>
                    <a:pt x="9" y="12"/>
                  </a:cubicBezTo>
                  <a:cubicBezTo>
                    <a:pt x="8" y="13"/>
                    <a:pt x="7" y="15"/>
                    <a:pt x="7" y="18"/>
                  </a:cubicBezTo>
                  <a:cubicBezTo>
                    <a:pt x="7" y="21"/>
                    <a:pt x="8" y="23"/>
                    <a:pt x="9" y="25"/>
                  </a:cubicBezTo>
                  <a:cubicBezTo>
                    <a:pt x="10" y="26"/>
                    <a:pt x="12" y="27"/>
                    <a:pt x="13" y="27"/>
                  </a:cubicBezTo>
                  <a:cubicBezTo>
                    <a:pt x="14" y="27"/>
                    <a:pt x="15" y="26"/>
                    <a:pt x="16" y="26"/>
                  </a:cubicBezTo>
                  <a:cubicBezTo>
                    <a:pt x="17" y="25"/>
                    <a:pt x="17" y="24"/>
                    <a:pt x="18" y="23"/>
                  </a:cubicBezTo>
                  <a:cubicBezTo>
                    <a:pt x="18" y="22"/>
                    <a:pt x="19" y="19"/>
                    <a:pt x="20" y="15"/>
                  </a:cubicBezTo>
                  <a:cubicBezTo>
                    <a:pt x="21" y="11"/>
                    <a:pt x="22" y="7"/>
                    <a:pt x="24" y="5"/>
                  </a:cubicBezTo>
                  <a:cubicBezTo>
                    <a:pt x="26" y="3"/>
                    <a:pt x="29" y="1"/>
                    <a:pt x="33" y="1"/>
                  </a:cubicBezTo>
                  <a:cubicBezTo>
                    <a:pt x="35" y="1"/>
                    <a:pt x="37" y="2"/>
                    <a:pt x="39" y="3"/>
                  </a:cubicBezTo>
                  <a:cubicBezTo>
                    <a:pt x="41" y="4"/>
                    <a:pt x="43" y="6"/>
                    <a:pt x="44" y="9"/>
                  </a:cubicBezTo>
                  <a:cubicBezTo>
                    <a:pt x="45" y="11"/>
                    <a:pt x="45" y="14"/>
                    <a:pt x="45" y="17"/>
                  </a:cubicBezTo>
                  <a:cubicBezTo>
                    <a:pt x="45" y="23"/>
                    <a:pt x="44" y="27"/>
                    <a:pt x="42" y="30"/>
                  </a:cubicBezTo>
                  <a:cubicBezTo>
                    <a:pt x="39" y="33"/>
                    <a:pt x="36" y="34"/>
                    <a:pt x="32" y="34"/>
                  </a:cubicBezTo>
                  <a:cubicBezTo>
                    <a:pt x="31" y="25"/>
                    <a:pt x="31" y="25"/>
                    <a:pt x="31" y="25"/>
                  </a:cubicBezTo>
                  <a:cubicBezTo>
                    <a:pt x="34" y="25"/>
                    <a:pt x="35" y="24"/>
                    <a:pt x="36" y="23"/>
                  </a:cubicBezTo>
                  <a:cubicBezTo>
                    <a:pt x="37" y="22"/>
                    <a:pt x="38" y="20"/>
                    <a:pt x="38" y="17"/>
                  </a:cubicBezTo>
                  <a:cubicBezTo>
                    <a:pt x="38" y="15"/>
                    <a:pt x="37" y="13"/>
                    <a:pt x="36" y="11"/>
                  </a:cubicBezTo>
                  <a:cubicBezTo>
                    <a:pt x="35" y="10"/>
                    <a:pt x="35" y="10"/>
                    <a:pt x="33" y="10"/>
                  </a:cubicBezTo>
                  <a:cubicBezTo>
                    <a:pt x="32" y="10"/>
                    <a:pt x="31" y="10"/>
                    <a:pt x="31" y="11"/>
                  </a:cubicBezTo>
                  <a:cubicBezTo>
                    <a:pt x="30" y="12"/>
                    <a:pt x="29" y="15"/>
                    <a:pt x="28" y="19"/>
                  </a:cubicBezTo>
                  <a:cubicBezTo>
                    <a:pt x="27" y="24"/>
                    <a:pt x="26" y="27"/>
                    <a:pt x="25" y="29"/>
                  </a:cubicBezTo>
                  <a:cubicBezTo>
                    <a:pt x="24" y="31"/>
                    <a:pt x="22" y="33"/>
                    <a:pt x="20" y="34"/>
                  </a:cubicBezTo>
                  <a:cubicBezTo>
                    <a:pt x="18" y="35"/>
                    <a:pt x="16" y="36"/>
                    <a:pt x="13" y="36"/>
                  </a:cubicBezTo>
                  <a:cubicBezTo>
                    <a:pt x="11" y="36"/>
                    <a:pt x="8" y="35"/>
                    <a:pt x="6" y="33"/>
                  </a:cubicBezTo>
                  <a:cubicBezTo>
                    <a:pt x="4" y="32"/>
                    <a:pt x="2" y="30"/>
                    <a:pt x="1" y="28"/>
                  </a:cubicBezTo>
                  <a:cubicBezTo>
                    <a:pt x="0" y="25"/>
                    <a:pt x="0" y="22"/>
                    <a:pt x="0" y="18"/>
                  </a:cubicBezTo>
                  <a:cubicBezTo>
                    <a:pt x="0" y="12"/>
                    <a:pt x="1" y="8"/>
                    <a:pt x="3" y="5"/>
                  </a:cubicBezTo>
                  <a:cubicBezTo>
                    <a:pt x="6" y="2"/>
                    <a:pt x="10" y="0"/>
                    <a:pt x="15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37" name="íş1ïḓe"/>
            <p:cNvSpPr/>
            <p:nvPr/>
          </p:nvSpPr>
          <p:spPr bwMode="auto">
            <a:xfrm>
              <a:off x="1642959" y="5385390"/>
              <a:ext cx="84138" cy="22225"/>
            </a:xfrm>
            <a:custGeom>
              <a:avLst/>
              <a:gdLst>
                <a:gd name="T0" fmla="*/ 0 w 53"/>
                <a:gd name="T1" fmla="*/ 5 h 14"/>
                <a:gd name="T2" fmla="*/ 51 w 53"/>
                <a:gd name="T3" fmla="*/ 0 h 14"/>
                <a:gd name="T4" fmla="*/ 53 w 53"/>
                <a:gd name="T5" fmla="*/ 11 h 14"/>
                <a:gd name="T6" fmla="*/ 1 w 53"/>
                <a:gd name="T7" fmla="*/ 14 h 14"/>
                <a:gd name="T8" fmla="*/ 0 w 53"/>
                <a:gd name="T9" fmla="*/ 5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3" h="14">
                  <a:moveTo>
                    <a:pt x="0" y="5"/>
                  </a:moveTo>
                  <a:lnTo>
                    <a:pt x="51" y="0"/>
                  </a:lnTo>
                  <a:lnTo>
                    <a:pt x="53" y="11"/>
                  </a:lnTo>
                  <a:lnTo>
                    <a:pt x="1" y="14"/>
                  </a:lnTo>
                  <a:lnTo>
                    <a:pt x="0" y="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38" name="ïṩlîḋè"/>
            <p:cNvSpPr/>
            <p:nvPr/>
          </p:nvSpPr>
          <p:spPr bwMode="auto">
            <a:xfrm>
              <a:off x="1649309" y="5407615"/>
              <a:ext cx="84138" cy="66675"/>
            </a:xfrm>
            <a:custGeom>
              <a:avLst/>
              <a:gdLst>
                <a:gd name="T0" fmla="*/ 0 w 53"/>
                <a:gd name="T1" fmla="*/ 22 h 42"/>
                <a:gd name="T2" fmla="*/ 42 w 53"/>
                <a:gd name="T3" fmla="*/ 17 h 42"/>
                <a:gd name="T4" fmla="*/ 39 w 53"/>
                <a:gd name="T5" fmla="*/ 1 h 42"/>
                <a:gd name="T6" fmla="*/ 49 w 53"/>
                <a:gd name="T7" fmla="*/ 0 h 42"/>
                <a:gd name="T8" fmla="*/ 53 w 53"/>
                <a:gd name="T9" fmla="*/ 41 h 42"/>
                <a:gd name="T10" fmla="*/ 45 w 53"/>
                <a:gd name="T11" fmla="*/ 42 h 42"/>
                <a:gd name="T12" fmla="*/ 43 w 53"/>
                <a:gd name="T13" fmla="*/ 27 h 42"/>
                <a:gd name="T14" fmla="*/ 1 w 53"/>
                <a:gd name="T15" fmla="*/ 33 h 42"/>
                <a:gd name="T16" fmla="*/ 0 w 53"/>
                <a:gd name="T17" fmla="*/ 22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3" h="42">
                  <a:moveTo>
                    <a:pt x="0" y="22"/>
                  </a:moveTo>
                  <a:lnTo>
                    <a:pt x="42" y="17"/>
                  </a:lnTo>
                  <a:lnTo>
                    <a:pt x="39" y="1"/>
                  </a:lnTo>
                  <a:lnTo>
                    <a:pt x="49" y="0"/>
                  </a:lnTo>
                  <a:lnTo>
                    <a:pt x="53" y="41"/>
                  </a:lnTo>
                  <a:lnTo>
                    <a:pt x="45" y="42"/>
                  </a:lnTo>
                  <a:lnTo>
                    <a:pt x="43" y="27"/>
                  </a:lnTo>
                  <a:lnTo>
                    <a:pt x="1" y="33"/>
                  </a:lnTo>
                  <a:lnTo>
                    <a:pt x="0" y="2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39" name="ïṣľîďe"/>
            <p:cNvSpPr/>
            <p:nvPr/>
          </p:nvSpPr>
          <p:spPr bwMode="auto">
            <a:xfrm>
              <a:off x="1662009" y="5471115"/>
              <a:ext cx="90488" cy="73025"/>
            </a:xfrm>
            <a:custGeom>
              <a:avLst/>
              <a:gdLst>
                <a:gd name="T0" fmla="*/ 0 w 57"/>
                <a:gd name="T1" fmla="*/ 29 h 46"/>
                <a:gd name="T2" fmla="*/ 21 w 57"/>
                <a:gd name="T3" fmla="*/ 24 h 46"/>
                <a:gd name="T4" fmla="*/ 45 w 57"/>
                <a:gd name="T5" fmla="*/ 0 h 46"/>
                <a:gd name="T6" fmla="*/ 49 w 57"/>
                <a:gd name="T7" fmla="*/ 11 h 46"/>
                <a:gd name="T8" fmla="*/ 31 w 57"/>
                <a:gd name="T9" fmla="*/ 28 h 46"/>
                <a:gd name="T10" fmla="*/ 53 w 57"/>
                <a:gd name="T11" fmla="*/ 35 h 46"/>
                <a:gd name="T12" fmla="*/ 57 w 57"/>
                <a:gd name="T13" fmla="*/ 46 h 46"/>
                <a:gd name="T14" fmla="*/ 23 w 57"/>
                <a:gd name="T15" fmla="*/ 35 h 46"/>
                <a:gd name="T16" fmla="*/ 2 w 57"/>
                <a:gd name="T17" fmla="*/ 39 h 46"/>
                <a:gd name="T18" fmla="*/ 0 w 57"/>
                <a:gd name="T19" fmla="*/ 29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7" h="46">
                  <a:moveTo>
                    <a:pt x="0" y="29"/>
                  </a:moveTo>
                  <a:lnTo>
                    <a:pt x="21" y="24"/>
                  </a:lnTo>
                  <a:lnTo>
                    <a:pt x="45" y="0"/>
                  </a:lnTo>
                  <a:lnTo>
                    <a:pt x="49" y="11"/>
                  </a:lnTo>
                  <a:lnTo>
                    <a:pt x="31" y="28"/>
                  </a:lnTo>
                  <a:lnTo>
                    <a:pt x="53" y="35"/>
                  </a:lnTo>
                  <a:lnTo>
                    <a:pt x="57" y="46"/>
                  </a:lnTo>
                  <a:lnTo>
                    <a:pt x="23" y="35"/>
                  </a:lnTo>
                  <a:lnTo>
                    <a:pt x="2" y="39"/>
                  </a:lnTo>
                  <a:lnTo>
                    <a:pt x="0" y="2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40" name="íśļiḓe"/>
            <p:cNvSpPr/>
            <p:nvPr/>
          </p:nvSpPr>
          <p:spPr bwMode="auto">
            <a:xfrm>
              <a:off x="1704872" y="5609228"/>
              <a:ext cx="85725" cy="80963"/>
            </a:xfrm>
            <a:custGeom>
              <a:avLst/>
              <a:gdLst>
                <a:gd name="T0" fmla="*/ 15 w 47"/>
                <a:gd name="T1" fmla="*/ 2 h 44"/>
                <a:gd name="T2" fmla="*/ 26 w 47"/>
                <a:gd name="T3" fmla="*/ 0 h 44"/>
                <a:gd name="T4" fmla="*/ 33 w 47"/>
                <a:gd name="T5" fmla="*/ 1 h 44"/>
                <a:gd name="T6" fmla="*/ 39 w 47"/>
                <a:gd name="T7" fmla="*/ 4 h 44"/>
                <a:gd name="T8" fmla="*/ 44 w 47"/>
                <a:gd name="T9" fmla="*/ 12 h 44"/>
                <a:gd name="T10" fmla="*/ 45 w 47"/>
                <a:gd name="T11" fmla="*/ 29 h 44"/>
                <a:gd name="T12" fmla="*/ 32 w 47"/>
                <a:gd name="T13" fmla="*/ 41 h 44"/>
                <a:gd name="T14" fmla="*/ 15 w 47"/>
                <a:gd name="T15" fmla="*/ 43 h 44"/>
                <a:gd name="T16" fmla="*/ 3 w 47"/>
                <a:gd name="T17" fmla="*/ 31 h 44"/>
                <a:gd name="T18" fmla="*/ 2 w 47"/>
                <a:gd name="T19" fmla="*/ 14 h 44"/>
                <a:gd name="T20" fmla="*/ 15 w 47"/>
                <a:gd name="T21" fmla="*/ 2 h 44"/>
                <a:gd name="T22" fmla="*/ 19 w 47"/>
                <a:gd name="T23" fmla="*/ 10 h 44"/>
                <a:gd name="T24" fmla="*/ 10 w 47"/>
                <a:gd name="T25" fmla="*/ 18 h 44"/>
                <a:gd name="T26" fmla="*/ 10 w 47"/>
                <a:gd name="T27" fmla="*/ 28 h 44"/>
                <a:gd name="T28" fmla="*/ 17 w 47"/>
                <a:gd name="T29" fmla="*/ 34 h 44"/>
                <a:gd name="T30" fmla="*/ 29 w 47"/>
                <a:gd name="T31" fmla="*/ 33 h 44"/>
                <a:gd name="T32" fmla="*/ 38 w 47"/>
                <a:gd name="T33" fmla="*/ 25 h 44"/>
                <a:gd name="T34" fmla="*/ 37 w 47"/>
                <a:gd name="T35" fmla="*/ 16 h 44"/>
                <a:gd name="T36" fmla="*/ 30 w 47"/>
                <a:gd name="T37" fmla="*/ 9 h 44"/>
                <a:gd name="T38" fmla="*/ 19 w 47"/>
                <a:gd name="T39" fmla="*/ 10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47" h="44">
                  <a:moveTo>
                    <a:pt x="15" y="2"/>
                  </a:moveTo>
                  <a:cubicBezTo>
                    <a:pt x="19" y="0"/>
                    <a:pt x="23" y="0"/>
                    <a:pt x="26" y="0"/>
                  </a:cubicBezTo>
                  <a:cubicBezTo>
                    <a:pt x="28" y="0"/>
                    <a:pt x="31" y="0"/>
                    <a:pt x="33" y="1"/>
                  </a:cubicBezTo>
                  <a:cubicBezTo>
                    <a:pt x="35" y="2"/>
                    <a:pt x="37" y="3"/>
                    <a:pt x="39" y="4"/>
                  </a:cubicBezTo>
                  <a:cubicBezTo>
                    <a:pt x="41" y="6"/>
                    <a:pt x="43" y="9"/>
                    <a:pt x="44" y="12"/>
                  </a:cubicBezTo>
                  <a:cubicBezTo>
                    <a:pt x="47" y="18"/>
                    <a:pt x="47" y="24"/>
                    <a:pt x="45" y="29"/>
                  </a:cubicBezTo>
                  <a:cubicBezTo>
                    <a:pt x="43" y="34"/>
                    <a:pt x="39" y="38"/>
                    <a:pt x="32" y="41"/>
                  </a:cubicBezTo>
                  <a:cubicBezTo>
                    <a:pt x="26" y="44"/>
                    <a:pt x="20" y="44"/>
                    <a:pt x="15" y="43"/>
                  </a:cubicBezTo>
                  <a:cubicBezTo>
                    <a:pt x="9" y="41"/>
                    <a:pt x="5" y="37"/>
                    <a:pt x="3" y="31"/>
                  </a:cubicBezTo>
                  <a:cubicBezTo>
                    <a:pt x="0" y="25"/>
                    <a:pt x="0" y="19"/>
                    <a:pt x="2" y="14"/>
                  </a:cubicBezTo>
                  <a:cubicBezTo>
                    <a:pt x="4" y="9"/>
                    <a:pt x="8" y="5"/>
                    <a:pt x="15" y="2"/>
                  </a:cubicBezTo>
                  <a:close/>
                  <a:moveTo>
                    <a:pt x="19" y="10"/>
                  </a:moveTo>
                  <a:cubicBezTo>
                    <a:pt x="14" y="12"/>
                    <a:pt x="11" y="15"/>
                    <a:pt x="10" y="18"/>
                  </a:cubicBezTo>
                  <a:cubicBezTo>
                    <a:pt x="8" y="21"/>
                    <a:pt x="8" y="24"/>
                    <a:pt x="10" y="28"/>
                  </a:cubicBezTo>
                  <a:cubicBezTo>
                    <a:pt x="11" y="31"/>
                    <a:pt x="13" y="33"/>
                    <a:pt x="17" y="34"/>
                  </a:cubicBezTo>
                  <a:cubicBezTo>
                    <a:pt x="20" y="35"/>
                    <a:pt x="24" y="35"/>
                    <a:pt x="29" y="33"/>
                  </a:cubicBezTo>
                  <a:cubicBezTo>
                    <a:pt x="33" y="31"/>
                    <a:pt x="36" y="28"/>
                    <a:pt x="38" y="25"/>
                  </a:cubicBezTo>
                  <a:cubicBezTo>
                    <a:pt x="39" y="22"/>
                    <a:pt x="39" y="19"/>
                    <a:pt x="37" y="16"/>
                  </a:cubicBezTo>
                  <a:cubicBezTo>
                    <a:pt x="36" y="12"/>
                    <a:pt x="34" y="10"/>
                    <a:pt x="30" y="9"/>
                  </a:cubicBezTo>
                  <a:cubicBezTo>
                    <a:pt x="27" y="8"/>
                    <a:pt x="23" y="8"/>
                    <a:pt x="19" y="1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41" name="î$ḷïďe"/>
            <p:cNvSpPr/>
            <p:nvPr/>
          </p:nvSpPr>
          <p:spPr bwMode="auto">
            <a:xfrm>
              <a:off x="1733447" y="5675903"/>
              <a:ext cx="98425" cy="66675"/>
            </a:xfrm>
            <a:custGeom>
              <a:avLst/>
              <a:gdLst>
                <a:gd name="T0" fmla="*/ 0 w 62"/>
                <a:gd name="T1" fmla="*/ 26 h 42"/>
                <a:gd name="T2" fmla="*/ 45 w 62"/>
                <a:gd name="T3" fmla="*/ 0 h 42"/>
                <a:gd name="T4" fmla="*/ 62 w 62"/>
                <a:gd name="T5" fmla="*/ 30 h 42"/>
                <a:gd name="T6" fmla="*/ 55 w 62"/>
                <a:gd name="T7" fmla="*/ 35 h 42"/>
                <a:gd name="T8" fmla="*/ 43 w 62"/>
                <a:gd name="T9" fmla="*/ 14 h 42"/>
                <a:gd name="T10" fmla="*/ 32 w 62"/>
                <a:gd name="T11" fmla="*/ 20 h 42"/>
                <a:gd name="T12" fmla="*/ 43 w 62"/>
                <a:gd name="T13" fmla="*/ 38 h 42"/>
                <a:gd name="T14" fmla="*/ 35 w 62"/>
                <a:gd name="T15" fmla="*/ 42 h 42"/>
                <a:gd name="T16" fmla="*/ 25 w 62"/>
                <a:gd name="T17" fmla="*/ 23 h 42"/>
                <a:gd name="T18" fmla="*/ 6 w 62"/>
                <a:gd name="T19" fmla="*/ 35 h 42"/>
                <a:gd name="T20" fmla="*/ 0 w 62"/>
                <a:gd name="T21" fmla="*/ 26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62" h="42">
                  <a:moveTo>
                    <a:pt x="0" y="26"/>
                  </a:moveTo>
                  <a:lnTo>
                    <a:pt x="45" y="0"/>
                  </a:lnTo>
                  <a:lnTo>
                    <a:pt x="62" y="30"/>
                  </a:lnTo>
                  <a:lnTo>
                    <a:pt x="55" y="35"/>
                  </a:lnTo>
                  <a:lnTo>
                    <a:pt x="43" y="14"/>
                  </a:lnTo>
                  <a:lnTo>
                    <a:pt x="32" y="20"/>
                  </a:lnTo>
                  <a:lnTo>
                    <a:pt x="43" y="38"/>
                  </a:lnTo>
                  <a:lnTo>
                    <a:pt x="35" y="42"/>
                  </a:lnTo>
                  <a:lnTo>
                    <a:pt x="25" y="23"/>
                  </a:lnTo>
                  <a:lnTo>
                    <a:pt x="6" y="35"/>
                  </a:lnTo>
                  <a:lnTo>
                    <a:pt x="0" y="2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42" name="îśḻîḍe"/>
            <p:cNvSpPr/>
            <p:nvPr/>
          </p:nvSpPr>
          <p:spPr bwMode="auto">
            <a:xfrm>
              <a:off x="1812822" y="5785440"/>
              <a:ext cx="85725" cy="82550"/>
            </a:xfrm>
            <a:custGeom>
              <a:avLst/>
              <a:gdLst>
                <a:gd name="T0" fmla="*/ 6 w 46"/>
                <a:gd name="T1" fmla="*/ 13 h 45"/>
                <a:gd name="T2" fmla="*/ 12 w 46"/>
                <a:gd name="T3" fmla="*/ 19 h 45"/>
                <a:gd name="T4" fmla="*/ 9 w 46"/>
                <a:gd name="T5" fmla="*/ 26 h 45"/>
                <a:gd name="T6" fmla="*/ 11 w 46"/>
                <a:gd name="T7" fmla="*/ 32 h 45"/>
                <a:gd name="T8" fmla="*/ 17 w 46"/>
                <a:gd name="T9" fmla="*/ 36 h 45"/>
                <a:gd name="T10" fmla="*/ 22 w 46"/>
                <a:gd name="T11" fmla="*/ 35 h 45"/>
                <a:gd name="T12" fmla="*/ 23 w 46"/>
                <a:gd name="T13" fmla="*/ 32 h 45"/>
                <a:gd name="T14" fmla="*/ 22 w 46"/>
                <a:gd name="T15" fmla="*/ 29 h 45"/>
                <a:gd name="T16" fmla="*/ 19 w 46"/>
                <a:gd name="T17" fmla="*/ 22 h 45"/>
                <a:gd name="T18" fmla="*/ 16 w 46"/>
                <a:gd name="T19" fmla="*/ 12 h 45"/>
                <a:gd name="T20" fmla="*/ 21 w 46"/>
                <a:gd name="T21" fmla="*/ 3 h 45"/>
                <a:gd name="T22" fmla="*/ 27 w 46"/>
                <a:gd name="T23" fmla="*/ 0 h 45"/>
                <a:gd name="T24" fmla="*/ 34 w 46"/>
                <a:gd name="T25" fmla="*/ 2 h 45"/>
                <a:gd name="T26" fmla="*/ 40 w 46"/>
                <a:gd name="T27" fmla="*/ 8 h 45"/>
                <a:gd name="T28" fmla="*/ 45 w 46"/>
                <a:gd name="T29" fmla="*/ 19 h 45"/>
                <a:gd name="T30" fmla="*/ 41 w 46"/>
                <a:gd name="T31" fmla="*/ 29 h 45"/>
                <a:gd name="T32" fmla="*/ 35 w 46"/>
                <a:gd name="T33" fmla="*/ 22 h 45"/>
                <a:gd name="T34" fmla="*/ 37 w 46"/>
                <a:gd name="T35" fmla="*/ 17 h 45"/>
                <a:gd name="T36" fmla="*/ 35 w 46"/>
                <a:gd name="T37" fmla="*/ 12 h 45"/>
                <a:gd name="T38" fmla="*/ 30 w 46"/>
                <a:gd name="T39" fmla="*/ 8 h 45"/>
                <a:gd name="T40" fmla="*/ 27 w 46"/>
                <a:gd name="T41" fmla="*/ 9 h 45"/>
                <a:gd name="T42" fmla="*/ 25 w 46"/>
                <a:gd name="T43" fmla="*/ 12 h 45"/>
                <a:gd name="T44" fmla="*/ 28 w 46"/>
                <a:gd name="T45" fmla="*/ 20 h 45"/>
                <a:gd name="T46" fmla="*/ 32 w 46"/>
                <a:gd name="T47" fmla="*/ 29 h 45"/>
                <a:gd name="T48" fmla="*/ 31 w 46"/>
                <a:gd name="T49" fmla="*/ 36 h 45"/>
                <a:gd name="T50" fmla="*/ 27 w 46"/>
                <a:gd name="T51" fmla="*/ 42 h 45"/>
                <a:gd name="T52" fmla="*/ 20 w 46"/>
                <a:gd name="T53" fmla="*/ 45 h 45"/>
                <a:gd name="T54" fmla="*/ 13 w 46"/>
                <a:gd name="T55" fmla="*/ 43 h 45"/>
                <a:gd name="T56" fmla="*/ 6 w 46"/>
                <a:gd name="T57" fmla="*/ 37 h 45"/>
                <a:gd name="T58" fmla="*/ 0 w 46"/>
                <a:gd name="T59" fmla="*/ 24 h 45"/>
                <a:gd name="T60" fmla="*/ 6 w 46"/>
                <a:gd name="T61" fmla="*/ 13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46" h="45">
                  <a:moveTo>
                    <a:pt x="6" y="13"/>
                  </a:moveTo>
                  <a:cubicBezTo>
                    <a:pt x="12" y="19"/>
                    <a:pt x="12" y="19"/>
                    <a:pt x="12" y="19"/>
                  </a:cubicBezTo>
                  <a:cubicBezTo>
                    <a:pt x="10" y="21"/>
                    <a:pt x="9" y="24"/>
                    <a:pt x="9" y="26"/>
                  </a:cubicBezTo>
                  <a:cubicBezTo>
                    <a:pt x="9" y="28"/>
                    <a:pt x="10" y="30"/>
                    <a:pt x="11" y="32"/>
                  </a:cubicBezTo>
                  <a:cubicBezTo>
                    <a:pt x="13" y="34"/>
                    <a:pt x="15" y="35"/>
                    <a:pt x="17" y="36"/>
                  </a:cubicBezTo>
                  <a:cubicBezTo>
                    <a:pt x="19" y="36"/>
                    <a:pt x="20" y="36"/>
                    <a:pt x="22" y="35"/>
                  </a:cubicBezTo>
                  <a:cubicBezTo>
                    <a:pt x="22" y="34"/>
                    <a:pt x="23" y="33"/>
                    <a:pt x="23" y="32"/>
                  </a:cubicBezTo>
                  <a:cubicBezTo>
                    <a:pt x="23" y="32"/>
                    <a:pt x="23" y="30"/>
                    <a:pt x="22" y="29"/>
                  </a:cubicBezTo>
                  <a:cubicBezTo>
                    <a:pt x="22" y="28"/>
                    <a:pt x="21" y="26"/>
                    <a:pt x="19" y="22"/>
                  </a:cubicBezTo>
                  <a:cubicBezTo>
                    <a:pt x="17" y="18"/>
                    <a:pt x="16" y="14"/>
                    <a:pt x="16" y="12"/>
                  </a:cubicBezTo>
                  <a:cubicBezTo>
                    <a:pt x="17" y="8"/>
                    <a:pt x="18" y="5"/>
                    <a:pt x="21" y="3"/>
                  </a:cubicBezTo>
                  <a:cubicBezTo>
                    <a:pt x="23" y="1"/>
                    <a:pt x="25" y="1"/>
                    <a:pt x="27" y="0"/>
                  </a:cubicBezTo>
                  <a:cubicBezTo>
                    <a:pt x="29" y="0"/>
                    <a:pt x="31" y="1"/>
                    <a:pt x="34" y="2"/>
                  </a:cubicBezTo>
                  <a:cubicBezTo>
                    <a:pt x="36" y="3"/>
                    <a:pt x="38" y="5"/>
                    <a:pt x="40" y="8"/>
                  </a:cubicBezTo>
                  <a:cubicBezTo>
                    <a:pt x="44" y="12"/>
                    <a:pt x="46" y="16"/>
                    <a:pt x="45" y="19"/>
                  </a:cubicBezTo>
                  <a:cubicBezTo>
                    <a:pt x="45" y="23"/>
                    <a:pt x="44" y="26"/>
                    <a:pt x="41" y="29"/>
                  </a:cubicBezTo>
                  <a:cubicBezTo>
                    <a:pt x="35" y="22"/>
                    <a:pt x="35" y="22"/>
                    <a:pt x="35" y="22"/>
                  </a:cubicBezTo>
                  <a:cubicBezTo>
                    <a:pt x="36" y="21"/>
                    <a:pt x="37" y="19"/>
                    <a:pt x="37" y="17"/>
                  </a:cubicBezTo>
                  <a:cubicBezTo>
                    <a:pt x="37" y="16"/>
                    <a:pt x="36" y="14"/>
                    <a:pt x="35" y="12"/>
                  </a:cubicBezTo>
                  <a:cubicBezTo>
                    <a:pt x="33" y="10"/>
                    <a:pt x="31" y="9"/>
                    <a:pt x="30" y="8"/>
                  </a:cubicBezTo>
                  <a:cubicBezTo>
                    <a:pt x="28" y="8"/>
                    <a:pt x="27" y="8"/>
                    <a:pt x="27" y="9"/>
                  </a:cubicBezTo>
                  <a:cubicBezTo>
                    <a:pt x="26" y="10"/>
                    <a:pt x="25" y="11"/>
                    <a:pt x="25" y="12"/>
                  </a:cubicBezTo>
                  <a:cubicBezTo>
                    <a:pt x="25" y="13"/>
                    <a:pt x="26" y="16"/>
                    <a:pt x="28" y="20"/>
                  </a:cubicBezTo>
                  <a:cubicBezTo>
                    <a:pt x="30" y="24"/>
                    <a:pt x="31" y="27"/>
                    <a:pt x="32" y="29"/>
                  </a:cubicBezTo>
                  <a:cubicBezTo>
                    <a:pt x="32" y="32"/>
                    <a:pt x="32" y="34"/>
                    <a:pt x="31" y="36"/>
                  </a:cubicBezTo>
                  <a:cubicBezTo>
                    <a:pt x="31" y="38"/>
                    <a:pt x="29" y="40"/>
                    <a:pt x="27" y="42"/>
                  </a:cubicBezTo>
                  <a:cubicBezTo>
                    <a:pt x="25" y="43"/>
                    <a:pt x="23" y="44"/>
                    <a:pt x="20" y="45"/>
                  </a:cubicBezTo>
                  <a:cubicBezTo>
                    <a:pt x="18" y="45"/>
                    <a:pt x="15" y="44"/>
                    <a:pt x="13" y="43"/>
                  </a:cubicBezTo>
                  <a:cubicBezTo>
                    <a:pt x="10" y="42"/>
                    <a:pt x="8" y="40"/>
                    <a:pt x="6" y="37"/>
                  </a:cubicBezTo>
                  <a:cubicBezTo>
                    <a:pt x="2" y="32"/>
                    <a:pt x="0" y="28"/>
                    <a:pt x="0" y="24"/>
                  </a:cubicBezTo>
                  <a:cubicBezTo>
                    <a:pt x="1" y="20"/>
                    <a:pt x="2" y="17"/>
                    <a:pt x="6" y="1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43" name="í$ļîḋê"/>
            <p:cNvSpPr/>
            <p:nvPr/>
          </p:nvSpPr>
          <p:spPr bwMode="auto">
            <a:xfrm>
              <a:off x="1868384" y="5844178"/>
              <a:ext cx="82550" cy="82550"/>
            </a:xfrm>
            <a:custGeom>
              <a:avLst/>
              <a:gdLst>
                <a:gd name="T0" fmla="*/ 25 w 45"/>
                <a:gd name="T1" fmla="*/ 33 h 45"/>
                <a:gd name="T2" fmla="*/ 29 w 45"/>
                <a:gd name="T3" fmla="*/ 41 h 45"/>
                <a:gd name="T4" fmla="*/ 17 w 45"/>
                <a:gd name="T5" fmla="*/ 44 h 45"/>
                <a:gd name="T6" fmla="*/ 6 w 45"/>
                <a:gd name="T7" fmla="*/ 38 h 45"/>
                <a:gd name="T8" fmla="*/ 0 w 45"/>
                <a:gd name="T9" fmla="*/ 24 h 45"/>
                <a:gd name="T10" fmla="*/ 8 w 45"/>
                <a:gd name="T11" fmla="*/ 8 h 45"/>
                <a:gd name="T12" fmla="*/ 24 w 45"/>
                <a:gd name="T13" fmla="*/ 0 h 45"/>
                <a:gd name="T14" fmla="*/ 39 w 45"/>
                <a:gd name="T15" fmla="*/ 7 h 45"/>
                <a:gd name="T16" fmla="*/ 45 w 45"/>
                <a:gd name="T17" fmla="*/ 19 h 45"/>
                <a:gd name="T18" fmla="*/ 42 w 45"/>
                <a:gd name="T19" fmla="*/ 28 h 45"/>
                <a:gd name="T20" fmla="*/ 34 w 45"/>
                <a:gd name="T21" fmla="*/ 23 h 45"/>
                <a:gd name="T22" fmla="*/ 36 w 45"/>
                <a:gd name="T23" fmla="*/ 17 h 45"/>
                <a:gd name="T24" fmla="*/ 33 w 45"/>
                <a:gd name="T25" fmla="*/ 12 h 45"/>
                <a:gd name="T26" fmla="*/ 25 w 45"/>
                <a:gd name="T27" fmla="*/ 9 h 45"/>
                <a:gd name="T28" fmla="*/ 15 w 45"/>
                <a:gd name="T29" fmla="*/ 14 h 45"/>
                <a:gd name="T30" fmla="*/ 8 w 45"/>
                <a:gd name="T31" fmla="*/ 25 h 45"/>
                <a:gd name="T32" fmla="*/ 11 w 45"/>
                <a:gd name="T33" fmla="*/ 33 h 45"/>
                <a:gd name="T34" fmla="*/ 17 w 45"/>
                <a:gd name="T35" fmla="*/ 36 h 45"/>
                <a:gd name="T36" fmla="*/ 25 w 45"/>
                <a:gd name="T37" fmla="*/ 33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5" h="45">
                  <a:moveTo>
                    <a:pt x="25" y="33"/>
                  </a:moveTo>
                  <a:cubicBezTo>
                    <a:pt x="29" y="41"/>
                    <a:pt x="29" y="41"/>
                    <a:pt x="29" y="41"/>
                  </a:cubicBezTo>
                  <a:cubicBezTo>
                    <a:pt x="25" y="44"/>
                    <a:pt x="21" y="45"/>
                    <a:pt x="17" y="44"/>
                  </a:cubicBezTo>
                  <a:cubicBezTo>
                    <a:pt x="13" y="44"/>
                    <a:pt x="9" y="42"/>
                    <a:pt x="6" y="38"/>
                  </a:cubicBezTo>
                  <a:cubicBezTo>
                    <a:pt x="2" y="34"/>
                    <a:pt x="0" y="29"/>
                    <a:pt x="0" y="24"/>
                  </a:cubicBezTo>
                  <a:cubicBezTo>
                    <a:pt x="0" y="19"/>
                    <a:pt x="3" y="13"/>
                    <a:pt x="8" y="8"/>
                  </a:cubicBezTo>
                  <a:cubicBezTo>
                    <a:pt x="13" y="3"/>
                    <a:pt x="18" y="1"/>
                    <a:pt x="24" y="0"/>
                  </a:cubicBezTo>
                  <a:cubicBezTo>
                    <a:pt x="29" y="0"/>
                    <a:pt x="34" y="2"/>
                    <a:pt x="39" y="7"/>
                  </a:cubicBezTo>
                  <a:cubicBezTo>
                    <a:pt x="42" y="10"/>
                    <a:pt x="44" y="15"/>
                    <a:pt x="45" y="19"/>
                  </a:cubicBezTo>
                  <a:cubicBezTo>
                    <a:pt x="45" y="22"/>
                    <a:pt x="44" y="25"/>
                    <a:pt x="42" y="28"/>
                  </a:cubicBezTo>
                  <a:cubicBezTo>
                    <a:pt x="34" y="23"/>
                    <a:pt x="34" y="23"/>
                    <a:pt x="34" y="23"/>
                  </a:cubicBezTo>
                  <a:cubicBezTo>
                    <a:pt x="36" y="21"/>
                    <a:pt x="36" y="19"/>
                    <a:pt x="36" y="17"/>
                  </a:cubicBezTo>
                  <a:cubicBezTo>
                    <a:pt x="36" y="15"/>
                    <a:pt x="35" y="13"/>
                    <a:pt x="33" y="12"/>
                  </a:cubicBezTo>
                  <a:cubicBezTo>
                    <a:pt x="31" y="9"/>
                    <a:pt x="28" y="8"/>
                    <a:pt x="25" y="9"/>
                  </a:cubicBezTo>
                  <a:cubicBezTo>
                    <a:pt x="22" y="9"/>
                    <a:pt x="18" y="11"/>
                    <a:pt x="15" y="14"/>
                  </a:cubicBezTo>
                  <a:cubicBezTo>
                    <a:pt x="11" y="18"/>
                    <a:pt x="9" y="22"/>
                    <a:pt x="8" y="25"/>
                  </a:cubicBezTo>
                  <a:cubicBezTo>
                    <a:pt x="8" y="28"/>
                    <a:pt x="9" y="31"/>
                    <a:pt x="11" y="33"/>
                  </a:cubicBezTo>
                  <a:cubicBezTo>
                    <a:pt x="13" y="35"/>
                    <a:pt x="15" y="36"/>
                    <a:pt x="17" y="36"/>
                  </a:cubicBezTo>
                  <a:cubicBezTo>
                    <a:pt x="20" y="36"/>
                    <a:pt x="22" y="35"/>
                    <a:pt x="25" y="3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44" name="íṩḷiḋé"/>
            <p:cNvSpPr/>
            <p:nvPr/>
          </p:nvSpPr>
          <p:spPr bwMode="auto">
            <a:xfrm>
              <a:off x="1916009" y="5887040"/>
              <a:ext cx="65088" cy="71438"/>
            </a:xfrm>
            <a:custGeom>
              <a:avLst/>
              <a:gdLst>
                <a:gd name="T0" fmla="*/ 0 w 41"/>
                <a:gd name="T1" fmla="*/ 38 h 45"/>
                <a:gd name="T2" fmla="*/ 34 w 41"/>
                <a:gd name="T3" fmla="*/ 0 h 45"/>
                <a:gd name="T4" fmla="*/ 41 w 41"/>
                <a:gd name="T5" fmla="*/ 6 h 45"/>
                <a:gd name="T6" fmla="*/ 8 w 41"/>
                <a:gd name="T7" fmla="*/ 45 h 45"/>
                <a:gd name="T8" fmla="*/ 0 w 41"/>
                <a:gd name="T9" fmla="*/ 38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1" h="45">
                  <a:moveTo>
                    <a:pt x="0" y="38"/>
                  </a:moveTo>
                  <a:lnTo>
                    <a:pt x="34" y="0"/>
                  </a:lnTo>
                  <a:lnTo>
                    <a:pt x="41" y="6"/>
                  </a:lnTo>
                  <a:lnTo>
                    <a:pt x="8" y="45"/>
                  </a:lnTo>
                  <a:lnTo>
                    <a:pt x="0" y="3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45" name="îsľïďé"/>
            <p:cNvSpPr/>
            <p:nvPr/>
          </p:nvSpPr>
          <p:spPr bwMode="auto">
            <a:xfrm>
              <a:off x="1941409" y="5904503"/>
              <a:ext cx="96838" cy="101600"/>
            </a:xfrm>
            <a:custGeom>
              <a:avLst/>
              <a:gdLst>
                <a:gd name="T0" fmla="*/ 0 w 61"/>
                <a:gd name="T1" fmla="*/ 41 h 64"/>
                <a:gd name="T2" fmla="*/ 31 w 61"/>
                <a:gd name="T3" fmla="*/ 0 h 64"/>
                <a:gd name="T4" fmla="*/ 61 w 61"/>
                <a:gd name="T5" fmla="*/ 22 h 64"/>
                <a:gd name="T6" fmla="*/ 56 w 61"/>
                <a:gd name="T7" fmla="*/ 29 h 64"/>
                <a:gd name="T8" fmla="*/ 34 w 61"/>
                <a:gd name="T9" fmla="*/ 13 h 64"/>
                <a:gd name="T10" fmla="*/ 27 w 61"/>
                <a:gd name="T11" fmla="*/ 22 h 64"/>
                <a:gd name="T12" fmla="*/ 47 w 61"/>
                <a:gd name="T13" fmla="*/ 37 h 64"/>
                <a:gd name="T14" fmla="*/ 42 w 61"/>
                <a:gd name="T15" fmla="*/ 44 h 64"/>
                <a:gd name="T16" fmla="*/ 21 w 61"/>
                <a:gd name="T17" fmla="*/ 29 h 64"/>
                <a:gd name="T18" fmla="*/ 13 w 61"/>
                <a:gd name="T19" fmla="*/ 40 h 64"/>
                <a:gd name="T20" fmla="*/ 36 w 61"/>
                <a:gd name="T21" fmla="*/ 57 h 64"/>
                <a:gd name="T22" fmla="*/ 31 w 61"/>
                <a:gd name="T23" fmla="*/ 64 h 64"/>
                <a:gd name="T24" fmla="*/ 0 w 61"/>
                <a:gd name="T25" fmla="*/ 41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1" h="64">
                  <a:moveTo>
                    <a:pt x="0" y="41"/>
                  </a:moveTo>
                  <a:lnTo>
                    <a:pt x="31" y="0"/>
                  </a:lnTo>
                  <a:lnTo>
                    <a:pt x="61" y="22"/>
                  </a:lnTo>
                  <a:lnTo>
                    <a:pt x="56" y="29"/>
                  </a:lnTo>
                  <a:lnTo>
                    <a:pt x="34" y="13"/>
                  </a:lnTo>
                  <a:lnTo>
                    <a:pt x="27" y="22"/>
                  </a:lnTo>
                  <a:lnTo>
                    <a:pt x="47" y="37"/>
                  </a:lnTo>
                  <a:lnTo>
                    <a:pt x="42" y="44"/>
                  </a:lnTo>
                  <a:lnTo>
                    <a:pt x="21" y="29"/>
                  </a:lnTo>
                  <a:lnTo>
                    <a:pt x="13" y="40"/>
                  </a:lnTo>
                  <a:lnTo>
                    <a:pt x="36" y="57"/>
                  </a:lnTo>
                  <a:lnTo>
                    <a:pt x="31" y="64"/>
                  </a:lnTo>
                  <a:lnTo>
                    <a:pt x="0" y="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46" name="íśliḋé"/>
            <p:cNvSpPr/>
            <p:nvPr/>
          </p:nvSpPr>
          <p:spPr bwMode="auto">
            <a:xfrm>
              <a:off x="2004909" y="5947365"/>
              <a:ext cx="96838" cy="101600"/>
            </a:xfrm>
            <a:custGeom>
              <a:avLst/>
              <a:gdLst>
                <a:gd name="T0" fmla="*/ 0 w 61"/>
                <a:gd name="T1" fmla="*/ 43 h 64"/>
                <a:gd name="T2" fmla="*/ 27 w 61"/>
                <a:gd name="T3" fmla="*/ 0 h 64"/>
                <a:gd name="T4" fmla="*/ 35 w 61"/>
                <a:gd name="T5" fmla="*/ 5 h 64"/>
                <a:gd name="T6" fmla="*/ 36 w 61"/>
                <a:gd name="T7" fmla="*/ 45 h 64"/>
                <a:gd name="T8" fmla="*/ 53 w 61"/>
                <a:gd name="T9" fmla="*/ 15 h 64"/>
                <a:gd name="T10" fmla="*/ 61 w 61"/>
                <a:gd name="T11" fmla="*/ 21 h 64"/>
                <a:gd name="T12" fmla="*/ 35 w 61"/>
                <a:gd name="T13" fmla="*/ 64 h 64"/>
                <a:gd name="T14" fmla="*/ 27 w 61"/>
                <a:gd name="T15" fmla="*/ 59 h 64"/>
                <a:gd name="T16" fmla="*/ 25 w 61"/>
                <a:gd name="T17" fmla="*/ 20 h 64"/>
                <a:gd name="T18" fmla="*/ 8 w 61"/>
                <a:gd name="T19" fmla="*/ 49 h 64"/>
                <a:gd name="T20" fmla="*/ 0 w 61"/>
                <a:gd name="T21" fmla="*/ 43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61" h="64">
                  <a:moveTo>
                    <a:pt x="0" y="43"/>
                  </a:moveTo>
                  <a:lnTo>
                    <a:pt x="27" y="0"/>
                  </a:lnTo>
                  <a:lnTo>
                    <a:pt x="35" y="5"/>
                  </a:lnTo>
                  <a:lnTo>
                    <a:pt x="36" y="45"/>
                  </a:lnTo>
                  <a:lnTo>
                    <a:pt x="53" y="15"/>
                  </a:lnTo>
                  <a:lnTo>
                    <a:pt x="61" y="21"/>
                  </a:lnTo>
                  <a:lnTo>
                    <a:pt x="35" y="64"/>
                  </a:lnTo>
                  <a:lnTo>
                    <a:pt x="27" y="59"/>
                  </a:lnTo>
                  <a:lnTo>
                    <a:pt x="25" y="20"/>
                  </a:lnTo>
                  <a:lnTo>
                    <a:pt x="8" y="49"/>
                  </a:lnTo>
                  <a:lnTo>
                    <a:pt x="0" y="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47" name="iSļiďê"/>
            <p:cNvSpPr/>
            <p:nvPr/>
          </p:nvSpPr>
          <p:spPr bwMode="auto">
            <a:xfrm>
              <a:off x="2087459" y="5993403"/>
              <a:ext cx="79375" cy="87313"/>
            </a:xfrm>
            <a:custGeom>
              <a:avLst/>
              <a:gdLst>
                <a:gd name="T0" fmla="*/ 28 w 43"/>
                <a:gd name="T1" fmla="*/ 33 h 47"/>
                <a:gd name="T2" fmla="*/ 34 w 43"/>
                <a:gd name="T3" fmla="*/ 39 h 47"/>
                <a:gd name="T4" fmla="*/ 24 w 43"/>
                <a:gd name="T5" fmla="*/ 46 h 47"/>
                <a:gd name="T6" fmla="*/ 12 w 43"/>
                <a:gd name="T7" fmla="*/ 44 h 47"/>
                <a:gd name="T8" fmla="*/ 1 w 43"/>
                <a:gd name="T9" fmla="*/ 33 h 47"/>
                <a:gd name="T10" fmla="*/ 3 w 43"/>
                <a:gd name="T11" fmla="*/ 15 h 47"/>
                <a:gd name="T12" fmla="*/ 15 w 43"/>
                <a:gd name="T13" fmla="*/ 2 h 47"/>
                <a:gd name="T14" fmla="*/ 32 w 43"/>
                <a:gd name="T15" fmla="*/ 3 h 47"/>
                <a:gd name="T16" fmla="*/ 41 w 43"/>
                <a:gd name="T17" fmla="*/ 13 h 47"/>
                <a:gd name="T18" fmla="*/ 42 w 43"/>
                <a:gd name="T19" fmla="*/ 22 h 47"/>
                <a:gd name="T20" fmla="*/ 33 w 43"/>
                <a:gd name="T21" fmla="*/ 20 h 47"/>
                <a:gd name="T22" fmla="*/ 33 w 43"/>
                <a:gd name="T23" fmla="*/ 14 h 47"/>
                <a:gd name="T24" fmla="*/ 28 w 43"/>
                <a:gd name="T25" fmla="*/ 10 h 47"/>
                <a:gd name="T26" fmla="*/ 19 w 43"/>
                <a:gd name="T27" fmla="*/ 10 h 47"/>
                <a:gd name="T28" fmla="*/ 12 w 43"/>
                <a:gd name="T29" fmla="*/ 19 h 47"/>
                <a:gd name="T30" fmla="*/ 9 w 43"/>
                <a:gd name="T31" fmla="*/ 31 h 47"/>
                <a:gd name="T32" fmla="*/ 15 w 43"/>
                <a:gd name="T33" fmla="*/ 37 h 47"/>
                <a:gd name="T34" fmla="*/ 22 w 43"/>
                <a:gd name="T35" fmla="*/ 38 h 47"/>
                <a:gd name="T36" fmla="*/ 28 w 43"/>
                <a:gd name="T37" fmla="*/ 33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3" h="47">
                  <a:moveTo>
                    <a:pt x="28" y="33"/>
                  </a:moveTo>
                  <a:cubicBezTo>
                    <a:pt x="34" y="39"/>
                    <a:pt x="34" y="39"/>
                    <a:pt x="34" y="39"/>
                  </a:cubicBezTo>
                  <a:cubicBezTo>
                    <a:pt x="31" y="43"/>
                    <a:pt x="28" y="45"/>
                    <a:pt x="24" y="46"/>
                  </a:cubicBezTo>
                  <a:cubicBezTo>
                    <a:pt x="20" y="47"/>
                    <a:pt x="16" y="46"/>
                    <a:pt x="12" y="44"/>
                  </a:cubicBezTo>
                  <a:cubicBezTo>
                    <a:pt x="7" y="42"/>
                    <a:pt x="3" y="38"/>
                    <a:pt x="1" y="33"/>
                  </a:cubicBezTo>
                  <a:cubicBezTo>
                    <a:pt x="0" y="27"/>
                    <a:pt x="0" y="22"/>
                    <a:pt x="3" y="15"/>
                  </a:cubicBezTo>
                  <a:cubicBezTo>
                    <a:pt x="6" y="9"/>
                    <a:pt x="10" y="4"/>
                    <a:pt x="15" y="2"/>
                  </a:cubicBezTo>
                  <a:cubicBezTo>
                    <a:pt x="21" y="0"/>
                    <a:pt x="26" y="1"/>
                    <a:pt x="32" y="3"/>
                  </a:cubicBezTo>
                  <a:cubicBezTo>
                    <a:pt x="36" y="5"/>
                    <a:pt x="40" y="9"/>
                    <a:pt x="41" y="13"/>
                  </a:cubicBezTo>
                  <a:cubicBezTo>
                    <a:pt x="42" y="16"/>
                    <a:pt x="43" y="19"/>
                    <a:pt x="42" y="22"/>
                  </a:cubicBezTo>
                  <a:cubicBezTo>
                    <a:pt x="33" y="20"/>
                    <a:pt x="33" y="20"/>
                    <a:pt x="33" y="20"/>
                  </a:cubicBezTo>
                  <a:cubicBezTo>
                    <a:pt x="34" y="18"/>
                    <a:pt x="34" y="16"/>
                    <a:pt x="33" y="14"/>
                  </a:cubicBezTo>
                  <a:cubicBezTo>
                    <a:pt x="32" y="12"/>
                    <a:pt x="30" y="11"/>
                    <a:pt x="28" y="10"/>
                  </a:cubicBezTo>
                  <a:cubicBezTo>
                    <a:pt x="25" y="8"/>
                    <a:pt x="22" y="8"/>
                    <a:pt x="19" y="10"/>
                  </a:cubicBezTo>
                  <a:cubicBezTo>
                    <a:pt x="16" y="11"/>
                    <a:pt x="14" y="14"/>
                    <a:pt x="12" y="19"/>
                  </a:cubicBezTo>
                  <a:cubicBezTo>
                    <a:pt x="9" y="24"/>
                    <a:pt x="9" y="28"/>
                    <a:pt x="9" y="31"/>
                  </a:cubicBezTo>
                  <a:cubicBezTo>
                    <a:pt x="10" y="34"/>
                    <a:pt x="12" y="36"/>
                    <a:pt x="15" y="37"/>
                  </a:cubicBezTo>
                  <a:cubicBezTo>
                    <a:pt x="17" y="38"/>
                    <a:pt x="19" y="38"/>
                    <a:pt x="22" y="38"/>
                  </a:cubicBezTo>
                  <a:cubicBezTo>
                    <a:pt x="24" y="37"/>
                    <a:pt x="26" y="35"/>
                    <a:pt x="28" y="3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48" name="íSliḋé"/>
            <p:cNvSpPr/>
            <p:nvPr/>
          </p:nvSpPr>
          <p:spPr bwMode="auto">
            <a:xfrm>
              <a:off x="2157309" y="6017215"/>
              <a:ext cx="82550" cy="96838"/>
            </a:xfrm>
            <a:custGeom>
              <a:avLst/>
              <a:gdLst>
                <a:gd name="T0" fmla="*/ 0 w 52"/>
                <a:gd name="T1" fmla="*/ 49 h 61"/>
                <a:gd name="T2" fmla="*/ 16 w 52"/>
                <a:gd name="T3" fmla="*/ 0 h 61"/>
                <a:gd name="T4" fmla="*/ 52 w 52"/>
                <a:gd name="T5" fmla="*/ 13 h 61"/>
                <a:gd name="T6" fmla="*/ 50 w 52"/>
                <a:gd name="T7" fmla="*/ 21 h 61"/>
                <a:gd name="T8" fmla="*/ 23 w 52"/>
                <a:gd name="T9" fmla="*/ 12 h 61"/>
                <a:gd name="T10" fmla="*/ 20 w 52"/>
                <a:gd name="T11" fmla="*/ 22 h 61"/>
                <a:gd name="T12" fmla="*/ 44 w 52"/>
                <a:gd name="T13" fmla="*/ 30 h 61"/>
                <a:gd name="T14" fmla="*/ 41 w 52"/>
                <a:gd name="T15" fmla="*/ 38 h 61"/>
                <a:gd name="T16" fmla="*/ 18 w 52"/>
                <a:gd name="T17" fmla="*/ 30 h 61"/>
                <a:gd name="T18" fmla="*/ 13 w 52"/>
                <a:gd name="T19" fmla="*/ 43 h 61"/>
                <a:gd name="T20" fmla="*/ 40 w 52"/>
                <a:gd name="T21" fmla="*/ 52 h 61"/>
                <a:gd name="T22" fmla="*/ 36 w 52"/>
                <a:gd name="T23" fmla="*/ 61 h 61"/>
                <a:gd name="T24" fmla="*/ 0 w 52"/>
                <a:gd name="T25" fmla="*/ 49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52" h="61">
                  <a:moveTo>
                    <a:pt x="0" y="49"/>
                  </a:moveTo>
                  <a:lnTo>
                    <a:pt x="16" y="0"/>
                  </a:lnTo>
                  <a:lnTo>
                    <a:pt x="52" y="13"/>
                  </a:lnTo>
                  <a:lnTo>
                    <a:pt x="50" y="21"/>
                  </a:lnTo>
                  <a:lnTo>
                    <a:pt x="23" y="12"/>
                  </a:lnTo>
                  <a:lnTo>
                    <a:pt x="20" y="22"/>
                  </a:lnTo>
                  <a:lnTo>
                    <a:pt x="44" y="30"/>
                  </a:lnTo>
                  <a:lnTo>
                    <a:pt x="41" y="38"/>
                  </a:lnTo>
                  <a:lnTo>
                    <a:pt x="18" y="30"/>
                  </a:lnTo>
                  <a:lnTo>
                    <a:pt x="13" y="43"/>
                  </a:lnTo>
                  <a:lnTo>
                    <a:pt x="40" y="52"/>
                  </a:lnTo>
                  <a:lnTo>
                    <a:pt x="36" y="61"/>
                  </a:lnTo>
                  <a:lnTo>
                    <a:pt x="0" y="4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49" name="îŝ1îḑè"/>
            <p:cNvSpPr/>
            <p:nvPr/>
          </p:nvSpPr>
          <p:spPr bwMode="auto">
            <a:xfrm>
              <a:off x="2663722" y="6026740"/>
              <a:ext cx="77788" cy="92075"/>
            </a:xfrm>
            <a:custGeom>
              <a:avLst/>
              <a:gdLst>
                <a:gd name="T0" fmla="*/ 49 w 49"/>
                <a:gd name="T1" fmla="*/ 42 h 58"/>
                <a:gd name="T2" fmla="*/ 39 w 49"/>
                <a:gd name="T3" fmla="*/ 45 h 58"/>
                <a:gd name="T4" fmla="*/ 31 w 49"/>
                <a:gd name="T5" fmla="*/ 36 h 58"/>
                <a:gd name="T6" fmla="*/ 11 w 49"/>
                <a:gd name="T7" fmla="*/ 43 h 58"/>
                <a:gd name="T8" fmla="*/ 11 w 49"/>
                <a:gd name="T9" fmla="*/ 55 h 58"/>
                <a:gd name="T10" fmla="*/ 0 w 49"/>
                <a:gd name="T11" fmla="*/ 58 h 58"/>
                <a:gd name="T12" fmla="*/ 3 w 49"/>
                <a:gd name="T13" fmla="*/ 3 h 58"/>
                <a:gd name="T14" fmla="*/ 13 w 49"/>
                <a:gd name="T15" fmla="*/ 0 h 58"/>
                <a:gd name="T16" fmla="*/ 49 w 49"/>
                <a:gd name="T17" fmla="*/ 42 h 58"/>
                <a:gd name="T18" fmla="*/ 25 w 49"/>
                <a:gd name="T19" fmla="*/ 29 h 58"/>
                <a:gd name="T20" fmla="*/ 12 w 49"/>
                <a:gd name="T21" fmla="*/ 14 h 58"/>
                <a:gd name="T22" fmla="*/ 11 w 49"/>
                <a:gd name="T23" fmla="*/ 34 h 58"/>
                <a:gd name="T24" fmla="*/ 25 w 49"/>
                <a:gd name="T25" fmla="*/ 29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8">
                  <a:moveTo>
                    <a:pt x="49" y="42"/>
                  </a:moveTo>
                  <a:lnTo>
                    <a:pt x="39" y="45"/>
                  </a:lnTo>
                  <a:lnTo>
                    <a:pt x="31" y="36"/>
                  </a:lnTo>
                  <a:lnTo>
                    <a:pt x="11" y="43"/>
                  </a:lnTo>
                  <a:lnTo>
                    <a:pt x="11" y="55"/>
                  </a:lnTo>
                  <a:lnTo>
                    <a:pt x="0" y="58"/>
                  </a:lnTo>
                  <a:lnTo>
                    <a:pt x="3" y="3"/>
                  </a:lnTo>
                  <a:lnTo>
                    <a:pt x="13" y="0"/>
                  </a:lnTo>
                  <a:lnTo>
                    <a:pt x="49" y="42"/>
                  </a:lnTo>
                  <a:close/>
                  <a:moveTo>
                    <a:pt x="25" y="29"/>
                  </a:moveTo>
                  <a:lnTo>
                    <a:pt x="12" y="14"/>
                  </a:lnTo>
                  <a:lnTo>
                    <a:pt x="11" y="34"/>
                  </a:lnTo>
                  <a:lnTo>
                    <a:pt x="25" y="2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50" name="íṩḻiḋê"/>
            <p:cNvSpPr/>
            <p:nvPr/>
          </p:nvSpPr>
          <p:spPr bwMode="auto">
            <a:xfrm>
              <a:off x="2714522" y="5990228"/>
              <a:ext cx="92075" cy="101600"/>
            </a:xfrm>
            <a:custGeom>
              <a:avLst/>
              <a:gdLst>
                <a:gd name="T0" fmla="*/ 21 w 58"/>
                <a:gd name="T1" fmla="*/ 64 h 64"/>
                <a:gd name="T2" fmla="*/ 0 w 58"/>
                <a:gd name="T3" fmla="*/ 17 h 64"/>
                <a:gd name="T4" fmla="*/ 9 w 58"/>
                <a:gd name="T5" fmla="*/ 12 h 64"/>
                <a:gd name="T6" fmla="*/ 43 w 58"/>
                <a:gd name="T7" fmla="*/ 36 h 64"/>
                <a:gd name="T8" fmla="*/ 29 w 58"/>
                <a:gd name="T9" fmla="*/ 4 h 64"/>
                <a:gd name="T10" fmla="*/ 37 w 58"/>
                <a:gd name="T11" fmla="*/ 0 h 64"/>
                <a:gd name="T12" fmla="*/ 58 w 58"/>
                <a:gd name="T13" fmla="*/ 46 h 64"/>
                <a:gd name="T14" fmla="*/ 49 w 58"/>
                <a:gd name="T15" fmla="*/ 51 h 64"/>
                <a:gd name="T16" fmla="*/ 16 w 58"/>
                <a:gd name="T17" fmla="*/ 29 h 64"/>
                <a:gd name="T18" fmla="*/ 30 w 58"/>
                <a:gd name="T19" fmla="*/ 59 h 64"/>
                <a:gd name="T20" fmla="*/ 21 w 58"/>
                <a:gd name="T21" fmla="*/ 64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8" h="64">
                  <a:moveTo>
                    <a:pt x="21" y="64"/>
                  </a:moveTo>
                  <a:lnTo>
                    <a:pt x="0" y="17"/>
                  </a:lnTo>
                  <a:lnTo>
                    <a:pt x="9" y="12"/>
                  </a:lnTo>
                  <a:lnTo>
                    <a:pt x="43" y="36"/>
                  </a:lnTo>
                  <a:lnTo>
                    <a:pt x="29" y="4"/>
                  </a:lnTo>
                  <a:lnTo>
                    <a:pt x="37" y="0"/>
                  </a:lnTo>
                  <a:lnTo>
                    <a:pt x="58" y="46"/>
                  </a:lnTo>
                  <a:lnTo>
                    <a:pt x="49" y="51"/>
                  </a:lnTo>
                  <a:lnTo>
                    <a:pt x="16" y="29"/>
                  </a:lnTo>
                  <a:lnTo>
                    <a:pt x="30" y="59"/>
                  </a:lnTo>
                  <a:lnTo>
                    <a:pt x="21" y="6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51" name="îṧľíḍe"/>
            <p:cNvSpPr/>
            <p:nvPr/>
          </p:nvSpPr>
          <p:spPr bwMode="auto">
            <a:xfrm>
              <a:off x="2781197" y="5963240"/>
              <a:ext cx="85725" cy="95250"/>
            </a:xfrm>
            <a:custGeom>
              <a:avLst/>
              <a:gdLst>
                <a:gd name="T0" fmla="*/ 0 w 47"/>
                <a:gd name="T1" fmla="*/ 13 h 51"/>
                <a:gd name="T2" fmla="*/ 14 w 47"/>
                <a:gd name="T3" fmla="*/ 4 h 51"/>
                <a:gd name="T4" fmla="*/ 22 w 47"/>
                <a:gd name="T5" fmla="*/ 1 h 51"/>
                <a:gd name="T6" fmla="*/ 29 w 47"/>
                <a:gd name="T7" fmla="*/ 1 h 51"/>
                <a:gd name="T8" fmla="*/ 37 w 47"/>
                <a:gd name="T9" fmla="*/ 5 h 51"/>
                <a:gd name="T10" fmla="*/ 43 w 47"/>
                <a:gd name="T11" fmla="*/ 14 h 51"/>
                <a:gd name="T12" fmla="*/ 47 w 47"/>
                <a:gd name="T13" fmla="*/ 22 h 51"/>
                <a:gd name="T14" fmla="*/ 46 w 47"/>
                <a:gd name="T15" fmla="*/ 31 h 51"/>
                <a:gd name="T16" fmla="*/ 43 w 47"/>
                <a:gd name="T17" fmla="*/ 38 h 51"/>
                <a:gd name="T18" fmla="*/ 36 w 47"/>
                <a:gd name="T19" fmla="*/ 42 h 51"/>
                <a:gd name="T20" fmla="*/ 22 w 47"/>
                <a:gd name="T21" fmla="*/ 51 h 51"/>
                <a:gd name="T22" fmla="*/ 0 w 47"/>
                <a:gd name="T23" fmla="*/ 13 h 51"/>
                <a:gd name="T24" fmla="*/ 11 w 47"/>
                <a:gd name="T25" fmla="*/ 15 h 51"/>
                <a:gd name="T26" fmla="*/ 26 w 47"/>
                <a:gd name="T27" fmla="*/ 40 h 51"/>
                <a:gd name="T28" fmla="*/ 32 w 47"/>
                <a:gd name="T29" fmla="*/ 37 h 51"/>
                <a:gd name="T30" fmla="*/ 36 w 47"/>
                <a:gd name="T31" fmla="*/ 33 h 51"/>
                <a:gd name="T32" fmla="*/ 38 w 47"/>
                <a:gd name="T33" fmla="*/ 30 h 51"/>
                <a:gd name="T34" fmla="*/ 38 w 47"/>
                <a:gd name="T35" fmla="*/ 25 h 51"/>
                <a:gd name="T36" fmla="*/ 35 w 47"/>
                <a:gd name="T37" fmla="*/ 18 h 51"/>
                <a:gd name="T38" fmla="*/ 30 w 47"/>
                <a:gd name="T39" fmla="*/ 11 h 51"/>
                <a:gd name="T40" fmla="*/ 26 w 47"/>
                <a:gd name="T41" fmla="*/ 9 h 51"/>
                <a:gd name="T42" fmla="*/ 21 w 47"/>
                <a:gd name="T43" fmla="*/ 9 h 51"/>
                <a:gd name="T44" fmla="*/ 15 w 47"/>
                <a:gd name="T45" fmla="*/ 13 h 51"/>
                <a:gd name="T46" fmla="*/ 11 w 47"/>
                <a:gd name="T47" fmla="*/ 15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47" h="51">
                  <a:moveTo>
                    <a:pt x="0" y="13"/>
                  </a:moveTo>
                  <a:cubicBezTo>
                    <a:pt x="14" y="4"/>
                    <a:pt x="14" y="4"/>
                    <a:pt x="14" y="4"/>
                  </a:cubicBezTo>
                  <a:cubicBezTo>
                    <a:pt x="17" y="3"/>
                    <a:pt x="20" y="1"/>
                    <a:pt x="22" y="1"/>
                  </a:cubicBezTo>
                  <a:cubicBezTo>
                    <a:pt x="24" y="0"/>
                    <a:pt x="27" y="0"/>
                    <a:pt x="29" y="1"/>
                  </a:cubicBezTo>
                  <a:cubicBezTo>
                    <a:pt x="32" y="2"/>
                    <a:pt x="34" y="3"/>
                    <a:pt x="37" y="5"/>
                  </a:cubicBezTo>
                  <a:cubicBezTo>
                    <a:pt x="39" y="7"/>
                    <a:pt x="41" y="10"/>
                    <a:pt x="43" y="14"/>
                  </a:cubicBezTo>
                  <a:cubicBezTo>
                    <a:pt x="45" y="17"/>
                    <a:pt x="46" y="20"/>
                    <a:pt x="47" y="22"/>
                  </a:cubicBezTo>
                  <a:cubicBezTo>
                    <a:pt x="47" y="26"/>
                    <a:pt x="47" y="29"/>
                    <a:pt x="46" y="31"/>
                  </a:cubicBezTo>
                  <a:cubicBezTo>
                    <a:pt x="46" y="34"/>
                    <a:pt x="45" y="36"/>
                    <a:pt x="43" y="38"/>
                  </a:cubicBezTo>
                  <a:cubicBezTo>
                    <a:pt x="41" y="39"/>
                    <a:pt x="39" y="41"/>
                    <a:pt x="36" y="42"/>
                  </a:cubicBezTo>
                  <a:cubicBezTo>
                    <a:pt x="22" y="51"/>
                    <a:pt x="22" y="51"/>
                    <a:pt x="22" y="51"/>
                  </a:cubicBezTo>
                  <a:lnTo>
                    <a:pt x="0" y="13"/>
                  </a:lnTo>
                  <a:close/>
                  <a:moveTo>
                    <a:pt x="11" y="15"/>
                  </a:moveTo>
                  <a:cubicBezTo>
                    <a:pt x="26" y="40"/>
                    <a:pt x="26" y="40"/>
                    <a:pt x="26" y="40"/>
                  </a:cubicBezTo>
                  <a:cubicBezTo>
                    <a:pt x="32" y="37"/>
                    <a:pt x="32" y="37"/>
                    <a:pt x="32" y="37"/>
                  </a:cubicBezTo>
                  <a:cubicBezTo>
                    <a:pt x="34" y="35"/>
                    <a:pt x="35" y="34"/>
                    <a:pt x="36" y="33"/>
                  </a:cubicBezTo>
                  <a:cubicBezTo>
                    <a:pt x="37" y="32"/>
                    <a:pt x="38" y="31"/>
                    <a:pt x="38" y="30"/>
                  </a:cubicBezTo>
                  <a:cubicBezTo>
                    <a:pt x="39" y="29"/>
                    <a:pt x="39" y="27"/>
                    <a:pt x="38" y="25"/>
                  </a:cubicBezTo>
                  <a:cubicBezTo>
                    <a:pt x="38" y="23"/>
                    <a:pt x="37" y="21"/>
                    <a:pt x="35" y="18"/>
                  </a:cubicBezTo>
                  <a:cubicBezTo>
                    <a:pt x="33" y="15"/>
                    <a:pt x="32" y="13"/>
                    <a:pt x="30" y="11"/>
                  </a:cubicBezTo>
                  <a:cubicBezTo>
                    <a:pt x="29" y="10"/>
                    <a:pt x="27" y="9"/>
                    <a:pt x="26" y="9"/>
                  </a:cubicBezTo>
                  <a:cubicBezTo>
                    <a:pt x="25" y="9"/>
                    <a:pt x="23" y="9"/>
                    <a:pt x="21" y="9"/>
                  </a:cubicBezTo>
                  <a:cubicBezTo>
                    <a:pt x="20" y="10"/>
                    <a:pt x="18" y="11"/>
                    <a:pt x="15" y="13"/>
                  </a:cubicBezTo>
                  <a:lnTo>
                    <a:pt x="11" y="1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52" name="ïṩḻiḍe"/>
            <p:cNvSpPr/>
            <p:nvPr/>
          </p:nvSpPr>
          <p:spPr bwMode="auto">
            <a:xfrm>
              <a:off x="2876447" y="5888628"/>
              <a:ext cx="80963" cy="88900"/>
            </a:xfrm>
            <a:custGeom>
              <a:avLst/>
              <a:gdLst>
                <a:gd name="T0" fmla="*/ 43 w 51"/>
                <a:gd name="T1" fmla="*/ 56 h 56"/>
                <a:gd name="T2" fmla="*/ 16 w 51"/>
                <a:gd name="T3" fmla="*/ 22 h 56"/>
                <a:gd name="T4" fmla="*/ 5 w 51"/>
                <a:gd name="T5" fmla="*/ 31 h 56"/>
                <a:gd name="T6" fmla="*/ 0 w 51"/>
                <a:gd name="T7" fmla="*/ 25 h 56"/>
                <a:gd name="T8" fmla="*/ 31 w 51"/>
                <a:gd name="T9" fmla="*/ 0 h 56"/>
                <a:gd name="T10" fmla="*/ 37 w 51"/>
                <a:gd name="T11" fmla="*/ 7 h 56"/>
                <a:gd name="T12" fmla="*/ 24 w 51"/>
                <a:gd name="T13" fmla="*/ 16 h 56"/>
                <a:gd name="T14" fmla="*/ 51 w 51"/>
                <a:gd name="T15" fmla="*/ 49 h 56"/>
                <a:gd name="T16" fmla="*/ 43 w 51"/>
                <a:gd name="T17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1" h="56">
                  <a:moveTo>
                    <a:pt x="43" y="56"/>
                  </a:moveTo>
                  <a:lnTo>
                    <a:pt x="16" y="22"/>
                  </a:lnTo>
                  <a:lnTo>
                    <a:pt x="5" y="31"/>
                  </a:lnTo>
                  <a:lnTo>
                    <a:pt x="0" y="25"/>
                  </a:lnTo>
                  <a:lnTo>
                    <a:pt x="31" y="0"/>
                  </a:lnTo>
                  <a:lnTo>
                    <a:pt x="37" y="7"/>
                  </a:lnTo>
                  <a:lnTo>
                    <a:pt x="24" y="16"/>
                  </a:lnTo>
                  <a:lnTo>
                    <a:pt x="51" y="49"/>
                  </a:lnTo>
                  <a:lnTo>
                    <a:pt x="43" y="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53" name="íśļïḓè"/>
            <p:cNvSpPr/>
            <p:nvPr/>
          </p:nvSpPr>
          <p:spPr bwMode="auto">
            <a:xfrm>
              <a:off x="2925659" y="5845765"/>
              <a:ext cx="101600" cy="100013"/>
            </a:xfrm>
            <a:custGeom>
              <a:avLst/>
              <a:gdLst>
                <a:gd name="T0" fmla="*/ 36 w 64"/>
                <a:gd name="T1" fmla="*/ 63 h 63"/>
                <a:gd name="T2" fmla="*/ 0 w 64"/>
                <a:gd name="T3" fmla="*/ 26 h 63"/>
                <a:gd name="T4" fmla="*/ 28 w 64"/>
                <a:gd name="T5" fmla="*/ 0 h 63"/>
                <a:gd name="T6" fmla="*/ 34 w 64"/>
                <a:gd name="T7" fmla="*/ 6 h 63"/>
                <a:gd name="T8" fmla="*/ 14 w 64"/>
                <a:gd name="T9" fmla="*/ 26 h 63"/>
                <a:gd name="T10" fmla="*/ 22 w 64"/>
                <a:gd name="T11" fmla="*/ 34 h 63"/>
                <a:gd name="T12" fmla="*/ 41 w 64"/>
                <a:gd name="T13" fmla="*/ 16 h 63"/>
                <a:gd name="T14" fmla="*/ 47 w 64"/>
                <a:gd name="T15" fmla="*/ 22 h 63"/>
                <a:gd name="T16" fmla="*/ 28 w 64"/>
                <a:gd name="T17" fmla="*/ 39 h 63"/>
                <a:gd name="T18" fmla="*/ 38 w 64"/>
                <a:gd name="T19" fmla="*/ 50 h 63"/>
                <a:gd name="T20" fmla="*/ 58 w 64"/>
                <a:gd name="T21" fmla="*/ 30 h 63"/>
                <a:gd name="T22" fmla="*/ 64 w 64"/>
                <a:gd name="T23" fmla="*/ 36 h 63"/>
                <a:gd name="T24" fmla="*/ 36 w 64"/>
                <a:gd name="T25" fmla="*/ 63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4" h="63">
                  <a:moveTo>
                    <a:pt x="36" y="63"/>
                  </a:moveTo>
                  <a:lnTo>
                    <a:pt x="0" y="26"/>
                  </a:lnTo>
                  <a:lnTo>
                    <a:pt x="28" y="0"/>
                  </a:lnTo>
                  <a:lnTo>
                    <a:pt x="34" y="6"/>
                  </a:lnTo>
                  <a:lnTo>
                    <a:pt x="14" y="26"/>
                  </a:lnTo>
                  <a:lnTo>
                    <a:pt x="22" y="34"/>
                  </a:lnTo>
                  <a:lnTo>
                    <a:pt x="41" y="16"/>
                  </a:lnTo>
                  <a:lnTo>
                    <a:pt x="47" y="22"/>
                  </a:lnTo>
                  <a:lnTo>
                    <a:pt x="28" y="39"/>
                  </a:lnTo>
                  <a:lnTo>
                    <a:pt x="38" y="50"/>
                  </a:lnTo>
                  <a:lnTo>
                    <a:pt x="58" y="30"/>
                  </a:lnTo>
                  <a:lnTo>
                    <a:pt x="64" y="36"/>
                  </a:lnTo>
                  <a:lnTo>
                    <a:pt x="36" y="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54" name="íṩḻîde"/>
            <p:cNvSpPr/>
            <p:nvPr/>
          </p:nvSpPr>
          <p:spPr bwMode="auto">
            <a:xfrm>
              <a:off x="2985984" y="5801315"/>
              <a:ext cx="82550" cy="80963"/>
            </a:xfrm>
            <a:custGeom>
              <a:avLst/>
              <a:gdLst>
                <a:gd name="T0" fmla="*/ 34 w 45"/>
                <a:gd name="T1" fmla="*/ 19 h 44"/>
                <a:gd name="T2" fmla="*/ 41 w 45"/>
                <a:gd name="T3" fmla="*/ 14 h 44"/>
                <a:gd name="T4" fmla="*/ 45 w 45"/>
                <a:gd name="T5" fmla="*/ 26 h 44"/>
                <a:gd name="T6" fmla="*/ 40 w 45"/>
                <a:gd name="T7" fmla="*/ 37 h 44"/>
                <a:gd name="T8" fmla="*/ 26 w 45"/>
                <a:gd name="T9" fmla="*/ 44 h 44"/>
                <a:gd name="T10" fmla="*/ 10 w 45"/>
                <a:gd name="T11" fmla="*/ 38 h 44"/>
                <a:gd name="T12" fmla="*/ 1 w 45"/>
                <a:gd name="T13" fmla="*/ 22 h 44"/>
                <a:gd name="T14" fmla="*/ 6 w 45"/>
                <a:gd name="T15" fmla="*/ 7 h 44"/>
                <a:gd name="T16" fmla="*/ 18 w 45"/>
                <a:gd name="T17" fmla="*/ 0 h 44"/>
                <a:gd name="T18" fmla="*/ 27 w 45"/>
                <a:gd name="T19" fmla="*/ 2 h 44"/>
                <a:gd name="T20" fmla="*/ 23 w 45"/>
                <a:gd name="T21" fmla="*/ 10 h 44"/>
                <a:gd name="T22" fmla="*/ 17 w 45"/>
                <a:gd name="T23" fmla="*/ 9 h 44"/>
                <a:gd name="T24" fmla="*/ 11 w 45"/>
                <a:gd name="T25" fmla="*/ 12 h 44"/>
                <a:gd name="T26" fmla="*/ 9 w 45"/>
                <a:gd name="T27" fmla="*/ 21 h 44"/>
                <a:gd name="T28" fmla="*/ 15 w 45"/>
                <a:gd name="T29" fmla="*/ 30 h 44"/>
                <a:gd name="T30" fmla="*/ 26 w 45"/>
                <a:gd name="T31" fmla="*/ 36 h 44"/>
                <a:gd name="T32" fmla="*/ 34 w 45"/>
                <a:gd name="T33" fmla="*/ 32 h 44"/>
                <a:gd name="T34" fmla="*/ 36 w 45"/>
                <a:gd name="T35" fmla="*/ 26 h 44"/>
                <a:gd name="T36" fmla="*/ 34 w 45"/>
                <a:gd name="T37" fmla="*/ 19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5" h="44">
                  <a:moveTo>
                    <a:pt x="34" y="19"/>
                  </a:moveTo>
                  <a:cubicBezTo>
                    <a:pt x="41" y="14"/>
                    <a:pt x="41" y="14"/>
                    <a:pt x="41" y="14"/>
                  </a:cubicBezTo>
                  <a:cubicBezTo>
                    <a:pt x="44" y="18"/>
                    <a:pt x="45" y="22"/>
                    <a:pt x="45" y="26"/>
                  </a:cubicBezTo>
                  <a:cubicBezTo>
                    <a:pt x="45" y="30"/>
                    <a:pt x="43" y="34"/>
                    <a:pt x="40" y="37"/>
                  </a:cubicBezTo>
                  <a:cubicBezTo>
                    <a:pt x="36" y="42"/>
                    <a:pt x="31" y="44"/>
                    <a:pt x="26" y="44"/>
                  </a:cubicBezTo>
                  <a:cubicBezTo>
                    <a:pt x="21" y="44"/>
                    <a:pt x="15" y="42"/>
                    <a:pt x="10" y="38"/>
                  </a:cubicBezTo>
                  <a:cubicBezTo>
                    <a:pt x="4" y="33"/>
                    <a:pt x="1" y="28"/>
                    <a:pt x="1" y="22"/>
                  </a:cubicBezTo>
                  <a:cubicBezTo>
                    <a:pt x="0" y="17"/>
                    <a:pt x="2" y="12"/>
                    <a:pt x="6" y="7"/>
                  </a:cubicBezTo>
                  <a:cubicBezTo>
                    <a:pt x="10" y="3"/>
                    <a:pt x="14" y="1"/>
                    <a:pt x="18" y="0"/>
                  </a:cubicBezTo>
                  <a:cubicBezTo>
                    <a:pt x="21" y="0"/>
                    <a:pt x="24" y="1"/>
                    <a:pt x="27" y="2"/>
                  </a:cubicBezTo>
                  <a:cubicBezTo>
                    <a:pt x="23" y="10"/>
                    <a:pt x="23" y="10"/>
                    <a:pt x="23" y="10"/>
                  </a:cubicBezTo>
                  <a:cubicBezTo>
                    <a:pt x="21" y="9"/>
                    <a:pt x="19" y="9"/>
                    <a:pt x="17" y="9"/>
                  </a:cubicBezTo>
                  <a:cubicBezTo>
                    <a:pt x="15" y="9"/>
                    <a:pt x="13" y="11"/>
                    <a:pt x="11" y="12"/>
                  </a:cubicBezTo>
                  <a:cubicBezTo>
                    <a:pt x="9" y="15"/>
                    <a:pt x="8" y="18"/>
                    <a:pt x="9" y="21"/>
                  </a:cubicBezTo>
                  <a:cubicBezTo>
                    <a:pt x="9" y="24"/>
                    <a:pt x="12" y="27"/>
                    <a:pt x="15" y="30"/>
                  </a:cubicBezTo>
                  <a:cubicBezTo>
                    <a:pt x="20" y="34"/>
                    <a:pt x="23" y="36"/>
                    <a:pt x="26" y="36"/>
                  </a:cubicBezTo>
                  <a:cubicBezTo>
                    <a:pt x="29" y="36"/>
                    <a:pt x="32" y="35"/>
                    <a:pt x="34" y="32"/>
                  </a:cubicBezTo>
                  <a:cubicBezTo>
                    <a:pt x="36" y="31"/>
                    <a:pt x="36" y="29"/>
                    <a:pt x="36" y="26"/>
                  </a:cubicBezTo>
                  <a:cubicBezTo>
                    <a:pt x="36" y="24"/>
                    <a:pt x="35" y="22"/>
                    <a:pt x="34" y="1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55" name="îŝḷïḓê"/>
            <p:cNvSpPr/>
            <p:nvPr/>
          </p:nvSpPr>
          <p:spPr bwMode="auto">
            <a:xfrm>
              <a:off x="3022497" y="5733053"/>
              <a:ext cx="103188" cy="101600"/>
            </a:xfrm>
            <a:custGeom>
              <a:avLst/>
              <a:gdLst>
                <a:gd name="T0" fmla="*/ 42 w 65"/>
                <a:gd name="T1" fmla="*/ 64 h 64"/>
                <a:gd name="T2" fmla="*/ 0 w 65"/>
                <a:gd name="T3" fmla="*/ 34 h 64"/>
                <a:gd name="T4" fmla="*/ 6 w 65"/>
                <a:gd name="T5" fmla="*/ 26 h 64"/>
                <a:gd name="T6" fmla="*/ 22 w 65"/>
                <a:gd name="T7" fmla="*/ 37 h 64"/>
                <a:gd name="T8" fmla="*/ 33 w 65"/>
                <a:gd name="T9" fmla="*/ 21 h 64"/>
                <a:gd name="T10" fmla="*/ 17 w 65"/>
                <a:gd name="T11" fmla="*/ 9 h 64"/>
                <a:gd name="T12" fmla="*/ 23 w 65"/>
                <a:gd name="T13" fmla="*/ 0 h 64"/>
                <a:gd name="T14" fmla="*/ 65 w 65"/>
                <a:gd name="T15" fmla="*/ 30 h 64"/>
                <a:gd name="T16" fmla="*/ 59 w 65"/>
                <a:gd name="T17" fmla="*/ 38 h 64"/>
                <a:gd name="T18" fmla="*/ 40 w 65"/>
                <a:gd name="T19" fmla="*/ 26 h 64"/>
                <a:gd name="T20" fmla="*/ 29 w 65"/>
                <a:gd name="T21" fmla="*/ 42 h 64"/>
                <a:gd name="T22" fmla="*/ 47 w 65"/>
                <a:gd name="T23" fmla="*/ 55 h 64"/>
                <a:gd name="T24" fmla="*/ 42 w 65"/>
                <a:gd name="T25" fmla="*/ 64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5" h="64">
                  <a:moveTo>
                    <a:pt x="42" y="64"/>
                  </a:moveTo>
                  <a:lnTo>
                    <a:pt x="0" y="34"/>
                  </a:lnTo>
                  <a:lnTo>
                    <a:pt x="6" y="26"/>
                  </a:lnTo>
                  <a:lnTo>
                    <a:pt x="22" y="37"/>
                  </a:lnTo>
                  <a:lnTo>
                    <a:pt x="33" y="21"/>
                  </a:lnTo>
                  <a:lnTo>
                    <a:pt x="17" y="9"/>
                  </a:lnTo>
                  <a:lnTo>
                    <a:pt x="23" y="0"/>
                  </a:lnTo>
                  <a:lnTo>
                    <a:pt x="65" y="30"/>
                  </a:lnTo>
                  <a:lnTo>
                    <a:pt x="59" y="38"/>
                  </a:lnTo>
                  <a:lnTo>
                    <a:pt x="40" y="26"/>
                  </a:lnTo>
                  <a:lnTo>
                    <a:pt x="29" y="42"/>
                  </a:lnTo>
                  <a:lnTo>
                    <a:pt x="47" y="55"/>
                  </a:lnTo>
                  <a:lnTo>
                    <a:pt x="42" y="6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56" name="îşḷîḑe"/>
            <p:cNvSpPr/>
            <p:nvPr/>
          </p:nvSpPr>
          <p:spPr bwMode="auto">
            <a:xfrm>
              <a:off x="3062184" y="5672728"/>
              <a:ext cx="103188" cy="95250"/>
            </a:xfrm>
            <a:custGeom>
              <a:avLst/>
              <a:gdLst>
                <a:gd name="T0" fmla="*/ 44 w 65"/>
                <a:gd name="T1" fmla="*/ 60 h 60"/>
                <a:gd name="T2" fmla="*/ 0 w 65"/>
                <a:gd name="T3" fmla="*/ 34 h 60"/>
                <a:gd name="T4" fmla="*/ 5 w 65"/>
                <a:gd name="T5" fmla="*/ 26 h 60"/>
                <a:gd name="T6" fmla="*/ 46 w 65"/>
                <a:gd name="T7" fmla="*/ 24 h 60"/>
                <a:gd name="T8" fmla="*/ 15 w 65"/>
                <a:gd name="T9" fmla="*/ 8 h 60"/>
                <a:gd name="T10" fmla="*/ 20 w 65"/>
                <a:gd name="T11" fmla="*/ 0 h 60"/>
                <a:gd name="T12" fmla="*/ 65 w 65"/>
                <a:gd name="T13" fmla="*/ 24 h 60"/>
                <a:gd name="T14" fmla="*/ 59 w 65"/>
                <a:gd name="T15" fmla="*/ 33 h 60"/>
                <a:gd name="T16" fmla="*/ 20 w 65"/>
                <a:gd name="T17" fmla="*/ 34 h 60"/>
                <a:gd name="T18" fmla="*/ 49 w 65"/>
                <a:gd name="T19" fmla="*/ 52 h 60"/>
                <a:gd name="T20" fmla="*/ 44 w 65"/>
                <a:gd name="T21" fmla="*/ 6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65" h="60">
                  <a:moveTo>
                    <a:pt x="44" y="60"/>
                  </a:moveTo>
                  <a:lnTo>
                    <a:pt x="0" y="34"/>
                  </a:lnTo>
                  <a:lnTo>
                    <a:pt x="5" y="26"/>
                  </a:lnTo>
                  <a:lnTo>
                    <a:pt x="46" y="24"/>
                  </a:lnTo>
                  <a:lnTo>
                    <a:pt x="15" y="8"/>
                  </a:lnTo>
                  <a:lnTo>
                    <a:pt x="20" y="0"/>
                  </a:lnTo>
                  <a:lnTo>
                    <a:pt x="65" y="24"/>
                  </a:lnTo>
                  <a:lnTo>
                    <a:pt x="59" y="33"/>
                  </a:lnTo>
                  <a:lnTo>
                    <a:pt x="20" y="34"/>
                  </a:lnTo>
                  <a:lnTo>
                    <a:pt x="49" y="52"/>
                  </a:lnTo>
                  <a:lnTo>
                    <a:pt x="44" y="6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57" name="îşḷïḋê"/>
            <p:cNvSpPr/>
            <p:nvPr/>
          </p:nvSpPr>
          <p:spPr bwMode="auto">
            <a:xfrm>
              <a:off x="3106634" y="5606053"/>
              <a:ext cx="87313" cy="84138"/>
            </a:xfrm>
            <a:custGeom>
              <a:avLst/>
              <a:gdLst>
                <a:gd name="T0" fmla="*/ 15 w 47"/>
                <a:gd name="T1" fmla="*/ 43 h 46"/>
                <a:gd name="T2" fmla="*/ 5 w 47"/>
                <a:gd name="T3" fmla="*/ 36 h 46"/>
                <a:gd name="T4" fmla="*/ 2 w 47"/>
                <a:gd name="T5" fmla="*/ 30 h 46"/>
                <a:gd name="T6" fmla="*/ 0 w 47"/>
                <a:gd name="T7" fmla="*/ 23 h 46"/>
                <a:gd name="T8" fmla="*/ 2 w 47"/>
                <a:gd name="T9" fmla="*/ 14 h 46"/>
                <a:gd name="T10" fmla="*/ 14 w 47"/>
                <a:gd name="T11" fmla="*/ 2 h 46"/>
                <a:gd name="T12" fmla="*/ 32 w 47"/>
                <a:gd name="T13" fmla="*/ 3 h 46"/>
                <a:gd name="T14" fmla="*/ 45 w 47"/>
                <a:gd name="T15" fmla="*/ 15 h 46"/>
                <a:gd name="T16" fmla="*/ 44 w 47"/>
                <a:gd name="T17" fmla="*/ 32 h 46"/>
                <a:gd name="T18" fmla="*/ 32 w 47"/>
                <a:gd name="T19" fmla="*/ 44 h 46"/>
                <a:gd name="T20" fmla="*/ 15 w 47"/>
                <a:gd name="T21" fmla="*/ 43 h 46"/>
                <a:gd name="T22" fmla="*/ 18 w 47"/>
                <a:gd name="T23" fmla="*/ 34 h 46"/>
                <a:gd name="T24" fmla="*/ 30 w 47"/>
                <a:gd name="T25" fmla="*/ 35 h 46"/>
                <a:gd name="T26" fmla="*/ 37 w 47"/>
                <a:gd name="T27" fmla="*/ 29 h 46"/>
                <a:gd name="T28" fmla="*/ 37 w 47"/>
                <a:gd name="T29" fmla="*/ 19 h 46"/>
                <a:gd name="T30" fmla="*/ 28 w 47"/>
                <a:gd name="T31" fmla="*/ 12 h 46"/>
                <a:gd name="T32" fmla="*/ 16 w 47"/>
                <a:gd name="T33" fmla="*/ 10 h 46"/>
                <a:gd name="T34" fmla="*/ 9 w 47"/>
                <a:gd name="T35" fmla="*/ 17 h 46"/>
                <a:gd name="T36" fmla="*/ 9 w 47"/>
                <a:gd name="T37" fmla="*/ 27 h 46"/>
                <a:gd name="T38" fmla="*/ 18 w 47"/>
                <a:gd name="T39" fmla="*/ 34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47" h="46">
                  <a:moveTo>
                    <a:pt x="15" y="43"/>
                  </a:moveTo>
                  <a:cubicBezTo>
                    <a:pt x="11" y="41"/>
                    <a:pt x="8" y="39"/>
                    <a:pt x="5" y="36"/>
                  </a:cubicBezTo>
                  <a:cubicBezTo>
                    <a:pt x="4" y="34"/>
                    <a:pt x="2" y="32"/>
                    <a:pt x="2" y="30"/>
                  </a:cubicBezTo>
                  <a:cubicBezTo>
                    <a:pt x="1" y="28"/>
                    <a:pt x="0" y="26"/>
                    <a:pt x="0" y="23"/>
                  </a:cubicBezTo>
                  <a:cubicBezTo>
                    <a:pt x="0" y="20"/>
                    <a:pt x="1" y="17"/>
                    <a:pt x="2" y="14"/>
                  </a:cubicBezTo>
                  <a:cubicBezTo>
                    <a:pt x="5" y="8"/>
                    <a:pt x="9" y="4"/>
                    <a:pt x="14" y="2"/>
                  </a:cubicBezTo>
                  <a:cubicBezTo>
                    <a:pt x="19" y="0"/>
                    <a:pt x="25" y="1"/>
                    <a:pt x="32" y="3"/>
                  </a:cubicBezTo>
                  <a:cubicBezTo>
                    <a:pt x="38" y="6"/>
                    <a:pt x="43" y="10"/>
                    <a:pt x="45" y="15"/>
                  </a:cubicBezTo>
                  <a:cubicBezTo>
                    <a:pt x="47" y="21"/>
                    <a:pt x="47" y="26"/>
                    <a:pt x="44" y="32"/>
                  </a:cubicBezTo>
                  <a:cubicBezTo>
                    <a:pt x="41" y="38"/>
                    <a:pt x="38" y="42"/>
                    <a:pt x="32" y="44"/>
                  </a:cubicBezTo>
                  <a:cubicBezTo>
                    <a:pt x="27" y="46"/>
                    <a:pt x="21" y="45"/>
                    <a:pt x="15" y="43"/>
                  </a:cubicBezTo>
                  <a:close/>
                  <a:moveTo>
                    <a:pt x="18" y="34"/>
                  </a:moveTo>
                  <a:cubicBezTo>
                    <a:pt x="23" y="36"/>
                    <a:pt x="27" y="37"/>
                    <a:pt x="30" y="35"/>
                  </a:cubicBezTo>
                  <a:cubicBezTo>
                    <a:pt x="33" y="34"/>
                    <a:pt x="36" y="32"/>
                    <a:pt x="37" y="29"/>
                  </a:cubicBezTo>
                  <a:cubicBezTo>
                    <a:pt x="39" y="26"/>
                    <a:pt x="39" y="23"/>
                    <a:pt x="37" y="19"/>
                  </a:cubicBezTo>
                  <a:cubicBezTo>
                    <a:pt x="36" y="16"/>
                    <a:pt x="33" y="14"/>
                    <a:pt x="28" y="12"/>
                  </a:cubicBezTo>
                  <a:cubicBezTo>
                    <a:pt x="23" y="10"/>
                    <a:pt x="19" y="9"/>
                    <a:pt x="16" y="10"/>
                  </a:cubicBezTo>
                  <a:cubicBezTo>
                    <a:pt x="13" y="11"/>
                    <a:pt x="11" y="14"/>
                    <a:pt x="9" y="17"/>
                  </a:cubicBezTo>
                  <a:cubicBezTo>
                    <a:pt x="8" y="20"/>
                    <a:pt x="8" y="23"/>
                    <a:pt x="9" y="27"/>
                  </a:cubicBezTo>
                  <a:cubicBezTo>
                    <a:pt x="11" y="30"/>
                    <a:pt x="14" y="32"/>
                    <a:pt x="18" y="3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58" name="îṣlïḍè"/>
            <p:cNvSpPr/>
            <p:nvPr/>
          </p:nvSpPr>
          <p:spPr bwMode="auto">
            <a:xfrm>
              <a:off x="3128859" y="5560015"/>
              <a:ext cx="93663" cy="57150"/>
            </a:xfrm>
            <a:custGeom>
              <a:avLst/>
              <a:gdLst>
                <a:gd name="T0" fmla="*/ 49 w 59"/>
                <a:gd name="T1" fmla="*/ 36 h 36"/>
                <a:gd name="T2" fmla="*/ 0 w 59"/>
                <a:gd name="T3" fmla="*/ 21 h 36"/>
                <a:gd name="T4" fmla="*/ 4 w 59"/>
                <a:gd name="T5" fmla="*/ 10 h 36"/>
                <a:gd name="T6" fmla="*/ 43 w 59"/>
                <a:gd name="T7" fmla="*/ 24 h 36"/>
                <a:gd name="T8" fmla="*/ 51 w 59"/>
                <a:gd name="T9" fmla="*/ 0 h 36"/>
                <a:gd name="T10" fmla="*/ 59 w 59"/>
                <a:gd name="T11" fmla="*/ 2 h 36"/>
                <a:gd name="T12" fmla="*/ 49 w 59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9" h="36">
                  <a:moveTo>
                    <a:pt x="49" y="36"/>
                  </a:moveTo>
                  <a:lnTo>
                    <a:pt x="0" y="21"/>
                  </a:lnTo>
                  <a:lnTo>
                    <a:pt x="4" y="10"/>
                  </a:lnTo>
                  <a:lnTo>
                    <a:pt x="43" y="24"/>
                  </a:lnTo>
                  <a:lnTo>
                    <a:pt x="51" y="0"/>
                  </a:lnTo>
                  <a:lnTo>
                    <a:pt x="59" y="2"/>
                  </a:lnTo>
                  <a:lnTo>
                    <a:pt x="49" y="3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59" name="ïṩḷîḓê"/>
            <p:cNvSpPr/>
            <p:nvPr/>
          </p:nvSpPr>
          <p:spPr bwMode="auto">
            <a:xfrm>
              <a:off x="3152672" y="5469528"/>
              <a:ext cx="85725" cy="80963"/>
            </a:xfrm>
            <a:custGeom>
              <a:avLst/>
              <a:gdLst>
                <a:gd name="T0" fmla="*/ 18 w 46"/>
                <a:gd name="T1" fmla="*/ 43 h 44"/>
                <a:gd name="T2" fmla="*/ 8 w 46"/>
                <a:gd name="T3" fmla="*/ 38 h 44"/>
                <a:gd name="T4" fmla="*/ 3 w 46"/>
                <a:gd name="T5" fmla="*/ 33 h 44"/>
                <a:gd name="T6" fmla="*/ 0 w 46"/>
                <a:gd name="T7" fmla="*/ 27 h 44"/>
                <a:gd name="T8" fmla="*/ 1 w 46"/>
                <a:gd name="T9" fmla="*/ 17 h 44"/>
                <a:gd name="T10" fmla="*/ 10 w 46"/>
                <a:gd name="T11" fmla="*/ 3 h 44"/>
                <a:gd name="T12" fmla="*/ 28 w 46"/>
                <a:gd name="T13" fmla="*/ 1 h 44"/>
                <a:gd name="T14" fmla="*/ 43 w 46"/>
                <a:gd name="T15" fmla="*/ 11 h 44"/>
                <a:gd name="T16" fmla="*/ 45 w 46"/>
                <a:gd name="T17" fmla="*/ 27 h 44"/>
                <a:gd name="T18" fmla="*/ 36 w 46"/>
                <a:gd name="T19" fmla="*/ 41 h 44"/>
                <a:gd name="T20" fmla="*/ 18 w 46"/>
                <a:gd name="T21" fmla="*/ 43 h 44"/>
                <a:gd name="T22" fmla="*/ 20 w 46"/>
                <a:gd name="T23" fmla="*/ 34 h 44"/>
                <a:gd name="T24" fmla="*/ 32 w 46"/>
                <a:gd name="T25" fmla="*/ 33 h 44"/>
                <a:gd name="T26" fmla="*/ 38 w 46"/>
                <a:gd name="T27" fmla="*/ 25 h 44"/>
                <a:gd name="T28" fmla="*/ 36 w 46"/>
                <a:gd name="T29" fmla="*/ 16 h 44"/>
                <a:gd name="T30" fmla="*/ 25 w 46"/>
                <a:gd name="T31" fmla="*/ 10 h 44"/>
                <a:gd name="T32" fmla="*/ 14 w 46"/>
                <a:gd name="T33" fmla="*/ 11 h 44"/>
                <a:gd name="T34" fmla="*/ 8 w 46"/>
                <a:gd name="T35" fmla="*/ 19 h 44"/>
                <a:gd name="T36" fmla="*/ 10 w 46"/>
                <a:gd name="T37" fmla="*/ 28 h 44"/>
                <a:gd name="T38" fmla="*/ 20 w 46"/>
                <a:gd name="T39" fmla="*/ 34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46" h="44">
                  <a:moveTo>
                    <a:pt x="18" y="43"/>
                  </a:moveTo>
                  <a:cubicBezTo>
                    <a:pt x="14" y="42"/>
                    <a:pt x="10" y="40"/>
                    <a:pt x="8" y="38"/>
                  </a:cubicBezTo>
                  <a:cubicBezTo>
                    <a:pt x="6" y="37"/>
                    <a:pt x="4" y="35"/>
                    <a:pt x="3" y="33"/>
                  </a:cubicBezTo>
                  <a:cubicBezTo>
                    <a:pt x="1" y="31"/>
                    <a:pt x="1" y="29"/>
                    <a:pt x="0" y="27"/>
                  </a:cubicBezTo>
                  <a:cubicBezTo>
                    <a:pt x="0" y="24"/>
                    <a:pt x="0" y="21"/>
                    <a:pt x="1" y="17"/>
                  </a:cubicBezTo>
                  <a:cubicBezTo>
                    <a:pt x="2" y="11"/>
                    <a:pt x="5" y="6"/>
                    <a:pt x="10" y="3"/>
                  </a:cubicBezTo>
                  <a:cubicBezTo>
                    <a:pt x="15" y="0"/>
                    <a:pt x="21" y="0"/>
                    <a:pt x="28" y="1"/>
                  </a:cubicBezTo>
                  <a:cubicBezTo>
                    <a:pt x="34" y="3"/>
                    <a:pt x="39" y="6"/>
                    <a:pt x="43" y="11"/>
                  </a:cubicBezTo>
                  <a:cubicBezTo>
                    <a:pt x="46" y="15"/>
                    <a:pt x="46" y="21"/>
                    <a:pt x="45" y="27"/>
                  </a:cubicBezTo>
                  <a:cubicBezTo>
                    <a:pt x="44" y="33"/>
                    <a:pt x="40" y="38"/>
                    <a:pt x="36" y="41"/>
                  </a:cubicBezTo>
                  <a:cubicBezTo>
                    <a:pt x="31" y="44"/>
                    <a:pt x="25" y="44"/>
                    <a:pt x="18" y="43"/>
                  </a:cubicBezTo>
                  <a:close/>
                  <a:moveTo>
                    <a:pt x="20" y="34"/>
                  </a:moveTo>
                  <a:cubicBezTo>
                    <a:pt x="25" y="35"/>
                    <a:pt x="29" y="35"/>
                    <a:pt x="32" y="33"/>
                  </a:cubicBezTo>
                  <a:cubicBezTo>
                    <a:pt x="35" y="31"/>
                    <a:pt x="37" y="29"/>
                    <a:pt x="38" y="25"/>
                  </a:cubicBezTo>
                  <a:cubicBezTo>
                    <a:pt x="38" y="22"/>
                    <a:pt x="38" y="19"/>
                    <a:pt x="36" y="16"/>
                  </a:cubicBezTo>
                  <a:cubicBezTo>
                    <a:pt x="34" y="13"/>
                    <a:pt x="30" y="11"/>
                    <a:pt x="25" y="10"/>
                  </a:cubicBezTo>
                  <a:cubicBezTo>
                    <a:pt x="20" y="9"/>
                    <a:pt x="16" y="9"/>
                    <a:pt x="14" y="11"/>
                  </a:cubicBezTo>
                  <a:cubicBezTo>
                    <a:pt x="11" y="13"/>
                    <a:pt x="9" y="15"/>
                    <a:pt x="8" y="19"/>
                  </a:cubicBezTo>
                  <a:cubicBezTo>
                    <a:pt x="7" y="22"/>
                    <a:pt x="8" y="25"/>
                    <a:pt x="10" y="28"/>
                  </a:cubicBezTo>
                  <a:cubicBezTo>
                    <a:pt x="12" y="31"/>
                    <a:pt x="15" y="33"/>
                    <a:pt x="20" y="3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60" name="ïSļiďé"/>
            <p:cNvSpPr/>
            <p:nvPr/>
          </p:nvSpPr>
          <p:spPr bwMode="auto">
            <a:xfrm>
              <a:off x="3165372" y="5390153"/>
              <a:ext cx="85725" cy="77788"/>
            </a:xfrm>
            <a:custGeom>
              <a:avLst/>
              <a:gdLst>
                <a:gd name="T0" fmla="*/ 29 w 46"/>
                <a:gd name="T1" fmla="*/ 21 h 42"/>
                <a:gd name="T2" fmla="*/ 22 w 46"/>
                <a:gd name="T3" fmla="*/ 20 h 42"/>
                <a:gd name="T4" fmla="*/ 24 w 46"/>
                <a:gd name="T5" fmla="*/ 1 h 42"/>
                <a:gd name="T6" fmla="*/ 41 w 46"/>
                <a:gd name="T7" fmla="*/ 3 h 42"/>
                <a:gd name="T8" fmla="*/ 45 w 46"/>
                <a:gd name="T9" fmla="*/ 11 h 42"/>
                <a:gd name="T10" fmla="*/ 46 w 46"/>
                <a:gd name="T11" fmla="*/ 22 h 42"/>
                <a:gd name="T12" fmla="*/ 42 w 46"/>
                <a:gd name="T13" fmla="*/ 34 h 42"/>
                <a:gd name="T14" fmla="*/ 33 w 46"/>
                <a:gd name="T15" fmla="*/ 41 h 42"/>
                <a:gd name="T16" fmla="*/ 21 w 46"/>
                <a:gd name="T17" fmla="*/ 42 h 42"/>
                <a:gd name="T18" fmla="*/ 9 w 46"/>
                <a:gd name="T19" fmla="*/ 38 h 42"/>
                <a:gd name="T20" fmla="*/ 2 w 46"/>
                <a:gd name="T21" fmla="*/ 28 h 42"/>
                <a:gd name="T22" fmla="*/ 1 w 46"/>
                <a:gd name="T23" fmla="*/ 18 h 42"/>
                <a:gd name="T24" fmla="*/ 6 w 46"/>
                <a:gd name="T25" fmla="*/ 5 h 42"/>
                <a:gd name="T26" fmla="*/ 16 w 46"/>
                <a:gd name="T27" fmla="*/ 0 h 42"/>
                <a:gd name="T28" fmla="*/ 16 w 46"/>
                <a:gd name="T29" fmla="*/ 9 h 42"/>
                <a:gd name="T30" fmla="*/ 11 w 46"/>
                <a:gd name="T31" fmla="*/ 12 h 42"/>
                <a:gd name="T32" fmla="*/ 8 w 46"/>
                <a:gd name="T33" fmla="*/ 18 h 42"/>
                <a:gd name="T34" fmla="*/ 11 w 46"/>
                <a:gd name="T35" fmla="*/ 28 h 42"/>
                <a:gd name="T36" fmla="*/ 21 w 46"/>
                <a:gd name="T37" fmla="*/ 33 h 42"/>
                <a:gd name="T38" fmla="*/ 34 w 46"/>
                <a:gd name="T39" fmla="*/ 31 h 42"/>
                <a:gd name="T40" fmla="*/ 38 w 46"/>
                <a:gd name="T41" fmla="*/ 22 h 42"/>
                <a:gd name="T42" fmla="*/ 38 w 46"/>
                <a:gd name="T43" fmla="*/ 16 h 42"/>
                <a:gd name="T44" fmla="*/ 36 w 46"/>
                <a:gd name="T45" fmla="*/ 11 h 42"/>
                <a:gd name="T46" fmla="*/ 30 w 46"/>
                <a:gd name="T47" fmla="*/ 11 h 42"/>
                <a:gd name="T48" fmla="*/ 29 w 46"/>
                <a:gd name="T49" fmla="*/ 21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46" h="42">
                  <a:moveTo>
                    <a:pt x="29" y="21"/>
                  </a:moveTo>
                  <a:cubicBezTo>
                    <a:pt x="22" y="20"/>
                    <a:pt x="22" y="20"/>
                    <a:pt x="22" y="20"/>
                  </a:cubicBezTo>
                  <a:cubicBezTo>
                    <a:pt x="24" y="1"/>
                    <a:pt x="24" y="1"/>
                    <a:pt x="24" y="1"/>
                  </a:cubicBezTo>
                  <a:cubicBezTo>
                    <a:pt x="41" y="3"/>
                    <a:pt x="41" y="3"/>
                    <a:pt x="41" y="3"/>
                  </a:cubicBezTo>
                  <a:cubicBezTo>
                    <a:pt x="43" y="5"/>
                    <a:pt x="44" y="8"/>
                    <a:pt x="45" y="11"/>
                  </a:cubicBezTo>
                  <a:cubicBezTo>
                    <a:pt x="46" y="15"/>
                    <a:pt x="46" y="19"/>
                    <a:pt x="46" y="22"/>
                  </a:cubicBezTo>
                  <a:cubicBezTo>
                    <a:pt x="46" y="27"/>
                    <a:pt x="44" y="31"/>
                    <a:pt x="42" y="34"/>
                  </a:cubicBezTo>
                  <a:cubicBezTo>
                    <a:pt x="39" y="37"/>
                    <a:pt x="36" y="39"/>
                    <a:pt x="33" y="41"/>
                  </a:cubicBezTo>
                  <a:cubicBezTo>
                    <a:pt x="29" y="42"/>
                    <a:pt x="25" y="42"/>
                    <a:pt x="21" y="42"/>
                  </a:cubicBezTo>
                  <a:cubicBezTo>
                    <a:pt x="16" y="41"/>
                    <a:pt x="12" y="40"/>
                    <a:pt x="9" y="38"/>
                  </a:cubicBezTo>
                  <a:cubicBezTo>
                    <a:pt x="6" y="35"/>
                    <a:pt x="3" y="32"/>
                    <a:pt x="2" y="28"/>
                  </a:cubicBezTo>
                  <a:cubicBezTo>
                    <a:pt x="1" y="25"/>
                    <a:pt x="0" y="22"/>
                    <a:pt x="1" y="18"/>
                  </a:cubicBezTo>
                  <a:cubicBezTo>
                    <a:pt x="1" y="12"/>
                    <a:pt x="3" y="8"/>
                    <a:pt x="6" y="5"/>
                  </a:cubicBezTo>
                  <a:cubicBezTo>
                    <a:pt x="8" y="2"/>
                    <a:pt x="12" y="1"/>
                    <a:pt x="16" y="0"/>
                  </a:cubicBezTo>
                  <a:cubicBezTo>
                    <a:pt x="16" y="9"/>
                    <a:pt x="16" y="9"/>
                    <a:pt x="16" y="9"/>
                  </a:cubicBezTo>
                  <a:cubicBezTo>
                    <a:pt x="14" y="10"/>
                    <a:pt x="12" y="11"/>
                    <a:pt x="11" y="12"/>
                  </a:cubicBezTo>
                  <a:cubicBezTo>
                    <a:pt x="10" y="14"/>
                    <a:pt x="9" y="16"/>
                    <a:pt x="8" y="18"/>
                  </a:cubicBezTo>
                  <a:cubicBezTo>
                    <a:pt x="8" y="22"/>
                    <a:pt x="9" y="25"/>
                    <a:pt x="11" y="28"/>
                  </a:cubicBezTo>
                  <a:cubicBezTo>
                    <a:pt x="13" y="31"/>
                    <a:pt x="17" y="32"/>
                    <a:pt x="21" y="33"/>
                  </a:cubicBezTo>
                  <a:cubicBezTo>
                    <a:pt x="27" y="33"/>
                    <a:pt x="31" y="33"/>
                    <a:pt x="34" y="31"/>
                  </a:cubicBezTo>
                  <a:cubicBezTo>
                    <a:pt x="36" y="29"/>
                    <a:pt x="38" y="26"/>
                    <a:pt x="38" y="22"/>
                  </a:cubicBezTo>
                  <a:cubicBezTo>
                    <a:pt x="39" y="20"/>
                    <a:pt x="39" y="18"/>
                    <a:pt x="38" y="16"/>
                  </a:cubicBezTo>
                  <a:cubicBezTo>
                    <a:pt x="37" y="14"/>
                    <a:pt x="37" y="13"/>
                    <a:pt x="36" y="11"/>
                  </a:cubicBezTo>
                  <a:cubicBezTo>
                    <a:pt x="30" y="11"/>
                    <a:pt x="30" y="11"/>
                    <a:pt x="30" y="11"/>
                  </a:cubicBezTo>
                  <a:lnTo>
                    <a:pt x="29" y="2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61" name="îSḷiḋè"/>
            <p:cNvSpPr/>
            <p:nvPr/>
          </p:nvSpPr>
          <p:spPr bwMode="auto">
            <a:xfrm>
              <a:off x="3173309" y="5313953"/>
              <a:ext cx="80963" cy="76200"/>
            </a:xfrm>
            <a:custGeom>
              <a:avLst/>
              <a:gdLst>
                <a:gd name="T0" fmla="*/ 51 w 51"/>
                <a:gd name="T1" fmla="*/ 30 h 48"/>
                <a:gd name="T2" fmla="*/ 29 w 51"/>
                <a:gd name="T3" fmla="*/ 29 h 48"/>
                <a:gd name="T4" fmla="*/ 0 w 51"/>
                <a:gd name="T5" fmla="*/ 48 h 48"/>
                <a:gd name="T6" fmla="*/ 0 w 51"/>
                <a:gd name="T7" fmla="*/ 36 h 48"/>
                <a:gd name="T8" fmla="*/ 20 w 51"/>
                <a:gd name="T9" fmla="*/ 24 h 48"/>
                <a:gd name="T10" fmla="*/ 0 w 51"/>
                <a:gd name="T11" fmla="*/ 12 h 48"/>
                <a:gd name="T12" fmla="*/ 0 w 51"/>
                <a:gd name="T13" fmla="*/ 0 h 48"/>
                <a:gd name="T14" fmla="*/ 30 w 51"/>
                <a:gd name="T15" fmla="*/ 20 h 48"/>
                <a:gd name="T16" fmla="*/ 51 w 51"/>
                <a:gd name="T17" fmla="*/ 20 h 48"/>
                <a:gd name="T18" fmla="*/ 51 w 51"/>
                <a:gd name="T19" fmla="*/ 30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" h="48">
                  <a:moveTo>
                    <a:pt x="51" y="30"/>
                  </a:moveTo>
                  <a:lnTo>
                    <a:pt x="29" y="29"/>
                  </a:lnTo>
                  <a:lnTo>
                    <a:pt x="0" y="48"/>
                  </a:lnTo>
                  <a:lnTo>
                    <a:pt x="0" y="36"/>
                  </a:lnTo>
                  <a:lnTo>
                    <a:pt x="20" y="24"/>
                  </a:lnTo>
                  <a:lnTo>
                    <a:pt x="0" y="12"/>
                  </a:lnTo>
                  <a:lnTo>
                    <a:pt x="0" y="0"/>
                  </a:lnTo>
                  <a:lnTo>
                    <a:pt x="30" y="20"/>
                  </a:lnTo>
                  <a:lnTo>
                    <a:pt x="51" y="20"/>
                  </a:lnTo>
                  <a:lnTo>
                    <a:pt x="51" y="3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62" name="îṣḷíḋé"/>
            <p:cNvSpPr/>
            <p:nvPr/>
          </p:nvSpPr>
          <p:spPr bwMode="auto">
            <a:xfrm>
              <a:off x="3163784" y="5193303"/>
              <a:ext cx="87313" cy="76200"/>
            </a:xfrm>
            <a:custGeom>
              <a:avLst/>
              <a:gdLst>
                <a:gd name="T0" fmla="*/ 4 w 47"/>
                <a:gd name="T1" fmla="*/ 41 h 41"/>
                <a:gd name="T2" fmla="*/ 1 w 47"/>
                <a:gd name="T3" fmla="*/ 24 h 41"/>
                <a:gd name="T4" fmla="*/ 0 w 47"/>
                <a:gd name="T5" fmla="*/ 16 h 41"/>
                <a:gd name="T6" fmla="*/ 2 w 47"/>
                <a:gd name="T7" fmla="*/ 11 h 41"/>
                <a:gd name="T8" fmla="*/ 5 w 47"/>
                <a:gd name="T9" fmla="*/ 7 h 41"/>
                <a:gd name="T10" fmla="*/ 10 w 47"/>
                <a:gd name="T11" fmla="*/ 5 h 41"/>
                <a:gd name="T12" fmla="*/ 16 w 47"/>
                <a:gd name="T13" fmla="*/ 6 h 41"/>
                <a:gd name="T14" fmla="*/ 20 w 47"/>
                <a:gd name="T15" fmla="*/ 10 h 41"/>
                <a:gd name="T16" fmla="*/ 23 w 47"/>
                <a:gd name="T17" fmla="*/ 3 h 41"/>
                <a:gd name="T18" fmla="*/ 29 w 47"/>
                <a:gd name="T19" fmla="*/ 0 h 41"/>
                <a:gd name="T20" fmla="*/ 35 w 47"/>
                <a:gd name="T21" fmla="*/ 1 h 41"/>
                <a:gd name="T22" fmla="*/ 40 w 47"/>
                <a:gd name="T23" fmla="*/ 4 h 41"/>
                <a:gd name="T24" fmla="*/ 43 w 47"/>
                <a:gd name="T25" fmla="*/ 10 h 41"/>
                <a:gd name="T26" fmla="*/ 45 w 47"/>
                <a:gd name="T27" fmla="*/ 20 h 41"/>
                <a:gd name="T28" fmla="*/ 47 w 47"/>
                <a:gd name="T29" fmla="*/ 35 h 41"/>
                <a:gd name="T30" fmla="*/ 4 w 47"/>
                <a:gd name="T31" fmla="*/ 41 h 41"/>
                <a:gd name="T32" fmla="*/ 10 w 47"/>
                <a:gd name="T33" fmla="*/ 31 h 41"/>
                <a:gd name="T34" fmla="*/ 20 w 47"/>
                <a:gd name="T35" fmla="*/ 30 h 41"/>
                <a:gd name="T36" fmla="*/ 19 w 47"/>
                <a:gd name="T37" fmla="*/ 24 h 41"/>
                <a:gd name="T38" fmla="*/ 18 w 47"/>
                <a:gd name="T39" fmla="*/ 18 h 41"/>
                <a:gd name="T40" fmla="*/ 16 w 47"/>
                <a:gd name="T41" fmla="*/ 15 h 41"/>
                <a:gd name="T42" fmla="*/ 12 w 47"/>
                <a:gd name="T43" fmla="*/ 14 h 41"/>
                <a:gd name="T44" fmla="*/ 9 w 47"/>
                <a:gd name="T45" fmla="*/ 15 h 41"/>
                <a:gd name="T46" fmla="*/ 8 w 47"/>
                <a:gd name="T47" fmla="*/ 19 h 41"/>
                <a:gd name="T48" fmla="*/ 9 w 47"/>
                <a:gd name="T49" fmla="*/ 26 h 41"/>
                <a:gd name="T50" fmla="*/ 10 w 47"/>
                <a:gd name="T51" fmla="*/ 31 h 41"/>
                <a:gd name="T52" fmla="*/ 27 w 47"/>
                <a:gd name="T53" fmla="*/ 29 h 41"/>
                <a:gd name="T54" fmla="*/ 39 w 47"/>
                <a:gd name="T55" fmla="*/ 27 h 41"/>
                <a:gd name="T56" fmla="*/ 37 w 47"/>
                <a:gd name="T57" fmla="*/ 19 h 41"/>
                <a:gd name="T58" fmla="*/ 36 w 47"/>
                <a:gd name="T59" fmla="*/ 13 h 41"/>
                <a:gd name="T60" fmla="*/ 34 w 47"/>
                <a:gd name="T61" fmla="*/ 10 h 41"/>
                <a:gd name="T62" fmla="*/ 30 w 47"/>
                <a:gd name="T63" fmla="*/ 10 h 41"/>
                <a:gd name="T64" fmla="*/ 27 w 47"/>
                <a:gd name="T65" fmla="*/ 11 h 41"/>
                <a:gd name="T66" fmla="*/ 25 w 47"/>
                <a:gd name="T67" fmla="*/ 14 h 41"/>
                <a:gd name="T68" fmla="*/ 26 w 47"/>
                <a:gd name="T69" fmla="*/ 22 h 41"/>
                <a:gd name="T70" fmla="*/ 27 w 47"/>
                <a:gd name="T71" fmla="*/ 29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47" h="41">
                  <a:moveTo>
                    <a:pt x="4" y="41"/>
                  </a:moveTo>
                  <a:cubicBezTo>
                    <a:pt x="1" y="24"/>
                    <a:pt x="1" y="24"/>
                    <a:pt x="1" y="24"/>
                  </a:cubicBezTo>
                  <a:cubicBezTo>
                    <a:pt x="1" y="20"/>
                    <a:pt x="0" y="18"/>
                    <a:pt x="0" y="16"/>
                  </a:cubicBezTo>
                  <a:cubicBezTo>
                    <a:pt x="1" y="14"/>
                    <a:pt x="1" y="13"/>
                    <a:pt x="2" y="11"/>
                  </a:cubicBezTo>
                  <a:cubicBezTo>
                    <a:pt x="2" y="10"/>
                    <a:pt x="3" y="9"/>
                    <a:pt x="5" y="7"/>
                  </a:cubicBezTo>
                  <a:cubicBezTo>
                    <a:pt x="6" y="6"/>
                    <a:pt x="8" y="6"/>
                    <a:pt x="10" y="5"/>
                  </a:cubicBezTo>
                  <a:cubicBezTo>
                    <a:pt x="12" y="5"/>
                    <a:pt x="14" y="5"/>
                    <a:pt x="16" y="6"/>
                  </a:cubicBezTo>
                  <a:cubicBezTo>
                    <a:pt x="17" y="7"/>
                    <a:pt x="19" y="8"/>
                    <a:pt x="20" y="10"/>
                  </a:cubicBezTo>
                  <a:cubicBezTo>
                    <a:pt x="20" y="7"/>
                    <a:pt x="21" y="5"/>
                    <a:pt x="23" y="3"/>
                  </a:cubicBezTo>
                  <a:cubicBezTo>
                    <a:pt x="25" y="2"/>
                    <a:pt x="27" y="1"/>
                    <a:pt x="29" y="0"/>
                  </a:cubicBezTo>
                  <a:cubicBezTo>
                    <a:pt x="31" y="0"/>
                    <a:pt x="33" y="0"/>
                    <a:pt x="35" y="1"/>
                  </a:cubicBezTo>
                  <a:cubicBezTo>
                    <a:pt x="37" y="2"/>
                    <a:pt x="39" y="3"/>
                    <a:pt x="40" y="4"/>
                  </a:cubicBezTo>
                  <a:cubicBezTo>
                    <a:pt x="42" y="5"/>
                    <a:pt x="43" y="7"/>
                    <a:pt x="43" y="10"/>
                  </a:cubicBezTo>
                  <a:cubicBezTo>
                    <a:pt x="44" y="11"/>
                    <a:pt x="44" y="15"/>
                    <a:pt x="45" y="20"/>
                  </a:cubicBezTo>
                  <a:cubicBezTo>
                    <a:pt x="47" y="35"/>
                    <a:pt x="47" y="35"/>
                    <a:pt x="47" y="35"/>
                  </a:cubicBezTo>
                  <a:lnTo>
                    <a:pt x="4" y="41"/>
                  </a:lnTo>
                  <a:close/>
                  <a:moveTo>
                    <a:pt x="10" y="31"/>
                  </a:moveTo>
                  <a:cubicBezTo>
                    <a:pt x="20" y="30"/>
                    <a:pt x="20" y="30"/>
                    <a:pt x="20" y="30"/>
                  </a:cubicBezTo>
                  <a:cubicBezTo>
                    <a:pt x="19" y="24"/>
                    <a:pt x="19" y="24"/>
                    <a:pt x="19" y="24"/>
                  </a:cubicBezTo>
                  <a:cubicBezTo>
                    <a:pt x="18" y="21"/>
                    <a:pt x="18" y="19"/>
                    <a:pt x="18" y="18"/>
                  </a:cubicBezTo>
                  <a:cubicBezTo>
                    <a:pt x="17" y="16"/>
                    <a:pt x="17" y="15"/>
                    <a:pt x="16" y="15"/>
                  </a:cubicBezTo>
                  <a:cubicBezTo>
                    <a:pt x="15" y="14"/>
                    <a:pt x="14" y="14"/>
                    <a:pt x="12" y="14"/>
                  </a:cubicBezTo>
                  <a:cubicBezTo>
                    <a:pt x="11" y="14"/>
                    <a:pt x="10" y="14"/>
                    <a:pt x="9" y="15"/>
                  </a:cubicBezTo>
                  <a:cubicBezTo>
                    <a:pt x="8" y="16"/>
                    <a:pt x="8" y="17"/>
                    <a:pt x="8" y="19"/>
                  </a:cubicBezTo>
                  <a:cubicBezTo>
                    <a:pt x="8" y="20"/>
                    <a:pt x="8" y="22"/>
                    <a:pt x="9" y="26"/>
                  </a:cubicBezTo>
                  <a:lnTo>
                    <a:pt x="10" y="31"/>
                  </a:lnTo>
                  <a:close/>
                  <a:moveTo>
                    <a:pt x="27" y="29"/>
                  </a:moveTo>
                  <a:cubicBezTo>
                    <a:pt x="39" y="27"/>
                    <a:pt x="39" y="27"/>
                    <a:pt x="39" y="27"/>
                  </a:cubicBezTo>
                  <a:cubicBezTo>
                    <a:pt x="37" y="19"/>
                    <a:pt x="37" y="19"/>
                    <a:pt x="37" y="19"/>
                  </a:cubicBezTo>
                  <a:cubicBezTo>
                    <a:pt x="37" y="16"/>
                    <a:pt x="37" y="14"/>
                    <a:pt x="36" y="13"/>
                  </a:cubicBezTo>
                  <a:cubicBezTo>
                    <a:pt x="36" y="12"/>
                    <a:pt x="35" y="11"/>
                    <a:pt x="34" y="10"/>
                  </a:cubicBezTo>
                  <a:cubicBezTo>
                    <a:pt x="33" y="10"/>
                    <a:pt x="32" y="9"/>
                    <a:pt x="30" y="10"/>
                  </a:cubicBezTo>
                  <a:cubicBezTo>
                    <a:pt x="29" y="10"/>
                    <a:pt x="28" y="10"/>
                    <a:pt x="27" y="11"/>
                  </a:cubicBezTo>
                  <a:cubicBezTo>
                    <a:pt x="26" y="12"/>
                    <a:pt x="26" y="13"/>
                    <a:pt x="25" y="14"/>
                  </a:cubicBezTo>
                  <a:cubicBezTo>
                    <a:pt x="25" y="15"/>
                    <a:pt x="25" y="18"/>
                    <a:pt x="26" y="22"/>
                  </a:cubicBezTo>
                  <a:lnTo>
                    <a:pt x="27" y="2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63" name="îṩliďè"/>
            <p:cNvSpPr/>
            <p:nvPr/>
          </p:nvSpPr>
          <p:spPr bwMode="auto">
            <a:xfrm>
              <a:off x="3146322" y="5120278"/>
              <a:ext cx="93663" cy="79375"/>
            </a:xfrm>
            <a:custGeom>
              <a:avLst/>
              <a:gdLst>
                <a:gd name="T0" fmla="*/ 59 w 59"/>
                <a:gd name="T1" fmla="*/ 37 h 50"/>
                <a:gd name="T2" fmla="*/ 9 w 59"/>
                <a:gd name="T3" fmla="*/ 50 h 50"/>
                <a:gd name="T4" fmla="*/ 0 w 59"/>
                <a:gd name="T5" fmla="*/ 13 h 50"/>
                <a:gd name="T6" fmla="*/ 8 w 59"/>
                <a:gd name="T7" fmla="*/ 10 h 50"/>
                <a:gd name="T8" fmla="*/ 15 w 59"/>
                <a:gd name="T9" fmla="*/ 37 h 50"/>
                <a:gd name="T10" fmla="*/ 25 w 59"/>
                <a:gd name="T11" fmla="*/ 35 h 50"/>
                <a:gd name="T12" fmla="*/ 19 w 59"/>
                <a:gd name="T13" fmla="*/ 9 h 50"/>
                <a:gd name="T14" fmla="*/ 27 w 59"/>
                <a:gd name="T15" fmla="*/ 8 h 50"/>
                <a:gd name="T16" fmla="*/ 34 w 59"/>
                <a:gd name="T17" fmla="*/ 32 h 50"/>
                <a:gd name="T18" fmla="*/ 47 w 59"/>
                <a:gd name="T19" fmla="*/ 29 h 50"/>
                <a:gd name="T20" fmla="*/ 40 w 59"/>
                <a:gd name="T21" fmla="*/ 1 h 50"/>
                <a:gd name="T22" fmla="*/ 49 w 59"/>
                <a:gd name="T23" fmla="*/ 0 h 50"/>
                <a:gd name="T24" fmla="*/ 59 w 59"/>
                <a:gd name="T25" fmla="*/ 37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59" h="50">
                  <a:moveTo>
                    <a:pt x="59" y="37"/>
                  </a:moveTo>
                  <a:lnTo>
                    <a:pt x="9" y="50"/>
                  </a:lnTo>
                  <a:lnTo>
                    <a:pt x="0" y="13"/>
                  </a:lnTo>
                  <a:lnTo>
                    <a:pt x="8" y="10"/>
                  </a:lnTo>
                  <a:lnTo>
                    <a:pt x="15" y="37"/>
                  </a:lnTo>
                  <a:lnTo>
                    <a:pt x="25" y="35"/>
                  </a:lnTo>
                  <a:lnTo>
                    <a:pt x="19" y="9"/>
                  </a:lnTo>
                  <a:lnTo>
                    <a:pt x="27" y="8"/>
                  </a:lnTo>
                  <a:lnTo>
                    <a:pt x="34" y="32"/>
                  </a:lnTo>
                  <a:lnTo>
                    <a:pt x="47" y="29"/>
                  </a:lnTo>
                  <a:lnTo>
                    <a:pt x="40" y="1"/>
                  </a:lnTo>
                  <a:lnTo>
                    <a:pt x="49" y="0"/>
                  </a:lnTo>
                  <a:lnTo>
                    <a:pt x="59" y="3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64" name="iṧlíḋè"/>
            <p:cNvSpPr/>
            <p:nvPr/>
          </p:nvSpPr>
          <p:spPr bwMode="auto">
            <a:xfrm>
              <a:off x="3138384" y="5096465"/>
              <a:ext cx="82550" cy="38100"/>
            </a:xfrm>
            <a:custGeom>
              <a:avLst/>
              <a:gdLst>
                <a:gd name="T0" fmla="*/ 52 w 52"/>
                <a:gd name="T1" fmla="*/ 9 h 24"/>
                <a:gd name="T2" fmla="*/ 3 w 52"/>
                <a:gd name="T3" fmla="*/ 24 h 24"/>
                <a:gd name="T4" fmla="*/ 0 w 52"/>
                <a:gd name="T5" fmla="*/ 15 h 24"/>
                <a:gd name="T6" fmla="*/ 49 w 52"/>
                <a:gd name="T7" fmla="*/ 0 h 24"/>
                <a:gd name="T8" fmla="*/ 52 w 52"/>
                <a:gd name="T9" fmla="*/ 9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2" h="24">
                  <a:moveTo>
                    <a:pt x="52" y="9"/>
                  </a:moveTo>
                  <a:lnTo>
                    <a:pt x="3" y="24"/>
                  </a:lnTo>
                  <a:lnTo>
                    <a:pt x="0" y="15"/>
                  </a:lnTo>
                  <a:lnTo>
                    <a:pt x="49" y="0"/>
                  </a:lnTo>
                  <a:lnTo>
                    <a:pt x="52" y="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65" name="islïḓè"/>
            <p:cNvSpPr/>
            <p:nvPr/>
          </p:nvSpPr>
          <p:spPr bwMode="auto">
            <a:xfrm>
              <a:off x="3120922" y="5047253"/>
              <a:ext cx="88900" cy="52388"/>
            </a:xfrm>
            <a:custGeom>
              <a:avLst/>
              <a:gdLst>
                <a:gd name="T0" fmla="*/ 3 w 48"/>
                <a:gd name="T1" fmla="*/ 20 h 28"/>
                <a:gd name="T2" fmla="*/ 0 w 48"/>
                <a:gd name="T3" fmla="*/ 12 h 28"/>
                <a:gd name="T4" fmla="*/ 26 w 48"/>
                <a:gd name="T5" fmla="*/ 2 h 28"/>
                <a:gd name="T6" fmla="*/ 34 w 48"/>
                <a:gd name="T7" fmla="*/ 0 h 28"/>
                <a:gd name="T8" fmla="*/ 42 w 48"/>
                <a:gd name="T9" fmla="*/ 3 h 28"/>
                <a:gd name="T10" fmla="*/ 47 w 48"/>
                <a:gd name="T11" fmla="*/ 10 h 28"/>
                <a:gd name="T12" fmla="*/ 47 w 48"/>
                <a:gd name="T13" fmla="*/ 21 h 28"/>
                <a:gd name="T14" fmla="*/ 38 w 48"/>
                <a:gd name="T15" fmla="*/ 28 h 28"/>
                <a:gd name="T16" fmla="*/ 34 w 48"/>
                <a:gd name="T17" fmla="*/ 20 h 28"/>
                <a:gd name="T18" fmla="*/ 39 w 48"/>
                <a:gd name="T19" fmla="*/ 17 h 28"/>
                <a:gd name="T20" fmla="*/ 40 w 48"/>
                <a:gd name="T21" fmla="*/ 13 h 28"/>
                <a:gd name="T22" fmla="*/ 37 w 48"/>
                <a:gd name="T23" fmla="*/ 9 h 28"/>
                <a:gd name="T24" fmla="*/ 30 w 48"/>
                <a:gd name="T25" fmla="*/ 10 h 28"/>
                <a:gd name="T26" fmla="*/ 3 w 48"/>
                <a:gd name="T27" fmla="*/ 20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8" h="28">
                  <a:moveTo>
                    <a:pt x="3" y="20"/>
                  </a:moveTo>
                  <a:cubicBezTo>
                    <a:pt x="0" y="12"/>
                    <a:pt x="0" y="12"/>
                    <a:pt x="0" y="12"/>
                  </a:cubicBezTo>
                  <a:cubicBezTo>
                    <a:pt x="26" y="2"/>
                    <a:pt x="26" y="2"/>
                    <a:pt x="26" y="2"/>
                  </a:cubicBezTo>
                  <a:cubicBezTo>
                    <a:pt x="29" y="1"/>
                    <a:pt x="32" y="0"/>
                    <a:pt x="34" y="0"/>
                  </a:cubicBezTo>
                  <a:cubicBezTo>
                    <a:pt x="37" y="0"/>
                    <a:pt x="39" y="1"/>
                    <a:pt x="42" y="3"/>
                  </a:cubicBezTo>
                  <a:cubicBezTo>
                    <a:pt x="44" y="4"/>
                    <a:pt x="46" y="7"/>
                    <a:pt x="47" y="10"/>
                  </a:cubicBezTo>
                  <a:cubicBezTo>
                    <a:pt x="48" y="14"/>
                    <a:pt x="48" y="18"/>
                    <a:pt x="47" y="21"/>
                  </a:cubicBezTo>
                  <a:cubicBezTo>
                    <a:pt x="45" y="24"/>
                    <a:pt x="42" y="26"/>
                    <a:pt x="38" y="28"/>
                  </a:cubicBezTo>
                  <a:cubicBezTo>
                    <a:pt x="34" y="20"/>
                    <a:pt x="34" y="20"/>
                    <a:pt x="34" y="20"/>
                  </a:cubicBezTo>
                  <a:cubicBezTo>
                    <a:pt x="37" y="19"/>
                    <a:pt x="38" y="18"/>
                    <a:pt x="39" y="17"/>
                  </a:cubicBezTo>
                  <a:cubicBezTo>
                    <a:pt x="40" y="16"/>
                    <a:pt x="40" y="14"/>
                    <a:pt x="40" y="13"/>
                  </a:cubicBezTo>
                  <a:cubicBezTo>
                    <a:pt x="39" y="11"/>
                    <a:pt x="38" y="10"/>
                    <a:pt x="37" y="9"/>
                  </a:cubicBezTo>
                  <a:cubicBezTo>
                    <a:pt x="35" y="9"/>
                    <a:pt x="33" y="9"/>
                    <a:pt x="30" y="10"/>
                  </a:cubicBezTo>
                  <a:lnTo>
                    <a:pt x="3" y="2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66" name="íṥ1iḍe"/>
            <p:cNvSpPr/>
            <p:nvPr/>
          </p:nvSpPr>
          <p:spPr bwMode="auto">
            <a:xfrm>
              <a:off x="3112984" y="5017090"/>
              <a:ext cx="80963" cy="46038"/>
            </a:xfrm>
            <a:custGeom>
              <a:avLst/>
              <a:gdLst>
                <a:gd name="T0" fmla="*/ 51 w 51"/>
                <a:gd name="T1" fmla="*/ 9 h 29"/>
                <a:gd name="T2" fmla="*/ 3 w 51"/>
                <a:gd name="T3" fmla="*/ 29 h 29"/>
                <a:gd name="T4" fmla="*/ 0 w 51"/>
                <a:gd name="T5" fmla="*/ 19 h 29"/>
                <a:gd name="T6" fmla="*/ 46 w 51"/>
                <a:gd name="T7" fmla="*/ 0 h 29"/>
                <a:gd name="T8" fmla="*/ 51 w 51"/>
                <a:gd name="T9" fmla="*/ 9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1" h="29">
                  <a:moveTo>
                    <a:pt x="51" y="9"/>
                  </a:moveTo>
                  <a:lnTo>
                    <a:pt x="3" y="29"/>
                  </a:lnTo>
                  <a:lnTo>
                    <a:pt x="0" y="19"/>
                  </a:lnTo>
                  <a:lnTo>
                    <a:pt x="46" y="0"/>
                  </a:lnTo>
                  <a:lnTo>
                    <a:pt x="51" y="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67" name="iṥľîḋé"/>
            <p:cNvSpPr/>
            <p:nvPr/>
          </p:nvSpPr>
          <p:spPr bwMode="auto">
            <a:xfrm>
              <a:off x="3081234" y="4948828"/>
              <a:ext cx="101600" cy="93663"/>
            </a:xfrm>
            <a:custGeom>
              <a:avLst/>
              <a:gdLst>
                <a:gd name="T0" fmla="*/ 64 w 64"/>
                <a:gd name="T1" fmla="*/ 36 h 59"/>
                <a:gd name="T2" fmla="*/ 18 w 64"/>
                <a:gd name="T3" fmla="*/ 59 h 59"/>
                <a:gd name="T4" fmla="*/ 14 w 64"/>
                <a:gd name="T5" fmla="*/ 50 h 59"/>
                <a:gd name="T6" fmla="*/ 35 w 64"/>
                <a:gd name="T7" fmla="*/ 16 h 59"/>
                <a:gd name="T8" fmla="*/ 3 w 64"/>
                <a:gd name="T9" fmla="*/ 31 h 59"/>
                <a:gd name="T10" fmla="*/ 0 w 64"/>
                <a:gd name="T11" fmla="*/ 22 h 59"/>
                <a:gd name="T12" fmla="*/ 45 w 64"/>
                <a:gd name="T13" fmla="*/ 0 h 59"/>
                <a:gd name="T14" fmla="*/ 50 w 64"/>
                <a:gd name="T15" fmla="*/ 8 h 59"/>
                <a:gd name="T16" fmla="*/ 29 w 64"/>
                <a:gd name="T17" fmla="*/ 42 h 59"/>
                <a:gd name="T18" fmla="*/ 59 w 64"/>
                <a:gd name="T19" fmla="*/ 26 h 59"/>
                <a:gd name="T20" fmla="*/ 64 w 64"/>
                <a:gd name="T21" fmla="*/ 36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64" h="59">
                  <a:moveTo>
                    <a:pt x="64" y="36"/>
                  </a:moveTo>
                  <a:lnTo>
                    <a:pt x="18" y="59"/>
                  </a:lnTo>
                  <a:lnTo>
                    <a:pt x="14" y="50"/>
                  </a:lnTo>
                  <a:lnTo>
                    <a:pt x="35" y="16"/>
                  </a:lnTo>
                  <a:lnTo>
                    <a:pt x="3" y="31"/>
                  </a:lnTo>
                  <a:lnTo>
                    <a:pt x="0" y="22"/>
                  </a:lnTo>
                  <a:lnTo>
                    <a:pt x="45" y="0"/>
                  </a:lnTo>
                  <a:lnTo>
                    <a:pt x="50" y="8"/>
                  </a:lnTo>
                  <a:lnTo>
                    <a:pt x="29" y="42"/>
                  </a:lnTo>
                  <a:lnTo>
                    <a:pt x="59" y="26"/>
                  </a:lnTo>
                  <a:lnTo>
                    <a:pt x="64" y="3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68" name="îślidè"/>
            <p:cNvSpPr/>
            <p:nvPr/>
          </p:nvSpPr>
          <p:spPr bwMode="auto">
            <a:xfrm>
              <a:off x="3047897" y="4877390"/>
              <a:ext cx="84138" cy="88900"/>
            </a:xfrm>
            <a:custGeom>
              <a:avLst/>
              <a:gdLst>
                <a:gd name="T0" fmla="*/ 28 w 46"/>
                <a:gd name="T1" fmla="*/ 21 h 48"/>
                <a:gd name="T2" fmla="*/ 22 w 46"/>
                <a:gd name="T3" fmla="*/ 25 h 48"/>
                <a:gd name="T4" fmla="*/ 11 w 46"/>
                <a:gd name="T5" fmla="*/ 9 h 48"/>
                <a:gd name="T6" fmla="*/ 26 w 46"/>
                <a:gd name="T7" fmla="*/ 0 h 48"/>
                <a:gd name="T8" fmla="*/ 35 w 46"/>
                <a:gd name="T9" fmla="*/ 4 h 48"/>
                <a:gd name="T10" fmla="*/ 42 w 46"/>
                <a:gd name="T11" fmla="*/ 12 h 48"/>
                <a:gd name="T12" fmla="*/ 46 w 46"/>
                <a:gd name="T13" fmla="*/ 24 h 48"/>
                <a:gd name="T14" fmla="*/ 43 w 46"/>
                <a:gd name="T15" fmla="*/ 35 h 48"/>
                <a:gd name="T16" fmla="*/ 35 w 46"/>
                <a:gd name="T17" fmla="*/ 43 h 48"/>
                <a:gd name="T18" fmla="*/ 23 w 46"/>
                <a:gd name="T19" fmla="*/ 47 h 48"/>
                <a:gd name="T20" fmla="*/ 12 w 46"/>
                <a:gd name="T21" fmla="*/ 45 h 48"/>
                <a:gd name="T22" fmla="*/ 4 w 46"/>
                <a:gd name="T23" fmla="*/ 37 h 48"/>
                <a:gd name="T24" fmla="*/ 0 w 46"/>
                <a:gd name="T25" fmla="*/ 24 h 48"/>
                <a:gd name="T26" fmla="*/ 5 w 46"/>
                <a:gd name="T27" fmla="*/ 14 h 48"/>
                <a:gd name="T28" fmla="*/ 11 w 46"/>
                <a:gd name="T29" fmla="*/ 21 h 48"/>
                <a:gd name="T30" fmla="*/ 9 w 46"/>
                <a:gd name="T31" fmla="*/ 27 h 48"/>
                <a:gd name="T32" fmla="*/ 11 w 46"/>
                <a:gd name="T33" fmla="*/ 33 h 48"/>
                <a:gd name="T34" fmla="*/ 19 w 46"/>
                <a:gd name="T35" fmla="*/ 39 h 48"/>
                <a:gd name="T36" fmla="*/ 30 w 46"/>
                <a:gd name="T37" fmla="*/ 36 h 48"/>
                <a:gd name="T38" fmla="*/ 38 w 46"/>
                <a:gd name="T39" fmla="*/ 26 h 48"/>
                <a:gd name="T40" fmla="*/ 36 w 46"/>
                <a:gd name="T41" fmla="*/ 17 h 48"/>
                <a:gd name="T42" fmla="*/ 32 w 46"/>
                <a:gd name="T43" fmla="*/ 13 h 48"/>
                <a:gd name="T44" fmla="*/ 27 w 46"/>
                <a:gd name="T45" fmla="*/ 10 h 48"/>
                <a:gd name="T46" fmla="*/ 23 w 46"/>
                <a:gd name="T47" fmla="*/ 13 h 48"/>
                <a:gd name="T48" fmla="*/ 28 w 46"/>
                <a:gd name="T49" fmla="*/ 21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46" h="48">
                  <a:moveTo>
                    <a:pt x="28" y="21"/>
                  </a:moveTo>
                  <a:cubicBezTo>
                    <a:pt x="22" y="25"/>
                    <a:pt x="22" y="25"/>
                    <a:pt x="22" y="25"/>
                  </a:cubicBezTo>
                  <a:cubicBezTo>
                    <a:pt x="11" y="9"/>
                    <a:pt x="11" y="9"/>
                    <a:pt x="11" y="9"/>
                  </a:cubicBezTo>
                  <a:cubicBezTo>
                    <a:pt x="26" y="0"/>
                    <a:pt x="26" y="0"/>
                    <a:pt x="26" y="0"/>
                  </a:cubicBezTo>
                  <a:cubicBezTo>
                    <a:pt x="29" y="1"/>
                    <a:pt x="31" y="2"/>
                    <a:pt x="35" y="4"/>
                  </a:cubicBezTo>
                  <a:cubicBezTo>
                    <a:pt x="38" y="6"/>
                    <a:pt x="40" y="9"/>
                    <a:pt x="42" y="12"/>
                  </a:cubicBezTo>
                  <a:cubicBezTo>
                    <a:pt x="45" y="16"/>
                    <a:pt x="46" y="20"/>
                    <a:pt x="46" y="24"/>
                  </a:cubicBezTo>
                  <a:cubicBezTo>
                    <a:pt x="46" y="28"/>
                    <a:pt x="45" y="31"/>
                    <a:pt x="43" y="35"/>
                  </a:cubicBezTo>
                  <a:cubicBezTo>
                    <a:pt x="41" y="38"/>
                    <a:pt x="38" y="41"/>
                    <a:pt x="35" y="43"/>
                  </a:cubicBezTo>
                  <a:cubicBezTo>
                    <a:pt x="31" y="46"/>
                    <a:pt x="27" y="47"/>
                    <a:pt x="23" y="47"/>
                  </a:cubicBezTo>
                  <a:cubicBezTo>
                    <a:pt x="19" y="48"/>
                    <a:pt x="15" y="47"/>
                    <a:pt x="12" y="45"/>
                  </a:cubicBezTo>
                  <a:cubicBezTo>
                    <a:pt x="9" y="43"/>
                    <a:pt x="6" y="41"/>
                    <a:pt x="4" y="37"/>
                  </a:cubicBezTo>
                  <a:cubicBezTo>
                    <a:pt x="1" y="32"/>
                    <a:pt x="0" y="28"/>
                    <a:pt x="0" y="24"/>
                  </a:cubicBezTo>
                  <a:cubicBezTo>
                    <a:pt x="0" y="21"/>
                    <a:pt x="2" y="17"/>
                    <a:pt x="5" y="14"/>
                  </a:cubicBezTo>
                  <a:cubicBezTo>
                    <a:pt x="11" y="21"/>
                    <a:pt x="11" y="21"/>
                    <a:pt x="11" y="21"/>
                  </a:cubicBezTo>
                  <a:cubicBezTo>
                    <a:pt x="10" y="23"/>
                    <a:pt x="9" y="24"/>
                    <a:pt x="9" y="27"/>
                  </a:cubicBezTo>
                  <a:cubicBezTo>
                    <a:pt x="8" y="29"/>
                    <a:pt x="9" y="31"/>
                    <a:pt x="11" y="33"/>
                  </a:cubicBezTo>
                  <a:cubicBezTo>
                    <a:pt x="13" y="36"/>
                    <a:pt x="15" y="38"/>
                    <a:pt x="19" y="39"/>
                  </a:cubicBezTo>
                  <a:cubicBezTo>
                    <a:pt x="22" y="39"/>
                    <a:pt x="26" y="38"/>
                    <a:pt x="30" y="36"/>
                  </a:cubicBezTo>
                  <a:cubicBezTo>
                    <a:pt x="34" y="33"/>
                    <a:pt x="37" y="30"/>
                    <a:pt x="38" y="26"/>
                  </a:cubicBezTo>
                  <a:cubicBezTo>
                    <a:pt x="39" y="23"/>
                    <a:pt x="38" y="20"/>
                    <a:pt x="36" y="17"/>
                  </a:cubicBezTo>
                  <a:cubicBezTo>
                    <a:pt x="35" y="15"/>
                    <a:pt x="34" y="14"/>
                    <a:pt x="32" y="13"/>
                  </a:cubicBezTo>
                  <a:cubicBezTo>
                    <a:pt x="30" y="11"/>
                    <a:pt x="29" y="10"/>
                    <a:pt x="27" y="10"/>
                  </a:cubicBezTo>
                  <a:cubicBezTo>
                    <a:pt x="23" y="13"/>
                    <a:pt x="23" y="13"/>
                    <a:pt x="23" y="13"/>
                  </a:cubicBezTo>
                  <a:lnTo>
                    <a:pt x="28" y="2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69" name="îŝ1ide"/>
            <p:cNvSpPr/>
            <p:nvPr/>
          </p:nvSpPr>
          <p:spPr bwMode="auto">
            <a:xfrm>
              <a:off x="1981097" y="4907553"/>
              <a:ext cx="931863" cy="969963"/>
            </a:xfrm>
            <a:custGeom>
              <a:avLst/>
              <a:gdLst>
                <a:gd name="T0" fmla="*/ 488 w 506"/>
                <a:gd name="T1" fmla="*/ 144 h 525"/>
                <a:gd name="T2" fmla="*/ 449 w 506"/>
                <a:gd name="T3" fmla="*/ 161 h 525"/>
                <a:gd name="T4" fmla="*/ 473 w 506"/>
                <a:gd name="T5" fmla="*/ 361 h 525"/>
                <a:gd name="T6" fmla="*/ 434 w 506"/>
                <a:gd name="T7" fmla="*/ 382 h 525"/>
                <a:gd name="T8" fmla="*/ 463 w 506"/>
                <a:gd name="T9" fmla="*/ 392 h 525"/>
                <a:gd name="T10" fmla="*/ 434 w 506"/>
                <a:gd name="T11" fmla="*/ 455 h 525"/>
                <a:gd name="T12" fmla="*/ 418 w 506"/>
                <a:gd name="T13" fmla="*/ 525 h 525"/>
                <a:gd name="T14" fmla="*/ 328 w 506"/>
                <a:gd name="T15" fmla="*/ 392 h 525"/>
                <a:gd name="T16" fmla="*/ 200 w 506"/>
                <a:gd name="T17" fmla="*/ 376 h 525"/>
                <a:gd name="T18" fmla="*/ 179 w 506"/>
                <a:gd name="T19" fmla="*/ 525 h 525"/>
                <a:gd name="T20" fmla="*/ 72 w 506"/>
                <a:gd name="T21" fmla="*/ 510 h 525"/>
                <a:gd name="T22" fmla="*/ 44 w 506"/>
                <a:gd name="T23" fmla="*/ 439 h 525"/>
                <a:gd name="T24" fmla="*/ 72 w 506"/>
                <a:gd name="T25" fmla="*/ 392 h 525"/>
                <a:gd name="T26" fmla="*/ 57 w 506"/>
                <a:gd name="T27" fmla="*/ 382 h 525"/>
                <a:gd name="T28" fmla="*/ 18 w 506"/>
                <a:gd name="T29" fmla="*/ 161 h 525"/>
                <a:gd name="T30" fmla="*/ 56 w 506"/>
                <a:gd name="T31" fmla="*/ 144 h 525"/>
                <a:gd name="T32" fmla="*/ 0 w 506"/>
                <a:gd name="T33" fmla="*/ 21 h 525"/>
                <a:gd name="T34" fmla="*/ 92 w 506"/>
                <a:gd name="T35" fmla="*/ 21 h 525"/>
                <a:gd name="T36" fmla="*/ 403 w 506"/>
                <a:gd name="T37" fmla="*/ 82 h 525"/>
                <a:gd name="T38" fmla="*/ 457 w 506"/>
                <a:gd name="T39" fmla="*/ 0 h 525"/>
                <a:gd name="T40" fmla="*/ 461 w 506"/>
                <a:gd name="T41" fmla="*/ 82 h 525"/>
                <a:gd name="T42" fmla="*/ 455 w 506"/>
                <a:gd name="T43" fmla="*/ 24 h 525"/>
                <a:gd name="T44" fmla="*/ 435 w 506"/>
                <a:gd name="T45" fmla="*/ 82 h 525"/>
                <a:gd name="T46" fmla="*/ 454 w 506"/>
                <a:gd name="T47" fmla="*/ 127 h 525"/>
                <a:gd name="T48" fmla="*/ 49 w 506"/>
                <a:gd name="T49" fmla="*/ 112 h 525"/>
                <a:gd name="T50" fmla="*/ 78 w 506"/>
                <a:gd name="T51" fmla="*/ 127 h 525"/>
                <a:gd name="T52" fmla="*/ 81 w 506"/>
                <a:gd name="T53" fmla="*/ 161 h 525"/>
                <a:gd name="T54" fmla="*/ 426 w 506"/>
                <a:gd name="T55" fmla="*/ 145 h 525"/>
                <a:gd name="T56" fmla="*/ 454 w 506"/>
                <a:gd name="T57" fmla="*/ 127 h 525"/>
                <a:gd name="T58" fmla="*/ 450 w 506"/>
                <a:gd name="T59" fmla="*/ 178 h 525"/>
                <a:gd name="T60" fmla="*/ 65 w 506"/>
                <a:gd name="T61" fmla="*/ 335 h 525"/>
                <a:gd name="T62" fmla="*/ 421 w 506"/>
                <a:gd name="T63" fmla="*/ 349 h 525"/>
                <a:gd name="T64" fmla="*/ 398 w 506"/>
                <a:gd name="T65" fmla="*/ 490 h 525"/>
                <a:gd name="T66" fmla="*/ 356 w 506"/>
                <a:gd name="T67" fmla="*/ 371 h 525"/>
                <a:gd name="T68" fmla="*/ 389 w 506"/>
                <a:gd name="T69" fmla="*/ 496 h 525"/>
                <a:gd name="T70" fmla="*/ 150 w 506"/>
                <a:gd name="T71" fmla="*/ 496 h 525"/>
                <a:gd name="T72" fmla="*/ 108 w 506"/>
                <a:gd name="T73" fmla="*/ 371 h 525"/>
                <a:gd name="T74" fmla="*/ 117 w 506"/>
                <a:gd name="T75" fmla="*/ 496 h 525"/>
                <a:gd name="T76" fmla="*/ 71 w 506"/>
                <a:gd name="T77" fmla="*/ 82 h 525"/>
                <a:gd name="T78" fmla="*/ 51 w 506"/>
                <a:gd name="T79" fmla="*/ 24 h 525"/>
                <a:gd name="T80" fmla="*/ 45 w 506"/>
                <a:gd name="T81" fmla="*/ 82 h 5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506" h="525">
                  <a:moveTo>
                    <a:pt x="506" y="21"/>
                  </a:moveTo>
                  <a:cubicBezTo>
                    <a:pt x="488" y="144"/>
                    <a:pt x="488" y="144"/>
                    <a:pt x="488" y="144"/>
                  </a:cubicBezTo>
                  <a:cubicBezTo>
                    <a:pt x="450" y="144"/>
                    <a:pt x="450" y="144"/>
                    <a:pt x="450" y="144"/>
                  </a:cubicBezTo>
                  <a:cubicBezTo>
                    <a:pt x="449" y="161"/>
                    <a:pt x="449" y="161"/>
                    <a:pt x="449" y="161"/>
                  </a:cubicBezTo>
                  <a:cubicBezTo>
                    <a:pt x="488" y="161"/>
                    <a:pt x="488" y="161"/>
                    <a:pt x="488" y="161"/>
                  </a:cubicBezTo>
                  <a:cubicBezTo>
                    <a:pt x="473" y="361"/>
                    <a:pt x="473" y="361"/>
                    <a:pt x="473" y="361"/>
                  </a:cubicBezTo>
                  <a:cubicBezTo>
                    <a:pt x="473" y="372"/>
                    <a:pt x="462" y="382"/>
                    <a:pt x="450" y="382"/>
                  </a:cubicBezTo>
                  <a:cubicBezTo>
                    <a:pt x="434" y="382"/>
                    <a:pt x="434" y="382"/>
                    <a:pt x="434" y="382"/>
                  </a:cubicBezTo>
                  <a:cubicBezTo>
                    <a:pt x="434" y="392"/>
                    <a:pt x="434" y="392"/>
                    <a:pt x="434" y="392"/>
                  </a:cubicBezTo>
                  <a:cubicBezTo>
                    <a:pt x="463" y="392"/>
                    <a:pt x="463" y="392"/>
                    <a:pt x="463" y="392"/>
                  </a:cubicBezTo>
                  <a:cubicBezTo>
                    <a:pt x="463" y="439"/>
                    <a:pt x="463" y="439"/>
                    <a:pt x="463" y="439"/>
                  </a:cubicBezTo>
                  <a:cubicBezTo>
                    <a:pt x="463" y="448"/>
                    <a:pt x="450" y="455"/>
                    <a:pt x="434" y="455"/>
                  </a:cubicBezTo>
                  <a:cubicBezTo>
                    <a:pt x="434" y="510"/>
                    <a:pt x="434" y="510"/>
                    <a:pt x="434" y="510"/>
                  </a:cubicBezTo>
                  <a:cubicBezTo>
                    <a:pt x="434" y="518"/>
                    <a:pt x="427" y="525"/>
                    <a:pt x="418" y="525"/>
                  </a:cubicBezTo>
                  <a:cubicBezTo>
                    <a:pt x="328" y="525"/>
                    <a:pt x="328" y="525"/>
                    <a:pt x="328" y="525"/>
                  </a:cubicBezTo>
                  <a:cubicBezTo>
                    <a:pt x="328" y="392"/>
                    <a:pt x="328" y="392"/>
                    <a:pt x="328" y="392"/>
                  </a:cubicBezTo>
                  <a:cubicBezTo>
                    <a:pt x="328" y="383"/>
                    <a:pt x="318" y="376"/>
                    <a:pt x="307" y="376"/>
                  </a:cubicBezTo>
                  <a:cubicBezTo>
                    <a:pt x="200" y="376"/>
                    <a:pt x="200" y="376"/>
                    <a:pt x="200" y="376"/>
                  </a:cubicBezTo>
                  <a:cubicBezTo>
                    <a:pt x="188" y="376"/>
                    <a:pt x="179" y="383"/>
                    <a:pt x="179" y="392"/>
                  </a:cubicBezTo>
                  <a:cubicBezTo>
                    <a:pt x="179" y="525"/>
                    <a:pt x="179" y="525"/>
                    <a:pt x="179" y="525"/>
                  </a:cubicBezTo>
                  <a:cubicBezTo>
                    <a:pt x="89" y="525"/>
                    <a:pt x="89" y="525"/>
                    <a:pt x="89" y="525"/>
                  </a:cubicBezTo>
                  <a:cubicBezTo>
                    <a:pt x="80" y="525"/>
                    <a:pt x="72" y="518"/>
                    <a:pt x="72" y="510"/>
                  </a:cubicBezTo>
                  <a:cubicBezTo>
                    <a:pt x="72" y="455"/>
                    <a:pt x="72" y="455"/>
                    <a:pt x="72" y="455"/>
                  </a:cubicBezTo>
                  <a:cubicBezTo>
                    <a:pt x="56" y="455"/>
                    <a:pt x="44" y="448"/>
                    <a:pt x="44" y="439"/>
                  </a:cubicBezTo>
                  <a:cubicBezTo>
                    <a:pt x="44" y="392"/>
                    <a:pt x="44" y="392"/>
                    <a:pt x="44" y="392"/>
                  </a:cubicBezTo>
                  <a:cubicBezTo>
                    <a:pt x="72" y="392"/>
                    <a:pt x="72" y="392"/>
                    <a:pt x="72" y="392"/>
                  </a:cubicBezTo>
                  <a:cubicBezTo>
                    <a:pt x="72" y="382"/>
                    <a:pt x="72" y="382"/>
                    <a:pt x="72" y="382"/>
                  </a:cubicBezTo>
                  <a:cubicBezTo>
                    <a:pt x="57" y="382"/>
                    <a:pt x="57" y="382"/>
                    <a:pt x="57" y="382"/>
                  </a:cubicBezTo>
                  <a:cubicBezTo>
                    <a:pt x="44" y="382"/>
                    <a:pt x="34" y="372"/>
                    <a:pt x="34" y="361"/>
                  </a:cubicBezTo>
                  <a:cubicBezTo>
                    <a:pt x="18" y="161"/>
                    <a:pt x="18" y="161"/>
                    <a:pt x="18" y="161"/>
                  </a:cubicBezTo>
                  <a:cubicBezTo>
                    <a:pt x="58" y="161"/>
                    <a:pt x="58" y="161"/>
                    <a:pt x="58" y="161"/>
                  </a:cubicBezTo>
                  <a:cubicBezTo>
                    <a:pt x="56" y="144"/>
                    <a:pt x="56" y="144"/>
                    <a:pt x="56" y="144"/>
                  </a:cubicBezTo>
                  <a:cubicBezTo>
                    <a:pt x="18" y="144"/>
                    <a:pt x="18" y="144"/>
                    <a:pt x="18" y="144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2" y="7"/>
                    <a:pt x="31" y="0"/>
                    <a:pt x="49" y="0"/>
                  </a:cubicBezTo>
                  <a:cubicBezTo>
                    <a:pt x="73" y="0"/>
                    <a:pt x="80" y="3"/>
                    <a:pt x="92" y="21"/>
                  </a:cubicBezTo>
                  <a:cubicBezTo>
                    <a:pt x="103" y="82"/>
                    <a:pt x="103" y="82"/>
                    <a:pt x="103" y="82"/>
                  </a:cubicBezTo>
                  <a:cubicBezTo>
                    <a:pt x="403" y="82"/>
                    <a:pt x="403" y="82"/>
                    <a:pt x="403" y="82"/>
                  </a:cubicBezTo>
                  <a:cubicBezTo>
                    <a:pt x="415" y="21"/>
                    <a:pt x="415" y="21"/>
                    <a:pt x="415" y="21"/>
                  </a:cubicBezTo>
                  <a:cubicBezTo>
                    <a:pt x="426" y="3"/>
                    <a:pt x="433" y="0"/>
                    <a:pt x="457" y="0"/>
                  </a:cubicBezTo>
                  <a:cubicBezTo>
                    <a:pt x="475" y="0"/>
                    <a:pt x="504" y="7"/>
                    <a:pt x="506" y="21"/>
                  </a:cubicBezTo>
                  <a:close/>
                  <a:moveTo>
                    <a:pt x="461" y="82"/>
                  </a:moveTo>
                  <a:cubicBezTo>
                    <a:pt x="469" y="32"/>
                    <a:pt x="469" y="32"/>
                    <a:pt x="469" y="32"/>
                  </a:cubicBezTo>
                  <a:cubicBezTo>
                    <a:pt x="469" y="24"/>
                    <a:pt x="463" y="24"/>
                    <a:pt x="455" y="24"/>
                  </a:cubicBezTo>
                  <a:cubicBezTo>
                    <a:pt x="450" y="24"/>
                    <a:pt x="447" y="26"/>
                    <a:pt x="445" y="32"/>
                  </a:cubicBezTo>
                  <a:cubicBezTo>
                    <a:pt x="435" y="82"/>
                    <a:pt x="435" y="82"/>
                    <a:pt x="435" y="82"/>
                  </a:cubicBezTo>
                  <a:lnTo>
                    <a:pt x="461" y="82"/>
                  </a:lnTo>
                  <a:close/>
                  <a:moveTo>
                    <a:pt x="454" y="127"/>
                  </a:moveTo>
                  <a:cubicBezTo>
                    <a:pt x="457" y="112"/>
                    <a:pt x="457" y="112"/>
                    <a:pt x="457" y="112"/>
                  </a:cubicBezTo>
                  <a:cubicBezTo>
                    <a:pt x="49" y="112"/>
                    <a:pt x="49" y="112"/>
                    <a:pt x="49" y="112"/>
                  </a:cubicBezTo>
                  <a:cubicBezTo>
                    <a:pt x="52" y="127"/>
                    <a:pt x="52" y="127"/>
                    <a:pt x="52" y="127"/>
                  </a:cubicBezTo>
                  <a:cubicBezTo>
                    <a:pt x="78" y="127"/>
                    <a:pt x="78" y="127"/>
                    <a:pt x="78" y="127"/>
                  </a:cubicBezTo>
                  <a:cubicBezTo>
                    <a:pt x="80" y="145"/>
                    <a:pt x="80" y="145"/>
                    <a:pt x="80" y="145"/>
                  </a:cubicBezTo>
                  <a:cubicBezTo>
                    <a:pt x="81" y="161"/>
                    <a:pt x="81" y="161"/>
                    <a:pt x="81" y="161"/>
                  </a:cubicBezTo>
                  <a:cubicBezTo>
                    <a:pt x="425" y="161"/>
                    <a:pt x="425" y="161"/>
                    <a:pt x="425" y="161"/>
                  </a:cubicBezTo>
                  <a:cubicBezTo>
                    <a:pt x="426" y="145"/>
                    <a:pt x="426" y="145"/>
                    <a:pt x="426" y="145"/>
                  </a:cubicBezTo>
                  <a:cubicBezTo>
                    <a:pt x="428" y="127"/>
                    <a:pt x="428" y="127"/>
                    <a:pt x="428" y="127"/>
                  </a:cubicBezTo>
                  <a:lnTo>
                    <a:pt x="454" y="127"/>
                  </a:lnTo>
                  <a:close/>
                  <a:moveTo>
                    <a:pt x="441" y="335"/>
                  </a:moveTo>
                  <a:cubicBezTo>
                    <a:pt x="450" y="178"/>
                    <a:pt x="450" y="178"/>
                    <a:pt x="450" y="178"/>
                  </a:cubicBezTo>
                  <a:cubicBezTo>
                    <a:pt x="56" y="178"/>
                    <a:pt x="56" y="178"/>
                    <a:pt x="56" y="178"/>
                  </a:cubicBezTo>
                  <a:cubicBezTo>
                    <a:pt x="65" y="335"/>
                    <a:pt x="65" y="335"/>
                    <a:pt x="65" y="335"/>
                  </a:cubicBezTo>
                  <a:cubicBezTo>
                    <a:pt x="65" y="343"/>
                    <a:pt x="74" y="349"/>
                    <a:pt x="85" y="349"/>
                  </a:cubicBezTo>
                  <a:cubicBezTo>
                    <a:pt x="421" y="349"/>
                    <a:pt x="421" y="349"/>
                    <a:pt x="421" y="349"/>
                  </a:cubicBezTo>
                  <a:cubicBezTo>
                    <a:pt x="432" y="349"/>
                    <a:pt x="441" y="343"/>
                    <a:pt x="441" y="335"/>
                  </a:cubicBezTo>
                  <a:close/>
                  <a:moveTo>
                    <a:pt x="398" y="490"/>
                  </a:moveTo>
                  <a:cubicBezTo>
                    <a:pt x="398" y="371"/>
                    <a:pt x="398" y="371"/>
                    <a:pt x="398" y="371"/>
                  </a:cubicBezTo>
                  <a:cubicBezTo>
                    <a:pt x="356" y="371"/>
                    <a:pt x="356" y="371"/>
                    <a:pt x="356" y="371"/>
                  </a:cubicBezTo>
                  <a:cubicBezTo>
                    <a:pt x="356" y="496"/>
                    <a:pt x="356" y="496"/>
                    <a:pt x="356" y="496"/>
                  </a:cubicBezTo>
                  <a:cubicBezTo>
                    <a:pt x="389" y="496"/>
                    <a:pt x="389" y="496"/>
                    <a:pt x="389" y="496"/>
                  </a:cubicBezTo>
                  <a:cubicBezTo>
                    <a:pt x="394" y="496"/>
                    <a:pt x="398" y="496"/>
                    <a:pt x="398" y="490"/>
                  </a:cubicBezTo>
                  <a:close/>
                  <a:moveTo>
                    <a:pt x="150" y="496"/>
                  </a:moveTo>
                  <a:cubicBezTo>
                    <a:pt x="150" y="371"/>
                    <a:pt x="150" y="371"/>
                    <a:pt x="150" y="371"/>
                  </a:cubicBezTo>
                  <a:cubicBezTo>
                    <a:pt x="108" y="371"/>
                    <a:pt x="108" y="371"/>
                    <a:pt x="108" y="371"/>
                  </a:cubicBezTo>
                  <a:cubicBezTo>
                    <a:pt x="108" y="490"/>
                    <a:pt x="108" y="490"/>
                    <a:pt x="108" y="490"/>
                  </a:cubicBezTo>
                  <a:cubicBezTo>
                    <a:pt x="108" y="496"/>
                    <a:pt x="112" y="496"/>
                    <a:pt x="117" y="496"/>
                  </a:cubicBezTo>
                  <a:lnTo>
                    <a:pt x="150" y="496"/>
                  </a:lnTo>
                  <a:close/>
                  <a:moveTo>
                    <a:pt x="71" y="82"/>
                  </a:moveTo>
                  <a:cubicBezTo>
                    <a:pt x="61" y="32"/>
                    <a:pt x="61" y="32"/>
                    <a:pt x="61" y="32"/>
                  </a:cubicBezTo>
                  <a:cubicBezTo>
                    <a:pt x="60" y="26"/>
                    <a:pt x="57" y="24"/>
                    <a:pt x="51" y="24"/>
                  </a:cubicBezTo>
                  <a:cubicBezTo>
                    <a:pt x="43" y="24"/>
                    <a:pt x="37" y="24"/>
                    <a:pt x="37" y="32"/>
                  </a:cubicBezTo>
                  <a:cubicBezTo>
                    <a:pt x="45" y="82"/>
                    <a:pt x="45" y="82"/>
                    <a:pt x="45" y="82"/>
                  </a:cubicBezTo>
                  <a:lnTo>
                    <a:pt x="71" y="8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70" name="í$ḻíde"/>
            <p:cNvSpPr/>
            <p:nvPr/>
          </p:nvSpPr>
          <p:spPr bwMode="auto">
            <a:xfrm>
              <a:off x="2144609" y="5142503"/>
              <a:ext cx="604838" cy="3175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sz="1350"/>
            </a:p>
          </p:txBody>
        </p:sp>
      </p:grpSp>
      <p:pic>
        <p:nvPicPr>
          <p:cNvPr id="73" name="图片 72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4211096" y="-1099742"/>
            <a:ext cx="721809" cy="962412"/>
          </a:xfrm>
          <a:prstGeom prst="rect">
            <a:avLst/>
          </a:prstGeom>
        </p:spPr>
      </p:pic>
      <p:sp>
        <p:nvSpPr>
          <p:cNvPr id="74" name="文本框 73"/>
          <p:cNvSpPr txBox="1"/>
          <p:nvPr userDrawn="1"/>
        </p:nvSpPr>
        <p:spPr>
          <a:xfrm>
            <a:off x="4825041" y="-494146"/>
            <a:ext cx="2068279" cy="27559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zh-CN" altLang="en-US" sz="1200" dirty="0">
                <a:solidFill>
                  <a:srgbClr val="FF0000"/>
                </a:solidFill>
                <a:latin typeface="思源宋体 CN Medium" panose="02020500000000000000" pitchFamily="18" charset="-122"/>
                <a:ea typeface="思源宋体 CN Medium" panose="02020500000000000000" pitchFamily="18" charset="-122"/>
              </a:rPr>
              <a:t>微信公众号</a:t>
            </a:r>
            <a:r>
              <a:rPr lang="en-US" altLang="zh-CN" sz="1200" dirty="0">
                <a:solidFill>
                  <a:srgbClr val="FF0000"/>
                </a:solidFill>
                <a:latin typeface="思源宋体 CN Medium" panose="02020500000000000000" pitchFamily="18" charset="-122"/>
                <a:ea typeface="思源宋体 CN Medium" panose="02020500000000000000" pitchFamily="18" charset="-122"/>
              </a:rPr>
              <a:t>: PPT</a:t>
            </a:r>
            <a:r>
              <a:rPr lang="zh-CN" altLang="en-US" sz="1200" dirty="0">
                <a:solidFill>
                  <a:srgbClr val="FF0000"/>
                </a:solidFill>
                <a:latin typeface="思源宋体 CN Medium" panose="02020500000000000000" pitchFamily="18" charset="-122"/>
                <a:ea typeface="思源宋体 CN Medium" panose="02020500000000000000" pitchFamily="18" charset="-122"/>
              </a:rPr>
              <a:t>研究生</a:t>
            </a:r>
            <a:endParaRPr lang="zh-CN" altLang="en-US" sz="1200" dirty="0">
              <a:solidFill>
                <a:srgbClr val="FF0000"/>
              </a:solidFill>
              <a:latin typeface="思源宋体 CN Medium" panose="02020500000000000000" pitchFamily="18" charset="-122"/>
              <a:ea typeface="思源宋体 CN Medium" panose="02020500000000000000" pitchFamily="18" charset="-122"/>
            </a:endParaRPr>
          </a:p>
        </p:txBody>
      </p:sp>
    </p:spTree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9" name="文本框 68"/>
          <p:cNvSpPr txBox="1"/>
          <p:nvPr userDrawn="1"/>
        </p:nvSpPr>
        <p:spPr>
          <a:xfrm>
            <a:off x="3415361" y="1469570"/>
            <a:ext cx="780842" cy="17081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30000"/>
              </a:lnSpc>
            </a:pPr>
            <a:r>
              <a:rPr lang="zh-CN" altLang="en-US" sz="100" dirty="0">
                <a:solidFill>
                  <a:schemeClr val="bg1">
                    <a:alpha val="0"/>
                  </a:schemeClr>
                </a:solidFill>
                <a:latin typeface="思源宋体 CN Heavy" panose="02020900000000000000" pitchFamily="18" charset="-122"/>
                <a:ea typeface="思源宋体 CN Heavy" panose="02020900000000000000" pitchFamily="18" charset="-122"/>
              </a:rPr>
              <a:t>您好！我是本套</a:t>
            </a:r>
            <a:r>
              <a:rPr lang="en-US" altLang="zh-CN" sz="100" dirty="0">
                <a:solidFill>
                  <a:schemeClr val="bg1">
                    <a:alpha val="0"/>
                  </a:schemeClr>
                </a:solidFill>
                <a:latin typeface="思源宋体 CN Heavy" panose="02020900000000000000" pitchFamily="18" charset="-122"/>
                <a:ea typeface="思源宋体 CN Heavy" panose="02020900000000000000" pitchFamily="18" charset="-122"/>
              </a:rPr>
              <a:t>PPT</a:t>
            </a:r>
            <a:r>
              <a:rPr lang="zh-CN" altLang="en-US" sz="100" dirty="0">
                <a:solidFill>
                  <a:schemeClr val="bg1">
                    <a:alpha val="0"/>
                  </a:schemeClr>
                </a:solidFill>
                <a:latin typeface="思源宋体 CN Heavy" panose="02020900000000000000" pitchFamily="18" charset="-122"/>
                <a:ea typeface="思源宋体 CN Heavy" panose="02020900000000000000" pitchFamily="18" charset="-122"/>
              </a:rPr>
              <a:t>模板的作者王奕博，本套</a:t>
            </a:r>
            <a:r>
              <a:rPr lang="en-US" altLang="zh-CN" sz="100" dirty="0">
                <a:solidFill>
                  <a:schemeClr val="bg1">
                    <a:alpha val="0"/>
                  </a:schemeClr>
                </a:solidFill>
                <a:latin typeface="思源宋体 CN Heavy" panose="02020900000000000000" pitchFamily="18" charset="-122"/>
                <a:ea typeface="思源宋体 CN Heavy" panose="02020900000000000000" pitchFamily="18" charset="-122"/>
              </a:rPr>
              <a:t>PPT</a:t>
            </a:r>
            <a:r>
              <a:rPr lang="zh-CN" altLang="en-US" sz="100" dirty="0">
                <a:solidFill>
                  <a:schemeClr val="bg1">
                    <a:alpha val="0"/>
                  </a:schemeClr>
                </a:solidFill>
                <a:latin typeface="思源宋体 CN Heavy" panose="02020900000000000000" pitchFamily="18" charset="-122"/>
                <a:ea typeface="思源宋体 CN Heavy" panose="02020900000000000000" pitchFamily="18" charset="-122"/>
              </a:rPr>
              <a:t>模板是特别为北京科技大学同学朋友制作，方便各位的答辩工作。本模板内使用图片来自北京科技大学官方微信公众号</a:t>
            </a:r>
            <a:r>
              <a:rPr lang="en-US" altLang="zh-CN" sz="100" dirty="0">
                <a:solidFill>
                  <a:schemeClr val="bg1">
                    <a:alpha val="0"/>
                  </a:schemeClr>
                </a:solidFill>
                <a:latin typeface="思源宋体 CN Heavy" panose="02020900000000000000" pitchFamily="18" charset="-122"/>
                <a:ea typeface="思源宋体 CN Heavy" panose="02020900000000000000" pitchFamily="18" charset="-122"/>
              </a:rPr>
              <a:t>,</a:t>
            </a:r>
            <a:r>
              <a:rPr lang="zh-CN" altLang="en-US" sz="100" dirty="0">
                <a:solidFill>
                  <a:schemeClr val="bg1">
                    <a:alpha val="0"/>
                  </a:schemeClr>
                </a:solidFill>
                <a:latin typeface="思源宋体 CN Heavy" panose="02020900000000000000" pitchFamily="18" charset="-122"/>
                <a:ea typeface="思源宋体 CN Heavy" panose="02020900000000000000" pitchFamily="18" charset="-122"/>
              </a:rPr>
              <a:t>模板文案仅供参考，官方信息以北京科技大学官网为准。恶意修改、诋毁、扭曲北京科技大学形象的行为后果自负。</a:t>
            </a:r>
            <a:endParaRPr lang="en-US" altLang="zh-CN" sz="100" dirty="0">
              <a:solidFill>
                <a:schemeClr val="bg1">
                  <a:alpha val="0"/>
                </a:schemeClr>
              </a:solidFill>
              <a:latin typeface="思源宋体 CN Heavy" panose="02020900000000000000" pitchFamily="18" charset="-122"/>
              <a:ea typeface="思源宋体 CN Heavy" panose="02020900000000000000" pitchFamily="18" charset="-122"/>
            </a:endParaRPr>
          </a:p>
          <a:p>
            <a:pPr>
              <a:lnSpc>
                <a:spcPct val="130000"/>
              </a:lnSpc>
            </a:pPr>
            <a:r>
              <a:rPr lang="zh-CN" altLang="en-US" sz="100" dirty="0">
                <a:solidFill>
                  <a:schemeClr val="bg1">
                    <a:alpha val="0"/>
                  </a:schemeClr>
                </a:solidFill>
                <a:latin typeface="思源宋体 CN Heavy" panose="02020900000000000000" pitchFamily="18" charset="-122"/>
                <a:ea typeface="思源宋体 CN Heavy" panose="02020900000000000000" pitchFamily="18" charset="-122"/>
              </a:rPr>
              <a:t>最后，祝您答辩顺利，前程似锦！</a:t>
            </a:r>
            <a:endParaRPr lang="zh-CN" altLang="en-US" sz="100" dirty="0">
              <a:solidFill>
                <a:schemeClr val="bg1">
                  <a:alpha val="0"/>
                </a:schemeClr>
              </a:solidFill>
              <a:latin typeface="思源宋体 CN Heavy" panose="02020900000000000000" pitchFamily="18" charset="-122"/>
              <a:ea typeface="思源宋体 CN Heavy" panose="02020900000000000000" pitchFamily="18" charset="-122"/>
            </a:endParaRPr>
          </a:p>
        </p:txBody>
      </p:sp>
      <p:grpSp>
        <p:nvGrpSpPr>
          <p:cNvPr id="8" name="组合 7"/>
          <p:cNvGrpSpPr/>
          <p:nvPr/>
        </p:nvGrpSpPr>
        <p:grpSpPr>
          <a:xfrm>
            <a:off x="6457825" y="-15557"/>
            <a:ext cx="5372351" cy="7169530"/>
            <a:chOff x="1560409" y="2069897"/>
            <a:chExt cx="1776413" cy="1778000"/>
          </a:xfrm>
        </p:grpSpPr>
        <p:sp>
          <p:nvSpPr>
            <p:cNvPr id="67" name="îS1îḋé"/>
            <p:cNvSpPr/>
            <p:nvPr/>
          </p:nvSpPr>
          <p:spPr bwMode="auto">
            <a:xfrm>
              <a:off x="1560409" y="2069897"/>
              <a:ext cx="1776413" cy="1778000"/>
            </a:xfrm>
            <a:prstGeom prst="ellipse">
              <a:avLst/>
            </a:prstGeom>
            <a:noFill/>
            <a:ln w="98425" cap="flat">
              <a:solidFill>
                <a:schemeClr val="bg1">
                  <a:lumMod val="95000"/>
                  <a:alpha val="21000"/>
                </a:schemeClr>
              </a:solidFill>
              <a:prstDash val="solid"/>
              <a:miter lim="800000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68" name="îṣḷïďé"/>
            <p:cNvSpPr/>
            <p:nvPr/>
          </p:nvSpPr>
          <p:spPr bwMode="auto">
            <a:xfrm>
              <a:off x="1779484" y="2288972"/>
              <a:ext cx="1336675" cy="1338263"/>
            </a:xfrm>
            <a:prstGeom prst="ellipse">
              <a:avLst/>
            </a:prstGeom>
            <a:noFill/>
            <a:ln w="19050" cap="flat">
              <a:solidFill>
                <a:schemeClr val="bg1">
                  <a:alpha val="21000"/>
                </a:schemeClr>
              </a:solidFill>
              <a:prstDash val="solid"/>
              <a:miter lim="800000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anchor="ctr"/>
            <a:lstStyle/>
            <a:p>
              <a:pPr algn="ctr"/>
              <a:endParaRPr sz="1350"/>
            </a:p>
          </p:txBody>
        </p:sp>
      </p:grpSp>
      <p:grpSp>
        <p:nvGrpSpPr>
          <p:cNvPr id="9" name="组合 8"/>
          <p:cNvGrpSpPr/>
          <p:nvPr/>
        </p:nvGrpSpPr>
        <p:grpSpPr>
          <a:xfrm>
            <a:off x="6705077" y="218094"/>
            <a:ext cx="4877843" cy="6702232"/>
            <a:chOff x="1641372" y="4491628"/>
            <a:chExt cx="1612900" cy="1662113"/>
          </a:xfrm>
          <a:solidFill>
            <a:schemeClr val="bg1">
              <a:lumMod val="95000"/>
              <a:alpha val="21000"/>
            </a:schemeClr>
          </a:solidFill>
        </p:grpSpPr>
        <p:sp>
          <p:nvSpPr>
            <p:cNvPr id="10" name="ïś1íďê"/>
            <p:cNvSpPr/>
            <p:nvPr/>
          </p:nvSpPr>
          <p:spPr bwMode="auto">
            <a:xfrm>
              <a:off x="2889147" y="4701178"/>
              <a:ext cx="153988" cy="138113"/>
            </a:xfrm>
            <a:custGeom>
              <a:avLst/>
              <a:gdLst>
                <a:gd name="T0" fmla="*/ 62 w 83"/>
                <a:gd name="T1" fmla="*/ 8 h 75"/>
                <a:gd name="T2" fmla="*/ 53 w 83"/>
                <a:gd name="T3" fmla="*/ 10 h 75"/>
                <a:gd name="T4" fmla="*/ 57 w 83"/>
                <a:gd name="T5" fmla="*/ 0 h 75"/>
                <a:gd name="T6" fmla="*/ 44 w 83"/>
                <a:gd name="T7" fmla="*/ 21 h 75"/>
                <a:gd name="T8" fmla="*/ 58 w 83"/>
                <a:gd name="T9" fmla="*/ 11 h 75"/>
                <a:gd name="T10" fmla="*/ 54 w 83"/>
                <a:gd name="T11" fmla="*/ 18 h 75"/>
                <a:gd name="T12" fmla="*/ 28 w 83"/>
                <a:gd name="T13" fmla="*/ 18 h 75"/>
                <a:gd name="T14" fmla="*/ 19 w 83"/>
                <a:gd name="T15" fmla="*/ 17 h 75"/>
                <a:gd name="T16" fmla="*/ 25 w 83"/>
                <a:gd name="T17" fmla="*/ 12 h 75"/>
                <a:gd name="T18" fmla="*/ 1 w 83"/>
                <a:gd name="T19" fmla="*/ 30 h 75"/>
                <a:gd name="T20" fmla="*/ 13 w 83"/>
                <a:gd name="T21" fmla="*/ 24 h 75"/>
                <a:gd name="T22" fmla="*/ 36 w 83"/>
                <a:gd name="T23" fmla="*/ 28 h 75"/>
                <a:gd name="T24" fmla="*/ 22 w 83"/>
                <a:gd name="T25" fmla="*/ 35 h 75"/>
                <a:gd name="T26" fmla="*/ 45 w 83"/>
                <a:gd name="T27" fmla="*/ 41 h 75"/>
                <a:gd name="T28" fmla="*/ 42 w 83"/>
                <a:gd name="T29" fmla="*/ 41 h 75"/>
                <a:gd name="T30" fmla="*/ 35 w 83"/>
                <a:gd name="T31" fmla="*/ 40 h 75"/>
                <a:gd name="T32" fmla="*/ 37 w 83"/>
                <a:gd name="T33" fmla="*/ 45 h 75"/>
                <a:gd name="T34" fmla="*/ 12 w 83"/>
                <a:gd name="T35" fmla="*/ 34 h 75"/>
                <a:gd name="T36" fmla="*/ 9 w 83"/>
                <a:gd name="T37" fmla="*/ 35 h 75"/>
                <a:gd name="T38" fmla="*/ 20 w 83"/>
                <a:gd name="T39" fmla="*/ 64 h 75"/>
                <a:gd name="T40" fmla="*/ 0 w 83"/>
                <a:gd name="T41" fmla="*/ 57 h 75"/>
                <a:gd name="T42" fmla="*/ 35 w 83"/>
                <a:gd name="T43" fmla="*/ 58 h 75"/>
                <a:gd name="T44" fmla="*/ 46 w 83"/>
                <a:gd name="T45" fmla="*/ 57 h 75"/>
                <a:gd name="T46" fmla="*/ 42 w 83"/>
                <a:gd name="T47" fmla="*/ 48 h 75"/>
                <a:gd name="T48" fmla="*/ 62 w 83"/>
                <a:gd name="T49" fmla="*/ 57 h 75"/>
                <a:gd name="T50" fmla="*/ 61 w 83"/>
                <a:gd name="T51" fmla="*/ 35 h 75"/>
                <a:gd name="T52" fmla="*/ 62 w 83"/>
                <a:gd name="T53" fmla="*/ 34 h 75"/>
                <a:gd name="T54" fmla="*/ 66 w 83"/>
                <a:gd name="T55" fmla="*/ 16 h 75"/>
                <a:gd name="T56" fmla="*/ 63 w 83"/>
                <a:gd name="T57" fmla="*/ 44 h 75"/>
                <a:gd name="T58" fmla="*/ 54 w 83"/>
                <a:gd name="T59" fmla="*/ 32 h 75"/>
                <a:gd name="T60" fmla="*/ 60 w 83"/>
                <a:gd name="T61" fmla="*/ 27 h 75"/>
                <a:gd name="T62" fmla="*/ 67 w 83"/>
                <a:gd name="T63" fmla="*/ 18 h 75"/>
                <a:gd name="T64" fmla="*/ 77 w 83"/>
                <a:gd name="T65" fmla="*/ 23 h 75"/>
                <a:gd name="T66" fmla="*/ 60 w 83"/>
                <a:gd name="T67" fmla="*/ 27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83" h="75">
                  <a:moveTo>
                    <a:pt x="66" y="16"/>
                  </a:moveTo>
                  <a:cubicBezTo>
                    <a:pt x="65" y="13"/>
                    <a:pt x="63" y="11"/>
                    <a:pt x="62" y="8"/>
                  </a:cubicBezTo>
                  <a:cubicBezTo>
                    <a:pt x="59" y="9"/>
                    <a:pt x="57" y="9"/>
                    <a:pt x="54" y="10"/>
                  </a:cubicBezTo>
                  <a:cubicBezTo>
                    <a:pt x="54" y="10"/>
                    <a:pt x="53" y="10"/>
                    <a:pt x="53" y="10"/>
                  </a:cubicBezTo>
                  <a:cubicBezTo>
                    <a:pt x="54" y="7"/>
                    <a:pt x="57" y="6"/>
                    <a:pt x="59" y="3"/>
                  </a:cubicBezTo>
                  <a:cubicBezTo>
                    <a:pt x="58" y="2"/>
                    <a:pt x="58" y="1"/>
                    <a:pt x="57" y="0"/>
                  </a:cubicBezTo>
                  <a:cubicBezTo>
                    <a:pt x="48" y="1"/>
                    <a:pt x="37" y="9"/>
                    <a:pt x="42" y="19"/>
                  </a:cubicBezTo>
                  <a:cubicBezTo>
                    <a:pt x="42" y="19"/>
                    <a:pt x="43" y="20"/>
                    <a:pt x="44" y="21"/>
                  </a:cubicBezTo>
                  <a:cubicBezTo>
                    <a:pt x="47" y="19"/>
                    <a:pt x="48" y="15"/>
                    <a:pt x="51" y="14"/>
                  </a:cubicBezTo>
                  <a:cubicBezTo>
                    <a:pt x="53" y="13"/>
                    <a:pt x="55" y="13"/>
                    <a:pt x="58" y="11"/>
                  </a:cubicBezTo>
                  <a:cubicBezTo>
                    <a:pt x="58" y="11"/>
                    <a:pt x="59" y="11"/>
                    <a:pt x="59" y="11"/>
                  </a:cubicBezTo>
                  <a:cubicBezTo>
                    <a:pt x="57" y="14"/>
                    <a:pt x="56" y="16"/>
                    <a:pt x="54" y="18"/>
                  </a:cubicBezTo>
                  <a:cubicBezTo>
                    <a:pt x="54" y="21"/>
                    <a:pt x="55" y="24"/>
                    <a:pt x="54" y="27"/>
                  </a:cubicBezTo>
                  <a:cubicBezTo>
                    <a:pt x="54" y="27"/>
                    <a:pt x="30" y="18"/>
                    <a:pt x="28" y="18"/>
                  </a:cubicBezTo>
                  <a:cubicBezTo>
                    <a:pt x="25" y="17"/>
                    <a:pt x="22" y="17"/>
                    <a:pt x="20" y="17"/>
                  </a:cubicBezTo>
                  <a:cubicBezTo>
                    <a:pt x="19" y="17"/>
                    <a:pt x="19" y="17"/>
                    <a:pt x="19" y="17"/>
                  </a:cubicBezTo>
                  <a:cubicBezTo>
                    <a:pt x="22" y="15"/>
                    <a:pt x="23" y="15"/>
                    <a:pt x="25" y="13"/>
                  </a:cubicBezTo>
                  <a:cubicBezTo>
                    <a:pt x="25" y="12"/>
                    <a:pt x="25" y="12"/>
                    <a:pt x="25" y="12"/>
                  </a:cubicBezTo>
                  <a:cubicBezTo>
                    <a:pt x="18" y="12"/>
                    <a:pt x="11" y="16"/>
                    <a:pt x="4" y="18"/>
                  </a:cubicBezTo>
                  <a:cubicBezTo>
                    <a:pt x="0" y="22"/>
                    <a:pt x="0" y="25"/>
                    <a:pt x="1" y="30"/>
                  </a:cubicBezTo>
                  <a:cubicBezTo>
                    <a:pt x="3" y="31"/>
                    <a:pt x="3" y="31"/>
                    <a:pt x="3" y="31"/>
                  </a:cubicBezTo>
                  <a:cubicBezTo>
                    <a:pt x="6" y="29"/>
                    <a:pt x="9" y="26"/>
                    <a:pt x="13" y="24"/>
                  </a:cubicBezTo>
                  <a:cubicBezTo>
                    <a:pt x="19" y="20"/>
                    <a:pt x="30" y="22"/>
                    <a:pt x="37" y="27"/>
                  </a:cubicBezTo>
                  <a:cubicBezTo>
                    <a:pt x="37" y="28"/>
                    <a:pt x="36" y="28"/>
                    <a:pt x="36" y="28"/>
                  </a:cubicBezTo>
                  <a:cubicBezTo>
                    <a:pt x="31" y="29"/>
                    <a:pt x="28" y="28"/>
                    <a:pt x="22" y="32"/>
                  </a:cubicBezTo>
                  <a:cubicBezTo>
                    <a:pt x="22" y="33"/>
                    <a:pt x="22" y="34"/>
                    <a:pt x="22" y="35"/>
                  </a:cubicBezTo>
                  <a:cubicBezTo>
                    <a:pt x="22" y="37"/>
                    <a:pt x="22" y="37"/>
                    <a:pt x="24" y="39"/>
                  </a:cubicBezTo>
                  <a:cubicBezTo>
                    <a:pt x="31" y="37"/>
                    <a:pt x="37" y="36"/>
                    <a:pt x="45" y="41"/>
                  </a:cubicBezTo>
                  <a:cubicBezTo>
                    <a:pt x="44" y="41"/>
                    <a:pt x="44" y="41"/>
                    <a:pt x="44" y="41"/>
                  </a:cubicBezTo>
                  <a:cubicBezTo>
                    <a:pt x="43" y="41"/>
                    <a:pt x="42" y="41"/>
                    <a:pt x="42" y="41"/>
                  </a:cubicBezTo>
                  <a:cubicBezTo>
                    <a:pt x="41" y="40"/>
                    <a:pt x="40" y="39"/>
                    <a:pt x="39" y="39"/>
                  </a:cubicBezTo>
                  <a:cubicBezTo>
                    <a:pt x="37" y="41"/>
                    <a:pt x="37" y="41"/>
                    <a:pt x="35" y="40"/>
                  </a:cubicBezTo>
                  <a:cubicBezTo>
                    <a:pt x="35" y="40"/>
                    <a:pt x="34" y="41"/>
                    <a:pt x="34" y="41"/>
                  </a:cubicBezTo>
                  <a:cubicBezTo>
                    <a:pt x="35" y="43"/>
                    <a:pt x="35" y="43"/>
                    <a:pt x="37" y="45"/>
                  </a:cubicBezTo>
                  <a:cubicBezTo>
                    <a:pt x="36" y="46"/>
                    <a:pt x="36" y="47"/>
                    <a:pt x="35" y="48"/>
                  </a:cubicBezTo>
                  <a:cubicBezTo>
                    <a:pt x="27" y="44"/>
                    <a:pt x="20" y="40"/>
                    <a:pt x="12" y="34"/>
                  </a:cubicBezTo>
                  <a:cubicBezTo>
                    <a:pt x="11" y="34"/>
                    <a:pt x="11" y="34"/>
                    <a:pt x="10" y="34"/>
                  </a:cubicBezTo>
                  <a:cubicBezTo>
                    <a:pt x="9" y="34"/>
                    <a:pt x="9" y="35"/>
                    <a:pt x="9" y="35"/>
                  </a:cubicBezTo>
                  <a:cubicBezTo>
                    <a:pt x="11" y="55"/>
                    <a:pt x="20" y="44"/>
                    <a:pt x="31" y="54"/>
                  </a:cubicBezTo>
                  <a:cubicBezTo>
                    <a:pt x="27" y="58"/>
                    <a:pt x="23" y="61"/>
                    <a:pt x="20" y="64"/>
                  </a:cubicBezTo>
                  <a:cubicBezTo>
                    <a:pt x="15" y="63"/>
                    <a:pt x="6" y="55"/>
                    <a:pt x="1" y="56"/>
                  </a:cubicBezTo>
                  <a:cubicBezTo>
                    <a:pt x="1" y="56"/>
                    <a:pt x="1" y="56"/>
                    <a:pt x="0" y="57"/>
                  </a:cubicBezTo>
                  <a:cubicBezTo>
                    <a:pt x="2" y="62"/>
                    <a:pt x="7" y="67"/>
                    <a:pt x="9" y="72"/>
                  </a:cubicBezTo>
                  <a:cubicBezTo>
                    <a:pt x="17" y="75"/>
                    <a:pt x="26" y="66"/>
                    <a:pt x="35" y="58"/>
                  </a:cubicBezTo>
                  <a:cubicBezTo>
                    <a:pt x="37" y="60"/>
                    <a:pt x="39" y="63"/>
                    <a:pt x="42" y="65"/>
                  </a:cubicBezTo>
                  <a:cubicBezTo>
                    <a:pt x="46" y="63"/>
                    <a:pt x="46" y="60"/>
                    <a:pt x="46" y="57"/>
                  </a:cubicBezTo>
                  <a:cubicBezTo>
                    <a:pt x="45" y="54"/>
                    <a:pt x="43" y="53"/>
                    <a:pt x="40" y="50"/>
                  </a:cubicBezTo>
                  <a:cubicBezTo>
                    <a:pt x="41" y="49"/>
                    <a:pt x="42" y="48"/>
                    <a:pt x="42" y="48"/>
                  </a:cubicBezTo>
                  <a:cubicBezTo>
                    <a:pt x="46" y="48"/>
                    <a:pt x="49" y="48"/>
                    <a:pt x="53" y="46"/>
                  </a:cubicBezTo>
                  <a:cubicBezTo>
                    <a:pt x="56" y="49"/>
                    <a:pt x="59" y="53"/>
                    <a:pt x="62" y="57"/>
                  </a:cubicBezTo>
                  <a:cubicBezTo>
                    <a:pt x="65" y="56"/>
                    <a:pt x="68" y="55"/>
                    <a:pt x="70" y="52"/>
                  </a:cubicBezTo>
                  <a:cubicBezTo>
                    <a:pt x="72" y="47"/>
                    <a:pt x="66" y="40"/>
                    <a:pt x="61" y="35"/>
                  </a:cubicBezTo>
                  <a:cubicBezTo>
                    <a:pt x="61" y="35"/>
                    <a:pt x="61" y="35"/>
                    <a:pt x="61" y="35"/>
                  </a:cubicBezTo>
                  <a:cubicBezTo>
                    <a:pt x="62" y="34"/>
                    <a:pt x="62" y="34"/>
                    <a:pt x="62" y="34"/>
                  </a:cubicBezTo>
                  <a:cubicBezTo>
                    <a:pt x="69" y="34"/>
                    <a:pt x="72" y="37"/>
                    <a:pt x="79" y="32"/>
                  </a:cubicBezTo>
                  <a:cubicBezTo>
                    <a:pt x="83" y="17"/>
                    <a:pt x="74" y="21"/>
                    <a:pt x="66" y="16"/>
                  </a:cubicBezTo>
                  <a:close/>
                  <a:moveTo>
                    <a:pt x="63" y="44"/>
                  </a:moveTo>
                  <a:cubicBezTo>
                    <a:pt x="63" y="44"/>
                    <a:pt x="63" y="44"/>
                    <a:pt x="63" y="44"/>
                  </a:cubicBezTo>
                  <a:cubicBezTo>
                    <a:pt x="55" y="42"/>
                    <a:pt x="46" y="34"/>
                    <a:pt x="38" y="32"/>
                  </a:cubicBezTo>
                  <a:cubicBezTo>
                    <a:pt x="43" y="28"/>
                    <a:pt x="48" y="31"/>
                    <a:pt x="54" y="32"/>
                  </a:cubicBezTo>
                  <a:cubicBezTo>
                    <a:pt x="57" y="36"/>
                    <a:pt x="60" y="40"/>
                    <a:pt x="63" y="44"/>
                  </a:cubicBezTo>
                  <a:close/>
                  <a:moveTo>
                    <a:pt x="60" y="27"/>
                  </a:moveTo>
                  <a:cubicBezTo>
                    <a:pt x="60" y="27"/>
                    <a:pt x="60" y="26"/>
                    <a:pt x="59" y="26"/>
                  </a:cubicBezTo>
                  <a:cubicBezTo>
                    <a:pt x="61" y="23"/>
                    <a:pt x="63" y="20"/>
                    <a:pt x="67" y="18"/>
                  </a:cubicBezTo>
                  <a:cubicBezTo>
                    <a:pt x="69" y="19"/>
                    <a:pt x="71" y="19"/>
                    <a:pt x="74" y="20"/>
                  </a:cubicBezTo>
                  <a:cubicBezTo>
                    <a:pt x="75" y="21"/>
                    <a:pt x="76" y="22"/>
                    <a:pt x="77" y="23"/>
                  </a:cubicBezTo>
                  <a:cubicBezTo>
                    <a:pt x="77" y="24"/>
                    <a:pt x="77" y="24"/>
                    <a:pt x="77" y="25"/>
                  </a:cubicBezTo>
                  <a:cubicBezTo>
                    <a:pt x="72" y="29"/>
                    <a:pt x="66" y="27"/>
                    <a:pt x="60" y="2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11" name="ïṩḻîḓé"/>
            <p:cNvSpPr/>
            <p:nvPr/>
          </p:nvSpPr>
          <p:spPr bwMode="auto">
            <a:xfrm>
              <a:off x="2728809" y="4582115"/>
              <a:ext cx="101600" cy="147638"/>
            </a:xfrm>
            <a:custGeom>
              <a:avLst/>
              <a:gdLst>
                <a:gd name="T0" fmla="*/ 47 w 55"/>
                <a:gd name="T1" fmla="*/ 0 h 80"/>
                <a:gd name="T2" fmla="*/ 49 w 55"/>
                <a:gd name="T3" fmla="*/ 20 h 80"/>
                <a:gd name="T4" fmla="*/ 51 w 55"/>
                <a:gd name="T5" fmla="*/ 34 h 80"/>
                <a:gd name="T6" fmla="*/ 28 w 55"/>
                <a:gd name="T7" fmla="*/ 38 h 80"/>
                <a:gd name="T8" fmla="*/ 41 w 55"/>
                <a:gd name="T9" fmla="*/ 68 h 80"/>
                <a:gd name="T10" fmla="*/ 25 w 55"/>
                <a:gd name="T11" fmla="*/ 74 h 80"/>
                <a:gd name="T12" fmla="*/ 26 w 55"/>
                <a:gd name="T13" fmla="*/ 39 h 80"/>
                <a:gd name="T14" fmla="*/ 23 w 55"/>
                <a:gd name="T15" fmla="*/ 40 h 80"/>
                <a:gd name="T16" fmla="*/ 7 w 55"/>
                <a:gd name="T17" fmla="*/ 54 h 80"/>
                <a:gd name="T18" fmla="*/ 0 w 55"/>
                <a:gd name="T19" fmla="*/ 43 h 80"/>
                <a:gd name="T20" fmla="*/ 14 w 55"/>
                <a:gd name="T21" fmla="*/ 28 h 80"/>
                <a:gd name="T22" fmla="*/ 6 w 55"/>
                <a:gd name="T23" fmla="*/ 15 h 80"/>
                <a:gd name="T24" fmla="*/ 7 w 55"/>
                <a:gd name="T25" fmla="*/ 15 h 80"/>
                <a:gd name="T26" fmla="*/ 26 w 55"/>
                <a:gd name="T27" fmla="*/ 18 h 80"/>
                <a:gd name="T28" fmla="*/ 47 w 55"/>
                <a:gd name="T29" fmla="*/ 0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55" h="80">
                  <a:moveTo>
                    <a:pt x="47" y="0"/>
                  </a:moveTo>
                  <a:cubicBezTo>
                    <a:pt x="55" y="7"/>
                    <a:pt x="49" y="11"/>
                    <a:pt x="49" y="20"/>
                  </a:cubicBezTo>
                  <a:cubicBezTo>
                    <a:pt x="49" y="25"/>
                    <a:pt x="55" y="25"/>
                    <a:pt x="51" y="34"/>
                  </a:cubicBezTo>
                  <a:cubicBezTo>
                    <a:pt x="44" y="37"/>
                    <a:pt x="34" y="32"/>
                    <a:pt x="28" y="38"/>
                  </a:cubicBezTo>
                  <a:cubicBezTo>
                    <a:pt x="38" y="44"/>
                    <a:pt x="45" y="59"/>
                    <a:pt x="41" y="68"/>
                  </a:cubicBezTo>
                  <a:cubicBezTo>
                    <a:pt x="39" y="74"/>
                    <a:pt x="28" y="80"/>
                    <a:pt x="25" y="74"/>
                  </a:cubicBezTo>
                  <a:cubicBezTo>
                    <a:pt x="19" y="62"/>
                    <a:pt x="39" y="55"/>
                    <a:pt x="26" y="39"/>
                  </a:cubicBezTo>
                  <a:cubicBezTo>
                    <a:pt x="25" y="39"/>
                    <a:pt x="25" y="39"/>
                    <a:pt x="23" y="40"/>
                  </a:cubicBezTo>
                  <a:cubicBezTo>
                    <a:pt x="17" y="44"/>
                    <a:pt x="14" y="52"/>
                    <a:pt x="7" y="54"/>
                  </a:cubicBezTo>
                  <a:cubicBezTo>
                    <a:pt x="2" y="51"/>
                    <a:pt x="2" y="48"/>
                    <a:pt x="0" y="43"/>
                  </a:cubicBezTo>
                  <a:cubicBezTo>
                    <a:pt x="3" y="39"/>
                    <a:pt x="14" y="30"/>
                    <a:pt x="14" y="28"/>
                  </a:cubicBezTo>
                  <a:cubicBezTo>
                    <a:pt x="14" y="25"/>
                    <a:pt x="7" y="19"/>
                    <a:pt x="6" y="15"/>
                  </a:cubicBezTo>
                  <a:cubicBezTo>
                    <a:pt x="6" y="15"/>
                    <a:pt x="7" y="15"/>
                    <a:pt x="7" y="15"/>
                  </a:cubicBezTo>
                  <a:cubicBezTo>
                    <a:pt x="13" y="15"/>
                    <a:pt x="20" y="18"/>
                    <a:pt x="26" y="18"/>
                  </a:cubicBezTo>
                  <a:cubicBezTo>
                    <a:pt x="34" y="17"/>
                    <a:pt x="41" y="5"/>
                    <a:pt x="47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12" name="išḷïḓe"/>
            <p:cNvSpPr/>
            <p:nvPr/>
          </p:nvSpPr>
          <p:spPr bwMode="auto">
            <a:xfrm>
              <a:off x="2490684" y="4510678"/>
              <a:ext cx="144463" cy="160338"/>
            </a:xfrm>
            <a:custGeom>
              <a:avLst/>
              <a:gdLst>
                <a:gd name="T0" fmla="*/ 55 w 78"/>
                <a:gd name="T1" fmla="*/ 64 h 87"/>
                <a:gd name="T2" fmla="*/ 62 w 78"/>
                <a:gd name="T3" fmla="*/ 50 h 87"/>
                <a:gd name="T4" fmla="*/ 54 w 78"/>
                <a:gd name="T5" fmla="*/ 43 h 87"/>
                <a:gd name="T6" fmla="*/ 69 w 78"/>
                <a:gd name="T7" fmla="*/ 29 h 87"/>
                <a:gd name="T8" fmla="*/ 67 w 78"/>
                <a:gd name="T9" fmla="*/ 21 h 87"/>
                <a:gd name="T10" fmla="*/ 70 w 78"/>
                <a:gd name="T11" fmla="*/ 11 h 87"/>
                <a:gd name="T12" fmla="*/ 69 w 78"/>
                <a:gd name="T13" fmla="*/ 3 h 87"/>
                <a:gd name="T14" fmla="*/ 64 w 78"/>
                <a:gd name="T15" fmla="*/ 0 h 87"/>
                <a:gd name="T16" fmla="*/ 63 w 78"/>
                <a:gd name="T17" fmla="*/ 0 h 87"/>
                <a:gd name="T18" fmla="*/ 63 w 78"/>
                <a:gd name="T19" fmla="*/ 12 h 87"/>
                <a:gd name="T20" fmla="*/ 42 w 78"/>
                <a:gd name="T21" fmla="*/ 25 h 87"/>
                <a:gd name="T22" fmla="*/ 42 w 78"/>
                <a:gd name="T23" fmla="*/ 33 h 87"/>
                <a:gd name="T24" fmla="*/ 33 w 78"/>
                <a:gd name="T25" fmla="*/ 36 h 87"/>
                <a:gd name="T26" fmla="*/ 39 w 78"/>
                <a:gd name="T27" fmla="*/ 33 h 87"/>
                <a:gd name="T28" fmla="*/ 39 w 78"/>
                <a:gd name="T29" fmla="*/ 23 h 87"/>
                <a:gd name="T30" fmla="*/ 36 w 78"/>
                <a:gd name="T31" fmla="*/ 0 h 87"/>
                <a:gd name="T32" fmla="*/ 36 w 78"/>
                <a:gd name="T33" fmla="*/ 0 h 87"/>
                <a:gd name="T34" fmla="*/ 36 w 78"/>
                <a:gd name="T35" fmla="*/ 8 h 87"/>
                <a:gd name="T36" fmla="*/ 30 w 78"/>
                <a:gd name="T37" fmla="*/ 24 h 87"/>
                <a:gd name="T38" fmla="*/ 1 w 78"/>
                <a:gd name="T39" fmla="*/ 29 h 87"/>
                <a:gd name="T40" fmla="*/ 0 w 78"/>
                <a:gd name="T41" fmla="*/ 31 h 87"/>
                <a:gd name="T42" fmla="*/ 18 w 78"/>
                <a:gd name="T43" fmla="*/ 39 h 87"/>
                <a:gd name="T44" fmla="*/ 25 w 78"/>
                <a:gd name="T45" fmla="*/ 36 h 87"/>
                <a:gd name="T46" fmla="*/ 25 w 78"/>
                <a:gd name="T47" fmla="*/ 36 h 87"/>
                <a:gd name="T48" fmla="*/ 3 w 78"/>
                <a:gd name="T49" fmla="*/ 62 h 87"/>
                <a:gd name="T50" fmla="*/ 5 w 78"/>
                <a:gd name="T51" fmla="*/ 67 h 87"/>
                <a:gd name="T52" fmla="*/ 12 w 78"/>
                <a:gd name="T53" fmla="*/ 66 h 87"/>
                <a:gd name="T54" fmla="*/ 22 w 78"/>
                <a:gd name="T55" fmla="*/ 74 h 87"/>
                <a:gd name="T56" fmla="*/ 25 w 78"/>
                <a:gd name="T57" fmla="*/ 61 h 87"/>
                <a:gd name="T58" fmla="*/ 30 w 78"/>
                <a:gd name="T59" fmla="*/ 49 h 87"/>
                <a:gd name="T60" fmla="*/ 48 w 78"/>
                <a:gd name="T61" fmla="*/ 63 h 87"/>
                <a:gd name="T62" fmla="*/ 24 w 78"/>
                <a:gd name="T63" fmla="*/ 71 h 87"/>
                <a:gd name="T64" fmla="*/ 48 w 78"/>
                <a:gd name="T65" fmla="*/ 71 h 87"/>
                <a:gd name="T66" fmla="*/ 51 w 78"/>
                <a:gd name="T67" fmla="*/ 69 h 87"/>
                <a:gd name="T68" fmla="*/ 77 w 78"/>
                <a:gd name="T69" fmla="*/ 87 h 87"/>
                <a:gd name="T70" fmla="*/ 78 w 78"/>
                <a:gd name="T71" fmla="*/ 86 h 87"/>
                <a:gd name="T72" fmla="*/ 55 w 78"/>
                <a:gd name="T73" fmla="*/ 64 h 87"/>
                <a:gd name="T74" fmla="*/ 15 w 78"/>
                <a:gd name="T75" fmla="*/ 64 h 87"/>
                <a:gd name="T76" fmla="*/ 15 w 78"/>
                <a:gd name="T77" fmla="*/ 65 h 87"/>
                <a:gd name="T78" fmla="*/ 11 w 78"/>
                <a:gd name="T79" fmla="*/ 63 h 87"/>
                <a:gd name="T80" fmla="*/ 12 w 78"/>
                <a:gd name="T81" fmla="*/ 60 h 87"/>
                <a:gd name="T82" fmla="*/ 15 w 78"/>
                <a:gd name="T83" fmla="*/ 57 h 87"/>
                <a:gd name="T84" fmla="*/ 17 w 78"/>
                <a:gd name="T85" fmla="*/ 58 h 87"/>
                <a:gd name="T86" fmla="*/ 15 w 78"/>
                <a:gd name="T87" fmla="*/ 64 h 87"/>
                <a:gd name="T88" fmla="*/ 32 w 78"/>
                <a:gd name="T89" fmla="*/ 46 h 87"/>
                <a:gd name="T90" fmla="*/ 44 w 78"/>
                <a:gd name="T91" fmla="*/ 34 h 87"/>
                <a:gd name="T92" fmla="*/ 52 w 78"/>
                <a:gd name="T93" fmla="*/ 35 h 87"/>
                <a:gd name="T94" fmla="*/ 46 w 78"/>
                <a:gd name="T95" fmla="*/ 50 h 87"/>
                <a:gd name="T96" fmla="*/ 48 w 78"/>
                <a:gd name="T97" fmla="*/ 52 h 87"/>
                <a:gd name="T98" fmla="*/ 56 w 78"/>
                <a:gd name="T99" fmla="*/ 50 h 87"/>
                <a:gd name="T100" fmla="*/ 52 w 78"/>
                <a:gd name="T101" fmla="*/ 61 h 87"/>
                <a:gd name="T102" fmla="*/ 32 w 78"/>
                <a:gd name="T103" fmla="*/ 46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78" h="87">
                  <a:moveTo>
                    <a:pt x="55" y="64"/>
                  </a:moveTo>
                  <a:cubicBezTo>
                    <a:pt x="58" y="60"/>
                    <a:pt x="60" y="55"/>
                    <a:pt x="62" y="50"/>
                  </a:cubicBezTo>
                  <a:cubicBezTo>
                    <a:pt x="61" y="47"/>
                    <a:pt x="58" y="44"/>
                    <a:pt x="54" y="43"/>
                  </a:cubicBezTo>
                  <a:cubicBezTo>
                    <a:pt x="57" y="36"/>
                    <a:pt x="64" y="33"/>
                    <a:pt x="69" y="29"/>
                  </a:cubicBezTo>
                  <a:cubicBezTo>
                    <a:pt x="69" y="25"/>
                    <a:pt x="67" y="24"/>
                    <a:pt x="67" y="21"/>
                  </a:cubicBezTo>
                  <a:cubicBezTo>
                    <a:pt x="68" y="18"/>
                    <a:pt x="69" y="15"/>
                    <a:pt x="70" y="11"/>
                  </a:cubicBezTo>
                  <a:cubicBezTo>
                    <a:pt x="70" y="9"/>
                    <a:pt x="69" y="6"/>
                    <a:pt x="69" y="3"/>
                  </a:cubicBezTo>
                  <a:cubicBezTo>
                    <a:pt x="68" y="2"/>
                    <a:pt x="67" y="1"/>
                    <a:pt x="64" y="0"/>
                  </a:cubicBezTo>
                  <a:cubicBezTo>
                    <a:pt x="64" y="0"/>
                    <a:pt x="63" y="0"/>
                    <a:pt x="63" y="0"/>
                  </a:cubicBezTo>
                  <a:cubicBezTo>
                    <a:pt x="61" y="5"/>
                    <a:pt x="63" y="8"/>
                    <a:pt x="63" y="12"/>
                  </a:cubicBezTo>
                  <a:cubicBezTo>
                    <a:pt x="63" y="24"/>
                    <a:pt x="52" y="26"/>
                    <a:pt x="42" y="25"/>
                  </a:cubicBezTo>
                  <a:cubicBezTo>
                    <a:pt x="41" y="28"/>
                    <a:pt x="41" y="31"/>
                    <a:pt x="42" y="33"/>
                  </a:cubicBezTo>
                  <a:cubicBezTo>
                    <a:pt x="39" y="34"/>
                    <a:pt x="36" y="35"/>
                    <a:pt x="33" y="36"/>
                  </a:cubicBezTo>
                  <a:cubicBezTo>
                    <a:pt x="34" y="32"/>
                    <a:pt x="36" y="32"/>
                    <a:pt x="39" y="33"/>
                  </a:cubicBezTo>
                  <a:cubicBezTo>
                    <a:pt x="41" y="29"/>
                    <a:pt x="38" y="27"/>
                    <a:pt x="39" y="23"/>
                  </a:cubicBezTo>
                  <a:cubicBezTo>
                    <a:pt x="39" y="14"/>
                    <a:pt x="53" y="6"/>
                    <a:pt x="36" y="0"/>
                  </a:cubicBezTo>
                  <a:cubicBezTo>
                    <a:pt x="36" y="0"/>
                    <a:pt x="36" y="0"/>
                    <a:pt x="36" y="0"/>
                  </a:cubicBezTo>
                  <a:cubicBezTo>
                    <a:pt x="35" y="3"/>
                    <a:pt x="36" y="5"/>
                    <a:pt x="36" y="8"/>
                  </a:cubicBezTo>
                  <a:cubicBezTo>
                    <a:pt x="34" y="14"/>
                    <a:pt x="32" y="19"/>
                    <a:pt x="30" y="24"/>
                  </a:cubicBezTo>
                  <a:cubicBezTo>
                    <a:pt x="22" y="26"/>
                    <a:pt x="9" y="26"/>
                    <a:pt x="1" y="29"/>
                  </a:cubicBezTo>
                  <a:cubicBezTo>
                    <a:pt x="1" y="30"/>
                    <a:pt x="1" y="30"/>
                    <a:pt x="0" y="31"/>
                  </a:cubicBezTo>
                  <a:cubicBezTo>
                    <a:pt x="1" y="35"/>
                    <a:pt x="12" y="39"/>
                    <a:pt x="18" y="39"/>
                  </a:cubicBezTo>
                  <a:cubicBezTo>
                    <a:pt x="20" y="38"/>
                    <a:pt x="22" y="37"/>
                    <a:pt x="25" y="36"/>
                  </a:cubicBezTo>
                  <a:cubicBezTo>
                    <a:pt x="25" y="36"/>
                    <a:pt x="25" y="36"/>
                    <a:pt x="25" y="36"/>
                  </a:cubicBezTo>
                  <a:cubicBezTo>
                    <a:pt x="21" y="52"/>
                    <a:pt x="9" y="50"/>
                    <a:pt x="3" y="62"/>
                  </a:cubicBezTo>
                  <a:cubicBezTo>
                    <a:pt x="4" y="63"/>
                    <a:pt x="4" y="65"/>
                    <a:pt x="5" y="67"/>
                  </a:cubicBezTo>
                  <a:cubicBezTo>
                    <a:pt x="7" y="67"/>
                    <a:pt x="10" y="67"/>
                    <a:pt x="12" y="66"/>
                  </a:cubicBezTo>
                  <a:cubicBezTo>
                    <a:pt x="17" y="68"/>
                    <a:pt x="17" y="72"/>
                    <a:pt x="22" y="74"/>
                  </a:cubicBezTo>
                  <a:cubicBezTo>
                    <a:pt x="25" y="71"/>
                    <a:pt x="24" y="66"/>
                    <a:pt x="25" y="61"/>
                  </a:cubicBezTo>
                  <a:cubicBezTo>
                    <a:pt x="25" y="56"/>
                    <a:pt x="28" y="52"/>
                    <a:pt x="30" y="49"/>
                  </a:cubicBezTo>
                  <a:cubicBezTo>
                    <a:pt x="40" y="53"/>
                    <a:pt x="42" y="58"/>
                    <a:pt x="48" y="63"/>
                  </a:cubicBezTo>
                  <a:cubicBezTo>
                    <a:pt x="44" y="74"/>
                    <a:pt x="29" y="63"/>
                    <a:pt x="24" y="71"/>
                  </a:cubicBezTo>
                  <a:cubicBezTo>
                    <a:pt x="39" y="78"/>
                    <a:pt x="36" y="74"/>
                    <a:pt x="48" y="71"/>
                  </a:cubicBezTo>
                  <a:cubicBezTo>
                    <a:pt x="49" y="70"/>
                    <a:pt x="50" y="70"/>
                    <a:pt x="51" y="69"/>
                  </a:cubicBezTo>
                  <a:cubicBezTo>
                    <a:pt x="58" y="79"/>
                    <a:pt x="58" y="87"/>
                    <a:pt x="77" y="87"/>
                  </a:cubicBezTo>
                  <a:cubicBezTo>
                    <a:pt x="77" y="87"/>
                    <a:pt x="78" y="86"/>
                    <a:pt x="78" y="86"/>
                  </a:cubicBezTo>
                  <a:cubicBezTo>
                    <a:pt x="74" y="76"/>
                    <a:pt x="60" y="73"/>
                    <a:pt x="55" y="64"/>
                  </a:cubicBezTo>
                  <a:close/>
                  <a:moveTo>
                    <a:pt x="15" y="64"/>
                  </a:moveTo>
                  <a:cubicBezTo>
                    <a:pt x="15" y="65"/>
                    <a:pt x="15" y="65"/>
                    <a:pt x="15" y="65"/>
                  </a:cubicBezTo>
                  <a:cubicBezTo>
                    <a:pt x="14" y="64"/>
                    <a:pt x="13" y="64"/>
                    <a:pt x="11" y="63"/>
                  </a:cubicBezTo>
                  <a:cubicBezTo>
                    <a:pt x="11" y="62"/>
                    <a:pt x="12" y="61"/>
                    <a:pt x="12" y="60"/>
                  </a:cubicBezTo>
                  <a:cubicBezTo>
                    <a:pt x="13" y="59"/>
                    <a:pt x="14" y="58"/>
                    <a:pt x="15" y="57"/>
                  </a:cubicBezTo>
                  <a:cubicBezTo>
                    <a:pt x="16" y="57"/>
                    <a:pt x="16" y="58"/>
                    <a:pt x="17" y="58"/>
                  </a:cubicBezTo>
                  <a:cubicBezTo>
                    <a:pt x="16" y="60"/>
                    <a:pt x="16" y="62"/>
                    <a:pt x="15" y="64"/>
                  </a:cubicBezTo>
                  <a:close/>
                  <a:moveTo>
                    <a:pt x="32" y="46"/>
                  </a:moveTo>
                  <a:cubicBezTo>
                    <a:pt x="35" y="43"/>
                    <a:pt x="44" y="37"/>
                    <a:pt x="44" y="34"/>
                  </a:cubicBezTo>
                  <a:cubicBezTo>
                    <a:pt x="47" y="34"/>
                    <a:pt x="49" y="35"/>
                    <a:pt x="52" y="35"/>
                  </a:cubicBezTo>
                  <a:cubicBezTo>
                    <a:pt x="50" y="40"/>
                    <a:pt x="45" y="44"/>
                    <a:pt x="46" y="50"/>
                  </a:cubicBezTo>
                  <a:cubicBezTo>
                    <a:pt x="46" y="51"/>
                    <a:pt x="47" y="51"/>
                    <a:pt x="48" y="52"/>
                  </a:cubicBezTo>
                  <a:cubicBezTo>
                    <a:pt x="50" y="51"/>
                    <a:pt x="53" y="49"/>
                    <a:pt x="56" y="50"/>
                  </a:cubicBezTo>
                  <a:cubicBezTo>
                    <a:pt x="55" y="54"/>
                    <a:pt x="53" y="57"/>
                    <a:pt x="52" y="61"/>
                  </a:cubicBezTo>
                  <a:cubicBezTo>
                    <a:pt x="45" y="56"/>
                    <a:pt x="44" y="49"/>
                    <a:pt x="32" y="4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13" name="ï$ľíḍe"/>
            <p:cNvSpPr/>
            <p:nvPr/>
          </p:nvSpPr>
          <p:spPr bwMode="auto">
            <a:xfrm>
              <a:off x="2255734" y="4491628"/>
              <a:ext cx="136525" cy="174625"/>
            </a:xfrm>
            <a:custGeom>
              <a:avLst/>
              <a:gdLst>
                <a:gd name="T0" fmla="*/ 74 w 74"/>
                <a:gd name="T1" fmla="*/ 41 h 94"/>
                <a:gd name="T2" fmla="*/ 64 w 74"/>
                <a:gd name="T3" fmla="*/ 35 h 94"/>
                <a:gd name="T4" fmla="*/ 51 w 74"/>
                <a:gd name="T5" fmla="*/ 5 h 94"/>
                <a:gd name="T6" fmla="*/ 58 w 74"/>
                <a:gd name="T7" fmla="*/ 39 h 94"/>
                <a:gd name="T8" fmla="*/ 47 w 74"/>
                <a:gd name="T9" fmla="*/ 47 h 94"/>
                <a:gd name="T10" fmla="*/ 55 w 74"/>
                <a:gd name="T11" fmla="*/ 34 h 94"/>
                <a:gd name="T12" fmla="*/ 47 w 74"/>
                <a:gd name="T13" fmla="*/ 29 h 94"/>
                <a:gd name="T14" fmla="*/ 54 w 74"/>
                <a:gd name="T15" fmla="*/ 22 h 94"/>
                <a:gd name="T16" fmla="*/ 54 w 74"/>
                <a:gd name="T17" fmla="*/ 20 h 94"/>
                <a:gd name="T18" fmla="*/ 54 w 74"/>
                <a:gd name="T19" fmla="*/ 19 h 94"/>
                <a:gd name="T20" fmla="*/ 41 w 74"/>
                <a:gd name="T21" fmla="*/ 19 h 94"/>
                <a:gd name="T22" fmla="*/ 44 w 74"/>
                <a:gd name="T23" fmla="*/ 22 h 94"/>
                <a:gd name="T24" fmla="*/ 44 w 74"/>
                <a:gd name="T25" fmla="*/ 32 h 94"/>
                <a:gd name="T26" fmla="*/ 48 w 74"/>
                <a:gd name="T27" fmla="*/ 37 h 94"/>
                <a:gd name="T28" fmla="*/ 40 w 74"/>
                <a:gd name="T29" fmla="*/ 58 h 94"/>
                <a:gd name="T30" fmla="*/ 44 w 74"/>
                <a:gd name="T31" fmla="*/ 61 h 94"/>
                <a:gd name="T32" fmla="*/ 59 w 74"/>
                <a:gd name="T33" fmla="*/ 46 h 94"/>
                <a:gd name="T34" fmla="*/ 59 w 74"/>
                <a:gd name="T35" fmla="*/ 46 h 94"/>
                <a:gd name="T36" fmla="*/ 66 w 74"/>
                <a:gd name="T37" fmla="*/ 93 h 94"/>
                <a:gd name="T38" fmla="*/ 68 w 74"/>
                <a:gd name="T39" fmla="*/ 93 h 94"/>
                <a:gd name="T40" fmla="*/ 65 w 74"/>
                <a:gd name="T41" fmla="*/ 42 h 94"/>
                <a:gd name="T42" fmla="*/ 73 w 74"/>
                <a:gd name="T43" fmla="*/ 41 h 94"/>
                <a:gd name="T44" fmla="*/ 74 w 74"/>
                <a:gd name="T45" fmla="*/ 41 h 94"/>
                <a:gd name="T46" fmla="*/ 43 w 74"/>
                <a:gd name="T47" fmla="*/ 42 h 94"/>
                <a:gd name="T48" fmla="*/ 35 w 74"/>
                <a:gd name="T49" fmla="*/ 48 h 94"/>
                <a:gd name="T50" fmla="*/ 39 w 74"/>
                <a:gd name="T51" fmla="*/ 38 h 94"/>
                <a:gd name="T52" fmla="*/ 37 w 74"/>
                <a:gd name="T53" fmla="*/ 29 h 94"/>
                <a:gd name="T54" fmla="*/ 40 w 74"/>
                <a:gd name="T55" fmla="*/ 27 h 94"/>
                <a:gd name="T56" fmla="*/ 34 w 74"/>
                <a:gd name="T57" fmla="*/ 16 h 94"/>
                <a:gd name="T58" fmla="*/ 32 w 74"/>
                <a:gd name="T59" fmla="*/ 15 h 94"/>
                <a:gd name="T60" fmla="*/ 4 w 74"/>
                <a:gd name="T61" fmla="*/ 46 h 94"/>
                <a:gd name="T62" fmla="*/ 30 w 74"/>
                <a:gd name="T63" fmla="*/ 29 h 94"/>
                <a:gd name="T64" fmla="*/ 8 w 74"/>
                <a:gd name="T65" fmla="*/ 52 h 94"/>
                <a:gd name="T66" fmla="*/ 0 w 74"/>
                <a:gd name="T67" fmla="*/ 56 h 94"/>
                <a:gd name="T68" fmla="*/ 3 w 74"/>
                <a:gd name="T69" fmla="*/ 61 h 94"/>
                <a:gd name="T70" fmla="*/ 23 w 74"/>
                <a:gd name="T71" fmla="*/ 54 h 94"/>
                <a:gd name="T72" fmla="*/ 25 w 74"/>
                <a:gd name="T73" fmla="*/ 53 h 94"/>
                <a:gd name="T74" fmla="*/ 25 w 74"/>
                <a:gd name="T75" fmla="*/ 53 h 94"/>
                <a:gd name="T76" fmla="*/ 20 w 74"/>
                <a:gd name="T77" fmla="*/ 72 h 94"/>
                <a:gd name="T78" fmla="*/ 25 w 74"/>
                <a:gd name="T79" fmla="*/ 76 h 94"/>
                <a:gd name="T80" fmla="*/ 26 w 74"/>
                <a:gd name="T81" fmla="*/ 76 h 94"/>
                <a:gd name="T82" fmla="*/ 30 w 74"/>
                <a:gd name="T83" fmla="*/ 67 h 94"/>
                <a:gd name="T84" fmla="*/ 31 w 74"/>
                <a:gd name="T85" fmla="*/ 66 h 94"/>
                <a:gd name="T86" fmla="*/ 32 w 74"/>
                <a:gd name="T87" fmla="*/ 75 h 94"/>
                <a:gd name="T88" fmla="*/ 35 w 74"/>
                <a:gd name="T89" fmla="*/ 76 h 94"/>
                <a:gd name="T90" fmla="*/ 38 w 74"/>
                <a:gd name="T91" fmla="*/ 76 h 94"/>
                <a:gd name="T92" fmla="*/ 35 w 74"/>
                <a:gd name="T93" fmla="*/ 61 h 94"/>
                <a:gd name="T94" fmla="*/ 43 w 74"/>
                <a:gd name="T95" fmla="*/ 42 h 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74" h="94">
                  <a:moveTo>
                    <a:pt x="74" y="41"/>
                  </a:moveTo>
                  <a:cubicBezTo>
                    <a:pt x="73" y="36"/>
                    <a:pt x="70" y="34"/>
                    <a:pt x="64" y="35"/>
                  </a:cubicBezTo>
                  <a:cubicBezTo>
                    <a:pt x="63" y="24"/>
                    <a:pt x="67" y="0"/>
                    <a:pt x="51" y="5"/>
                  </a:cubicBezTo>
                  <a:cubicBezTo>
                    <a:pt x="50" y="9"/>
                    <a:pt x="61" y="31"/>
                    <a:pt x="58" y="39"/>
                  </a:cubicBezTo>
                  <a:cubicBezTo>
                    <a:pt x="58" y="39"/>
                    <a:pt x="47" y="47"/>
                    <a:pt x="47" y="47"/>
                  </a:cubicBezTo>
                  <a:cubicBezTo>
                    <a:pt x="48" y="41"/>
                    <a:pt x="53" y="39"/>
                    <a:pt x="55" y="34"/>
                  </a:cubicBezTo>
                  <a:cubicBezTo>
                    <a:pt x="56" y="30"/>
                    <a:pt x="49" y="31"/>
                    <a:pt x="47" y="29"/>
                  </a:cubicBezTo>
                  <a:cubicBezTo>
                    <a:pt x="48" y="26"/>
                    <a:pt x="51" y="23"/>
                    <a:pt x="54" y="22"/>
                  </a:cubicBezTo>
                  <a:cubicBezTo>
                    <a:pt x="54" y="21"/>
                    <a:pt x="54" y="21"/>
                    <a:pt x="54" y="20"/>
                  </a:cubicBezTo>
                  <a:cubicBezTo>
                    <a:pt x="54" y="20"/>
                    <a:pt x="54" y="19"/>
                    <a:pt x="54" y="19"/>
                  </a:cubicBezTo>
                  <a:cubicBezTo>
                    <a:pt x="50" y="17"/>
                    <a:pt x="45" y="17"/>
                    <a:pt x="41" y="19"/>
                  </a:cubicBezTo>
                  <a:cubicBezTo>
                    <a:pt x="41" y="22"/>
                    <a:pt x="42" y="22"/>
                    <a:pt x="44" y="22"/>
                  </a:cubicBezTo>
                  <a:cubicBezTo>
                    <a:pt x="44" y="26"/>
                    <a:pt x="44" y="29"/>
                    <a:pt x="44" y="32"/>
                  </a:cubicBezTo>
                  <a:cubicBezTo>
                    <a:pt x="45" y="34"/>
                    <a:pt x="47" y="35"/>
                    <a:pt x="48" y="37"/>
                  </a:cubicBezTo>
                  <a:cubicBezTo>
                    <a:pt x="46" y="41"/>
                    <a:pt x="35" y="51"/>
                    <a:pt x="40" y="58"/>
                  </a:cubicBezTo>
                  <a:cubicBezTo>
                    <a:pt x="41" y="60"/>
                    <a:pt x="42" y="60"/>
                    <a:pt x="44" y="61"/>
                  </a:cubicBezTo>
                  <a:cubicBezTo>
                    <a:pt x="49" y="55"/>
                    <a:pt x="51" y="50"/>
                    <a:pt x="59" y="46"/>
                  </a:cubicBezTo>
                  <a:cubicBezTo>
                    <a:pt x="59" y="46"/>
                    <a:pt x="59" y="46"/>
                    <a:pt x="59" y="46"/>
                  </a:cubicBezTo>
                  <a:cubicBezTo>
                    <a:pt x="61" y="60"/>
                    <a:pt x="59" y="83"/>
                    <a:pt x="66" y="93"/>
                  </a:cubicBezTo>
                  <a:cubicBezTo>
                    <a:pt x="67" y="94"/>
                    <a:pt x="67" y="93"/>
                    <a:pt x="68" y="93"/>
                  </a:cubicBezTo>
                  <a:cubicBezTo>
                    <a:pt x="68" y="78"/>
                    <a:pt x="67" y="60"/>
                    <a:pt x="65" y="42"/>
                  </a:cubicBezTo>
                  <a:cubicBezTo>
                    <a:pt x="68" y="42"/>
                    <a:pt x="72" y="42"/>
                    <a:pt x="73" y="41"/>
                  </a:cubicBezTo>
                  <a:cubicBezTo>
                    <a:pt x="74" y="41"/>
                    <a:pt x="74" y="41"/>
                    <a:pt x="74" y="41"/>
                  </a:cubicBezTo>
                  <a:close/>
                  <a:moveTo>
                    <a:pt x="43" y="42"/>
                  </a:moveTo>
                  <a:cubicBezTo>
                    <a:pt x="39" y="44"/>
                    <a:pt x="38" y="46"/>
                    <a:pt x="35" y="48"/>
                  </a:cubicBezTo>
                  <a:cubicBezTo>
                    <a:pt x="35" y="42"/>
                    <a:pt x="39" y="42"/>
                    <a:pt x="39" y="38"/>
                  </a:cubicBezTo>
                  <a:cubicBezTo>
                    <a:pt x="40" y="35"/>
                    <a:pt x="37" y="33"/>
                    <a:pt x="37" y="29"/>
                  </a:cubicBezTo>
                  <a:cubicBezTo>
                    <a:pt x="38" y="28"/>
                    <a:pt x="39" y="28"/>
                    <a:pt x="40" y="27"/>
                  </a:cubicBezTo>
                  <a:cubicBezTo>
                    <a:pt x="41" y="24"/>
                    <a:pt x="36" y="16"/>
                    <a:pt x="34" y="16"/>
                  </a:cubicBezTo>
                  <a:cubicBezTo>
                    <a:pt x="33" y="16"/>
                    <a:pt x="32" y="15"/>
                    <a:pt x="32" y="15"/>
                  </a:cubicBezTo>
                  <a:cubicBezTo>
                    <a:pt x="22" y="28"/>
                    <a:pt x="10" y="30"/>
                    <a:pt x="4" y="46"/>
                  </a:cubicBezTo>
                  <a:cubicBezTo>
                    <a:pt x="13" y="41"/>
                    <a:pt x="17" y="31"/>
                    <a:pt x="30" y="29"/>
                  </a:cubicBezTo>
                  <a:cubicBezTo>
                    <a:pt x="29" y="39"/>
                    <a:pt x="16" y="48"/>
                    <a:pt x="8" y="52"/>
                  </a:cubicBezTo>
                  <a:cubicBezTo>
                    <a:pt x="4" y="54"/>
                    <a:pt x="2" y="52"/>
                    <a:pt x="0" y="56"/>
                  </a:cubicBezTo>
                  <a:cubicBezTo>
                    <a:pt x="0" y="59"/>
                    <a:pt x="1" y="60"/>
                    <a:pt x="3" y="61"/>
                  </a:cubicBezTo>
                  <a:cubicBezTo>
                    <a:pt x="10" y="63"/>
                    <a:pt x="22" y="58"/>
                    <a:pt x="23" y="54"/>
                  </a:cubicBezTo>
                  <a:cubicBezTo>
                    <a:pt x="24" y="54"/>
                    <a:pt x="24" y="53"/>
                    <a:pt x="25" y="53"/>
                  </a:cubicBezTo>
                  <a:cubicBezTo>
                    <a:pt x="25" y="53"/>
                    <a:pt x="25" y="53"/>
                    <a:pt x="25" y="53"/>
                  </a:cubicBezTo>
                  <a:cubicBezTo>
                    <a:pt x="23" y="59"/>
                    <a:pt x="22" y="66"/>
                    <a:pt x="20" y="72"/>
                  </a:cubicBezTo>
                  <a:cubicBezTo>
                    <a:pt x="21" y="74"/>
                    <a:pt x="23" y="75"/>
                    <a:pt x="25" y="76"/>
                  </a:cubicBezTo>
                  <a:cubicBezTo>
                    <a:pt x="25" y="76"/>
                    <a:pt x="26" y="76"/>
                    <a:pt x="26" y="76"/>
                  </a:cubicBezTo>
                  <a:cubicBezTo>
                    <a:pt x="28" y="73"/>
                    <a:pt x="29" y="70"/>
                    <a:pt x="30" y="67"/>
                  </a:cubicBezTo>
                  <a:cubicBezTo>
                    <a:pt x="31" y="67"/>
                    <a:pt x="31" y="67"/>
                    <a:pt x="31" y="66"/>
                  </a:cubicBezTo>
                  <a:cubicBezTo>
                    <a:pt x="32" y="69"/>
                    <a:pt x="32" y="72"/>
                    <a:pt x="32" y="75"/>
                  </a:cubicBezTo>
                  <a:cubicBezTo>
                    <a:pt x="33" y="75"/>
                    <a:pt x="34" y="76"/>
                    <a:pt x="35" y="76"/>
                  </a:cubicBezTo>
                  <a:cubicBezTo>
                    <a:pt x="36" y="76"/>
                    <a:pt x="37" y="76"/>
                    <a:pt x="38" y="76"/>
                  </a:cubicBezTo>
                  <a:cubicBezTo>
                    <a:pt x="37" y="71"/>
                    <a:pt x="36" y="66"/>
                    <a:pt x="35" y="61"/>
                  </a:cubicBezTo>
                  <a:cubicBezTo>
                    <a:pt x="38" y="54"/>
                    <a:pt x="40" y="48"/>
                    <a:pt x="43" y="4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14" name="î$ḻîḑe"/>
            <p:cNvSpPr/>
            <p:nvPr/>
          </p:nvSpPr>
          <p:spPr bwMode="auto">
            <a:xfrm>
              <a:off x="2055709" y="4566240"/>
              <a:ext cx="136525" cy="150813"/>
            </a:xfrm>
            <a:custGeom>
              <a:avLst/>
              <a:gdLst>
                <a:gd name="T0" fmla="*/ 55 w 74"/>
                <a:gd name="T1" fmla="*/ 53 h 82"/>
                <a:gd name="T2" fmla="*/ 54 w 74"/>
                <a:gd name="T3" fmla="*/ 51 h 82"/>
                <a:gd name="T4" fmla="*/ 57 w 74"/>
                <a:gd name="T5" fmla="*/ 49 h 82"/>
                <a:gd name="T6" fmla="*/ 56 w 74"/>
                <a:gd name="T7" fmla="*/ 45 h 82"/>
                <a:gd name="T8" fmla="*/ 52 w 74"/>
                <a:gd name="T9" fmla="*/ 45 h 82"/>
                <a:gd name="T10" fmla="*/ 51 w 74"/>
                <a:gd name="T11" fmla="*/ 44 h 82"/>
                <a:gd name="T12" fmla="*/ 60 w 74"/>
                <a:gd name="T13" fmla="*/ 32 h 82"/>
                <a:gd name="T14" fmla="*/ 60 w 74"/>
                <a:gd name="T15" fmla="*/ 30 h 82"/>
                <a:gd name="T16" fmla="*/ 34 w 74"/>
                <a:gd name="T17" fmla="*/ 38 h 82"/>
                <a:gd name="T18" fmla="*/ 33 w 74"/>
                <a:gd name="T19" fmla="*/ 38 h 82"/>
                <a:gd name="T20" fmla="*/ 60 w 74"/>
                <a:gd name="T21" fmla="*/ 16 h 82"/>
                <a:gd name="T22" fmla="*/ 61 w 74"/>
                <a:gd name="T23" fmla="*/ 10 h 82"/>
                <a:gd name="T24" fmla="*/ 42 w 74"/>
                <a:gd name="T25" fmla="*/ 11 h 82"/>
                <a:gd name="T26" fmla="*/ 27 w 74"/>
                <a:gd name="T27" fmla="*/ 0 h 82"/>
                <a:gd name="T28" fmla="*/ 24 w 74"/>
                <a:gd name="T29" fmla="*/ 0 h 82"/>
                <a:gd name="T30" fmla="*/ 29 w 74"/>
                <a:gd name="T31" fmla="*/ 21 h 82"/>
                <a:gd name="T32" fmla="*/ 11 w 74"/>
                <a:gd name="T33" fmla="*/ 39 h 82"/>
                <a:gd name="T34" fmla="*/ 1 w 74"/>
                <a:gd name="T35" fmla="*/ 44 h 82"/>
                <a:gd name="T36" fmla="*/ 0 w 74"/>
                <a:gd name="T37" fmla="*/ 47 h 82"/>
                <a:gd name="T38" fmla="*/ 35 w 74"/>
                <a:gd name="T39" fmla="*/ 26 h 82"/>
                <a:gd name="T40" fmla="*/ 35 w 74"/>
                <a:gd name="T41" fmla="*/ 26 h 82"/>
                <a:gd name="T42" fmla="*/ 30 w 74"/>
                <a:gd name="T43" fmla="*/ 48 h 82"/>
                <a:gd name="T44" fmla="*/ 40 w 74"/>
                <a:gd name="T45" fmla="*/ 57 h 82"/>
                <a:gd name="T46" fmla="*/ 35 w 74"/>
                <a:gd name="T47" fmla="*/ 78 h 82"/>
                <a:gd name="T48" fmla="*/ 45 w 74"/>
                <a:gd name="T49" fmla="*/ 82 h 82"/>
                <a:gd name="T50" fmla="*/ 47 w 74"/>
                <a:gd name="T51" fmla="*/ 80 h 82"/>
                <a:gd name="T52" fmla="*/ 46 w 74"/>
                <a:gd name="T53" fmla="*/ 67 h 82"/>
                <a:gd name="T54" fmla="*/ 47 w 74"/>
                <a:gd name="T55" fmla="*/ 66 h 82"/>
                <a:gd name="T56" fmla="*/ 50 w 74"/>
                <a:gd name="T57" fmla="*/ 73 h 82"/>
                <a:gd name="T58" fmla="*/ 58 w 74"/>
                <a:gd name="T59" fmla="*/ 79 h 82"/>
                <a:gd name="T60" fmla="*/ 59 w 74"/>
                <a:gd name="T61" fmla="*/ 79 h 82"/>
                <a:gd name="T62" fmla="*/ 53 w 74"/>
                <a:gd name="T63" fmla="*/ 57 h 82"/>
                <a:gd name="T64" fmla="*/ 56 w 74"/>
                <a:gd name="T65" fmla="*/ 55 h 82"/>
                <a:gd name="T66" fmla="*/ 56 w 74"/>
                <a:gd name="T67" fmla="*/ 55 h 82"/>
                <a:gd name="T68" fmla="*/ 69 w 74"/>
                <a:gd name="T69" fmla="*/ 69 h 82"/>
                <a:gd name="T70" fmla="*/ 74 w 74"/>
                <a:gd name="T71" fmla="*/ 64 h 82"/>
                <a:gd name="T72" fmla="*/ 55 w 74"/>
                <a:gd name="T73" fmla="*/ 53 h 82"/>
                <a:gd name="T74" fmla="*/ 40 w 74"/>
                <a:gd name="T75" fmla="*/ 46 h 82"/>
                <a:gd name="T76" fmla="*/ 39 w 74"/>
                <a:gd name="T77" fmla="*/ 46 h 82"/>
                <a:gd name="T78" fmla="*/ 38 w 74"/>
                <a:gd name="T79" fmla="*/ 46 h 82"/>
                <a:gd name="T80" fmla="*/ 37 w 74"/>
                <a:gd name="T81" fmla="*/ 44 h 82"/>
                <a:gd name="T82" fmla="*/ 44 w 74"/>
                <a:gd name="T83" fmla="*/ 36 h 82"/>
                <a:gd name="T84" fmla="*/ 46 w 74"/>
                <a:gd name="T85" fmla="*/ 35 h 82"/>
                <a:gd name="T86" fmla="*/ 46 w 74"/>
                <a:gd name="T87" fmla="*/ 35 h 82"/>
                <a:gd name="T88" fmla="*/ 40 w 74"/>
                <a:gd name="T89" fmla="*/ 46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74" h="82">
                  <a:moveTo>
                    <a:pt x="55" y="53"/>
                  </a:moveTo>
                  <a:cubicBezTo>
                    <a:pt x="55" y="53"/>
                    <a:pt x="54" y="52"/>
                    <a:pt x="54" y="51"/>
                  </a:cubicBezTo>
                  <a:cubicBezTo>
                    <a:pt x="55" y="51"/>
                    <a:pt x="56" y="50"/>
                    <a:pt x="57" y="49"/>
                  </a:cubicBezTo>
                  <a:cubicBezTo>
                    <a:pt x="57" y="48"/>
                    <a:pt x="56" y="47"/>
                    <a:pt x="56" y="45"/>
                  </a:cubicBezTo>
                  <a:cubicBezTo>
                    <a:pt x="54" y="45"/>
                    <a:pt x="53" y="45"/>
                    <a:pt x="52" y="45"/>
                  </a:cubicBezTo>
                  <a:cubicBezTo>
                    <a:pt x="51" y="45"/>
                    <a:pt x="51" y="44"/>
                    <a:pt x="51" y="44"/>
                  </a:cubicBezTo>
                  <a:cubicBezTo>
                    <a:pt x="53" y="40"/>
                    <a:pt x="59" y="36"/>
                    <a:pt x="60" y="32"/>
                  </a:cubicBezTo>
                  <a:cubicBezTo>
                    <a:pt x="60" y="31"/>
                    <a:pt x="60" y="31"/>
                    <a:pt x="60" y="30"/>
                  </a:cubicBezTo>
                  <a:cubicBezTo>
                    <a:pt x="50" y="21"/>
                    <a:pt x="41" y="31"/>
                    <a:pt x="34" y="38"/>
                  </a:cubicBezTo>
                  <a:cubicBezTo>
                    <a:pt x="33" y="38"/>
                    <a:pt x="33" y="38"/>
                    <a:pt x="33" y="38"/>
                  </a:cubicBezTo>
                  <a:cubicBezTo>
                    <a:pt x="34" y="30"/>
                    <a:pt x="48" y="16"/>
                    <a:pt x="60" y="16"/>
                  </a:cubicBezTo>
                  <a:cubicBezTo>
                    <a:pt x="61" y="14"/>
                    <a:pt x="61" y="12"/>
                    <a:pt x="61" y="10"/>
                  </a:cubicBezTo>
                  <a:cubicBezTo>
                    <a:pt x="50" y="3"/>
                    <a:pt x="52" y="11"/>
                    <a:pt x="42" y="11"/>
                  </a:cubicBezTo>
                  <a:cubicBezTo>
                    <a:pt x="38" y="10"/>
                    <a:pt x="32" y="1"/>
                    <a:pt x="27" y="0"/>
                  </a:cubicBezTo>
                  <a:cubicBezTo>
                    <a:pt x="26" y="0"/>
                    <a:pt x="25" y="0"/>
                    <a:pt x="24" y="0"/>
                  </a:cubicBezTo>
                  <a:cubicBezTo>
                    <a:pt x="21" y="5"/>
                    <a:pt x="30" y="14"/>
                    <a:pt x="29" y="21"/>
                  </a:cubicBezTo>
                  <a:cubicBezTo>
                    <a:pt x="19" y="27"/>
                    <a:pt x="17" y="33"/>
                    <a:pt x="11" y="39"/>
                  </a:cubicBezTo>
                  <a:cubicBezTo>
                    <a:pt x="8" y="42"/>
                    <a:pt x="4" y="42"/>
                    <a:pt x="1" y="44"/>
                  </a:cubicBezTo>
                  <a:cubicBezTo>
                    <a:pt x="1" y="45"/>
                    <a:pt x="0" y="46"/>
                    <a:pt x="0" y="47"/>
                  </a:cubicBezTo>
                  <a:cubicBezTo>
                    <a:pt x="11" y="69"/>
                    <a:pt x="23" y="30"/>
                    <a:pt x="35" y="26"/>
                  </a:cubicBezTo>
                  <a:cubicBezTo>
                    <a:pt x="35" y="26"/>
                    <a:pt x="35" y="26"/>
                    <a:pt x="35" y="26"/>
                  </a:cubicBezTo>
                  <a:cubicBezTo>
                    <a:pt x="33" y="33"/>
                    <a:pt x="28" y="39"/>
                    <a:pt x="30" y="48"/>
                  </a:cubicBezTo>
                  <a:cubicBezTo>
                    <a:pt x="30" y="51"/>
                    <a:pt x="37" y="56"/>
                    <a:pt x="40" y="57"/>
                  </a:cubicBezTo>
                  <a:cubicBezTo>
                    <a:pt x="37" y="64"/>
                    <a:pt x="32" y="69"/>
                    <a:pt x="35" y="78"/>
                  </a:cubicBezTo>
                  <a:cubicBezTo>
                    <a:pt x="39" y="79"/>
                    <a:pt x="42" y="80"/>
                    <a:pt x="45" y="82"/>
                  </a:cubicBezTo>
                  <a:cubicBezTo>
                    <a:pt x="46" y="81"/>
                    <a:pt x="46" y="81"/>
                    <a:pt x="47" y="80"/>
                  </a:cubicBezTo>
                  <a:cubicBezTo>
                    <a:pt x="49" y="77"/>
                    <a:pt x="45" y="70"/>
                    <a:pt x="46" y="67"/>
                  </a:cubicBezTo>
                  <a:cubicBezTo>
                    <a:pt x="46" y="66"/>
                    <a:pt x="46" y="66"/>
                    <a:pt x="47" y="66"/>
                  </a:cubicBezTo>
                  <a:cubicBezTo>
                    <a:pt x="48" y="67"/>
                    <a:pt x="49" y="71"/>
                    <a:pt x="50" y="73"/>
                  </a:cubicBezTo>
                  <a:cubicBezTo>
                    <a:pt x="52" y="76"/>
                    <a:pt x="55" y="77"/>
                    <a:pt x="58" y="79"/>
                  </a:cubicBezTo>
                  <a:cubicBezTo>
                    <a:pt x="58" y="79"/>
                    <a:pt x="58" y="79"/>
                    <a:pt x="59" y="79"/>
                  </a:cubicBezTo>
                  <a:cubicBezTo>
                    <a:pt x="60" y="72"/>
                    <a:pt x="53" y="64"/>
                    <a:pt x="53" y="57"/>
                  </a:cubicBezTo>
                  <a:cubicBezTo>
                    <a:pt x="54" y="56"/>
                    <a:pt x="55" y="56"/>
                    <a:pt x="56" y="55"/>
                  </a:cubicBezTo>
                  <a:cubicBezTo>
                    <a:pt x="56" y="55"/>
                    <a:pt x="56" y="55"/>
                    <a:pt x="56" y="55"/>
                  </a:cubicBezTo>
                  <a:cubicBezTo>
                    <a:pt x="63" y="60"/>
                    <a:pt x="59" y="67"/>
                    <a:pt x="69" y="69"/>
                  </a:cubicBezTo>
                  <a:cubicBezTo>
                    <a:pt x="71" y="67"/>
                    <a:pt x="72" y="66"/>
                    <a:pt x="74" y="64"/>
                  </a:cubicBezTo>
                  <a:cubicBezTo>
                    <a:pt x="71" y="56"/>
                    <a:pt x="63" y="51"/>
                    <a:pt x="55" y="53"/>
                  </a:cubicBezTo>
                  <a:close/>
                  <a:moveTo>
                    <a:pt x="40" y="46"/>
                  </a:moveTo>
                  <a:cubicBezTo>
                    <a:pt x="40" y="46"/>
                    <a:pt x="39" y="46"/>
                    <a:pt x="39" y="46"/>
                  </a:cubicBezTo>
                  <a:cubicBezTo>
                    <a:pt x="38" y="46"/>
                    <a:pt x="38" y="46"/>
                    <a:pt x="38" y="46"/>
                  </a:cubicBezTo>
                  <a:cubicBezTo>
                    <a:pt x="38" y="45"/>
                    <a:pt x="37" y="45"/>
                    <a:pt x="37" y="44"/>
                  </a:cubicBezTo>
                  <a:cubicBezTo>
                    <a:pt x="39" y="41"/>
                    <a:pt x="42" y="39"/>
                    <a:pt x="44" y="36"/>
                  </a:cubicBezTo>
                  <a:cubicBezTo>
                    <a:pt x="45" y="36"/>
                    <a:pt x="45" y="35"/>
                    <a:pt x="46" y="35"/>
                  </a:cubicBezTo>
                  <a:cubicBezTo>
                    <a:pt x="46" y="35"/>
                    <a:pt x="46" y="35"/>
                    <a:pt x="46" y="35"/>
                  </a:cubicBezTo>
                  <a:cubicBezTo>
                    <a:pt x="44" y="39"/>
                    <a:pt x="42" y="42"/>
                    <a:pt x="40" y="4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15" name="ïşḻíḍe"/>
            <p:cNvSpPr/>
            <p:nvPr/>
          </p:nvSpPr>
          <p:spPr bwMode="auto">
            <a:xfrm>
              <a:off x="1882672" y="4669428"/>
              <a:ext cx="160338" cy="169863"/>
            </a:xfrm>
            <a:custGeom>
              <a:avLst/>
              <a:gdLst>
                <a:gd name="T0" fmla="*/ 29 w 87"/>
                <a:gd name="T1" fmla="*/ 8 h 92"/>
                <a:gd name="T2" fmla="*/ 52 w 87"/>
                <a:gd name="T3" fmla="*/ 17 h 92"/>
                <a:gd name="T4" fmla="*/ 61 w 87"/>
                <a:gd name="T5" fmla="*/ 16 h 92"/>
                <a:gd name="T6" fmla="*/ 62 w 87"/>
                <a:gd name="T7" fmla="*/ 17 h 92"/>
                <a:gd name="T8" fmla="*/ 69 w 87"/>
                <a:gd name="T9" fmla="*/ 42 h 92"/>
                <a:gd name="T10" fmla="*/ 86 w 87"/>
                <a:gd name="T11" fmla="*/ 35 h 92"/>
                <a:gd name="T12" fmla="*/ 87 w 87"/>
                <a:gd name="T13" fmla="*/ 39 h 92"/>
                <a:gd name="T14" fmla="*/ 76 w 87"/>
                <a:gd name="T15" fmla="*/ 55 h 92"/>
                <a:gd name="T16" fmla="*/ 67 w 87"/>
                <a:gd name="T17" fmla="*/ 76 h 92"/>
                <a:gd name="T18" fmla="*/ 65 w 87"/>
                <a:gd name="T19" fmla="*/ 74 h 92"/>
                <a:gd name="T20" fmla="*/ 69 w 87"/>
                <a:gd name="T21" fmla="*/ 53 h 92"/>
                <a:gd name="T22" fmla="*/ 55 w 87"/>
                <a:gd name="T23" fmla="*/ 40 h 92"/>
                <a:gd name="T24" fmla="*/ 45 w 87"/>
                <a:gd name="T25" fmla="*/ 44 h 92"/>
                <a:gd name="T26" fmla="*/ 46 w 87"/>
                <a:gd name="T27" fmla="*/ 89 h 92"/>
                <a:gd name="T28" fmla="*/ 38 w 87"/>
                <a:gd name="T29" fmla="*/ 92 h 92"/>
                <a:gd name="T30" fmla="*/ 27 w 87"/>
                <a:gd name="T31" fmla="*/ 68 h 92"/>
                <a:gd name="T32" fmla="*/ 14 w 87"/>
                <a:gd name="T33" fmla="*/ 70 h 92"/>
                <a:gd name="T34" fmla="*/ 12 w 87"/>
                <a:gd name="T35" fmla="*/ 65 h 92"/>
                <a:gd name="T36" fmla="*/ 18 w 87"/>
                <a:gd name="T37" fmla="*/ 58 h 92"/>
                <a:gd name="T38" fmla="*/ 0 w 87"/>
                <a:gd name="T39" fmla="*/ 42 h 92"/>
                <a:gd name="T40" fmla="*/ 0 w 87"/>
                <a:gd name="T41" fmla="*/ 42 h 92"/>
                <a:gd name="T42" fmla="*/ 21 w 87"/>
                <a:gd name="T43" fmla="*/ 39 h 92"/>
                <a:gd name="T44" fmla="*/ 27 w 87"/>
                <a:gd name="T45" fmla="*/ 48 h 92"/>
                <a:gd name="T46" fmla="*/ 34 w 87"/>
                <a:gd name="T47" fmla="*/ 52 h 92"/>
                <a:gd name="T48" fmla="*/ 36 w 87"/>
                <a:gd name="T49" fmla="*/ 62 h 92"/>
                <a:gd name="T50" fmla="*/ 39 w 87"/>
                <a:gd name="T51" fmla="*/ 44 h 92"/>
                <a:gd name="T52" fmla="*/ 46 w 87"/>
                <a:gd name="T53" fmla="*/ 28 h 92"/>
                <a:gd name="T54" fmla="*/ 29 w 87"/>
                <a:gd name="T55" fmla="*/ 8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87" h="92">
                  <a:moveTo>
                    <a:pt x="29" y="8"/>
                  </a:moveTo>
                  <a:cubicBezTo>
                    <a:pt x="42" y="0"/>
                    <a:pt x="43" y="12"/>
                    <a:pt x="52" y="17"/>
                  </a:cubicBezTo>
                  <a:cubicBezTo>
                    <a:pt x="55" y="15"/>
                    <a:pt x="58" y="15"/>
                    <a:pt x="61" y="16"/>
                  </a:cubicBezTo>
                  <a:cubicBezTo>
                    <a:pt x="61" y="16"/>
                    <a:pt x="62" y="17"/>
                    <a:pt x="62" y="17"/>
                  </a:cubicBezTo>
                  <a:cubicBezTo>
                    <a:pt x="62" y="26"/>
                    <a:pt x="58" y="33"/>
                    <a:pt x="69" y="42"/>
                  </a:cubicBezTo>
                  <a:cubicBezTo>
                    <a:pt x="75" y="35"/>
                    <a:pt x="80" y="33"/>
                    <a:pt x="86" y="35"/>
                  </a:cubicBezTo>
                  <a:cubicBezTo>
                    <a:pt x="87" y="36"/>
                    <a:pt x="87" y="38"/>
                    <a:pt x="87" y="39"/>
                  </a:cubicBezTo>
                  <a:cubicBezTo>
                    <a:pt x="83" y="45"/>
                    <a:pt x="80" y="50"/>
                    <a:pt x="76" y="55"/>
                  </a:cubicBezTo>
                  <a:cubicBezTo>
                    <a:pt x="71" y="62"/>
                    <a:pt x="71" y="70"/>
                    <a:pt x="67" y="76"/>
                  </a:cubicBezTo>
                  <a:cubicBezTo>
                    <a:pt x="66" y="75"/>
                    <a:pt x="66" y="75"/>
                    <a:pt x="65" y="74"/>
                  </a:cubicBezTo>
                  <a:cubicBezTo>
                    <a:pt x="63" y="66"/>
                    <a:pt x="67" y="60"/>
                    <a:pt x="69" y="53"/>
                  </a:cubicBezTo>
                  <a:cubicBezTo>
                    <a:pt x="64" y="51"/>
                    <a:pt x="60" y="46"/>
                    <a:pt x="55" y="40"/>
                  </a:cubicBezTo>
                  <a:cubicBezTo>
                    <a:pt x="52" y="42"/>
                    <a:pt x="49" y="41"/>
                    <a:pt x="45" y="44"/>
                  </a:cubicBezTo>
                  <a:cubicBezTo>
                    <a:pt x="40" y="59"/>
                    <a:pt x="48" y="75"/>
                    <a:pt x="46" y="89"/>
                  </a:cubicBezTo>
                  <a:cubicBezTo>
                    <a:pt x="43" y="92"/>
                    <a:pt x="41" y="91"/>
                    <a:pt x="38" y="92"/>
                  </a:cubicBezTo>
                  <a:cubicBezTo>
                    <a:pt x="31" y="83"/>
                    <a:pt x="33" y="76"/>
                    <a:pt x="27" y="68"/>
                  </a:cubicBezTo>
                  <a:cubicBezTo>
                    <a:pt x="23" y="71"/>
                    <a:pt x="18" y="71"/>
                    <a:pt x="14" y="70"/>
                  </a:cubicBezTo>
                  <a:cubicBezTo>
                    <a:pt x="12" y="68"/>
                    <a:pt x="12" y="67"/>
                    <a:pt x="12" y="65"/>
                  </a:cubicBezTo>
                  <a:cubicBezTo>
                    <a:pt x="14" y="63"/>
                    <a:pt x="16" y="60"/>
                    <a:pt x="18" y="58"/>
                  </a:cubicBezTo>
                  <a:cubicBezTo>
                    <a:pt x="13" y="49"/>
                    <a:pt x="3" y="48"/>
                    <a:pt x="0" y="42"/>
                  </a:cubicBezTo>
                  <a:cubicBezTo>
                    <a:pt x="0" y="42"/>
                    <a:pt x="0" y="42"/>
                    <a:pt x="0" y="42"/>
                  </a:cubicBezTo>
                  <a:cubicBezTo>
                    <a:pt x="6" y="39"/>
                    <a:pt x="15" y="35"/>
                    <a:pt x="21" y="39"/>
                  </a:cubicBezTo>
                  <a:cubicBezTo>
                    <a:pt x="23" y="42"/>
                    <a:pt x="25" y="45"/>
                    <a:pt x="27" y="48"/>
                  </a:cubicBezTo>
                  <a:cubicBezTo>
                    <a:pt x="29" y="50"/>
                    <a:pt x="31" y="51"/>
                    <a:pt x="34" y="52"/>
                  </a:cubicBezTo>
                  <a:cubicBezTo>
                    <a:pt x="34" y="55"/>
                    <a:pt x="35" y="58"/>
                    <a:pt x="36" y="62"/>
                  </a:cubicBezTo>
                  <a:cubicBezTo>
                    <a:pt x="39" y="56"/>
                    <a:pt x="38" y="50"/>
                    <a:pt x="39" y="44"/>
                  </a:cubicBezTo>
                  <a:cubicBezTo>
                    <a:pt x="42" y="39"/>
                    <a:pt x="44" y="34"/>
                    <a:pt x="46" y="28"/>
                  </a:cubicBezTo>
                  <a:cubicBezTo>
                    <a:pt x="42" y="22"/>
                    <a:pt x="31" y="15"/>
                    <a:pt x="29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16" name="íṩľíḑè"/>
            <p:cNvSpPr/>
            <p:nvPr/>
          </p:nvSpPr>
          <p:spPr bwMode="auto">
            <a:xfrm>
              <a:off x="2243034" y="6066428"/>
              <a:ext cx="22225" cy="25400"/>
            </a:xfrm>
            <a:custGeom>
              <a:avLst/>
              <a:gdLst>
                <a:gd name="T0" fmla="*/ 0 w 14"/>
                <a:gd name="T1" fmla="*/ 12 h 16"/>
                <a:gd name="T2" fmla="*/ 2 w 14"/>
                <a:gd name="T3" fmla="*/ 0 h 16"/>
                <a:gd name="T4" fmla="*/ 14 w 14"/>
                <a:gd name="T5" fmla="*/ 4 h 16"/>
                <a:gd name="T6" fmla="*/ 11 w 14"/>
                <a:gd name="T7" fmla="*/ 16 h 16"/>
                <a:gd name="T8" fmla="*/ 0 w 14"/>
                <a:gd name="T9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" h="16">
                  <a:moveTo>
                    <a:pt x="0" y="12"/>
                  </a:moveTo>
                  <a:lnTo>
                    <a:pt x="2" y="0"/>
                  </a:lnTo>
                  <a:lnTo>
                    <a:pt x="14" y="4"/>
                  </a:lnTo>
                  <a:lnTo>
                    <a:pt x="11" y="16"/>
                  </a:lnTo>
                  <a:lnTo>
                    <a:pt x="0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17" name="îṣḷïḓê"/>
            <p:cNvSpPr/>
            <p:nvPr/>
          </p:nvSpPr>
          <p:spPr bwMode="auto">
            <a:xfrm>
              <a:off x="2292247" y="6042615"/>
              <a:ext cx="49213" cy="100013"/>
            </a:xfrm>
            <a:custGeom>
              <a:avLst/>
              <a:gdLst>
                <a:gd name="T0" fmla="*/ 17 w 27"/>
                <a:gd name="T1" fmla="*/ 54 h 54"/>
                <a:gd name="T2" fmla="*/ 7 w 27"/>
                <a:gd name="T3" fmla="*/ 52 h 54"/>
                <a:gd name="T4" fmla="*/ 14 w 27"/>
                <a:gd name="T5" fmla="*/ 15 h 54"/>
                <a:gd name="T6" fmla="*/ 0 w 27"/>
                <a:gd name="T7" fmla="*/ 20 h 54"/>
                <a:gd name="T8" fmla="*/ 1 w 27"/>
                <a:gd name="T9" fmla="*/ 11 h 54"/>
                <a:gd name="T10" fmla="*/ 11 w 27"/>
                <a:gd name="T11" fmla="*/ 7 h 54"/>
                <a:gd name="T12" fmla="*/ 18 w 27"/>
                <a:gd name="T13" fmla="*/ 0 h 54"/>
                <a:gd name="T14" fmla="*/ 27 w 27"/>
                <a:gd name="T15" fmla="*/ 2 h 54"/>
                <a:gd name="T16" fmla="*/ 17 w 27"/>
                <a:gd name="T17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7" h="54">
                  <a:moveTo>
                    <a:pt x="17" y="54"/>
                  </a:moveTo>
                  <a:cubicBezTo>
                    <a:pt x="7" y="52"/>
                    <a:pt x="7" y="52"/>
                    <a:pt x="7" y="52"/>
                  </a:cubicBezTo>
                  <a:cubicBezTo>
                    <a:pt x="14" y="15"/>
                    <a:pt x="14" y="15"/>
                    <a:pt x="14" y="15"/>
                  </a:cubicBezTo>
                  <a:cubicBezTo>
                    <a:pt x="10" y="17"/>
                    <a:pt x="5" y="19"/>
                    <a:pt x="0" y="20"/>
                  </a:cubicBezTo>
                  <a:cubicBezTo>
                    <a:pt x="1" y="11"/>
                    <a:pt x="1" y="11"/>
                    <a:pt x="1" y="11"/>
                  </a:cubicBezTo>
                  <a:cubicBezTo>
                    <a:pt x="4" y="10"/>
                    <a:pt x="7" y="9"/>
                    <a:pt x="11" y="7"/>
                  </a:cubicBezTo>
                  <a:cubicBezTo>
                    <a:pt x="14" y="6"/>
                    <a:pt x="17" y="3"/>
                    <a:pt x="18" y="0"/>
                  </a:cubicBezTo>
                  <a:cubicBezTo>
                    <a:pt x="27" y="2"/>
                    <a:pt x="27" y="2"/>
                    <a:pt x="27" y="2"/>
                  </a:cubicBezTo>
                  <a:lnTo>
                    <a:pt x="17" y="5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18" name="i$ḻîḓé"/>
            <p:cNvSpPr/>
            <p:nvPr/>
          </p:nvSpPr>
          <p:spPr bwMode="auto">
            <a:xfrm>
              <a:off x="2363684" y="6052140"/>
              <a:ext cx="66675" cy="100013"/>
            </a:xfrm>
            <a:custGeom>
              <a:avLst/>
              <a:gdLst>
                <a:gd name="T0" fmla="*/ 0 w 36"/>
                <a:gd name="T1" fmla="*/ 40 h 54"/>
                <a:gd name="T2" fmla="*/ 10 w 36"/>
                <a:gd name="T3" fmla="*/ 39 h 54"/>
                <a:gd name="T4" fmla="*/ 11 w 36"/>
                <a:gd name="T5" fmla="*/ 44 h 54"/>
                <a:gd name="T6" fmla="*/ 15 w 36"/>
                <a:gd name="T7" fmla="*/ 46 h 54"/>
                <a:gd name="T8" fmla="*/ 21 w 36"/>
                <a:gd name="T9" fmla="*/ 43 h 54"/>
                <a:gd name="T10" fmla="*/ 24 w 36"/>
                <a:gd name="T11" fmla="*/ 31 h 54"/>
                <a:gd name="T12" fmla="*/ 15 w 36"/>
                <a:gd name="T13" fmla="*/ 35 h 54"/>
                <a:gd name="T14" fmla="*/ 4 w 36"/>
                <a:gd name="T15" fmla="*/ 30 h 54"/>
                <a:gd name="T16" fmla="*/ 0 w 36"/>
                <a:gd name="T17" fmla="*/ 17 h 54"/>
                <a:gd name="T18" fmla="*/ 6 w 36"/>
                <a:gd name="T19" fmla="*/ 4 h 54"/>
                <a:gd name="T20" fmla="*/ 19 w 36"/>
                <a:gd name="T21" fmla="*/ 0 h 54"/>
                <a:gd name="T22" fmla="*/ 31 w 36"/>
                <a:gd name="T23" fmla="*/ 7 h 54"/>
                <a:gd name="T24" fmla="*/ 35 w 36"/>
                <a:gd name="T25" fmla="*/ 28 h 54"/>
                <a:gd name="T26" fmla="*/ 28 w 36"/>
                <a:gd name="T27" fmla="*/ 49 h 54"/>
                <a:gd name="T28" fmla="*/ 14 w 36"/>
                <a:gd name="T29" fmla="*/ 54 h 54"/>
                <a:gd name="T30" fmla="*/ 4 w 36"/>
                <a:gd name="T31" fmla="*/ 50 h 54"/>
                <a:gd name="T32" fmla="*/ 0 w 36"/>
                <a:gd name="T33" fmla="*/ 40 h 54"/>
                <a:gd name="T34" fmla="*/ 24 w 36"/>
                <a:gd name="T35" fmla="*/ 19 h 54"/>
                <a:gd name="T36" fmla="*/ 23 w 36"/>
                <a:gd name="T37" fmla="*/ 11 h 54"/>
                <a:gd name="T38" fmla="*/ 18 w 36"/>
                <a:gd name="T39" fmla="*/ 8 h 54"/>
                <a:gd name="T40" fmla="*/ 13 w 36"/>
                <a:gd name="T41" fmla="*/ 10 h 54"/>
                <a:gd name="T42" fmla="*/ 10 w 36"/>
                <a:gd name="T43" fmla="*/ 17 h 54"/>
                <a:gd name="T44" fmla="*/ 12 w 36"/>
                <a:gd name="T45" fmla="*/ 25 h 54"/>
                <a:gd name="T46" fmla="*/ 17 w 36"/>
                <a:gd name="T47" fmla="*/ 28 h 54"/>
                <a:gd name="T48" fmla="*/ 22 w 36"/>
                <a:gd name="T49" fmla="*/ 26 h 54"/>
                <a:gd name="T50" fmla="*/ 24 w 36"/>
                <a:gd name="T51" fmla="*/ 19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36" h="54">
                  <a:moveTo>
                    <a:pt x="0" y="40"/>
                  </a:moveTo>
                  <a:cubicBezTo>
                    <a:pt x="10" y="39"/>
                    <a:pt x="10" y="39"/>
                    <a:pt x="10" y="39"/>
                  </a:cubicBezTo>
                  <a:cubicBezTo>
                    <a:pt x="10" y="41"/>
                    <a:pt x="10" y="43"/>
                    <a:pt x="11" y="44"/>
                  </a:cubicBezTo>
                  <a:cubicBezTo>
                    <a:pt x="12" y="45"/>
                    <a:pt x="14" y="46"/>
                    <a:pt x="15" y="46"/>
                  </a:cubicBezTo>
                  <a:cubicBezTo>
                    <a:pt x="17" y="46"/>
                    <a:pt x="19" y="45"/>
                    <a:pt x="21" y="43"/>
                  </a:cubicBezTo>
                  <a:cubicBezTo>
                    <a:pt x="22" y="41"/>
                    <a:pt x="24" y="37"/>
                    <a:pt x="24" y="31"/>
                  </a:cubicBezTo>
                  <a:cubicBezTo>
                    <a:pt x="22" y="34"/>
                    <a:pt x="18" y="35"/>
                    <a:pt x="15" y="35"/>
                  </a:cubicBezTo>
                  <a:cubicBezTo>
                    <a:pt x="10" y="35"/>
                    <a:pt x="7" y="33"/>
                    <a:pt x="4" y="30"/>
                  </a:cubicBezTo>
                  <a:cubicBezTo>
                    <a:pt x="1" y="26"/>
                    <a:pt x="0" y="22"/>
                    <a:pt x="0" y="17"/>
                  </a:cubicBezTo>
                  <a:cubicBezTo>
                    <a:pt x="1" y="11"/>
                    <a:pt x="3" y="7"/>
                    <a:pt x="6" y="4"/>
                  </a:cubicBezTo>
                  <a:cubicBezTo>
                    <a:pt x="10" y="1"/>
                    <a:pt x="14" y="0"/>
                    <a:pt x="19" y="0"/>
                  </a:cubicBezTo>
                  <a:cubicBezTo>
                    <a:pt x="24" y="0"/>
                    <a:pt x="28" y="3"/>
                    <a:pt x="31" y="7"/>
                  </a:cubicBezTo>
                  <a:cubicBezTo>
                    <a:pt x="35" y="12"/>
                    <a:pt x="36" y="19"/>
                    <a:pt x="35" y="28"/>
                  </a:cubicBezTo>
                  <a:cubicBezTo>
                    <a:pt x="34" y="38"/>
                    <a:pt x="32" y="44"/>
                    <a:pt x="28" y="49"/>
                  </a:cubicBezTo>
                  <a:cubicBezTo>
                    <a:pt x="24" y="53"/>
                    <a:pt x="20" y="54"/>
                    <a:pt x="14" y="54"/>
                  </a:cubicBezTo>
                  <a:cubicBezTo>
                    <a:pt x="10" y="54"/>
                    <a:pt x="7" y="52"/>
                    <a:pt x="4" y="50"/>
                  </a:cubicBezTo>
                  <a:cubicBezTo>
                    <a:pt x="2" y="48"/>
                    <a:pt x="0" y="44"/>
                    <a:pt x="0" y="40"/>
                  </a:cubicBezTo>
                  <a:close/>
                  <a:moveTo>
                    <a:pt x="24" y="19"/>
                  </a:moveTo>
                  <a:cubicBezTo>
                    <a:pt x="25" y="16"/>
                    <a:pt x="24" y="13"/>
                    <a:pt x="23" y="11"/>
                  </a:cubicBezTo>
                  <a:cubicBezTo>
                    <a:pt x="21" y="10"/>
                    <a:pt x="20" y="9"/>
                    <a:pt x="18" y="8"/>
                  </a:cubicBezTo>
                  <a:cubicBezTo>
                    <a:pt x="16" y="8"/>
                    <a:pt x="14" y="9"/>
                    <a:pt x="13" y="10"/>
                  </a:cubicBezTo>
                  <a:cubicBezTo>
                    <a:pt x="11" y="12"/>
                    <a:pt x="11" y="14"/>
                    <a:pt x="10" y="17"/>
                  </a:cubicBezTo>
                  <a:cubicBezTo>
                    <a:pt x="10" y="21"/>
                    <a:pt x="11" y="23"/>
                    <a:pt x="12" y="25"/>
                  </a:cubicBezTo>
                  <a:cubicBezTo>
                    <a:pt x="13" y="27"/>
                    <a:pt x="15" y="28"/>
                    <a:pt x="17" y="28"/>
                  </a:cubicBezTo>
                  <a:cubicBezTo>
                    <a:pt x="19" y="28"/>
                    <a:pt x="20" y="27"/>
                    <a:pt x="22" y="26"/>
                  </a:cubicBezTo>
                  <a:cubicBezTo>
                    <a:pt x="23" y="24"/>
                    <a:pt x="24" y="22"/>
                    <a:pt x="24" y="1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19" name="îṧľîḋé"/>
            <p:cNvSpPr/>
            <p:nvPr/>
          </p:nvSpPr>
          <p:spPr bwMode="auto">
            <a:xfrm>
              <a:off x="2446234" y="6053728"/>
              <a:ext cx="66675" cy="100013"/>
            </a:xfrm>
            <a:custGeom>
              <a:avLst/>
              <a:gdLst>
                <a:gd name="T0" fmla="*/ 0 w 36"/>
                <a:gd name="T1" fmla="*/ 40 h 54"/>
                <a:gd name="T2" fmla="*/ 10 w 36"/>
                <a:gd name="T3" fmla="*/ 39 h 54"/>
                <a:gd name="T4" fmla="*/ 13 w 36"/>
                <a:gd name="T5" fmla="*/ 44 h 54"/>
                <a:gd name="T6" fmla="*/ 18 w 36"/>
                <a:gd name="T7" fmla="*/ 46 h 54"/>
                <a:gd name="T8" fmla="*/ 23 w 36"/>
                <a:gd name="T9" fmla="*/ 43 h 54"/>
                <a:gd name="T10" fmla="*/ 25 w 36"/>
                <a:gd name="T11" fmla="*/ 35 h 54"/>
                <a:gd name="T12" fmla="*/ 23 w 36"/>
                <a:gd name="T13" fmla="*/ 28 h 54"/>
                <a:gd name="T14" fmla="*/ 17 w 36"/>
                <a:gd name="T15" fmla="*/ 26 h 54"/>
                <a:gd name="T16" fmla="*/ 9 w 36"/>
                <a:gd name="T17" fmla="*/ 30 h 54"/>
                <a:gd name="T18" fmla="*/ 1 w 36"/>
                <a:gd name="T19" fmla="*/ 29 h 54"/>
                <a:gd name="T20" fmla="*/ 5 w 36"/>
                <a:gd name="T21" fmla="*/ 1 h 54"/>
                <a:gd name="T22" fmla="*/ 32 w 36"/>
                <a:gd name="T23" fmla="*/ 0 h 54"/>
                <a:gd name="T24" fmla="*/ 32 w 36"/>
                <a:gd name="T25" fmla="*/ 10 h 54"/>
                <a:gd name="T26" fmla="*/ 13 w 36"/>
                <a:gd name="T27" fmla="*/ 10 h 54"/>
                <a:gd name="T28" fmla="*/ 12 w 36"/>
                <a:gd name="T29" fmla="*/ 19 h 54"/>
                <a:gd name="T30" fmla="*/ 19 w 36"/>
                <a:gd name="T31" fmla="*/ 17 h 54"/>
                <a:gd name="T32" fmla="*/ 30 w 36"/>
                <a:gd name="T33" fmla="*/ 22 h 54"/>
                <a:gd name="T34" fmla="*/ 36 w 36"/>
                <a:gd name="T35" fmla="*/ 34 h 54"/>
                <a:gd name="T36" fmla="*/ 32 w 36"/>
                <a:gd name="T37" fmla="*/ 46 h 54"/>
                <a:gd name="T38" fmla="*/ 18 w 36"/>
                <a:gd name="T39" fmla="*/ 54 h 54"/>
                <a:gd name="T40" fmla="*/ 6 w 36"/>
                <a:gd name="T41" fmla="*/ 50 h 54"/>
                <a:gd name="T42" fmla="*/ 0 w 36"/>
                <a:gd name="T43" fmla="*/ 40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36" h="54">
                  <a:moveTo>
                    <a:pt x="0" y="40"/>
                  </a:moveTo>
                  <a:cubicBezTo>
                    <a:pt x="10" y="39"/>
                    <a:pt x="10" y="39"/>
                    <a:pt x="10" y="39"/>
                  </a:cubicBezTo>
                  <a:cubicBezTo>
                    <a:pt x="11" y="41"/>
                    <a:pt x="11" y="43"/>
                    <a:pt x="13" y="44"/>
                  </a:cubicBezTo>
                  <a:cubicBezTo>
                    <a:pt x="14" y="45"/>
                    <a:pt x="16" y="46"/>
                    <a:pt x="18" y="46"/>
                  </a:cubicBezTo>
                  <a:cubicBezTo>
                    <a:pt x="20" y="46"/>
                    <a:pt x="22" y="45"/>
                    <a:pt x="23" y="43"/>
                  </a:cubicBezTo>
                  <a:cubicBezTo>
                    <a:pt x="25" y="41"/>
                    <a:pt x="25" y="38"/>
                    <a:pt x="25" y="35"/>
                  </a:cubicBezTo>
                  <a:cubicBezTo>
                    <a:pt x="25" y="32"/>
                    <a:pt x="24" y="29"/>
                    <a:pt x="23" y="28"/>
                  </a:cubicBezTo>
                  <a:cubicBezTo>
                    <a:pt x="21" y="26"/>
                    <a:pt x="19" y="25"/>
                    <a:pt x="17" y="26"/>
                  </a:cubicBezTo>
                  <a:cubicBezTo>
                    <a:pt x="14" y="26"/>
                    <a:pt x="11" y="27"/>
                    <a:pt x="9" y="30"/>
                  </a:cubicBezTo>
                  <a:cubicBezTo>
                    <a:pt x="1" y="29"/>
                    <a:pt x="1" y="29"/>
                    <a:pt x="1" y="29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2" y="10"/>
                    <a:pt x="32" y="10"/>
                    <a:pt x="32" y="10"/>
                  </a:cubicBezTo>
                  <a:cubicBezTo>
                    <a:pt x="13" y="10"/>
                    <a:pt x="13" y="10"/>
                    <a:pt x="13" y="10"/>
                  </a:cubicBezTo>
                  <a:cubicBezTo>
                    <a:pt x="12" y="19"/>
                    <a:pt x="12" y="19"/>
                    <a:pt x="12" y="19"/>
                  </a:cubicBezTo>
                  <a:cubicBezTo>
                    <a:pt x="14" y="18"/>
                    <a:pt x="16" y="17"/>
                    <a:pt x="19" y="17"/>
                  </a:cubicBezTo>
                  <a:cubicBezTo>
                    <a:pt x="23" y="17"/>
                    <a:pt x="27" y="19"/>
                    <a:pt x="30" y="22"/>
                  </a:cubicBezTo>
                  <a:cubicBezTo>
                    <a:pt x="34" y="25"/>
                    <a:pt x="35" y="29"/>
                    <a:pt x="36" y="34"/>
                  </a:cubicBezTo>
                  <a:cubicBezTo>
                    <a:pt x="36" y="39"/>
                    <a:pt x="35" y="43"/>
                    <a:pt x="32" y="46"/>
                  </a:cubicBezTo>
                  <a:cubicBezTo>
                    <a:pt x="29" y="51"/>
                    <a:pt x="24" y="54"/>
                    <a:pt x="18" y="54"/>
                  </a:cubicBezTo>
                  <a:cubicBezTo>
                    <a:pt x="13" y="54"/>
                    <a:pt x="9" y="53"/>
                    <a:pt x="6" y="50"/>
                  </a:cubicBezTo>
                  <a:cubicBezTo>
                    <a:pt x="3" y="48"/>
                    <a:pt x="1" y="44"/>
                    <a:pt x="0" y="4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20" name="i$ḻïḑê"/>
            <p:cNvSpPr/>
            <p:nvPr/>
          </p:nvSpPr>
          <p:spPr bwMode="auto">
            <a:xfrm>
              <a:off x="2522434" y="6045790"/>
              <a:ext cx="74613" cy="103188"/>
            </a:xfrm>
            <a:custGeom>
              <a:avLst/>
              <a:gdLst>
                <a:gd name="T0" fmla="*/ 39 w 40"/>
                <a:gd name="T1" fmla="*/ 42 h 56"/>
                <a:gd name="T2" fmla="*/ 40 w 40"/>
                <a:gd name="T3" fmla="*/ 51 h 56"/>
                <a:gd name="T4" fmla="*/ 5 w 40"/>
                <a:gd name="T5" fmla="*/ 56 h 56"/>
                <a:gd name="T6" fmla="*/ 7 w 40"/>
                <a:gd name="T7" fmla="*/ 46 h 56"/>
                <a:gd name="T8" fmla="*/ 16 w 40"/>
                <a:gd name="T9" fmla="*/ 32 h 56"/>
                <a:gd name="T10" fmla="*/ 23 w 40"/>
                <a:gd name="T11" fmla="*/ 22 h 56"/>
                <a:gd name="T12" fmla="*/ 24 w 40"/>
                <a:gd name="T13" fmla="*/ 15 h 56"/>
                <a:gd name="T14" fmla="*/ 22 w 40"/>
                <a:gd name="T15" fmla="*/ 10 h 56"/>
                <a:gd name="T16" fmla="*/ 17 w 40"/>
                <a:gd name="T17" fmla="*/ 9 h 56"/>
                <a:gd name="T18" fmla="*/ 12 w 40"/>
                <a:gd name="T19" fmla="*/ 12 h 56"/>
                <a:gd name="T20" fmla="*/ 11 w 40"/>
                <a:gd name="T21" fmla="*/ 19 h 56"/>
                <a:gd name="T22" fmla="*/ 1 w 40"/>
                <a:gd name="T23" fmla="*/ 19 h 56"/>
                <a:gd name="T24" fmla="*/ 4 w 40"/>
                <a:gd name="T25" fmla="*/ 6 h 56"/>
                <a:gd name="T26" fmla="*/ 16 w 40"/>
                <a:gd name="T27" fmla="*/ 1 h 56"/>
                <a:gd name="T28" fmla="*/ 28 w 40"/>
                <a:gd name="T29" fmla="*/ 3 h 56"/>
                <a:gd name="T30" fmla="*/ 34 w 40"/>
                <a:gd name="T31" fmla="*/ 13 h 56"/>
                <a:gd name="T32" fmla="*/ 34 w 40"/>
                <a:gd name="T33" fmla="*/ 20 h 56"/>
                <a:gd name="T34" fmla="*/ 31 w 40"/>
                <a:gd name="T35" fmla="*/ 27 h 56"/>
                <a:gd name="T36" fmla="*/ 26 w 40"/>
                <a:gd name="T37" fmla="*/ 35 h 56"/>
                <a:gd name="T38" fmla="*/ 20 w 40"/>
                <a:gd name="T39" fmla="*/ 42 h 56"/>
                <a:gd name="T40" fmla="*/ 19 w 40"/>
                <a:gd name="T41" fmla="*/ 45 h 56"/>
                <a:gd name="T42" fmla="*/ 39 w 40"/>
                <a:gd name="T43" fmla="*/ 42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40" h="56">
                  <a:moveTo>
                    <a:pt x="39" y="42"/>
                  </a:moveTo>
                  <a:cubicBezTo>
                    <a:pt x="40" y="51"/>
                    <a:pt x="40" y="51"/>
                    <a:pt x="40" y="51"/>
                  </a:cubicBezTo>
                  <a:cubicBezTo>
                    <a:pt x="5" y="56"/>
                    <a:pt x="5" y="56"/>
                    <a:pt x="5" y="56"/>
                  </a:cubicBezTo>
                  <a:cubicBezTo>
                    <a:pt x="5" y="53"/>
                    <a:pt x="5" y="49"/>
                    <a:pt x="7" y="46"/>
                  </a:cubicBezTo>
                  <a:cubicBezTo>
                    <a:pt x="8" y="42"/>
                    <a:pt x="11" y="38"/>
                    <a:pt x="16" y="32"/>
                  </a:cubicBezTo>
                  <a:cubicBezTo>
                    <a:pt x="20" y="27"/>
                    <a:pt x="22" y="23"/>
                    <a:pt x="23" y="22"/>
                  </a:cubicBezTo>
                  <a:cubicBezTo>
                    <a:pt x="24" y="19"/>
                    <a:pt x="25" y="17"/>
                    <a:pt x="24" y="15"/>
                  </a:cubicBezTo>
                  <a:cubicBezTo>
                    <a:pt x="24" y="13"/>
                    <a:pt x="23" y="11"/>
                    <a:pt x="22" y="10"/>
                  </a:cubicBezTo>
                  <a:cubicBezTo>
                    <a:pt x="21" y="9"/>
                    <a:pt x="19" y="9"/>
                    <a:pt x="17" y="9"/>
                  </a:cubicBezTo>
                  <a:cubicBezTo>
                    <a:pt x="15" y="10"/>
                    <a:pt x="13" y="11"/>
                    <a:pt x="12" y="12"/>
                  </a:cubicBezTo>
                  <a:cubicBezTo>
                    <a:pt x="11" y="13"/>
                    <a:pt x="10" y="16"/>
                    <a:pt x="11" y="19"/>
                  </a:cubicBezTo>
                  <a:cubicBezTo>
                    <a:pt x="1" y="19"/>
                    <a:pt x="1" y="19"/>
                    <a:pt x="1" y="19"/>
                  </a:cubicBezTo>
                  <a:cubicBezTo>
                    <a:pt x="0" y="13"/>
                    <a:pt x="2" y="9"/>
                    <a:pt x="4" y="6"/>
                  </a:cubicBezTo>
                  <a:cubicBezTo>
                    <a:pt x="7" y="3"/>
                    <a:pt x="11" y="2"/>
                    <a:pt x="16" y="1"/>
                  </a:cubicBezTo>
                  <a:cubicBezTo>
                    <a:pt x="21" y="0"/>
                    <a:pt x="25" y="1"/>
                    <a:pt x="28" y="3"/>
                  </a:cubicBezTo>
                  <a:cubicBezTo>
                    <a:pt x="32" y="6"/>
                    <a:pt x="34" y="9"/>
                    <a:pt x="34" y="13"/>
                  </a:cubicBezTo>
                  <a:cubicBezTo>
                    <a:pt x="35" y="15"/>
                    <a:pt x="35" y="18"/>
                    <a:pt x="34" y="20"/>
                  </a:cubicBezTo>
                  <a:cubicBezTo>
                    <a:pt x="34" y="22"/>
                    <a:pt x="33" y="25"/>
                    <a:pt x="31" y="27"/>
                  </a:cubicBezTo>
                  <a:cubicBezTo>
                    <a:pt x="30" y="29"/>
                    <a:pt x="28" y="32"/>
                    <a:pt x="26" y="35"/>
                  </a:cubicBezTo>
                  <a:cubicBezTo>
                    <a:pt x="23" y="38"/>
                    <a:pt x="21" y="41"/>
                    <a:pt x="20" y="42"/>
                  </a:cubicBezTo>
                  <a:cubicBezTo>
                    <a:pt x="20" y="43"/>
                    <a:pt x="19" y="44"/>
                    <a:pt x="19" y="45"/>
                  </a:cubicBezTo>
                  <a:lnTo>
                    <a:pt x="39" y="4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21" name="íṧlíḍe"/>
            <p:cNvSpPr/>
            <p:nvPr/>
          </p:nvSpPr>
          <p:spPr bwMode="auto">
            <a:xfrm>
              <a:off x="2611334" y="6072778"/>
              <a:ext cx="22225" cy="23813"/>
            </a:xfrm>
            <a:custGeom>
              <a:avLst/>
              <a:gdLst>
                <a:gd name="T0" fmla="*/ 3 w 14"/>
                <a:gd name="T1" fmla="*/ 15 h 15"/>
                <a:gd name="T2" fmla="*/ 0 w 14"/>
                <a:gd name="T3" fmla="*/ 3 h 15"/>
                <a:gd name="T4" fmla="*/ 11 w 14"/>
                <a:gd name="T5" fmla="*/ 0 h 15"/>
                <a:gd name="T6" fmla="*/ 14 w 14"/>
                <a:gd name="T7" fmla="*/ 12 h 15"/>
                <a:gd name="T8" fmla="*/ 3 w 14"/>
                <a:gd name="T9" fmla="*/ 15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" h="15">
                  <a:moveTo>
                    <a:pt x="3" y="15"/>
                  </a:moveTo>
                  <a:lnTo>
                    <a:pt x="0" y="3"/>
                  </a:lnTo>
                  <a:lnTo>
                    <a:pt x="11" y="0"/>
                  </a:lnTo>
                  <a:lnTo>
                    <a:pt x="14" y="12"/>
                  </a:lnTo>
                  <a:lnTo>
                    <a:pt x="3" y="1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22" name="îŝľîḓê"/>
            <p:cNvSpPr/>
            <p:nvPr/>
          </p:nvSpPr>
          <p:spPr bwMode="auto">
            <a:xfrm>
              <a:off x="2108097" y="5261565"/>
              <a:ext cx="141288" cy="257175"/>
            </a:xfrm>
            <a:custGeom>
              <a:avLst/>
              <a:gdLst>
                <a:gd name="T0" fmla="*/ 12 w 77"/>
                <a:gd name="T1" fmla="*/ 25 h 139"/>
                <a:gd name="T2" fmla="*/ 9 w 77"/>
                <a:gd name="T3" fmla="*/ 21 h 139"/>
                <a:gd name="T4" fmla="*/ 12 w 77"/>
                <a:gd name="T5" fmla="*/ 17 h 139"/>
                <a:gd name="T6" fmla="*/ 39 w 77"/>
                <a:gd name="T7" fmla="*/ 21 h 139"/>
                <a:gd name="T8" fmla="*/ 46 w 77"/>
                <a:gd name="T9" fmla="*/ 36 h 139"/>
                <a:gd name="T10" fmla="*/ 46 w 77"/>
                <a:gd name="T11" fmla="*/ 39 h 139"/>
                <a:gd name="T12" fmla="*/ 61 w 77"/>
                <a:gd name="T13" fmla="*/ 33 h 139"/>
                <a:gd name="T14" fmla="*/ 57 w 77"/>
                <a:gd name="T15" fmla="*/ 16 h 139"/>
                <a:gd name="T16" fmla="*/ 35 w 77"/>
                <a:gd name="T17" fmla="*/ 9 h 139"/>
                <a:gd name="T18" fmla="*/ 27 w 77"/>
                <a:gd name="T19" fmla="*/ 3 h 139"/>
                <a:gd name="T20" fmla="*/ 32 w 77"/>
                <a:gd name="T21" fmla="*/ 0 h 139"/>
                <a:gd name="T22" fmla="*/ 61 w 77"/>
                <a:gd name="T23" fmla="*/ 9 h 139"/>
                <a:gd name="T24" fmla="*/ 72 w 77"/>
                <a:gd name="T25" fmla="*/ 30 h 139"/>
                <a:gd name="T26" fmla="*/ 48 w 77"/>
                <a:gd name="T27" fmla="*/ 45 h 139"/>
                <a:gd name="T28" fmla="*/ 45 w 77"/>
                <a:gd name="T29" fmla="*/ 46 h 139"/>
                <a:gd name="T30" fmla="*/ 45 w 77"/>
                <a:gd name="T31" fmla="*/ 54 h 139"/>
                <a:gd name="T32" fmla="*/ 59 w 77"/>
                <a:gd name="T33" fmla="*/ 61 h 139"/>
                <a:gd name="T34" fmla="*/ 77 w 77"/>
                <a:gd name="T35" fmla="*/ 80 h 139"/>
                <a:gd name="T36" fmla="*/ 75 w 77"/>
                <a:gd name="T37" fmla="*/ 84 h 139"/>
                <a:gd name="T38" fmla="*/ 71 w 77"/>
                <a:gd name="T39" fmla="*/ 83 h 139"/>
                <a:gd name="T40" fmla="*/ 59 w 77"/>
                <a:gd name="T41" fmla="*/ 70 h 139"/>
                <a:gd name="T42" fmla="*/ 45 w 77"/>
                <a:gd name="T43" fmla="*/ 63 h 139"/>
                <a:gd name="T44" fmla="*/ 45 w 77"/>
                <a:gd name="T45" fmla="*/ 77 h 139"/>
                <a:gd name="T46" fmla="*/ 53 w 77"/>
                <a:gd name="T47" fmla="*/ 83 h 139"/>
                <a:gd name="T48" fmla="*/ 66 w 77"/>
                <a:gd name="T49" fmla="*/ 102 h 139"/>
                <a:gd name="T50" fmla="*/ 72 w 77"/>
                <a:gd name="T51" fmla="*/ 121 h 139"/>
                <a:gd name="T52" fmla="*/ 70 w 77"/>
                <a:gd name="T53" fmla="*/ 124 h 139"/>
                <a:gd name="T54" fmla="*/ 67 w 77"/>
                <a:gd name="T55" fmla="*/ 122 h 139"/>
                <a:gd name="T56" fmla="*/ 64 w 77"/>
                <a:gd name="T57" fmla="*/ 115 h 139"/>
                <a:gd name="T58" fmla="*/ 55 w 77"/>
                <a:gd name="T59" fmla="*/ 97 h 139"/>
                <a:gd name="T60" fmla="*/ 45 w 77"/>
                <a:gd name="T61" fmla="*/ 87 h 139"/>
                <a:gd name="T62" fmla="*/ 45 w 77"/>
                <a:gd name="T63" fmla="*/ 102 h 139"/>
                <a:gd name="T64" fmla="*/ 44 w 77"/>
                <a:gd name="T65" fmla="*/ 136 h 139"/>
                <a:gd name="T66" fmla="*/ 41 w 77"/>
                <a:gd name="T67" fmla="*/ 139 h 139"/>
                <a:gd name="T68" fmla="*/ 38 w 77"/>
                <a:gd name="T69" fmla="*/ 137 h 139"/>
                <a:gd name="T70" fmla="*/ 37 w 77"/>
                <a:gd name="T71" fmla="*/ 103 h 139"/>
                <a:gd name="T72" fmla="*/ 37 w 77"/>
                <a:gd name="T73" fmla="*/ 86 h 139"/>
                <a:gd name="T74" fmla="*/ 28 w 77"/>
                <a:gd name="T75" fmla="*/ 92 h 139"/>
                <a:gd name="T76" fmla="*/ 19 w 77"/>
                <a:gd name="T77" fmla="*/ 109 h 139"/>
                <a:gd name="T78" fmla="*/ 12 w 77"/>
                <a:gd name="T79" fmla="*/ 121 h 139"/>
                <a:gd name="T80" fmla="*/ 8 w 77"/>
                <a:gd name="T81" fmla="*/ 122 h 139"/>
                <a:gd name="T82" fmla="*/ 7 w 77"/>
                <a:gd name="T83" fmla="*/ 120 h 139"/>
                <a:gd name="T84" fmla="*/ 8 w 77"/>
                <a:gd name="T85" fmla="*/ 117 h 139"/>
                <a:gd name="T86" fmla="*/ 11 w 77"/>
                <a:gd name="T87" fmla="*/ 106 h 139"/>
                <a:gd name="T88" fmla="*/ 22 w 77"/>
                <a:gd name="T89" fmla="*/ 86 h 139"/>
                <a:gd name="T90" fmla="*/ 37 w 77"/>
                <a:gd name="T91" fmla="*/ 76 h 139"/>
                <a:gd name="T92" fmla="*/ 37 w 77"/>
                <a:gd name="T93" fmla="*/ 68 h 139"/>
                <a:gd name="T94" fmla="*/ 37 w 77"/>
                <a:gd name="T95" fmla="*/ 63 h 139"/>
                <a:gd name="T96" fmla="*/ 24 w 77"/>
                <a:gd name="T97" fmla="*/ 69 h 139"/>
                <a:gd name="T98" fmla="*/ 16 w 77"/>
                <a:gd name="T99" fmla="*/ 77 h 139"/>
                <a:gd name="T100" fmla="*/ 9 w 77"/>
                <a:gd name="T101" fmla="*/ 85 h 139"/>
                <a:gd name="T102" fmla="*/ 6 w 77"/>
                <a:gd name="T103" fmla="*/ 86 h 139"/>
                <a:gd name="T104" fmla="*/ 5 w 77"/>
                <a:gd name="T105" fmla="*/ 82 h 139"/>
                <a:gd name="T106" fmla="*/ 22 w 77"/>
                <a:gd name="T107" fmla="*/ 60 h 139"/>
                <a:gd name="T108" fmla="*/ 37 w 77"/>
                <a:gd name="T109" fmla="*/ 54 h 139"/>
                <a:gd name="T110" fmla="*/ 37 w 77"/>
                <a:gd name="T111" fmla="*/ 47 h 139"/>
                <a:gd name="T112" fmla="*/ 3 w 77"/>
                <a:gd name="T113" fmla="*/ 45 h 139"/>
                <a:gd name="T114" fmla="*/ 0 w 77"/>
                <a:gd name="T115" fmla="*/ 40 h 139"/>
                <a:gd name="T116" fmla="*/ 5 w 77"/>
                <a:gd name="T117" fmla="*/ 38 h 139"/>
                <a:gd name="T118" fmla="*/ 37 w 77"/>
                <a:gd name="T119" fmla="*/ 39 h 139"/>
                <a:gd name="T120" fmla="*/ 37 w 77"/>
                <a:gd name="T121" fmla="*/ 39 h 139"/>
                <a:gd name="T122" fmla="*/ 33 w 77"/>
                <a:gd name="T123" fmla="*/ 28 h 139"/>
                <a:gd name="T124" fmla="*/ 12 w 77"/>
                <a:gd name="T125" fmla="*/ 25 h 1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77" h="139">
                  <a:moveTo>
                    <a:pt x="12" y="25"/>
                  </a:moveTo>
                  <a:cubicBezTo>
                    <a:pt x="10" y="25"/>
                    <a:pt x="9" y="24"/>
                    <a:pt x="9" y="21"/>
                  </a:cubicBezTo>
                  <a:cubicBezTo>
                    <a:pt x="9" y="18"/>
                    <a:pt x="10" y="17"/>
                    <a:pt x="12" y="17"/>
                  </a:cubicBezTo>
                  <a:cubicBezTo>
                    <a:pt x="24" y="17"/>
                    <a:pt x="33" y="18"/>
                    <a:pt x="39" y="21"/>
                  </a:cubicBezTo>
                  <a:cubicBezTo>
                    <a:pt x="45" y="24"/>
                    <a:pt x="47" y="28"/>
                    <a:pt x="46" y="36"/>
                  </a:cubicBezTo>
                  <a:cubicBezTo>
                    <a:pt x="46" y="37"/>
                    <a:pt x="46" y="38"/>
                    <a:pt x="46" y="39"/>
                  </a:cubicBezTo>
                  <a:cubicBezTo>
                    <a:pt x="53" y="38"/>
                    <a:pt x="58" y="35"/>
                    <a:pt x="61" y="33"/>
                  </a:cubicBezTo>
                  <a:cubicBezTo>
                    <a:pt x="65" y="27"/>
                    <a:pt x="64" y="22"/>
                    <a:pt x="57" y="16"/>
                  </a:cubicBezTo>
                  <a:cubicBezTo>
                    <a:pt x="52" y="12"/>
                    <a:pt x="44" y="9"/>
                    <a:pt x="35" y="9"/>
                  </a:cubicBezTo>
                  <a:cubicBezTo>
                    <a:pt x="30" y="8"/>
                    <a:pt x="28" y="6"/>
                    <a:pt x="27" y="3"/>
                  </a:cubicBezTo>
                  <a:cubicBezTo>
                    <a:pt x="27" y="1"/>
                    <a:pt x="29" y="0"/>
                    <a:pt x="32" y="0"/>
                  </a:cubicBezTo>
                  <a:cubicBezTo>
                    <a:pt x="44" y="0"/>
                    <a:pt x="53" y="3"/>
                    <a:pt x="61" y="9"/>
                  </a:cubicBezTo>
                  <a:cubicBezTo>
                    <a:pt x="69" y="16"/>
                    <a:pt x="73" y="23"/>
                    <a:pt x="72" y="30"/>
                  </a:cubicBezTo>
                  <a:cubicBezTo>
                    <a:pt x="68" y="37"/>
                    <a:pt x="60" y="43"/>
                    <a:pt x="48" y="45"/>
                  </a:cubicBezTo>
                  <a:cubicBezTo>
                    <a:pt x="47" y="46"/>
                    <a:pt x="46" y="46"/>
                    <a:pt x="45" y="46"/>
                  </a:cubicBezTo>
                  <a:cubicBezTo>
                    <a:pt x="45" y="48"/>
                    <a:pt x="45" y="51"/>
                    <a:pt x="45" y="54"/>
                  </a:cubicBezTo>
                  <a:cubicBezTo>
                    <a:pt x="49" y="54"/>
                    <a:pt x="54" y="57"/>
                    <a:pt x="59" y="61"/>
                  </a:cubicBezTo>
                  <a:cubicBezTo>
                    <a:pt x="66" y="66"/>
                    <a:pt x="72" y="72"/>
                    <a:pt x="77" y="80"/>
                  </a:cubicBezTo>
                  <a:cubicBezTo>
                    <a:pt x="77" y="82"/>
                    <a:pt x="77" y="83"/>
                    <a:pt x="75" y="84"/>
                  </a:cubicBezTo>
                  <a:cubicBezTo>
                    <a:pt x="74" y="85"/>
                    <a:pt x="72" y="85"/>
                    <a:pt x="71" y="83"/>
                  </a:cubicBezTo>
                  <a:cubicBezTo>
                    <a:pt x="69" y="80"/>
                    <a:pt x="65" y="76"/>
                    <a:pt x="59" y="70"/>
                  </a:cubicBezTo>
                  <a:cubicBezTo>
                    <a:pt x="54" y="66"/>
                    <a:pt x="49" y="64"/>
                    <a:pt x="45" y="63"/>
                  </a:cubicBezTo>
                  <a:cubicBezTo>
                    <a:pt x="45" y="77"/>
                    <a:pt x="45" y="77"/>
                    <a:pt x="45" y="77"/>
                  </a:cubicBezTo>
                  <a:cubicBezTo>
                    <a:pt x="48" y="78"/>
                    <a:pt x="51" y="80"/>
                    <a:pt x="53" y="83"/>
                  </a:cubicBezTo>
                  <a:cubicBezTo>
                    <a:pt x="59" y="88"/>
                    <a:pt x="63" y="94"/>
                    <a:pt x="66" y="102"/>
                  </a:cubicBezTo>
                  <a:cubicBezTo>
                    <a:pt x="71" y="109"/>
                    <a:pt x="73" y="116"/>
                    <a:pt x="72" y="121"/>
                  </a:cubicBezTo>
                  <a:cubicBezTo>
                    <a:pt x="72" y="122"/>
                    <a:pt x="72" y="123"/>
                    <a:pt x="70" y="124"/>
                  </a:cubicBezTo>
                  <a:cubicBezTo>
                    <a:pt x="69" y="124"/>
                    <a:pt x="68" y="124"/>
                    <a:pt x="67" y="122"/>
                  </a:cubicBezTo>
                  <a:cubicBezTo>
                    <a:pt x="67" y="121"/>
                    <a:pt x="66" y="118"/>
                    <a:pt x="64" y="115"/>
                  </a:cubicBezTo>
                  <a:cubicBezTo>
                    <a:pt x="60" y="107"/>
                    <a:pt x="57" y="102"/>
                    <a:pt x="55" y="97"/>
                  </a:cubicBezTo>
                  <a:cubicBezTo>
                    <a:pt x="51" y="91"/>
                    <a:pt x="48" y="88"/>
                    <a:pt x="45" y="87"/>
                  </a:cubicBezTo>
                  <a:cubicBezTo>
                    <a:pt x="45" y="102"/>
                    <a:pt x="45" y="102"/>
                    <a:pt x="45" y="102"/>
                  </a:cubicBezTo>
                  <a:cubicBezTo>
                    <a:pt x="45" y="117"/>
                    <a:pt x="45" y="128"/>
                    <a:pt x="44" y="136"/>
                  </a:cubicBezTo>
                  <a:cubicBezTo>
                    <a:pt x="43" y="137"/>
                    <a:pt x="42" y="138"/>
                    <a:pt x="41" y="139"/>
                  </a:cubicBezTo>
                  <a:cubicBezTo>
                    <a:pt x="40" y="139"/>
                    <a:pt x="39" y="139"/>
                    <a:pt x="38" y="137"/>
                  </a:cubicBezTo>
                  <a:cubicBezTo>
                    <a:pt x="37" y="135"/>
                    <a:pt x="37" y="123"/>
                    <a:pt x="37" y="103"/>
                  </a:cubicBezTo>
                  <a:cubicBezTo>
                    <a:pt x="37" y="97"/>
                    <a:pt x="37" y="92"/>
                    <a:pt x="37" y="86"/>
                  </a:cubicBezTo>
                  <a:cubicBezTo>
                    <a:pt x="34" y="87"/>
                    <a:pt x="31" y="89"/>
                    <a:pt x="28" y="92"/>
                  </a:cubicBezTo>
                  <a:cubicBezTo>
                    <a:pt x="24" y="98"/>
                    <a:pt x="21" y="103"/>
                    <a:pt x="19" y="109"/>
                  </a:cubicBezTo>
                  <a:cubicBezTo>
                    <a:pt x="17" y="113"/>
                    <a:pt x="15" y="117"/>
                    <a:pt x="12" y="121"/>
                  </a:cubicBezTo>
                  <a:cubicBezTo>
                    <a:pt x="11" y="122"/>
                    <a:pt x="9" y="122"/>
                    <a:pt x="8" y="122"/>
                  </a:cubicBezTo>
                  <a:cubicBezTo>
                    <a:pt x="7" y="122"/>
                    <a:pt x="7" y="121"/>
                    <a:pt x="7" y="120"/>
                  </a:cubicBezTo>
                  <a:cubicBezTo>
                    <a:pt x="7" y="119"/>
                    <a:pt x="7" y="118"/>
                    <a:pt x="8" y="117"/>
                  </a:cubicBezTo>
                  <a:cubicBezTo>
                    <a:pt x="9" y="112"/>
                    <a:pt x="10" y="108"/>
                    <a:pt x="11" y="106"/>
                  </a:cubicBezTo>
                  <a:cubicBezTo>
                    <a:pt x="13" y="101"/>
                    <a:pt x="17" y="94"/>
                    <a:pt x="22" y="86"/>
                  </a:cubicBezTo>
                  <a:cubicBezTo>
                    <a:pt x="27" y="80"/>
                    <a:pt x="32" y="77"/>
                    <a:pt x="37" y="76"/>
                  </a:cubicBezTo>
                  <a:cubicBezTo>
                    <a:pt x="37" y="68"/>
                    <a:pt x="37" y="68"/>
                    <a:pt x="37" y="68"/>
                  </a:cubicBezTo>
                  <a:cubicBezTo>
                    <a:pt x="37" y="63"/>
                    <a:pt x="37" y="63"/>
                    <a:pt x="37" y="63"/>
                  </a:cubicBezTo>
                  <a:cubicBezTo>
                    <a:pt x="33" y="64"/>
                    <a:pt x="29" y="66"/>
                    <a:pt x="24" y="69"/>
                  </a:cubicBezTo>
                  <a:cubicBezTo>
                    <a:pt x="23" y="70"/>
                    <a:pt x="20" y="72"/>
                    <a:pt x="16" y="77"/>
                  </a:cubicBezTo>
                  <a:cubicBezTo>
                    <a:pt x="13" y="81"/>
                    <a:pt x="11" y="83"/>
                    <a:pt x="9" y="85"/>
                  </a:cubicBezTo>
                  <a:cubicBezTo>
                    <a:pt x="8" y="86"/>
                    <a:pt x="7" y="87"/>
                    <a:pt x="6" y="86"/>
                  </a:cubicBezTo>
                  <a:cubicBezTo>
                    <a:pt x="5" y="86"/>
                    <a:pt x="5" y="84"/>
                    <a:pt x="5" y="82"/>
                  </a:cubicBezTo>
                  <a:cubicBezTo>
                    <a:pt x="10" y="73"/>
                    <a:pt x="15" y="65"/>
                    <a:pt x="22" y="60"/>
                  </a:cubicBezTo>
                  <a:cubicBezTo>
                    <a:pt x="27" y="56"/>
                    <a:pt x="32" y="54"/>
                    <a:pt x="37" y="54"/>
                  </a:cubicBezTo>
                  <a:cubicBezTo>
                    <a:pt x="37" y="47"/>
                    <a:pt x="37" y="47"/>
                    <a:pt x="37" y="47"/>
                  </a:cubicBezTo>
                  <a:cubicBezTo>
                    <a:pt x="22" y="49"/>
                    <a:pt x="10" y="48"/>
                    <a:pt x="3" y="45"/>
                  </a:cubicBezTo>
                  <a:cubicBezTo>
                    <a:pt x="1" y="44"/>
                    <a:pt x="0" y="42"/>
                    <a:pt x="0" y="40"/>
                  </a:cubicBezTo>
                  <a:cubicBezTo>
                    <a:pt x="1" y="38"/>
                    <a:pt x="3" y="38"/>
                    <a:pt x="5" y="38"/>
                  </a:cubicBezTo>
                  <a:cubicBezTo>
                    <a:pt x="12" y="40"/>
                    <a:pt x="22" y="40"/>
                    <a:pt x="37" y="39"/>
                  </a:cubicBezTo>
                  <a:cubicBezTo>
                    <a:pt x="37" y="39"/>
                    <a:pt x="37" y="39"/>
                    <a:pt x="37" y="39"/>
                  </a:cubicBezTo>
                  <a:cubicBezTo>
                    <a:pt x="38" y="32"/>
                    <a:pt x="36" y="29"/>
                    <a:pt x="33" y="28"/>
                  </a:cubicBezTo>
                  <a:cubicBezTo>
                    <a:pt x="26" y="25"/>
                    <a:pt x="19" y="24"/>
                    <a:pt x="12" y="2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23" name="íṣlíḑe"/>
            <p:cNvSpPr/>
            <p:nvPr/>
          </p:nvSpPr>
          <p:spPr bwMode="auto">
            <a:xfrm>
              <a:off x="2273197" y="5255215"/>
              <a:ext cx="163513" cy="263525"/>
            </a:xfrm>
            <a:custGeom>
              <a:avLst/>
              <a:gdLst>
                <a:gd name="T0" fmla="*/ 47 w 88"/>
                <a:gd name="T1" fmla="*/ 8 h 143"/>
                <a:gd name="T2" fmla="*/ 74 w 88"/>
                <a:gd name="T3" fmla="*/ 14 h 143"/>
                <a:gd name="T4" fmla="*/ 82 w 88"/>
                <a:gd name="T5" fmla="*/ 26 h 143"/>
                <a:gd name="T6" fmla="*/ 79 w 88"/>
                <a:gd name="T7" fmla="*/ 75 h 143"/>
                <a:gd name="T8" fmla="*/ 86 w 88"/>
                <a:gd name="T9" fmla="*/ 136 h 143"/>
                <a:gd name="T10" fmla="*/ 73 w 88"/>
                <a:gd name="T11" fmla="*/ 45 h 143"/>
                <a:gd name="T12" fmla="*/ 67 w 88"/>
                <a:gd name="T13" fmla="*/ 44 h 143"/>
                <a:gd name="T14" fmla="*/ 54 w 88"/>
                <a:gd name="T15" fmla="*/ 58 h 143"/>
                <a:gd name="T16" fmla="*/ 22 w 88"/>
                <a:gd name="T17" fmla="*/ 54 h 143"/>
                <a:gd name="T18" fmla="*/ 15 w 88"/>
                <a:gd name="T19" fmla="*/ 45 h 143"/>
                <a:gd name="T20" fmla="*/ 11 w 88"/>
                <a:gd name="T21" fmla="*/ 91 h 143"/>
                <a:gd name="T22" fmla="*/ 9 w 88"/>
                <a:gd name="T23" fmla="*/ 118 h 143"/>
                <a:gd name="T24" fmla="*/ 2 w 88"/>
                <a:gd name="T25" fmla="*/ 139 h 143"/>
                <a:gd name="T26" fmla="*/ 6 w 88"/>
                <a:gd name="T27" fmla="*/ 80 h 143"/>
                <a:gd name="T28" fmla="*/ 2 w 88"/>
                <a:gd name="T29" fmla="*/ 26 h 143"/>
                <a:gd name="T30" fmla="*/ 32 w 88"/>
                <a:gd name="T31" fmla="*/ 10 h 143"/>
                <a:gd name="T32" fmla="*/ 39 w 88"/>
                <a:gd name="T33" fmla="*/ 0 h 143"/>
                <a:gd name="T34" fmla="*/ 24 w 88"/>
                <a:gd name="T35" fmla="*/ 23 h 143"/>
                <a:gd name="T36" fmla="*/ 66 w 88"/>
                <a:gd name="T37" fmla="*/ 29 h 143"/>
                <a:gd name="T38" fmla="*/ 67 w 88"/>
                <a:gd name="T39" fmla="*/ 37 h 143"/>
                <a:gd name="T40" fmla="*/ 73 w 88"/>
                <a:gd name="T41" fmla="*/ 34 h 143"/>
                <a:gd name="T42" fmla="*/ 66 w 88"/>
                <a:gd name="T43" fmla="*/ 20 h 143"/>
                <a:gd name="T44" fmla="*/ 13 w 88"/>
                <a:gd name="T45" fmla="*/ 21 h 143"/>
                <a:gd name="T46" fmla="*/ 12 w 88"/>
                <a:gd name="T47" fmla="*/ 32 h 143"/>
                <a:gd name="T48" fmla="*/ 17 w 88"/>
                <a:gd name="T49" fmla="*/ 38 h 143"/>
                <a:gd name="T50" fmla="*/ 24 w 88"/>
                <a:gd name="T51" fmla="*/ 23 h 143"/>
                <a:gd name="T52" fmla="*/ 61 w 88"/>
                <a:gd name="T53" fmla="*/ 64 h 143"/>
                <a:gd name="T54" fmla="*/ 66 w 88"/>
                <a:gd name="T55" fmla="*/ 96 h 143"/>
                <a:gd name="T56" fmla="*/ 61 w 88"/>
                <a:gd name="T57" fmla="*/ 136 h 143"/>
                <a:gd name="T58" fmla="*/ 59 w 88"/>
                <a:gd name="T59" fmla="*/ 143 h 143"/>
                <a:gd name="T60" fmla="*/ 46 w 88"/>
                <a:gd name="T61" fmla="*/ 105 h 143"/>
                <a:gd name="T62" fmla="*/ 30 w 88"/>
                <a:gd name="T63" fmla="*/ 140 h 143"/>
                <a:gd name="T64" fmla="*/ 26 w 88"/>
                <a:gd name="T65" fmla="*/ 137 h 143"/>
                <a:gd name="T66" fmla="*/ 32 w 88"/>
                <a:gd name="T67" fmla="*/ 121 h 143"/>
                <a:gd name="T68" fmla="*/ 35 w 88"/>
                <a:gd name="T69" fmla="*/ 105 h 143"/>
                <a:gd name="T70" fmla="*/ 18 w 88"/>
                <a:gd name="T71" fmla="*/ 75 h 143"/>
                <a:gd name="T72" fmla="*/ 24 w 88"/>
                <a:gd name="T73" fmla="*/ 35 h 143"/>
                <a:gd name="T74" fmla="*/ 39 w 88"/>
                <a:gd name="T75" fmla="*/ 37 h 143"/>
                <a:gd name="T76" fmla="*/ 34 w 88"/>
                <a:gd name="T77" fmla="*/ 29 h 143"/>
                <a:gd name="T78" fmla="*/ 24 w 88"/>
                <a:gd name="T79" fmla="*/ 35 h 143"/>
                <a:gd name="T80" fmla="*/ 62 w 88"/>
                <a:gd name="T81" fmla="*/ 84 h 143"/>
                <a:gd name="T82" fmla="*/ 43 w 88"/>
                <a:gd name="T83" fmla="*/ 81 h 143"/>
                <a:gd name="T84" fmla="*/ 25 w 88"/>
                <a:gd name="T85" fmla="*/ 87 h 143"/>
                <a:gd name="T86" fmla="*/ 26 w 88"/>
                <a:gd name="T87" fmla="*/ 48 h 143"/>
                <a:gd name="T88" fmla="*/ 38 w 88"/>
                <a:gd name="T89" fmla="*/ 52 h 143"/>
                <a:gd name="T90" fmla="*/ 25 w 88"/>
                <a:gd name="T91" fmla="*/ 44 h 143"/>
                <a:gd name="T92" fmla="*/ 32 w 88"/>
                <a:gd name="T93" fmla="*/ 69 h 143"/>
                <a:gd name="T94" fmla="*/ 41 w 88"/>
                <a:gd name="T95" fmla="*/ 75 h 143"/>
                <a:gd name="T96" fmla="*/ 57 w 88"/>
                <a:gd name="T97" fmla="*/ 70 h 143"/>
                <a:gd name="T98" fmla="*/ 56 w 88"/>
                <a:gd name="T99" fmla="*/ 98 h 143"/>
                <a:gd name="T100" fmla="*/ 54 w 88"/>
                <a:gd name="T101" fmla="*/ 93 h 143"/>
                <a:gd name="T102" fmla="*/ 36 w 88"/>
                <a:gd name="T103" fmla="*/ 93 h 143"/>
                <a:gd name="T104" fmla="*/ 32 w 88"/>
                <a:gd name="T105" fmla="*/ 98 h 143"/>
                <a:gd name="T106" fmla="*/ 56 w 88"/>
                <a:gd name="T107" fmla="*/ 29 h 143"/>
                <a:gd name="T108" fmla="*/ 46 w 88"/>
                <a:gd name="T109" fmla="*/ 29 h 143"/>
                <a:gd name="T110" fmla="*/ 60 w 88"/>
                <a:gd name="T111" fmla="*/ 37 h 143"/>
                <a:gd name="T112" fmla="*/ 56 w 88"/>
                <a:gd name="T113" fmla="*/ 29 h 143"/>
                <a:gd name="T114" fmla="*/ 60 w 88"/>
                <a:gd name="T115" fmla="*/ 43 h 143"/>
                <a:gd name="T116" fmla="*/ 46 w 88"/>
                <a:gd name="T117" fmla="*/ 52 h 143"/>
                <a:gd name="T118" fmla="*/ 59 w 88"/>
                <a:gd name="T119" fmla="*/ 48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88" h="143">
                  <a:moveTo>
                    <a:pt x="43" y="2"/>
                  </a:moveTo>
                  <a:cubicBezTo>
                    <a:pt x="45" y="3"/>
                    <a:pt x="47" y="6"/>
                    <a:pt x="47" y="8"/>
                  </a:cubicBezTo>
                  <a:cubicBezTo>
                    <a:pt x="47" y="9"/>
                    <a:pt x="48" y="10"/>
                    <a:pt x="49" y="10"/>
                  </a:cubicBezTo>
                  <a:cubicBezTo>
                    <a:pt x="57" y="10"/>
                    <a:pt x="66" y="12"/>
                    <a:pt x="74" y="14"/>
                  </a:cubicBezTo>
                  <a:cubicBezTo>
                    <a:pt x="78" y="16"/>
                    <a:pt x="81" y="18"/>
                    <a:pt x="81" y="19"/>
                  </a:cubicBezTo>
                  <a:cubicBezTo>
                    <a:pt x="82" y="21"/>
                    <a:pt x="82" y="24"/>
                    <a:pt x="82" y="26"/>
                  </a:cubicBezTo>
                  <a:cubicBezTo>
                    <a:pt x="82" y="27"/>
                    <a:pt x="82" y="27"/>
                    <a:pt x="82" y="28"/>
                  </a:cubicBezTo>
                  <a:cubicBezTo>
                    <a:pt x="79" y="39"/>
                    <a:pt x="78" y="55"/>
                    <a:pt x="79" y="75"/>
                  </a:cubicBezTo>
                  <a:cubicBezTo>
                    <a:pt x="80" y="87"/>
                    <a:pt x="83" y="106"/>
                    <a:pt x="87" y="131"/>
                  </a:cubicBezTo>
                  <a:cubicBezTo>
                    <a:pt x="88" y="134"/>
                    <a:pt x="87" y="135"/>
                    <a:pt x="86" y="136"/>
                  </a:cubicBezTo>
                  <a:cubicBezTo>
                    <a:pt x="84" y="137"/>
                    <a:pt x="82" y="136"/>
                    <a:pt x="82" y="133"/>
                  </a:cubicBezTo>
                  <a:cubicBezTo>
                    <a:pt x="74" y="106"/>
                    <a:pt x="71" y="76"/>
                    <a:pt x="73" y="45"/>
                  </a:cubicBezTo>
                  <a:cubicBezTo>
                    <a:pt x="72" y="45"/>
                    <a:pt x="71" y="44"/>
                    <a:pt x="70" y="44"/>
                  </a:cubicBezTo>
                  <a:cubicBezTo>
                    <a:pt x="69" y="44"/>
                    <a:pt x="68" y="44"/>
                    <a:pt x="67" y="44"/>
                  </a:cubicBezTo>
                  <a:cubicBezTo>
                    <a:pt x="67" y="48"/>
                    <a:pt x="66" y="51"/>
                    <a:pt x="64" y="54"/>
                  </a:cubicBezTo>
                  <a:cubicBezTo>
                    <a:pt x="62" y="57"/>
                    <a:pt x="59" y="59"/>
                    <a:pt x="54" y="58"/>
                  </a:cubicBezTo>
                  <a:cubicBezTo>
                    <a:pt x="47" y="58"/>
                    <a:pt x="39" y="58"/>
                    <a:pt x="32" y="58"/>
                  </a:cubicBezTo>
                  <a:cubicBezTo>
                    <a:pt x="28" y="59"/>
                    <a:pt x="25" y="58"/>
                    <a:pt x="22" y="54"/>
                  </a:cubicBezTo>
                  <a:cubicBezTo>
                    <a:pt x="20" y="51"/>
                    <a:pt x="19" y="48"/>
                    <a:pt x="18" y="45"/>
                  </a:cubicBezTo>
                  <a:cubicBezTo>
                    <a:pt x="17" y="45"/>
                    <a:pt x="16" y="45"/>
                    <a:pt x="15" y="45"/>
                  </a:cubicBezTo>
                  <a:cubicBezTo>
                    <a:pt x="14" y="45"/>
                    <a:pt x="13" y="45"/>
                    <a:pt x="13" y="45"/>
                  </a:cubicBezTo>
                  <a:cubicBezTo>
                    <a:pt x="13" y="60"/>
                    <a:pt x="13" y="75"/>
                    <a:pt x="11" y="91"/>
                  </a:cubicBezTo>
                  <a:cubicBezTo>
                    <a:pt x="11" y="95"/>
                    <a:pt x="11" y="102"/>
                    <a:pt x="10" y="111"/>
                  </a:cubicBezTo>
                  <a:cubicBezTo>
                    <a:pt x="10" y="108"/>
                    <a:pt x="10" y="111"/>
                    <a:pt x="9" y="118"/>
                  </a:cubicBezTo>
                  <a:cubicBezTo>
                    <a:pt x="9" y="124"/>
                    <a:pt x="8" y="130"/>
                    <a:pt x="6" y="134"/>
                  </a:cubicBezTo>
                  <a:cubicBezTo>
                    <a:pt x="5" y="138"/>
                    <a:pt x="3" y="139"/>
                    <a:pt x="2" y="139"/>
                  </a:cubicBezTo>
                  <a:cubicBezTo>
                    <a:pt x="0" y="139"/>
                    <a:pt x="0" y="137"/>
                    <a:pt x="0" y="133"/>
                  </a:cubicBezTo>
                  <a:cubicBezTo>
                    <a:pt x="3" y="112"/>
                    <a:pt x="5" y="94"/>
                    <a:pt x="6" y="80"/>
                  </a:cubicBezTo>
                  <a:cubicBezTo>
                    <a:pt x="8" y="64"/>
                    <a:pt x="7" y="51"/>
                    <a:pt x="6" y="38"/>
                  </a:cubicBezTo>
                  <a:cubicBezTo>
                    <a:pt x="5" y="34"/>
                    <a:pt x="4" y="30"/>
                    <a:pt x="2" y="26"/>
                  </a:cubicBezTo>
                  <a:cubicBezTo>
                    <a:pt x="0" y="21"/>
                    <a:pt x="1" y="17"/>
                    <a:pt x="6" y="16"/>
                  </a:cubicBezTo>
                  <a:cubicBezTo>
                    <a:pt x="14" y="12"/>
                    <a:pt x="23" y="11"/>
                    <a:pt x="32" y="10"/>
                  </a:cubicBezTo>
                  <a:cubicBezTo>
                    <a:pt x="36" y="9"/>
                    <a:pt x="38" y="7"/>
                    <a:pt x="38" y="4"/>
                  </a:cubicBezTo>
                  <a:cubicBezTo>
                    <a:pt x="38" y="2"/>
                    <a:pt x="38" y="1"/>
                    <a:pt x="39" y="0"/>
                  </a:cubicBezTo>
                  <a:cubicBezTo>
                    <a:pt x="41" y="0"/>
                    <a:pt x="42" y="0"/>
                    <a:pt x="43" y="2"/>
                  </a:cubicBezTo>
                  <a:close/>
                  <a:moveTo>
                    <a:pt x="24" y="23"/>
                  </a:moveTo>
                  <a:cubicBezTo>
                    <a:pt x="33" y="22"/>
                    <a:pt x="44" y="22"/>
                    <a:pt x="58" y="23"/>
                  </a:cubicBezTo>
                  <a:cubicBezTo>
                    <a:pt x="63" y="24"/>
                    <a:pt x="66" y="26"/>
                    <a:pt x="66" y="29"/>
                  </a:cubicBezTo>
                  <a:cubicBezTo>
                    <a:pt x="66" y="30"/>
                    <a:pt x="66" y="30"/>
                    <a:pt x="67" y="31"/>
                  </a:cubicBezTo>
                  <a:cubicBezTo>
                    <a:pt x="67" y="33"/>
                    <a:pt x="67" y="35"/>
                    <a:pt x="67" y="37"/>
                  </a:cubicBezTo>
                  <a:cubicBezTo>
                    <a:pt x="69" y="38"/>
                    <a:pt x="71" y="38"/>
                    <a:pt x="73" y="38"/>
                  </a:cubicBezTo>
                  <a:cubicBezTo>
                    <a:pt x="73" y="37"/>
                    <a:pt x="73" y="36"/>
                    <a:pt x="73" y="34"/>
                  </a:cubicBezTo>
                  <a:cubicBezTo>
                    <a:pt x="73" y="32"/>
                    <a:pt x="73" y="30"/>
                    <a:pt x="74" y="29"/>
                  </a:cubicBezTo>
                  <a:cubicBezTo>
                    <a:pt x="75" y="25"/>
                    <a:pt x="72" y="21"/>
                    <a:pt x="66" y="20"/>
                  </a:cubicBezTo>
                  <a:cubicBezTo>
                    <a:pt x="58" y="17"/>
                    <a:pt x="50" y="16"/>
                    <a:pt x="40" y="16"/>
                  </a:cubicBezTo>
                  <a:cubicBezTo>
                    <a:pt x="29" y="16"/>
                    <a:pt x="20" y="18"/>
                    <a:pt x="13" y="21"/>
                  </a:cubicBezTo>
                  <a:cubicBezTo>
                    <a:pt x="11" y="22"/>
                    <a:pt x="11" y="24"/>
                    <a:pt x="11" y="26"/>
                  </a:cubicBezTo>
                  <a:cubicBezTo>
                    <a:pt x="11" y="28"/>
                    <a:pt x="12" y="30"/>
                    <a:pt x="12" y="32"/>
                  </a:cubicBezTo>
                  <a:cubicBezTo>
                    <a:pt x="12" y="35"/>
                    <a:pt x="12" y="37"/>
                    <a:pt x="12" y="38"/>
                  </a:cubicBezTo>
                  <a:cubicBezTo>
                    <a:pt x="14" y="38"/>
                    <a:pt x="15" y="38"/>
                    <a:pt x="17" y="38"/>
                  </a:cubicBezTo>
                  <a:cubicBezTo>
                    <a:pt x="17" y="35"/>
                    <a:pt x="17" y="32"/>
                    <a:pt x="17" y="30"/>
                  </a:cubicBezTo>
                  <a:cubicBezTo>
                    <a:pt x="18" y="26"/>
                    <a:pt x="20" y="24"/>
                    <a:pt x="24" y="23"/>
                  </a:cubicBezTo>
                  <a:close/>
                  <a:moveTo>
                    <a:pt x="28" y="64"/>
                  </a:moveTo>
                  <a:cubicBezTo>
                    <a:pt x="39" y="62"/>
                    <a:pt x="50" y="62"/>
                    <a:pt x="61" y="64"/>
                  </a:cubicBezTo>
                  <a:cubicBezTo>
                    <a:pt x="65" y="65"/>
                    <a:pt x="67" y="67"/>
                    <a:pt x="67" y="71"/>
                  </a:cubicBezTo>
                  <a:cubicBezTo>
                    <a:pt x="69" y="79"/>
                    <a:pt x="68" y="88"/>
                    <a:pt x="66" y="96"/>
                  </a:cubicBezTo>
                  <a:cubicBezTo>
                    <a:pt x="65" y="102"/>
                    <a:pt x="61" y="105"/>
                    <a:pt x="54" y="105"/>
                  </a:cubicBezTo>
                  <a:cubicBezTo>
                    <a:pt x="55" y="115"/>
                    <a:pt x="57" y="125"/>
                    <a:pt x="61" y="136"/>
                  </a:cubicBezTo>
                  <a:cubicBezTo>
                    <a:pt x="63" y="138"/>
                    <a:pt x="63" y="140"/>
                    <a:pt x="61" y="142"/>
                  </a:cubicBezTo>
                  <a:cubicBezTo>
                    <a:pt x="60" y="142"/>
                    <a:pt x="59" y="143"/>
                    <a:pt x="59" y="143"/>
                  </a:cubicBezTo>
                  <a:cubicBezTo>
                    <a:pt x="58" y="143"/>
                    <a:pt x="57" y="142"/>
                    <a:pt x="57" y="141"/>
                  </a:cubicBezTo>
                  <a:cubicBezTo>
                    <a:pt x="52" y="131"/>
                    <a:pt x="48" y="120"/>
                    <a:pt x="46" y="105"/>
                  </a:cubicBezTo>
                  <a:cubicBezTo>
                    <a:pt x="41" y="105"/>
                    <a:pt x="41" y="105"/>
                    <a:pt x="41" y="105"/>
                  </a:cubicBezTo>
                  <a:cubicBezTo>
                    <a:pt x="40" y="120"/>
                    <a:pt x="37" y="131"/>
                    <a:pt x="30" y="140"/>
                  </a:cubicBezTo>
                  <a:cubicBezTo>
                    <a:pt x="29" y="141"/>
                    <a:pt x="27" y="142"/>
                    <a:pt x="26" y="142"/>
                  </a:cubicBezTo>
                  <a:cubicBezTo>
                    <a:pt x="25" y="141"/>
                    <a:pt x="25" y="139"/>
                    <a:pt x="26" y="137"/>
                  </a:cubicBezTo>
                  <a:cubicBezTo>
                    <a:pt x="26" y="137"/>
                    <a:pt x="26" y="135"/>
                    <a:pt x="28" y="132"/>
                  </a:cubicBezTo>
                  <a:cubicBezTo>
                    <a:pt x="30" y="127"/>
                    <a:pt x="32" y="123"/>
                    <a:pt x="32" y="121"/>
                  </a:cubicBezTo>
                  <a:cubicBezTo>
                    <a:pt x="33" y="118"/>
                    <a:pt x="34" y="113"/>
                    <a:pt x="35" y="107"/>
                  </a:cubicBezTo>
                  <a:cubicBezTo>
                    <a:pt x="35" y="106"/>
                    <a:pt x="35" y="106"/>
                    <a:pt x="35" y="105"/>
                  </a:cubicBezTo>
                  <a:cubicBezTo>
                    <a:pt x="29" y="105"/>
                    <a:pt x="25" y="103"/>
                    <a:pt x="22" y="98"/>
                  </a:cubicBezTo>
                  <a:cubicBezTo>
                    <a:pt x="19" y="93"/>
                    <a:pt x="17" y="85"/>
                    <a:pt x="18" y="75"/>
                  </a:cubicBezTo>
                  <a:cubicBezTo>
                    <a:pt x="19" y="68"/>
                    <a:pt x="22" y="65"/>
                    <a:pt x="28" y="64"/>
                  </a:cubicBezTo>
                  <a:close/>
                  <a:moveTo>
                    <a:pt x="24" y="35"/>
                  </a:moveTo>
                  <a:cubicBezTo>
                    <a:pt x="24" y="36"/>
                    <a:pt x="24" y="36"/>
                    <a:pt x="24" y="37"/>
                  </a:cubicBezTo>
                  <a:cubicBezTo>
                    <a:pt x="29" y="37"/>
                    <a:pt x="34" y="37"/>
                    <a:pt x="39" y="37"/>
                  </a:cubicBezTo>
                  <a:cubicBezTo>
                    <a:pt x="39" y="34"/>
                    <a:pt x="38" y="31"/>
                    <a:pt x="38" y="29"/>
                  </a:cubicBezTo>
                  <a:cubicBezTo>
                    <a:pt x="37" y="29"/>
                    <a:pt x="36" y="29"/>
                    <a:pt x="34" y="29"/>
                  </a:cubicBezTo>
                  <a:cubicBezTo>
                    <a:pt x="31" y="29"/>
                    <a:pt x="30" y="29"/>
                    <a:pt x="28" y="29"/>
                  </a:cubicBezTo>
                  <a:cubicBezTo>
                    <a:pt x="25" y="31"/>
                    <a:pt x="24" y="32"/>
                    <a:pt x="24" y="35"/>
                  </a:cubicBezTo>
                  <a:close/>
                  <a:moveTo>
                    <a:pt x="61" y="87"/>
                  </a:moveTo>
                  <a:cubicBezTo>
                    <a:pt x="61" y="86"/>
                    <a:pt x="62" y="85"/>
                    <a:pt x="62" y="84"/>
                  </a:cubicBezTo>
                  <a:cubicBezTo>
                    <a:pt x="62" y="83"/>
                    <a:pt x="62" y="82"/>
                    <a:pt x="62" y="82"/>
                  </a:cubicBezTo>
                  <a:cubicBezTo>
                    <a:pt x="56" y="81"/>
                    <a:pt x="50" y="80"/>
                    <a:pt x="43" y="81"/>
                  </a:cubicBezTo>
                  <a:cubicBezTo>
                    <a:pt x="37" y="81"/>
                    <a:pt x="31" y="82"/>
                    <a:pt x="24" y="83"/>
                  </a:cubicBezTo>
                  <a:cubicBezTo>
                    <a:pt x="25" y="87"/>
                    <a:pt x="25" y="87"/>
                    <a:pt x="25" y="87"/>
                  </a:cubicBezTo>
                  <a:cubicBezTo>
                    <a:pt x="35" y="86"/>
                    <a:pt x="48" y="86"/>
                    <a:pt x="61" y="87"/>
                  </a:cubicBezTo>
                  <a:close/>
                  <a:moveTo>
                    <a:pt x="26" y="48"/>
                  </a:moveTo>
                  <a:cubicBezTo>
                    <a:pt x="28" y="51"/>
                    <a:pt x="30" y="52"/>
                    <a:pt x="35" y="52"/>
                  </a:cubicBezTo>
                  <a:cubicBezTo>
                    <a:pt x="38" y="52"/>
                    <a:pt x="38" y="52"/>
                    <a:pt x="38" y="52"/>
                  </a:cubicBezTo>
                  <a:cubicBezTo>
                    <a:pt x="38" y="49"/>
                    <a:pt x="39" y="46"/>
                    <a:pt x="39" y="44"/>
                  </a:cubicBezTo>
                  <a:cubicBezTo>
                    <a:pt x="34" y="44"/>
                    <a:pt x="30" y="44"/>
                    <a:pt x="25" y="44"/>
                  </a:cubicBezTo>
                  <a:cubicBezTo>
                    <a:pt x="25" y="46"/>
                    <a:pt x="25" y="47"/>
                    <a:pt x="26" y="48"/>
                  </a:cubicBezTo>
                  <a:close/>
                  <a:moveTo>
                    <a:pt x="32" y="69"/>
                  </a:moveTo>
                  <a:cubicBezTo>
                    <a:pt x="28" y="70"/>
                    <a:pt x="25" y="72"/>
                    <a:pt x="25" y="76"/>
                  </a:cubicBezTo>
                  <a:cubicBezTo>
                    <a:pt x="30" y="75"/>
                    <a:pt x="35" y="75"/>
                    <a:pt x="41" y="75"/>
                  </a:cubicBezTo>
                  <a:cubicBezTo>
                    <a:pt x="46" y="74"/>
                    <a:pt x="53" y="74"/>
                    <a:pt x="61" y="75"/>
                  </a:cubicBezTo>
                  <a:cubicBezTo>
                    <a:pt x="61" y="72"/>
                    <a:pt x="59" y="71"/>
                    <a:pt x="57" y="70"/>
                  </a:cubicBezTo>
                  <a:cubicBezTo>
                    <a:pt x="49" y="68"/>
                    <a:pt x="40" y="68"/>
                    <a:pt x="32" y="69"/>
                  </a:cubicBezTo>
                  <a:close/>
                  <a:moveTo>
                    <a:pt x="56" y="98"/>
                  </a:moveTo>
                  <a:cubicBezTo>
                    <a:pt x="59" y="97"/>
                    <a:pt x="60" y="96"/>
                    <a:pt x="61" y="93"/>
                  </a:cubicBezTo>
                  <a:cubicBezTo>
                    <a:pt x="60" y="93"/>
                    <a:pt x="57" y="93"/>
                    <a:pt x="54" y="93"/>
                  </a:cubicBezTo>
                  <a:cubicBezTo>
                    <a:pt x="48" y="92"/>
                    <a:pt x="44" y="92"/>
                    <a:pt x="41" y="92"/>
                  </a:cubicBezTo>
                  <a:cubicBezTo>
                    <a:pt x="40" y="92"/>
                    <a:pt x="38" y="92"/>
                    <a:pt x="36" y="93"/>
                  </a:cubicBezTo>
                  <a:cubicBezTo>
                    <a:pt x="31" y="93"/>
                    <a:pt x="28" y="94"/>
                    <a:pt x="26" y="94"/>
                  </a:cubicBezTo>
                  <a:cubicBezTo>
                    <a:pt x="27" y="96"/>
                    <a:pt x="29" y="98"/>
                    <a:pt x="32" y="98"/>
                  </a:cubicBezTo>
                  <a:cubicBezTo>
                    <a:pt x="39" y="99"/>
                    <a:pt x="47" y="99"/>
                    <a:pt x="56" y="98"/>
                  </a:cubicBezTo>
                  <a:close/>
                  <a:moveTo>
                    <a:pt x="56" y="29"/>
                  </a:moveTo>
                  <a:cubicBezTo>
                    <a:pt x="55" y="29"/>
                    <a:pt x="53" y="29"/>
                    <a:pt x="51" y="29"/>
                  </a:cubicBezTo>
                  <a:cubicBezTo>
                    <a:pt x="49" y="29"/>
                    <a:pt x="47" y="29"/>
                    <a:pt x="46" y="29"/>
                  </a:cubicBezTo>
                  <a:cubicBezTo>
                    <a:pt x="46" y="31"/>
                    <a:pt x="46" y="34"/>
                    <a:pt x="46" y="37"/>
                  </a:cubicBezTo>
                  <a:cubicBezTo>
                    <a:pt x="50" y="37"/>
                    <a:pt x="55" y="37"/>
                    <a:pt x="60" y="37"/>
                  </a:cubicBezTo>
                  <a:cubicBezTo>
                    <a:pt x="60" y="35"/>
                    <a:pt x="60" y="35"/>
                    <a:pt x="60" y="35"/>
                  </a:cubicBezTo>
                  <a:cubicBezTo>
                    <a:pt x="60" y="32"/>
                    <a:pt x="58" y="30"/>
                    <a:pt x="56" y="29"/>
                  </a:cubicBezTo>
                  <a:close/>
                  <a:moveTo>
                    <a:pt x="59" y="48"/>
                  </a:moveTo>
                  <a:cubicBezTo>
                    <a:pt x="59" y="47"/>
                    <a:pt x="59" y="45"/>
                    <a:pt x="60" y="43"/>
                  </a:cubicBezTo>
                  <a:cubicBezTo>
                    <a:pt x="55" y="43"/>
                    <a:pt x="51" y="43"/>
                    <a:pt x="46" y="43"/>
                  </a:cubicBezTo>
                  <a:cubicBezTo>
                    <a:pt x="46" y="52"/>
                    <a:pt x="46" y="52"/>
                    <a:pt x="46" y="52"/>
                  </a:cubicBezTo>
                  <a:cubicBezTo>
                    <a:pt x="48" y="52"/>
                    <a:pt x="51" y="52"/>
                    <a:pt x="54" y="52"/>
                  </a:cubicBezTo>
                  <a:cubicBezTo>
                    <a:pt x="57" y="51"/>
                    <a:pt x="59" y="49"/>
                    <a:pt x="59" y="4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24" name="îSḻide"/>
            <p:cNvSpPr/>
            <p:nvPr/>
          </p:nvSpPr>
          <p:spPr bwMode="auto">
            <a:xfrm>
              <a:off x="2449409" y="5256803"/>
              <a:ext cx="139700" cy="265113"/>
            </a:xfrm>
            <a:custGeom>
              <a:avLst/>
              <a:gdLst>
                <a:gd name="T0" fmla="*/ 56 w 76"/>
                <a:gd name="T1" fmla="*/ 3 h 144"/>
                <a:gd name="T2" fmla="*/ 61 w 76"/>
                <a:gd name="T3" fmla="*/ 45 h 144"/>
                <a:gd name="T4" fmla="*/ 50 w 76"/>
                <a:gd name="T5" fmla="*/ 74 h 144"/>
                <a:gd name="T6" fmla="*/ 68 w 76"/>
                <a:gd name="T7" fmla="*/ 65 h 144"/>
                <a:gd name="T8" fmla="*/ 70 w 76"/>
                <a:gd name="T9" fmla="*/ 31 h 144"/>
                <a:gd name="T10" fmla="*/ 74 w 76"/>
                <a:gd name="T11" fmla="*/ 31 h 144"/>
                <a:gd name="T12" fmla="*/ 74 w 76"/>
                <a:gd name="T13" fmla="*/ 64 h 144"/>
                <a:gd name="T14" fmla="*/ 50 w 76"/>
                <a:gd name="T15" fmla="*/ 81 h 144"/>
                <a:gd name="T16" fmla="*/ 69 w 76"/>
                <a:gd name="T17" fmla="*/ 103 h 144"/>
                <a:gd name="T18" fmla="*/ 74 w 76"/>
                <a:gd name="T19" fmla="*/ 140 h 144"/>
                <a:gd name="T20" fmla="*/ 63 w 76"/>
                <a:gd name="T21" fmla="*/ 105 h 144"/>
                <a:gd name="T22" fmla="*/ 52 w 76"/>
                <a:gd name="T23" fmla="*/ 138 h 144"/>
                <a:gd name="T24" fmla="*/ 46 w 76"/>
                <a:gd name="T25" fmla="*/ 139 h 144"/>
                <a:gd name="T26" fmla="*/ 42 w 76"/>
                <a:gd name="T27" fmla="*/ 57 h 144"/>
                <a:gd name="T28" fmla="*/ 35 w 76"/>
                <a:gd name="T29" fmla="*/ 132 h 144"/>
                <a:gd name="T30" fmla="*/ 27 w 76"/>
                <a:gd name="T31" fmla="*/ 136 h 144"/>
                <a:gd name="T32" fmla="*/ 29 w 76"/>
                <a:gd name="T33" fmla="*/ 95 h 144"/>
                <a:gd name="T34" fmla="*/ 5 w 76"/>
                <a:gd name="T35" fmla="*/ 135 h 144"/>
                <a:gd name="T36" fmla="*/ 0 w 76"/>
                <a:gd name="T37" fmla="*/ 135 h 144"/>
                <a:gd name="T38" fmla="*/ 30 w 76"/>
                <a:gd name="T39" fmla="*/ 86 h 144"/>
                <a:gd name="T40" fmla="*/ 26 w 76"/>
                <a:gd name="T41" fmla="*/ 80 h 144"/>
                <a:gd name="T42" fmla="*/ 5 w 76"/>
                <a:gd name="T43" fmla="*/ 66 h 144"/>
                <a:gd name="T44" fmla="*/ 3 w 76"/>
                <a:gd name="T45" fmla="*/ 29 h 144"/>
                <a:gd name="T46" fmla="*/ 9 w 76"/>
                <a:gd name="T47" fmla="*/ 59 h 144"/>
                <a:gd name="T48" fmla="*/ 31 w 76"/>
                <a:gd name="T49" fmla="*/ 74 h 144"/>
                <a:gd name="T50" fmla="*/ 32 w 76"/>
                <a:gd name="T51" fmla="*/ 57 h 144"/>
                <a:gd name="T52" fmla="*/ 16 w 76"/>
                <a:gd name="T53" fmla="*/ 14 h 144"/>
                <a:gd name="T54" fmla="*/ 22 w 76"/>
                <a:gd name="T55" fmla="*/ 19 h 144"/>
                <a:gd name="T56" fmla="*/ 57 w 76"/>
                <a:gd name="T57" fmla="*/ 19 h 144"/>
                <a:gd name="T58" fmla="*/ 50 w 76"/>
                <a:gd name="T59" fmla="*/ 9 h 144"/>
                <a:gd name="T60" fmla="*/ 22 w 76"/>
                <a:gd name="T61" fmla="*/ 19 h 144"/>
                <a:gd name="T62" fmla="*/ 23 w 76"/>
                <a:gd name="T63" fmla="*/ 31 h 144"/>
                <a:gd name="T64" fmla="*/ 57 w 76"/>
                <a:gd name="T65" fmla="*/ 34 h 144"/>
                <a:gd name="T66" fmla="*/ 22 w 76"/>
                <a:gd name="T67" fmla="*/ 27 h 144"/>
                <a:gd name="T68" fmla="*/ 48 w 76"/>
                <a:gd name="T69" fmla="*/ 50 h 144"/>
                <a:gd name="T70" fmla="*/ 57 w 76"/>
                <a:gd name="T71" fmla="*/ 41 h 144"/>
                <a:gd name="T72" fmla="*/ 25 w 76"/>
                <a:gd name="T73" fmla="*/ 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76" h="144">
                  <a:moveTo>
                    <a:pt x="27" y="2"/>
                  </a:moveTo>
                  <a:cubicBezTo>
                    <a:pt x="37" y="0"/>
                    <a:pt x="47" y="0"/>
                    <a:pt x="56" y="3"/>
                  </a:cubicBezTo>
                  <a:cubicBezTo>
                    <a:pt x="60" y="3"/>
                    <a:pt x="62" y="7"/>
                    <a:pt x="63" y="15"/>
                  </a:cubicBezTo>
                  <a:cubicBezTo>
                    <a:pt x="65" y="25"/>
                    <a:pt x="64" y="35"/>
                    <a:pt x="61" y="45"/>
                  </a:cubicBezTo>
                  <a:cubicBezTo>
                    <a:pt x="60" y="53"/>
                    <a:pt x="55" y="56"/>
                    <a:pt x="49" y="57"/>
                  </a:cubicBezTo>
                  <a:cubicBezTo>
                    <a:pt x="49" y="62"/>
                    <a:pt x="50" y="68"/>
                    <a:pt x="50" y="74"/>
                  </a:cubicBezTo>
                  <a:cubicBezTo>
                    <a:pt x="53" y="74"/>
                    <a:pt x="56" y="74"/>
                    <a:pt x="58" y="74"/>
                  </a:cubicBezTo>
                  <a:cubicBezTo>
                    <a:pt x="62" y="75"/>
                    <a:pt x="66" y="72"/>
                    <a:pt x="68" y="65"/>
                  </a:cubicBezTo>
                  <a:cubicBezTo>
                    <a:pt x="69" y="62"/>
                    <a:pt x="70" y="53"/>
                    <a:pt x="70" y="39"/>
                  </a:cubicBezTo>
                  <a:cubicBezTo>
                    <a:pt x="70" y="35"/>
                    <a:pt x="70" y="32"/>
                    <a:pt x="70" y="31"/>
                  </a:cubicBezTo>
                  <a:cubicBezTo>
                    <a:pt x="71" y="31"/>
                    <a:pt x="71" y="30"/>
                    <a:pt x="72" y="30"/>
                  </a:cubicBezTo>
                  <a:cubicBezTo>
                    <a:pt x="73" y="30"/>
                    <a:pt x="74" y="30"/>
                    <a:pt x="74" y="31"/>
                  </a:cubicBezTo>
                  <a:cubicBezTo>
                    <a:pt x="75" y="33"/>
                    <a:pt x="76" y="36"/>
                    <a:pt x="76" y="41"/>
                  </a:cubicBezTo>
                  <a:cubicBezTo>
                    <a:pt x="76" y="49"/>
                    <a:pt x="75" y="56"/>
                    <a:pt x="74" y="64"/>
                  </a:cubicBezTo>
                  <a:cubicBezTo>
                    <a:pt x="72" y="75"/>
                    <a:pt x="67" y="81"/>
                    <a:pt x="58" y="81"/>
                  </a:cubicBezTo>
                  <a:cubicBezTo>
                    <a:pt x="50" y="81"/>
                    <a:pt x="50" y="81"/>
                    <a:pt x="50" y="81"/>
                  </a:cubicBezTo>
                  <a:cubicBezTo>
                    <a:pt x="50" y="87"/>
                    <a:pt x="50" y="87"/>
                    <a:pt x="50" y="87"/>
                  </a:cubicBezTo>
                  <a:cubicBezTo>
                    <a:pt x="60" y="87"/>
                    <a:pt x="66" y="92"/>
                    <a:pt x="69" y="103"/>
                  </a:cubicBezTo>
                  <a:cubicBezTo>
                    <a:pt x="72" y="112"/>
                    <a:pt x="74" y="122"/>
                    <a:pt x="76" y="134"/>
                  </a:cubicBezTo>
                  <a:cubicBezTo>
                    <a:pt x="76" y="138"/>
                    <a:pt x="75" y="140"/>
                    <a:pt x="74" y="140"/>
                  </a:cubicBezTo>
                  <a:cubicBezTo>
                    <a:pt x="72" y="141"/>
                    <a:pt x="71" y="139"/>
                    <a:pt x="70" y="136"/>
                  </a:cubicBezTo>
                  <a:cubicBezTo>
                    <a:pt x="68" y="126"/>
                    <a:pt x="66" y="116"/>
                    <a:pt x="63" y="105"/>
                  </a:cubicBezTo>
                  <a:cubicBezTo>
                    <a:pt x="61" y="98"/>
                    <a:pt x="57" y="95"/>
                    <a:pt x="50" y="95"/>
                  </a:cubicBezTo>
                  <a:cubicBezTo>
                    <a:pt x="50" y="109"/>
                    <a:pt x="51" y="123"/>
                    <a:pt x="52" y="138"/>
                  </a:cubicBezTo>
                  <a:cubicBezTo>
                    <a:pt x="52" y="141"/>
                    <a:pt x="51" y="143"/>
                    <a:pt x="49" y="144"/>
                  </a:cubicBezTo>
                  <a:cubicBezTo>
                    <a:pt x="47" y="144"/>
                    <a:pt x="46" y="142"/>
                    <a:pt x="46" y="139"/>
                  </a:cubicBezTo>
                  <a:cubicBezTo>
                    <a:pt x="44" y="134"/>
                    <a:pt x="43" y="118"/>
                    <a:pt x="43" y="92"/>
                  </a:cubicBezTo>
                  <a:cubicBezTo>
                    <a:pt x="43" y="76"/>
                    <a:pt x="43" y="64"/>
                    <a:pt x="42" y="57"/>
                  </a:cubicBezTo>
                  <a:cubicBezTo>
                    <a:pt x="38" y="57"/>
                    <a:pt x="38" y="57"/>
                    <a:pt x="38" y="57"/>
                  </a:cubicBezTo>
                  <a:cubicBezTo>
                    <a:pt x="36" y="88"/>
                    <a:pt x="35" y="113"/>
                    <a:pt x="35" y="132"/>
                  </a:cubicBezTo>
                  <a:cubicBezTo>
                    <a:pt x="35" y="138"/>
                    <a:pt x="33" y="142"/>
                    <a:pt x="31" y="142"/>
                  </a:cubicBezTo>
                  <a:cubicBezTo>
                    <a:pt x="29" y="142"/>
                    <a:pt x="27" y="140"/>
                    <a:pt x="27" y="136"/>
                  </a:cubicBezTo>
                  <a:cubicBezTo>
                    <a:pt x="27" y="136"/>
                    <a:pt x="27" y="134"/>
                    <a:pt x="27" y="132"/>
                  </a:cubicBezTo>
                  <a:cubicBezTo>
                    <a:pt x="28" y="118"/>
                    <a:pt x="29" y="105"/>
                    <a:pt x="29" y="95"/>
                  </a:cubicBezTo>
                  <a:cubicBezTo>
                    <a:pt x="19" y="95"/>
                    <a:pt x="14" y="98"/>
                    <a:pt x="13" y="105"/>
                  </a:cubicBezTo>
                  <a:cubicBezTo>
                    <a:pt x="10" y="114"/>
                    <a:pt x="7" y="124"/>
                    <a:pt x="5" y="135"/>
                  </a:cubicBezTo>
                  <a:cubicBezTo>
                    <a:pt x="4" y="137"/>
                    <a:pt x="3" y="139"/>
                    <a:pt x="2" y="139"/>
                  </a:cubicBezTo>
                  <a:cubicBezTo>
                    <a:pt x="1" y="140"/>
                    <a:pt x="0" y="138"/>
                    <a:pt x="0" y="135"/>
                  </a:cubicBezTo>
                  <a:cubicBezTo>
                    <a:pt x="0" y="125"/>
                    <a:pt x="2" y="115"/>
                    <a:pt x="7" y="104"/>
                  </a:cubicBezTo>
                  <a:cubicBezTo>
                    <a:pt x="11" y="92"/>
                    <a:pt x="18" y="86"/>
                    <a:pt x="30" y="86"/>
                  </a:cubicBezTo>
                  <a:cubicBezTo>
                    <a:pt x="30" y="85"/>
                    <a:pt x="30" y="83"/>
                    <a:pt x="31" y="80"/>
                  </a:cubicBezTo>
                  <a:cubicBezTo>
                    <a:pt x="29" y="81"/>
                    <a:pt x="28" y="81"/>
                    <a:pt x="26" y="80"/>
                  </a:cubicBezTo>
                  <a:cubicBezTo>
                    <a:pt x="24" y="80"/>
                    <a:pt x="23" y="80"/>
                    <a:pt x="22" y="80"/>
                  </a:cubicBezTo>
                  <a:cubicBezTo>
                    <a:pt x="14" y="81"/>
                    <a:pt x="8" y="76"/>
                    <a:pt x="5" y="66"/>
                  </a:cubicBezTo>
                  <a:cubicBezTo>
                    <a:pt x="2" y="59"/>
                    <a:pt x="0" y="49"/>
                    <a:pt x="0" y="37"/>
                  </a:cubicBezTo>
                  <a:cubicBezTo>
                    <a:pt x="0" y="32"/>
                    <a:pt x="1" y="29"/>
                    <a:pt x="3" y="29"/>
                  </a:cubicBezTo>
                  <a:cubicBezTo>
                    <a:pt x="6" y="31"/>
                    <a:pt x="8" y="35"/>
                    <a:pt x="8" y="39"/>
                  </a:cubicBezTo>
                  <a:cubicBezTo>
                    <a:pt x="7" y="45"/>
                    <a:pt x="7" y="52"/>
                    <a:pt x="9" y="59"/>
                  </a:cubicBezTo>
                  <a:cubicBezTo>
                    <a:pt x="10" y="68"/>
                    <a:pt x="16" y="73"/>
                    <a:pt x="24" y="74"/>
                  </a:cubicBezTo>
                  <a:cubicBezTo>
                    <a:pt x="26" y="74"/>
                    <a:pt x="29" y="74"/>
                    <a:pt x="31" y="74"/>
                  </a:cubicBezTo>
                  <a:cubicBezTo>
                    <a:pt x="31" y="72"/>
                    <a:pt x="31" y="69"/>
                    <a:pt x="31" y="65"/>
                  </a:cubicBezTo>
                  <a:cubicBezTo>
                    <a:pt x="31" y="61"/>
                    <a:pt x="32" y="58"/>
                    <a:pt x="32" y="57"/>
                  </a:cubicBezTo>
                  <a:cubicBezTo>
                    <a:pt x="25" y="56"/>
                    <a:pt x="20" y="53"/>
                    <a:pt x="19" y="48"/>
                  </a:cubicBezTo>
                  <a:cubicBezTo>
                    <a:pt x="15" y="36"/>
                    <a:pt x="14" y="25"/>
                    <a:pt x="16" y="14"/>
                  </a:cubicBezTo>
                  <a:cubicBezTo>
                    <a:pt x="17" y="6"/>
                    <a:pt x="21" y="2"/>
                    <a:pt x="27" y="2"/>
                  </a:cubicBezTo>
                  <a:close/>
                  <a:moveTo>
                    <a:pt x="22" y="19"/>
                  </a:moveTo>
                  <a:cubicBezTo>
                    <a:pt x="22" y="20"/>
                    <a:pt x="22" y="20"/>
                    <a:pt x="22" y="20"/>
                  </a:cubicBezTo>
                  <a:cubicBezTo>
                    <a:pt x="30" y="20"/>
                    <a:pt x="42" y="19"/>
                    <a:pt x="57" y="19"/>
                  </a:cubicBezTo>
                  <a:cubicBezTo>
                    <a:pt x="57" y="18"/>
                    <a:pt x="57" y="17"/>
                    <a:pt x="57" y="16"/>
                  </a:cubicBezTo>
                  <a:cubicBezTo>
                    <a:pt x="56" y="13"/>
                    <a:pt x="54" y="10"/>
                    <a:pt x="50" y="9"/>
                  </a:cubicBezTo>
                  <a:cubicBezTo>
                    <a:pt x="44" y="8"/>
                    <a:pt x="37" y="7"/>
                    <a:pt x="31" y="9"/>
                  </a:cubicBezTo>
                  <a:cubicBezTo>
                    <a:pt x="25" y="11"/>
                    <a:pt x="22" y="14"/>
                    <a:pt x="22" y="19"/>
                  </a:cubicBezTo>
                  <a:close/>
                  <a:moveTo>
                    <a:pt x="22" y="27"/>
                  </a:moveTo>
                  <a:cubicBezTo>
                    <a:pt x="22" y="28"/>
                    <a:pt x="22" y="29"/>
                    <a:pt x="23" y="31"/>
                  </a:cubicBezTo>
                  <a:cubicBezTo>
                    <a:pt x="23" y="32"/>
                    <a:pt x="23" y="33"/>
                    <a:pt x="23" y="34"/>
                  </a:cubicBezTo>
                  <a:cubicBezTo>
                    <a:pt x="57" y="34"/>
                    <a:pt x="57" y="34"/>
                    <a:pt x="57" y="34"/>
                  </a:cubicBezTo>
                  <a:cubicBezTo>
                    <a:pt x="57" y="27"/>
                    <a:pt x="57" y="27"/>
                    <a:pt x="57" y="27"/>
                  </a:cubicBezTo>
                  <a:cubicBezTo>
                    <a:pt x="45" y="26"/>
                    <a:pt x="33" y="26"/>
                    <a:pt x="22" y="27"/>
                  </a:cubicBezTo>
                  <a:close/>
                  <a:moveTo>
                    <a:pt x="35" y="50"/>
                  </a:moveTo>
                  <a:cubicBezTo>
                    <a:pt x="48" y="50"/>
                    <a:pt x="48" y="50"/>
                    <a:pt x="48" y="50"/>
                  </a:cubicBezTo>
                  <a:cubicBezTo>
                    <a:pt x="53" y="50"/>
                    <a:pt x="55" y="47"/>
                    <a:pt x="57" y="42"/>
                  </a:cubicBezTo>
                  <a:cubicBezTo>
                    <a:pt x="57" y="41"/>
                    <a:pt x="57" y="41"/>
                    <a:pt x="57" y="41"/>
                  </a:cubicBezTo>
                  <a:cubicBezTo>
                    <a:pt x="43" y="41"/>
                    <a:pt x="32" y="41"/>
                    <a:pt x="24" y="42"/>
                  </a:cubicBezTo>
                  <a:cubicBezTo>
                    <a:pt x="24" y="43"/>
                    <a:pt x="24" y="43"/>
                    <a:pt x="25" y="44"/>
                  </a:cubicBezTo>
                  <a:cubicBezTo>
                    <a:pt x="27" y="48"/>
                    <a:pt x="30" y="50"/>
                    <a:pt x="35" y="5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25" name="iṣlîḋè"/>
            <p:cNvSpPr/>
            <p:nvPr/>
          </p:nvSpPr>
          <p:spPr bwMode="auto">
            <a:xfrm>
              <a:off x="2604984" y="5259978"/>
              <a:ext cx="177800" cy="255588"/>
            </a:xfrm>
            <a:custGeom>
              <a:avLst/>
              <a:gdLst>
                <a:gd name="T0" fmla="*/ 5 w 96"/>
                <a:gd name="T1" fmla="*/ 37 h 138"/>
                <a:gd name="T2" fmla="*/ 24 w 96"/>
                <a:gd name="T3" fmla="*/ 49 h 138"/>
                <a:gd name="T4" fmla="*/ 7 w 96"/>
                <a:gd name="T5" fmla="*/ 26 h 138"/>
                <a:gd name="T6" fmla="*/ 0 w 96"/>
                <a:gd name="T7" fmla="*/ 22 h 138"/>
                <a:gd name="T8" fmla="*/ 44 w 96"/>
                <a:gd name="T9" fmla="*/ 19 h 138"/>
                <a:gd name="T10" fmla="*/ 40 w 96"/>
                <a:gd name="T11" fmla="*/ 26 h 138"/>
                <a:gd name="T12" fmla="*/ 29 w 96"/>
                <a:gd name="T13" fmla="*/ 49 h 138"/>
                <a:gd name="T14" fmla="*/ 42 w 96"/>
                <a:gd name="T15" fmla="*/ 39 h 138"/>
                <a:gd name="T16" fmla="*/ 36 w 96"/>
                <a:gd name="T17" fmla="*/ 64 h 138"/>
                <a:gd name="T18" fmla="*/ 44 w 96"/>
                <a:gd name="T19" fmla="*/ 70 h 138"/>
                <a:gd name="T20" fmla="*/ 30 w 96"/>
                <a:gd name="T21" fmla="*/ 78 h 138"/>
                <a:gd name="T22" fmla="*/ 48 w 96"/>
                <a:gd name="T23" fmla="*/ 111 h 138"/>
                <a:gd name="T24" fmla="*/ 42 w 96"/>
                <a:gd name="T25" fmla="*/ 124 h 138"/>
                <a:gd name="T26" fmla="*/ 33 w 96"/>
                <a:gd name="T27" fmla="*/ 93 h 138"/>
                <a:gd name="T28" fmla="*/ 30 w 96"/>
                <a:gd name="T29" fmla="*/ 116 h 138"/>
                <a:gd name="T30" fmla="*/ 24 w 96"/>
                <a:gd name="T31" fmla="*/ 133 h 138"/>
                <a:gd name="T32" fmla="*/ 20 w 96"/>
                <a:gd name="T33" fmla="*/ 93 h 138"/>
                <a:gd name="T34" fmla="*/ 11 w 96"/>
                <a:gd name="T35" fmla="*/ 122 h 138"/>
                <a:gd name="T36" fmla="*/ 8 w 96"/>
                <a:gd name="T37" fmla="*/ 102 h 138"/>
                <a:gd name="T38" fmla="*/ 24 w 96"/>
                <a:gd name="T39" fmla="*/ 81 h 138"/>
                <a:gd name="T40" fmla="*/ 3 w 96"/>
                <a:gd name="T41" fmla="*/ 77 h 138"/>
                <a:gd name="T42" fmla="*/ 14 w 96"/>
                <a:gd name="T43" fmla="*/ 70 h 138"/>
                <a:gd name="T44" fmla="*/ 20 w 96"/>
                <a:gd name="T45" fmla="*/ 65 h 138"/>
                <a:gd name="T46" fmla="*/ 2 w 96"/>
                <a:gd name="T47" fmla="*/ 37 h 138"/>
                <a:gd name="T48" fmla="*/ 40 w 96"/>
                <a:gd name="T49" fmla="*/ 3 h 138"/>
                <a:gd name="T50" fmla="*/ 14 w 96"/>
                <a:gd name="T51" fmla="*/ 11 h 138"/>
                <a:gd name="T52" fmla="*/ 5 w 96"/>
                <a:gd name="T53" fmla="*/ 6 h 138"/>
                <a:gd name="T54" fmla="*/ 33 w 96"/>
                <a:gd name="T55" fmla="*/ 26 h 138"/>
                <a:gd name="T56" fmla="*/ 27 w 96"/>
                <a:gd name="T57" fmla="*/ 45 h 138"/>
                <a:gd name="T58" fmla="*/ 54 w 96"/>
                <a:gd name="T59" fmla="*/ 2 h 138"/>
                <a:gd name="T60" fmla="*/ 58 w 96"/>
                <a:gd name="T61" fmla="*/ 10 h 138"/>
                <a:gd name="T62" fmla="*/ 88 w 96"/>
                <a:gd name="T63" fmla="*/ 22 h 138"/>
                <a:gd name="T64" fmla="*/ 74 w 96"/>
                <a:gd name="T65" fmla="*/ 37 h 138"/>
                <a:gd name="T66" fmla="*/ 62 w 96"/>
                <a:gd name="T67" fmla="*/ 66 h 138"/>
                <a:gd name="T68" fmla="*/ 53 w 96"/>
                <a:gd name="T69" fmla="*/ 136 h 138"/>
                <a:gd name="T70" fmla="*/ 48 w 96"/>
                <a:gd name="T71" fmla="*/ 130 h 138"/>
                <a:gd name="T72" fmla="*/ 55 w 96"/>
                <a:gd name="T73" fmla="*/ 48 h 138"/>
                <a:gd name="T74" fmla="*/ 76 w 96"/>
                <a:gd name="T75" fmla="*/ 31 h 138"/>
                <a:gd name="T76" fmla="*/ 65 w 96"/>
                <a:gd name="T77" fmla="*/ 18 h 138"/>
                <a:gd name="T78" fmla="*/ 52 w 96"/>
                <a:gd name="T79" fmla="*/ 13 h 138"/>
                <a:gd name="T80" fmla="*/ 94 w 96"/>
                <a:gd name="T81" fmla="*/ 74 h 138"/>
                <a:gd name="T82" fmla="*/ 76 w 96"/>
                <a:gd name="T83" fmla="*/ 54 h 138"/>
                <a:gd name="T84" fmla="*/ 83 w 96"/>
                <a:gd name="T85" fmla="*/ 119 h 138"/>
                <a:gd name="T86" fmla="*/ 88 w 96"/>
                <a:gd name="T87" fmla="*/ 133 h 138"/>
                <a:gd name="T88" fmla="*/ 70 w 96"/>
                <a:gd name="T89" fmla="*/ 93 h 138"/>
                <a:gd name="T90" fmla="*/ 70 w 96"/>
                <a:gd name="T91" fmla="*/ 42 h 138"/>
                <a:gd name="T92" fmla="*/ 95 w 96"/>
                <a:gd name="T93" fmla="*/ 70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96" h="138">
                  <a:moveTo>
                    <a:pt x="2" y="37"/>
                  </a:moveTo>
                  <a:cubicBezTo>
                    <a:pt x="2" y="36"/>
                    <a:pt x="2" y="35"/>
                    <a:pt x="3" y="35"/>
                  </a:cubicBezTo>
                  <a:cubicBezTo>
                    <a:pt x="4" y="35"/>
                    <a:pt x="5" y="36"/>
                    <a:pt x="5" y="37"/>
                  </a:cubicBezTo>
                  <a:cubicBezTo>
                    <a:pt x="9" y="49"/>
                    <a:pt x="14" y="56"/>
                    <a:pt x="21" y="59"/>
                  </a:cubicBezTo>
                  <a:cubicBezTo>
                    <a:pt x="21" y="59"/>
                    <a:pt x="22" y="60"/>
                    <a:pt x="24" y="60"/>
                  </a:cubicBezTo>
                  <a:cubicBezTo>
                    <a:pt x="24" y="56"/>
                    <a:pt x="24" y="53"/>
                    <a:pt x="24" y="49"/>
                  </a:cubicBezTo>
                  <a:cubicBezTo>
                    <a:pt x="21" y="48"/>
                    <a:pt x="18" y="46"/>
                    <a:pt x="16" y="42"/>
                  </a:cubicBezTo>
                  <a:cubicBezTo>
                    <a:pt x="13" y="38"/>
                    <a:pt x="12" y="33"/>
                    <a:pt x="12" y="26"/>
                  </a:cubicBezTo>
                  <a:cubicBezTo>
                    <a:pt x="9" y="26"/>
                    <a:pt x="8" y="26"/>
                    <a:pt x="7" y="26"/>
                  </a:cubicBezTo>
                  <a:cubicBezTo>
                    <a:pt x="4" y="27"/>
                    <a:pt x="2" y="27"/>
                    <a:pt x="1" y="25"/>
                  </a:cubicBezTo>
                  <a:cubicBezTo>
                    <a:pt x="0" y="24"/>
                    <a:pt x="0" y="23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1" y="19"/>
                    <a:pt x="2" y="18"/>
                    <a:pt x="4" y="19"/>
                  </a:cubicBezTo>
                  <a:cubicBezTo>
                    <a:pt x="6" y="19"/>
                    <a:pt x="8" y="19"/>
                    <a:pt x="11" y="19"/>
                  </a:cubicBezTo>
                  <a:cubicBezTo>
                    <a:pt x="44" y="19"/>
                    <a:pt x="44" y="19"/>
                    <a:pt x="44" y="19"/>
                  </a:cubicBezTo>
                  <a:cubicBezTo>
                    <a:pt x="46" y="19"/>
                    <a:pt x="48" y="20"/>
                    <a:pt x="48" y="23"/>
                  </a:cubicBezTo>
                  <a:cubicBezTo>
                    <a:pt x="47" y="25"/>
                    <a:pt x="45" y="26"/>
                    <a:pt x="42" y="26"/>
                  </a:cubicBezTo>
                  <a:cubicBezTo>
                    <a:pt x="42" y="26"/>
                    <a:pt x="41" y="26"/>
                    <a:pt x="40" y="26"/>
                  </a:cubicBezTo>
                  <a:cubicBezTo>
                    <a:pt x="40" y="26"/>
                    <a:pt x="40" y="26"/>
                    <a:pt x="40" y="26"/>
                  </a:cubicBezTo>
                  <a:cubicBezTo>
                    <a:pt x="39" y="34"/>
                    <a:pt x="38" y="39"/>
                    <a:pt x="37" y="42"/>
                  </a:cubicBezTo>
                  <a:cubicBezTo>
                    <a:pt x="34" y="46"/>
                    <a:pt x="32" y="49"/>
                    <a:pt x="29" y="49"/>
                  </a:cubicBezTo>
                  <a:cubicBezTo>
                    <a:pt x="30" y="53"/>
                    <a:pt x="30" y="56"/>
                    <a:pt x="30" y="60"/>
                  </a:cubicBezTo>
                  <a:cubicBezTo>
                    <a:pt x="31" y="60"/>
                    <a:pt x="32" y="59"/>
                    <a:pt x="33" y="58"/>
                  </a:cubicBezTo>
                  <a:cubicBezTo>
                    <a:pt x="39" y="56"/>
                    <a:pt x="42" y="49"/>
                    <a:pt x="42" y="39"/>
                  </a:cubicBezTo>
                  <a:cubicBezTo>
                    <a:pt x="43" y="37"/>
                    <a:pt x="44" y="36"/>
                    <a:pt x="46" y="36"/>
                  </a:cubicBezTo>
                  <a:cubicBezTo>
                    <a:pt x="47" y="36"/>
                    <a:pt x="48" y="37"/>
                    <a:pt x="48" y="39"/>
                  </a:cubicBezTo>
                  <a:cubicBezTo>
                    <a:pt x="49" y="49"/>
                    <a:pt x="45" y="57"/>
                    <a:pt x="36" y="64"/>
                  </a:cubicBezTo>
                  <a:cubicBezTo>
                    <a:pt x="34" y="65"/>
                    <a:pt x="32" y="66"/>
                    <a:pt x="30" y="66"/>
                  </a:cubicBezTo>
                  <a:cubicBezTo>
                    <a:pt x="30" y="70"/>
                    <a:pt x="30" y="70"/>
                    <a:pt x="30" y="70"/>
                  </a:cubicBezTo>
                  <a:cubicBezTo>
                    <a:pt x="44" y="70"/>
                    <a:pt x="44" y="70"/>
                    <a:pt x="44" y="70"/>
                  </a:cubicBezTo>
                  <a:cubicBezTo>
                    <a:pt x="47" y="70"/>
                    <a:pt x="49" y="71"/>
                    <a:pt x="49" y="73"/>
                  </a:cubicBezTo>
                  <a:cubicBezTo>
                    <a:pt x="49" y="76"/>
                    <a:pt x="47" y="77"/>
                    <a:pt x="43" y="77"/>
                  </a:cubicBezTo>
                  <a:cubicBezTo>
                    <a:pt x="37" y="77"/>
                    <a:pt x="33" y="77"/>
                    <a:pt x="30" y="78"/>
                  </a:cubicBezTo>
                  <a:cubicBezTo>
                    <a:pt x="30" y="80"/>
                    <a:pt x="30" y="82"/>
                    <a:pt x="30" y="84"/>
                  </a:cubicBezTo>
                  <a:cubicBezTo>
                    <a:pt x="34" y="84"/>
                    <a:pt x="37" y="87"/>
                    <a:pt x="40" y="91"/>
                  </a:cubicBezTo>
                  <a:cubicBezTo>
                    <a:pt x="44" y="96"/>
                    <a:pt x="46" y="103"/>
                    <a:pt x="48" y="111"/>
                  </a:cubicBezTo>
                  <a:cubicBezTo>
                    <a:pt x="49" y="116"/>
                    <a:pt x="49" y="120"/>
                    <a:pt x="48" y="124"/>
                  </a:cubicBezTo>
                  <a:cubicBezTo>
                    <a:pt x="47" y="125"/>
                    <a:pt x="46" y="125"/>
                    <a:pt x="45" y="125"/>
                  </a:cubicBezTo>
                  <a:cubicBezTo>
                    <a:pt x="44" y="125"/>
                    <a:pt x="43" y="125"/>
                    <a:pt x="42" y="124"/>
                  </a:cubicBezTo>
                  <a:cubicBezTo>
                    <a:pt x="42" y="123"/>
                    <a:pt x="42" y="121"/>
                    <a:pt x="42" y="118"/>
                  </a:cubicBezTo>
                  <a:cubicBezTo>
                    <a:pt x="41" y="116"/>
                    <a:pt x="41" y="114"/>
                    <a:pt x="41" y="113"/>
                  </a:cubicBezTo>
                  <a:cubicBezTo>
                    <a:pt x="40" y="104"/>
                    <a:pt x="37" y="97"/>
                    <a:pt x="33" y="93"/>
                  </a:cubicBezTo>
                  <a:cubicBezTo>
                    <a:pt x="33" y="92"/>
                    <a:pt x="32" y="91"/>
                    <a:pt x="30" y="91"/>
                  </a:cubicBezTo>
                  <a:cubicBezTo>
                    <a:pt x="31" y="97"/>
                    <a:pt x="31" y="101"/>
                    <a:pt x="31" y="105"/>
                  </a:cubicBezTo>
                  <a:cubicBezTo>
                    <a:pt x="31" y="107"/>
                    <a:pt x="31" y="111"/>
                    <a:pt x="30" y="116"/>
                  </a:cubicBezTo>
                  <a:cubicBezTo>
                    <a:pt x="30" y="124"/>
                    <a:pt x="30" y="129"/>
                    <a:pt x="29" y="133"/>
                  </a:cubicBezTo>
                  <a:cubicBezTo>
                    <a:pt x="29" y="136"/>
                    <a:pt x="28" y="137"/>
                    <a:pt x="27" y="137"/>
                  </a:cubicBezTo>
                  <a:cubicBezTo>
                    <a:pt x="26" y="137"/>
                    <a:pt x="25" y="136"/>
                    <a:pt x="24" y="133"/>
                  </a:cubicBezTo>
                  <a:cubicBezTo>
                    <a:pt x="24" y="120"/>
                    <a:pt x="24" y="111"/>
                    <a:pt x="24" y="105"/>
                  </a:cubicBezTo>
                  <a:cubicBezTo>
                    <a:pt x="24" y="100"/>
                    <a:pt x="24" y="95"/>
                    <a:pt x="24" y="90"/>
                  </a:cubicBezTo>
                  <a:cubicBezTo>
                    <a:pt x="22" y="91"/>
                    <a:pt x="21" y="92"/>
                    <a:pt x="20" y="93"/>
                  </a:cubicBezTo>
                  <a:cubicBezTo>
                    <a:pt x="18" y="94"/>
                    <a:pt x="16" y="98"/>
                    <a:pt x="14" y="102"/>
                  </a:cubicBezTo>
                  <a:cubicBezTo>
                    <a:pt x="13" y="104"/>
                    <a:pt x="13" y="104"/>
                    <a:pt x="13" y="104"/>
                  </a:cubicBezTo>
                  <a:cubicBezTo>
                    <a:pt x="12" y="108"/>
                    <a:pt x="11" y="114"/>
                    <a:pt x="11" y="122"/>
                  </a:cubicBezTo>
                  <a:cubicBezTo>
                    <a:pt x="10" y="124"/>
                    <a:pt x="9" y="125"/>
                    <a:pt x="7" y="125"/>
                  </a:cubicBezTo>
                  <a:cubicBezTo>
                    <a:pt x="6" y="125"/>
                    <a:pt x="5" y="124"/>
                    <a:pt x="5" y="122"/>
                  </a:cubicBezTo>
                  <a:cubicBezTo>
                    <a:pt x="6" y="115"/>
                    <a:pt x="7" y="108"/>
                    <a:pt x="8" y="102"/>
                  </a:cubicBezTo>
                  <a:cubicBezTo>
                    <a:pt x="9" y="97"/>
                    <a:pt x="11" y="92"/>
                    <a:pt x="14" y="89"/>
                  </a:cubicBezTo>
                  <a:cubicBezTo>
                    <a:pt x="17" y="86"/>
                    <a:pt x="20" y="84"/>
                    <a:pt x="24" y="84"/>
                  </a:cubicBezTo>
                  <a:cubicBezTo>
                    <a:pt x="24" y="81"/>
                    <a:pt x="24" y="81"/>
                    <a:pt x="24" y="81"/>
                  </a:cubicBezTo>
                  <a:cubicBezTo>
                    <a:pt x="24" y="80"/>
                    <a:pt x="24" y="79"/>
                    <a:pt x="24" y="78"/>
                  </a:cubicBezTo>
                  <a:cubicBezTo>
                    <a:pt x="14" y="78"/>
                    <a:pt x="9" y="78"/>
                    <a:pt x="9" y="78"/>
                  </a:cubicBezTo>
                  <a:cubicBezTo>
                    <a:pt x="6" y="79"/>
                    <a:pt x="4" y="79"/>
                    <a:pt x="3" y="77"/>
                  </a:cubicBezTo>
                  <a:cubicBezTo>
                    <a:pt x="2" y="76"/>
                    <a:pt x="2" y="74"/>
                    <a:pt x="3" y="72"/>
                  </a:cubicBezTo>
                  <a:cubicBezTo>
                    <a:pt x="3" y="70"/>
                    <a:pt x="4" y="70"/>
                    <a:pt x="7" y="70"/>
                  </a:cubicBezTo>
                  <a:cubicBezTo>
                    <a:pt x="8" y="70"/>
                    <a:pt x="10" y="70"/>
                    <a:pt x="14" y="70"/>
                  </a:cubicBezTo>
                  <a:cubicBezTo>
                    <a:pt x="24" y="70"/>
                    <a:pt x="24" y="70"/>
                    <a:pt x="24" y="70"/>
                  </a:cubicBezTo>
                  <a:cubicBezTo>
                    <a:pt x="24" y="66"/>
                    <a:pt x="24" y="66"/>
                    <a:pt x="24" y="66"/>
                  </a:cubicBezTo>
                  <a:cubicBezTo>
                    <a:pt x="22" y="66"/>
                    <a:pt x="21" y="66"/>
                    <a:pt x="20" y="65"/>
                  </a:cubicBezTo>
                  <a:cubicBezTo>
                    <a:pt x="12" y="62"/>
                    <a:pt x="6" y="56"/>
                    <a:pt x="2" y="46"/>
                  </a:cubicBezTo>
                  <a:cubicBezTo>
                    <a:pt x="2" y="46"/>
                    <a:pt x="2" y="43"/>
                    <a:pt x="2" y="40"/>
                  </a:cubicBezTo>
                  <a:cubicBezTo>
                    <a:pt x="2" y="39"/>
                    <a:pt x="2" y="38"/>
                    <a:pt x="2" y="37"/>
                  </a:cubicBezTo>
                  <a:close/>
                  <a:moveTo>
                    <a:pt x="9" y="3"/>
                  </a:moveTo>
                  <a:cubicBezTo>
                    <a:pt x="11" y="3"/>
                    <a:pt x="15" y="3"/>
                    <a:pt x="19" y="3"/>
                  </a:cubicBezTo>
                  <a:cubicBezTo>
                    <a:pt x="40" y="3"/>
                    <a:pt x="40" y="3"/>
                    <a:pt x="40" y="3"/>
                  </a:cubicBezTo>
                  <a:cubicBezTo>
                    <a:pt x="43" y="3"/>
                    <a:pt x="44" y="5"/>
                    <a:pt x="44" y="7"/>
                  </a:cubicBezTo>
                  <a:cubicBezTo>
                    <a:pt x="44" y="9"/>
                    <a:pt x="42" y="10"/>
                    <a:pt x="39" y="10"/>
                  </a:cubicBezTo>
                  <a:cubicBezTo>
                    <a:pt x="34" y="10"/>
                    <a:pt x="25" y="10"/>
                    <a:pt x="14" y="11"/>
                  </a:cubicBezTo>
                  <a:cubicBezTo>
                    <a:pt x="13" y="11"/>
                    <a:pt x="12" y="11"/>
                    <a:pt x="11" y="11"/>
                  </a:cubicBezTo>
                  <a:cubicBezTo>
                    <a:pt x="7" y="11"/>
                    <a:pt x="5" y="11"/>
                    <a:pt x="5" y="9"/>
                  </a:cubicBezTo>
                  <a:cubicBezTo>
                    <a:pt x="5" y="9"/>
                    <a:pt x="4" y="8"/>
                    <a:pt x="5" y="6"/>
                  </a:cubicBezTo>
                  <a:cubicBezTo>
                    <a:pt x="5" y="5"/>
                    <a:pt x="5" y="5"/>
                    <a:pt x="5" y="5"/>
                  </a:cubicBezTo>
                  <a:cubicBezTo>
                    <a:pt x="5" y="3"/>
                    <a:pt x="6" y="3"/>
                    <a:pt x="9" y="3"/>
                  </a:cubicBezTo>
                  <a:close/>
                  <a:moveTo>
                    <a:pt x="33" y="26"/>
                  </a:moveTo>
                  <a:cubicBezTo>
                    <a:pt x="28" y="26"/>
                    <a:pt x="23" y="26"/>
                    <a:pt x="17" y="26"/>
                  </a:cubicBezTo>
                  <a:cubicBezTo>
                    <a:pt x="18" y="32"/>
                    <a:pt x="20" y="38"/>
                    <a:pt x="24" y="42"/>
                  </a:cubicBezTo>
                  <a:cubicBezTo>
                    <a:pt x="25" y="44"/>
                    <a:pt x="26" y="45"/>
                    <a:pt x="27" y="45"/>
                  </a:cubicBezTo>
                  <a:cubicBezTo>
                    <a:pt x="28" y="45"/>
                    <a:pt x="29" y="44"/>
                    <a:pt x="29" y="42"/>
                  </a:cubicBezTo>
                  <a:cubicBezTo>
                    <a:pt x="32" y="38"/>
                    <a:pt x="33" y="33"/>
                    <a:pt x="33" y="26"/>
                  </a:cubicBezTo>
                  <a:close/>
                  <a:moveTo>
                    <a:pt x="54" y="2"/>
                  </a:moveTo>
                  <a:cubicBezTo>
                    <a:pt x="55" y="0"/>
                    <a:pt x="57" y="0"/>
                    <a:pt x="58" y="1"/>
                  </a:cubicBezTo>
                  <a:cubicBezTo>
                    <a:pt x="59" y="2"/>
                    <a:pt x="60" y="4"/>
                    <a:pt x="59" y="6"/>
                  </a:cubicBezTo>
                  <a:cubicBezTo>
                    <a:pt x="57" y="8"/>
                    <a:pt x="57" y="9"/>
                    <a:pt x="58" y="10"/>
                  </a:cubicBezTo>
                  <a:cubicBezTo>
                    <a:pt x="59" y="11"/>
                    <a:pt x="61" y="12"/>
                    <a:pt x="63" y="11"/>
                  </a:cubicBezTo>
                  <a:cubicBezTo>
                    <a:pt x="67" y="9"/>
                    <a:pt x="73" y="9"/>
                    <a:pt x="80" y="11"/>
                  </a:cubicBezTo>
                  <a:cubicBezTo>
                    <a:pt x="84" y="13"/>
                    <a:pt x="87" y="16"/>
                    <a:pt x="88" y="22"/>
                  </a:cubicBezTo>
                  <a:cubicBezTo>
                    <a:pt x="89" y="27"/>
                    <a:pt x="88" y="32"/>
                    <a:pt x="85" y="35"/>
                  </a:cubicBezTo>
                  <a:cubicBezTo>
                    <a:pt x="84" y="38"/>
                    <a:pt x="81" y="39"/>
                    <a:pt x="75" y="37"/>
                  </a:cubicBezTo>
                  <a:cubicBezTo>
                    <a:pt x="75" y="37"/>
                    <a:pt x="74" y="37"/>
                    <a:pt x="74" y="37"/>
                  </a:cubicBezTo>
                  <a:cubicBezTo>
                    <a:pt x="69" y="37"/>
                    <a:pt x="66" y="37"/>
                    <a:pt x="63" y="38"/>
                  </a:cubicBezTo>
                  <a:cubicBezTo>
                    <a:pt x="62" y="38"/>
                    <a:pt x="61" y="40"/>
                    <a:pt x="61" y="43"/>
                  </a:cubicBezTo>
                  <a:cubicBezTo>
                    <a:pt x="62" y="48"/>
                    <a:pt x="62" y="56"/>
                    <a:pt x="62" y="66"/>
                  </a:cubicBezTo>
                  <a:cubicBezTo>
                    <a:pt x="62" y="70"/>
                    <a:pt x="61" y="76"/>
                    <a:pt x="61" y="84"/>
                  </a:cubicBezTo>
                  <a:cubicBezTo>
                    <a:pt x="59" y="99"/>
                    <a:pt x="58" y="110"/>
                    <a:pt x="57" y="116"/>
                  </a:cubicBezTo>
                  <a:cubicBezTo>
                    <a:pt x="57" y="122"/>
                    <a:pt x="55" y="128"/>
                    <a:pt x="53" y="136"/>
                  </a:cubicBezTo>
                  <a:cubicBezTo>
                    <a:pt x="52" y="137"/>
                    <a:pt x="51" y="138"/>
                    <a:pt x="50" y="138"/>
                  </a:cubicBezTo>
                  <a:cubicBezTo>
                    <a:pt x="48" y="138"/>
                    <a:pt x="48" y="137"/>
                    <a:pt x="48" y="136"/>
                  </a:cubicBezTo>
                  <a:cubicBezTo>
                    <a:pt x="48" y="135"/>
                    <a:pt x="48" y="133"/>
                    <a:pt x="48" y="130"/>
                  </a:cubicBezTo>
                  <a:cubicBezTo>
                    <a:pt x="49" y="127"/>
                    <a:pt x="49" y="126"/>
                    <a:pt x="49" y="125"/>
                  </a:cubicBezTo>
                  <a:cubicBezTo>
                    <a:pt x="53" y="104"/>
                    <a:pt x="55" y="85"/>
                    <a:pt x="55" y="68"/>
                  </a:cubicBezTo>
                  <a:cubicBezTo>
                    <a:pt x="56" y="60"/>
                    <a:pt x="56" y="54"/>
                    <a:pt x="55" y="48"/>
                  </a:cubicBezTo>
                  <a:cubicBezTo>
                    <a:pt x="54" y="45"/>
                    <a:pt x="53" y="42"/>
                    <a:pt x="52" y="40"/>
                  </a:cubicBezTo>
                  <a:cubicBezTo>
                    <a:pt x="50" y="38"/>
                    <a:pt x="51" y="36"/>
                    <a:pt x="54" y="34"/>
                  </a:cubicBezTo>
                  <a:cubicBezTo>
                    <a:pt x="58" y="30"/>
                    <a:pt x="66" y="29"/>
                    <a:pt x="76" y="31"/>
                  </a:cubicBezTo>
                  <a:cubicBezTo>
                    <a:pt x="81" y="32"/>
                    <a:pt x="83" y="30"/>
                    <a:pt x="83" y="25"/>
                  </a:cubicBezTo>
                  <a:cubicBezTo>
                    <a:pt x="83" y="21"/>
                    <a:pt x="81" y="18"/>
                    <a:pt x="77" y="18"/>
                  </a:cubicBezTo>
                  <a:cubicBezTo>
                    <a:pt x="70" y="17"/>
                    <a:pt x="66" y="17"/>
                    <a:pt x="65" y="18"/>
                  </a:cubicBezTo>
                  <a:cubicBezTo>
                    <a:pt x="63" y="19"/>
                    <a:pt x="60" y="19"/>
                    <a:pt x="57" y="19"/>
                  </a:cubicBezTo>
                  <a:cubicBezTo>
                    <a:pt x="57" y="18"/>
                    <a:pt x="55" y="17"/>
                    <a:pt x="53" y="15"/>
                  </a:cubicBezTo>
                  <a:cubicBezTo>
                    <a:pt x="53" y="14"/>
                    <a:pt x="52" y="14"/>
                    <a:pt x="52" y="13"/>
                  </a:cubicBezTo>
                  <a:cubicBezTo>
                    <a:pt x="50" y="10"/>
                    <a:pt x="51" y="6"/>
                    <a:pt x="54" y="2"/>
                  </a:cubicBezTo>
                  <a:close/>
                  <a:moveTo>
                    <a:pt x="95" y="70"/>
                  </a:moveTo>
                  <a:cubicBezTo>
                    <a:pt x="96" y="72"/>
                    <a:pt x="95" y="73"/>
                    <a:pt x="94" y="74"/>
                  </a:cubicBezTo>
                  <a:cubicBezTo>
                    <a:pt x="92" y="74"/>
                    <a:pt x="91" y="74"/>
                    <a:pt x="90" y="72"/>
                  </a:cubicBezTo>
                  <a:cubicBezTo>
                    <a:pt x="88" y="67"/>
                    <a:pt x="84" y="62"/>
                    <a:pt x="78" y="56"/>
                  </a:cubicBezTo>
                  <a:cubicBezTo>
                    <a:pt x="77" y="55"/>
                    <a:pt x="76" y="54"/>
                    <a:pt x="76" y="54"/>
                  </a:cubicBezTo>
                  <a:cubicBezTo>
                    <a:pt x="75" y="56"/>
                    <a:pt x="75" y="56"/>
                    <a:pt x="75" y="56"/>
                  </a:cubicBezTo>
                  <a:cubicBezTo>
                    <a:pt x="75" y="61"/>
                    <a:pt x="75" y="73"/>
                    <a:pt x="77" y="93"/>
                  </a:cubicBezTo>
                  <a:cubicBezTo>
                    <a:pt x="78" y="99"/>
                    <a:pt x="80" y="107"/>
                    <a:pt x="83" y="119"/>
                  </a:cubicBezTo>
                  <a:cubicBezTo>
                    <a:pt x="84" y="122"/>
                    <a:pt x="85" y="124"/>
                    <a:pt x="85" y="124"/>
                  </a:cubicBezTo>
                  <a:cubicBezTo>
                    <a:pt x="86" y="126"/>
                    <a:pt x="86" y="128"/>
                    <a:pt x="87" y="131"/>
                  </a:cubicBezTo>
                  <a:cubicBezTo>
                    <a:pt x="88" y="132"/>
                    <a:pt x="88" y="133"/>
                    <a:pt x="88" y="133"/>
                  </a:cubicBezTo>
                  <a:cubicBezTo>
                    <a:pt x="88" y="135"/>
                    <a:pt x="88" y="136"/>
                    <a:pt x="86" y="136"/>
                  </a:cubicBezTo>
                  <a:cubicBezTo>
                    <a:pt x="84" y="136"/>
                    <a:pt x="83" y="135"/>
                    <a:pt x="82" y="133"/>
                  </a:cubicBezTo>
                  <a:cubicBezTo>
                    <a:pt x="77" y="123"/>
                    <a:pt x="73" y="110"/>
                    <a:pt x="70" y="93"/>
                  </a:cubicBezTo>
                  <a:cubicBezTo>
                    <a:pt x="69" y="79"/>
                    <a:pt x="68" y="68"/>
                    <a:pt x="68" y="58"/>
                  </a:cubicBezTo>
                  <a:cubicBezTo>
                    <a:pt x="68" y="51"/>
                    <a:pt x="68" y="46"/>
                    <a:pt x="68" y="44"/>
                  </a:cubicBezTo>
                  <a:cubicBezTo>
                    <a:pt x="68" y="43"/>
                    <a:pt x="69" y="42"/>
                    <a:pt x="70" y="42"/>
                  </a:cubicBezTo>
                  <a:cubicBezTo>
                    <a:pt x="71" y="41"/>
                    <a:pt x="71" y="41"/>
                    <a:pt x="72" y="42"/>
                  </a:cubicBezTo>
                  <a:cubicBezTo>
                    <a:pt x="76" y="45"/>
                    <a:pt x="78" y="48"/>
                    <a:pt x="80" y="49"/>
                  </a:cubicBezTo>
                  <a:cubicBezTo>
                    <a:pt x="86" y="54"/>
                    <a:pt x="91" y="61"/>
                    <a:pt x="95" y="7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26" name="íṣ1ïḑe"/>
            <p:cNvSpPr/>
            <p:nvPr/>
          </p:nvSpPr>
          <p:spPr bwMode="auto">
            <a:xfrm>
              <a:off x="1750909" y="4905965"/>
              <a:ext cx="93663" cy="87313"/>
            </a:xfrm>
            <a:custGeom>
              <a:avLst/>
              <a:gdLst>
                <a:gd name="T0" fmla="*/ 51 w 51"/>
                <a:gd name="T1" fmla="*/ 17 h 47"/>
                <a:gd name="T2" fmla="*/ 46 w 51"/>
                <a:gd name="T3" fmla="*/ 25 h 47"/>
                <a:gd name="T4" fmla="*/ 26 w 51"/>
                <a:gd name="T5" fmla="*/ 13 h 47"/>
                <a:gd name="T6" fmla="*/ 20 w 51"/>
                <a:gd name="T7" fmla="*/ 9 h 47"/>
                <a:gd name="T8" fmla="*/ 14 w 51"/>
                <a:gd name="T9" fmla="*/ 9 h 47"/>
                <a:gd name="T10" fmla="*/ 10 w 51"/>
                <a:gd name="T11" fmla="*/ 13 h 47"/>
                <a:gd name="T12" fmla="*/ 8 w 51"/>
                <a:gd name="T13" fmla="*/ 19 h 47"/>
                <a:gd name="T14" fmla="*/ 10 w 51"/>
                <a:gd name="T15" fmla="*/ 23 h 47"/>
                <a:gd name="T16" fmla="*/ 17 w 51"/>
                <a:gd name="T17" fmla="*/ 27 h 47"/>
                <a:gd name="T18" fmla="*/ 37 w 51"/>
                <a:gd name="T19" fmla="*/ 40 h 47"/>
                <a:gd name="T20" fmla="*/ 33 w 51"/>
                <a:gd name="T21" fmla="*/ 47 h 47"/>
                <a:gd name="T22" fmla="*/ 13 w 51"/>
                <a:gd name="T23" fmla="*/ 35 h 47"/>
                <a:gd name="T24" fmla="*/ 4 w 51"/>
                <a:gd name="T25" fmla="*/ 29 h 47"/>
                <a:gd name="T26" fmla="*/ 1 w 51"/>
                <a:gd name="T27" fmla="*/ 24 h 47"/>
                <a:gd name="T28" fmla="*/ 0 w 51"/>
                <a:gd name="T29" fmla="*/ 18 h 47"/>
                <a:gd name="T30" fmla="*/ 3 w 51"/>
                <a:gd name="T31" fmla="*/ 10 h 47"/>
                <a:gd name="T32" fmla="*/ 10 w 51"/>
                <a:gd name="T33" fmla="*/ 2 h 47"/>
                <a:gd name="T34" fmla="*/ 15 w 51"/>
                <a:gd name="T35" fmla="*/ 0 h 47"/>
                <a:gd name="T36" fmla="*/ 21 w 51"/>
                <a:gd name="T37" fmla="*/ 0 h 47"/>
                <a:gd name="T38" fmla="*/ 31 w 51"/>
                <a:gd name="T39" fmla="*/ 5 h 47"/>
                <a:gd name="T40" fmla="*/ 51 w 51"/>
                <a:gd name="T41" fmla="*/ 17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51" h="47">
                  <a:moveTo>
                    <a:pt x="51" y="17"/>
                  </a:moveTo>
                  <a:cubicBezTo>
                    <a:pt x="46" y="25"/>
                    <a:pt x="46" y="25"/>
                    <a:pt x="46" y="25"/>
                  </a:cubicBezTo>
                  <a:cubicBezTo>
                    <a:pt x="26" y="13"/>
                    <a:pt x="26" y="13"/>
                    <a:pt x="26" y="13"/>
                  </a:cubicBezTo>
                  <a:cubicBezTo>
                    <a:pt x="23" y="11"/>
                    <a:pt x="21" y="10"/>
                    <a:pt x="20" y="9"/>
                  </a:cubicBezTo>
                  <a:cubicBezTo>
                    <a:pt x="18" y="9"/>
                    <a:pt x="16" y="9"/>
                    <a:pt x="14" y="9"/>
                  </a:cubicBezTo>
                  <a:cubicBezTo>
                    <a:pt x="13" y="10"/>
                    <a:pt x="11" y="11"/>
                    <a:pt x="10" y="13"/>
                  </a:cubicBezTo>
                  <a:cubicBezTo>
                    <a:pt x="9" y="16"/>
                    <a:pt x="8" y="17"/>
                    <a:pt x="8" y="19"/>
                  </a:cubicBezTo>
                  <a:cubicBezTo>
                    <a:pt x="9" y="21"/>
                    <a:pt x="9" y="22"/>
                    <a:pt x="10" y="23"/>
                  </a:cubicBezTo>
                  <a:cubicBezTo>
                    <a:pt x="12" y="24"/>
                    <a:pt x="14" y="25"/>
                    <a:pt x="17" y="27"/>
                  </a:cubicBezTo>
                  <a:cubicBezTo>
                    <a:pt x="37" y="40"/>
                    <a:pt x="37" y="40"/>
                    <a:pt x="37" y="40"/>
                  </a:cubicBezTo>
                  <a:cubicBezTo>
                    <a:pt x="33" y="47"/>
                    <a:pt x="33" y="47"/>
                    <a:pt x="33" y="47"/>
                  </a:cubicBezTo>
                  <a:cubicBezTo>
                    <a:pt x="13" y="35"/>
                    <a:pt x="13" y="35"/>
                    <a:pt x="13" y="35"/>
                  </a:cubicBezTo>
                  <a:cubicBezTo>
                    <a:pt x="9" y="33"/>
                    <a:pt x="6" y="31"/>
                    <a:pt x="4" y="29"/>
                  </a:cubicBezTo>
                  <a:cubicBezTo>
                    <a:pt x="2" y="28"/>
                    <a:pt x="1" y="26"/>
                    <a:pt x="1" y="24"/>
                  </a:cubicBezTo>
                  <a:cubicBezTo>
                    <a:pt x="0" y="22"/>
                    <a:pt x="0" y="20"/>
                    <a:pt x="0" y="18"/>
                  </a:cubicBezTo>
                  <a:cubicBezTo>
                    <a:pt x="0" y="15"/>
                    <a:pt x="2" y="13"/>
                    <a:pt x="3" y="10"/>
                  </a:cubicBezTo>
                  <a:cubicBezTo>
                    <a:pt x="6" y="6"/>
                    <a:pt x="8" y="4"/>
                    <a:pt x="10" y="2"/>
                  </a:cubicBezTo>
                  <a:cubicBezTo>
                    <a:pt x="11" y="1"/>
                    <a:pt x="13" y="0"/>
                    <a:pt x="15" y="0"/>
                  </a:cubicBezTo>
                  <a:cubicBezTo>
                    <a:pt x="17" y="0"/>
                    <a:pt x="19" y="0"/>
                    <a:pt x="21" y="0"/>
                  </a:cubicBezTo>
                  <a:cubicBezTo>
                    <a:pt x="23" y="1"/>
                    <a:pt x="27" y="3"/>
                    <a:pt x="31" y="5"/>
                  </a:cubicBezTo>
                  <a:lnTo>
                    <a:pt x="51" y="1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27" name="íṧḷîde"/>
            <p:cNvSpPr/>
            <p:nvPr/>
          </p:nvSpPr>
          <p:spPr bwMode="auto">
            <a:xfrm>
              <a:off x="1704872" y="4971053"/>
              <a:ext cx="100013" cy="92075"/>
            </a:xfrm>
            <a:custGeom>
              <a:avLst/>
              <a:gdLst>
                <a:gd name="T0" fmla="*/ 17 w 63"/>
                <a:gd name="T1" fmla="*/ 0 h 58"/>
                <a:gd name="T2" fmla="*/ 63 w 63"/>
                <a:gd name="T3" fmla="*/ 21 h 58"/>
                <a:gd name="T4" fmla="*/ 59 w 63"/>
                <a:gd name="T5" fmla="*/ 30 h 58"/>
                <a:gd name="T6" fmla="*/ 19 w 63"/>
                <a:gd name="T7" fmla="*/ 35 h 58"/>
                <a:gd name="T8" fmla="*/ 50 w 63"/>
                <a:gd name="T9" fmla="*/ 50 h 58"/>
                <a:gd name="T10" fmla="*/ 46 w 63"/>
                <a:gd name="T11" fmla="*/ 58 h 58"/>
                <a:gd name="T12" fmla="*/ 0 w 63"/>
                <a:gd name="T13" fmla="*/ 37 h 58"/>
                <a:gd name="T14" fmla="*/ 4 w 63"/>
                <a:gd name="T15" fmla="*/ 26 h 58"/>
                <a:gd name="T16" fmla="*/ 43 w 63"/>
                <a:gd name="T17" fmla="*/ 22 h 58"/>
                <a:gd name="T18" fmla="*/ 12 w 63"/>
                <a:gd name="T19" fmla="*/ 8 h 58"/>
                <a:gd name="T20" fmla="*/ 17 w 63"/>
                <a:gd name="T21" fmla="*/ 0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63" h="58">
                  <a:moveTo>
                    <a:pt x="17" y="0"/>
                  </a:moveTo>
                  <a:lnTo>
                    <a:pt x="63" y="21"/>
                  </a:lnTo>
                  <a:lnTo>
                    <a:pt x="59" y="30"/>
                  </a:lnTo>
                  <a:lnTo>
                    <a:pt x="19" y="35"/>
                  </a:lnTo>
                  <a:lnTo>
                    <a:pt x="50" y="50"/>
                  </a:lnTo>
                  <a:lnTo>
                    <a:pt x="46" y="58"/>
                  </a:lnTo>
                  <a:lnTo>
                    <a:pt x="0" y="37"/>
                  </a:lnTo>
                  <a:lnTo>
                    <a:pt x="4" y="26"/>
                  </a:lnTo>
                  <a:lnTo>
                    <a:pt x="43" y="22"/>
                  </a:lnTo>
                  <a:lnTo>
                    <a:pt x="12" y="8"/>
                  </a:lnTo>
                  <a:lnTo>
                    <a:pt x="1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28" name="íS1îḍé"/>
            <p:cNvSpPr/>
            <p:nvPr/>
          </p:nvSpPr>
          <p:spPr bwMode="auto">
            <a:xfrm>
              <a:off x="1690584" y="5045665"/>
              <a:ext cx="84138" cy="44450"/>
            </a:xfrm>
            <a:custGeom>
              <a:avLst/>
              <a:gdLst>
                <a:gd name="T0" fmla="*/ 5 w 53"/>
                <a:gd name="T1" fmla="*/ 0 h 28"/>
                <a:gd name="T2" fmla="*/ 53 w 53"/>
                <a:gd name="T3" fmla="*/ 19 h 28"/>
                <a:gd name="T4" fmla="*/ 49 w 53"/>
                <a:gd name="T5" fmla="*/ 28 h 28"/>
                <a:gd name="T6" fmla="*/ 0 w 53"/>
                <a:gd name="T7" fmla="*/ 10 h 28"/>
                <a:gd name="T8" fmla="*/ 5 w 53"/>
                <a:gd name="T9" fmla="*/ 0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3" h="28">
                  <a:moveTo>
                    <a:pt x="5" y="0"/>
                  </a:moveTo>
                  <a:lnTo>
                    <a:pt x="53" y="19"/>
                  </a:lnTo>
                  <a:lnTo>
                    <a:pt x="49" y="28"/>
                  </a:lnTo>
                  <a:lnTo>
                    <a:pt x="0" y="10"/>
                  </a:lnTo>
                  <a:lnTo>
                    <a:pt x="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29" name="íṧļïḋè"/>
            <p:cNvSpPr/>
            <p:nvPr/>
          </p:nvSpPr>
          <p:spPr bwMode="auto">
            <a:xfrm>
              <a:off x="1674709" y="5091703"/>
              <a:ext cx="92075" cy="73025"/>
            </a:xfrm>
            <a:custGeom>
              <a:avLst/>
              <a:gdLst>
                <a:gd name="T0" fmla="*/ 4 w 58"/>
                <a:gd name="T1" fmla="*/ 3 h 46"/>
                <a:gd name="T2" fmla="*/ 58 w 58"/>
                <a:gd name="T3" fmla="*/ 0 h 46"/>
                <a:gd name="T4" fmla="*/ 55 w 58"/>
                <a:gd name="T5" fmla="*/ 11 h 46"/>
                <a:gd name="T6" fmla="*/ 14 w 58"/>
                <a:gd name="T7" fmla="*/ 13 h 46"/>
                <a:gd name="T8" fmla="*/ 46 w 58"/>
                <a:gd name="T9" fmla="*/ 35 h 46"/>
                <a:gd name="T10" fmla="*/ 44 w 58"/>
                <a:gd name="T11" fmla="*/ 46 h 46"/>
                <a:gd name="T12" fmla="*/ 0 w 58"/>
                <a:gd name="T13" fmla="*/ 14 h 46"/>
                <a:gd name="T14" fmla="*/ 4 w 58"/>
                <a:gd name="T15" fmla="*/ 3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8" h="46">
                  <a:moveTo>
                    <a:pt x="4" y="3"/>
                  </a:moveTo>
                  <a:lnTo>
                    <a:pt x="58" y="0"/>
                  </a:lnTo>
                  <a:lnTo>
                    <a:pt x="55" y="11"/>
                  </a:lnTo>
                  <a:lnTo>
                    <a:pt x="14" y="13"/>
                  </a:lnTo>
                  <a:lnTo>
                    <a:pt x="46" y="35"/>
                  </a:lnTo>
                  <a:lnTo>
                    <a:pt x="44" y="46"/>
                  </a:lnTo>
                  <a:lnTo>
                    <a:pt x="0" y="14"/>
                  </a:lnTo>
                  <a:lnTo>
                    <a:pt x="4" y="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30" name="ïṡḷiḋé"/>
            <p:cNvSpPr/>
            <p:nvPr/>
          </p:nvSpPr>
          <p:spPr bwMode="auto">
            <a:xfrm>
              <a:off x="1652484" y="5153615"/>
              <a:ext cx="90488" cy="73025"/>
            </a:xfrm>
            <a:custGeom>
              <a:avLst/>
              <a:gdLst>
                <a:gd name="T0" fmla="*/ 7 w 57"/>
                <a:gd name="T1" fmla="*/ 0 h 46"/>
                <a:gd name="T2" fmla="*/ 57 w 57"/>
                <a:gd name="T3" fmla="*/ 10 h 46"/>
                <a:gd name="T4" fmla="*/ 50 w 57"/>
                <a:gd name="T5" fmla="*/ 46 h 46"/>
                <a:gd name="T6" fmla="*/ 42 w 57"/>
                <a:gd name="T7" fmla="*/ 45 h 46"/>
                <a:gd name="T8" fmla="*/ 47 w 57"/>
                <a:gd name="T9" fmla="*/ 18 h 46"/>
                <a:gd name="T10" fmla="*/ 36 w 57"/>
                <a:gd name="T11" fmla="*/ 16 h 46"/>
                <a:gd name="T12" fmla="*/ 30 w 57"/>
                <a:gd name="T13" fmla="*/ 40 h 46"/>
                <a:gd name="T14" fmla="*/ 22 w 57"/>
                <a:gd name="T15" fmla="*/ 39 h 46"/>
                <a:gd name="T16" fmla="*/ 27 w 57"/>
                <a:gd name="T17" fmla="*/ 14 h 46"/>
                <a:gd name="T18" fmla="*/ 14 w 57"/>
                <a:gd name="T19" fmla="*/ 11 h 46"/>
                <a:gd name="T20" fmla="*/ 8 w 57"/>
                <a:gd name="T21" fmla="*/ 39 h 46"/>
                <a:gd name="T22" fmla="*/ 0 w 57"/>
                <a:gd name="T23" fmla="*/ 38 h 46"/>
                <a:gd name="T24" fmla="*/ 7 w 57"/>
                <a:gd name="T25" fmla="*/ 0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57" h="46">
                  <a:moveTo>
                    <a:pt x="7" y="0"/>
                  </a:moveTo>
                  <a:lnTo>
                    <a:pt x="57" y="10"/>
                  </a:lnTo>
                  <a:lnTo>
                    <a:pt x="50" y="46"/>
                  </a:lnTo>
                  <a:lnTo>
                    <a:pt x="42" y="45"/>
                  </a:lnTo>
                  <a:lnTo>
                    <a:pt x="47" y="18"/>
                  </a:lnTo>
                  <a:lnTo>
                    <a:pt x="36" y="16"/>
                  </a:lnTo>
                  <a:lnTo>
                    <a:pt x="30" y="40"/>
                  </a:lnTo>
                  <a:lnTo>
                    <a:pt x="22" y="39"/>
                  </a:lnTo>
                  <a:lnTo>
                    <a:pt x="27" y="14"/>
                  </a:lnTo>
                  <a:lnTo>
                    <a:pt x="14" y="11"/>
                  </a:lnTo>
                  <a:lnTo>
                    <a:pt x="8" y="39"/>
                  </a:lnTo>
                  <a:lnTo>
                    <a:pt x="0" y="38"/>
                  </a:lnTo>
                  <a:lnTo>
                    <a:pt x="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31" name="ïşļiḋe"/>
            <p:cNvSpPr/>
            <p:nvPr/>
          </p:nvSpPr>
          <p:spPr bwMode="auto">
            <a:xfrm>
              <a:off x="1641372" y="5231403"/>
              <a:ext cx="88900" cy="71438"/>
            </a:xfrm>
            <a:custGeom>
              <a:avLst/>
              <a:gdLst>
                <a:gd name="T0" fmla="*/ 4 w 48"/>
                <a:gd name="T1" fmla="*/ 0 h 39"/>
                <a:gd name="T2" fmla="*/ 48 w 48"/>
                <a:gd name="T3" fmla="*/ 4 h 39"/>
                <a:gd name="T4" fmla="*/ 46 w 48"/>
                <a:gd name="T5" fmla="*/ 23 h 39"/>
                <a:gd name="T6" fmla="*/ 44 w 48"/>
                <a:gd name="T7" fmla="*/ 33 h 39"/>
                <a:gd name="T8" fmla="*/ 39 w 48"/>
                <a:gd name="T9" fmla="*/ 38 h 39"/>
                <a:gd name="T10" fmla="*/ 32 w 48"/>
                <a:gd name="T11" fmla="*/ 39 h 39"/>
                <a:gd name="T12" fmla="*/ 24 w 48"/>
                <a:gd name="T13" fmla="*/ 35 h 39"/>
                <a:gd name="T14" fmla="*/ 21 w 48"/>
                <a:gd name="T15" fmla="*/ 26 h 39"/>
                <a:gd name="T16" fmla="*/ 17 w 48"/>
                <a:gd name="T17" fmla="*/ 30 h 39"/>
                <a:gd name="T18" fmla="*/ 9 w 48"/>
                <a:gd name="T19" fmla="*/ 35 h 39"/>
                <a:gd name="T20" fmla="*/ 0 w 48"/>
                <a:gd name="T21" fmla="*/ 39 h 39"/>
                <a:gd name="T22" fmla="*/ 1 w 48"/>
                <a:gd name="T23" fmla="*/ 29 h 39"/>
                <a:gd name="T24" fmla="*/ 12 w 48"/>
                <a:gd name="T25" fmla="*/ 23 h 39"/>
                <a:gd name="T26" fmla="*/ 18 w 48"/>
                <a:gd name="T27" fmla="*/ 19 h 39"/>
                <a:gd name="T28" fmla="*/ 20 w 48"/>
                <a:gd name="T29" fmla="*/ 17 h 39"/>
                <a:gd name="T30" fmla="*/ 21 w 48"/>
                <a:gd name="T31" fmla="*/ 12 h 39"/>
                <a:gd name="T32" fmla="*/ 22 w 48"/>
                <a:gd name="T33" fmla="*/ 11 h 39"/>
                <a:gd name="T34" fmla="*/ 3 w 48"/>
                <a:gd name="T35" fmla="*/ 9 h 39"/>
                <a:gd name="T36" fmla="*/ 4 w 48"/>
                <a:gd name="T37" fmla="*/ 0 h 39"/>
                <a:gd name="T38" fmla="*/ 29 w 48"/>
                <a:gd name="T39" fmla="*/ 11 h 39"/>
                <a:gd name="T40" fmla="*/ 28 w 48"/>
                <a:gd name="T41" fmla="*/ 18 h 39"/>
                <a:gd name="T42" fmla="*/ 28 w 48"/>
                <a:gd name="T43" fmla="*/ 26 h 39"/>
                <a:gd name="T44" fmla="*/ 29 w 48"/>
                <a:gd name="T45" fmla="*/ 28 h 39"/>
                <a:gd name="T46" fmla="*/ 32 w 48"/>
                <a:gd name="T47" fmla="*/ 30 h 39"/>
                <a:gd name="T48" fmla="*/ 36 w 48"/>
                <a:gd name="T49" fmla="*/ 29 h 39"/>
                <a:gd name="T50" fmla="*/ 38 w 48"/>
                <a:gd name="T51" fmla="*/ 26 h 39"/>
                <a:gd name="T52" fmla="*/ 39 w 48"/>
                <a:gd name="T53" fmla="*/ 19 h 39"/>
                <a:gd name="T54" fmla="*/ 40 w 48"/>
                <a:gd name="T55" fmla="*/ 12 h 39"/>
                <a:gd name="T56" fmla="*/ 29 w 48"/>
                <a:gd name="T57" fmla="*/ 11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48" h="39">
                  <a:moveTo>
                    <a:pt x="4" y="0"/>
                  </a:moveTo>
                  <a:cubicBezTo>
                    <a:pt x="48" y="4"/>
                    <a:pt x="48" y="4"/>
                    <a:pt x="48" y="4"/>
                  </a:cubicBezTo>
                  <a:cubicBezTo>
                    <a:pt x="46" y="23"/>
                    <a:pt x="46" y="23"/>
                    <a:pt x="46" y="23"/>
                  </a:cubicBezTo>
                  <a:cubicBezTo>
                    <a:pt x="46" y="27"/>
                    <a:pt x="45" y="31"/>
                    <a:pt x="44" y="33"/>
                  </a:cubicBezTo>
                  <a:cubicBezTo>
                    <a:pt x="43" y="35"/>
                    <a:pt x="41" y="36"/>
                    <a:pt x="39" y="38"/>
                  </a:cubicBezTo>
                  <a:cubicBezTo>
                    <a:pt x="37" y="39"/>
                    <a:pt x="35" y="39"/>
                    <a:pt x="32" y="39"/>
                  </a:cubicBezTo>
                  <a:cubicBezTo>
                    <a:pt x="29" y="38"/>
                    <a:pt x="26" y="37"/>
                    <a:pt x="24" y="35"/>
                  </a:cubicBezTo>
                  <a:cubicBezTo>
                    <a:pt x="22" y="33"/>
                    <a:pt x="21" y="30"/>
                    <a:pt x="21" y="26"/>
                  </a:cubicBezTo>
                  <a:cubicBezTo>
                    <a:pt x="20" y="28"/>
                    <a:pt x="18" y="29"/>
                    <a:pt x="17" y="30"/>
                  </a:cubicBezTo>
                  <a:cubicBezTo>
                    <a:pt x="16" y="32"/>
                    <a:pt x="13" y="33"/>
                    <a:pt x="9" y="35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1" y="29"/>
                    <a:pt x="1" y="29"/>
                    <a:pt x="1" y="29"/>
                  </a:cubicBezTo>
                  <a:cubicBezTo>
                    <a:pt x="12" y="23"/>
                    <a:pt x="12" y="23"/>
                    <a:pt x="12" y="23"/>
                  </a:cubicBezTo>
                  <a:cubicBezTo>
                    <a:pt x="15" y="21"/>
                    <a:pt x="17" y="20"/>
                    <a:pt x="18" y="19"/>
                  </a:cubicBezTo>
                  <a:cubicBezTo>
                    <a:pt x="19" y="18"/>
                    <a:pt x="20" y="18"/>
                    <a:pt x="20" y="17"/>
                  </a:cubicBezTo>
                  <a:cubicBezTo>
                    <a:pt x="21" y="16"/>
                    <a:pt x="21" y="14"/>
                    <a:pt x="21" y="12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3" y="9"/>
                    <a:pt x="3" y="9"/>
                    <a:pt x="3" y="9"/>
                  </a:cubicBezTo>
                  <a:lnTo>
                    <a:pt x="4" y="0"/>
                  </a:lnTo>
                  <a:close/>
                  <a:moveTo>
                    <a:pt x="29" y="11"/>
                  </a:moveTo>
                  <a:cubicBezTo>
                    <a:pt x="28" y="18"/>
                    <a:pt x="28" y="18"/>
                    <a:pt x="28" y="18"/>
                  </a:cubicBezTo>
                  <a:cubicBezTo>
                    <a:pt x="28" y="22"/>
                    <a:pt x="27" y="25"/>
                    <a:pt x="28" y="26"/>
                  </a:cubicBezTo>
                  <a:cubicBezTo>
                    <a:pt x="28" y="27"/>
                    <a:pt x="28" y="28"/>
                    <a:pt x="29" y="28"/>
                  </a:cubicBezTo>
                  <a:cubicBezTo>
                    <a:pt x="30" y="29"/>
                    <a:pt x="31" y="30"/>
                    <a:pt x="32" y="30"/>
                  </a:cubicBezTo>
                  <a:cubicBezTo>
                    <a:pt x="34" y="30"/>
                    <a:pt x="35" y="30"/>
                    <a:pt x="36" y="29"/>
                  </a:cubicBezTo>
                  <a:cubicBezTo>
                    <a:pt x="37" y="28"/>
                    <a:pt x="38" y="27"/>
                    <a:pt x="38" y="26"/>
                  </a:cubicBezTo>
                  <a:cubicBezTo>
                    <a:pt x="38" y="25"/>
                    <a:pt x="39" y="23"/>
                    <a:pt x="39" y="19"/>
                  </a:cubicBezTo>
                  <a:cubicBezTo>
                    <a:pt x="40" y="12"/>
                    <a:pt x="40" y="12"/>
                    <a:pt x="40" y="12"/>
                  </a:cubicBezTo>
                  <a:lnTo>
                    <a:pt x="29" y="1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32" name="îś1iḓê"/>
            <p:cNvSpPr/>
            <p:nvPr/>
          </p:nvSpPr>
          <p:spPr bwMode="auto">
            <a:xfrm>
              <a:off x="1641372" y="5312365"/>
              <a:ext cx="82550" cy="66675"/>
            </a:xfrm>
            <a:custGeom>
              <a:avLst/>
              <a:gdLst>
                <a:gd name="T0" fmla="*/ 15 w 45"/>
                <a:gd name="T1" fmla="*/ 0 h 36"/>
                <a:gd name="T2" fmla="*/ 16 w 45"/>
                <a:gd name="T3" fmla="*/ 8 h 36"/>
                <a:gd name="T4" fmla="*/ 9 w 45"/>
                <a:gd name="T5" fmla="*/ 12 h 36"/>
                <a:gd name="T6" fmla="*/ 7 w 45"/>
                <a:gd name="T7" fmla="*/ 18 h 36"/>
                <a:gd name="T8" fmla="*/ 9 w 45"/>
                <a:gd name="T9" fmla="*/ 25 h 36"/>
                <a:gd name="T10" fmla="*/ 13 w 45"/>
                <a:gd name="T11" fmla="*/ 27 h 36"/>
                <a:gd name="T12" fmla="*/ 16 w 45"/>
                <a:gd name="T13" fmla="*/ 26 h 36"/>
                <a:gd name="T14" fmla="*/ 18 w 45"/>
                <a:gd name="T15" fmla="*/ 23 h 36"/>
                <a:gd name="T16" fmla="*/ 20 w 45"/>
                <a:gd name="T17" fmla="*/ 15 h 36"/>
                <a:gd name="T18" fmla="*/ 24 w 45"/>
                <a:gd name="T19" fmla="*/ 5 h 36"/>
                <a:gd name="T20" fmla="*/ 33 w 45"/>
                <a:gd name="T21" fmla="*/ 1 h 36"/>
                <a:gd name="T22" fmla="*/ 39 w 45"/>
                <a:gd name="T23" fmla="*/ 3 h 36"/>
                <a:gd name="T24" fmla="*/ 44 w 45"/>
                <a:gd name="T25" fmla="*/ 9 h 36"/>
                <a:gd name="T26" fmla="*/ 45 w 45"/>
                <a:gd name="T27" fmla="*/ 17 h 36"/>
                <a:gd name="T28" fmla="*/ 42 w 45"/>
                <a:gd name="T29" fmla="*/ 30 h 36"/>
                <a:gd name="T30" fmla="*/ 32 w 45"/>
                <a:gd name="T31" fmla="*/ 34 h 36"/>
                <a:gd name="T32" fmla="*/ 31 w 45"/>
                <a:gd name="T33" fmla="*/ 25 h 36"/>
                <a:gd name="T34" fmla="*/ 36 w 45"/>
                <a:gd name="T35" fmla="*/ 23 h 36"/>
                <a:gd name="T36" fmla="*/ 38 w 45"/>
                <a:gd name="T37" fmla="*/ 17 h 36"/>
                <a:gd name="T38" fmla="*/ 36 w 45"/>
                <a:gd name="T39" fmla="*/ 11 h 36"/>
                <a:gd name="T40" fmla="*/ 33 w 45"/>
                <a:gd name="T41" fmla="*/ 10 h 36"/>
                <a:gd name="T42" fmla="*/ 31 w 45"/>
                <a:gd name="T43" fmla="*/ 11 h 36"/>
                <a:gd name="T44" fmla="*/ 28 w 45"/>
                <a:gd name="T45" fmla="*/ 19 h 36"/>
                <a:gd name="T46" fmla="*/ 25 w 45"/>
                <a:gd name="T47" fmla="*/ 29 h 36"/>
                <a:gd name="T48" fmla="*/ 20 w 45"/>
                <a:gd name="T49" fmla="*/ 34 h 36"/>
                <a:gd name="T50" fmla="*/ 13 w 45"/>
                <a:gd name="T51" fmla="*/ 36 h 36"/>
                <a:gd name="T52" fmla="*/ 6 w 45"/>
                <a:gd name="T53" fmla="*/ 33 h 36"/>
                <a:gd name="T54" fmla="*/ 1 w 45"/>
                <a:gd name="T55" fmla="*/ 28 h 36"/>
                <a:gd name="T56" fmla="*/ 0 w 45"/>
                <a:gd name="T57" fmla="*/ 18 h 36"/>
                <a:gd name="T58" fmla="*/ 3 w 45"/>
                <a:gd name="T59" fmla="*/ 5 h 36"/>
                <a:gd name="T60" fmla="*/ 15 w 45"/>
                <a:gd name="T61" fmla="*/ 0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45" h="36">
                  <a:moveTo>
                    <a:pt x="15" y="0"/>
                  </a:moveTo>
                  <a:cubicBezTo>
                    <a:pt x="16" y="8"/>
                    <a:pt x="16" y="8"/>
                    <a:pt x="16" y="8"/>
                  </a:cubicBezTo>
                  <a:cubicBezTo>
                    <a:pt x="13" y="9"/>
                    <a:pt x="10" y="10"/>
                    <a:pt x="9" y="12"/>
                  </a:cubicBezTo>
                  <a:cubicBezTo>
                    <a:pt x="8" y="13"/>
                    <a:pt x="7" y="15"/>
                    <a:pt x="7" y="18"/>
                  </a:cubicBezTo>
                  <a:cubicBezTo>
                    <a:pt x="7" y="21"/>
                    <a:pt x="8" y="23"/>
                    <a:pt x="9" y="25"/>
                  </a:cubicBezTo>
                  <a:cubicBezTo>
                    <a:pt x="10" y="26"/>
                    <a:pt x="12" y="27"/>
                    <a:pt x="13" y="27"/>
                  </a:cubicBezTo>
                  <a:cubicBezTo>
                    <a:pt x="14" y="27"/>
                    <a:pt x="15" y="26"/>
                    <a:pt x="16" y="26"/>
                  </a:cubicBezTo>
                  <a:cubicBezTo>
                    <a:pt x="17" y="25"/>
                    <a:pt x="17" y="24"/>
                    <a:pt x="18" y="23"/>
                  </a:cubicBezTo>
                  <a:cubicBezTo>
                    <a:pt x="18" y="22"/>
                    <a:pt x="19" y="19"/>
                    <a:pt x="20" y="15"/>
                  </a:cubicBezTo>
                  <a:cubicBezTo>
                    <a:pt x="21" y="11"/>
                    <a:pt x="22" y="7"/>
                    <a:pt x="24" y="5"/>
                  </a:cubicBezTo>
                  <a:cubicBezTo>
                    <a:pt x="26" y="3"/>
                    <a:pt x="29" y="1"/>
                    <a:pt x="33" y="1"/>
                  </a:cubicBezTo>
                  <a:cubicBezTo>
                    <a:pt x="35" y="1"/>
                    <a:pt x="37" y="2"/>
                    <a:pt x="39" y="3"/>
                  </a:cubicBezTo>
                  <a:cubicBezTo>
                    <a:pt x="41" y="4"/>
                    <a:pt x="43" y="6"/>
                    <a:pt x="44" y="9"/>
                  </a:cubicBezTo>
                  <a:cubicBezTo>
                    <a:pt x="45" y="11"/>
                    <a:pt x="45" y="14"/>
                    <a:pt x="45" y="17"/>
                  </a:cubicBezTo>
                  <a:cubicBezTo>
                    <a:pt x="45" y="23"/>
                    <a:pt x="44" y="27"/>
                    <a:pt x="42" y="30"/>
                  </a:cubicBezTo>
                  <a:cubicBezTo>
                    <a:pt x="39" y="33"/>
                    <a:pt x="36" y="34"/>
                    <a:pt x="32" y="34"/>
                  </a:cubicBezTo>
                  <a:cubicBezTo>
                    <a:pt x="31" y="25"/>
                    <a:pt x="31" y="25"/>
                    <a:pt x="31" y="25"/>
                  </a:cubicBezTo>
                  <a:cubicBezTo>
                    <a:pt x="34" y="25"/>
                    <a:pt x="35" y="24"/>
                    <a:pt x="36" y="23"/>
                  </a:cubicBezTo>
                  <a:cubicBezTo>
                    <a:pt x="37" y="22"/>
                    <a:pt x="38" y="20"/>
                    <a:pt x="38" y="17"/>
                  </a:cubicBezTo>
                  <a:cubicBezTo>
                    <a:pt x="38" y="15"/>
                    <a:pt x="37" y="13"/>
                    <a:pt x="36" y="11"/>
                  </a:cubicBezTo>
                  <a:cubicBezTo>
                    <a:pt x="35" y="10"/>
                    <a:pt x="35" y="10"/>
                    <a:pt x="33" y="10"/>
                  </a:cubicBezTo>
                  <a:cubicBezTo>
                    <a:pt x="32" y="10"/>
                    <a:pt x="31" y="10"/>
                    <a:pt x="31" y="11"/>
                  </a:cubicBezTo>
                  <a:cubicBezTo>
                    <a:pt x="30" y="12"/>
                    <a:pt x="29" y="15"/>
                    <a:pt x="28" y="19"/>
                  </a:cubicBezTo>
                  <a:cubicBezTo>
                    <a:pt x="27" y="24"/>
                    <a:pt x="26" y="27"/>
                    <a:pt x="25" y="29"/>
                  </a:cubicBezTo>
                  <a:cubicBezTo>
                    <a:pt x="24" y="31"/>
                    <a:pt x="22" y="33"/>
                    <a:pt x="20" y="34"/>
                  </a:cubicBezTo>
                  <a:cubicBezTo>
                    <a:pt x="18" y="35"/>
                    <a:pt x="16" y="36"/>
                    <a:pt x="13" y="36"/>
                  </a:cubicBezTo>
                  <a:cubicBezTo>
                    <a:pt x="11" y="36"/>
                    <a:pt x="8" y="35"/>
                    <a:pt x="6" y="33"/>
                  </a:cubicBezTo>
                  <a:cubicBezTo>
                    <a:pt x="4" y="32"/>
                    <a:pt x="2" y="30"/>
                    <a:pt x="1" y="28"/>
                  </a:cubicBezTo>
                  <a:cubicBezTo>
                    <a:pt x="0" y="25"/>
                    <a:pt x="0" y="22"/>
                    <a:pt x="0" y="18"/>
                  </a:cubicBezTo>
                  <a:cubicBezTo>
                    <a:pt x="0" y="12"/>
                    <a:pt x="1" y="8"/>
                    <a:pt x="3" y="5"/>
                  </a:cubicBezTo>
                  <a:cubicBezTo>
                    <a:pt x="6" y="2"/>
                    <a:pt x="10" y="0"/>
                    <a:pt x="15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33" name="íş1ïḓe"/>
            <p:cNvSpPr/>
            <p:nvPr/>
          </p:nvSpPr>
          <p:spPr bwMode="auto">
            <a:xfrm>
              <a:off x="1642959" y="5385390"/>
              <a:ext cx="84138" cy="22225"/>
            </a:xfrm>
            <a:custGeom>
              <a:avLst/>
              <a:gdLst>
                <a:gd name="T0" fmla="*/ 0 w 53"/>
                <a:gd name="T1" fmla="*/ 5 h 14"/>
                <a:gd name="T2" fmla="*/ 51 w 53"/>
                <a:gd name="T3" fmla="*/ 0 h 14"/>
                <a:gd name="T4" fmla="*/ 53 w 53"/>
                <a:gd name="T5" fmla="*/ 11 h 14"/>
                <a:gd name="T6" fmla="*/ 1 w 53"/>
                <a:gd name="T7" fmla="*/ 14 h 14"/>
                <a:gd name="T8" fmla="*/ 0 w 53"/>
                <a:gd name="T9" fmla="*/ 5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3" h="14">
                  <a:moveTo>
                    <a:pt x="0" y="5"/>
                  </a:moveTo>
                  <a:lnTo>
                    <a:pt x="51" y="0"/>
                  </a:lnTo>
                  <a:lnTo>
                    <a:pt x="53" y="11"/>
                  </a:lnTo>
                  <a:lnTo>
                    <a:pt x="1" y="14"/>
                  </a:lnTo>
                  <a:lnTo>
                    <a:pt x="0" y="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34" name="ïṩlîḋè"/>
            <p:cNvSpPr/>
            <p:nvPr/>
          </p:nvSpPr>
          <p:spPr bwMode="auto">
            <a:xfrm>
              <a:off x="1649309" y="5407615"/>
              <a:ext cx="84138" cy="66675"/>
            </a:xfrm>
            <a:custGeom>
              <a:avLst/>
              <a:gdLst>
                <a:gd name="T0" fmla="*/ 0 w 53"/>
                <a:gd name="T1" fmla="*/ 22 h 42"/>
                <a:gd name="T2" fmla="*/ 42 w 53"/>
                <a:gd name="T3" fmla="*/ 17 h 42"/>
                <a:gd name="T4" fmla="*/ 39 w 53"/>
                <a:gd name="T5" fmla="*/ 1 h 42"/>
                <a:gd name="T6" fmla="*/ 49 w 53"/>
                <a:gd name="T7" fmla="*/ 0 h 42"/>
                <a:gd name="T8" fmla="*/ 53 w 53"/>
                <a:gd name="T9" fmla="*/ 41 h 42"/>
                <a:gd name="T10" fmla="*/ 45 w 53"/>
                <a:gd name="T11" fmla="*/ 42 h 42"/>
                <a:gd name="T12" fmla="*/ 43 w 53"/>
                <a:gd name="T13" fmla="*/ 27 h 42"/>
                <a:gd name="T14" fmla="*/ 1 w 53"/>
                <a:gd name="T15" fmla="*/ 33 h 42"/>
                <a:gd name="T16" fmla="*/ 0 w 53"/>
                <a:gd name="T17" fmla="*/ 22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3" h="42">
                  <a:moveTo>
                    <a:pt x="0" y="22"/>
                  </a:moveTo>
                  <a:lnTo>
                    <a:pt x="42" y="17"/>
                  </a:lnTo>
                  <a:lnTo>
                    <a:pt x="39" y="1"/>
                  </a:lnTo>
                  <a:lnTo>
                    <a:pt x="49" y="0"/>
                  </a:lnTo>
                  <a:lnTo>
                    <a:pt x="53" y="41"/>
                  </a:lnTo>
                  <a:lnTo>
                    <a:pt x="45" y="42"/>
                  </a:lnTo>
                  <a:lnTo>
                    <a:pt x="43" y="27"/>
                  </a:lnTo>
                  <a:lnTo>
                    <a:pt x="1" y="33"/>
                  </a:lnTo>
                  <a:lnTo>
                    <a:pt x="0" y="2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35" name="ïṣľîďe"/>
            <p:cNvSpPr/>
            <p:nvPr/>
          </p:nvSpPr>
          <p:spPr bwMode="auto">
            <a:xfrm>
              <a:off x="1662009" y="5471115"/>
              <a:ext cx="90488" cy="73025"/>
            </a:xfrm>
            <a:custGeom>
              <a:avLst/>
              <a:gdLst>
                <a:gd name="T0" fmla="*/ 0 w 57"/>
                <a:gd name="T1" fmla="*/ 29 h 46"/>
                <a:gd name="T2" fmla="*/ 21 w 57"/>
                <a:gd name="T3" fmla="*/ 24 h 46"/>
                <a:gd name="T4" fmla="*/ 45 w 57"/>
                <a:gd name="T5" fmla="*/ 0 h 46"/>
                <a:gd name="T6" fmla="*/ 49 w 57"/>
                <a:gd name="T7" fmla="*/ 11 h 46"/>
                <a:gd name="T8" fmla="*/ 31 w 57"/>
                <a:gd name="T9" fmla="*/ 28 h 46"/>
                <a:gd name="T10" fmla="*/ 53 w 57"/>
                <a:gd name="T11" fmla="*/ 35 h 46"/>
                <a:gd name="T12" fmla="*/ 57 w 57"/>
                <a:gd name="T13" fmla="*/ 46 h 46"/>
                <a:gd name="T14" fmla="*/ 23 w 57"/>
                <a:gd name="T15" fmla="*/ 35 h 46"/>
                <a:gd name="T16" fmla="*/ 2 w 57"/>
                <a:gd name="T17" fmla="*/ 39 h 46"/>
                <a:gd name="T18" fmla="*/ 0 w 57"/>
                <a:gd name="T19" fmla="*/ 29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7" h="46">
                  <a:moveTo>
                    <a:pt x="0" y="29"/>
                  </a:moveTo>
                  <a:lnTo>
                    <a:pt x="21" y="24"/>
                  </a:lnTo>
                  <a:lnTo>
                    <a:pt x="45" y="0"/>
                  </a:lnTo>
                  <a:lnTo>
                    <a:pt x="49" y="11"/>
                  </a:lnTo>
                  <a:lnTo>
                    <a:pt x="31" y="28"/>
                  </a:lnTo>
                  <a:lnTo>
                    <a:pt x="53" y="35"/>
                  </a:lnTo>
                  <a:lnTo>
                    <a:pt x="57" y="46"/>
                  </a:lnTo>
                  <a:lnTo>
                    <a:pt x="23" y="35"/>
                  </a:lnTo>
                  <a:lnTo>
                    <a:pt x="2" y="39"/>
                  </a:lnTo>
                  <a:lnTo>
                    <a:pt x="0" y="2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36" name="íśļiḓe"/>
            <p:cNvSpPr/>
            <p:nvPr/>
          </p:nvSpPr>
          <p:spPr bwMode="auto">
            <a:xfrm>
              <a:off x="1704872" y="5609228"/>
              <a:ext cx="85725" cy="80963"/>
            </a:xfrm>
            <a:custGeom>
              <a:avLst/>
              <a:gdLst>
                <a:gd name="T0" fmla="*/ 15 w 47"/>
                <a:gd name="T1" fmla="*/ 2 h 44"/>
                <a:gd name="T2" fmla="*/ 26 w 47"/>
                <a:gd name="T3" fmla="*/ 0 h 44"/>
                <a:gd name="T4" fmla="*/ 33 w 47"/>
                <a:gd name="T5" fmla="*/ 1 h 44"/>
                <a:gd name="T6" fmla="*/ 39 w 47"/>
                <a:gd name="T7" fmla="*/ 4 h 44"/>
                <a:gd name="T8" fmla="*/ 44 w 47"/>
                <a:gd name="T9" fmla="*/ 12 h 44"/>
                <a:gd name="T10" fmla="*/ 45 w 47"/>
                <a:gd name="T11" fmla="*/ 29 h 44"/>
                <a:gd name="T12" fmla="*/ 32 w 47"/>
                <a:gd name="T13" fmla="*/ 41 h 44"/>
                <a:gd name="T14" fmla="*/ 15 w 47"/>
                <a:gd name="T15" fmla="*/ 43 h 44"/>
                <a:gd name="T16" fmla="*/ 3 w 47"/>
                <a:gd name="T17" fmla="*/ 31 h 44"/>
                <a:gd name="T18" fmla="*/ 2 w 47"/>
                <a:gd name="T19" fmla="*/ 14 h 44"/>
                <a:gd name="T20" fmla="*/ 15 w 47"/>
                <a:gd name="T21" fmla="*/ 2 h 44"/>
                <a:gd name="T22" fmla="*/ 19 w 47"/>
                <a:gd name="T23" fmla="*/ 10 h 44"/>
                <a:gd name="T24" fmla="*/ 10 w 47"/>
                <a:gd name="T25" fmla="*/ 18 h 44"/>
                <a:gd name="T26" fmla="*/ 10 w 47"/>
                <a:gd name="T27" fmla="*/ 28 h 44"/>
                <a:gd name="T28" fmla="*/ 17 w 47"/>
                <a:gd name="T29" fmla="*/ 34 h 44"/>
                <a:gd name="T30" fmla="*/ 29 w 47"/>
                <a:gd name="T31" fmla="*/ 33 h 44"/>
                <a:gd name="T32" fmla="*/ 38 w 47"/>
                <a:gd name="T33" fmla="*/ 25 h 44"/>
                <a:gd name="T34" fmla="*/ 37 w 47"/>
                <a:gd name="T35" fmla="*/ 16 h 44"/>
                <a:gd name="T36" fmla="*/ 30 w 47"/>
                <a:gd name="T37" fmla="*/ 9 h 44"/>
                <a:gd name="T38" fmla="*/ 19 w 47"/>
                <a:gd name="T39" fmla="*/ 10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47" h="44">
                  <a:moveTo>
                    <a:pt x="15" y="2"/>
                  </a:moveTo>
                  <a:cubicBezTo>
                    <a:pt x="19" y="0"/>
                    <a:pt x="23" y="0"/>
                    <a:pt x="26" y="0"/>
                  </a:cubicBezTo>
                  <a:cubicBezTo>
                    <a:pt x="28" y="0"/>
                    <a:pt x="31" y="0"/>
                    <a:pt x="33" y="1"/>
                  </a:cubicBezTo>
                  <a:cubicBezTo>
                    <a:pt x="35" y="2"/>
                    <a:pt x="37" y="3"/>
                    <a:pt x="39" y="4"/>
                  </a:cubicBezTo>
                  <a:cubicBezTo>
                    <a:pt x="41" y="6"/>
                    <a:pt x="43" y="9"/>
                    <a:pt x="44" y="12"/>
                  </a:cubicBezTo>
                  <a:cubicBezTo>
                    <a:pt x="47" y="18"/>
                    <a:pt x="47" y="24"/>
                    <a:pt x="45" y="29"/>
                  </a:cubicBezTo>
                  <a:cubicBezTo>
                    <a:pt x="43" y="34"/>
                    <a:pt x="39" y="38"/>
                    <a:pt x="32" y="41"/>
                  </a:cubicBezTo>
                  <a:cubicBezTo>
                    <a:pt x="26" y="44"/>
                    <a:pt x="20" y="44"/>
                    <a:pt x="15" y="43"/>
                  </a:cubicBezTo>
                  <a:cubicBezTo>
                    <a:pt x="9" y="41"/>
                    <a:pt x="5" y="37"/>
                    <a:pt x="3" y="31"/>
                  </a:cubicBezTo>
                  <a:cubicBezTo>
                    <a:pt x="0" y="25"/>
                    <a:pt x="0" y="19"/>
                    <a:pt x="2" y="14"/>
                  </a:cubicBezTo>
                  <a:cubicBezTo>
                    <a:pt x="4" y="9"/>
                    <a:pt x="8" y="5"/>
                    <a:pt x="15" y="2"/>
                  </a:cubicBezTo>
                  <a:close/>
                  <a:moveTo>
                    <a:pt x="19" y="10"/>
                  </a:moveTo>
                  <a:cubicBezTo>
                    <a:pt x="14" y="12"/>
                    <a:pt x="11" y="15"/>
                    <a:pt x="10" y="18"/>
                  </a:cubicBezTo>
                  <a:cubicBezTo>
                    <a:pt x="8" y="21"/>
                    <a:pt x="8" y="24"/>
                    <a:pt x="10" y="28"/>
                  </a:cubicBezTo>
                  <a:cubicBezTo>
                    <a:pt x="11" y="31"/>
                    <a:pt x="13" y="33"/>
                    <a:pt x="17" y="34"/>
                  </a:cubicBezTo>
                  <a:cubicBezTo>
                    <a:pt x="20" y="35"/>
                    <a:pt x="24" y="35"/>
                    <a:pt x="29" y="33"/>
                  </a:cubicBezTo>
                  <a:cubicBezTo>
                    <a:pt x="33" y="31"/>
                    <a:pt x="36" y="28"/>
                    <a:pt x="38" y="25"/>
                  </a:cubicBezTo>
                  <a:cubicBezTo>
                    <a:pt x="39" y="22"/>
                    <a:pt x="39" y="19"/>
                    <a:pt x="37" y="16"/>
                  </a:cubicBezTo>
                  <a:cubicBezTo>
                    <a:pt x="36" y="12"/>
                    <a:pt x="34" y="10"/>
                    <a:pt x="30" y="9"/>
                  </a:cubicBezTo>
                  <a:cubicBezTo>
                    <a:pt x="27" y="8"/>
                    <a:pt x="23" y="8"/>
                    <a:pt x="19" y="1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37" name="î$ḷïďe"/>
            <p:cNvSpPr/>
            <p:nvPr/>
          </p:nvSpPr>
          <p:spPr bwMode="auto">
            <a:xfrm>
              <a:off x="1733447" y="5675903"/>
              <a:ext cx="98425" cy="66675"/>
            </a:xfrm>
            <a:custGeom>
              <a:avLst/>
              <a:gdLst>
                <a:gd name="T0" fmla="*/ 0 w 62"/>
                <a:gd name="T1" fmla="*/ 26 h 42"/>
                <a:gd name="T2" fmla="*/ 45 w 62"/>
                <a:gd name="T3" fmla="*/ 0 h 42"/>
                <a:gd name="T4" fmla="*/ 62 w 62"/>
                <a:gd name="T5" fmla="*/ 30 h 42"/>
                <a:gd name="T6" fmla="*/ 55 w 62"/>
                <a:gd name="T7" fmla="*/ 35 h 42"/>
                <a:gd name="T8" fmla="*/ 43 w 62"/>
                <a:gd name="T9" fmla="*/ 14 h 42"/>
                <a:gd name="T10" fmla="*/ 32 w 62"/>
                <a:gd name="T11" fmla="*/ 20 h 42"/>
                <a:gd name="T12" fmla="*/ 43 w 62"/>
                <a:gd name="T13" fmla="*/ 38 h 42"/>
                <a:gd name="T14" fmla="*/ 35 w 62"/>
                <a:gd name="T15" fmla="*/ 42 h 42"/>
                <a:gd name="T16" fmla="*/ 25 w 62"/>
                <a:gd name="T17" fmla="*/ 23 h 42"/>
                <a:gd name="T18" fmla="*/ 6 w 62"/>
                <a:gd name="T19" fmla="*/ 35 h 42"/>
                <a:gd name="T20" fmla="*/ 0 w 62"/>
                <a:gd name="T21" fmla="*/ 26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62" h="42">
                  <a:moveTo>
                    <a:pt x="0" y="26"/>
                  </a:moveTo>
                  <a:lnTo>
                    <a:pt x="45" y="0"/>
                  </a:lnTo>
                  <a:lnTo>
                    <a:pt x="62" y="30"/>
                  </a:lnTo>
                  <a:lnTo>
                    <a:pt x="55" y="35"/>
                  </a:lnTo>
                  <a:lnTo>
                    <a:pt x="43" y="14"/>
                  </a:lnTo>
                  <a:lnTo>
                    <a:pt x="32" y="20"/>
                  </a:lnTo>
                  <a:lnTo>
                    <a:pt x="43" y="38"/>
                  </a:lnTo>
                  <a:lnTo>
                    <a:pt x="35" y="42"/>
                  </a:lnTo>
                  <a:lnTo>
                    <a:pt x="25" y="23"/>
                  </a:lnTo>
                  <a:lnTo>
                    <a:pt x="6" y="35"/>
                  </a:lnTo>
                  <a:lnTo>
                    <a:pt x="0" y="2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38" name="îśḻîḍe"/>
            <p:cNvSpPr/>
            <p:nvPr/>
          </p:nvSpPr>
          <p:spPr bwMode="auto">
            <a:xfrm>
              <a:off x="1812822" y="5785440"/>
              <a:ext cx="85725" cy="82550"/>
            </a:xfrm>
            <a:custGeom>
              <a:avLst/>
              <a:gdLst>
                <a:gd name="T0" fmla="*/ 6 w 46"/>
                <a:gd name="T1" fmla="*/ 13 h 45"/>
                <a:gd name="T2" fmla="*/ 12 w 46"/>
                <a:gd name="T3" fmla="*/ 19 h 45"/>
                <a:gd name="T4" fmla="*/ 9 w 46"/>
                <a:gd name="T5" fmla="*/ 26 h 45"/>
                <a:gd name="T6" fmla="*/ 11 w 46"/>
                <a:gd name="T7" fmla="*/ 32 h 45"/>
                <a:gd name="T8" fmla="*/ 17 w 46"/>
                <a:gd name="T9" fmla="*/ 36 h 45"/>
                <a:gd name="T10" fmla="*/ 22 w 46"/>
                <a:gd name="T11" fmla="*/ 35 h 45"/>
                <a:gd name="T12" fmla="*/ 23 w 46"/>
                <a:gd name="T13" fmla="*/ 32 h 45"/>
                <a:gd name="T14" fmla="*/ 22 w 46"/>
                <a:gd name="T15" fmla="*/ 29 h 45"/>
                <a:gd name="T16" fmla="*/ 19 w 46"/>
                <a:gd name="T17" fmla="*/ 22 h 45"/>
                <a:gd name="T18" fmla="*/ 16 w 46"/>
                <a:gd name="T19" fmla="*/ 12 h 45"/>
                <a:gd name="T20" fmla="*/ 21 w 46"/>
                <a:gd name="T21" fmla="*/ 3 h 45"/>
                <a:gd name="T22" fmla="*/ 27 w 46"/>
                <a:gd name="T23" fmla="*/ 0 h 45"/>
                <a:gd name="T24" fmla="*/ 34 w 46"/>
                <a:gd name="T25" fmla="*/ 2 h 45"/>
                <a:gd name="T26" fmla="*/ 40 w 46"/>
                <a:gd name="T27" fmla="*/ 8 h 45"/>
                <a:gd name="T28" fmla="*/ 45 w 46"/>
                <a:gd name="T29" fmla="*/ 19 h 45"/>
                <a:gd name="T30" fmla="*/ 41 w 46"/>
                <a:gd name="T31" fmla="*/ 29 h 45"/>
                <a:gd name="T32" fmla="*/ 35 w 46"/>
                <a:gd name="T33" fmla="*/ 22 h 45"/>
                <a:gd name="T34" fmla="*/ 37 w 46"/>
                <a:gd name="T35" fmla="*/ 17 h 45"/>
                <a:gd name="T36" fmla="*/ 35 w 46"/>
                <a:gd name="T37" fmla="*/ 12 h 45"/>
                <a:gd name="T38" fmla="*/ 30 w 46"/>
                <a:gd name="T39" fmla="*/ 8 h 45"/>
                <a:gd name="T40" fmla="*/ 27 w 46"/>
                <a:gd name="T41" fmla="*/ 9 h 45"/>
                <a:gd name="T42" fmla="*/ 25 w 46"/>
                <a:gd name="T43" fmla="*/ 12 h 45"/>
                <a:gd name="T44" fmla="*/ 28 w 46"/>
                <a:gd name="T45" fmla="*/ 20 h 45"/>
                <a:gd name="T46" fmla="*/ 32 w 46"/>
                <a:gd name="T47" fmla="*/ 29 h 45"/>
                <a:gd name="T48" fmla="*/ 31 w 46"/>
                <a:gd name="T49" fmla="*/ 36 h 45"/>
                <a:gd name="T50" fmla="*/ 27 w 46"/>
                <a:gd name="T51" fmla="*/ 42 h 45"/>
                <a:gd name="T52" fmla="*/ 20 w 46"/>
                <a:gd name="T53" fmla="*/ 45 h 45"/>
                <a:gd name="T54" fmla="*/ 13 w 46"/>
                <a:gd name="T55" fmla="*/ 43 h 45"/>
                <a:gd name="T56" fmla="*/ 6 w 46"/>
                <a:gd name="T57" fmla="*/ 37 h 45"/>
                <a:gd name="T58" fmla="*/ 0 w 46"/>
                <a:gd name="T59" fmla="*/ 24 h 45"/>
                <a:gd name="T60" fmla="*/ 6 w 46"/>
                <a:gd name="T61" fmla="*/ 13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46" h="45">
                  <a:moveTo>
                    <a:pt x="6" y="13"/>
                  </a:moveTo>
                  <a:cubicBezTo>
                    <a:pt x="12" y="19"/>
                    <a:pt x="12" y="19"/>
                    <a:pt x="12" y="19"/>
                  </a:cubicBezTo>
                  <a:cubicBezTo>
                    <a:pt x="10" y="21"/>
                    <a:pt x="9" y="24"/>
                    <a:pt x="9" y="26"/>
                  </a:cubicBezTo>
                  <a:cubicBezTo>
                    <a:pt x="9" y="28"/>
                    <a:pt x="10" y="30"/>
                    <a:pt x="11" y="32"/>
                  </a:cubicBezTo>
                  <a:cubicBezTo>
                    <a:pt x="13" y="34"/>
                    <a:pt x="15" y="35"/>
                    <a:pt x="17" y="36"/>
                  </a:cubicBezTo>
                  <a:cubicBezTo>
                    <a:pt x="19" y="36"/>
                    <a:pt x="20" y="36"/>
                    <a:pt x="22" y="35"/>
                  </a:cubicBezTo>
                  <a:cubicBezTo>
                    <a:pt x="22" y="34"/>
                    <a:pt x="23" y="33"/>
                    <a:pt x="23" y="32"/>
                  </a:cubicBezTo>
                  <a:cubicBezTo>
                    <a:pt x="23" y="32"/>
                    <a:pt x="23" y="30"/>
                    <a:pt x="22" y="29"/>
                  </a:cubicBezTo>
                  <a:cubicBezTo>
                    <a:pt x="22" y="28"/>
                    <a:pt x="21" y="26"/>
                    <a:pt x="19" y="22"/>
                  </a:cubicBezTo>
                  <a:cubicBezTo>
                    <a:pt x="17" y="18"/>
                    <a:pt x="16" y="14"/>
                    <a:pt x="16" y="12"/>
                  </a:cubicBezTo>
                  <a:cubicBezTo>
                    <a:pt x="17" y="8"/>
                    <a:pt x="18" y="5"/>
                    <a:pt x="21" y="3"/>
                  </a:cubicBezTo>
                  <a:cubicBezTo>
                    <a:pt x="23" y="1"/>
                    <a:pt x="25" y="1"/>
                    <a:pt x="27" y="0"/>
                  </a:cubicBezTo>
                  <a:cubicBezTo>
                    <a:pt x="29" y="0"/>
                    <a:pt x="31" y="1"/>
                    <a:pt x="34" y="2"/>
                  </a:cubicBezTo>
                  <a:cubicBezTo>
                    <a:pt x="36" y="3"/>
                    <a:pt x="38" y="5"/>
                    <a:pt x="40" y="8"/>
                  </a:cubicBezTo>
                  <a:cubicBezTo>
                    <a:pt x="44" y="12"/>
                    <a:pt x="46" y="16"/>
                    <a:pt x="45" y="19"/>
                  </a:cubicBezTo>
                  <a:cubicBezTo>
                    <a:pt x="45" y="23"/>
                    <a:pt x="44" y="26"/>
                    <a:pt x="41" y="29"/>
                  </a:cubicBezTo>
                  <a:cubicBezTo>
                    <a:pt x="35" y="22"/>
                    <a:pt x="35" y="22"/>
                    <a:pt x="35" y="22"/>
                  </a:cubicBezTo>
                  <a:cubicBezTo>
                    <a:pt x="36" y="21"/>
                    <a:pt x="37" y="19"/>
                    <a:pt x="37" y="17"/>
                  </a:cubicBezTo>
                  <a:cubicBezTo>
                    <a:pt x="37" y="16"/>
                    <a:pt x="36" y="14"/>
                    <a:pt x="35" y="12"/>
                  </a:cubicBezTo>
                  <a:cubicBezTo>
                    <a:pt x="33" y="10"/>
                    <a:pt x="31" y="9"/>
                    <a:pt x="30" y="8"/>
                  </a:cubicBezTo>
                  <a:cubicBezTo>
                    <a:pt x="28" y="8"/>
                    <a:pt x="27" y="8"/>
                    <a:pt x="27" y="9"/>
                  </a:cubicBezTo>
                  <a:cubicBezTo>
                    <a:pt x="26" y="10"/>
                    <a:pt x="25" y="11"/>
                    <a:pt x="25" y="12"/>
                  </a:cubicBezTo>
                  <a:cubicBezTo>
                    <a:pt x="25" y="13"/>
                    <a:pt x="26" y="16"/>
                    <a:pt x="28" y="20"/>
                  </a:cubicBezTo>
                  <a:cubicBezTo>
                    <a:pt x="30" y="24"/>
                    <a:pt x="31" y="27"/>
                    <a:pt x="32" y="29"/>
                  </a:cubicBezTo>
                  <a:cubicBezTo>
                    <a:pt x="32" y="32"/>
                    <a:pt x="32" y="34"/>
                    <a:pt x="31" y="36"/>
                  </a:cubicBezTo>
                  <a:cubicBezTo>
                    <a:pt x="31" y="38"/>
                    <a:pt x="29" y="40"/>
                    <a:pt x="27" y="42"/>
                  </a:cubicBezTo>
                  <a:cubicBezTo>
                    <a:pt x="25" y="43"/>
                    <a:pt x="23" y="44"/>
                    <a:pt x="20" y="45"/>
                  </a:cubicBezTo>
                  <a:cubicBezTo>
                    <a:pt x="18" y="45"/>
                    <a:pt x="15" y="44"/>
                    <a:pt x="13" y="43"/>
                  </a:cubicBezTo>
                  <a:cubicBezTo>
                    <a:pt x="10" y="42"/>
                    <a:pt x="8" y="40"/>
                    <a:pt x="6" y="37"/>
                  </a:cubicBezTo>
                  <a:cubicBezTo>
                    <a:pt x="2" y="32"/>
                    <a:pt x="0" y="28"/>
                    <a:pt x="0" y="24"/>
                  </a:cubicBezTo>
                  <a:cubicBezTo>
                    <a:pt x="1" y="20"/>
                    <a:pt x="2" y="17"/>
                    <a:pt x="6" y="1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39" name="í$ļîḋê"/>
            <p:cNvSpPr/>
            <p:nvPr/>
          </p:nvSpPr>
          <p:spPr bwMode="auto">
            <a:xfrm>
              <a:off x="1868384" y="5844178"/>
              <a:ext cx="82550" cy="82550"/>
            </a:xfrm>
            <a:custGeom>
              <a:avLst/>
              <a:gdLst>
                <a:gd name="T0" fmla="*/ 25 w 45"/>
                <a:gd name="T1" fmla="*/ 33 h 45"/>
                <a:gd name="T2" fmla="*/ 29 w 45"/>
                <a:gd name="T3" fmla="*/ 41 h 45"/>
                <a:gd name="T4" fmla="*/ 17 w 45"/>
                <a:gd name="T5" fmla="*/ 44 h 45"/>
                <a:gd name="T6" fmla="*/ 6 w 45"/>
                <a:gd name="T7" fmla="*/ 38 h 45"/>
                <a:gd name="T8" fmla="*/ 0 w 45"/>
                <a:gd name="T9" fmla="*/ 24 h 45"/>
                <a:gd name="T10" fmla="*/ 8 w 45"/>
                <a:gd name="T11" fmla="*/ 8 h 45"/>
                <a:gd name="T12" fmla="*/ 24 w 45"/>
                <a:gd name="T13" fmla="*/ 0 h 45"/>
                <a:gd name="T14" fmla="*/ 39 w 45"/>
                <a:gd name="T15" fmla="*/ 7 h 45"/>
                <a:gd name="T16" fmla="*/ 45 w 45"/>
                <a:gd name="T17" fmla="*/ 19 h 45"/>
                <a:gd name="T18" fmla="*/ 42 w 45"/>
                <a:gd name="T19" fmla="*/ 28 h 45"/>
                <a:gd name="T20" fmla="*/ 34 w 45"/>
                <a:gd name="T21" fmla="*/ 23 h 45"/>
                <a:gd name="T22" fmla="*/ 36 w 45"/>
                <a:gd name="T23" fmla="*/ 17 h 45"/>
                <a:gd name="T24" fmla="*/ 33 w 45"/>
                <a:gd name="T25" fmla="*/ 12 h 45"/>
                <a:gd name="T26" fmla="*/ 25 w 45"/>
                <a:gd name="T27" fmla="*/ 9 h 45"/>
                <a:gd name="T28" fmla="*/ 15 w 45"/>
                <a:gd name="T29" fmla="*/ 14 h 45"/>
                <a:gd name="T30" fmla="*/ 8 w 45"/>
                <a:gd name="T31" fmla="*/ 25 h 45"/>
                <a:gd name="T32" fmla="*/ 11 w 45"/>
                <a:gd name="T33" fmla="*/ 33 h 45"/>
                <a:gd name="T34" fmla="*/ 17 w 45"/>
                <a:gd name="T35" fmla="*/ 36 h 45"/>
                <a:gd name="T36" fmla="*/ 25 w 45"/>
                <a:gd name="T37" fmla="*/ 33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5" h="45">
                  <a:moveTo>
                    <a:pt x="25" y="33"/>
                  </a:moveTo>
                  <a:cubicBezTo>
                    <a:pt x="29" y="41"/>
                    <a:pt x="29" y="41"/>
                    <a:pt x="29" y="41"/>
                  </a:cubicBezTo>
                  <a:cubicBezTo>
                    <a:pt x="25" y="44"/>
                    <a:pt x="21" y="45"/>
                    <a:pt x="17" y="44"/>
                  </a:cubicBezTo>
                  <a:cubicBezTo>
                    <a:pt x="13" y="44"/>
                    <a:pt x="9" y="42"/>
                    <a:pt x="6" y="38"/>
                  </a:cubicBezTo>
                  <a:cubicBezTo>
                    <a:pt x="2" y="34"/>
                    <a:pt x="0" y="29"/>
                    <a:pt x="0" y="24"/>
                  </a:cubicBezTo>
                  <a:cubicBezTo>
                    <a:pt x="0" y="19"/>
                    <a:pt x="3" y="13"/>
                    <a:pt x="8" y="8"/>
                  </a:cubicBezTo>
                  <a:cubicBezTo>
                    <a:pt x="13" y="3"/>
                    <a:pt x="18" y="1"/>
                    <a:pt x="24" y="0"/>
                  </a:cubicBezTo>
                  <a:cubicBezTo>
                    <a:pt x="29" y="0"/>
                    <a:pt x="34" y="2"/>
                    <a:pt x="39" y="7"/>
                  </a:cubicBezTo>
                  <a:cubicBezTo>
                    <a:pt x="42" y="10"/>
                    <a:pt x="44" y="15"/>
                    <a:pt x="45" y="19"/>
                  </a:cubicBezTo>
                  <a:cubicBezTo>
                    <a:pt x="45" y="22"/>
                    <a:pt x="44" y="25"/>
                    <a:pt x="42" y="28"/>
                  </a:cubicBezTo>
                  <a:cubicBezTo>
                    <a:pt x="34" y="23"/>
                    <a:pt x="34" y="23"/>
                    <a:pt x="34" y="23"/>
                  </a:cubicBezTo>
                  <a:cubicBezTo>
                    <a:pt x="36" y="21"/>
                    <a:pt x="36" y="19"/>
                    <a:pt x="36" y="17"/>
                  </a:cubicBezTo>
                  <a:cubicBezTo>
                    <a:pt x="36" y="15"/>
                    <a:pt x="35" y="13"/>
                    <a:pt x="33" y="12"/>
                  </a:cubicBezTo>
                  <a:cubicBezTo>
                    <a:pt x="31" y="9"/>
                    <a:pt x="28" y="8"/>
                    <a:pt x="25" y="9"/>
                  </a:cubicBezTo>
                  <a:cubicBezTo>
                    <a:pt x="22" y="9"/>
                    <a:pt x="18" y="11"/>
                    <a:pt x="15" y="14"/>
                  </a:cubicBezTo>
                  <a:cubicBezTo>
                    <a:pt x="11" y="18"/>
                    <a:pt x="9" y="22"/>
                    <a:pt x="8" y="25"/>
                  </a:cubicBezTo>
                  <a:cubicBezTo>
                    <a:pt x="8" y="28"/>
                    <a:pt x="9" y="31"/>
                    <a:pt x="11" y="33"/>
                  </a:cubicBezTo>
                  <a:cubicBezTo>
                    <a:pt x="13" y="35"/>
                    <a:pt x="15" y="36"/>
                    <a:pt x="17" y="36"/>
                  </a:cubicBezTo>
                  <a:cubicBezTo>
                    <a:pt x="20" y="36"/>
                    <a:pt x="22" y="35"/>
                    <a:pt x="25" y="3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40" name="íṩḷiḋé"/>
            <p:cNvSpPr/>
            <p:nvPr/>
          </p:nvSpPr>
          <p:spPr bwMode="auto">
            <a:xfrm>
              <a:off x="1916009" y="5887040"/>
              <a:ext cx="65088" cy="71438"/>
            </a:xfrm>
            <a:custGeom>
              <a:avLst/>
              <a:gdLst>
                <a:gd name="T0" fmla="*/ 0 w 41"/>
                <a:gd name="T1" fmla="*/ 38 h 45"/>
                <a:gd name="T2" fmla="*/ 34 w 41"/>
                <a:gd name="T3" fmla="*/ 0 h 45"/>
                <a:gd name="T4" fmla="*/ 41 w 41"/>
                <a:gd name="T5" fmla="*/ 6 h 45"/>
                <a:gd name="T6" fmla="*/ 8 w 41"/>
                <a:gd name="T7" fmla="*/ 45 h 45"/>
                <a:gd name="T8" fmla="*/ 0 w 41"/>
                <a:gd name="T9" fmla="*/ 38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1" h="45">
                  <a:moveTo>
                    <a:pt x="0" y="38"/>
                  </a:moveTo>
                  <a:lnTo>
                    <a:pt x="34" y="0"/>
                  </a:lnTo>
                  <a:lnTo>
                    <a:pt x="41" y="6"/>
                  </a:lnTo>
                  <a:lnTo>
                    <a:pt x="8" y="45"/>
                  </a:lnTo>
                  <a:lnTo>
                    <a:pt x="0" y="3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41" name="îsľïďé"/>
            <p:cNvSpPr/>
            <p:nvPr/>
          </p:nvSpPr>
          <p:spPr bwMode="auto">
            <a:xfrm>
              <a:off x="1941409" y="5904503"/>
              <a:ext cx="96838" cy="101600"/>
            </a:xfrm>
            <a:custGeom>
              <a:avLst/>
              <a:gdLst>
                <a:gd name="T0" fmla="*/ 0 w 61"/>
                <a:gd name="T1" fmla="*/ 41 h 64"/>
                <a:gd name="T2" fmla="*/ 31 w 61"/>
                <a:gd name="T3" fmla="*/ 0 h 64"/>
                <a:gd name="T4" fmla="*/ 61 w 61"/>
                <a:gd name="T5" fmla="*/ 22 h 64"/>
                <a:gd name="T6" fmla="*/ 56 w 61"/>
                <a:gd name="T7" fmla="*/ 29 h 64"/>
                <a:gd name="T8" fmla="*/ 34 w 61"/>
                <a:gd name="T9" fmla="*/ 13 h 64"/>
                <a:gd name="T10" fmla="*/ 27 w 61"/>
                <a:gd name="T11" fmla="*/ 22 h 64"/>
                <a:gd name="T12" fmla="*/ 47 w 61"/>
                <a:gd name="T13" fmla="*/ 37 h 64"/>
                <a:gd name="T14" fmla="*/ 42 w 61"/>
                <a:gd name="T15" fmla="*/ 44 h 64"/>
                <a:gd name="T16" fmla="*/ 21 w 61"/>
                <a:gd name="T17" fmla="*/ 29 h 64"/>
                <a:gd name="T18" fmla="*/ 13 w 61"/>
                <a:gd name="T19" fmla="*/ 40 h 64"/>
                <a:gd name="T20" fmla="*/ 36 w 61"/>
                <a:gd name="T21" fmla="*/ 57 h 64"/>
                <a:gd name="T22" fmla="*/ 31 w 61"/>
                <a:gd name="T23" fmla="*/ 64 h 64"/>
                <a:gd name="T24" fmla="*/ 0 w 61"/>
                <a:gd name="T25" fmla="*/ 41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1" h="64">
                  <a:moveTo>
                    <a:pt x="0" y="41"/>
                  </a:moveTo>
                  <a:lnTo>
                    <a:pt x="31" y="0"/>
                  </a:lnTo>
                  <a:lnTo>
                    <a:pt x="61" y="22"/>
                  </a:lnTo>
                  <a:lnTo>
                    <a:pt x="56" y="29"/>
                  </a:lnTo>
                  <a:lnTo>
                    <a:pt x="34" y="13"/>
                  </a:lnTo>
                  <a:lnTo>
                    <a:pt x="27" y="22"/>
                  </a:lnTo>
                  <a:lnTo>
                    <a:pt x="47" y="37"/>
                  </a:lnTo>
                  <a:lnTo>
                    <a:pt x="42" y="44"/>
                  </a:lnTo>
                  <a:lnTo>
                    <a:pt x="21" y="29"/>
                  </a:lnTo>
                  <a:lnTo>
                    <a:pt x="13" y="40"/>
                  </a:lnTo>
                  <a:lnTo>
                    <a:pt x="36" y="57"/>
                  </a:lnTo>
                  <a:lnTo>
                    <a:pt x="31" y="64"/>
                  </a:lnTo>
                  <a:lnTo>
                    <a:pt x="0" y="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42" name="íśliḋé"/>
            <p:cNvSpPr/>
            <p:nvPr/>
          </p:nvSpPr>
          <p:spPr bwMode="auto">
            <a:xfrm>
              <a:off x="2004909" y="5947365"/>
              <a:ext cx="96838" cy="101600"/>
            </a:xfrm>
            <a:custGeom>
              <a:avLst/>
              <a:gdLst>
                <a:gd name="T0" fmla="*/ 0 w 61"/>
                <a:gd name="T1" fmla="*/ 43 h 64"/>
                <a:gd name="T2" fmla="*/ 27 w 61"/>
                <a:gd name="T3" fmla="*/ 0 h 64"/>
                <a:gd name="T4" fmla="*/ 35 w 61"/>
                <a:gd name="T5" fmla="*/ 5 h 64"/>
                <a:gd name="T6" fmla="*/ 36 w 61"/>
                <a:gd name="T7" fmla="*/ 45 h 64"/>
                <a:gd name="T8" fmla="*/ 53 w 61"/>
                <a:gd name="T9" fmla="*/ 15 h 64"/>
                <a:gd name="T10" fmla="*/ 61 w 61"/>
                <a:gd name="T11" fmla="*/ 21 h 64"/>
                <a:gd name="T12" fmla="*/ 35 w 61"/>
                <a:gd name="T13" fmla="*/ 64 h 64"/>
                <a:gd name="T14" fmla="*/ 27 w 61"/>
                <a:gd name="T15" fmla="*/ 59 h 64"/>
                <a:gd name="T16" fmla="*/ 25 w 61"/>
                <a:gd name="T17" fmla="*/ 20 h 64"/>
                <a:gd name="T18" fmla="*/ 8 w 61"/>
                <a:gd name="T19" fmla="*/ 49 h 64"/>
                <a:gd name="T20" fmla="*/ 0 w 61"/>
                <a:gd name="T21" fmla="*/ 43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61" h="64">
                  <a:moveTo>
                    <a:pt x="0" y="43"/>
                  </a:moveTo>
                  <a:lnTo>
                    <a:pt x="27" y="0"/>
                  </a:lnTo>
                  <a:lnTo>
                    <a:pt x="35" y="5"/>
                  </a:lnTo>
                  <a:lnTo>
                    <a:pt x="36" y="45"/>
                  </a:lnTo>
                  <a:lnTo>
                    <a:pt x="53" y="15"/>
                  </a:lnTo>
                  <a:lnTo>
                    <a:pt x="61" y="21"/>
                  </a:lnTo>
                  <a:lnTo>
                    <a:pt x="35" y="64"/>
                  </a:lnTo>
                  <a:lnTo>
                    <a:pt x="27" y="59"/>
                  </a:lnTo>
                  <a:lnTo>
                    <a:pt x="25" y="20"/>
                  </a:lnTo>
                  <a:lnTo>
                    <a:pt x="8" y="49"/>
                  </a:lnTo>
                  <a:lnTo>
                    <a:pt x="0" y="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43" name="iSļiďê"/>
            <p:cNvSpPr/>
            <p:nvPr/>
          </p:nvSpPr>
          <p:spPr bwMode="auto">
            <a:xfrm>
              <a:off x="2087459" y="5993403"/>
              <a:ext cx="79375" cy="87313"/>
            </a:xfrm>
            <a:custGeom>
              <a:avLst/>
              <a:gdLst>
                <a:gd name="T0" fmla="*/ 28 w 43"/>
                <a:gd name="T1" fmla="*/ 33 h 47"/>
                <a:gd name="T2" fmla="*/ 34 w 43"/>
                <a:gd name="T3" fmla="*/ 39 h 47"/>
                <a:gd name="T4" fmla="*/ 24 w 43"/>
                <a:gd name="T5" fmla="*/ 46 h 47"/>
                <a:gd name="T6" fmla="*/ 12 w 43"/>
                <a:gd name="T7" fmla="*/ 44 h 47"/>
                <a:gd name="T8" fmla="*/ 1 w 43"/>
                <a:gd name="T9" fmla="*/ 33 h 47"/>
                <a:gd name="T10" fmla="*/ 3 w 43"/>
                <a:gd name="T11" fmla="*/ 15 h 47"/>
                <a:gd name="T12" fmla="*/ 15 w 43"/>
                <a:gd name="T13" fmla="*/ 2 h 47"/>
                <a:gd name="T14" fmla="*/ 32 w 43"/>
                <a:gd name="T15" fmla="*/ 3 h 47"/>
                <a:gd name="T16" fmla="*/ 41 w 43"/>
                <a:gd name="T17" fmla="*/ 13 h 47"/>
                <a:gd name="T18" fmla="*/ 42 w 43"/>
                <a:gd name="T19" fmla="*/ 22 h 47"/>
                <a:gd name="T20" fmla="*/ 33 w 43"/>
                <a:gd name="T21" fmla="*/ 20 h 47"/>
                <a:gd name="T22" fmla="*/ 33 w 43"/>
                <a:gd name="T23" fmla="*/ 14 h 47"/>
                <a:gd name="T24" fmla="*/ 28 w 43"/>
                <a:gd name="T25" fmla="*/ 10 h 47"/>
                <a:gd name="T26" fmla="*/ 19 w 43"/>
                <a:gd name="T27" fmla="*/ 10 h 47"/>
                <a:gd name="T28" fmla="*/ 12 w 43"/>
                <a:gd name="T29" fmla="*/ 19 h 47"/>
                <a:gd name="T30" fmla="*/ 9 w 43"/>
                <a:gd name="T31" fmla="*/ 31 h 47"/>
                <a:gd name="T32" fmla="*/ 15 w 43"/>
                <a:gd name="T33" fmla="*/ 37 h 47"/>
                <a:gd name="T34" fmla="*/ 22 w 43"/>
                <a:gd name="T35" fmla="*/ 38 h 47"/>
                <a:gd name="T36" fmla="*/ 28 w 43"/>
                <a:gd name="T37" fmla="*/ 33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3" h="47">
                  <a:moveTo>
                    <a:pt x="28" y="33"/>
                  </a:moveTo>
                  <a:cubicBezTo>
                    <a:pt x="34" y="39"/>
                    <a:pt x="34" y="39"/>
                    <a:pt x="34" y="39"/>
                  </a:cubicBezTo>
                  <a:cubicBezTo>
                    <a:pt x="31" y="43"/>
                    <a:pt x="28" y="45"/>
                    <a:pt x="24" y="46"/>
                  </a:cubicBezTo>
                  <a:cubicBezTo>
                    <a:pt x="20" y="47"/>
                    <a:pt x="16" y="46"/>
                    <a:pt x="12" y="44"/>
                  </a:cubicBezTo>
                  <a:cubicBezTo>
                    <a:pt x="7" y="42"/>
                    <a:pt x="3" y="38"/>
                    <a:pt x="1" y="33"/>
                  </a:cubicBezTo>
                  <a:cubicBezTo>
                    <a:pt x="0" y="27"/>
                    <a:pt x="0" y="22"/>
                    <a:pt x="3" y="15"/>
                  </a:cubicBezTo>
                  <a:cubicBezTo>
                    <a:pt x="6" y="9"/>
                    <a:pt x="10" y="4"/>
                    <a:pt x="15" y="2"/>
                  </a:cubicBezTo>
                  <a:cubicBezTo>
                    <a:pt x="21" y="0"/>
                    <a:pt x="26" y="1"/>
                    <a:pt x="32" y="3"/>
                  </a:cubicBezTo>
                  <a:cubicBezTo>
                    <a:pt x="36" y="5"/>
                    <a:pt x="40" y="9"/>
                    <a:pt x="41" y="13"/>
                  </a:cubicBezTo>
                  <a:cubicBezTo>
                    <a:pt x="42" y="16"/>
                    <a:pt x="43" y="19"/>
                    <a:pt x="42" y="22"/>
                  </a:cubicBezTo>
                  <a:cubicBezTo>
                    <a:pt x="33" y="20"/>
                    <a:pt x="33" y="20"/>
                    <a:pt x="33" y="20"/>
                  </a:cubicBezTo>
                  <a:cubicBezTo>
                    <a:pt x="34" y="18"/>
                    <a:pt x="34" y="16"/>
                    <a:pt x="33" y="14"/>
                  </a:cubicBezTo>
                  <a:cubicBezTo>
                    <a:pt x="32" y="12"/>
                    <a:pt x="30" y="11"/>
                    <a:pt x="28" y="10"/>
                  </a:cubicBezTo>
                  <a:cubicBezTo>
                    <a:pt x="25" y="8"/>
                    <a:pt x="22" y="8"/>
                    <a:pt x="19" y="10"/>
                  </a:cubicBezTo>
                  <a:cubicBezTo>
                    <a:pt x="16" y="11"/>
                    <a:pt x="14" y="14"/>
                    <a:pt x="12" y="19"/>
                  </a:cubicBezTo>
                  <a:cubicBezTo>
                    <a:pt x="9" y="24"/>
                    <a:pt x="9" y="28"/>
                    <a:pt x="9" y="31"/>
                  </a:cubicBezTo>
                  <a:cubicBezTo>
                    <a:pt x="10" y="34"/>
                    <a:pt x="12" y="36"/>
                    <a:pt x="15" y="37"/>
                  </a:cubicBezTo>
                  <a:cubicBezTo>
                    <a:pt x="17" y="38"/>
                    <a:pt x="19" y="38"/>
                    <a:pt x="22" y="38"/>
                  </a:cubicBezTo>
                  <a:cubicBezTo>
                    <a:pt x="24" y="37"/>
                    <a:pt x="26" y="35"/>
                    <a:pt x="28" y="3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44" name="íSliḋé"/>
            <p:cNvSpPr/>
            <p:nvPr/>
          </p:nvSpPr>
          <p:spPr bwMode="auto">
            <a:xfrm>
              <a:off x="2157309" y="6017215"/>
              <a:ext cx="82550" cy="96838"/>
            </a:xfrm>
            <a:custGeom>
              <a:avLst/>
              <a:gdLst>
                <a:gd name="T0" fmla="*/ 0 w 52"/>
                <a:gd name="T1" fmla="*/ 49 h 61"/>
                <a:gd name="T2" fmla="*/ 16 w 52"/>
                <a:gd name="T3" fmla="*/ 0 h 61"/>
                <a:gd name="T4" fmla="*/ 52 w 52"/>
                <a:gd name="T5" fmla="*/ 13 h 61"/>
                <a:gd name="T6" fmla="*/ 50 w 52"/>
                <a:gd name="T7" fmla="*/ 21 h 61"/>
                <a:gd name="T8" fmla="*/ 23 w 52"/>
                <a:gd name="T9" fmla="*/ 12 h 61"/>
                <a:gd name="T10" fmla="*/ 20 w 52"/>
                <a:gd name="T11" fmla="*/ 22 h 61"/>
                <a:gd name="T12" fmla="*/ 44 w 52"/>
                <a:gd name="T13" fmla="*/ 30 h 61"/>
                <a:gd name="T14" fmla="*/ 41 w 52"/>
                <a:gd name="T15" fmla="*/ 38 h 61"/>
                <a:gd name="T16" fmla="*/ 18 w 52"/>
                <a:gd name="T17" fmla="*/ 30 h 61"/>
                <a:gd name="T18" fmla="*/ 13 w 52"/>
                <a:gd name="T19" fmla="*/ 43 h 61"/>
                <a:gd name="T20" fmla="*/ 40 w 52"/>
                <a:gd name="T21" fmla="*/ 52 h 61"/>
                <a:gd name="T22" fmla="*/ 36 w 52"/>
                <a:gd name="T23" fmla="*/ 61 h 61"/>
                <a:gd name="T24" fmla="*/ 0 w 52"/>
                <a:gd name="T25" fmla="*/ 49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52" h="61">
                  <a:moveTo>
                    <a:pt x="0" y="49"/>
                  </a:moveTo>
                  <a:lnTo>
                    <a:pt x="16" y="0"/>
                  </a:lnTo>
                  <a:lnTo>
                    <a:pt x="52" y="13"/>
                  </a:lnTo>
                  <a:lnTo>
                    <a:pt x="50" y="21"/>
                  </a:lnTo>
                  <a:lnTo>
                    <a:pt x="23" y="12"/>
                  </a:lnTo>
                  <a:lnTo>
                    <a:pt x="20" y="22"/>
                  </a:lnTo>
                  <a:lnTo>
                    <a:pt x="44" y="30"/>
                  </a:lnTo>
                  <a:lnTo>
                    <a:pt x="41" y="38"/>
                  </a:lnTo>
                  <a:lnTo>
                    <a:pt x="18" y="30"/>
                  </a:lnTo>
                  <a:lnTo>
                    <a:pt x="13" y="43"/>
                  </a:lnTo>
                  <a:lnTo>
                    <a:pt x="40" y="52"/>
                  </a:lnTo>
                  <a:lnTo>
                    <a:pt x="36" y="61"/>
                  </a:lnTo>
                  <a:lnTo>
                    <a:pt x="0" y="4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45" name="îŝ1îḑè"/>
            <p:cNvSpPr/>
            <p:nvPr/>
          </p:nvSpPr>
          <p:spPr bwMode="auto">
            <a:xfrm>
              <a:off x="2663722" y="6026740"/>
              <a:ext cx="77788" cy="92075"/>
            </a:xfrm>
            <a:custGeom>
              <a:avLst/>
              <a:gdLst>
                <a:gd name="T0" fmla="*/ 49 w 49"/>
                <a:gd name="T1" fmla="*/ 42 h 58"/>
                <a:gd name="T2" fmla="*/ 39 w 49"/>
                <a:gd name="T3" fmla="*/ 45 h 58"/>
                <a:gd name="T4" fmla="*/ 31 w 49"/>
                <a:gd name="T5" fmla="*/ 36 h 58"/>
                <a:gd name="T6" fmla="*/ 11 w 49"/>
                <a:gd name="T7" fmla="*/ 43 h 58"/>
                <a:gd name="T8" fmla="*/ 11 w 49"/>
                <a:gd name="T9" fmla="*/ 55 h 58"/>
                <a:gd name="T10" fmla="*/ 0 w 49"/>
                <a:gd name="T11" fmla="*/ 58 h 58"/>
                <a:gd name="T12" fmla="*/ 3 w 49"/>
                <a:gd name="T13" fmla="*/ 3 h 58"/>
                <a:gd name="T14" fmla="*/ 13 w 49"/>
                <a:gd name="T15" fmla="*/ 0 h 58"/>
                <a:gd name="T16" fmla="*/ 49 w 49"/>
                <a:gd name="T17" fmla="*/ 42 h 58"/>
                <a:gd name="T18" fmla="*/ 25 w 49"/>
                <a:gd name="T19" fmla="*/ 29 h 58"/>
                <a:gd name="T20" fmla="*/ 12 w 49"/>
                <a:gd name="T21" fmla="*/ 14 h 58"/>
                <a:gd name="T22" fmla="*/ 11 w 49"/>
                <a:gd name="T23" fmla="*/ 34 h 58"/>
                <a:gd name="T24" fmla="*/ 25 w 49"/>
                <a:gd name="T25" fmla="*/ 29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8">
                  <a:moveTo>
                    <a:pt x="49" y="42"/>
                  </a:moveTo>
                  <a:lnTo>
                    <a:pt x="39" y="45"/>
                  </a:lnTo>
                  <a:lnTo>
                    <a:pt x="31" y="36"/>
                  </a:lnTo>
                  <a:lnTo>
                    <a:pt x="11" y="43"/>
                  </a:lnTo>
                  <a:lnTo>
                    <a:pt x="11" y="55"/>
                  </a:lnTo>
                  <a:lnTo>
                    <a:pt x="0" y="58"/>
                  </a:lnTo>
                  <a:lnTo>
                    <a:pt x="3" y="3"/>
                  </a:lnTo>
                  <a:lnTo>
                    <a:pt x="13" y="0"/>
                  </a:lnTo>
                  <a:lnTo>
                    <a:pt x="49" y="42"/>
                  </a:lnTo>
                  <a:close/>
                  <a:moveTo>
                    <a:pt x="25" y="29"/>
                  </a:moveTo>
                  <a:lnTo>
                    <a:pt x="12" y="14"/>
                  </a:lnTo>
                  <a:lnTo>
                    <a:pt x="11" y="34"/>
                  </a:lnTo>
                  <a:lnTo>
                    <a:pt x="25" y="2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46" name="íṩḻiḋê"/>
            <p:cNvSpPr/>
            <p:nvPr/>
          </p:nvSpPr>
          <p:spPr bwMode="auto">
            <a:xfrm>
              <a:off x="2714522" y="5990228"/>
              <a:ext cx="92075" cy="101600"/>
            </a:xfrm>
            <a:custGeom>
              <a:avLst/>
              <a:gdLst>
                <a:gd name="T0" fmla="*/ 21 w 58"/>
                <a:gd name="T1" fmla="*/ 64 h 64"/>
                <a:gd name="T2" fmla="*/ 0 w 58"/>
                <a:gd name="T3" fmla="*/ 17 h 64"/>
                <a:gd name="T4" fmla="*/ 9 w 58"/>
                <a:gd name="T5" fmla="*/ 12 h 64"/>
                <a:gd name="T6" fmla="*/ 43 w 58"/>
                <a:gd name="T7" fmla="*/ 36 h 64"/>
                <a:gd name="T8" fmla="*/ 29 w 58"/>
                <a:gd name="T9" fmla="*/ 4 h 64"/>
                <a:gd name="T10" fmla="*/ 37 w 58"/>
                <a:gd name="T11" fmla="*/ 0 h 64"/>
                <a:gd name="T12" fmla="*/ 58 w 58"/>
                <a:gd name="T13" fmla="*/ 46 h 64"/>
                <a:gd name="T14" fmla="*/ 49 w 58"/>
                <a:gd name="T15" fmla="*/ 51 h 64"/>
                <a:gd name="T16" fmla="*/ 16 w 58"/>
                <a:gd name="T17" fmla="*/ 29 h 64"/>
                <a:gd name="T18" fmla="*/ 30 w 58"/>
                <a:gd name="T19" fmla="*/ 59 h 64"/>
                <a:gd name="T20" fmla="*/ 21 w 58"/>
                <a:gd name="T21" fmla="*/ 64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8" h="64">
                  <a:moveTo>
                    <a:pt x="21" y="64"/>
                  </a:moveTo>
                  <a:lnTo>
                    <a:pt x="0" y="17"/>
                  </a:lnTo>
                  <a:lnTo>
                    <a:pt x="9" y="12"/>
                  </a:lnTo>
                  <a:lnTo>
                    <a:pt x="43" y="36"/>
                  </a:lnTo>
                  <a:lnTo>
                    <a:pt x="29" y="4"/>
                  </a:lnTo>
                  <a:lnTo>
                    <a:pt x="37" y="0"/>
                  </a:lnTo>
                  <a:lnTo>
                    <a:pt x="58" y="46"/>
                  </a:lnTo>
                  <a:lnTo>
                    <a:pt x="49" y="51"/>
                  </a:lnTo>
                  <a:lnTo>
                    <a:pt x="16" y="29"/>
                  </a:lnTo>
                  <a:lnTo>
                    <a:pt x="30" y="59"/>
                  </a:lnTo>
                  <a:lnTo>
                    <a:pt x="21" y="6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47" name="îṧľíḍe"/>
            <p:cNvSpPr/>
            <p:nvPr/>
          </p:nvSpPr>
          <p:spPr bwMode="auto">
            <a:xfrm>
              <a:off x="2781197" y="5963240"/>
              <a:ext cx="85725" cy="95250"/>
            </a:xfrm>
            <a:custGeom>
              <a:avLst/>
              <a:gdLst>
                <a:gd name="T0" fmla="*/ 0 w 47"/>
                <a:gd name="T1" fmla="*/ 13 h 51"/>
                <a:gd name="T2" fmla="*/ 14 w 47"/>
                <a:gd name="T3" fmla="*/ 4 h 51"/>
                <a:gd name="T4" fmla="*/ 22 w 47"/>
                <a:gd name="T5" fmla="*/ 1 h 51"/>
                <a:gd name="T6" fmla="*/ 29 w 47"/>
                <a:gd name="T7" fmla="*/ 1 h 51"/>
                <a:gd name="T8" fmla="*/ 37 w 47"/>
                <a:gd name="T9" fmla="*/ 5 h 51"/>
                <a:gd name="T10" fmla="*/ 43 w 47"/>
                <a:gd name="T11" fmla="*/ 14 h 51"/>
                <a:gd name="T12" fmla="*/ 47 w 47"/>
                <a:gd name="T13" fmla="*/ 22 h 51"/>
                <a:gd name="T14" fmla="*/ 46 w 47"/>
                <a:gd name="T15" fmla="*/ 31 h 51"/>
                <a:gd name="T16" fmla="*/ 43 w 47"/>
                <a:gd name="T17" fmla="*/ 38 h 51"/>
                <a:gd name="T18" fmla="*/ 36 w 47"/>
                <a:gd name="T19" fmla="*/ 42 h 51"/>
                <a:gd name="T20" fmla="*/ 22 w 47"/>
                <a:gd name="T21" fmla="*/ 51 h 51"/>
                <a:gd name="T22" fmla="*/ 0 w 47"/>
                <a:gd name="T23" fmla="*/ 13 h 51"/>
                <a:gd name="T24" fmla="*/ 11 w 47"/>
                <a:gd name="T25" fmla="*/ 15 h 51"/>
                <a:gd name="T26" fmla="*/ 26 w 47"/>
                <a:gd name="T27" fmla="*/ 40 h 51"/>
                <a:gd name="T28" fmla="*/ 32 w 47"/>
                <a:gd name="T29" fmla="*/ 37 h 51"/>
                <a:gd name="T30" fmla="*/ 36 w 47"/>
                <a:gd name="T31" fmla="*/ 33 h 51"/>
                <a:gd name="T32" fmla="*/ 38 w 47"/>
                <a:gd name="T33" fmla="*/ 30 h 51"/>
                <a:gd name="T34" fmla="*/ 38 w 47"/>
                <a:gd name="T35" fmla="*/ 25 h 51"/>
                <a:gd name="T36" fmla="*/ 35 w 47"/>
                <a:gd name="T37" fmla="*/ 18 h 51"/>
                <a:gd name="T38" fmla="*/ 30 w 47"/>
                <a:gd name="T39" fmla="*/ 11 h 51"/>
                <a:gd name="T40" fmla="*/ 26 w 47"/>
                <a:gd name="T41" fmla="*/ 9 h 51"/>
                <a:gd name="T42" fmla="*/ 21 w 47"/>
                <a:gd name="T43" fmla="*/ 9 h 51"/>
                <a:gd name="T44" fmla="*/ 15 w 47"/>
                <a:gd name="T45" fmla="*/ 13 h 51"/>
                <a:gd name="T46" fmla="*/ 11 w 47"/>
                <a:gd name="T47" fmla="*/ 15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47" h="51">
                  <a:moveTo>
                    <a:pt x="0" y="13"/>
                  </a:moveTo>
                  <a:cubicBezTo>
                    <a:pt x="14" y="4"/>
                    <a:pt x="14" y="4"/>
                    <a:pt x="14" y="4"/>
                  </a:cubicBezTo>
                  <a:cubicBezTo>
                    <a:pt x="17" y="3"/>
                    <a:pt x="20" y="1"/>
                    <a:pt x="22" y="1"/>
                  </a:cubicBezTo>
                  <a:cubicBezTo>
                    <a:pt x="24" y="0"/>
                    <a:pt x="27" y="0"/>
                    <a:pt x="29" y="1"/>
                  </a:cubicBezTo>
                  <a:cubicBezTo>
                    <a:pt x="32" y="2"/>
                    <a:pt x="34" y="3"/>
                    <a:pt x="37" y="5"/>
                  </a:cubicBezTo>
                  <a:cubicBezTo>
                    <a:pt x="39" y="7"/>
                    <a:pt x="41" y="10"/>
                    <a:pt x="43" y="14"/>
                  </a:cubicBezTo>
                  <a:cubicBezTo>
                    <a:pt x="45" y="17"/>
                    <a:pt x="46" y="20"/>
                    <a:pt x="47" y="22"/>
                  </a:cubicBezTo>
                  <a:cubicBezTo>
                    <a:pt x="47" y="26"/>
                    <a:pt x="47" y="29"/>
                    <a:pt x="46" y="31"/>
                  </a:cubicBezTo>
                  <a:cubicBezTo>
                    <a:pt x="46" y="34"/>
                    <a:pt x="45" y="36"/>
                    <a:pt x="43" y="38"/>
                  </a:cubicBezTo>
                  <a:cubicBezTo>
                    <a:pt x="41" y="39"/>
                    <a:pt x="39" y="41"/>
                    <a:pt x="36" y="42"/>
                  </a:cubicBezTo>
                  <a:cubicBezTo>
                    <a:pt x="22" y="51"/>
                    <a:pt x="22" y="51"/>
                    <a:pt x="22" y="51"/>
                  </a:cubicBezTo>
                  <a:lnTo>
                    <a:pt x="0" y="13"/>
                  </a:lnTo>
                  <a:close/>
                  <a:moveTo>
                    <a:pt x="11" y="15"/>
                  </a:moveTo>
                  <a:cubicBezTo>
                    <a:pt x="26" y="40"/>
                    <a:pt x="26" y="40"/>
                    <a:pt x="26" y="40"/>
                  </a:cubicBezTo>
                  <a:cubicBezTo>
                    <a:pt x="32" y="37"/>
                    <a:pt x="32" y="37"/>
                    <a:pt x="32" y="37"/>
                  </a:cubicBezTo>
                  <a:cubicBezTo>
                    <a:pt x="34" y="35"/>
                    <a:pt x="35" y="34"/>
                    <a:pt x="36" y="33"/>
                  </a:cubicBezTo>
                  <a:cubicBezTo>
                    <a:pt x="37" y="32"/>
                    <a:pt x="38" y="31"/>
                    <a:pt x="38" y="30"/>
                  </a:cubicBezTo>
                  <a:cubicBezTo>
                    <a:pt x="39" y="29"/>
                    <a:pt x="39" y="27"/>
                    <a:pt x="38" y="25"/>
                  </a:cubicBezTo>
                  <a:cubicBezTo>
                    <a:pt x="38" y="23"/>
                    <a:pt x="37" y="21"/>
                    <a:pt x="35" y="18"/>
                  </a:cubicBezTo>
                  <a:cubicBezTo>
                    <a:pt x="33" y="15"/>
                    <a:pt x="32" y="13"/>
                    <a:pt x="30" y="11"/>
                  </a:cubicBezTo>
                  <a:cubicBezTo>
                    <a:pt x="29" y="10"/>
                    <a:pt x="27" y="9"/>
                    <a:pt x="26" y="9"/>
                  </a:cubicBezTo>
                  <a:cubicBezTo>
                    <a:pt x="25" y="9"/>
                    <a:pt x="23" y="9"/>
                    <a:pt x="21" y="9"/>
                  </a:cubicBezTo>
                  <a:cubicBezTo>
                    <a:pt x="20" y="10"/>
                    <a:pt x="18" y="11"/>
                    <a:pt x="15" y="13"/>
                  </a:cubicBezTo>
                  <a:lnTo>
                    <a:pt x="11" y="1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48" name="ïṩḻiḍe"/>
            <p:cNvSpPr/>
            <p:nvPr/>
          </p:nvSpPr>
          <p:spPr bwMode="auto">
            <a:xfrm>
              <a:off x="2876447" y="5888628"/>
              <a:ext cx="80963" cy="88900"/>
            </a:xfrm>
            <a:custGeom>
              <a:avLst/>
              <a:gdLst>
                <a:gd name="T0" fmla="*/ 43 w 51"/>
                <a:gd name="T1" fmla="*/ 56 h 56"/>
                <a:gd name="T2" fmla="*/ 16 w 51"/>
                <a:gd name="T3" fmla="*/ 22 h 56"/>
                <a:gd name="T4" fmla="*/ 5 w 51"/>
                <a:gd name="T5" fmla="*/ 31 h 56"/>
                <a:gd name="T6" fmla="*/ 0 w 51"/>
                <a:gd name="T7" fmla="*/ 25 h 56"/>
                <a:gd name="T8" fmla="*/ 31 w 51"/>
                <a:gd name="T9" fmla="*/ 0 h 56"/>
                <a:gd name="T10" fmla="*/ 37 w 51"/>
                <a:gd name="T11" fmla="*/ 7 h 56"/>
                <a:gd name="T12" fmla="*/ 24 w 51"/>
                <a:gd name="T13" fmla="*/ 16 h 56"/>
                <a:gd name="T14" fmla="*/ 51 w 51"/>
                <a:gd name="T15" fmla="*/ 49 h 56"/>
                <a:gd name="T16" fmla="*/ 43 w 51"/>
                <a:gd name="T17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1" h="56">
                  <a:moveTo>
                    <a:pt x="43" y="56"/>
                  </a:moveTo>
                  <a:lnTo>
                    <a:pt x="16" y="22"/>
                  </a:lnTo>
                  <a:lnTo>
                    <a:pt x="5" y="31"/>
                  </a:lnTo>
                  <a:lnTo>
                    <a:pt x="0" y="25"/>
                  </a:lnTo>
                  <a:lnTo>
                    <a:pt x="31" y="0"/>
                  </a:lnTo>
                  <a:lnTo>
                    <a:pt x="37" y="7"/>
                  </a:lnTo>
                  <a:lnTo>
                    <a:pt x="24" y="16"/>
                  </a:lnTo>
                  <a:lnTo>
                    <a:pt x="51" y="49"/>
                  </a:lnTo>
                  <a:lnTo>
                    <a:pt x="43" y="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49" name="íśļïḓè"/>
            <p:cNvSpPr/>
            <p:nvPr/>
          </p:nvSpPr>
          <p:spPr bwMode="auto">
            <a:xfrm>
              <a:off x="2925659" y="5845765"/>
              <a:ext cx="101600" cy="100013"/>
            </a:xfrm>
            <a:custGeom>
              <a:avLst/>
              <a:gdLst>
                <a:gd name="T0" fmla="*/ 36 w 64"/>
                <a:gd name="T1" fmla="*/ 63 h 63"/>
                <a:gd name="T2" fmla="*/ 0 w 64"/>
                <a:gd name="T3" fmla="*/ 26 h 63"/>
                <a:gd name="T4" fmla="*/ 28 w 64"/>
                <a:gd name="T5" fmla="*/ 0 h 63"/>
                <a:gd name="T6" fmla="*/ 34 w 64"/>
                <a:gd name="T7" fmla="*/ 6 h 63"/>
                <a:gd name="T8" fmla="*/ 14 w 64"/>
                <a:gd name="T9" fmla="*/ 26 h 63"/>
                <a:gd name="T10" fmla="*/ 22 w 64"/>
                <a:gd name="T11" fmla="*/ 34 h 63"/>
                <a:gd name="T12" fmla="*/ 41 w 64"/>
                <a:gd name="T13" fmla="*/ 16 h 63"/>
                <a:gd name="T14" fmla="*/ 47 w 64"/>
                <a:gd name="T15" fmla="*/ 22 h 63"/>
                <a:gd name="T16" fmla="*/ 28 w 64"/>
                <a:gd name="T17" fmla="*/ 39 h 63"/>
                <a:gd name="T18" fmla="*/ 38 w 64"/>
                <a:gd name="T19" fmla="*/ 50 h 63"/>
                <a:gd name="T20" fmla="*/ 58 w 64"/>
                <a:gd name="T21" fmla="*/ 30 h 63"/>
                <a:gd name="T22" fmla="*/ 64 w 64"/>
                <a:gd name="T23" fmla="*/ 36 h 63"/>
                <a:gd name="T24" fmla="*/ 36 w 64"/>
                <a:gd name="T25" fmla="*/ 63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4" h="63">
                  <a:moveTo>
                    <a:pt x="36" y="63"/>
                  </a:moveTo>
                  <a:lnTo>
                    <a:pt x="0" y="26"/>
                  </a:lnTo>
                  <a:lnTo>
                    <a:pt x="28" y="0"/>
                  </a:lnTo>
                  <a:lnTo>
                    <a:pt x="34" y="6"/>
                  </a:lnTo>
                  <a:lnTo>
                    <a:pt x="14" y="26"/>
                  </a:lnTo>
                  <a:lnTo>
                    <a:pt x="22" y="34"/>
                  </a:lnTo>
                  <a:lnTo>
                    <a:pt x="41" y="16"/>
                  </a:lnTo>
                  <a:lnTo>
                    <a:pt x="47" y="22"/>
                  </a:lnTo>
                  <a:lnTo>
                    <a:pt x="28" y="39"/>
                  </a:lnTo>
                  <a:lnTo>
                    <a:pt x="38" y="50"/>
                  </a:lnTo>
                  <a:lnTo>
                    <a:pt x="58" y="30"/>
                  </a:lnTo>
                  <a:lnTo>
                    <a:pt x="64" y="36"/>
                  </a:lnTo>
                  <a:lnTo>
                    <a:pt x="36" y="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50" name="íṩḻîde"/>
            <p:cNvSpPr/>
            <p:nvPr/>
          </p:nvSpPr>
          <p:spPr bwMode="auto">
            <a:xfrm>
              <a:off x="2985984" y="5801315"/>
              <a:ext cx="82550" cy="80963"/>
            </a:xfrm>
            <a:custGeom>
              <a:avLst/>
              <a:gdLst>
                <a:gd name="T0" fmla="*/ 34 w 45"/>
                <a:gd name="T1" fmla="*/ 19 h 44"/>
                <a:gd name="T2" fmla="*/ 41 w 45"/>
                <a:gd name="T3" fmla="*/ 14 h 44"/>
                <a:gd name="T4" fmla="*/ 45 w 45"/>
                <a:gd name="T5" fmla="*/ 26 h 44"/>
                <a:gd name="T6" fmla="*/ 40 w 45"/>
                <a:gd name="T7" fmla="*/ 37 h 44"/>
                <a:gd name="T8" fmla="*/ 26 w 45"/>
                <a:gd name="T9" fmla="*/ 44 h 44"/>
                <a:gd name="T10" fmla="*/ 10 w 45"/>
                <a:gd name="T11" fmla="*/ 38 h 44"/>
                <a:gd name="T12" fmla="*/ 1 w 45"/>
                <a:gd name="T13" fmla="*/ 22 h 44"/>
                <a:gd name="T14" fmla="*/ 6 w 45"/>
                <a:gd name="T15" fmla="*/ 7 h 44"/>
                <a:gd name="T16" fmla="*/ 18 w 45"/>
                <a:gd name="T17" fmla="*/ 0 h 44"/>
                <a:gd name="T18" fmla="*/ 27 w 45"/>
                <a:gd name="T19" fmla="*/ 2 h 44"/>
                <a:gd name="T20" fmla="*/ 23 w 45"/>
                <a:gd name="T21" fmla="*/ 10 h 44"/>
                <a:gd name="T22" fmla="*/ 17 w 45"/>
                <a:gd name="T23" fmla="*/ 9 h 44"/>
                <a:gd name="T24" fmla="*/ 11 w 45"/>
                <a:gd name="T25" fmla="*/ 12 h 44"/>
                <a:gd name="T26" fmla="*/ 9 w 45"/>
                <a:gd name="T27" fmla="*/ 21 h 44"/>
                <a:gd name="T28" fmla="*/ 15 w 45"/>
                <a:gd name="T29" fmla="*/ 30 h 44"/>
                <a:gd name="T30" fmla="*/ 26 w 45"/>
                <a:gd name="T31" fmla="*/ 36 h 44"/>
                <a:gd name="T32" fmla="*/ 34 w 45"/>
                <a:gd name="T33" fmla="*/ 32 h 44"/>
                <a:gd name="T34" fmla="*/ 36 w 45"/>
                <a:gd name="T35" fmla="*/ 26 h 44"/>
                <a:gd name="T36" fmla="*/ 34 w 45"/>
                <a:gd name="T37" fmla="*/ 19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5" h="44">
                  <a:moveTo>
                    <a:pt x="34" y="19"/>
                  </a:moveTo>
                  <a:cubicBezTo>
                    <a:pt x="41" y="14"/>
                    <a:pt x="41" y="14"/>
                    <a:pt x="41" y="14"/>
                  </a:cubicBezTo>
                  <a:cubicBezTo>
                    <a:pt x="44" y="18"/>
                    <a:pt x="45" y="22"/>
                    <a:pt x="45" y="26"/>
                  </a:cubicBezTo>
                  <a:cubicBezTo>
                    <a:pt x="45" y="30"/>
                    <a:pt x="43" y="34"/>
                    <a:pt x="40" y="37"/>
                  </a:cubicBezTo>
                  <a:cubicBezTo>
                    <a:pt x="36" y="42"/>
                    <a:pt x="31" y="44"/>
                    <a:pt x="26" y="44"/>
                  </a:cubicBezTo>
                  <a:cubicBezTo>
                    <a:pt x="21" y="44"/>
                    <a:pt x="15" y="42"/>
                    <a:pt x="10" y="38"/>
                  </a:cubicBezTo>
                  <a:cubicBezTo>
                    <a:pt x="4" y="33"/>
                    <a:pt x="1" y="28"/>
                    <a:pt x="1" y="22"/>
                  </a:cubicBezTo>
                  <a:cubicBezTo>
                    <a:pt x="0" y="17"/>
                    <a:pt x="2" y="12"/>
                    <a:pt x="6" y="7"/>
                  </a:cubicBezTo>
                  <a:cubicBezTo>
                    <a:pt x="10" y="3"/>
                    <a:pt x="14" y="1"/>
                    <a:pt x="18" y="0"/>
                  </a:cubicBezTo>
                  <a:cubicBezTo>
                    <a:pt x="21" y="0"/>
                    <a:pt x="24" y="1"/>
                    <a:pt x="27" y="2"/>
                  </a:cubicBezTo>
                  <a:cubicBezTo>
                    <a:pt x="23" y="10"/>
                    <a:pt x="23" y="10"/>
                    <a:pt x="23" y="10"/>
                  </a:cubicBezTo>
                  <a:cubicBezTo>
                    <a:pt x="21" y="9"/>
                    <a:pt x="19" y="9"/>
                    <a:pt x="17" y="9"/>
                  </a:cubicBezTo>
                  <a:cubicBezTo>
                    <a:pt x="15" y="9"/>
                    <a:pt x="13" y="11"/>
                    <a:pt x="11" y="12"/>
                  </a:cubicBezTo>
                  <a:cubicBezTo>
                    <a:pt x="9" y="15"/>
                    <a:pt x="8" y="18"/>
                    <a:pt x="9" y="21"/>
                  </a:cubicBezTo>
                  <a:cubicBezTo>
                    <a:pt x="9" y="24"/>
                    <a:pt x="12" y="27"/>
                    <a:pt x="15" y="30"/>
                  </a:cubicBezTo>
                  <a:cubicBezTo>
                    <a:pt x="20" y="34"/>
                    <a:pt x="23" y="36"/>
                    <a:pt x="26" y="36"/>
                  </a:cubicBezTo>
                  <a:cubicBezTo>
                    <a:pt x="29" y="36"/>
                    <a:pt x="32" y="35"/>
                    <a:pt x="34" y="32"/>
                  </a:cubicBezTo>
                  <a:cubicBezTo>
                    <a:pt x="36" y="31"/>
                    <a:pt x="36" y="29"/>
                    <a:pt x="36" y="26"/>
                  </a:cubicBezTo>
                  <a:cubicBezTo>
                    <a:pt x="36" y="24"/>
                    <a:pt x="35" y="22"/>
                    <a:pt x="34" y="1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51" name="îŝḷïḓê"/>
            <p:cNvSpPr/>
            <p:nvPr/>
          </p:nvSpPr>
          <p:spPr bwMode="auto">
            <a:xfrm>
              <a:off x="3022497" y="5733053"/>
              <a:ext cx="103188" cy="101600"/>
            </a:xfrm>
            <a:custGeom>
              <a:avLst/>
              <a:gdLst>
                <a:gd name="T0" fmla="*/ 42 w 65"/>
                <a:gd name="T1" fmla="*/ 64 h 64"/>
                <a:gd name="T2" fmla="*/ 0 w 65"/>
                <a:gd name="T3" fmla="*/ 34 h 64"/>
                <a:gd name="T4" fmla="*/ 6 w 65"/>
                <a:gd name="T5" fmla="*/ 26 h 64"/>
                <a:gd name="T6" fmla="*/ 22 w 65"/>
                <a:gd name="T7" fmla="*/ 37 h 64"/>
                <a:gd name="T8" fmla="*/ 33 w 65"/>
                <a:gd name="T9" fmla="*/ 21 h 64"/>
                <a:gd name="T10" fmla="*/ 17 w 65"/>
                <a:gd name="T11" fmla="*/ 9 h 64"/>
                <a:gd name="T12" fmla="*/ 23 w 65"/>
                <a:gd name="T13" fmla="*/ 0 h 64"/>
                <a:gd name="T14" fmla="*/ 65 w 65"/>
                <a:gd name="T15" fmla="*/ 30 h 64"/>
                <a:gd name="T16" fmla="*/ 59 w 65"/>
                <a:gd name="T17" fmla="*/ 38 h 64"/>
                <a:gd name="T18" fmla="*/ 40 w 65"/>
                <a:gd name="T19" fmla="*/ 26 h 64"/>
                <a:gd name="T20" fmla="*/ 29 w 65"/>
                <a:gd name="T21" fmla="*/ 42 h 64"/>
                <a:gd name="T22" fmla="*/ 47 w 65"/>
                <a:gd name="T23" fmla="*/ 55 h 64"/>
                <a:gd name="T24" fmla="*/ 42 w 65"/>
                <a:gd name="T25" fmla="*/ 64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5" h="64">
                  <a:moveTo>
                    <a:pt x="42" y="64"/>
                  </a:moveTo>
                  <a:lnTo>
                    <a:pt x="0" y="34"/>
                  </a:lnTo>
                  <a:lnTo>
                    <a:pt x="6" y="26"/>
                  </a:lnTo>
                  <a:lnTo>
                    <a:pt x="22" y="37"/>
                  </a:lnTo>
                  <a:lnTo>
                    <a:pt x="33" y="21"/>
                  </a:lnTo>
                  <a:lnTo>
                    <a:pt x="17" y="9"/>
                  </a:lnTo>
                  <a:lnTo>
                    <a:pt x="23" y="0"/>
                  </a:lnTo>
                  <a:lnTo>
                    <a:pt x="65" y="30"/>
                  </a:lnTo>
                  <a:lnTo>
                    <a:pt x="59" y="38"/>
                  </a:lnTo>
                  <a:lnTo>
                    <a:pt x="40" y="26"/>
                  </a:lnTo>
                  <a:lnTo>
                    <a:pt x="29" y="42"/>
                  </a:lnTo>
                  <a:lnTo>
                    <a:pt x="47" y="55"/>
                  </a:lnTo>
                  <a:lnTo>
                    <a:pt x="42" y="6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52" name="îşḷîḑe"/>
            <p:cNvSpPr/>
            <p:nvPr/>
          </p:nvSpPr>
          <p:spPr bwMode="auto">
            <a:xfrm>
              <a:off x="3062184" y="5672728"/>
              <a:ext cx="103188" cy="95250"/>
            </a:xfrm>
            <a:custGeom>
              <a:avLst/>
              <a:gdLst>
                <a:gd name="T0" fmla="*/ 44 w 65"/>
                <a:gd name="T1" fmla="*/ 60 h 60"/>
                <a:gd name="T2" fmla="*/ 0 w 65"/>
                <a:gd name="T3" fmla="*/ 34 h 60"/>
                <a:gd name="T4" fmla="*/ 5 w 65"/>
                <a:gd name="T5" fmla="*/ 26 h 60"/>
                <a:gd name="T6" fmla="*/ 46 w 65"/>
                <a:gd name="T7" fmla="*/ 24 h 60"/>
                <a:gd name="T8" fmla="*/ 15 w 65"/>
                <a:gd name="T9" fmla="*/ 8 h 60"/>
                <a:gd name="T10" fmla="*/ 20 w 65"/>
                <a:gd name="T11" fmla="*/ 0 h 60"/>
                <a:gd name="T12" fmla="*/ 65 w 65"/>
                <a:gd name="T13" fmla="*/ 24 h 60"/>
                <a:gd name="T14" fmla="*/ 59 w 65"/>
                <a:gd name="T15" fmla="*/ 33 h 60"/>
                <a:gd name="T16" fmla="*/ 20 w 65"/>
                <a:gd name="T17" fmla="*/ 34 h 60"/>
                <a:gd name="T18" fmla="*/ 49 w 65"/>
                <a:gd name="T19" fmla="*/ 52 h 60"/>
                <a:gd name="T20" fmla="*/ 44 w 65"/>
                <a:gd name="T21" fmla="*/ 6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65" h="60">
                  <a:moveTo>
                    <a:pt x="44" y="60"/>
                  </a:moveTo>
                  <a:lnTo>
                    <a:pt x="0" y="34"/>
                  </a:lnTo>
                  <a:lnTo>
                    <a:pt x="5" y="26"/>
                  </a:lnTo>
                  <a:lnTo>
                    <a:pt x="46" y="24"/>
                  </a:lnTo>
                  <a:lnTo>
                    <a:pt x="15" y="8"/>
                  </a:lnTo>
                  <a:lnTo>
                    <a:pt x="20" y="0"/>
                  </a:lnTo>
                  <a:lnTo>
                    <a:pt x="65" y="24"/>
                  </a:lnTo>
                  <a:lnTo>
                    <a:pt x="59" y="33"/>
                  </a:lnTo>
                  <a:lnTo>
                    <a:pt x="20" y="34"/>
                  </a:lnTo>
                  <a:lnTo>
                    <a:pt x="49" y="52"/>
                  </a:lnTo>
                  <a:lnTo>
                    <a:pt x="44" y="6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53" name="îşḷïḋê"/>
            <p:cNvSpPr/>
            <p:nvPr/>
          </p:nvSpPr>
          <p:spPr bwMode="auto">
            <a:xfrm>
              <a:off x="3106634" y="5606053"/>
              <a:ext cx="87313" cy="84138"/>
            </a:xfrm>
            <a:custGeom>
              <a:avLst/>
              <a:gdLst>
                <a:gd name="T0" fmla="*/ 15 w 47"/>
                <a:gd name="T1" fmla="*/ 43 h 46"/>
                <a:gd name="T2" fmla="*/ 5 w 47"/>
                <a:gd name="T3" fmla="*/ 36 h 46"/>
                <a:gd name="T4" fmla="*/ 2 w 47"/>
                <a:gd name="T5" fmla="*/ 30 h 46"/>
                <a:gd name="T6" fmla="*/ 0 w 47"/>
                <a:gd name="T7" fmla="*/ 23 h 46"/>
                <a:gd name="T8" fmla="*/ 2 w 47"/>
                <a:gd name="T9" fmla="*/ 14 h 46"/>
                <a:gd name="T10" fmla="*/ 14 w 47"/>
                <a:gd name="T11" fmla="*/ 2 h 46"/>
                <a:gd name="T12" fmla="*/ 32 w 47"/>
                <a:gd name="T13" fmla="*/ 3 h 46"/>
                <a:gd name="T14" fmla="*/ 45 w 47"/>
                <a:gd name="T15" fmla="*/ 15 h 46"/>
                <a:gd name="T16" fmla="*/ 44 w 47"/>
                <a:gd name="T17" fmla="*/ 32 h 46"/>
                <a:gd name="T18" fmla="*/ 32 w 47"/>
                <a:gd name="T19" fmla="*/ 44 h 46"/>
                <a:gd name="T20" fmla="*/ 15 w 47"/>
                <a:gd name="T21" fmla="*/ 43 h 46"/>
                <a:gd name="T22" fmla="*/ 18 w 47"/>
                <a:gd name="T23" fmla="*/ 34 h 46"/>
                <a:gd name="T24" fmla="*/ 30 w 47"/>
                <a:gd name="T25" fmla="*/ 35 h 46"/>
                <a:gd name="T26" fmla="*/ 37 w 47"/>
                <a:gd name="T27" fmla="*/ 29 h 46"/>
                <a:gd name="T28" fmla="*/ 37 w 47"/>
                <a:gd name="T29" fmla="*/ 19 h 46"/>
                <a:gd name="T30" fmla="*/ 28 w 47"/>
                <a:gd name="T31" fmla="*/ 12 h 46"/>
                <a:gd name="T32" fmla="*/ 16 w 47"/>
                <a:gd name="T33" fmla="*/ 10 h 46"/>
                <a:gd name="T34" fmla="*/ 9 w 47"/>
                <a:gd name="T35" fmla="*/ 17 h 46"/>
                <a:gd name="T36" fmla="*/ 9 w 47"/>
                <a:gd name="T37" fmla="*/ 27 h 46"/>
                <a:gd name="T38" fmla="*/ 18 w 47"/>
                <a:gd name="T39" fmla="*/ 34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47" h="46">
                  <a:moveTo>
                    <a:pt x="15" y="43"/>
                  </a:moveTo>
                  <a:cubicBezTo>
                    <a:pt x="11" y="41"/>
                    <a:pt x="8" y="39"/>
                    <a:pt x="5" y="36"/>
                  </a:cubicBezTo>
                  <a:cubicBezTo>
                    <a:pt x="4" y="34"/>
                    <a:pt x="2" y="32"/>
                    <a:pt x="2" y="30"/>
                  </a:cubicBezTo>
                  <a:cubicBezTo>
                    <a:pt x="1" y="28"/>
                    <a:pt x="0" y="26"/>
                    <a:pt x="0" y="23"/>
                  </a:cubicBezTo>
                  <a:cubicBezTo>
                    <a:pt x="0" y="20"/>
                    <a:pt x="1" y="17"/>
                    <a:pt x="2" y="14"/>
                  </a:cubicBezTo>
                  <a:cubicBezTo>
                    <a:pt x="5" y="8"/>
                    <a:pt x="9" y="4"/>
                    <a:pt x="14" y="2"/>
                  </a:cubicBezTo>
                  <a:cubicBezTo>
                    <a:pt x="19" y="0"/>
                    <a:pt x="25" y="1"/>
                    <a:pt x="32" y="3"/>
                  </a:cubicBezTo>
                  <a:cubicBezTo>
                    <a:pt x="38" y="6"/>
                    <a:pt x="43" y="10"/>
                    <a:pt x="45" y="15"/>
                  </a:cubicBezTo>
                  <a:cubicBezTo>
                    <a:pt x="47" y="21"/>
                    <a:pt x="47" y="26"/>
                    <a:pt x="44" y="32"/>
                  </a:cubicBezTo>
                  <a:cubicBezTo>
                    <a:pt x="41" y="38"/>
                    <a:pt x="38" y="42"/>
                    <a:pt x="32" y="44"/>
                  </a:cubicBezTo>
                  <a:cubicBezTo>
                    <a:pt x="27" y="46"/>
                    <a:pt x="21" y="45"/>
                    <a:pt x="15" y="43"/>
                  </a:cubicBezTo>
                  <a:close/>
                  <a:moveTo>
                    <a:pt x="18" y="34"/>
                  </a:moveTo>
                  <a:cubicBezTo>
                    <a:pt x="23" y="36"/>
                    <a:pt x="27" y="37"/>
                    <a:pt x="30" y="35"/>
                  </a:cubicBezTo>
                  <a:cubicBezTo>
                    <a:pt x="33" y="34"/>
                    <a:pt x="36" y="32"/>
                    <a:pt x="37" y="29"/>
                  </a:cubicBezTo>
                  <a:cubicBezTo>
                    <a:pt x="39" y="26"/>
                    <a:pt x="39" y="23"/>
                    <a:pt x="37" y="19"/>
                  </a:cubicBezTo>
                  <a:cubicBezTo>
                    <a:pt x="36" y="16"/>
                    <a:pt x="33" y="14"/>
                    <a:pt x="28" y="12"/>
                  </a:cubicBezTo>
                  <a:cubicBezTo>
                    <a:pt x="23" y="10"/>
                    <a:pt x="19" y="9"/>
                    <a:pt x="16" y="10"/>
                  </a:cubicBezTo>
                  <a:cubicBezTo>
                    <a:pt x="13" y="11"/>
                    <a:pt x="11" y="14"/>
                    <a:pt x="9" y="17"/>
                  </a:cubicBezTo>
                  <a:cubicBezTo>
                    <a:pt x="8" y="20"/>
                    <a:pt x="8" y="23"/>
                    <a:pt x="9" y="27"/>
                  </a:cubicBezTo>
                  <a:cubicBezTo>
                    <a:pt x="11" y="30"/>
                    <a:pt x="14" y="32"/>
                    <a:pt x="18" y="3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54" name="îṣlïḍè"/>
            <p:cNvSpPr/>
            <p:nvPr/>
          </p:nvSpPr>
          <p:spPr bwMode="auto">
            <a:xfrm>
              <a:off x="3128859" y="5560015"/>
              <a:ext cx="93663" cy="57150"/>
            </a:xfrm>
            <a:custGeom>
              <a:avLst/>
              <a:gdLst>
                <a:gd name="T0" fmla="*/ 49 w 59"/>
                <a:gd name="T1" fmla="*/ 36 h 36"/>
                <a:gd name="T2" fmla="*/ 0 w 59"/>
                <a:gd name="T3" fmla="*/ 21 h 36"/>
                <a:gd name="T4" fmla="*/ 4 w 59"/>
                <a:gd name="T5" fmla="*/ 10 h 36"/>
                <a:gd name="T6" fmla="*/ 43 w 59"/>
                <a:gd name="T7" fmla="*/ 24 h 36"/>
                <a:gd name="T8" fmla="*/ 51 w 59"/>
                <a:gd name="T9" fmla="*/ 0 h 36"/>
                <a:gd name="T10" fmla="*/ 59 w 59"/>
                <a:gd name="T11" fmla="*/ 2 h 36"/>
                <a:gd name="T12" fmla="*/ 49 w 59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9" h="36">
                  <a:moveTo>
                    <a:pt x="49" y="36"/>
                  </a:moveTo>
                  <a:lnTo>
                    <a:pt x="0" y="21"/>
                  </a:lnTo>
                  <a:lnTo>
                    <a:pt x="4" y="10"/>
                  </a:lnTo>
                  <a:lnTo>
                    <a:pt x="43" y="24"/>
                  </a:lnTo>
                  <a:lnTo>
                    <a:pt x="51" y="0"/>
                  </a:lnTo>
                  <a:lnTo>
                    <a:pt x="59" y="2"/>
                  </a:lnTo>
                  <a:lnTo>
                    <a:pt x="49" y="3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55" name="ïṩḷîḓê"/>
            <p:cNvSpPr/>
            <p:nvPr/>
          </p:nvSpPr>
          <p:spPr bwMode="auto">
            <a:xfrm>
              <a:off x="3152672" y="5469528"/>
              <a:ext cx="85725" cy="80963"/>
            </a:xfrm>
            <a:custGeom>
              <a:avLst/>
              <a:gdLst>
                <a:gd name="T0" fmla="*/ 18 w 46"/>
                <a:gd name="T1" fmla="*/ 43 h 44"/>
                <a:gd name="T2" fmla="*/ 8 w 46"/>
                <a:gd name="T3" fmla="*/ 38 h 44"/>
                <a:gd name="T4" fmla="*/ 3 w 46"/>
                <a:gd name="T5" fmla="*/ 33 h 44"/>
                <a:gd name="T6" fmla="*/ 0 w 46"/>
                <a:gd name="T7" fmla="*/ 27 h 44"/>
                <a:gd name="T8" fmla="*/ 1 w 46"/>
                <a:gd name="T9" fmla="*/ 17 h 44"/>
                <a:gd name="T10" fmla="*/ 10 w 46"/>
                <a:gd name="T11" fmla="*/ 3 h 44"/>
                <a:gd name="T12" fmla="*/ 28 w 46"/>
                <a:gd name="T13" fmla="*/ 1 h 44"/>
                <a:gd name="T14" fmla="*/ 43 w 46"/>
                <a:gd name="T15" fmla="*/ 11 h 44"/>
                <a:gd name="T16" fmla="*/ 45 w 46"/>
                <a:gd name="T17" fmla="*/ 27 h 44"/>
                <a:gd name="T18" fmla="*/ 36 w 46"/>
                <a:gd name="T19" fmla="*/ 41 h 44"/>
                <a:gd name="T20" fmla="*/ 18 w 46"/>
                <a:gd name="T21" fmla="*/ 43 h 44"/>
                <a:gd name="T22" fmla="*/ 20 w 46"/>
                <a:gd name="T23" fmla="*/ 34 h 44"/>
                <a:gd name="T24" fmla="*/ 32 w 46"/>
                <a:gd name="T25" fmla="*/ 33 h 44"/>
                <a:gd name="T26" fmla="*/ 38 w 46"/>
                <a:gd name="T27" fmla="*/ 25 h 44"/>
                <a:gd name="T28" fmla="*/ 36 w 46"/>
                <a:gd name="T29" fmla="*/ 16 h 44"/>
                <a:gd name="T30" fmla="*/ 25 w 46"/>
                <a:gd name="T31" fmla="*/ 10 h 44"/>
                <a:gd name="T32" fmla="*/ 14 w 46"/>
                <a:gd name="T33" fmla="*/ 11 h 44"/>
                <a:gd name="T34" fmla="*/ 8 w 46"/>
                <a:gd name="T35" fmla="*/ 19 h 44"/>
                <a:gd name="T36" fmla="*/ 10 w 46"/>
                <a:gd name="T37" fmla="*/ 28 h 44"/>
                <a:gd name="T38" fmla="*/ 20 w 46"/>
                <a:gd name="T39" fmla="*/ 34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46" h="44">
                  <a:moveTo>
                    <a:pt x="18" y="43"/>
                  </a:moveTo>
                  <a:cubicBezTo>
                    <a:pt x="14" y="42"/>
                    <a:pt x="10" y="40"/>
                    <a:pt x="8" y="38"/>
                  </a:cubicBezTo>
                  <a:cubicBezTo>
                    <a:pt x="6" y="37"/>
                    <a:pt x="4" y="35"/>
                    <a:pt x="3" y="33"/>
                  </a:cubicBezTo>
                  <a:cubicBezTo>
                    <a:pt x="1" y="31"/>
                    <a:pt x="1" y="29"/>
                    <a:pt x="0" y="27"/>
                  </a:cubicBezTo>
                  <a:cubicBezTo>
                    <a:pt x="0" y="24"/>
                    <a:pt x="0" y="21"/>
                    <a:pt x="1" y="17"/>
                  </a:cubicBezTo>
                  <a:cubicBezTo>
                    <a:pt x="2" y="11"/>
                    <a:pt x="5" y="6"/>
                    <a:pt x="10" y="3"/>
                  </a:cubicBezTo>
                  <a:cubicBezTo>
                    <a:pt x="15" y="0"/>
                    <a:pt x="21" y="0"/>
                    <a:pt x="28" y="1"/>
                  </a:cubicBezTo>
                  <a:cubicBezTo>
                    <a:pt x="34" y="3"/>
                    <a:pt x="39" y="6"/>
                    <a:pt x="43" y="11"/>
                  </a:cubicBezTo>
                  <a:cubicBezTo>
                    <a:pt x="46" y="15"/>
                    <a:pt x="46" y="21"/>
                    <a:pt x="45" y="27"/>
                  </a:cubicBezTo>
                  <a:cubicBezTo>
                    <a:pt x="44" y="33"/>
                    <a:pt x="40" y="38"/>
                    <a:pt x="36" y="41"/>
                  </a:cubicBezTo>
                  <a:cubicBezTo>
                    <a:pt x="31" y="44"/>
                    <a:pt x="25" y="44"/>
                    <a:pt x="18" y="43"/>
                  </a:cubicBezTo>
                  <a:close/>
                  <a:moveTo>
                    <a:pt x="20" y="34"/>
                  </a:moveTo>
                  <a:cubicBezTo>
                    <a:pt x="25" y="35"/>
                    <a:pt x="29" y="35"/>
                    <a:pt x="32" y="33"/>
                  </a:cubicBezTo>
                  <a:cubicBezTo>
                    <a:pt x="35" y="31"/>
                    <a:pt x="37" y="29"/>
                    <a:pt x="38" y="25"/>
                  </a:cubicBezTo>
                  <a:cubicBezTo>
                    <a:pt x="38" y="22"/>
                    <a:pt x="38" y="19"/>
                    <a:pt x="36" y="16"/>
                  </a:cubicBezTo>
                  <a:cubicBezTo>
                    <a:pt x="34" y="13"/>
                    <a:pt x="30" y="11"/>
                    <a:pt x="25" y="10"/>
                  </a:cubicBezTo>
                  <a:cubicBezTo>
                    <a:pt x="20" y="9"/>
                    <a:pt x="16" y="9"/>
                    <a:pt x="14" y="11"/>
                  </a:cubicBezTo>
                  <a:cubicBezTo>
                    <a:pt x="11" y="13"/>
                    <a:pt x="9" y="15"/>
                    <a:pt x="8" y="19"/>
                  </a:cubicBezTo>
                  <a:cubicBezTo>
                    <a:pt x="7" y="22"/>
                    <a:pt x="8" y="25"/>
                    <a:pt x="10" y="28"/>
                  </a:cubicBezTo>
                  <a:cubicBezTo>
                    <a:pt x="12" y="31"/>
                    <a:pt x="15" y="33"/>
                    <a:pt x="20" y="3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56" name="ïSļiďé"/>
            <p:cNvSpPr/>
            <p:nvPr/>
          </p:nvSpPr>
          <p:spPr bwMode="auto">
            <a:xfrm>
              <a:off x="3165372" y="5390153"/>
              <a:ext cx="85725" cy="77788"/>
            </a:xfrm>
            <a:custGeom>
              <a:avLst/>
              <a:gdLst>
                <a:gd name="T0" fmla="*/ 29 w 46"/>
                <a:gd name="T1" fmla="*/ 21 h 42"/>
                <a:gd name="T2" fmla="*/ 22 w 46"/>
                <a:gd name="T3" fmla="*/ 20 h 42"/>
                <a:gd name="T4" fmla="*/ 24 w 46"/>
                <a:gd name="T5" fmla="*/ 1 h 42"/>
                <a:gd name="T6" fmla="*/ 41 w 46"/>
                <a:gd name="T7" fmla="*/ 3 h 42"/>
                <a:gd name="T8" fmla="*/ 45 w 46"/>
                <a:gd name="T9" fmla="*/ 11 h 42"/>
                <a:gd name="T10" fmla="*/ 46 w 46"/>
                <a:gd name="T11" fmla="*/ 22 h 42"/>
                <a:gd name="T12" fmla="*/ 42 w 46"/>
                <a:gd name="T13" fmla="*/ 34 h 42"/>
                <a:gd name="T14" fmla="*/ 33 w 46"/>
                <a:gd name="T15" fmla="*/ 41 h 42"/>
                <a:gd name="T16" fmla="*/ 21 w 46"/>
                <a:gd name="T17" fmla="*/ 42 h 42"/>
                <a:gd name="T18" fmla="*/ 9 w 46"/>
                <a:gd name="T19" fmla="*/ 38 h 42"/>
                <a:gd name="T20" fmla="*/ 2 w 46"/>
                <a:gd name="T21" fmla="*/ 28 h 42"/>
                <a:gd name="T22" fmla="*/ 1 w 46"/>
                <a:gd name="T23" fmla="*/ 18 h 42"/>
                <a:gd name="T24" fmla="*/ 6 w 46"/>
                <a:gd name="T25" fmla="*/ 5 h 42"/>
                <a:gd name="T26" fmla="*/ 16 w 46"/>
                <a:gd name="T27" fmla="*/ 0 h 42"/>
                <a:gd name="T28" fmla="*/ 16 w 46"/>
                <a:gd name="T29" fmla="*/ 9 h 42"/>
                <a:gd name="T30" fmla="*/ 11 w 46"/>
                <a:gd name="T31" fmla="*/ 12 h 42"/>
                <a:gd name="T32" fmla="*/ 8 w 46"/>
                <a:gd name="T33" fmla="*/ 18 h 42"/>
                <a:gd name="T34" fmla="*/ 11 w 46"/>
                <a:gd name="T35" fmla="*/ 28 h 42"/>
                <a:gd name="T36" fmla="*/ 21 w 46"/>
                <a:gd name="T37" fmla="*/ 33 h 42"/>
                <a:gd name="T38" fmla="*/ 34 w 46"/>
                <a:gd name="T39" fmla="*/ 31 h 42"/>
                <a:gd name="T40" fmla="*/ 38 w 46"/>
                <a:gd name="T41" fmla="*/ 22 h 42"/>
                <a:gd name="T42" fmla="*/ 38 w 46"/>
                <a:gd name="T43" fmla="*/ 16 h 42"/>
                <a:gd name="T44" fmla="*/ 36 w 46"/>
                <a:gd name="T45" fmla="*/ 11 h 42"/>
                <a:gd name="T46" fmla="*/ 30 w 46"/>
                <a:gd name="T47" fmla="*/ 11 h 42"/>
                <a:gd name="T48" fmla="*/ 29 w 46"/>
                <a:gd name="T49" fmla="*/ 21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46" h="42">
                  <a:moveTo>
                    <a:pt x="29" y="21"/>
                  </a:moveTo>
                  <a:cubicBezTo>
                    <a:pt x="22" y="20"/>
                    <a:pt x="22" y="20"/>
                    <a:pt x="22" y="20"/>
                  </a:cubicBezTo>
                  <a:cubicBezTo>
                    <a:pt x="24" y="1"/>
                    <a:pt x="24" y="1"/>
                    <a:pt x="24" y="1"/>
                  </a:cubicBezTo>
                  <a:cubicBezTo>
                    <a:pt x="41" y="3"/>
                    <a:pt x="41" y="3"/>
                    <a:pt x="41" y="3"/>
                  </a:cubicBezTo>
                  <a:cubicBezTo>
                    <a:pt x="43" y="5"/>
                    <a:pt x="44" y="8"/>
                    <a:pt x="45" y="11"/>
                  </a:cubicBezTo>
                  <a:cubicBezTo>
                    <a:pt x="46" y="15"/>
                    <a:pt x="46" y="19"/>
                    <a:pt x="46" y="22"/>
                  </a:cubicBezTo>
                  <a:cubicBezTo>
                    <a:pt x="46" y="27"/>
                    <a:pt x="44" y="31"/>
                    <a:pt x="42" y="34"/>
                  </a:cubicBezTo>
                  <a:cubicBezTo>
                    <a:pt x="39" y="37"/>
                    <a:pt x="36" y="39"/>
                    <a:pt x="33" y="41"/>
                  </a:cubicBezTo>
                  <a:cubicBezTo>
                    <a:pt x="29" y="42"/>
                    <a:pt x="25" y="42"/>
                    <a:pt x="21" y="42"/>
                  </a:cubicBezTo>
                  <a:cubicBezTo>
                    <a:pt x="16" y="41"/>
                    <a:pt x="12" y="40"/>
                    <a:pt x="9" y="38"/>
                  </a:cubicBezTo>
                  <a:cubicBezTo>
                    <a:pt x="6" y="35"/>
                    <a:pt x="3" y="32"/>
                    <a:pt x="2" y="28"/>
                  </a:cubicBezTo>
                  <a:cubicBezTo>
                    <a:pt x="1" y="25"/>
                    <a:pt x="0" y="22"/>
                    <a:pt x="1" y="18"/>
                  </a:cubicBezTo>
                  <a:cubicBezTo>
                    <a:pt x="1" y="12"/>
                    <a:pt x="3" y="8"/>
                    <a:pt x="6" y="5"/>
                  </a:cubicBezTo>
                  <a:cubicBezTo>
                    <a:pt x="8" y="2"/>
                    <a:pt x="12" y="1"/>
                    <a:pt x="16" y="0"/>
                  </a:cubicBezTo>
                  <a:cubicBezTo>
                    <a:pt x="16" y="9"/>
                    <a:pt x="16" y="9"/>
                    <a:pt x="16" y="9"/>
                  </a:cubicBezTo>
                  <a:cubicBezTo>
                    <a:pt x="14" y="10"/>
                    <a:pt x="12" y="11"/>
                    <a:pt x="11" y="12"/>
                  </a:cubicBezTo>
                  <a:cubicBezTo>
                    <a:pt x="10" y="14"/>
                    <a:pt x="9" y="16"/>
                    <a:pt x="8" y="18"/>
                  </a:cubicBezTo>
                  <a:cubicBezTo>
                    <a:pt x="8" y="22"/>
                    <a:pt x="9" y="25"/>
                    <a:pt x="11" y="28"/>
                  </a:cubicBezTo>
                  <a:cubicBezTo>
                    <a:pt x="13" y="31"/>
                    <a:pt x="17" y="32"/>
                    <a:pt x="21" y="33"/>
                  </a:cubicBezTo>
                  <a:cubicBezTo>
                    <a:pt x="27" y="33"/>
                    <a:pt x="31" y="33"/>
                    <a:pt x="34" y="31"/>
                  </a:cubicBezTo>
                  <a:cubicBezTo>
                    <a:pt x="36" y="29"/>
                    <a:pt x="38" y="26"/>
                    <a:pt x="38" y="22"/>
                  </a:cubicBezTo>
                  <a:cubicBezTo>
                    <a:pt x="39" y="20"/>
                    <a:pt x="39" y="18"/>
                    <a:pt x="38" y="16"/>
                  </a:cubicBezTo>
                  <a:cubicBezTo>
                    <a:pt x="37" y="14"/>
                    <a:pt x="37" y="13"/>
                    <a:pt x="36" y="11"/>
                  </a:cubicBezTo>
                  <a:cubicBezTo>
                    <a:pt x="30" y="11"/>
                    <a:pt x="30" y="11"/>
                    <a:pt x="30" y="11"/>
                  </a:cubicBezTo>
                  <a:lnTo>
                    <a:pt x="29" y="2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57" name="îSḷiḋè"/>
            <p:cNvSpPr/>
            <p:nvPr/>
          </p:nvSpPr>
          <p:spPr bwMode="auto">
            <a:xfrm>
              <a:off x="3173309" y="5313953"/>
              <a:ext cx="80963" cy="76200"/>
            </a:xfrm>
            <a:custGeom>
              <a:avLst/>
              <a:gdLst>
                <a:gd name="T0" fmla="*/ 51 w 51"/>
                <a:gd name="T1" fmla="*/ 30 h 48"/>
                <a:gd name="T2" fmla="*/ 29 w 51"/>
                <a:gd name="T3" fmla="*/ 29 h 48"/>
                <a:gd name="T4" fmla="*/ 0 w 51"/>
                <a:gd name="T5" fmla="*/ 48 h 48"/>
                <a:gd name="T6" fmla="*/ 0 w 51"/>
                <a:gd name="T7" fmla="*/ 36 h 48"/>
                <a:gd name="T8" fmla="*/ 20 w 51"/>
                <a:gd name="T9" fmla="*/ 24 h 48"/>
                <a:gd name="T10" fmla="*/ 0 w 51"/>
                <a:gd name="T11" fmla="*/ 12 h 48"/>
                <a:gd name="T12" fmla="*/ 0 w 51"/>
                <a:gd name="T13" fmla="*/ 0 h 48"/>
                <a:gd name="T14" fmla="*/ 30 w 51"/>
                <a:gd name="T15" fmla="*/ 20 h 48"/>
                <a:gd name="T16" fmla="*/ 51 w 51"/>
                <a:gd name="T17" fmla="*/ 20 h 48"/>
                <a:gd name="T18" fmla="*/ 51 w 51"/>
                <a:gd name="T19" fmla="*/ 30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" h="48">
                  <a:moveTo>
                    <a:pt x="51" y="30"/>
                  </a:moveTo>
                  <a:lnTo>
                    <a:pt x="29" y="29"/>
                  </a:lnTo>
                  <a:lnTo>
                    <a:pt x="0" y="48"/>
                  </a:lnTo>
                  <a:lnTo>
                    <a:pt x="0" y="36"/>
                  </a:lnTo>
                  <a:lnTo>
                    <a:pt x="20" y="24"/>
                  </a:lnTo>
                  <a:lnTo>
                    <a:pt x="0" y="12"/>
                  </a:lnTo>
                  <a:lnTo>
                    <a:pt x="0" y="0"/>
                  </a:lnTo>
                  <a:lnTo>
                    <a:pt x="30" y="20"/>
                  </a:lnTo>
                  <a:lnTo>
                    <a:pt x="51" y="20"/>
                  </a:lnTo>
                  <a:lnTo>
                    <a:pt x="51" y="3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58" name="îṣḷíḋé"/>
            <p:cNvSpPr/>
            <p:nvPr/>
          </p:nvSpPr>
          <p:spPr bwMode="auto">
            <a:xfrm>
              <a:off x="3163784" y="5193303"/>
              <a:ext cx="87313" cy="76200"/>
            </a:xfrm>
            <a:custGeom>
              <a:avLst/>
              <a:gdLst>
                <a:gd name="T0" fmla="*/ 4 w 47"/>
                <a:gd name="T1" fmla="*/ 41 h 41"/>
                <a:gd name="T2" fmla="*/ 1 w 47"/>
                <a:gd name="T3" fmla="*/ 24 h 41"/>
                <a:gd name="T4" fmla="*/ 0 w 47"/>
                <a:gd name="T5" fmla="*/ 16 h 41"/>
                <a:gd name="T6" fmla="*/ 2 w 47"/>
                <a:gd name="T7" fmla="*/ 11 h 41"/>
                <a:gd name="T8" fmla="*/ 5 w 47"/>
                <a:gd name="T9" fmla="*/ 7 h 41"/>
                <a:gd name="T10" fmla="*/ 10 w 47"/>
                <a:gd name="T11" fmla="*/ 5 h 41"/>
                <a:gd name="T12" fmla="*/ 16 w 47"/>
                <a:gd name="T13" fmla="*/ 6 h 41"/>
                <a:gd name="T14" fmla="*/ 20 w 47"/>
                <a:gd name="T15" fmla="*/ 10 h 41"/>
                <a:gd name="T16" fmla="*/ 23 w 47"/>
                <a:gd name="T17" fmla="*/ 3 h 41"/>
                <a:gd name="T18" fmla="*/ 29 w 47"/>
                <a:gd name="T19" fmla="*/ 0 h 41"/>
                <a:gd name="T20" fmla="*/ 35 w 47"/>
                <a:gd name="T21" fmla="*/ 1 h 41"/>
                <a:gd name="T22" fmla="*/ 40 w 47"/>
                <a:gd name="T23" fmla="*/ 4 h 41"/>
                <a:gd name="T24" fmla="*/ 43 w 47"/>
                <a:gd name="T25" fmla="*/ 10 h 41"/>
                <a:gd name="T26" fmla="*/ 45 w 47"/>
                <a:gd name="T27" fmla="*/ 20 h 41"/>
                <a:gd name="T28" fmla="*/ 47 w 47"/>
                <a:gd name="T29" fmla="*/ 35 h 41"/>
                <a:gd name="T30" fmla="*/ 4 w 47"/>
                <a:gd name="T31" fmla="*/ 41 h 41"/>
                <a:gd name="T32" fmla="*/ 10 w 47"/>
                <a:gd name="T33" fmla="*/ 31 h 41"/>
                <a:gd name="T34" fmla="*/ 20 w 47"/>
                <a:gd name="T35" fmla="*/ 30 h 41"/>
                <a:gd name="T36" fmla="*/ 19 w 47"/>
                <a:gd name="T37" fmla="*/ 24 h 41"/>
                <a:gd name="T38" fmla="*/ 18 w 47"/>
                <a:gd name="T39" fmla="*/ 18 h 41"/>
                <a:gd name="T40" fmla="*/ 16 w 47"/>
                <a:gd name="T41" fmla="*/ 15 h 41"/>
                <a:gd name="T42" fmla="*/ 12 w 47"/>
                <a:gd name="T43" fmla="*/ 14 h 41"/>
                <a:gd name="T44" fmla="*/ 9 w 47"/>
                <a:gd name="T45" fmla="*/ 15 h 41"/>
                <a:gd name="T46" fmla="*/ 8 w 47"/>
                <a:gd name="T47" fmla="*/ 19 h 41"/>
                <a:gd name="T48" fmla="*/ 9 w 47"/>
                <a:gd name="T49" fmla="*/ 26 h 41"/>
                <a:gd name="T50" fmla="*/ 10 w 47"/>
                <a:gd name="T51" fmla="*/ 31 h 41"/>
                <a:gd name="T52" fmla="*/ 27 w 47"/>
                <a:gd name="T53" fmla="*/ 29 h 41"/>
                <a:gd name="T54" fmla="*/ 39 w 47"/>
                <a:gd name="T55" fmla="*/ 27 h 41"/>
                <a:gd name="T56" fmla="*/ 37 w 47"/>
                <a:gd name="T57" fmla="*/ 19 h 41"/>
                <a:gd name="T58" fmla="*/ 36 w 47"/>
                <a:gd name="T59" fmla="*/ 13 h 41"/>
                <a:gd name="T60" fmla="*/ 34 w 47"/>
                <a:gd name="T61" fmla="*/ 10 h 41"/>
                <a:gd name="T62" fmla="*/ 30 w 47"/>
                <a:gd name="T63" fmla="*/ 10 h 41"/>
                <a:gd name="T64" fmla="*/ 27 w 47"/>
                <a:gd name="T65" fmla="*/ 11 h 41"/>
                <a:gd name="T66" fmla="*/ 25 w 47"/>
                <a:gd name="T67" fmla="*/ 14 h 41"/>
                <a:gd name="T68" fmla="*/ 26 w 47"/>
                <a:gd name="T69" fmla="*/ 22 h 41"/>
                <a:gd name="T70" fmla="*/ 27 w 47"/>
                <a:gd name="T71" fmla="*/ 29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47" h="41">
                  <a:moveTo>
                    <a:pt x="4" y="41"/>
                  </a:moveTo>
                  <a:cubicBezTo>
                    <a:pt x="1" y="24"/>
                    <a:pt x="1" y="24"/>
                    <a:pt x="1" y="24"/>
                  </a:cubicBezTo>
                  <a:cubicBezTo>
                    <a:pt x="1" y="20"/>
                    <a:pt x="0" y="18"/>
                    <a:pt x="0" y="16"/>
                  </a:cubicBezTo>
                  <a:cubicBezTo>
                    <a:pt x="1" y="14"/>
                    <a:pt x="1" y="13"/>
                    <a:pt x="2" y="11"/>
                  </a:cubicBezTo>
                  <a:cubicBezTo>
                    <a:pt x="2" y="10"/>
                    <a:pt x="3" y="9"/>
                    <a:pt x="5" y="7"/>
                  </a:cubicBezTo>
                  <a:cubicBezTo>
                    <a:pt x="6" y="6"/>
                    <a:pt x="8" y="6"/>
                    <a:pt x="10" y="5"/>
                  </a:cubicBezTo>
                  <a:cubicBezTo>
                    <a:pt x="12" y="5"/>
                    <a:pt x="14" y="5"/>
                    <a:pt x="16" y="6"/>
                  </a:cubicBezTo>
                  <a:cubicBezTo>
                    <a:pt x="17" y="7"/>
                    <a:pt x="19" y="8"/>
                    <a:pt x="20" y="10"/>
                  </a:cubicBezTo>
                  <a:cubicBezTo>
                    <a:pt x="20" y="7"/>
                    <a:pt x="21" y="5"/>
                    <a:pt x="23" y="3"/>
                  </a:cubicBezTo>
                  <a:cubicBezTo>
                    <a:pt x="25" y="2"/>
                    <a:pt x="27" y="1"/>
                    <a:pt x="29" y="0"/>
                  </a:cubicBezTo>
                  <a:cubicBezTo>
                    <a:pt x="31" y="0"/>
                    <a:pt x="33" y="0"/>
                    <a:pt x="35" y="1"/>
                  </a:cubicBezTo>
                  <a:cubicBezTo>
                    <a:pt x="37" y="2"/>
                    <a:pt x="39" y="3"/>
                    <a:pt x="40" y="4"/>
                  </a:cubicBezTo>
                  <a:cubicBezTo>
                    <a:pt x="42" y="5"/>
                    <a:pt x="43" y="7"/>
                    <a:pt x="43" y="10"/>
                  </a:cubicBezTo>
                  <a:cubicBezTo>
                    <a:pt x="44" y="11"/>
                    <a:pt x="44" y="15"/>
                    <a:pt x="45" y="20"/>
                  </a:cubicBezTo>
                  <a:cubicBezTo>
                    <a:pt x="47" y="35"/>
                    <a:pt x="47" y="35"/>
                    <a:pt x="47" y="35"/>
                  </a:cubicBezTo>
                  <a:lnTo>
                    <a:pt x="4" y="41"/>
                  </a:lnTo>
                  <a:close/>
                  <a:moveTo>
                    <a:pt x="10" y="31"/>
                  </a:moveTo>
                  <a:cubicBezTo>
                    <a:pt x="20" y="30"/>
                    <a:pt x="20" y="30"/>
                    <a:pt x="20" y="30"/>
                  </a:cubicBezTo>
                  <a:cubicBezTo>
                    <a:pt x="19" y="24"/>
                    <a:pt x="19" y="24"/>
                    <a:pt x="19" y="24"/>
                  </a:cubicBezTo>
                  <a:cubicBezTo>
                    <a:pt x="18" y="21"/>
                    <a:pt x="18" y="19"/>
                    <a:pt x="18" y="18"/>
                  </a:cubicBezTo>
                  <a:cubicBezTo>
                    <a:pt x="17" y="16"/>
                    <a:pt x="17" y="15"/>
                    <a:pt x="16" y="15"/>
                  </a:cubicBezTo>
                  <a:cubicBezTo>
                    <a:pt x="15" y="14"/>
                    <a:pt x="14" y="14"/>
                    <a:pt x="12" y="14"/>
                  </a:cubicBezTo>
                  <a:cubicBezTo>
                    <a:pt x="11" y="14"/>
                    <a:pt x="10" y="14"/>
                    <a:pt x="9" y="15"/>
                  </a:cubicBezTo>
                  <a:cubicBezTo>
                    <a:pt x="8" y="16"/>
                    <a:pt x="8" y="17"/>
                    <a:pt x="8" y="19"/>
                  </a:cubicBezTo>
                  <a:cubicBezTo>
                    <a:pt x="8" y="20"/>
                    <a:pt x="8" y="22"/>
                    <a:pt x="9" y="26"/>
                  </a:cubicBezTo>
                  <a:lnTo>
                    <a:pt x="10" y="31"/>
                  </a:lnTo>
                  <a:close/>
                  <a:moveTo>
                    <a:pt x="27" y="29"/>
                  </a:moveTo>
                  <a:cubicBezTo>
                    <a:pt x="39" y="27"/>
                    <a:pt x="39" y="27"/>
                    <a:pt x="39" y="27"/>
                  </a:cubicBezTo>
                  <a:cubicBezTo>
                    <a:pt x="37" y="19"/>
                    <a:pt x="37" y="19"/>
                    <a:pt x="37" y="19"/>
                  </a:cubicBezTo>
                  <a:cubicBezTo>
                    <a:pt x="37" y="16"/>
                    <a:pt x="37" y="14"/>
                    <a:pt x="36" y="13"/>
                  </a:cubicBezTo>
                  <a:cubicBezTo>
                    <a:pt x="36" y="12"/>
                    <a:pt x="35" y="11"/>
                    <a:pt x="34" y="10"/>
                  </a:cubicBezTo>
                  <a:cubicBezTo>
                    <a:pt x="33" y="10"/>
                    <a:pt x="32" y="9"/>
                    <a:pt x="30" y="10"/>
                  </a:cubicBezTo>
                  <a:cubicBezTo>
                    <a:pt x="29" y="10"/>
                    <a:pt x="28" y="10"/>
                    <a:pt x="27" y="11"/>
                  </a:cubicBezTo>
                  <a:cubicBezTo>
                    <a:pt x="26" y="12"/>
                    <a:pt x="26" y="13"/>
                    <a:pt x="25" y="14"/>
                  </a:cubicBezTo>
                  <a:cubicBezTo>
                    <a:pt x="25" y="15"/>
                    <a:pt x="25" y="18"/>
                    <a:pt x="26" y="22"/>
                  </a:cubicBezTo>
                  <a:lnTo>
                    <a:pt x="27" y="2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59" name="îṩliďè"/>
            <p:cNvSpPr/>
            <p:nvPr/>
          </p:nvSpPr>
          <p:spPr bwMode="auto">
            <a:xfrm>
              <a:off x="3146322" y="5120278"/>
              <a:ext cx="93663" cy="79375"/>
            </a:xfrm>
            <a:custGeom>
              <a:avLst/>
              <a:gdLst>
                <a:gd name="T0" fmla="*/ 59 w 59"/>
                <a:gd name="T1" fmla="*/ 37 h 50"/>
                <a:gd name="T2" fmla="*/ 9 w 59"/>
                <a:gd name="T3" fmla="*/ 50 h 50"/>
                <a:gd name="T4" fmla="*/ 0 w 59"/>
                <a:gd name="T5" fmla="*/ 13 h 50"/>
                <a:gd name="T6" fmla="*/ 8 w 59"/>
                <a:gd name="T7" fmla="*/ 10 h 50"/>
                <a:gd name="T8" fmla="*/ 15 w 59"/>
                <a:gd name="T9" fmla="*/ 37 h 50"/>
                <a:gd name="T10" fmla="*/ 25 w 59"/>
                <a:gd name="T11" fmla="*/ 35 h 50"/>
                <a:gd name="T12" fmla="*/ 19 w 59"/>
                <a:gd name="T13" fmla="*/ 9 h 50"/>
                <a:gd name="T14" fmla="*/ 27 w 59"/>
                <a:gd name="T15" fmla="*/ 8 h 50"/>
                <a:gd name="T16" fmla="*/ 34 w 59"/>
                <a:gd name="T17" fmla="*/ 32 h 50"/>
                <a:gd name="T18" fmla="*/ 47 w 59"/>
                <a:gd name="T19" fmla="*/ 29 h 50"/>
                <a:gd name="T20" fmla="*/ 40 w 59"/>
                <a:gd name="T21" fmla="*/ 1 h 50"/>
                <a:gd name="T22" fmla="*/ 49 w 59"/>
                <a:gd name="T23" fmla="*/ 0 h 50"/>
                <a:gd name="T24" fmla="*/ 59 w 59"/>
                <a:gd name="T25" fmla="*/ 37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59" h="50">
                  <a:moveTo>
                    <a:pt x="59" y="37"/>
                  </a:moveTo>
                  <a:lnTo>
                    <a:pt x="9" y="50"/>
                  </a:lnTo>
                  <a:lnTo>
                    <a:pt x="0" y="13"/>
                  </a:lnTo>
                  <a:lnTo>
                    <a:pt x="8" y="10"/>
                  </a:lnTo>
                  <a:lnTo>
                    <a:pt x="15" y="37"/>
                  </a:lnTo>
                  <a:lnTo>
                    <a:pt x="25" y="35"/>
                  </a:lnTo>
                  <a:lnTo>
                    <a:pt x="19" y="9"/>
                  </a:lnTo>
                  <a:lnTo>
                    <a:pt x="27" y="8"/>
                  </a:lnTo>
                  <a:lnTo>
                    <a:pt x="34" y="32"/>
                  </a:lnTo>
                  <a:lnTo>
                    <a:pt x="47" y="29"/>
                  </a:lnTo>
                  <a:lnTo>
                    <a:pt x="40" y="1"/>
                  </a:lnTo>
                  <a:lnTo>
                    <a:pt x="49" y="0"/>
                  </a:lnTo>
                  <a:lnTo>
                    <a:pt x="59" y="3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60" name="iṧlíḋè"/>
            <p:cNvSpPr/>
            <p:nvPr/>
          </p:nvSpPr>
          <p:spPr bwMode="auto">
            <a:xfrm>
              <a:off x="3138384" y="5096465"/>
              <a:ext cx="82550" cy="38100"/>
            </a:xfrm>
            <a:custGeom>
              <a:avLst/>
              <a:gdLst>
                <a:gd name="T0" fmla="*/ 52 w 52"/>
                <a:gd name="T1" fmla="*/ 9 h 24"/>
                <a:gd name="T2" fmla="*/ 3 w 52"/>
                <a:gd name="T3" fmla="*/ 24 h 24"/>
                <a:gd name="T4" fmla="*/ 0 w 52"/>
                <a:gd name="T5" fmla="*/ 15 h 24"/>
                <a:gd name="T6" fmla="*/ 49 w 52"/>
                <a:gd name="T7" fmla="*/ 0 h 24"/>
                <a:gd name="T8" fmla="*/ 52 w 52"/>
                <a:gd name="T9" fmla="*/ 9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2" h="24">
                  <a:moveTo>
                    <a:pt x="52" y="9"/>
                  </a:moveTo>
                  <a:lnTo>
                    <a:pt x="3" y="24"/>
                  </a:lnTo>
                  <a:lnTo>
                    <a:pt x="0" y="15"/>
                  </a:lnTo>
                  <a:lnTo>
                    <a:pt x="49" y="0"/>
                  </a:lnTo>
                  <a:lnTo>
                    <a:pt x="52" y="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61" name="islïḓè"/>
            <p:cNvSpPr/>
            <p:nvPr/>
          </p:nvSpPr>
          <p:spPr bwMode="auto">
            <a:xfrm>
              <a:off x="3120922" y="5047253"/>
              <a:ext cx="88900" cy="52388"/>
            </a:xfrm>
            <a:custGeom>
              <a:avLst/>
              <a:gdLst>
                <a:gd name="T0" fmla="*/ 3 w 48"/>
                <a:gd name="T1" fmla="*/ 20 h 28"/>
                <a:gd name="T2" fmla="*/ 0 w 48"/>
                <a:gd name="T3" fmla="*/ 12 h 28"/>
                <a:gd name="T4" fmla="*/ 26 w 48"/>
                <a:gd name="T5" fmla="*/ 2 h 28"/>
                <a:gd name="T6" fmla="*/ 34 w 48"/>
                <a:gd name="T7" fmla="*/ 0 h 28"/>
                <a:gd name="T8" fmla="*/ 42 w 48"/>
                <a:gd name="T9" fmla="*/ 3 h 28"/>
                <a:gd name="T10" fmla="*/ 47 w 48"/>
                <a:gd name="T11" fmla="*/ 10 h 28"/>
                <a:gd name="T12" fmla="*/ 47 w 48"/>
                <a:gd name="T13" fmla="*/ 21 h 28"/>
                <a:gd name="T14" fmla="*/ 38 w 48"/>
                <a:gd name="T15" fmla="*/ 28 h 28"/>
                <a:gd name="T16" fmla="*/ 34 w 48"/>
                <a:gd name="T17" fmla="*/ 20 h 28"/>
                <a:gd name="T18" fmla="*/ 39 w 48"/>
                <a:gd name="T19" fmla="*/ 17 h 28"/>
                <a:gd name="T20" fmla="*/ 40 w 48"/>
                <a:gd name="T21" fmla="*/ 13 h 28"/>
                <a:gd name="T22" fmla="*/ 37 w 48"/>
                <a:gd name="T23" fmla="*/ 9 h 28"/>
                <a:gd name="T24" fmla="*/ 30 w 48"/>
                <a:gd name="T25" fmla="*/ 10 h 28"/>
                <a:gd name="T26" fmla="*/ 3 w 48"/>
                <a:gd name="T27" fmla="*/ 20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8" h="28">
                  <a:moveTo>
                    <a:pt x="3" y="20"/>
                  </a:moveTo>
                  <a:cubicBezTo>
                    <a:pt x="0" y="12"/>
                    <a:pt x="0" y="12"/>
                    <a:pt x="0" y="12"/>
                  </a:cubicBezTo>
                  <a:cubicBezTo>
                    <a:pt x="26" y="2"/>
                    <a:pt x="26" y="2"/>
                    <a:pt x="26" y="2"/>
                  </a:cubicBezTo>
                  <a:cubicBezTo>
                    <a:pt x="29" y="1"/>
                    <a:pt x="32" y="0"/>
                    <a:pt x="34" y="0"/>
                  </a:cubicBezTo>
                  <a:cubicBezTo>
                    <a:pt x="37" y="0"/>
                    <a:pt x="39" y="1"/>
                    <a:pt x="42" y="3"/>
                  </a:cubicBezTo>
                  <a:cubicBezTo>
                    <a:pt x="44" y="4"/>
                    <a:pt x="46" y="7"/>
                    <a:pt x="47" y="10"/>
                  </a:cubicBezTo>
                  <a:cubicBezTo>
                    <a:pt x="48" y="14"/>
                    <a:pt x="48" y="18"/>
                    <a:pt x="47" y="21"/>
                  </a:cubicBezTo>
                  <a:cubicBezTo>
                    <a:pt x="45" y="24"/>
                    <a:pt x="42" y="26"/>
                    <a:pt x="38" y="28"/>
                  </a:cubicBezTo>
                  <a:cubicBezTo>
                    <a:pt x="34" y="20"/>
                    <a:pt x="34" y="20"/>
                    <a:pt x="34" y="20"/>
                  </a:cubicBezTo>
                  <a:cubicBezTo>
                    <a:pt x="37" y="19"/>
                    <a:pt x="38" y="18"/>
                    <a:pt x="39" y="17"/>
                  </a:cubicBezTo>
                  <a:cubicBezTo>
                    <a:pt x="40" y="16"/>
                    <a:pt x="40" y="14"/>
                    <a:pt x="40" y="13"/>
                  </a:cubicBezTo>
                  <a:cubicBezTo>
                    <a:pt x="39" y="11"/>
                    <a:pt x="38" y="10"/>
                    <a:pt x="37" y="9"/>
                  </a:cubicBezTo>
                  <a:cubicBezTo>
                    <a:pt x="35" y="9"/>
                    <a:pt x="33" y="9"/>
                    <a:pt x="30" y="10"/>
                  </a:cubicBezTo>
                  <a:lnTo>
                    <a:pt x="3" y="2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62" name="íṥ1iḍe"/>
            <p:cNvSpPr/>
            <p:nvPr/>
          </p:nvSpPr>
          <p:spPr bwMode="auto">
            <a:xfrm>
              <a:off x="3112984" y="5017090"/>
              <a:ext cx="80963" cy="46038"/>
            </a:xfrm>
            <a:custGeom>
              <a:avLst/>
              <a:gdLst>
                <a:gd name="T0" fmla="*/ 51 w 51"/>
                <a:gd name="T1" fmla="*/ 9 h 29"/>
                <a:gd name="T2" fmla="*/ 3 w 51"/>
                <a:gd name="T3" fmla="*/ 29 h 29"/>
                <a:gd name="T4" fmla="*/ 0 w 51"/>
                <a:gd name="T5" fmla="*/ 19 h 29"/>
                <a:gd name="T6" fmla="*/ 46 w 51"/>
                <a:gd name="T7" fmla="*/ 0 h 29"/>
                <a:gd name="T8" fmla="*/ 51 w 51"/>
                <a:gd name="T9" fmla="*/ 9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1" h="29">
                  <a:moveTo>
                    <a:pt x="51" y="9"/>
                  </a:moveTo>
                  <a:lnTo>
                    <a:pt x="3" y="29"/>
                  </a:lnTo>
                  <a:lnTo>
                    <a:pt x="0" y="19"/>
                  </a:lnTo>
                  <a:lnTo>
                    <a:pt x="46" y="0"/>
                  </a:lnTo>
                  <a:lnTo>
                    <a:pt x="51" y="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63" name="iṥľîḋé"/>
            <p:cNvSpPr/>
            <p:nvPr/>
          </p:nvSpPr>
          <p:spPr bwMode="auto">
            <a:xfrm>
              <a:off x="3081234" y="4948828"/>
              <a:ext cx="101600" cy="93663"/>
            </a:xfrm>
            <a:custGeom>
              <a:avLst/>
              <a:gdLst>
                <a:gd name="T0" fmla="*/ 64 w 64"/>
                <a:gd name="T1" fmla="*/ 36 h 59"/>
                <a:gd name="T2" fmla="*/ 18 w 64"/>
                <a:gd name="T3" fmla="*/ 59 h 59"/>
                <a:gd name="T4" fmla="*/ 14 w 64"/>
                <a:gd name="T5" fmla="*/ 50 h 59"/>
                <a:gd name="T6" fmla="*/ 35 w 64"/>
                <a:gd name="T7" fmla="*/ 16 h 59"/>
                <a:gd name="T8" fmla="*/ 3 w 64"/>
                <a:gd name="T9" fmla="*/ 31 h 59"/>
                <a:gd name="T10" fmla="*/ 0 w 64"/>
                <a:gd name="T11" fmla="*/ 22 h 59"/>
                <a:gd name="T12" fmla="*/ 45 w 64"/>
                <a:gd name="T13" fmla="*/ 0 h 59"/>
                <a:gd name="T14" fmla="*/ 50 w 64"/>
                <a:gd name="T15" fmla="*/ 8 h 59"/>
                <a:gd name="T16" fmla="*/ 29 w 64"/>
                <a:gd name="T17" fmla="*/ 42 h 59"/>
                <a:gd name="T18" fmla="*/ 59 w 64"/>
                <a:gd name="T19" fmla="*/ 26 h 59"/>
                <a:gd name="T20" fmla="*/ 64 w 64"/>
                <a:gd name="T21" fmla="*/ 36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64" h="59">
                  <a:moveTo>
                    <a:pt x="64" y="36"/>
                  </a:moveTo>
                  <a:lnTo>
                    <a:pt x="18" y="59"/>
                  </a:lnTo>
                  <a:lnTo>
                    <a:pt x="14" y="50"/>
                  </a:lnTo>
                  <a:lnTo>
                    <a:pt x="35" y="16"/>
                  </a:lnTo>
                  <a:lnTo>
                    <a:pt x="3" y="31"/>
                  </a:lnTo>
                  <a:lnTo>
                    <a:pt x="0" y="22"/>
                  </a:lnTo>
                  <a:lnTo>
                    <a:pt x="45" y="0"/>
                  </a:lnTo>
                  <a:lnTo>
                    <a:pt x="50" y="8"/>
                  </a:lnTo>
                  <a:lnTo>
                    <a:pt x="29" y="42"/>
                  </a:lnTo>
                  <a:lnTo>
                    <a:pt x="59" y="26"/>
                  </a:lnTo>
                  <a:lnTo>
                    <a:pt x="64" y="3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64" name="îślidè"/>
            <p:cNvSpPr/>
            <p:nvPr/>
          </p:nvSpPr>
          <p:spPr bwMode="auto">
            <a:xfrm>
              <a:off x="3047897" y="4877390"/>
              <a:ext cx="84138" cy="88900"/>
            </a:xfrm>
            <a:custGeom>
              <a:avLst/>
              <a:gdLst>
                <a:gd name="T0" fmla="*/ 28 w 46"/>
                <a:gd name="T1" fmla="*/ 21 h 48"/>
                <a:gd name="T2" fmla="*/ 22 w 46"/>
                <a:gd name="T3" fmla="*/ 25 h 48"/>
                <a:gd name="T4" fmla="*/ 11 w 46"/>
                <a:gd name="T5" fmla="*/ 9 h 48"/>
                <a:gd name="T6" fmla="*/ 26 w 46"/>
                <a:gd name="T7" fmla="*/ 0 h 48"/>
                <a:gd name="T8" fmla="*/ 35 w 46"/>
                <a:gd name="T9" fmla="*/ 4 h 48"/>
                <a:gd name="T10" fmla="*/ 42 w 46"/>
                <a:gd name="T11" fmla="*/ 12 h 48"/>
                <a:gd name="T12" fmla="*/ 46 w 46"/>
                <a:gd name="T13" fmla="*/ 24 h 48"/>
                <a:gd name="T14" fmla="*/ 43 w 46"/>
                <a:gd name="T15" fmla="*/ 35 h 48"/>
                <a:gd name="T16" fmla="*/ 35 w 46"/>
                <a:gd name="T17" fmla="*/ 43 h 48"/>
                <a:gd name="T18" fmla="*/ 23 w 46"/>
                <a:gd name="T19" fmla="*/ 47 h 48"/>
                <a:gd name="T20" fmla="*/ 12 w 46"/>
                <a:gd name="T21" fmla="*/ 45 h 48"/>
                <a:gd name="T22" fmla="*/ 4 w 46"/>
                <a:gd name="T23" fmla="*/ 37 h 48"/>
                <a:gd name="T24" fmla="*/ 0 w 46"/>
                <a:gd name="T25" fmla="*/ 24 h 48"/>
                <a:gd name="T26" fmla="*/ 5 w 46"/>
                <a:gd name="T27" fmla="*/ 14 h 48"/>
                <a:gd name="T28" fmla="*/ 11 w 46"/>
                <a:gd name="T29" fmla="*/ 21 h 48"/>
                <a:gd name="T30" fmla="*/ 9 w 46"/>
                <a:gd name="T31" fmla="*/ 27 h 48"/>
                <a:gd name="T32" fmla="*/ 11 w 46"/>
                <a:gd name="T33" fmla="*/ 33 h 48"/>
                <a:gd name="T34" fmla="*/ 19 w 46"/>
                <a:gd name="T35" fmla="*/ 39 h 48"/>
                <a:gd name="T36" fmla="*/ 30 w 46"/>
                <a:gd name="T37" fmla="*/ 36 h 48"/>
                <a:gd name="T38" fmla="*/ 38 w 46"/>
                <a:gd name="T39" fmla="*/ 26 h 48"/>
                <a:gd name="T40" fmla="*/ 36 w 46"/>
                <a:gd name="T41" fmla="*/ 17 h 48"/>
                <a:gd name="T42" fmla="*/ 32 w 46"/>
                <a:gd name="T43" fmla="*/ 13 h 48"/>
                <a:gd name="T44" fmla="*/ 27 w 46"/>
                <a:gd name="T45" fmla="*/ 10 h 48"/>
                <a:gd name="T46" fmla="*/ 23 w 46"/>
                <a:gd name="T47" fmla="*/ 13 h 48"/>
                <a:gd name="T48" fmla="*/ 28 w 46"/>
                <a:gd name="T49" fmla="*/ 21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46" h="48">
                  <a:moveTo>
                    <a:pt x="28" y="21"/>
                  </a:moveTo>
                  <a:cubicBezTo>
                    <a:pt x="22" y="25"/>
                    <a:pt x="22" y="25"/>
                    <a:pt x="22" y="25"/>
                  </a:cubicBezTo>
                  <a:cubicBezTo>
                    <a:pt x="11" y="9"/>
                    <a:pt x="11" y="9"/>
                    <a:pt x="11" y="9"/>
                  </a:cubicBezTo>
                  <a:cubicBezTo>
                    <a:pt x="26" y="0"/>
                    <a:pt x="26" y="0"/>
                    <a:pt x="26" y="0"/>
                  </a:cubicBezTo>
                  <a:cubicBezTo>
                    <a:pt x="29" y="1"/>
                    <a:pt x="31" y="2"/>
                    <a:pt x="35" y="4"/>
                  </a:cubicBezTo>
                  <a:cubicBezTo>
                    <a:pt x="38" y="6"/>
                    <a:pt x="40" y="9"/>
                    <a:pt x="42" y="12"/>
                  </a:cubicBezTo>
                  <a:cubicBezTo>
                    <a:pt x="45" y="16"/>
                    <a:pt x="46" y="20"/>
                    <a:pt x="46" y="24"/>
                  </a:cubicBezTo>
                  <a:cubicBezTo>
                    <a:pt x="46" y="28"/>
                    <a:pt x="45" y="31"/>
                    <a:pt x="43" y="35"/>
                  </a:cubicBezTo>
                  <a:cubicBezTo>
                    <a:pt x="41" y="38"/>
                    <a:pt x="38" y="41"/>
                    <a:pt x="35" y="43"/>
                  </a:cubicBezTo>
                  <a:cubicBezTo>
                    <a:pt x="31" y="46"/>
                    <a:pt x="27" y="47"/>
                    <a:pt x="23" y="47"/>
                  </a:cubicBezTo>
                  <a:cubicBezTo>
                    <a:pt x="19" y="48"/>
                    <a:pt x="15" y="47"/>
                    <a:pt x="12" y="45"/>
                  </a:cubicBezTo>
                  <a:cubicBezTo>
                    <a:pt x="9" y="43"/>
                    <a:pt x="6" y="41"/>
                    <a:pt x="4" y="37"/>
                  </a:cubicBezTo>
                  <a:cubicBezTo>
                    <a:pt x="1" y="32"/>
                    <a:pt x="0" y="28"/>
                    <a:pt x="0" y="24"/>
                  </a:cubicBezTo>
                  <a:cubicBezTo>
                    <a:pt x="0" y="21"/>
                    <a:pt x="2" y="17"/>
                    <a:pt x="5" y="14"/>
                  </a:cubicBezTo>
                  <a:cubicBezTo>
                    <a:pt x="11" y="21"/>
                    <a:pt x="11" y="21"/>
                    <a:pt x="11" y="21"/>
                  </a:cubicBezTo>
                  <a:cubicBezTo>
                    <a:pt x="10" y="23"/>
                    <a:pt x="9" y="24"/>
                    <a:pt x="9" y="27"/>
                  </a:cubicBezTo>
                  <a:cubicBezTo>
                    <a:pt x="8" y="29"/>
                    <a:pt x="9" y="31"/>
                    <a:pt x="11" y="33"/>
                  </a:cubicBezTo>
                  <a:cubicBezTo>
                    <a:pt x="13" y="36"/>
                    <a:pt x="15" y="38"/>
                    <a:pt x="19" y="39"/>
                  </a:cubicBezTo>
                  <a:cubicBezTo>
                    <a:pt x="22" y="39"/>
                    <a:pt x="26" y="38"/>
                    <a:pt x="30" y="36"/>
                  </a:cubicBezTo>
                  <a:cubicBezTo>
                    <a:pt x="34" y="33"/>
                    <a:pt x="37" y="30"/>
                    <a:pt x="38" y="26"/>
                  </a:cubicBezTo>
                  <a:cubicBezTo>
                    <a:pt x="39" y="23"/>
                    <a:pt x="38" y="20"/>
                    <a:pt x="36" y="17"/>
                  </a:cubicBezTo>
                  <a:cubicBezTo>
                    <a:pt x="35" y="15"/>
                    <a:pt x="34" y="14"/>
                    <a:pt x="32" y="13"/>
                  </a:cubicBezTo>
                  <a:cubicBezTo>
                    <a:pt x="30" y="11"/>
                    <a:pt x="29" y="10"/>
                    <a:pt x="27" y="10"/>
                  </a:cubicBezTo>
                  <a:cubicBezTo>
                    <a:pt x="23" y="13"/>
                    <a:pt x="23" y="13"/>
                    <a:pt x="23" y="13"/>
                  </a:cubicBezTo>
                  <a:lnTo>
                    <a:pt x="28" y="2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65" name="îŝ1ide"/>
            <p:cNvSpPr/>
            <p:nvPr/>
          </p:nvSpPr>
          <p:spPr bwMode="auto">
            <a:xfrm>
              <a:off x="1981097" y="4907553"/>
              <a:ext cx="931863" cy="969963"/>
            </a:xfrm>
            <a:custGeom>
              <a:avLst/>
              <a:gdLst>
                <a:gd name="T0" fmla="*/ 488 w 506"/>
                <a:gd name="T1" fmla="*/ 144 h 525"/>
                <a:gd name="T2" fmla="*/ 449 w 506"/>
                <a:gd name="T3" fmla="*/ 161 h 525"/>
                <a:gd name="T4" fmla="*/ 473 w 506"/>
                <a:gd name="T5" fmla="*/ 361 h 525"/>
                <a:gd name="T6" fmla="*/ 434 w 506"/>
                <a:gd name="T7" fmla="*/ 382 h 525"/>
                <a:gd name="T8" fmla="*/ 463 w 506"/>
                <a:gd name="T9" fmla="*/ 392 h 525"/>
                <a:gd name="T10" fmla="*/ 434 w 506"/>
                <a:gd name="T11" fmla="*/ 455 h 525"/>
                <a:gd name="T12" fmla="*/ 418 w 506"/>
                <a:gd name="T13" fmla="*/ 525 h 525"/>
                <a:gd name="T14" fmla="*/ 328 w 506"/>
                <a:gd name="T15" fmla="*/ 392 h 525"/>
                <a:gd name="T16" fmla="*/ 200 w 506"/>
                <a:gd name="T17" fmla="*/ 376 h 525"/>
                <a:gd name="T18" fmla="*/ 179 w 506"/>
                <a:gd name="T19" fmla="*/ 525 h 525"/>
                <a:gd name="T20" fmla="*/ 72 w 506"/>
                <a:gd name="T21" fmla="*/ 510 h 525"/>
                <a:gd name="T22" fmla="*/ 44 w 506"/>
                <a:gd name="T23" fmla="*/ 439 h 525"/>
                <a:gd name="T24" fmla="*/ 72 w 506"/>
                <a:gd name="T25" fmla="*/ 392 h 525"/>
                <a:gd name="T26" fmla="*/ 57 w 506"/>
                <a:gd name="T27" fmla="*/ 382 h 525"/>
                <a:gd name="T28" fmla="*/ 18 w 506"/>
                <a:gd name="T29" fmla="*/ 161 h 525"/>
                <a:gd name="T30" fmla="*/ 56 w 506"/>
                <a:gd name="T31" fmla="*/ 144 h 525"/>
                <a:gd name="T32" fmla="*/ 0 w 506"/>
                <a:gd name="T33" fmla="*/ 21 h 525"/>
                <a:gd name="T34" fmla="*/ 92 w 506"/>
                <a:gd name="T35" fmla="*/ 21 h 525"/>
                <a:gd name="T36" fmla="*/ 403 w 506"/>
                <a:gd name="T37" fmla="*/ 82 h 525"/>
                <a:gd name="T38" fmla="*/ 457 w 506"/>
                <a:gd name="T39" fmla="*/ 0 h 525"/>
                <a:gd name="T40" fmla="*/ 461 w 506"/>
                <a:gd name="T41" fmla="*/ 82 h 525"/>
                <a:gd name="T42" fmla="*/ 455 w 506"/>
                <a:gd name="T43" fmla="*/ 24 h 525"/>
                <a:gd name="T44" fmla="*/ 435 w 506"/>
                <a:gd name="T45" fmla="*/ 82 h 525"/>
                <a:gd name="T46" fmla="*/ 454 w 506"/>
                <a:gd name="T47" fmla="*/ 127 h 525"/>
                <a:gd name="T48" fmla="*/ 49 w 506"/>
                <a:gd name="T49" fmla="*/ 112 h 525"/>
                <a:gd name="T50" fmla="*/ 78 w 506"/>
                <a:gd name="T51" fmla="*/ 127 h 525"/>
                <a:gd name="T52" fmla="*/ 81 w 506"/>
                <a:gd name="T53" fmla="*/ 161 h 525"/>
                <a:gd name="T54" fmla="*/ 426 w 506"/>
                <a:gd name="T55" fmla="*/ 145 h 525"/>
                <a:gd name="T56" fmla="*/ 454 w 506"/>
                <a:gd name="T57" fmla="*/ 127 h 525"/>
                <a:gd name="T58" fmla="*/ 450 w 506"/>
                <a:gd name="T59" fmla="*/ 178 h 525"/>
                <a:gd name="T60" fmla="*/ 65 w 506"/>
                <a:gd name="T61" fmla="*/ 335 h 525"/>
                <a:gd name="T62" fmla="*/ 421 w 506"/>
                <a:gd name="T63" fmla="*/ 349 h 525"/>
                <a:gd name="T64" fmla="*/ 398 w 506"/>
                <a:gd name="T65" fmla="*/ 490 h 525"/>
                <a:gd name="T66" fmla="*/ 356 w 506"/>
                <a:gd name="T67" fmla="*/ 371 h 525"/>
                <a:gd name="T68" fmla="*/ 389 w 506"/>
                <a:gd name="T69" fmla="*/ 496 h 525"/>
                <a:gd name="T70" fmla="*/ 150 w 506"/>
                <a:gd name="T71" fmla="*/ 496 h 525"/>
                <a:gd name="T72" fmla="*/ 108 w 506"/>
                <a:gd name="T73" fmla="*/ 371 h 525"/>
                <a:gd name="T74" fmla="*/ 117 w 506"/>
                <a:gd name="T75" fmla="*/ 496 h 525"/>
                <a:gd name="T76" fmla="*/ 71 w 506"/>
                <a:gd name="T77" fmla="*/ 82 h 525"/>
                <a:gd name="T78" fmla="*/ 51 w 506"/>
                <a:gd name="T79" fmla="*/ 24 h 525"/>
                <a:gd name="T80" fmla="*/ 45 w 506"/>
                <a:gd name="T81" fmla="*/ 82 h 5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506" h="525">
                  <a:moveTo>
                    <a:pt x="506" y="21"/>
                  </a:moveTo>
                  <a:cubicBezTo>
                    <a:pt x="488" y="144"/>
                    <a:pt x="488" y="144"/>
                    <a:pt x="488" y="144"/>
                  </a:cubicBezTo>
                  <a:cubicBezTo>
                    <a:pt x="450" y="144"/>
                    <a:pt x="450" y="144"/>
                    <a:pt x="450" y="144"/>
                  </a:cubicBezTo>
                  <a:cubicBezTo>
                    <a:pt x="449" y="161"/>
                    <a:pt x="449" y="161"/>
                    <a:pt x="449" y="161"/>
                  </a:cubicBezTo>
                  <a:cubicBezTo>
                    <a:pt x="488" y="161"/>
                    <a:pt x="488" y="161"/>
                    <a:pt x="488" y="161"/>
                  </a:cubicBezTo>
                  <a:cubicBezTo>
                    <a:pt x="473" y="361"/>
                    <a:pt x="473" y="361"/>
                    <a:pt x="473" y="361"/>
                  </a:cubicBezTo>
                  <a:cubicBezTo>
                    <a:pt x="473" y="372"/>
                    <a:pt x="462" y="382"/>
                    <a:pt x="450" y="382"/>
                  </a:cubicBezTo>
                  <a:cubicBezTo>
                    <a:pt x="434" y="382"/>
                    <a:pt x="434" y="382"/>
                    <a:pt x="434" y="382"/>
                  </a:cubicBezTo>
                  <a:cubicBezTo>
                    <a:pt x="434" y="392"/>
                    <a:pt x="434" y="392"/>
                    <a:pt x="434" y="392"/>
                  </a:cubicBezTo>
                  <a:cubicBezTo>
                    <a:pt x="463" y="392"/>
                    <a:pt x="463" y="392"/>
                    <a:pt x="463" y="392"/>
                  </a:cubicBezTo>
                  <a:cubicBezTo>
                    <a:pt x="463" y="439"/>
                    <a:pt x="463" y="439"/>
                    <a:pt x="463" y="439"/>
                  </a:cubicBezTo>
                  <a:cubicBezTo>
                    <a:pt x="463" y="448"/>
                    <a:pt x="450" y="455"/>
                    <a:pt x="434" y="455"/>
                  </a:cubicBezTo>
                  <a:cubicBezTo>
                    <a:pt x="434" y="510"/>
                    <a:pt x="434" y="510"/>
                    <a:pt x="434" y="510"/>
                  </a:cubicBezTo>
                  <a:cubicBezTo>
                    <a:pt x="434" y="518"/>
                    <a:pt x="427" y="525"/>
                    <a:pt x="418" y="525"/>
                  </a:cubicBezTo>
                  <a:cubicBezTo>
                    <a:pt x="328" y="525"/>
                    <a:pt x="328" y="525"/>
                    <a:pt x="328" y="525"/>
                  </a:cubicBezTo>
                  <a:cubicBezTo>
                    <a:pt x="328" y="392"/>
                    <a:pt x="328" y="392"/>
                    <a:pt x="328" y="392"/>
                  </a:cubicBezTo>
                  <a:cubicBezTo>
                    <a:pt x="328" y="383"/>
                    <a:pt x="318" y="376"/>
                    <a:pt x="307" y="376"/>
                  </a:cubicBezTo>
                  <a:cubicBezTo>
                    <a:pt x="200" y="376"/>
                    <a:pt x="200" y="376"/>
                    <a:pt x="200" y="376"/>
                  </a:cubicBezTo>
                  <a:cubicBezTo>
                    <a:pt x="188" y="376"/>
                    <a:pt x="179" y="383"/>
                    <a:pt x="179" y="392"/>
                  </a:cubicBezTo>
                  <a:cubicBezTo>
                    <a:pt x="179" y="525"/>
                    <a:pt x="179" y="525"/>
                    <a:pt x="179" y="525"/>
                  </a:cubicBezTo>
                  <a:cubicBezTo>
                    <a:pt x="89" y="525"/>
                    <a:pt x="89" y="525"/>
                    <a:pt x="89" y="525"/>
                  </a:cubicBezTo>
                  <a:cubicBezTo>
                    <a:pt x="80" y="525"/>
                    <a:pt x="72" y="518"/>
                    <a:pt x="72" y="510"/>
                  </a:cubicBezTo>
                  <a:cubicBezTo>
                    <a:pt x="72" y="455"/>
                    <a:pt x="72" y="455"/>
                    <a:pt x="72" y="455"/>
                  </a:cubicBezTo>
                  <a:cubicBezTo>
                    <a:pt x="56" y="455"/>
                    <a:pt x="44" y="448"/>
                    <a:pt x="44" y="439"/>
                  </a:cubicBezTo>
                  <a:cubicBezTo>
                    <a:pt x="44" y="392"/>
                    <a:pt x="44" y="392"/>
                    <a:pt x="44" y="392"/>
                  </a:cubicBezTo>
                  <a:cubicBezTo>
                    <a:pt x="72" y="392"/>
                    <a:pt x="72" y="392"/>
                    <a:pt x="72" y="392"/>
                  </a:cubicBezTo>
                  <a:cubicBezTo>
                    <a:pt x="72" y="382"/>
                    <a:pt x="72" y="382"/>
                    <a:pt x="72" y="382"/>
                  </a:cubicBezTo>
                  <a:cubicBezTo>
                    <a:pt x="57" y="382"/>
                    <a:pt x="57" y="382"/>
                    <a:pt x="57" y="382"/>
                  </a:cubicBezTo>
                  <a:cubicBezTo>
                    <a:pt x="44" y="382"/>
                    <a:pt x="34" y="372"/>
                    <a:pt x="34" y="361"/>
                  </a:cubicBezTo>
                  <a:cubicBezTo>
                    <a:pt x="18" y="161"/>
                    <a:pt x="18" y="161"/>
                    <a:pt x="18" y="161"/>
                  </a:cubicBezTo>
                  <a:cubicBezTo>
                    <a:pt x="58" y="161"/>
                    <a:pt x="58" y="161"/>
                    <a:pt x="58" y="161"/>
                  </a:cubicBezTo>
                  <a:cubicBezTo>
                    <a:pt x="56" y="144"/>
                    <a:pt x="56" y="144"/>
                    <a:pt x="56" y="144"/>
                  </a:cubicBezTo>
                  <a:cubicBezTo>
                    <a:pt x="18" y="144"/>
                    <a:pt x="18" y="144"/>
                    <a:pt x="18" y="144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2" y="7"/>
                    <a:pt x="31" y="0"/>
                    <a:pt x="49" y="0"/>
                  </a:cubicBezTo>
                  <a:cubicBezTo>
                    <a:pt x="73" y="0"/>
                    <a:pt x="80" y="3"/>
                    <a:pt x="92" y="21"/>
                  </a:cubicBezTo>
                  <a:cubicBezTo>
                    <a:pt x="103" y="82"/>
                    <a:pt x="103" y="82"/>
                    <a:pt x="103" y="82"/>
                  </a:cubicBezTo>
                  <a:cubicBezTo>
                    <a:pt x="403" y="82"/>
                    <a:pt x="403" y="82"/>
                    <a:pt x="403" y="82"/>
                  </a:cubicBezTo>
                  <a:cubicBezTo>
                    <a:pt x="415" y="21"/>
                    <a:pt x="415" y="21"/>
                    <a:pt x="415" y="21"/>
                  </a:cubicBezTo>
                  <a:cubicBezTo>
                    <a:pt x="426" y="3"/>
                    <a:pt x="433" y="0"/>
                    <a:pt x="457" y="0"/>
                  </a:cubicBezTo>
                  <a:cubicBezTo>
                    <a:pt x="475" y="0"/>
                    <a:pt x="504" y="7"/>
                    <a:pt x="506" y="21"/>
                  </a:cubicBezTo>
                  <a:close/>
                  <a:moveTo>
                    <a:pt x="461" y="82"/>
                  </a:moveTo>
                  <a:cubicBezTo>
                    <a:pt x="469" y="32"/>
                    <a:pt x="469" y="32"/>
                    <a:pt x="469" y="32"/>
                  </a:cubicBezTo>
                  <a:cubicBezTo>
                    <a:pt x="469" y="24"/>
                    <a:pt x="463" y="24"/>
                    <a:pt x="455" y="24"/>
                  </a:cubicBezTo>
                  <a:cubicBezTo>
                    <a:pt x="450" y="24"/>
                    <a:pt x="447" y="26"/>
                    <a:pt x="445" y="32"/>
                  </a:cubicBezTo>
                  <a:cubicBezTo>
                    <a:pt x="435" y="82"/>
                    <a:pt x="435" y="82"/>
                    <a:pt x="435" y="82"/>
                  </a:cubicBezTo>
                  <a:lnTo>
                    <a:pt x="461" y="82"/>
                  </a:lnTo>
                  <a:close/>
                  <a:moveTo>
                    <a:pt x="454" y="127"/>
                  </a:moveTo>
                  <a:cubicBezTo>
                    <a:pt x="457" y="112"/>
                    <a:pt x="457" y="112"/>
                    <a:pt x="457" y="112"/>
                  </a:cubicBezTo>
                  <a:cubicBezTo>
                    <a:pt x="49" y="112"/>
                    <a:pt x="49" y="112"/>
                    <a:pt x="49" y="112"/>
                  </a:cubicBezTo>
                  <a:cubicBezTo>
                    <a:pt x="52" y="127"/>
                    <a:pt x="52" y="127"/>
                    <a:pt x="52" y="127"/>
                  </a:cubicBezTo>
                  <a:cubicBezTo>
                    <a:pt x="78" y="127"/>
                    <a:pt x="78" y="127"/>
                    <a:pt x="78" y="127"/>
                  </a:cubicBezTo>
                  <a:cubicBezTo>
                    <a:pt x="80" y="145"/>
                    <a:pt x="80" y="145"/>
                    <a:pt x="80" y="145"/>
                  </a:cubicBezTo>
                  <a:cubicBezTo>
                    <a:pt x="81" y="161"/>
                    <a:pt x="81" y="161"/>
                    <a:pt x="81" y="161"/>
                  </a:cubicBezTo>
                  <a:cubicBezTo>
                    <a:pt x="425" y="161"/>
                    <a:pt x="425" y="161"/>
                    <a:pt x="425" y="161"/>
                  </a:cubicBezTo>
                  <a:cubicBezTo>
                    <a:pt x="426" y="145"/>
                    <a:pt x="426" y="145"/>
                    <a:pt x="426" y="145"/>
                  </a:cubicBezTo>
                  <a:cubicBezTo>
                    <a:pt x="428" y="127"/>
                    <a:pt x="428" y="127"/>
                    <a:pt x="428" y="127"/>
                  </a:cubicBezTo>
                  <a:lnTo>
                    <a:pt x="454" y="127"/>
                  </a:lnTo>
                  <a:close/>
                  <a:moveTo>
                    <a:pt x="441" y="335"/>
                  </a:moveTo>
                  <a:cubicBezTo>
                    <a:pt x="450" y="178"/>
                    <a:pt x="450" y="178"/>
                    <a:pt x="450" y="178"/>
                  </a:cubicBezTo>
                  <a:cubicBezTo>
                    <a:pt x="56" y="178"/>
                    <a:pt x="56" y="178"/>
                    <a:pt x="56" y="178"/>
                  </a:cubicBezTo>
                  <a:cubicBezTo>
                    <a:pt x="65" y="335"/>
                    <a:pt x="65" y="335"/>
                    <a:pt x="65" y="335"/>
                  </a:cubicBezTo>
                  <a:cubicBezTo>
                    <a:pt x="65" y="343"/>
                    <a:pt x="74" y="349"/>
                    <a:pt x="85" y="349"/>
                  </a:cubicBezTo>
                  <a:cubicBezTo>
                    <a:pt x="421" y="349"/>
                    <a:pt x="421" y="349"/>
                    <a:pt x="421" y="349"/>
                  </a:cubicBezTo>
                  <a:cubicBezTo>
                    <a:pt x="432" y="349"/>
                    <a:pt x="441" y="343"/>
                    <a:pt x="441" y="335"/>
                  </a:cubicBezTo>
                  <a:close/>
                  <a:moveTo>
                    <a:pt x="398" y="490"/>
                  </a:moveTo>
                  <a:cubicBezTo>
                    <a:pt x="398" y="371"/>
                    <a:pt x="398" y="371"/>
                    <a:pt x="398" y="371"/>
                  </a:cubicBezTo>
                  <a:cubicBezTo>
                    <a:pt x="356" y="371"/>
                    <a:pt x="356" y="371"/>
                    <a:pt x="356" y="371"/>
                  </a:cubicBezTo>
                  <a:cubicBezTo>
                    <a:pt x="356" y="496"/>
                    <a:pt x="356" y="496"/>
                    <a:pt x="356" y="496"/>
                  </a:cubicBezTo>
                  <a:cubicBezTo>
                    <a:pt x="389" y="496"/>
                    <a:pt x="389" y="496"/>
                    <a:pt x="389" y="496"/>
                  </a:cubicBezTo>
                  <a:cubicBezTo>
                    <a:pt x="394" y="496"/>
                    <a:pt x="398" y="496"/>
                    <a:pt x="398" y="490"/>
                  </a:cubicBezTo>
                  <a:close/>
                  <a:moveTo>
                    <a:pt x="150" y="496"/>
                  </a:moveTo>
                  <a:cubicBezTo>
                    <a:pt x="150" y="371"/>
                    <a:pt x="150" y="371"/>
                    <a:pt x="150" y="371"/>
                  </a:cubicBezTo>
                  <a:cubicBezTo>
                    <a:pt x="108" y="371"/>
                    <a:pt x="108" y="371"/>
                    <a:pt x="108" y="371"/>
                  </a:cubicBezTo>
                  <a:cubicBezTo>
                    <a:pt x="108" y="490"/>
                    <a:pt x="108" y="490"/>
                    <a:pt x="108" y="490"/>
                  </a:cubicBezTo>
                  <a:cubicBezTo>
                    <a:pt x="108" y="496"/>
                    <a:pt x="112" y="496"/>
                    <a:pt x="117" y="496"/>
                  </a:cubicBezTo>
                  <a:lnTo>
                    <a:pt x="150" y="496"/>
                  </a:lnTo>
                  <a:close/>
                  <a:moveTo>
                    <a:pt x="71" y="82"/>
                  </a:moveTo>
                  <a:cubicBezTo>
                    <a:pt x="61" y="32"/>
                    <a:pt x="61" y="32"/>
                    <a:pt x="61" y="32"/>
                  </a:cubicBezTo>
                  <a:cubicBezTo>
                    <a:pt x="60" y="26"/>
                    <a:pt x="57" y="24"/>
                    <a:pt x="51" y="24"/>
                  </a:cubicBezTo>
                  <a:cubicBezTo>
                    <a:pt x="43" y="24"/>
                    <a:pt x="37" y="24"/>
                    <a:pt x="37" y="32"/>
                  </a:cubicBezTo>
                  <a:cubicBezTo>
                    <a:pt x="45" y="82"/>
                    <a:pt x="45" y="82"/>
                    <a:pt x="45" y="82"/>
                  </a:cubicBezTo>
                  <a:lnTo>
                    <a:pt x="71" y="8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66" name="í$ḻíde"/>
            <p:cNvSpPr/>
            <p:nvPr/>
          </p:nvSpPr>
          <p:spPr bwMode="auto">
            <a:xfrm>
              <a:off x="2144609" y="5142503"/>
              <a:ext cx="604838" cy="3175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sz="1350"/>
            </a:p>
          </p:txBody>
        </p:sp>
      </p:grpSp>
      <p:pic>
        <p:nvPicPr>
          <p:cNvPr id="70" name="图片 69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518" t="7796" r="24414" b="7796"/>
          <a:stretch>
            <a:fillRect/>
          </a:stretch>
        </p:blipFill>
        <p:spPr>
          <a:xfrm>
            <a:off x="-1" y="0"/>
            <a:ext cx="4578223" cy="6858000"/>
          </a:xfrm>
          <a:prstGeom prst="rect">
            <a:avLst/>
          </a:prstGeom>
        </p:spPr>
      </p:pic>
      <p:sp>
        <p:nvSpPr>
          <p:cNvPr id="3" name="矩形 2"/>
          <p:cNvSpPr/>
          <p:nvPr userDrawn="1"/>
        </p:nvSpPr>
        <p:spPr>
          <a:xfrm>
            <a:off x="-9603" y="0"/>
            <a:ext cx="4595024" cy="6858000"/>
          </a:xfrm>
          <a:prstGeom prst="rect">
            <a:avLst/>
          </a:prstGeom>
          <a:gradFill flip="none" rotWithShape="1">
            <a:gsLst>
              <a:gs pos="0">
                <a:srgbClr val="A22B17">
                  <a:lumMod val="94000"/>
                  <a:lumOff val="6000"/>
                </a:srgbClr>
              </a:gs>
              <a:gs pos="100000">
                <a:srgbClr val="A22B17">
                  <a:alpha val="72000"/>
                  <a:lumMod val="85000"/>
                  <a:lumOff val="15000"/>
                </a:srgb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zh-CN" altLang="en-US" sz="1350"/>
          </a:p>
        </p:txBody>
      </p:sp>
    </p:spTree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图片 1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5605" b="32356"/>
          <a:stretch>
            <a:fillRect/>
          </a:stretch>
        </p:blipFill>
        <p:spPr>
          <a:xfrm>
            <a:off x="0" y="0"/>
            <a:ext cx="9144000" cy="3415570"/>
          </a:xfrm>
          <a:prstGeom prst="rect">
            <a:avLst/>
          </a:prstGeom>
        </p:spPr>
      </p:pic>
      <p:sp>
        <p:nvSpPr>
          <p:cNvPr id="72" name="矩形 71"/>
          <p:cNvSpPr/>
          <p:nvPr userDrawn="1"/>
        </p:nvSpPr>
        <p:spPr>
          <a:xfrm>
            <a:off x="1" y="0"/>
            <a:ext cx="9144000" cy="3427664"/>
          </a:xfrm>
          <a:prstGeom prst="rect">
            <a:avLst/>
          </a:prstGeom>
          <a:gradFill flip="none" rotWithShape="1">
            <a:gsLst>
              <a:gs pos="0">
                <a:srgbClr val="A22B17">
                  <a:lumMod val="94000"/>
                  <a:lumOff val="6000"/>
                </a:srgbClr>
              </a:gs>
              <a:gs pos="100000">
                <a:srgbClr val="A22B17">
                  <a:alpha val="72000"/>
                  <a:lumMod val="85000"/>
                  <a:lumOff val="15000"/>
                </a:srgb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zh-CN" altLang="en-US" sz="1350" dirty="0"/>
          </a:p>
        </p:txBody>
      </p:sp>
    </p:spTree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图片 16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796" b="7796"/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18" name="矩形 17"/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bg1">
              <a:alpha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350" dirty="0"/>
          </a:p>
        </p:txBody>
      </p:sp>
      <p:sp>
        <p:nvSpPr>
          <p:cNvPr id="127" name="矩形 126"/>
          <p:cNvSpPr/>
          <p:nvPr userDrawn="1"/>
        </p:nvSpPr>
        <p:spPr>
          <a:xfrm>
            <a:off x="9064520" y="319741"/>
            <a:ext cx="89822" cy="274912"/>
          </a:xfrm>
          <a:prstGeom prst="rect">
            <a:avLst/>
          </a:prstGeom>
          <a:gradFill flip="none" rotWithShape="1">
            <a:gsLst>
              <a:gs pos="0">
                <a:srgbClr val="A22B17">
                  <a:lumMod val="91000"/>
                </a:srgbClr>
              </a:gs>
              <a:gs pos="100000">
                <a:srgbClr val="A22B17">
                  <a:alpha val="72000"/>
                  <a:lumMod val="92000"/>
                  <a:lumOff val="8000"/>
                </a:srgb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zh-CN" altLang="en-US" sz="1350"/>
          </a:p>
        </p:txBody>
      </p:sp>
      <p:grpSp>
        <p:nvGrpSpPr>
          <p:cNvPr id="138" name="组合 137"/>
          <p:cNvGrpSpPr/>
          <p:nvPr userDrawn="1"/>
        </p:nvGrpSpPr>
        <p:grpSpPr>
          <a:xfrm>
            <a:off x="488124" y="-46297"/>
            <a:ext cx="533439" cy="937548"/>
            <a:chOff x="313666" y="-185194"/>
            <a:chExt cx="921996" cy="1215342"/>
          </a:xfrm>
        </p:grpSpPr>
        <p:pic>
          <p:nvPicPr>
            <p:cNvPr id="136" name="图片 135"/>
            <p:cNvPicPr>
              <a:picLocks noChangeAspect="1"/>
            </p:cNvPicPr>
            <p:nvPr userDrawn="1"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4698" r="24746"/>
            <a:stretch>
              <a:fillRect/>
            </a:stretch>
          </p:blipFill>
          <p:spPr>
            <a:xfrm>
              <a:off x="313666" y="-185194"/>
              <a:ext cx="921996" cy="1215342"/>
            </a:xfrm>
            <a:prstGeom prst="rect">
              <a:avLst/>
            </a:prstGeom>
          </p:spPr>
        </p:pic>
        <p:sp>
          <p:nvSpPr>
            <p:cNvPr id="7" name="矩形: 圆角 6"/>
            <p:cNvSpPr/>
            <p:nvPr userDrawn="1"/>
          </p:nvSpPr>
          <p:spPr>
            <a:xfrm>
              <a:off x="313666" y="-185194"/>
              <a:ext cx="921996" cy="1215342"/>
            </a:xfrm>
            <a:prstGeom prst="roundRect">
              <a:avLst>
                <a:gd name="adj" fmla="val 0"/>
              </a:avLst>
            </a:prstGeom>
            <a:gradFill flip="none" rotWithShape="1">
              <a:gsLst>
                <a:gs pos="0">
                  <a:srgbClr val="A22B17">
                    <a:lumMod val="94000"/>
                    <a:lumOff val="6000"/>
                  </a:srgbClr>
                </a:gs>
                <a:gs pos="100000">
                  <a:srgbClr val="A22B17">
                    <a:alpha val="72000"/>
                    <a:lumMod val="85000"/>
                    <a:lumOff val="15000"/>
                  </a:srgb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zh-CN" altLang="en-US" sz="1350" dirty="0"/>
            </a:p>
          </p:txBody>
        </p:sp>
      </p:grpSp>
      <p:grpSp>
        <p:nvGrpSpPr>
          <p:cNvPr id="129" name="组合 128"/>
          <p:cNvGrpSpPr/>
          <p:nvPr userDrawn="1"/>
        </p:nvGrpSpPr>
        <p:grpSpPr>
          <a:xfrm>
            <a:off x="6686550" y="225425"/>
            <a:ext cx="2231390" cy="453390"/>
            <a:chOff x="9721458" y="225521"/>
            <a:chExt cx="2169381" cy="453584"/>
          </a:xfrm>
        </p:grpSpPr>
        <p:sp>
          <p:nvSpPr>
            <p:cNvPr id="130" name="îS1îḋé"/>
            <p:cNvSpPr/>
            <p:nvPr/>
          </p:nvSpPr>
          <p:spPr bwMode="auto">
            <a:xfrm>
              <a:off x="9721458" y="225521"/>
              <a:ext cx="453179" cy="453584"/>
            </a:xfrm>
            <a:prstGeom prst="ellipse">
              <a:avLst/>
            </a:prstGeom>
            <a:noFill/>
            <a:ln w="15875" cap="flat">
              <a:solidFill>
                <a:srgbClr val="CA351C"/>
              </a:solidFill>
              <a:prstDash val="solid"/>
              <a:miter lim="800000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anchor="ctr"/>
            <a:lstStyle/>
            <a:p>
              <a:pPr algn="r"/>
              <a:endParaRPr sz="1350"/>
            </a:p>
          </p:txBody>
        </p:sp>
        <p:sp>
          <p:nvSpPr>
            <p:cNvPr id="131" name="îṣḷïďé"/>
            <p:cNvSpPr/>
            <p:nvPr/>
          </p:nvSpPr>
          <p:spPr bwMode="auto">
            <a:xfrm>
              <a:off x="9777346" y="281409"/>
              <a:ext cx="340998" cy="341403"/>
            </a:xfrm>
            <a:prstGeom prst="ellipse">
              <a:avLst/>
            </a:prstGeom>
            <a:noFill/>
            <a:ln w="9525" cap="flat">
              <a:solidFill>
                <a:srgbClr val="B8311A"/>
              </a:solidFill>
              <a:prstDash val="solid"/>
              <a:miter lim="800000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anchor="ctr"/>
            <a:lstStyle/>
            <a:p>
              <a:pPr algn="r"/>
              <a:endParaRPr sz="1350"/>
            </a:p>
          </p:txBody>
        </p:sp>
        <p:grpSp>
          <p:nvGrpSpPr>
            <p:cNvPr id="132" name="组合 131"/>
            <p:cNvGrpSpPr/>
            <p:nvPr userDrawn="1"/>
          </p:nvGrpSpPr>
          <p:grpSpPr>
            <a:xfrm>
              <a:off x="9742315" y="240303"/>
              <a:ext cx="411466" cy="424020"/>
              <a:chOff x="1641372" y="4491628"/>
              <a:chExt cx="1612900" cy="1662113"/>
            </a:xfrm>
            <a:solidFill>
              <a:srgbClr val="CA351C"/>
            </a:solidFill>
          </p:grpSpPr>
          <p:sp>
            <p:nvSpPr>
              <p:cNvPr id="187" name="ïś1íďê"/>
              <p:cNvSpPr/>
              <p:nvPr/>
            </p:nvSpPr>
            <p:spPr bwMode="auto">
              <a:xfrm>
                <a:off x="2889147" y="4701178"/>
                <a:ext cx="153988" cy="138113"/>
              </a:xfrm>
              <a:custGeom>
                <a:avLst/>
                <a:gdLst>
                  <a:gd name="T0" fmla="*/ 62 w 83"/>
                  <a:gd name="T1" fmla="*/ 8 h 75"/>
                  <a:gd name="T2" fmla="*/ 53 w 83"/>
                  <a:gd name="T3" fmla="*/ 10 h 75"/>
                  <a:gd name="T4" fmla="*/ 57 w 83"/>
                  <a:gd name="T5" fmla="*/ 0 h 75"/>
                  <a:gd name="T6" fmla="*/ 44 w 83"/>
                  <a:gd name="T7" fmla="*/ 21 h 75"/>
                  <a:gd name="T8" fmla="*/ 58 w 83"/>
                  <a:gd name="T9" fmla="*/ 11 h 75"/>
                  <a:gd name="T10" fmla="*/ 54 w 83"/>
                  <a:gd name="T11" fmla="*/ 18 h 75"/>
                  <a:gd name="T12" fmla="*/ 28 w 83"/>
                  <a:gd name="T13" fmla="*/ 18 h 75"/>
                  <a:gd name="T14" fmla="*/ 19 w 83"/>
                  <a:gd name="T15" fmla="*/ 17 h 75"/>
                  <a:gd name="T16" fmla="*/ 25 w 83"/>
                  <a:gd name="T17" fmla="*/ 12 h 75"/>
                  <a:gd name="T18" fmla="*/ 1 w 83"/>
                  <a:gd name="T19" fmla="*/ 30 h 75"/>
                  <a:gd name="T20" fmla="*/ 13 w 83"/>
                  <a:gd name="T21" fmla="*/ 24 h 75"/>
                  <a:gd name="T22" fmla="*/ 36 w 83"/>
                  <a:gd name="T23" fmla="*/ 28 h 75"/>
                  <a:gd name="T24" fmla="*/ 22 w 83"/>
                  <a:gd name="T25" fmla="*/ 35 h 75"/>
                  <a:gd name="T26" fmla="*/ 45 w 83"/>
                  <a:gd name="T27" fmla="*/ 41 h 75"/>
                  <a:gd name="T28" fmla="*/ 42 w 83"/>
                  <a:gd name="T29" fmla="*/ 41 h 75"/>
                  <a:gd name="T30" fmla="*/ 35 w 83"/>
                  <a:gd name="T31" fmla="*/ 40 h 75"/>
                  <a:gd name="T32" fmla="*/ 37 w 83"/>
                  <a:gd name="T33" fmla="*/ 45 h 75"/>
                  <a:gd name="T34" fmla="*/ 12 w 83"/>
                  <a:gd name="T35" fmla="*/ 34 h 75"/>
                  <a:gd name="T36" fmla="*/ 9 w 83"/>
                  <a:gd name="T37" fmla="*/ 35 h 75"/>
                  <a:gd name="T38" fmla="*/ 20 w 83"/>
                  <a:gd name="T39" fmla="*/ 64 h 75"/>
                  <a:gd name="T40" fmla="*/ 0 w 83"/>
                  <a:gd name="T41" fmla="*/ 57 h 75"/>
                  <a:gd name="T42" fmla="*/ 35 w 83"/>
                  <a:gd name="T43" fmla="*/ 58 h 75"/>
                  <a:gd name="T44" fmla="*/ 46 w 83"/>
                  <a:gd name="T45" fmla="*/ 57 h 75"/>
                  <a:gd name="T46" fmla="*/ 42 w 83"/>
                  <a:gd name="T47" fmla="*/ 48 h 75"/>
                  <a:gd name="T48" fmla="*/ 62 w 83"/>
                  <a:gd name="T49" fmla="*/ 57 h 75"/>
                  <a:gd name="T50" fmla="*/ 61 w 83"/>
                  <a:gd name="T51" fmla="*/ 35 h 75"/>
                  <a:gd name="T52" fmla="*/ 62 w 83"/>
                  <a:gd name="T53" fmla="*/ 34 h 75"/>
                  <a:gd name="T54" fmla="*/ 66 w 83"/>
                  <a:gd name="T55" fmla="*/ 16 h 75"/>
                  <a:gd name="T56" fmla="*/ 63 w 83"/>
                  <a:gd name="T57" fmla="*/ 44 h 75"/>
                  <a:gd name="T58" fmla="*/ 54 w 83"/>
                  <a:gd name="T59" fmla="*/ 32 h 75"/>
                  <a:gd name="T60" fmla="*/ 60 w 83"/>
                  <a:gd name="T61" fmla="*/ 27 h 75"/>
                  <a:gd name="T62" fmla="*/ 67 w 83"/>
                  <a:gd name="T63" fmla="*/ 18 h 75"/>
                  <a:gd name="T64" fmla="*/ 77 w 83"/>
                  <a:gd name="T65" fmla="*/ 23 h 75"/>
                  <a:gd name="T66" fmla="*/ 60 w 83"/>
                  <a:gd name="T67" fmla="*/ 27 h 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83" h="75">
                    <a:moveTo>
                      <a:pt x="66" y="16"/>
                    </a:moveTo>
                    <a:cubicBezTo>
                      <a:pt x="65" y="13"/>
                      <a:pt x="63" y="11"/>
                      <a:pt x="62" y="8"/>
                    </a:cubicBezTo>
                    <a:cubicBezTo>
                      <a:pt x="59" y="9"/>
                      <a:pt x="57" y="9"/>
                      <a:pt x="54" y="10"/>
                    </a:cubicBezTo>
                    <a:cubicBezTo>
                      <a:pt x="54" y="10"/>
                      <a:pt x="53" y="10"/>
                      <a:pt x="53" y="10"/>
                    </a:cubicBezTo>
                    <a:cubicBezTo>
                      <a:pt x="54" y="7"/>
                      <a:pt x="57" y="6"/>
                      <a:pt x="59" y="3"/>
                    </a:cubicBezTo>
                    <a:cubicBezTo>
                      <a:pt x="58" y="2"/>
                      <a:pt x="58" y="1"/>
                      <a:pt x="57" y="0"/>
                    </a:cubicBezTo>
                    <a:cubicBezTo>
                      <a:pt x="48" y="1"/>
                      <a:pt x="37" y="9"/>
                      <a:pt x="42" y="19"/>
                    </a:cubicBezTo>
                    <a:cubicBezTo>
                      <a:pt x="42" y="19"/>
                      <a:pt x="43" y="20"/>
                      <a:pt x="44" y="21"/>
                    </a:cubicBezTo>
                    <a:cubicBezTo>
                      <a:pt x="47" y="19"/>
                      <a:pt x="48" y="15"/>
                      <a:pt x="51" y="14"/>
                    </a:cubicBezTo>
                    <a:cubicBezTo>
                      <a:pt x="53" y="13"/>
                      <a:pt x="55" y="13"/>
                      <a:pt x="58" y="11"/>
                    </a:cubicBezTo>
                    <a:cubicBezTo>
                      <a:pt x="58" y="11"/>
                      <a:pt x="59" y="11"/>
                      <a:pt x="59" y="11"/>
                    </a:cubicBezTo>
                    <a:cubicBezTo>
                      <a:pt x="57" y="14"/>
                      <a:pt x="56" y="16"/>
                      <a:pt x="54" y="18"/>
                    </a:cubicBezTo>
                    <a:cubicBezTo>
                      <a:pt x="54" y="21"/>
                      <a:pt x="55" y="24"/>
                      <a:pt x="54" y="27"/>
                    </a:cubicBezTo>
                    <a:cubicBezTo>
                      <a:pt x="54" y="27"/>
                      <a:pt x="30" y="18"/>
                      <a:pt x="28" y="18"/>
                    </a:cubicBezTo>
                    <a:cubicBezTo>
                      <a:pt x="25" y="17"/>
                      <a:pt x="22" y="17"/>
                      <a:pt x="20" y="17"/>
                    </a:cubicBezTo>
                    <a:cubicBezTo>
                      <a:pt x="19" y="17"/>
                      <a:pt x="19" y="17"/>
                      <a:pt x="19" y="17"/>
                    </a:cubicBezTo>
                    <a:cubicBezTo>
                      <a:pt x="22" y="15"/>
                      <a:pt x="23" y="15"/>
                      <a:pt x="25" y="13"/>
                    </a:cubicBezTo>
                    <a:cubicBezTo>
                      <a:pt x="25" y="12"/>
                      <a:pt x="25" y="12"/>
                      <a:pt x="25" y="12"/>
                    </a:cubicBezTo>
                    <a:cubicBezTo>
                      <a:pt x="18" y="12"/>
                      <a:pt x="11" y="16"/>
                      <a:pt x="4" y="18"/>
                    </a:cubicBezTo>
                    <a:cubicBezTo>
                      <a:pt x="0" y="22"/>
                      <a:pt x="0" y="25"/>
                      <a:pt x="1" y="30"/>
                    </a:cubicBezTo>
                    <a:cubicBezTo>
                      <a:pt x="3" y="31"/>
                      <a:pt x="3" y="31"/>
                      <a:pt x="3" y="31"/>
                    </a:cubicBezTo>
                    <a:cubicBezTo>
                      <a:pt x="6" y="29"/>
                      <a:pt x="9" y="26"/>
                      <a:pt x="13" y="24"/>
                    </a:cubicBezTo>
                    <a:cubicBezTo>
                      <a:pt x="19" y="20"/>
                      <a:pt x="30" y="22"/>
                      <a:pt x="37" y="27"/>
                    </a:cubicBezTo>
                    <a:cubicBezTo>
                      <a:pt x="37" y="28"/>
                      <a:pt x="36" y="28"/>
                      <a:pt x="36" y="28"/>
                    </a:cubicBezTo>
                    <a:cubicBezTo>
                      <a:pt x="31" y="29"/>
                      <a:pt x="28" y="28"/>
                      <a:pt x="22" y="32"/>
                    </a:cubicBezTo>
                    <a:cubicBezTo>
                      <a:pt x="22" y="33"/>
                      <a:pt x="22" y="34"/>
                      <a:pt x="22" y="35"/>
                    </a:cubicBezTo>
                    <a:cubicBezTo>
                      <a:pt x="22" y="37"/>
                      <a:pt x="22" y="37"/>
                      <a:pt x="24" y="39"/>
                    </a:cubicBezTo>
                    <a:cubicBezTo>
                      <a:pt x="31" y="37"/>
                      <a:pt x="37" y="36"/>
                      <a:pt x="45" y="41"/>
                    </a:cubicBezTo>
                    <a:cubicBezTo>
                      <a:pt x="44" y="41"/>
                      <a:pt x="44" y="41"/>
                      <a:pt x="44" y="41"/>
                    </a:cubicBezTo>
                    <a:cubicBezTo>
                      <a:pt x="43" y="41"/>
                      <a:pt x="42" y="41"/>
                      <a:pt x="42" y="41"/>
                    </a:cubicBezTo>
                    <a:cubicBezTo>
                      <a:pt x="41" y="40"/>
                      <a:pt x="40" y="39"/>
                      <a:pt x="39" y="39"/>
                    </a:cubicBezTo>
                    <a:cubicBezTo>
                      <a:pt x="37" y="41"/>
                      <a:pt x="37" y="41"/>
                      <a:pt x="35" y="40"/>
                    </a:cubicBezTo>
                    <a:cubicBezTo>
                      <a:pt x="35" y="40"/>
                      <a:pt x="34" y="41"/>
                      <a:pt x="34" y="41"/>
                    </a:cubicBezTo>
                    <a:cubicBezTo>
                      <a:pt x="35" y="43"/>
                      <a:pt x="35" y="43"/>
                      <a:pt x="37" y="45"/>
                    </a:cubicBezTo>
                    <a:cubicBezTo>
                      <a:pt x="36" y="46"/>
                      <a:pt x="36" y="47"/>
                      <a:pt x="35" y="48"/>
                    </a:cubicBezTo>
                    <a:cubicBezTo>
                      <a:pt x="27" y="44"/>
                      <a:pt x="20" y="40"/>
                      <a:pt x="12" y="34"/>
                    </a:cubicBezTo>
                    <a:cubicBezTo>
                      <a:pt x="11" y="34"/>
                      <a:pt x="11" y="34"/>
                      <a:pt x="10" y="34"/>
                    </a:cubicBezTo>
                    <a:cubicBezTo>
                      <a:pt x="9" y="34"/>
                      <a:pt x="9" y="35"/>
                      <a:pt x="9" y="35"/>
                    </a:cubicBezTo>
                    <a:cubicBezTo>
                      <a:pt x="11" y="55"/>
                      <a:pt x="20" y="44"/>
                      <a:pt x="31" y="54"/>
                    </a:cubicBezTo>
                    <a:cubicBezTo>
                      <a:pt x="27" y="58"/>
                      <a:pt x="23" y="61"/>
                      <a:pt x="20" y="64"/>
                    </a:cubicBezTo>
                    <a:cubicBezTo>
                      <a:pt x="15" y="63"/>
                      <a:pt x="6" y="55"/>
                      <a:pt x="1" y="56"/>
                    </a:cubicBezTo>
                    <a:cubicBezTo>
                      <a:pt x="1" y="56"/>
                      <a:pt x="1" y="56"/>
                      <a:pt x="0" y="57"/>
                    </a:cubicBezTo>
                    <a:cubicBezTo>
                      <a:pt x="2" y="62"/>
                      <a:pt x="7" y="67"/>
                      <a:pt x="9" y="72"/>
                    </a:cubicBezTo>
                    <a:cubicBezTo>
                      <a:pt x="17" y="75"/>
                      <a:pt x="26" y="66"/>
                      <a:pt x="35" y="58"/>
                    </a:cubicBezTo>
                    <a:cubicBezTo>
                      <a:pt x="37" y="60"/>
                      <a:pt x="39" y="63"/>
                      <a:pt x="42" y="65"/>
                    </a:cubicBezTo>
                    <a:cubicBezTo>
                      <a:pt x="46" y="63"/>
                      <a:pt x="46" y="60"/>
                      <a:pt x="46" y="57"/>
                    </a:cubicBezTo>
                    <a:cubicBezTo>
                      <a:pt x="45" y="54"/>
                      <a:pt x="43" y="53"/>
                      <a:pt x="40" y="50"/>
                    </a:cubicBezTo>
                    <a:cubicBezTo>
                      <a:pt x="41" y="49"/>
                      <a:pt x="42" y="48"/>
                      <a:pt x="42" y="48"/>
                    </a:cubicBezTo>
                    <a:cubicBezTo>
                      <a:pt x="46" y="48"/>
                      <a:pt x="49" y="48"/>
                      <a:pt x="53" y="46"/>
                    </a:cubicBezTo>
                    <a:cubicBezTo>
                      <a:pt x="56" y="49"/>
                      <a:pt x="59" y="53"/>
                      <a:pt x="62" y="57"/>
                    </a:cubicBezTo>
                    <a:cubicBezTo>
                      <a:pt x="65" y="56"/>
                      <a:pt x="68" y="55"/>
                      <a:pt x="70" y="52"/>
                    </a:cubicBezTo>
                    <a:cubicBezTo>
                      <a:pt x="72" y="47"/>
                      <a:pt x="66" y="40"/>
                      <a:pt x="61" y="35"/>
                    </a:cubicBezTo>
                    <a:cubicBezTo>
                      <a:pt x="61" y="35"/>
                      <a:pt x="61" y="35"/>
                      <a:pt x="61" y="35"/>
                    </a:cubicBezTo>
                    <a:cubicBezTo>
                      <a:pt x="62" y="34"/>
                      <a:pt x="62" y="34"/>
                      <a:pt x="62" y="34"/>
                    </a:cubicBezTo>
                    <a:cubicBezTo>
                      <a:pt x="69" y="34"/>
                      <a:pt x="72" y="37"/>
                      <a:pt x="79" y="32"/>
                    </a:cubicBezTo>
                    <a:cubicBezTo>
                      <a:pt x="83" y="17"/>
                      <a:pt x="74" y="21"/>
                      <a:pt x="66" y="16"/>
                    </a:cubicBezTo>
                    <a:close/>
                    <a:moveTo>
                      <a:pt x="63" y="44"/>
                    </a:moveTo>
                    <a:cubicBezTo>
                      <a:pt x="63" y="44"/>
                      <a:pt x="63" y="44"/>
                      <a:pt x="63" y="44"/>
                    </a:cubicBezTo>
                    <a:cubicBezTo>
                      <a:pt x="55" y="42"/>
                      <a:pt x="46" y="34"/>
                      <a:pt x="38" y="32"/>
                    </a:cubicBezTo>
                    <a:cubicBezTo>
                      <a:pt x="43" y="28"/>
                      <a:pt x="48" y="31"/>
                      <a:pt x="54" y="32"/>
                    </a:cubicBezTo>
                    <a:cubicBezTo>
                      <a:pt x="57" y="36"/>
                      <a:pt x="60" y="40"/>
                      <a:pt x="63" y="44"/>
                    </a:cubicBezTo>
                    <a:close/>
                    <a:moveTo>
                      <a:pt x="60" y="27"/>
                    </a:moveTo>
                    <a:cubicBezTo>
                      <a:pt x="60" y="27"/>
                      <a:pt x="60" y="26"/>
                      <a:pt x="59" y="26"/>
                    </a:cubicBezTo>
                    <a:cubicBezTo>
                      <a:pt x="61" y="23"/>
                      <a:pt x="63" y="20"/>
                      <a:pt x="67" y="18"/>
                    </a:cubicBezTo>
                    <a:cubicBezTo>
                      <a:pt x="69" y="19"/>
                      <a:pt x="71" y="19"/>
                      <a:pt x="74" y="20"/>
                    </a:cubicBezTo>
                    <a:cubicBezTo>
                      <a:pt x="75" y="21"/>
                      <a:pt x="76" y="22"/>
                      <a:pt x="77" y="23"/>
                    </a:cubicBezTo>
                    <a:cubicBezTo>
                      <a:pt x="77" y="24"/>
                      <a:pt x="77" y="24"/>
                      <a:pt x="77" y="25"/>
                    </a:cubicBezTo>
                    <a:cubicBezTo>
                      <a:pt x="72" y="29"/>
                      <a:pt x="66" y="27"/>
                      <a:pt x="60" y="2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188" name="ïṩḻîḓé"/>
              <p:cNvSpPr/>
              <p:nvPr/>
            </p:nvSpPr>
            <p:spPr bwMode="auto">
              <a:xfrm>
                <a:off x="2728809" y="4582115"/>
                <a:ext cx="101600" cy="147638"/>
              </a:xfrm>
              <a:custGeom>
                <a:avLst/>
                <a:gdLst>
                  <a:gd name="T0" fmla="*/ 47 w 55"/>
                  <a:gd name="T1" fmla="*/ 0 h 80"/>
                  <a:gd name="T2" fmla="*/ 49 w 55"/>
                  <a:gd name="T3" fmla="*/ 20 h 80"/>
                  <a:gd name="T4" fmla="*/ 51 w 55"/>
                  <a:gd name="T5" fmla="*/ 34 h 80"/>
                  <a:gd name="T6" fmla="*/ 28 w 55"/>
                  <a:gd name="T7" fmla="*/ 38 h 80"/>
                  <a:gd name="T8" fmla="*/ 41 w 55"/>
                  <a:gd name="T9" fmla="*/ 68 h 80"/>
                  <a:gd name="T10" fmla="*/ 25 w 55"/>
                  <a:gd name="T11" fmla="*/ 74 h 80"/>
                  <a:gd name="T12" fmla="*/ 26 w 55"/>
                  <a:gd name="T13" fmla="*/ 39 h 80"/>
                  <a:gd name="T14" fmla="*/ 23 w 55"/>
                  <a:gd name="T15" fmla="*/ 40 h 80"/>
                  <a:gd name="T16" fmla="*/ 7 w 55"/>
                  <a:gd name="T17" fmla="*/ 54 h 80"/>
                  <a:gd name="T18" fmla="*/ 0 w 55"/>
                  <a:gd name="T19" fmla="*/ 43 h 80"/>
                  <a:gd name="T20" fmla="*/ 14 w 55"/>
                  <a:gd name="T21" fmla="*/ 28 h 80"/>
                  <a:gd name="T22" fmla="*/ 6 w 55"/>
                  <a:gd name="T23" fmla="*/ 15 h 80"/>
                  <a:gd name="T24" fmla="*/ 7 w 55"/>
                  <a:gd name="T25" fmla="*/ 15 h 80"/>
                  <a:gd name="T26" fmla="*/ 26 w 55"/>
                  <a:gd name="T27" fmla="*/ 18 h 80"/>
                  <a:gd name="T28" fmla="*/ 47 w 55"/>
                  <a:gd name="T29" fmla="*/ 0 h 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55" h="80">
                    <a:moveTo>
                      <a:pt x="47" y="0"/>
                    </a:moveTo>
                    <a:cubicBezTo>
                      <a:pt x="55" y="7"/>
                      <a:pt x="49" y="11"/>
                      <a:pt x="49" y="20"/>
                    </a:cubicBezTo>
                    <a:cubicBezTo>
                      <a:pt x="49" y="25"/>
                      <a:pt x="55" y="25"/>
                      <a:pt x="51" y="34"/>
                    </a:cubicBezTo>
                    <a:cubicBezTo>
                      <a:pt x="44" y="37"/>
                      <a:pt x="34" y="32"/>
                      <a:pt x="28" y="38"/>
                    </a:cubicBezTo>
                    <a:cubicBezTo>
                      <a:pt x="38" y="44"/>
                      <a:pt x="45" y="59"/>
                      <a:pt x="41" y="68"/>
                    </a:cubicBezTo>
                    <a:cubicBezTo>
                      <a:pt x="39" y="74"/>
                      <a:pt x="28" y="80"/>
                      <a:pt x="25" y="74"/>
                    </a:cubicBezTo>
                    <a:cubicBezTo>
                      <a:pt x="19" y="62"/>
                      <a:pt x="39" y="55"/>
                      <a:pt x="26" y="39"/>
                    </a:cubicBezTo>
                    <a:cubicBezTo>
                      <a:pt x="25" y="39"/>
                      <a:pt x="25" y="39"/>
                      <a:pt x="23" y="40"/>
                    </a:cubicBezTo>
                    <a:cubicBezTo>
                      <a:pt x="17" y="44"/>
                      <a:pt x="14" y="52"/>
                      <a:pt x="7" y="54"/>
                    </a:cubicBezTo>
                    <a:cubicBezTo>
                      <a:pt x="2" y="51"/>
                      <a:pt x="2" y="48"/>
                      <a:pt x="0" y="43"/>
                    </a:cubicBezTo>
                    <a:cubicBezTo>
                      <a:pt x="3" y="39"/>
                      <a:pt x="14" y="30"/>
                      <a:pt x="14" y="28"/>
                    </a:cubicBezTo>
                    <a:cubicBezTo>
                      <a:pt x="14" y="25"/>
                      <a:pt x="7" y="19"/>
                      <a:pt x="6" y="15"/>
                    </a:cubicBezTo>
                    <a:cubicBezTo>
                      <a:pt x="6" y="15"/>
                      <a:pt x="7" y="15"/>
                      <a:pt x="7" y="15"/>
                    </a:cubicBezTo>
                    <a:cubicBezTo>
                      <a:pt x="13" y="15"/>
                      <a:pt x="20" y="18"/>
                      <a:pt x="26" y="18"/>
                    </a:cubicBezTo>
                    <a:cubicBezTo>
                      <a:pt x="34" y="17"/>
                      <a:pt x="41" y="5"/>
                      <a:pt x="47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189" name="išḷïḓe"/>
              <p:cNvSpPr/>
              <p:nvPr/>
            </p:nvSpPr>
            <p:spPr bwMode="auto">
              <a:xfrm>
                <a:off x="2490684" y="4510678"/>
                <a:ext cx="144463" cy="160338"/>
              </a:xfrm>
              <a:custGeom>
                <a:avLst/>
                <a:gdLst>
                  <a:gd name="T0" fmla="*/ 55 w 78"/>
                  <a:gd name="T1" fmla="*/ 64 h 87"/>
                  <a:gd name="T2" fmla="*/ 62 w 78"/>
                  <a:gd name="T3" fmla="*/ 50 h 87"/>
                  <a:gd name="T4" fmla="*/ 54 w 78"/>
                  <a:gd name="T5" fmla="*/ 43 h 87"/>
                  <a:gd name="T6" fmla="*/ 69 w 78"/>
                  <a:gd name="T7" fmla="*/ 29 h 87"/>
                  <a:gd name="T8" fmla="*/ 67 w 78"/>
                  <a:gd name="T9" fmla="*/ 21 h 87"/>
                  <a:gd name="T10" fmla="*/ 70 w 78"/>
                  <a:gd name="T11" fmla="*/ 11 h 87"/>
                  <a:gd name="T12" fmla="*/ 69 w 78"/>
                  <a:gd name="T13" fmla="*/ 3 h 87"/>
                  <a:gd name="T14" fmla="*/ 64 w 78"/>
                  <a:gd name="T15" fmla="*/ 0 h 87"/>
                  <a:gd name="T16" fmla="*/ 63 w 78"/>
                  <a:gd name="T17" fmla="*/ 0 h 87"/>
                  <a:gd name="T18" fmla="*/ 63 w 78"/>
                  <a:gd name="T19" fmla="*/ 12 h 87"/>
                  <a:gd name="T20" fmla="*/ 42 w 78"/>
                  <a:gd name="T21" fmla="*/ 25 h 87"/>
                  <a:gd name="T22" fmla="*/ 42 w 78"/>
                  <a:gd name="T23" fmla="*/ 33 h 87"/>
                  <a:gd name="T24" fmla="*/ 33 w 78"/>
                  <a:gd name="T25" fmla="*/ 36 h 87"/>
                  <a:gd name="T26" fmla="*/ 39 w 78"/>
                  <a:gd name="T27" fmla="*/ 33 h 87"/>
                  <a:gd name="T28" fmla="*/ 39 w 78"/>
                  <a:gd name="T29" fmla="*/ 23 h 87"/>
                  <a:gd name="T30" fmla="*/ 36 w 78"/>
                  <a:gd name="T31" fmla="*/ 0 h 87"/>
                  <a:gd name="T32" fmla="*/ 36 w 78"/>
                  <a:gd name="T33" fmla="*/ 0 h 87"/>
                  <a:gd name="T34" fmla="*/ 36 w 78"/>
                  <a:gd name="T35" fmla="*/ 8 h 87"/>
                  <a:gd name="T36" fmla="*/ 30 w 78"/>
                  <a:gd name="T37" fmla="*/ 24 h 87"/>
                  <a:gd name="T38" fmla="*/ 1 w 78"/>
                  <a:gd name="T39" fmla="*/ 29 h 87"/>
                  <a:gd name="T40" fmla="*/ 0 w 78"/>
                  <a:gd name="T41" fmla="*/ 31 h 87"/>
                  <a:gd name="T42" fmla="*/ 18 w 78"/>
                  <a:gd name="T43" fmla="*/ 39 h 87"/>
                  <a:gd name="T44" fmla="*/ 25 w 78"/>
                  <a:gd name="T45" fmla="*/ 36 h 87"/>
                  <a:gd name="T46" fmla="*/ 25 w 78"/>
                  <a:gd name="T47" fmla="*/ 36 h 87"/>
                  <a:gd name="T48" fmla="*/ 3 w 78"/>
                  <a:gd name="T49" fmla="*/ 62 h 87"/>
                  <a:gd name="T50" fmla="*/ 5 w 78"/>
                  <a:gd name="T51" fmla="*/ 67 h 87"/>
                  <a:gd name="T52" fmla="*/ 12 w 78"/>
                  <a:gd name="T53" fmla="*/ 66 h 87"/>
                  <a:gd name="T54" fmla="*/ 22 w 78"/>
                  <a:gd name="T55" fmla="*/ 74 h 87"/>
                  <a:gd name="T56" fmla="*/ 25 w 78"/>
                  <a:gd name="T57" fmla="*/ 61 h 87"/>
                  <a:gd name="T58" fmla="*/ 30 w 78"/>
                  <a:gd name="T59" fmla="*/ 49 h 87"/>
                  <a:gd name="T60" fmla="*/ 48 w 78"/>
                  <a:gd name="T61" fmla="*/ 63 h 87"/>
                  <a:gd name="T62" fmla="*/ 24 w 78"/>
                  <a:gd name="T63" fmla="*/ 71 h 87"/>
                  <a:gd name="T64" fmla="*/ 48 w 78"/>
                  <a:gd name="T65" fmla="*/ 71 h 87"/>
                  <a:gd name="T66" fmla="*/ 51 w 78"/>
                  <a:gd name="T67" fmla="*/ 69 h 87"/>
                  <a:gd name="T68" fmla="*/ 77 w 78"/>
                  <a:gd name="T69" fmla="*/ 87 h 87"/>
                  <a:gd name="T70" fmla="*/ 78 w 78"/>
                  <a:gd name="T71" fmla="*/ 86 h 87"/>
                  <a:gd name="T72" fmla="*/ 55 w 78"/>
                  <a:gd name="T73" fmla="*/ 64 h 87"/>
                  <a:gd name="T74" fmla="*/ 15 w 78"/>
                  <a:gd name="T75" fmla="*/ 64 h 87"/>
                  <a:gd name="T76" fmla="*/ 15 w 78"/>
                  <a:gd name="T77" fmla="*/ 65 h 87"/>
                  <a:gd name="T78" fmla="*/ 11 w 78"/>
                  <a:gd name="T79" fmla="*/ 63 h 87"/>
                  <a:gd name="T80" fmla="*/ 12 w 78"/>
                  <a:gd name="T81" fmla="*/ 60 h 87"/>
                  <a:gd name="T82" fmla="*/ 15 w 78"/>
                  <a:gd name="T83" fmla="*/ 57 h 87"/>
                  <a:gd name="T84" fmla="*/ 17 w 78"/>
                  <a:gd name="T85" fmla="*/ 58 h 87"/>
                  <a:gd name="T86" fmla="*/ 15 w 78"/>
                  <a:gd name="T87" fmla="*/ 64 h 87"/>
                  <a:gd name="T88" fmla="*/ 32 w 78"/>
                  <a:gd name="T89" fmla="*/ 46 h 87"/>
                  <a:gd name="T90" fmla="*/ 44 w 78"/>
                  <a:gd name="T91" fmla="*/ 34 h 87"/>
                  <a:gd name="T92" fmla="*/ 52 w 78"/>
                  <a:gd name="T93" fmla="*/ 35 h 87"/>
                  <a:gd name="T94" fmla="*/ 46 w 78"/>
                  <a:gd name="T95" fmla="*/ 50 h 87"/>
                  <a:gd name="T96" fmla="*/ 48 w 78"/>
                  <a:gd name="T97" fmla="*/ 52 h 87"/>
                  <a:gd name="T98" fmla="*/ 56 w 78"/>
                  <a:gd name="T99" fmla="*/ 50 h 87"/>
                  <a:gd name="T100" fmla="*/ 52 w 78"/>
                  <a:gd name="T101" fmla="*/ 61 h 87"/>
                  <a:gd name="T102" fmla="*/ 32 w 78"/>
                  <a:gd name="T103" fmla="*/ 46 h 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78" h="87">
                    <a:moveTo>
                      <a:pt x="55" y="64"/>
                    </a:moveTo>
                    <a:cubicBezTo>
                      <a:pt x="58" y="60"/>
                      <a:pt x="60" y="55"/>
                      <a:pt x="62" y="50"/>
                    </a:cubicBezTo>
                    <a:cubicBezTo>
                      <a:pt x="61" y="47"/>
                      <a:pt x="58" y="44"/>
                      <a:pt x="54" y="43"/>
                    </a:cubicBezTo>
                    <a:cubicBezTo>
                      <a:pt x="57" y="36"/>
                      <a:pt x="64" y="33"/>
                      <a:pt x="69" y="29"/>
                    </a:cubicBezTo>
                    <a:cubicBezTo>
                      <a:pt x="69" y="25"/>
                      <a:pt x="67" y="24"/>
                      <a:pt x="67" y="21"/>
                    </a:cubicBezTo>
                    <a:cubicBezTo>
                      <a:pt x="68" y="18"/>
                      <a:pt x="69" y="15"/>
                      <a:pt x="70" y="11"/>
                    </a:cubicBezTo>
                    <a:cubicBezTo>
                      <a:pt x="70" y="9"/>
                      <a:pt x="69" y="6"/>
                      <a:pt x="69" y="3"/>
                    </a:cubicBezTo>
                    <a:cubicBezTo>
                      <a:pt x="68" y="2"/>
                      <a:pt x="67" y="1"/>
                      <a:pt x="64" y="0"/>
                    </a:cubicBezTo>
                    <a:cubicBezTo>
                      <a:pt x="64" y="0"/>
                      <a:pt x="63" y="0"/>
                      <a:pt x="63" y="0"/>
                    </a:cubicBezTo>
                    <a:cubicBezTo>
                      <a:pt x="61" y="5"/>
                      <a:pt x="63" y="8"/>
                      <a:pt x="63" y="12"/>
                    </a:cubicBezTo>
                    <a:cubicBezTo>
                      <a:pt x="63" y="24"/>
                      <a:pt x="52" y="26"/>
                      <a:pt x="42" y="25"/>
                    </a:cubicBezTo>
                    <a:cubicBezTo>
                      <a:pt x="41" y="28"/>
                      <a:pt x="41" y="31"/>
                      <a:pt x="42" y="33"/>
                    </a:cubicBezTo>
                    <a:cubicBezTo>
                      <a:pt x="39" y="34"/>
                      <a:pt x="36" y="35"/>
                      <a:pt x="33" y="36"/>
                    </a:cubicBezTo>
                    <a:cubicBezTo>
                      <a:pt x="34" y="32"/>
                      <a:pt x="36" y="32"/>
                      <a:pt x="39" y="33"/>
                    </a:cubicBezTo>
                    <a:cubicBezTo>
                      <a:pt x="41" y="29"/>
                      <a:pt x="38" y="27"/>
                      <a:pt x="39" y="23"/>
                    </a:cubicBezTo>
                    <a:cubicBezTo>
                      <a:pt x="39" y="14"/>
                      <a:pt x="53" y="6"/>
                      <a:pt x="36" y="0"/>
                    </a:cubicBezTo>
                    <a:cubicBezTo>
                      <a:pt x="36" y="0"/>
                      <a:pt x="36" y="0"/>
                      <a:pt x="36" y="0"/>
                    </a:cubicBezTo>
                    <a:cubicBezTo>
                      <a:pt x="35" y="3"/>
                      <a:pt x="36" y="5"/>
                      <a:pt x="36" y="8"/>
                    </a:cubicBezTo>
                    <a:cubicBezTo>
                      <a:pt x="34" y="14"/>
                      <a:pt x="32" y="19"/>
                      <a:pt x="30" y="24"/>
                    </a:cubicBezTo>
                    <a:cubicBezTo>
                      <a:pt x="22" y="26"/>
                      <a:pt x="9" y="26"/>
                      <a:pt x="1" y="29"/>
                    </a:cubicBezTo>
                    <a:cubicBezTo>
                      <a:pt x="1" y="30"/>
                      <a:pt x="1" y="30"/>
                      <a:pt x="0" y="31"/>
                    </a:cubicBezTo>
                    <a:cubicBezTo>
                      <a:pt x="1" y="35"/>
                      <a:pt x="12" y="39"/>
                      <a:pt x="18" y="39"/>
                    </a:cubicBezTo>
                    <a:cubicBezTo>
                      <a:pt x="20" y="38"/>
                      <a:pt x="22" y="37"/>
                      <a:pt x="25" y="36"/>
                    </a:cubicBezTo>
                    <a:cubicBezTo>
                      <a:pt x="25" y="36"/>
                      <a:pt x="25" y="36"/>
                      <a:pt x="25" y="36"/>
                    </a:cubicBezTo>
                    <a:cubicBezTo>
                      <a:pt x="21" y="52"/>
                      <a:pt x="9" y="50"/>
                      <a:pt x="3" y="62"/>
                    </a:cubicBezTo>
                    <a:cubicBezTo>
                      <a:pt x="4" y="63"/>
                      <a:pt x="4" y="65"/>
                      <a:pt x="5" y="67"/>
                    </a:cubicBezTo>
                    <a:cubicBezTo>
                      <a:pt x="7" y="67"/>
                      <a:pt x="10" y="67"/>
                      <a:pt x="12" y="66"/>
                    </a:cubicBezTo>
                    <a:cubicBezTo>
                      <a:pt x="17" y="68"/>
                      <a:pt x="17" y="72"/>
                      <a:pt x="22" y="74"/>
                    </a:cubicBezTo>
                    <a:cubicBezTo>
                      <a:pt x="25" y="71"/>
                      <a:pt x="24" y="66"/>
                      <a:pt x="25" y="61"/>
                    </a:cubicBezTo>
                    <a:cubicBezTo>
                      <a:pt x="25" y="56"/>
                      <a:pt x="28" y="52"/>
                      <a:pt x="30" y="49"/>
                    </a:cubicBezTo>
                    <a:cubicBezTo>
                      <a:pt x="40" y="53"/>
                      <a:pt x="42" y="58"/>
                      <a:pt x="48" y="63"/>
                    </a:cubicBezTo>
                    <a:cubicBezTo>
                      <a:pt x="44" y="74"/>
                      <a:pt x="29" y="63"/>
                      <a:pt x="24" y="71"/>
                    </a:cubicBezTo>
                    <a:cubicBezTo>
                      <a:pt x="39" y="78"/>
                      <a:pt x="36" y="74"/>
                      <a:pt x="48" y="71"/>
                    </a:cubicBezTo>
                    <a:cubicBezTo>
                      <a:pt x="49" y="70"/>
                      <a:pt x="50" y="70"/>
                      <a:pt x="51" y="69"/>
                    </a:cubicBezTo>
                    <a:cubicBezTo>
                      <a:pt x="58" y="79"/>
                      <a:pt x="58" y="87"/>
                      <a:pt x="77" y="87"/>
                    </a:cubicBezTo>
                    <a:cubicBezTo>
                      <a:pt x="77" y="87"/>
                      <a:pt x="78" y="86"/>
                      <a:pt x="78" y="86"/>
                    </a:cubicBezTo>
                    <a:cubicBezTo>
                      <a:pt x="74" y="76"/>
                      <a:pt x="60" y="73"/>
                      <a:pt x="55" y="64"/>
                    </a:cubicBezTo>
                    <a:close/>
                    <a:moveTo>
                      <a:pt x="15" y="64"/>
                    </a:moveTo>
                    <a:cubicBezTo>
                      <a:pt x="15" y="65"/>
                      <a:pt x="15" y="65"/>
                      <a:pt x="15" y="65"/>
                    </a:cubicBezTo>
                    <a:cubicBezTo>
                      <a:pt x="14" y="64"/>
                      <a:pt x="13" y="64"/>
                      <a:pt x="11" y="63"/>
                    </a:cubicBezTo>
                    <a:cubicBezTo>
                      <a:pt x="11" y="62"/>
                      <a:pt x="12" y="61"/>
                      <a:pt x="12" y="60"/>
                    </a:cubicBezTo>
                    <a:cubicBezTo>
                      <a:pt x="13" y="59"/>
                      <a:pt x="14" y="58"/>
                      <a:pt x="15" y="57"/>
                    </a:cubicBezTo>
                    <a:cubicBezTo>
                      <a:pt x="16" y="57"/>
                      <a:pt x="16" y="58"/>
                      <a:pt x="17" y="58"/>
                    </a:cubicBezTo>
                    <a:cubicBezTo>
                      <a:pt x="16" y="60"/>
                      <a:pt x="16" y="62"/>
                      <a:pt x="15" y="64"/>
                    </a:cubicBezTo>
                    <a:close/>
                    <a:moveTo>
                      <a:pt x="32" y="46"/>
                    </a:moveTo>
                    <a:cubicBezTo>
                      <a:pt x="35" y="43"/>
                      <a:pt x="44" y="37"/>
                      <a:pt x="44" y="34"/>
                    </a:cubicBezTo>
                    <a:cubicBezTo>
                      <a:pt x="47" y="34"/>
                      <a:pt x="49" y="35"/>
                      <a:pt x="52" y="35"/>
                    </a:cubicBezTo>
                    <a:cubicBezTo>
                      <a:pt x="50" y="40"/>
                      <a:pt x="45" y="44"/>
                      <a:pt x="46" y="50"/>
                    </a:cubicBezTo>
                    <a:cubicBezTo>
                      <a:pt x="46" y="51"/>
                      <a:pt x="47" y="51"/>
                      <a:pt x="48" y="52"/>
                    </a:cubicBezTo>
                    <a:cubicBezTo>
                      <a:pt x="50" y="51"/>
                      <a:pt x="53" y="49"/>
                      <a:pt x="56" y="50"/>
                    </a:cubicBezTo>
                    <a:cubicBezTo>
                      <a:pt x="55" y="54"/>
                      <a:pt x="53" y="57"/>
                      <a:pt x="52" y="61"/>
                    </a:cubicBezTo>
                    <a:cubicBezTo>
                      <a:pt x="45" y="56"/>
                      <a:pt x="44" y="49"/>
                      <a:pt x="32" y="4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190" name="ï$ľíḍe"/>
              <p:cNvSpPr/>
              <p:nvPr/>
            </p:nvSpPr>
            <p:spPr bwMode="auto">
              <a:xfrm>
                <a:off x="2255734" y="4491628"/>
                <a:ext cx="136525" cy="174625"/>
              </a:xfrm>
              <a:custGeom>
                <a:avLst/>
                <a:gdLst>
                  <a:gd name="T0" fmla="*/ 74 w 74"/>
                  <a:gd name="T1" fmla="*/ 41 h 94"/>
                  <a:gd name="T2" fmla="*/ 64 w 74"/>
                  <a:gd name="T3" fmla="*/ 35 h 94"/>
                  <a:gd name="T4" fmla="*/ 51 w 74"/>
                  <a:gd name="T5" fmla="*/ 5 h 94"/>
                  <a:gd name="T6" fmla="*/ 58 w 74"/>
                  <a:gd name="T7" fmla="*/ 39 h 94"/>
                  <a:gd name="T8" fmla="*/ 47 w 74"/>
                  <a:gd name="T9" fmla="*/ 47 h 94"/>
                  <a:gd name="T10" fmla="*/ 55 w 74"/>
                  <a:gd name="T11" fmla="*/ 34 h 94"/>
                  <a:gd name="T12" fmla="*/ 47 w 74"/>
                  <a:gd name="T13" fmla="*/ 29 h 94"/>
                  <a:gd name="T14" fmla="*/ 54 w 74"/>
                  <a:gd name="T15" fmla="*/ 22 h 94"/>
                  <a:gd name="T16" fmla="*/ 54 w 74"/>
                  <a:gd name="T17" fmla="*/ 20 h 94"/>
                  <a:gd name="T18" fmla="*/ 54 w 74"/>
                  <a:gd name="T19" fmla="*/ 19 h 94"/>
                  <a:gd name="T20" fmla="*/ 41 w 74"/>
                  <a:gd name="T21" fmla="*/ 19 h 94"/>
                  <a:gd name="T22" fmla="*/ 44 w 74"/>
                  <a:gd name="T23" fmla="*/ 22 h 94"/>
                  <a:gd name="T24" fmla="*/ 44 w 74"/>
                  <a:gd name="T25" fmla="*/ 32 h 94"/>
                  <a:gd name="T26" fmla="*/ 48 w 74"/>
                  <a:gd name="T27" fmla="*/ 37 h 94"/>
                  <a:gd name="T28" fmla="*/ 40 w 74"/>
                  <a:gd name="T29" fmla="*/ 58 h 94"/>
                  <a:gd name="T30" fmla="*/ 44 w 74"/>
                  <a:gd name="T31" fmla="*/ 61 h 94"/>
                  <a:gd name="T32" fmla="*/ 59 w 74"/>
                  <a:gd name="T33" fmla="*/ 46 h 94"/>
                  <a:gd name="T34" fmla="*/ 59 w 74"/>
                  <a:gd name="T35" fmla="*/ 46 h 94"/>
                  <a:gd name="T36" fmla="*/ 66 w 74"/>
                  <a:gd name="T37" fmla="*/ 93 h 94"/>
                  <a:gd name="T38" fmla="*/ 68 w 74"/>
                  <a:gd name="T39" fmla="*/ 93 h 94"/>
                  <a:gd name="T40" fmla="*/ 65 w 74"/>
                  <a:gd name="T41" fmla="*/ 42 h 94"/>
                  <a:gd name="T42" fmla="*/ 73 w 74"/>
                  <a:gd name="T43" fmla="*/ 41 h 94"/>
                  <a:gd name="T44" fmla="*/ 74 w 74"/>
                  <a:gd name="T45" fmla="*/ 41 h 94"/>
                  <a:gd name="T46" fmla="*/ 43 w 74"/>
                  <a:gd name="T47" fmla="*/ 42 h 94"/>
                  <a:gd name="T48" fmla="*/ 35 w 74"/>
                  <a:gd name="T49" fmla="*/ 48 h 94"/>
                  <a:gd name="T50" fmla="*/ 39 w 74"/>
                  <a:gd name="T51" fmla="*/ 38 h 94"/>
                  <a:gd name="T52" fmla="*/ 37 w 74"/>
                  <a:gd name="T53" fmla="*/ 29 h 94"/>
                  <a:gd name="T54" fmla="*/ 40 w 74"/>
                  <a:gd name="T55" fmla="*/ 27 h 94"/>
                  <a:gd name="T56" fmla="*/ 34 w 74"/>
                  <a:gd name="T57" fmla="*/ 16 h 94"/>
                  <a:gd name="T58" fmla="*/ 32 w 74"/>
                  <a:gd name="T59" fmla="*/ 15 h 94"/>
                  <a:gd name="T60" fmla="*/ 4 w 74"/>
                  <a:gd name="T61" fmla="*/ 46 h 94"/>
                  <a:gd name="T62" fmla="*/ 30 w 74"/>
                  <a:gd name="T63" fmla="*/ 29 h 94"/>
                  <a:gd name="T64" fmla="*/ 8 w 74"/>
                  <a:gd name="T65" fmla="*/ 52 h 94"/>
                  <a:gd name="T66" fmla="*/ 0 w 74"/>
                  <a:gd name="T67" fmla="*/ 56 h 94"/>
                  <a:gd name="T68" fmla="*/ 3 w 74"/>
                  <a:gd name="T69" fmla="*/ 61 h 94"/>
                  <a:gd name="T70" fmla="*/ 23 w 74"/>
                  <a:gd name="T71" fmla="*/ 54 h 94"/>
                  <a:gd name="T72" fmla="*/ 25 w 74"/>
                  <a:gd name="T73" fmla="*/ 53 h 94"/>
                  <a:gd name="T74" fmla="*/ 25 w 74"/>
                  <a:gd name="T75" fmla="*/ 53 h 94"/>
                  <a:gd name="T76" fmla="*/ 20 w 74"/>
                  <a:gd name="T77" fmla="*/ 72 h 94"/>
                  <a:gd name="T78" fmla="*/ 25 w 74"/>
                  <a:gd name="T79" fmla="*/ 76 h 94"/>
                  <a:gd name="T80" fmla="*/ 26 w 74"/>
                  <a:gd name="T81" fmla="*/ 76 h 94"/>
                  <a:gd name="T82" fmla="*/ 30 w 74"/>
                  <a:gd name="T83" fmla="*/ 67 h 94"/>
                  <a:gd name="T84" fmla="*/ 31 w 74"/>
                  <a:gd name="T85" fmla="*/ 66 h 94"/>
                  <a:gd name="T86" fmla="*/ 32 w 74"/>
                  <a:gd name="T87" fmla="*/ 75 h 94"/>
                  <a:gd name="T88" fmla="*/ 35 w 74"/>
                  <a:gd name="T89" fmla="*/ 76 h 94"/>
                  <a:gd name="T90" fmla="*/ 38 w 74"/>
                  <a:gd name="T91" fmla="*/ 76 h 94"/>
                  <a:gd name="T92" fmla="*/ 35 w 74"/>
                  <a:gd name="T93" fmla="*/ 61 h 94"/>
                  <a:gd name="T94" fmla="*/ 43 w 74"/>
                  <a:gd name="T95" fmla="*/ 42 h 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74" h="94">
                    <a:moveTo>
                      <a:pt x="74" y="41"/>
                    </a:moveTo>
                    <a:cubicBezTo>
                      <a:pt x="73" y="36"/>
                      <a:pt x="70" y="34"/>
                      <a:pt x="64" y="35"/>
                    </a:cubicBezTo>
                    <a:cubicBezTo>
                      <a:pt x="63" y="24"/>
                      <a:pt x="67" y="0"/>
                      <a:pt x="51" y="5"/>
                    </a:cubicBezTo>
                    <a:cubicBezTo>
                      <a:pt x="50" y="9"/>
                      <a:pt x="61" y="31"/>
                      <a:pt x="58" y="39"/>
                    </a:cubicBezTo>
                    <a:cubicBezTo>
                      <a:pt x="58" y="39"/>
                      <a:pt x="47" y="47"/>
                      <a:pt x="47" y="47"/>
                    </a:cubicBezTo>
                    <a:cubicBezTo>
                      <a:pt x="48" y="41"/>
                      <a:pt x="53" y="39"/>
                      <a:pt x="55" y="34"/>
                    </a:cubicBezTo>
                    <a:cubicBezTo>
                      <a:pt x="56" y="30"/>
                      <a:pt x="49" y="31"/>
                      <a:pt x="47" y="29"/>
                    </a:cubicBezTo>
                    <a:cubicBezTo>
                      <a:pt x="48" y="26"/>
                      <a:pt x="51" y="23"/>
                      <a:pt x="54" y="22"/>
                    </a:cubicBezTo>
                    <a:cubicBezTo>
                      <a:pt x="54" y="21"/>
                      <a:pt x="54" y="21"/>
                      <a:pt x="54" y="20"/>
                    </a:cubicBezTo>
                    <a:cubicBezTo>
                      <a:pt x="54" y="20"/>
                      <a:pt x="54" y="19"/>
                      <a:pt x="54" y="19"/>
                    </a:cubicBezTo>
                    <a:cubicBezTo>
                      <a:pt x="50" y="17"/>
                      <a:pt x="45" y="17"/>
                      <a:pt x="41" y="19"/>
                    </a:cubicBezTo>
                    <a:cubicBezTo>
                      <a:pt x="41" y="22"/>
                      <a:pt x="42" y="22"/>
                      <a:pt x="44" y="22"/>
                    </a:cubicBezTo>
                    <a:cubicBezTo>
                      <a:pt x="44" y="26"/>
                      <a:pt x="44" y="29"/>
                      <a:pt x="44" y="32"/>
                    </a:cubicBezTo>
                    <a:cubicBezTo>
                      <a:pt x="45" y="34"/>
                      <a:pt x="47" y="35"/>
                      <a:pt x="48" y="37"/>
                    </a:cubicBezTo>
                    <a:cubicBezTo>
                      <a:pt x="46" y="41"/>
                      <a:pt x="35" y="51"/>
                      <a:pt x="40" y="58"/>
                    </a:cubicBezTo>
                    <a:cubicBezTo>
                      <a:pt x="41" y="60"/>
                      <a:pt x="42" y="60"/>
                      <a:pt x="44" y="61"/>
                    </a:cubicBezTo>
                    <a:cubicBezTo>
                      <a:pt x="49" y="55"/>
                      <a:pt x="51" y="50"/>
                      <a:pt x="59" y="46"/>
                    </a:cubicBezTo>
                    <a:cubicBezTo>
                      <a:pt x="59" y="46"/>
                      <a:pt x="59" y="46"/>
                      <a:pt x="59" y="46"/>
                    </a:cubicBezTo>
                    <a:cubicBezTo>
                      <a:pt x="61" y="60"/>
                      <a:pt x="59" y="83"/>
                      <a:pt x="66" y="93"/>
                    </a:cubicBezTo>
                    <a:cubicBezTo>
                      <a:pt x="67" y="94"/>
                      <a:pt x="67" y="93"/>
                      <a:pt x="68" y="93"/>
                    </a:cubicBezTo>
                    <a:cubicBezTo>
                      <a:pt x="68" y="78"/>
                      <a:pt x="67" y="60"/>
                      <a:pt x="65" y="42"/>
                    </a:cubicBezTo>
                    <a:cubicBezTo>
                      <a:pt x="68" y="42"/>
                      <a:pt x="72" y="42"/>
                      <a:pt x="73" y="41"/>
                    </a:cubicBezTo>
                    <a:cubicBezTo>
                      <a:pt x="74" y="41"/>
                      <a:pt x="74" y="41"/>
                      <a:pt x="74" y="41"/>
                    </a:cubicBezTo>
                    <a:close/>
                    <a:moveTo>
                      <a:pt x="43" y="42"/>
                    </a:moveTo>
                    <a:cubicBezTo>
                      <a:pt x="39" y="44"/>
                      <a:pt x="38" y="46"/>
                      <a:pt x="35" y="48"/>
                    </a:cubicBezTo>
                    <a:cubicBezTo>
                      <a:pt x="35" y="42"/>
                      <a:pt x="39" y="42"/>
                      <a:pt x="39" y="38"/>
                    </a:cubicBezTo>
                    <a:cubicBezTo>
                      <a:pt x="40" y="35"/>
                      <a:pt x="37" y="33"/>
                      <a:pt x="37" y="29"/>
                    </a:cubicBezTo>
                    <a:cubicBezTo>
                      <a:pt x="38" y="28"/>
                      <a:pt x="39" y="28"/>
                      <a:pt x="40" y="27"/>
                    </a:cubicBezTo>
                    <a:cubicBezTo>
                      <a:pt x="41" y="24"/>
                      <a:pt x="36" y="16"/>
                      <a:pt x="34" y="16"/>
                    </a:cubicBezTo>
                    <a:cubicBezTo>
                      <a:pt x="33" y="16"/>
                      <a:pt x="32" y="15"/>
                      <a:pt x="32" y="15"/>
                    </a:cubicBezTo>
                    <a:cubicBezTo>
                      <a:pt x="22" y="28"/>
                      <a:pt x="10" y="30"/>
                      <a:pt x="4" y="46"/>
                    </a:cubicBezTo>
                    <a:cubicBezTo>
                      <a:pt x="13" y="41"/>
                      <a:pt x="17" y="31"/>
                      <a:pt x="30" y="29"/>
                    </a:cubicBezTo>
                    <a:cubicBezTo>
                      <a:pt x="29" y="39"/>
                      <a:pt x="16" y="48"/>
                      <a:pt x="8" y="52"/>
                    </a:cubicBezTo>
                    <a:cubicBezTo>
                      <a:pt x="4" y="54"/>
                      <a:pt x="2" y="52"/>
                      <a:pt x="0" y="56"/>
                    </a:cubicBezTo>
                    <a:cubicBezTo>
                      <a:pt x="0" y="59"/>
                      <a:pt x="1" y="60"/>
                      <a:pt x="3" y="61"/>
                    </a:cubicBezTo>
                    <a:cubicBezTo>
                      <a:pt x="10" y="63"/>
                      <a:pt x="22" y="58"/>
                      <a:pt x="23" y="54"/>
                    </a:cubicBezTo>
                    <a:cubicBezTo>
                      <a:pt x="24" y="54"/>
                      <a:pt x="24" y="53"/>
                      <a:pt x="25" y="53"/>
                    </a:cubicBezTo>
                    <a:cubicBezTo>
                      <a:pt x="25" y="53"/>
                      <a:pt x="25" y="53"/>
                      <a:pt x="25" y="53"/>
                    </a:cubicBezTo>
                    <a:cubicBezTo>
                      <a:pt x="23" y="59"/>
                      <a:pt x="22" y="66"/>
                      <a:pt x="20" y="72"/>
                    </a:cubicBezTo>
                    <a:cubicBezTo>
                      <a:pt x="21" y="74"/>
                      <a:pt x="23" y="75"/>
                      <a:pt x="25" y="76"/>
                    </a:cubicBezTo>
                    <a:cubicBezTo>
                      <a:pt x="25" y="76"/>
                      <a:pt x="26" y="76"/>
                      <a:pt x="26" y="76"/>
                    </a:cubicBezTo>
                    <a:cubicBezTo>
                      <a:pt x="28" y="73"/>
                      <a:pt x="29" y="70"/>
                      <a:pt x="30" y="67"/>
                    </a:cubicBezTo>
                    <a:cubicBezTo>
                      <a:pt x="31" y="67"/>
                      <a:pt x="31" y="67"/>
                      <a:pt x="31" y="66"/>
                    </a:cubicBezTo>
                    <a:cubicBezTo>
                      <a:pt x="32" y="69"/>
                      <a:pt x="32" y="72"/>
                      <a:pt x="32" y="75"/>
                    </a:cubicBezTo>
                    <a:cubicBezTo>
                      <a:pt x="33" y="75"/>
                      <a:pt x="34" y="76"/>
                      <a:pt x="35" y="76"/>
                    </a:cubicBezTo>
                    <a:cubicBezTo>
                      <a:pt x="36" y="76"/>
                      <a:pt x="37" y="76"/>
                      <a:pt x="38" y="76"/>
                    </a:cubicBezTo>
                    <a:cubicBezTo>
                      <a:pt x="37" y="71"/>
                      <a:pt x="36" y="66"/>
                      <a:pt x="35" y="61"/>
                    </a:cubicBezTo>
                    <a:cubicBezTo>
                      <a:pt x="38" y="54"/>
                      <a:pt x="40" y="48"/>
                      <a:pt x="43" y="4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191" name="î$ḻîḑe"/>
              <p:cNvSpPr/>
              <p:nvPr/>
            </p:nvSpPr>
            <p:spPr bwMode="auto">
              <a:xfrm>
                <a:off x="2055709" y="4566240"/>
                <a:ext cx="136525" cy="150813"/>
              </a:xfrm>
              <a:custGeom>
                <a:avLst/>
                <a:gdLst>
                  <a:gd name="T0" fmla="*/ 55 w 74"/>
                  <a:gd name="T1" fmla="*/ 53 h 82"/>
                  <a:gd name="T2" fmla="*/ 54 w 74"/>
                  <a:gd name="T3" fmla="*/ 51 h 82"/>
                  <a:gd name="T4" fmla="*/ 57 w 74"/>
                  <a:gd name="T5" fmla="*/ 49 h 82"/>
                  <a:gd name="T6" fmla="*/ 56 w 74"/>
                  <a:gd name="T7" fmla="*/ 45 h 82"/>
                  <a:gd name="T8" fmla="*/ 52 w 74"/>
                  <a:gd name="T9" fmla="*/ 45 h 82"/>
                  <a:gd name="T10" fmla="*/ 51 w 74"/>
                  <a:gd name="T11" fmla="*/ 44 h 82"/>
                  <a:gd name="T12" fmla="*/ 60 w 74"/>
                  <a:gd name="T13" fmla="*/ 32 h 82"/>
                  <a:gd name="T14" fmla="*/ 60 w 74"/>
                  <a:gd name="T15" fmla="*/ 30 h 82"/>
                  <a:gd name="T16" fmla="*/ 34 w 74"/>
                  <a:gd name="T17" fmla="*/ 38 h 82"/>
                  <a:gd name="T18" fmla="*/ 33 w 74"/>
                  <a:gd name="T19" fmla="*/ 38 h 82"/>
                  <a:gd name="T20" fmla="*/ 60 w 74"/>
                  <a:gd name="T21" fmla="*/ 16 h 82"/>
                  <a:gd name="T22" fmla="*/ 61 w 74"/>
                  <a:gd name="T23" fmla="*/ 10 h 82"/>
                  <a:gd name="T24" fmla="*/ 42 w 74"/>
                  <a:gd name="T25" fmla="*/ 11 h 82"/>
                  <a:gd name="T26" fmla="*/ 27 w 74"/>
                  <a:gd name="T27" fmla="*/ 0 h 82"/>
                  <a:gd name="T28" fmla="*/ 24 w 74"/>
                  <a:gd name="T29" fmla="*/ 0 h 82"/>
                  <a:gd name="T30" fmla="*/ 29 w 74"/>
                  <a:gd name="T31" fmla="*/ 21 h 82"/>
                  <a:gd name="T32" fmla="*/ 11 w 74"/>
                  <a:gd name="T33" fmla="*/ 39 h 82"/>
                  <a:gd name="T34" fmla="*/ 1 w 74"/>
                  <a:gd name="T35" fmla="*/ 44 h 82"/>
                  <a:gd name="T36" fmla="*/ 0 w 74"/>
                  <a:gd name="T37" fmla="*/ 47 h 82"/>
                  <a:gd name="T38" fmla="*/ 35 w 74"/>
                  <a:gd name="T39" fmla="*/ 26 h 82"/>
                  <a:gd name="T40" fmla="*/ 35 w 74"/>
                  <a:gd name="T41" fmla="*/ 26 h 82"/>
                  <a:gd name="T42" fmla="*/ 30 w 74"/>
                  <a:gd name="T43" fmla="*/ 48 h 82"/>
                  <a:gd name="T44" fmla="*/ 40 w 74"/>
                  <a:gd name="T45" fmla="*/ 57 h 82"/>
                  <a:gd name="T46" fmla="*/ 35 w 74"/>
                  <a:gd name="T47" fmla="*/ 78 h 82"/>
                  <a:gd name="T48" fmla="*/ 45 w 74"/>
                  <a:gd name="T49" fmla="*/ 82 h 82"/>
                  <a:gd name="T50" fmla="*/ 47 w 74"/>
                  <a:gd name="T51" fmla="*/ 80 h 82"/>
                  <a:gd name="T52" fmla="*/ 46 w 74"/>
                  <a:gd name="T53" fmla="*/ 67 h 82"/>
                  <a:gd name="T54" fmla="*/ 47 w 74"/>
                  <a:gd name="T55" fmla="*/ 66 h 82"/>
                  <a:gd name="T56" fmla="*/ 50 w 74"/>
                  <a:gd name="T57" fmla="*/ 73 h 82"/>
                  <a:gd name="T58" fmla="*/ 58 w 74"/>
                  <a:gd name="T59" fmla="*/ 79 h 82"/>
                  <a:gd name="T60" fmla="*/ 59 w 74"/>
                  <a:gd name="T61" fmla="*/ 79 h 82"/>
                  <a:gd name="T62" fmla="*/ 53 w 74"/>
                  <a:gd name="T63" fmla="*/ 57 h 82"/>
                  <a:gd name="T64" fmla="*/ 56 w 74"/>
                  <a:gd name="T65" fmla="*/ 55 h 82"/>
                  <a:gd name="T66" fmla="*/ 56 w 74"/>
                  <a:gd name="T67" fmla="*/ 55 h 82"/>
                  <a:gd name="T68" fmla="*/ 69 w 74"/>
                  <a:gd name="T69" fmla="*/ 69 h 82"/>
                  <a:gd name="T70" fmla="*/ 74 w 74"/>
                  <a:gd name="T71" fmla="*/ 64 h 82"/>
                  <a:gd name="T72" fmla="*/ 55 w 74"/>
                  <a:gd name="T73" fmla="*/ 53 h 82"/>
                  <a:gd name="T74" fmla="*/ 40 w 74"/>
                  <a:gd name="T75" fmla="*/ 46 h 82"/>
                  <a:gd name="T76" fmla="*/ 39 w 74"/>
                  <a:gd name="T77" fmla="*/ 46 h 82"/>
                  <a:gd name="T78" fmla="*/ 38 w 74"/>
                  <a:gd name="T79" fmla="*/ 46 h 82"/>
                  <a:gd name="T80" fmla="*/ 37 w 74"/>
                  <a:gd name="T81" fmla="*/ 44 h 82"/>
                  <a:gd name="T82" fmla="*/ 44 w 74"/>
                  <a:gd name="T83" fmla="*/ 36 h 82"/>
                  <a:gd name="T84" fmla="*/ 46 w 74"/>
                  <a:gd name="T85" fmla="*/ 35 h 82"/>
                  <a:gd name="T86" fmla="*/ 46 w 74"/>
                  <a:gd name="T87" fmla="*/ 35 h 82"/>
                  <a:gd name="T88" fmla="*/ 40 w 74"/>
                  <a:gd name="T89" fmla="*/ 46 h 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74" h="82">
                    <a:moveTo>
                      <a:pt x="55" y="53"/>
                    </a:moveTo>
                    <a:cubicBezTo>
                      <a:pt x="55" y="53"/>
                      <a:pt x="54" y="52"/>
                      <a:pt x="54" y="51"/>
                    </a:cubicBezTo>
                    <a:cubicBezTo>
                      <a:pt x="55" y="51"/>
                      <a:pt x="56" y="50"/>
                      <a:pt x="57" y="49"/>
                    </a:cubicBezTo>
                    <a:cubicBezTo>
                      <a:pt x="57" y="48"/>
                      <a:pt x="56" y="47"/>
                      <a:pt x="56" y="45"/>
                    </a:cubicBezTo>
                    <a:cubicBezTo>
                      <a:pt x="54" y="45"/>
                      <a:pt x="53" y="45"/>
                      <a:pt x="52" y="45"/>
                    </a:cubicBezTo>
                    <a:cubicBezTo>
                      <a:pt x="51" y="45"/>
                      <a:pt x="51" y="44"/>
                      <a:pt x="51" y="44"/>
                    </a:cubicBezTo>
                    <a:cubicBezTo>
                      <a:pt x="53" y="40"/>
                      <a:pt x="59" y="36"/>
                      <a:pt x="60" y="32"/>
                    </a:cubicBezTo>
                    <a:cubicBezTo>
                      <a:pt x="60" y="31"/>
                      <a:pt x="60" y="31"/>
                      <a:pt x="60" y="30"/>
                    </a:cubicBezTo>
                    <a:cubicBezTo>
                      <a:pt x="50" y="21"/>
                      <a:pt x="41" y="31"/>
                      <a:pt x="34" y="38"/>
                    </a:cubicBezTo>
                    <a:cubicBezTo>
                      <a:pt x="33" y="38"/>
                      <a:pt x="33" y="38"/>
                      <a:pt x="33" y="38"/>
                    </a:cubicBezTo>
                    <a:cubicBezTo>
                      <a:pt x="34" y="30"/>
                      <a:pt x="48" y="16"/>
                      <a:pt x="60" y="16"/>
                    </a:cubicBezTo>
                    <a:cubicBezTo>
                      <a:pt x="61" y="14"/>
                      <a:pt x="61" y="12"/>
                      <a:pt x="61" y="10"/>
                    </a:cubicBezTo>
                    <a:cubicBezTo>
                      <a:pt x="50" y="3"/>
                      <a:pt x="52" y="11"/>
                      <a:pt x="42" y="11"/>
                    </a:cubicBezTo>
                    <a:cubicBezTo>
                      <a:pt x="38" y="10"/>
                      <a:pt x="32" y="1"/>
                      <a:pt x="27" y="0"/>
                    </a:cubicBezTo>
                    <a:cubicBezTo>
                      <a:pt x="26" y="0"/>
                      <a:pt x="25" y="0"/>
                      <a:pt x="24" y="0"/>
                    </a:cubicBezTo>
                    <a:cubicBezTo>
                      <a:pt x="21" y="5"/>
                      <a:pt x="30" y="14"/>
                      <a:pt x="29" y="21"/>
                    </a:cubicBezTo>
                    <a:cubicBezTo>
                      <a:pt x="19" y="27"/>
                      <a:pt x="17" y="33"/>
                      <a:pt x="11" y="39"/>
                    </a:cubicBezTo>
                    <a:cubicBezTo>
                      <a:pt x="8" y="42"/>
                      <a:pt x="4" y="42"/>
                      <a:pt x="1" y="44"/>
                    </a:cubicBezTo>
                    <a:cubicBezTo>
                      <a:pt x="1" y="45"/>
                      <a:pt x="0" y="46"/>
                      <a:pt x="0" y="47"/>
                    </a:cubicBezTo>
                    <a:cubicBezTo>
                      <a:pt x="11" y="69"/>
                      <a:pt x="23" y="30"/>
                      <a:pt x="35" y="26"/>
                    </a:cubicBezTo>
                    <a:cubicBezTo>
                      <a:pt x="35" y="26"/>
                      <a:pt x="35" y="26"/>
                      <a:pt x="35" y="26"/>
                    </a:cubicBezTo>
                    <a:cubicBezTo>
                      <a:pt x="33" y="33"/>
                      <a:pt x="28" y="39"/>
                      <a:pt x="30" y="48"/>
                    </a:cubicBezTo>
                    <a:cubicBezTo>
                      <a:pt x="30" y="51"/>
                      <a:pt x="37" y="56"/>
                      <a:pt x="40" y="57"/>
                    </a:cubicBezTo>
                    <a:cubicBezTo>
                      <a:pt x="37" y="64"/>
                      <a:pt x="32" y="69"/>
                      <a:pt x="35" y="78"/>
                    </a:cubicBezTo>
                    <a:cubicBezTo>
                      <a:pt x="39" y="79"/>
                      <a:pt x="42" y="80"/>
                      <a:pt x="45" y="82"/>
                    </a:cubicBezTo>
                    <a:cubicBezTo>
                      <a:pt x="46" y="81"/>
                      <a:pt x="46" y="81"/>
                      <a:pt x="47" y="80"/>
                    </a:cubicBezTo>
                    <a:cubicBezTo>
                      <a:pt x="49" y="77"/>
                      <a:pt x="45" y="70"/>
                      <a:pt x="46" y="67"/>
                    </a:cubicBezTo>
                    <a:cubicBezTo>
                      <a:pt x="46" y="66"/>
                      <a:pt x="46" y="66"/>
                      <a:pt x="47" y="66"/>
                    </a:cubicBezTo>
                    <a:cubicBezTo>
                      <a:pt x="48" y="67"/>
                      <a:pt x="49" y="71"/>
                      <a:pt x="50" y="73"/>
                    </a:cubicBezTo>
                    <a:cubicBezTo>
                      <a:pt x="52" y="76"/>
                      <a:pt x="55" y="77"/>
                      <a:pt x="58" y="79"/>
                    </a:cubicBezTo>
                    <a:cubicBezTo>
                      <a:pt x="58" y="79"/>
                      <a:pt x="58" y="79"/>
                      <a:pt x="59" y="79"/>
                    </a:cubicBezTo>
                    <a:cubicBezTo>
                      <a:pt x="60" y="72"/>
                      <a:pt x="53" y="64"/>
                      <a:pt x="53" y="57"/>
                    </a:cubicBezTo>
                    <a:cubicBezTo>
                      <a:pt x="54" y="56"/>
                      <a:pt x="55" y="56"/>
                      <a:pt x="56" y="55"/>
                    </a:cubicBezTo>
                    <a:cubicBezTo>
                      <a:pt x="56" y="55"/>
                      <a:pt x="56" y="55"/>
                      <a:pt x="56" y="55"/>
                    </a:cubicBezTo>
                    <a:cubicBezTo>
                      <a:pt x="63" y="60"/>
                      <a:pt x="59" y="67"/>
                      <a:pt x="69" y="69"/>
                    </a:cubicBezTo>
                    <a:cubicBezTo>
                      <a:pt x="71" y="67"/>
                      <a:pt x="72" y="66"/>
                      <a:pt x="74" y="64"/>
                    </a:cubicBezTo>
                    <a:cubicBezTo>
                      <a:pt x="71" y="56"/>
                      <a:pt x="63" y="51"/>
                      <a:pt x="55" y="53"/>
                    </a:cubicBezTo>
                    <a:close/>
                    <a:moveTo>
                      <a:pt x="40" y="46"/>
                    </a:moveTo>
                    <a:cubicBezTo>
                      <a:pt x="40" y="46"/>
                      <a:pt x="39" y="46"/>
                      <a:pt x="39" y="46"/>
                    </a:cubicBezTo>
                    <a:cubicBezTo>
                      <a:pt x="38" y="46"/>
                      <a:pt x="38" y="46"/>
                      <a:pt x="38" y="46"/>
                    </a:cubicBezTo>
                    <a:cubicBezTo>
                      <a:pt x="38" y="45"/>
                      <a:pt x="37" y="45"/>
                      <a:pt x="37" y="44"/>
                    </a:cubicBezTo>
                    <a:cubicBezTo>
                      <a:pt x="39" y="41"/>
                      <a:pt x="42" y="39"/>
                      <a:pt x="44" y="36"/>
                    </a:cubicBezTo>
                    <a:cubicBezTo>
                      <a:pt x="45" y="36"/>
                      <a:pt x="45" y="35"/>
                      <a:pt x="46" y="35"/>
                    </a:cubicBezTo>
                    <a:cubicBezTo>
                      <a:pt x="46" y="35"/>
                      <a:pt x="46" y="35"/>
                      <a:pt x="46" y="35"/>
                    </a:cubicBezTo>
                    <a:cubicBezTo>
                      <a:pt x="44" y="39"/>
                      <a:pt x="42" y="42"/>
                      <a:pt x="40" y="4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192" name="ïşḻíḍe"/>
              <p:cNvSpPr/>
              <p:nvPr/>
            </p:nvSpPr>
            <p:spPr bwMode="auto">
              <a:xfrm>
                <a:off x="1882672" y="4669428"/>
                <a:ext cx="160338" cy="169863"/>
              </a:xfrm>
              <a:custGeom>
                <a:avLst/>
                <a:gdLst>
                  <a:gd name="T0" fmla="*/ 29 w 87"/>
                  <a:gd name="T1" fmla="*/ 8 h 92"/>
                  <a:gd name="T2" fmla="*/ 52 w 87"/>
                  <a:gd name="T3" fmla="*/ 17 h 92"/>
                  <a:gd name="T4" fmla="*/ 61 w 87"/>
                  <a:gd name="T5" fmla="*/ 16 h 92"/>
                  <a:gd name="T6" fmla="*/ 62 w 87"/>
                  <a:gd name="T7" fmla="*/ 17 h 92"/>
                  <a:gd name="T8" fmla="*/ 69 w 87"/>
                  <a:gd name="T9" fmla="*/ 42 h 92"/>
                  <a:gd name="T10" fmla="*/ 86 w 87"/>
                  <a:gd name="T11" fmla="*/ 35 h 92"/>
                  <a:gd name="T12" fmla="*/ 87 w 87"/>
                  <a:gd name="T13" fmla="*/ 39 h 92"/>
                  <a:gd name="T14" fmla="*/ 76 w 87"/>
                  <a:gd name="T15" fmla="*/ 55 h 92"/>
                  <a:gd name="T16" fmla="*/ 67 w 87"/>
                  <a:gd name="T17" fmla="*/ 76 h 92"/>
                  <a:gd name="T18" fmla="*/ 65 w 87"/>
                  <a:gd name="T19" fmla="*/ 74 h 92"/>
                  <a:gd name="T20" fmla="*/ 69 w 87"/>
                  <a:gd name="T21" fmla="*/ 53 h 92"/>
                  <a:gd name="T22" fmla="*/ 55 w 87"/>
                  <a:gd name="T23" fmla="*/ 40 h 92"/>
                  <a:gd name="T24" fmla="*/ 45 w 87"/>
                  <a:gd name="T25" fmla="*/ 44 h 92"/>
                  <a:gd name="T26" fmla="*/ 46 w 87"/>
                  <a:gd name="T27" fmla="*/ 89 h 92"/>
                  <a:gd name="T28" fmla="*/ 38 w 87"/>
                  <a:gd name="T29" fmla="*/ 92 h 92"/>
                  <a:gd name="T30" fmla="*/ 27 w 87"/>
                  <a:gd name="T31" fmla="*/ 68 h 92"/>
                  <a:gd name="T32" fmla="*/ 14 w 87"/>
                  <a:gd name="T33" fmla="*/ 70 h 92"/>
                  <a:gd name="T34" fmla="*/ 12 w 87"/>
                  <a:gd name="T35" fmla="*/ 65 h 92"/>
                  <a:gd name="T36" fmla="*/ 18 w 87"/>
                  <a:gd name="T37" fmla="*/ 58 h 92"/>
                  <a:gd name="T38" fmla="*/ 0 w 87"/>
                  <a:gd name="T39" fmla="*/ 42 h 92"/>
                  <a:gd name="T40" fmla="*/ 0 w 87"/>
                  <a:gd name="T41" fmla="*/ 42 h 92"/>
                  <a:gd name="T42" fmla="*/ 21 w 87"/>
                  <a:gd name="T43" fmla="*/ 39 h 92"/>
                  <a:gd name="T44" fmla="*/ 27 w 87"/>
                  <a:gd name="T45" fmla="*/ 48 h 92"/>
                  <a:gd name="T46" fmla="*/ 34 w 87"/>
                  <a:gd name="T47" fmla="*/ 52 h 92"/>
                  <a:gd name="T48" fmla="*/ 36 w 87"/>
                  <a:gd name="T49" fmla="*/ 62 h 92"/>
                  <a:gd name="T50" fmla="*/ 39 w 87"/>
                  <a:gd name="T51" fmla="*/ 44 h 92"/>
                  <a:gd name="T52" fmla="*/ 46 w 87"/>
                  <a:gd name="T53" fmla="*/ 28 h 92"/>
                  <a:gd name="T54" fmla="*/ 29 w 87"/>
                  <a:gd name="T55" fmla="*/ 8 h 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87" h="92">
                    <a:moveTo>
                      <a:pt x="29" y="8"/>
                    </a:moveTo>
                    <a:cubicBezTo>
                      <a:pt x="42" y="0"/>
                      <a:pt x="43" y="12"/>
                      <a:pt x="52" y="17"/>
                    </a:cubicBezTo>
                    <a:cubicBezTo>
                      <a:pt x="55" y="15"/>
                      <a:pt x="58" y="15"/>
                      <a:pt x="61" y="16"/>
                    </a:cubicBezTo>
                    <a:cubicBezTo>
                      <a:pt x="61" y="16"/>
                      <a:pt x="62" y="17"/>
                      <a:pt x="62" y="17"/>
                    </a:cubicBezTo>
                    <a:cubicBezTo>
                      <a:pt x="62" y="26"/>
                      <a:pt x="58" y="33"/>
                      <a:pt x="69" y="42"/>
                    </a:cubicBezTo>
                    <a:cubicBezTo>
                      <a:pt x="75" y="35"/>
                      <a:pt x="80" y="33"/>
                      <a:pt x="86" y="35"/>
                    </a:cubicBezTo>
                    <a:cubicBezTo>
                      <a:pt x="87" y="36"/>
                      <a:pt x="87" y="38"/>
                      <a:pt x="87" y="39"/>
                    </a:cubicBezTo>
                    <a:cubicBezTo>
                      <a:pt x="83" y="45"/>
                      <a:pt x="80" y="50"/>
                      <a:pt x="76" y="55"/>
                    </a:cubicBezTo>
                    <a:cubicBezTo>
                      <a:pt x="71" y="62"/>
                      <a:pt x="71" y="70"/>
                      <a:pt x="67" y="76"/>
                    </a:cubicBezTo>
                    <a:cubicBezTo>
                      <a:pt x="66" y="75"/>
                      <a:pt x="66" y="75"/>
                      <a:pt x="65" y="74"/>
                    </a:cubicBezTo>
                    <a:cubicBezTo>
                      <a:pt x="63" y="66"/>
                      <a:pt x="67" y="60"/>
                      <a:pt x="69" y="53"/>
                    </a:cubicBezTo>
                    <a:cubicBezTo>
                      <a:pt x="64" y="51"/>
                      <a:pt x="60" y="46"/>
                      <a:pt x="55" y="40"/>
                    </a:cubicBezTo>
                    <a:cubicBezTo>
                      <a:pt x="52" y="42"/>
                      <a:pt x="49" y="41"/>
                      <a:pt x="45" y="44"/>
                    </a:cubicBezTo>
                    <a:cubicBezTo>
                      <a:pt x="40" y="59"/>
                      <a:pt x="48" y="75"/>
                      <a:pt x="46" y="89"/>
                    </a:cubicBezTo>
                    <a:cubicBezTo>
                      <a:pt x="43" y="92"/>
                      <a:pt x="41" y="91"/>
                      <a:pt x="38" y="92"/>
                    </a:cubicBezTo>
                    <a:cubicBezTo>
                      <a:pt x="31" y="83"/>
                      <a:pt x="33" y="76"/>
                      <a:pt x="27" y="68"/>
                    </a:cubicBezTo>
                    <a:cubicBezTo>
                      <a:pt x="23" y="71"/>
                      <a:pt x="18" y="71"/>
                      <a:pt x="14" y="70"/>
                    </a:cubicBezTo>
                    <a:cubicBezTo>
                      <a:pt x="12" y="68"/>
                      <a:pt x="12" y="67"/>
                      <a:pt x="12" y="65"/>
                    </a:cubicBezTo>
                    <a:cubicBezTo>
                      <a:pt x="14" y="63"/>
                      <a:pt x="16" y="60"/>
                      <a:pt x="18" y="58"/>
                    </a:cubicBezTo>
                    <a:cubicBezTo>
                      <a:pt x="13" y="49"/>
                      <a:pt x="3" y="48"/>
                      <a:pt x="0" y="42"/>
                    </a:cubicBezTo>
                    <a:cubicBezTo>
                      <a:pt x="0" y="42"/>
                      <a:pt x="0" y="42"/>
                      <a:pt x="0" y="42"/>
                    </a:cubicBezTo>
                    <a:cubicBezTo>
                      <a:pt x="6" y="39"/>
                      <a:pt x="15" y="35"/>
                      <a:pt x="21" y="39"/>
                    </a:cubicBezTo>
                    <a:cubicBezTo>
                      <a:pt x="23" y="42"/>
                      <a:pt x="25" y="45"/>
                      <a:pt x="27" y="48"/>
                    </a:cubicBezTo>
                    <a:cubicBezTo>
                      <a:pt x="29" y="50"/>
                      <a:pt x="31" y="51"/>
                      <a:pt x="34" y="52"/>
                    </a:cubicBezTo>
                    <a:cubicBezTo>
                      <a:pt x="34" y="55"/>
                      <a:pt x="35" y="58"/>
                      <a:pt x="36" y="62"/>
                    </a:cubicBezTo>
                    <a:cubicBezTo>
                      <a:pt x="39" y="56"/>
                      <a:pt x="38" y="50"/>
                      <a:pt x="39" y="44"/>
                    </a:cubicBezTo>
                    <a:cubicBezTo>
                      <a:pt x="42" y="39"/>
                      <a:pt x="44" y="34"/>
                      <a:pt x="46" y="28"/>
                    </a:cubicBezTo>
                    <a:cubicBezTo>
                      <a:pt x="42" y="22"/>
                      <a:pt x="31" y="15"/>
                      <a:pt x="29" y="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193" name="íṩľíḑè"/>
              <p:cNvSpPr/>
              <p:nvPr/>
            </p:nvSpPr>
            <p:spPr bwMode="auto">
              <a:xfrm>
                <a:off x="2243034" y="6066428"/>
                <a:ext cx="22225" cy="25400"/>
              </a:xfrm>
              <a:custGeom>
                <a:avLst/>
                <a:gdLst>
                  <a:gd name="T0" fmla="*/ 0 w 14"/>
                  <a:gd name="T1" fmla="*/ 12 h 16"/>
                  <a:gd name="T2" fmla="*/ 2 w 14"/>
                  <a:gd name="T3" fmla="*/ 0 h 16"/>
                  <a:gd name="T4" fmla="*/ 14 w 14"/>
                  <a:gd name="T5" fmla="*/ 4 h 16"/>
                  <a:gd name="T6" fmla="*/ 11 w 14"/>
                  <a:gd name="T7" fmla="*/ 16 h 16"/>
                  <a:gd name="T8" fmla="*/ 0 w 14"/>
                  <a:gd name="T9" fmla="*/ 12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4" h="16">
                    <a:moveTo>
                      <a:pt x="0" y="12"/>
                    </a:moveTo>
                    <a:lnTo>
                      <a:pt x="2" y="0"/>
                    </a:lnTo>
                    <a:lnTo>
                      <a:pt x="14" y="4"/>
                    </a:lnTo>
                    <a:lnTo>
                      <a:pt x="11" y="16"/>
                    </a:lnTo>
                    <a:lnTo>
                      <a:pt x="0" y="1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194" name="îṣḷïḓê"/>
              <p:cNvSpPr/>
              <p:nvPr/>
            </p:nvSpPr>
            <p:spPr bwMode="auto">
              <a:xfrm>
                <a:off x="2292247" y="6042615"/>
                <a:ext cx="49213" cy="100013"/>
              </a:xfrm>
              <a:custGeom>
                <a:avLst/>
                <a:gdLst>
                  <a:gd name="T0" fmla="*/ 17 w 27"/>
                  <a:gd name="T1" fmla="*/ 54 h 54"/>
                  <a:gd name="T2" fmla="*/ 7 w 27"/>
                  <a:gd name="T3" fmla="*/ 52 h 54"/>
                  <a:gd name="T4" fmla="*/ 14 w 27"/>
                  <a:gd name="T5" fmla="*/ 15 h 54"/>
                  <a:gd name="T6" fmla="*/ 0 w 27"/>
                  <a:gd name="T7" fmla="*/ 20 h 54"/>
                  <a:gd name="T8" fmla="*/ 1 w 27"/>
                  <a:gd name="T9" fmla="*/ 11 h 54"/>
                  <a:gd name="T10" fmla="*/ 11 w 27"/>
                  <a:gd name="T11" fmla="*/ 7 h 54"/>
                  <a:gd name="T12" fmla="*/ 18 w 27"/>
                  <a:gd name="T13" fmla="*/ 0 h 54"/>
                  <a:gd name="T14" fmla="*/ 27 w 27"/>
                  <a:gd name="T15" fmla="*/ 2 h 54"/>
                  <a:gd name="T16" fmla="*/ 17 w 27"/>
                  <a:gd name="T17" fmla="*/ 54 h 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7" h="54">
                    <a:moveTo>
                      <a:pt x="17" y="54"/>
                    </a:moveTo>
                    <a:cubicBezTo>
                      <a:pt x="7" y="52"/>
                      <a:pt x="7" y="52"/>
                      <a:pt x="7" y="52"/>
                    </a:cubicBezTo>
                    <a:cubicBezTo>
                      <a:pt x="14" y="15"/>
                      <a:pt x="14" y="15"/>
                      <a:pt x="14" y="15"/>
                    </a:cubicBezTo>
                    <a:cubicBezTo>
                      <a:pt x="10" y="17"/>
                      <a:pt x="5" y="19"/>
                      <a:pt x="0" y="20"/>
                    </a:cubicBezTo>
                    <a:cubicBezTo>
                      <a:pt x="1" y="11"/>
                      <a:pt x="1" y="11"/>
                      <a:pt x="1" y="11"/>
                    </a:cubicBezTo>
                    <a:cubicBezTo>
                      <a:pt x="4" y="10"/>
                      <a:pt x="7" y="9"/>
                      <a:pt x="11" y="7"/>
                    </a:cubicBezTo>
                    <a:cubicBezTo>
                      <a:pt x="14" y="6"/>
                      <a:pt x="17" y="3"/>
                      <a:pt x="18" y="0"/>
                    </a:cubicBezTo>
                    <a:cubicBezTo>
                      <a:pt x="27" y="2"/>
                      <a:pt x="27" y="2"/>
                      <a:pt x="27" y="2"/>
                    </a:cubicBezTo>
                    <a:lnTo>
                      <a:pt x="17" y="5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195" name="i$ḻîḓé"/>
              <p:cNvSpPr/>
              <p:nvPr/>
            </p:nvSpPr>
            <p:spPr bwMode="auto">
              <a:xfrm>
                <a:off x="2363684" y="6052140"/>
                <a:ext cx="66675" cy="100013"/>
              </a:xfrm>
              <a:custGeom>
                <a:avLst/>
                <a:gdLst>
                  <a:gd name="T0" fmla="*/ 0 w 36"/>
                  <a:gd name="T1" fmla="*/ 40 h 54"/>
                  <a:gd name="T2" fmla="*/ 10 w 36"/>
                  <a:gd name="T3" fmla="*/ 39 h 54"/>
                  <a:gd name="T4" fmla="*/ 11 w 36"/>
                  <a:gd name="T5" fmla="*/ 44 h 54"/>
                  <a:gd name="T6" fmla="*/ 15 w 36"/>
                  <a:gd name="T7" fmla="*/ 46 h 54"/>
                  <a:gd name="T8" fmla="*/ 21 w 36"/>
                  <a:gd name="T9" fmla="*/ 43 h 54"/>
                  <a:gd name="T10" fmla="*/ 24 w 36"/>
                  <a:gd name="T11" fmla="*/ 31 h 54"/>
                  <a:gd name="T12" fmla="*/ 15 w 36"/>
                  <a:gd name="T13" fmla="*/ 35 h 54"/>
                  <a:gd name="T14" fmla="*/ 4 w 36"/>
                  <a:gd name="T15" fmla="*/ 30 h 54"/>
                  <a:gd name="T16" fmla="*/ 0 w 36"/>
                  <a:gd name="T17" fmla="*/ 17 h 54"/>
                  <a:gd name="T18" fmla="*/ 6 w 36"/>
                  <a:gd name="T19" fmla="*/ 4 h 54"/>
                  <a:gd name="T20" fmla="*/ 19 w 36"/>
                  <a:gd name="T21" fmla="*/ 0 h 54"/>
                  <a:gd name="T22" fmla="*/ 31 w 36"/>
                  <a:gd name="T23" fmla="*/ 7 h 54"/>
                  <a:gd name="T24" fmla="*/ 35 w 36"/>
                  <a:gd name="T25" fmla="*/ 28 h 54"/>
                  <a:gd name="T26" fmla="*/ 28 w 36"/>
                  <a:gd name="T27" fmla="*/ 49 h 54"/>
                  <a:gd name="T28" fmla="*/ 14 w 36"/>
                  <a:gd name="T29" fmla="*/ 54 h 54"/>
                  <a:gd name="T30" fmla="*/ 4 w 36"/>
                  <a:gd name="T31" fmla="*/ 50 h 54"/>
                  <a:gd name="T32" fmla="*/ 0 w 36"/>
                  <a:gd name="T33" fmla="*/ 40 h 54"/>
                  <a:gd name="T34" fmla="*/ 24 w 36"/>
                  <a:gd name="T35" fmla="*/ 19 h 54"/>
                  <a:gd name="T36" fmla="*/ 23 w 36"/>
                  <a:gd name="T37" fmla="*/ 11 h 54"/>
                  <a:gd name="T38" fmla="*/ 18 w 36"/>
                  <a:gd name="T39" fmla="*/ 8 h 54"/>
                  <a:gd name="T40" fmla="*/ 13 w 36"/>
                  <a:gd name="T41" fmla="*/ 10 h 54"/>
                  <a:gd name="T42" fmla="*/ 10 w 36"/>
                  <a:gd name="T43" fmla="*/ 17 h 54"/>
                  <a:gd name="T44" fmla="*/ 12 w 36"/>
                  <a:gd name="T45" fmla="*/ 25 h 54"/>
                  <a:gd name="T46" fmla="*/ 17 w 36"/>
                  <a:gd name="T47" fmla="*/ 28 h 54"/>
                  <a:gd name="T48" fmla="*/ 22 w 36"/>
                  <a:gd name="T49" fmla="*/ 26 h 54"/>
                  <a:gd name="T50" fmla="*/ 24 w 36"/>
                  <a:gd name="T51" fmla="*/ 19 h 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6" h="54">
                    <a:moveTo>
                      <a:pt x="0" y="40"/>
                    </a:moveTo>
                    <a:cubicBezTo>
                      <a:pt x="10" y="39"/>
                      <a:pt x="10" y="39"/>
                      <a:pt x="10" y="39"/>
                    </a:cubicBezTo>
                    <a:cubicBezTo>
                      <a:pt x="10" y="41"/>
                      <a:pt x="10" y="43"/>
                      <a:pt x="11" y="44"/>
                    </a:cubicBezTo>
                    <a:cubicBezTo>
                      <a:pt x="12" y="45"/>
                      <a:pt x="14" y="46"/>
                      <a:pt x="15" y="46"/>
                    </a:cubicBezTo>
                    <a:cubicBezTo>
                      <a:pt x="17" y="46"/>
                      <a:pt x="19" y="45"/>
                      <a:pt x="21" y="43"/>
                    </a:cubicBezTo>
                    <a:cubicBezTo>
                      <a:pt x="22" y="41"/>
                      <a:pt x="24" y="37"/>
                      <a:pt x="24" y="31"/>
                    </a:cubicBezTo>
                    <a:cubicBezTo>
                      <a:pt x="22" y="34"/>
                      <a:pt x="18" y="35"/>
                      <a:pt x="15" y="35"/>
                    </a:cubicBezTo>
                    <a:cubicBezTo>
                      <a:pt x="10" y="35"/>
                      <a:pt x="7" y="33"/>
                      <a:pt x="4" y="30"/>
                    </a:cubicBezTo>
                    <a:cubicBezTo>
                      <a:pt x="1" y="26"/>
                      <a:pt x="0" y="22"/>
                      <a:pt x="0" y="17"/>
                    </a:cubicBezTo>
                    <a:cubicBezTo>
                      <a:pt x="1" y="11"/>
                      <a:pt x="3" y="7"/>
                      <a:pt x="6" y="4"/>
                    </a:cubicBezTo>
                    <a:cubicBezTo>
                      <a:pt x="10" y="1"/>
                      <a:pt x="14" y="0"/>
                      <a:pt x="19" y="0"/>
                    </a:cubicBezTo>
                    <a:cubicBezTo>
                      <a:pt x="24" y="0"/>
                      <a:pt x="28" y="3"/>
                      <a:pt x="31" y="7"/>
                    </a:cubicBezTo>
                    <a:cubicBezTo>
                      <a:pt x="35" y="12"/>
                      <a:pt x="36" y="19"/>
                      <a:pt x="35" y="28"/>
                    </a:cubicBezTo>
                    <a:cubicBezTo>
                      <a:pt x="34" y="38"/>
                      <a:pt x="32" y="44"/>
                      <a:pt x="28" y="49"/>
                    </a:cubicBezTo>
                    <a:cubicBezTo>
                      <a:pt x="24" y="53"/>
                      <a:pt x="20" y="54"/>
                      <a:pt x="14" y="54"/>
                    </a:cubicBezTo>
                    <a:cubicBezTo>
                      <a:pt x="10" y="54"/>
                      <a:pt x="7" y="52"/>
                      <a:pt x="4" y="50"/>
                    </a:cubicBezTo>
                    <a:cubicBezTo>
                      <a:pt x="2" y="48"/>
                      <a:pt x="0" y="44"/>
                      <a:pt x="0" y="40"/>
                    </a:cubicBezTo>
                    <a:close/>
                    <a:moveTo>
                      <a:pt x="24" y="19"/>
                    </a:moveTo>
                    <a:cubicBezTo>
                      <a:pt x="25" y="16"/>
                      <a:pt x="24" y="13"/>
                      <a:pt x="23" y="11"/>
                    </a:cubicBezTo>
                    <a:cubicBezTo>
                      <a:pt x="21" y="10"/>
                      <a:pt x="20" y="9"/>
                      <a:pt x="18" y="8"/>
                    </a:cubicBezTo>
                    <a:cubicBezTo>
                      <a:pt x="16" y="8"/>
                      <a:pt x="14" y="9"/>
                      <a:pt x="13" y="10"/>
                    </a:cubicBezTo>
                    <a:cubicBezTo>
                      <a:pt x="11" y="12"/>
                      <a:pt x="11" y="14"/>
                      <a:pt x="10" y="17"/>
                    </a:cubicBezTo>
                    <a:cubicBezTo>
                      <a:pt x="10" y="21"/>
                      <a:pt x="11" y="23"/>
                      <a:pt x="12" y="25"/>
                    </a:cubicBezTo>
                    <a:cubicBezTo>
                      <a:pt x="13" y="27"/>
                      <a:pt x="15" y="28"/>
                      <a:pt x="17" y="28"/>
                    </a:cubicBezTo>
                    <a:cubicBezTo>
                      <a:pt x="19" y="28"/>
                      <a:pt x="20" y="27"/>
                      <a:pt x="22" y="26"/>
                    </a:cubicBezTo>
                    <a:cubicBezTo>
                      <a:pt x="23" y="24"/>
                      <a:pt x="24" y="22"/>
                      <a:pt x="24" y="1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196" name="îṧľîḋé"/>
              <p:cNvSpPr/>
              <p:nvPr/>
            </p:nvSpPr>
            <p:spPr bwMode="auto">
              <a:xfrm>
                <a:off x="2446234" y="6053728"/>
                <a:ext cx="66675" cy="100013"/>
              </a:xfrm>
              <a:custGeom>
                <a:avLst/>
                <a:gdLst>
                  <a:gd name="T0" fmla="*/ 0 w 36"/>
                  <a:gd name="T1" fmla="*/ 40 h 54"/>
                  <a:gd name="T2" fmla="*/ 10 w 36"/>
                  <a:gd name="T3" fmla="*/ 39 h 54"/>
                  <a:gd name="T4" fmla="*/ 13 w 36"/>
                  <a:gd name="T5" fmla="*/ 44 h 54"/>
                  <a:gd name="T6" fmla="*/ 18 w 36"/>
                  <a:gd name="T7" fmla="*/ 46 h 54"/>
                  <a:gd name="T8" fmla="*/ 23 w 36"/>
                  <a:gd name="T9" fmla="*/ 43 h 54"/>
                  <a:gd name="T10" fmla="*/ 25 w 36"/>
                  <a:gd name="T11" fmla="*/ 35 h 54"/>
                  <a:gd name="T12" fmla="*/ 23 w 36"/>
                  <a:gd name="T13" fmla="*/ 28 h 54"/>
                  <a:gd name="T14" fmla="*/ 17 w 36"/>
                  <a:gd name="T15" fmla="*/ 26 h 54"/>
                  <a:gd name="T16" fmla="*/ 9 w 36"/>
                  <a:gd name="T17" fmla="*/ 30 h 54"/>
                  <a:gd name="T18" fmla="*/ 1 w 36"/>
                  <a:gd name="T19" fmla="*/ 29 h 54"/>
                  <a:gd name="T20" fmla="*/ 5 w 36"/>
                  <a:gd name="T21" fmla="*/ 1 h 54"/>
                  <a:gd name="T22" fmla="*/ 32 w 36"/>
                  <a:gd name="T23" fmla="*/ 0 h 54"/>
                  <a:gd name="T24" fmla="*/ 32 w 36"/>
                  <a:gd name="T25" fmla="*/ 10 h 54"/>
                  <a:gd name="T26" fmla="*/ 13 w 36"/>
                  <a:gd name="T27" fmla="*/ 10 h 54"/>
                  <a:gd name="T28" fmla="*/ 12 w 36"/>
                  <a:gd name="T29" fmla="*/ 19 h 54"/>
                  <a:gd name="T30" fmla="*/ 19 w 36"/>
                  <a:gd name="T31" fmla="*/ 17 h 54"/>
                  <a:gd name="T32" fmla="*/ 30 w 36"/>
                  <a:gd name="T33" fmla="*/ 22 h 54"/>
                  <a:gd name="T34" fmla="*/ 36 w 36"/>
                  <a:gd name="T35" fmla="*/ 34 h 54"/>
                  <a:gd name="T36" fmla="*/ 32 w 36"/>
                  <a:gd name="T37" fmla="*/ 46 h 54"/>
                  <a:gd name="T38" fmla="*/ 18 w 36"/>
                  <a:gd name="T39" fmla="*/ 54 h 54"/>
                  <a:gd name="T40" fmla="*/ 6 w 36"/>
                  <a:gd name="T41" fmla="*/ 50 h 54"/>
                  <a:gd name="T42" fmla="*/ 0 w 36"/>
                  <a:gd name="T43" fmla="*/ 40 h 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36" h="54">
                    <a:moveTo>
                      <a:pt x="0" y="40"/>
                    </a:moveTo>
                    <a:cubicBezTo>
                      <a:pt x="10" y="39"/>
                      <a:pt x="10" y="39"/>
                      <a:pt x="10" y="39"/>
                    </a:cubicBezTo>
                    <a:cubicBezTo>
                      <a:pt x="11" y="41"/>
                      <a:pt x="11" y="43"/>
                      <a:pt x="13" y="44"/>
                    </a:cubicBezTo>
                    <a:cubicBezTo>
                      <a:pt x="14" y="45"/>
                      <a:pt x="16" y="46"/>
                      <a:pt x="18" y="46"/>
                    </a:cubicBezTo>
                    <a:cubicBezTo>
                      <a:pt x="20" y="46"/>
                      <a:pt x="22" y="45"/>
                      <a:pt x="23" y="43"/>
                    </a:cubicBezTo>
                    <a:cubicBezTo>
                      <a:pt x="25" y="41"/>
                      <a:pt x="25" y="38"/>
                      <a:pt x="25" y="35"/>
                    </a:cubicBezTo>
                    <a:cubicBezTo>
                      <a:pt x="25" y="32"/>
                      <a:pt x="24" y="29"/>
                      <a:pt x="23" y="28"/>
                    </a:cubicBezTo>
                    <a:cubicBezTo>
                      <a:pt x="21" y="26"/>
                      <a:pt x="19" y="25"/>
                      <a:pt x="17" y="26"/>
                    </a:cubicBezTo>
                    <a:cubicBezTo>
                      <a:pt x="14" y="26"/>
                      <a:pt x="11" y="27"/>
                      <a:pt x="9" y="30"/>
                    </a:cubicBezTo>
                    <a:cubicBezTo>
                      <a:pt x="1" y="29"/>
                      <a:pt x="1" y="29"/>
                      <a:pt x="1" y="29"/>
                    </a:cubicBezTo>
                    <a:cubicBezTo>
                      <a:pt x="5" y="1"/>
                      <a:pt x="5" y="1"/>
                      <a:pt x="5" y="1"/>
                    </a:cubicBezTo>
                    <a:cubicBezTo>
                      <a:pt x="32" y="0"/>
                      <a:pt x="32" y="0"/>
                      <a:pt x="32" y="0"/>
                    </a:cubicBezTo>
                    <a:cubicBezTo>
                      <a:pt x="32" y="10"/>
                      <a:pt x="32" y="10"/>
                      <a:pt x="32" y="10"/>
                    </a:cubicBezTo>
                    <a:cubicBezTo>
                      <a:pt x="13" y="10"/>
                      <a:pt x="13" y="10"/>
                      <a:pt x="13" y="10"/>
                    </a:cubicBezTo>
                    <a:cubicBezTo>
                      <a:pt x="12" y="19"/>
                      <a:pt x="12" y="19"/>
                      <a:pt x="12" y="19"/>
                    </a:cubicBezTo>
                    <a:cubicBezTo>
                      <a:pt x="14" y="18"/>
                      <a:pt x="16" y="17"/>
                      <a:pt x="19" y="17"/>
                    </a:cubicBezTo>
                    <a:cubicBezTo>
                      <a:pt x="23" y="17"/>
                      <a:pt x="27" y="19"/>
                      <a:pt x="30" y="22"/>
                    </a:cubicBezTo>
                    <a:cubicBezTo>
                      <a:pt x="34" y="25"/>
                      <a:pt x="35" y="29"/>
                      <a:pt x="36" y="34"/>
                    </a:cubicBezTo>
                    <a:cubicBezTo>
                      <a:pt x="36" y="39"/>
                      <a:pt x="35" y="43"/>
                      <a:pt x="32" y="46"/>
                    </a:cubicBezTo>
                    <a:cubicBezTo>
                      <a:pt x="29" y="51"/>
                      <a:pt x="24" y="54"/>
                      <a:pt x="18" y="54"/>
                    </a:cubicBezTo>
                    <a:cubicBezTo>
                      <a:pt x="13" y="54"/>
                      <a:pt x="9" y="53"/>
                      <a:pt x="6" y="50"/>
                    </a:cubicBezTo>
                    <a:cubicBezTo>
                      <a:pt x="3" y="48"/>
                      <a:pt x="1" y="44"/>
                      <a:pt x="0" y="4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197" name="i$ḻïḑê"/>
              <p:cNvSpPr/>
              <p:nvPr/>
            </p:nvSpPr>
            <p:spPr bwMode="auto">
              <a:xfrm>
                <a:off x="2522434" y="6045790"/>
                <a:ext cx="74613" cy="103188"/>
              </a:xfrm>
              <a:custGeom>
                <a:avLst/>
                <a:gdLst>
                  <a:gd name="T0" fmla="*/ 39 w 40"/>
                  <a:gd name="T1" fmla="*/ 42 h 56"/>
                  <a:gd name="T2" fmla="*/ 40 w 40"/>
                  <a:gd name="T3" fmla="*/ 51 h 56"/>
                  <a:gd name="T4" fmla="*/ 5 w 40"/>
                  <a:gd name="T5" fmla="*/ 56 h 56"/>
                  <a:gd name="T6" fmla="*/ 7 w 40"/>
                  <a:gd name="T7" fmla="*/ 46 h 56"/>
                  <a:gd name="T8" fmla="*/ 16 w 40"/>
                  <a:gd name="T9" fmla="*/ 32 h 56"/>
                  <a:gd name="T10" fmla="*/ 23 w 40"/>
                  <a:gd name="T11" fmla="*/ 22 h 56"/>
                  <a:gd name="T12" fmla="*/ 24 w 40"/>
                  <a:gd name="T13" fmla="*/ 15 h 56"/>
                  <a:gd name="T14" fmla="*/ 22 w 40"/>
                  <a:gd name="T15" fmla="*/ 10 h 56"/>
                  <a:gd name="T16" fmla="*/ 17 w 40"/>
                  <a:gd name="T17" fmla="*/ 9 h 56"/>
                  <a:gd name="T18" fmla="*/ 12 w 40"/>
                  <a:gd name="T19" fmla="*/ 12 h 56"/>
                  <a:gd name="T20" fmla="*/ 11 w 40"/>
                  <a:gd name="T21" fmla="*/ 19 h 56"/>
                  <a:gd name="T22" fmla="*/ 1 w 40"/>
                  <a:gd name="T23" fmla="*/ 19 h 56"/>
                  <a:gd name="T24" fmla="*/ 4 w 40"/>
                  <a:gd name="T25" fmla="*/ 6 h 56"/>
                  <a:gd name="T26" fmla="*/ 16 w 40"/>
                  <a:gd name="T27" fmla="*/ 1 h 56"/>
                  <a:gd name="T28" fmla="*/ 28 w 40"/>
                  <a:gd name="T29" fmla="*/ 3 h 56"/>
                  <a:gd name="T30" fmla="*/ 34 w 40"/>
                  <a:gd name="T31" fmla="*/ 13 h 56"/>
                  <a:gd name="T32" fmla="*/ 34 w 40"/>
                  <a:gd name="T33" fmla="*/ 20 h 56"/>
                  <a:gd name="T34" fmla="*/ 31 w 40"/>
                  <a:gd name="T35" fmla="*/ 27 h 56"/>
                  <a:gd name="T36" fmla="*/ 26 w 40"/>
                  <a:gd name="T37" fmla="*/ 35 h 56"/>
                  <a:gd name="T38" fmla="*/ 20 w 40"/>
                  <a:gd name="T39" fmla="*/ 42 h 56"/>
                  <a:gd name="T40" fmla="*/ 19 w 40"/>
                  <a:gd name="T41" fmla="*/ 45 h 56"/>
                  <a:gd name="T42" fmla="*/ 39 w 40"/>
                  <a:gd name="T43" fmla="*/ 42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40" h="56">
                    <a:moveTo>
                      <a:pt x="39" y="42"/>
                    </a:moveTo>
                    <a:cubicBezTo>
                      <a:pt x="40" y="51"/>
                      <a:pt x="40" y="51"/>
                      <a:pt x="40" y="51"/>
                    </a:cubicBezTo>
                    <a:cubicBezTo>
                      <a:pt x="5" y="56"/>
                      <a:pt x="5" y="56"/>
                      <a:pt x="5" y="56"/>
                    </a:cubicBezTo>
                    <a:cubicBezTo>
                      <a:pt x="5" y="53"/>
                      <a:pt x="5" y="49"/>
                      <a:pt x="7" y="46"/>
                    </a:cubicBezTo>
                    <a:cubicBezTo>
                      <a:pt x="8" y="42"/>
                      <a:pt x="11" y="38"/>
                      <a:pt x="16" y="32"/>
                    </a:cubicBezTo>
                    <a:cubicBezTo>
                      <a:pt x="20" y="27"/>
                      <a:pt x="22" y="23"/>
                      <a:pt x="23" y="22"/>
                    </a:cubicBezTo>
                    <a:cubicBezTo>
                      <a:pt x="24" y="19"/>
                      <a:pt x="25" y="17"/>
                      <a:pt x="24" y="15"/>
                    </a:cubicBezTo>
                    <a:cubicBezTo>
                      <a:pt x="24" y="13"/>
                      <a:pt x="23" y="11"/>
                      <a:pt x="22" y="10"/>
                    </a:cubicBezTo>
                    <a:cubicBezTo>
                      <a:pt x="21" y="9"/>
                      <a:pt x="19" y="9"/>
                      <a:pt x="17" y="9"/>
                    </a:cubicBezTo>
                    <a:cubicBezTo>
                      <a:pt x="15" y="10"/>
                      <a:pt x="13" y="11"/>
                      <a:pt x="12" y="12"/>
                    </a:cubicBezTo>
                    <a:cubicBezTo>
                      <a:pt x="11" y="13"/>
                      <a:pt x="10" y="16"/>
                      <a:pt x="11" y="19"/>
                    </a:cubicBezTo>
                    <a:cubicBezTo>
                      <a:pt x="1" y="19"/>
                      <a:pt x="1" y="19"/>
                      <a:pt x="1" y="19"/>
                    </a:cubicBezTo>
                    <a:cubicBezTo>
                      <a:pt x="0" y="13"/>
                      <a:pt x="2" y="9"/>
                      <a:pt x="4" y="6"/>
                    </a:cubicBezTo>
                    <a:cubicBezTo>
                      <a:pt x="7" y="3"/>
                      <a:pt x="11" y="2"/>
                      <a:pt x="16" y="1"/>
                    </a:cubicBezTo>
                    <a:cubicBezTo>
                      <a:pt x="21" y="0"/>
                      <a:pt x="25" y="1"/>
                      <a:pt x="28" y="3"/>
                    </a:cubicBezTo>
                    <a:cubicBezTo>
                      <a:pt x="32" y="6"/>
                      <a:pt x="34" y="9"/>
                      <a:pt x="34" y="13"/>
                    </a:cubicBezTo>
                    <a:cubicBezTo>
                      <a:pt x="35" y="15"/>
                      <a:pt x="35" y="18"/>
                      <a:pt x="34" y="20"/>
                    </a:cubicBezTo>
                    <a:cubicBezTo>
                      <a:pt x="34" y="22"/>
                      <a:pt x="33" y="25"/>
                      <a:pt x="31" y="27"/>
                    </a:cubicBezTo>
                    <a:cubicBezTo>
                      <a:pt x="30" y="29"/>
                      <a:pt x="28" y="32"/>
                      <a:pt x="26" y="35"/>
                    </a:cubicBezTo>
                    <a:cubicBezTo>
                      <a:pt x="23" y="38"/>
                      <a:pt x="21" y="41"/>
                      <a:pt x="20" y="42"/>
                    </a:cubicBezTo>
                    <a:cubicBezTo>
                      <a:pt x="20" y="43"/>
                      <a:pt x="19" y="44"/>
                      <a:pt x="19" y="45"/>
                    </a:cubicBezTo>
                    <a:lnTo>
                      <a:pt x="39" y="4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198" name="íṧlíḍe"/>
              <p:cNvSpPr/>
              <p:nvPr/>
            </p:nvSpPr>
            <p:spPr bwMode="auto">
              <a:xfrm>
                <a:off x="2611334" y="6072778"/>
                <a:ext cx="22225" cy="23813"/>
              </a:xfrm>
              <a:custGeom>
                <a:avLst/>
                <a:gdLst>
                  <a:gd name="T0" fmla="*/ 3 w 14"/>
                  <a:gd name="T1" fmla="*/ 15 h 15"/>
                  <a:gd name="T2" fmla="*/ 0 w 14"/>
                  <a:gd name="T3" fmla="*/ 3 h 15"/>
                  <a:gd name="T4" fmla="*/ 11 w 14"/>
                  <a:gd name="T5" fmla="*/ 0 h 15"/>
                  <a:gd name="T6" fmla="*/ 14 w 14"/>
                  <a:gd name="T7" fmla="*/ 12 h 15"/>
                  <a:gd name="T8" fmla="*/ 3 w 14"/>
                  <a:gd name="T9" fmla="*/ 15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4" h="15">
                    <a:moveTo>
                      <a:pt x="3" y="15"/>
                    </a:moveTo>
                    <a:lnTo>
                      <a:pt x="0" y="3"/>
                    </a:lnTo>
                    <a:lnTo>
                      <a:pt x="11" y="0"/>
                    </a:lnTo>
                    <a:lnTo>
                      <a:pt x="14" y="12"/>
                    </a:lnTo>
                    <a:lnTo>
                      <a:pt x="3" y="1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199" name="îŝľîḓê"/>
              <p:cNvSpPr/>
              <p:nvPr/>
            </p:nvSpPr>
            <p:spPr bwMode="auto">
              <a:xfrm>
                <a:off x="2108097" y="5261565"/>
                <a:ext cx="141288" cy="257175"/>
              </a:xfrm>
              <a:custGeom>
                <a:avLst/>
                <a:gdLst>
                  <a:gd name="T0" fmla="*/ 12 w 77"/>
                  <a:gd name="T1" fmla="*/ 25 h 139"/>
                  <a:gd name="T2" fmla="*/ 9 w 77"/>
                  <a:gd name="T3" fmla="*/ 21 h 139"/>
                  <a:gd name="T4" fmla="*/ 12 w 77"/>
                  <a:gd name="T5" fmla="*/ 17 h 139"/>
                  <a:gd name="T6" fmla="*/ 39 w 77"/>
                  <a:gd name="T7" fmla="*/ 21 h 139"/>
                  <a:gd name="T8" fmla="*/ 46 w 77"/>
                  <a:gd name="T9" fmla="*/ 36 h 139"/>
                  <a:gd name="T10" fmla="*/ 46 w 77"/>
                  <a:gd name="T11" fmla="*/ 39 h 139"/>
                  <a:gd name="T12" fmla="*/ 61 w 77"/>
                  <a:gd name="T13" fmla="*/ 33 h 139"/>
                  <a:gd name="T14" fmla="*/ 57 w 77"/>
                  <a:gd name="T15" fmla="*/ 16 h 139"/>
                  <a:gd name="T16" fmla="*/ 35 w 77"/>
                  <a:gd name="T17" fmla="*/ 9 h 139"/>
                  <a:gd name="T18" fmla="*/ 27 w 77"/>
                  <a:gd name="T19" fmla="*/ 3 h 139"/>
                  <a:gd name="T20" fmla="*/ 32 w 77"/>
                  <a:gd name="T21" fmla="*/ 0 h 139"/>
                  <a:gd name="T22" fmla="*/ 61 w 77"/>
                  <a:gd name="T23" fmla="*/ 9 h 139"/>
                  <a:gd name="T24" fmla="*/ 72 w 77"/>
                  <a:gd name="T25" fmla="*/ 30 h 139"/>
                  <a:gd name="T26" fmla="*/ 48 w 77"/>
                  <a:gd name="T27" fmla="*/ 45 h 139"/>
                  <a:gd name="T28" fmla="*/ 45 w 77"/>
                  <a:gd name="T29" fmla="*/ 46 h 139"/>
                  <a:gd name="T30" fmla="*/ 45 w 77"/>
                  <a:gd name="T31" fmla="*/ 54 h 139"/>
                  <a:gd name="T32" fmla="*/ 59 w 77"/>
                  <a:gd name="T33" fmla="*/ 61 h 139"/>
                  <a:gd name="T34" fmla="*/ 77 w 77"/>
                  <a:gd name="T35" fmla="*/ 80 h 139"/>
                  <a:gd name="T36" fmla="*/ 75 w 77"/>
                  <a:gd name="T37" fmla="*/ 84 h 139"/>
                  <a:gd name="T38" fmla="*/ 71 w 77"/>
                  <a:gd name="T39" fmla="*/ 83 h 139"/>
                  <a:gd name="T40" fmla="*/ 59 w 77"/>
                  <a:gd name="T41" fmla="*/ 70 h 139"/>
                  <a:gd name="T42" fmla="*/ 45 w 77"/>
                  <a:gd name="T43" fmla="*/ 63 h 139"/>
                  <a:gd name="T44" fmla="*/ 45 w 77"/>
                  <a:gd name="T45" fmla="*/ 77 h 139"/>
                  <a:gd name="T46" fmla="*/ 53 w 77"/>
                  <a:gd name="T47" fmla="*/ 83 h 139"/>
                  <a:gd name="T48" fmla="*/ 66 w 77"/>
                  <a:gd name="T49" fmla="*/ 102 h 139"/>
                  <a:gd name="T50" fmla="*/ 72 w 77"/>
                  <a:gd name="T51" fmla="*/ 121 h 139"/>
                  <a:gd name="T52" fmla="*/ 70 w 77"/>
                  <a:gd name="T53" fmla="*/ 124 h 139"/>
                  <a:gd name="T54" fmla="*/ 67 w 77"/>
                  <a:gd name="T55" fmla="*/ 122 h 139"/>
                  <a:gd name="T56" fmla="*/ 64 w 77"/>
                  <a:gd name="T57" fmla="*/ 115 h 139"/>
                  <a:gd name="T58" fmla="*/ 55 w 77"/>
                  <a:gd name="T59" fmla="*/ 97 h 139"/>
                  <a:gd name="T60" fmla="*/ 45 w 77"/>
                  <a:gd name="T61" fmla="*/ 87 h 139"/>
                  <a:gd name="T62" fmla="*/ 45 w 77"/>
                  <a:gd name="T63" fmla="*/ 102 h 139"/>
                  <a:gd name="T64" fmla="*/ 44 w 77"/>
                  <a:gd name="T65" fmla="*/ 136 h 139"/>
                  <a:gd name="T66" fmla="*/ 41 w 77"/>
                  <a:gd name="T67" fmla="*/ 139 h 139"/>
                  <a:gd name="T68" fmla="*/ 38 w 77"/>
                  <a:gd name="T69" fmla="*/ 137 h 139"/>
                  <a:gd name="T70" fmla="*/ 37 w 77"/>
                  <a:gd name="T71" fmla="*/ 103 h 139"/>
                  <a:gd name="T72" fmla="*/ 37 w 77"/>
                  <a:gd name="T73" fmla="*/ 86 h 139"/>
                  <a:gd name="T74" fmla="*/ 28 w 77"/>
                  <a:gd name="T75" fmla="*/ 92 h 139"/>
                  <a:gd name="T76" fmla="*/ 19 w 77"/>
                  <a:gd name="T77" fmla="*/ 109 h 139"/>
                  <a:gd name="T78" fmla="*/ 12 w 77"/>
                  <a:gd name="T79" fmla="*/ 121 h 139"/>
                  <a:gd name="T80" fmla="*/ 8 w 77"/>
                  <a:gd name="T81" fmla="*/ 122 h 139"/>
                  <a:gd name="T82" fmla="*/ 7 w 77"/>
                  <a:gd name="T83" fmla="*/ 120 h 139"/>
                  <a:gd name="T84" fmla="*/ 8 w 77"/>
                  <a:gd name="T85" fmla="*/ 117 h 139"/>
                  <a:gd name="T86" fmla="*/ 11 w 77"/>
                  <a:gd name="T87" fmla="*/ 106 h 139"/>
                  <a:gd name="T88" fmla="*/ 22 w 77"/>
                  <a:gd name="T89" fmla="*/ 86 h 139"/>
                  <a:gd name="T90" fmla="*/ 37 w 77"/>
                  <a:gd name="T91" fmla="*/ 76 h 139"/>
                  <a:gd name="T92" fmla="*/ 37 w 77"/>
                  <a:gd name="T93" fmla="*/ 68 h 139"/>
                  <a:gd name="T94" fmla="*/ 37 w 77"/>
                  <a:gd name="T95" fmla="*/ 63 h 139"/>
                  <a:gd name="T96" fmla="*/ 24 w 77"/>
                  <a:gd name="T97" fmla="*/ 69 h 139"/>
                  <a:gd name="T98" fmla="*/ 16 w 77"/>
                  <a:gd name="T99" fmla="*/ 77 h 139"/>
                  <a:gd name="T100" fmla="*/ 9 w 77"/>
                  <a:gd name="T101" fmla="*/ 85 h 139"/>
                  <a:gd name="T102" fmla="*/ 6 w 77"/>
                  <a:gd name="T103" fmla="*/ 86 h 139"/>
                  <a:gd name="T104" fmla="*/ 5 w 77"/>
                  <a:gd name="T105" fmla="*/ 82 h 139"/>
                  <a:gd name="T106" fmla="*/ 22 w 77"/>
                  <a:gd name="T107" fmla="*/ 60 h 139"/>
                  <a:gd name="T108" fmla="*/ 37 w 77"/>
                  <a:gd name="T109" fmla="*/ 54 h 139"/>
                  <a:gd name="T110" fmla="*/ 37 w 77"/>
                  <a:gd name="T111" fmla="*/ 47 h 139"/>
                  <a:gd name="T112" fmla="*/ 3 w 77"/>
                  <a:gd name="T113" fmla="*/ 45 h 139"/>
                  <a:gd name="T114" fmla="*/ 0 w 77"/>
                  <a:gd name="T115" fmla="*/ 40 h 139"/>
                  <a:gd name="T116" fmla="*/ 5 w 77"/>
                  <a:gd name="T117" fmla="*/ 38 h 139"/>
                  <a:gd name="T118" fmla="*/ 37 w 77"/>
                  <a:gd name="T119" fmla="*/ 39 h 139"/>
                  <a:gd name="T120" fmla="*/ 37 w 77"/>
                  <a:gd name="T121" fmla="*/ 39 h 139"/>
                  <a:gd name="T122" fmla="*/ 33 w 77"/>
                  <a:gd name="T123" fmla="*/ 28 h 139"/>
                  <a:gd name="T124" fmla="*/ 12 w 77"/>
                  <a:gd name="T125" fmla="*/ 25 h 1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77" h="139">
                    <a:moveTo>
                      <a:pt x="12" y="25"/>
                    </a:moveTo>
                    <a:cubicBezTo>
                      <a:pt x="10" y="25"/>
                      <a:pt x="9" y="24"/>
                      <a:pt x="9" y="21"/>
                    </a:cubicBezTo>
                    <a:cubicBezTo>
                      <a:pt x="9" y="18"/>
                      <a:pt x="10" y="17"/>
                      <a:pt x="12" y="17"/>
                    </a:cubicBezTo>
                    <a:cubicBezTo>
                      <a:pt x="24" y="17"/>
                      <a:pt x="33" y="18"/>
                      <a:pt x="39" y="21"/>
                    </a:cubicBezTo>
                    <a:cubicBezTo>
                      <a:pt x="45" y="24"/>
                      <a:pt x="47" y="28"/>
                      <a:pt x="46" y="36"/>
                    </a:cubicBezTo>
                    <a:cubicBezTo>
                      <a:pt x="46" y="37"/>
                      <a:pt x="46" y="38"/>
                      <a:pt x="46" y="39"/>
                    </a:cubicBezTo>
                    <a:cubicBezTo>
                      <a:pt x="53" y="38"/>
                      <a:pt x="58" y="35"/>
                      <a:pt x="61" y="33"/>
                    </a:cubicBezTo>
                    <a:cubicBezTo>
                      <a:pt x="65" y="27"/>
                      <a:pt x="64" y="22"/>
                      <a:pt x="57" y="16"/>
                    </a:cubicBezTo>
                    <a:cubicBezTo>
                      <a:pt x="52" y="12"/>
                      <a:pt x="44" y="9"/>
                      <a:pt x="35" y="9"/>
                    </a:cubicBezTo>
                    <a:cubicBezTo>
                      <a:pt x="30" y="8"/>
                      <a:pt x="28" y="6"/>
                      <a:pt x="27" y="3"/>
                    </a:cubicBezTo>
                    <a:cubicBezTo>
                      <a:pt x="27" y="1"/>
                      <a:pt x="29" y="0"/>
                      <a:pt x="32" y="0"/>
                    </a:cubicBezTo>
                    <a:cubicBezTo>
                      <a:pt x="44" y="0"/>
                      <a:pt x="53" y="3"/>
                      <a:pt x="61" y="9"/>
                    </a:cubicBezTo>
                    <a:cubicBezTo>
                      <a:pt x="69" y="16"/>
                      <a:pt x="73" y="23"/>
                      <a:pt x="72" y="30"/>
                    </a:cubicBezTo>
                    <a:cubicBezTo>
                      <a:pt x="68" y="37"/>
                      <a:pt x="60" y="43"/>
                      <a:pt x="48" y="45"/>
                    </a:cubicBezTo>
                    <a:cubicBezTo>
                      <a:pt x="47" y="46"/>
                      <a:pt x="46" y="46"/>
                      <a:pt x="45" y="46"/>
                    </a:cubicBezTo>
                    <a:cubicBezTo>
                      <a:pt x="45" y="48"/>
                      <a:pt x="45" y="51"/>
                      <a:pt x="45" y="54"/>
                    </a:cubicBezTo>
                    <a:cubicBezTo>
                      <a:pt x="49" y="54"/>
                      <a:pt x="54" y="57"/>
                      <a:pt x="59" y="61"/>
                    </a:cubicBezTo>
                    <a:cubicBezTo>
                      <a:pt x="66" y="66"/>
                      <a:pt x="72" y="72"/>
                      <a:pt x="77" y="80"/>
                    </a:cubicBezTo>
                    <a:cubicBezTo>
                      <a:pt x="77" y="82"/>
                      <a:pt x="77" y="83"/>
                      <a:pt x="75" y="84"/>
                    </a:cubicBezTo>
                    <a:cubicBezTo>
                      <a:pt x="74" y="85"/>
                      <a:pt x="72" y="85"/>
                      <a:pt x="71" y="83"/>
                    </a:cubicBezTo>
                    <a:cubicBezTo>
                      <a:pt x="69" y="80"/>
                      <a:pt x="65" y="76"/>
                      <a:pt x="59" y="70"/>
                    </a:cubicBezTo>
                    <a:cubicBezTo>
                      <a:pt x="54" y="66"/>
                      <a:pt x="49" y="64"/>
                      <a:pt x="45" y="63"/>
                    </a:cubicBezTo>
                    <a:cubicBezTo>
                      <a:pt x="45" y="77"/>
                      <a:pt x="45" y="77"/>
                      <a:pt x="45" y="77"/>
                    </a:cubicBezTo>
                    <a:cubicBezTo>
                      <a:pt x="48" y="78"/>
                      <a:pt x="51" y="80"/>
                      <a:pt x="53" y="83"/>
                    </a:cubicBezTo>
                    <a:cubicBezTo>
                      <a:pt x="59" y="88"/>
                      <a:pt x="63" y="94"/>
                      <a:pt x="66" y="102"/>
                    </a:cubicBezTo>
                    <a:cubicBezTo>
                      <a:pt x="71" y="109"/>
                      <a:pt x="73" y="116"/>
                      <a:pt x="72" y="121"/>
                    </a:cubicBezTo>
                    <a:cubicBezTo>
                      <a:pt x="72" y="122"/>
                      <a:pt x="72" y="123"/>
                      <a:pt x="70" y="124"/>
                    </a:cubicBezTo>
                    <a:cubicBezTo>
                      <a:pt x="69" y="124"/>
                      <a:pt x="68" y="124"/>
                      <a:pt x="67" y="122"/>
                    </a:cubicBezTo>
                    <a:cubicBezTo>
                      <a:pt x="67" y="121"/>
                      <a:pt x="66" y="118"/>
                      <a:pt x="64" y="115"/>
                    </a:cubicBezTo>
                    <a:cubicBezTo>
                      <a:pt x="60" y="107"/>
                      <a:pt x="57" y="102"/>
                      <a:pt x="55" y="97"/>
                    </a:cubicBezTo>
                    <a:cubicBezTo>
                      <a:pt x="51" y="91"/>
                      <a:pt x="48" y="88"/>
                      <a:pt x="45" y="87"/>
                    </a:cubicBezTo>
                    <a:cubicBezTo>
                      <a:pt x="45" y="102"/>
                      <a:pt x="45" y="102"/>
                      <a:pt x="45" y="102"/>
                    </a:cubicBezTo>
                    <a:cubicBezTo>
                      <a:pt x="45" y="117"/>
                      <a:pt x="45" y="128"/>
                      <a:pt x="44" y="136"/>
                    </a:cubicBezTo>
                    <a:cubicBezTo>
                      <a:pt x="43" y="137"/>
                      <a:pt x="42" y="138"/>
                      <a:pt x="41" y="139"/>
                    </a:cubicBezTo>
                    <a:cubicBezTo>
                      <a:pt x="40" y="139"/>
                      <a:pt x="39" y="139"/>
                      <a:pt x="38" y="137"/>
                    </a:cubicBezTo>
                    <a:cubicBezTo>
                      <a:pt x="37" y="135"/>
                      <a:pt x="37" y="123"/>
                      <a:pt x="37" y="103"/>
                    </a:cubicBezTo>
                    <a:cubicBezTo>
                      <a:pt x="37" y="97"/>
                      <a:pt x="37" y="92"/>
                      <a:pt x="37" y="86"/>
                    </a:cubicBezTo>
                    <a:cubicBezTo>
                      <a:pt x="34" y="87"/>
                      <a:pt x="31" y="89"/>
                      <a:pt x="28" y="92"/>
                    </a:cubicBezTo>
                    <a:cubicBezTo>
                      <a:pt x="24" y="98"/>
                      <a:pt x="21" y="103"/>
                      <a:pt x="19" y="109"/>
                    </a:cubicBezTo>
                    <a:cubicBezTo>
                      <a:pt x="17" y="113"/>
                      <a:pt x="15" y="117"/>
                      <a:pt x="12" y="121"/>
                    </a:cubicBezTo>
                    <a:cubicBezTo>
                      <a:pt x="11" y="122"/>
                      <a:pt x="9" y="122"/>
                      <a:pt x="8" y="122"/>
                    </a:cubicBezTo>
                    <a:cubicBezTo>
                      <a:pt x="7" y="122"/>
                      <a:pt x="7" y="121"/>
                      <a:pt x="7" y="120"/>
                    </a:cubicBezTo>
                    <a:cubicBezTo>
                      <a:pt x="7" y="119"/>
                      <a:pt x="7" y="118"/>
                      <a:pt x="8" y="117"/>
                    </a:cubicBezTo>
                    <a:cubicBezTo>
                      <a:pt x="9" y="112"/>
                      <a:pt x="10" y="108"/>
                      <a:pt x="11" y="106"/>
                    </a:cubicBezTo>
                    <a:cubicBezTo>
                      <a:pt x="13" y="101"/>
                      <a:pt x="17" y="94"/>
                      <a:pt x="22" y="86"/>
                    </a:cubicBezTo>
                    <a:cubicBezTo>
                      <a:pt x="27" y="80"/>
                      <a:pt x="32" y="77"/>
                      <a:pt x="37" y="76"/>
                    </a:cubicBezTo>
                    <a:cubicBezTo>
                      <a:pt x="37" y="68"/>
                      <a:pt x="37" y="68"/>
                      <a:pt x="37" y="68"/>
                    </a:cubicBezTo>
                    <a:cubicBezTo>
                      <a:pt x="37" y="63"/>
                      <a:pt x="37" y="63"/>
                      <a:pt x="37" y="63"/>
                    </a:cubicBezTo>
                    <a:cubicBezTo>
                      <a:pt x="33" y="64"/>
                      <a:pt x="29" y="66"/>
                      <a:pt x="24" y="69"/>
                    </a:cubicBezTo>
                    <a:cubicBezTo>
                      <a:pt x="23" y="70"/>
                      <a:pt x="20" y="72"/>
                      <a:pt x="16" y="77"/>
                    </a:cubicBezTo>
                    <a:cubicBezTo>
                      <a:pt x="13" y="81"/>
                      <a:pt x="11" y="83"/>
                      <a:pt x="9" y="85"/>
                    </a:cubicBezTo>
                    <a:cubicBezTo>
                      <a:pt x="8" y="86"/>
                      <a:pt x="7" y="87"/>
                      <a:pt x="6" y="86"/>
                    </a:cubicBezTo>
                    <a:cubicBezTo>
                      <a:pt x="5" y="86"/>
                      <a:pt x="5" y="84"/>
                      <a:pt x="5" y="82"/>
                    </a:cubicBezTo>
                    <a:cubicBezTo>
                      <a:pt x="10" y="73"/>
                      <a:pt x="15" y="65"/>
                      <a:pt x="22" y="60"/>
                    </a:cubicBezTo>
                    <a:cubicBezTo>
                      <a:pt x="27" y="56"/>
                      <a:pt x="32" y="54"/>
                      <a:pt x="37" y="54"/>
                    </a:cubicBezTo>
                    <a:cubicBezTo>
                      <a:pt x="37" y="47"/>
                      <a:pt x="37" y="47"/>
                      <a:pt x="37" y="47"/>
                    </a:cubicBezTo>
                    <a:cubicBezTo>
                      <a:pt x="22" y="49"/>
                      <a:pt x="10" y="48"/>
                      <a:pt x="3" y="45"/>
                    </a:cubicBezTo>
                    <a:cubicBezTo>
                      <a:pt x="1" y="44"/>
                      <a:pt x="0" y="42"/>
                      <a:pt x="0" y="40"/>
                    </a:cubicBezTo>
                    <a:cubicBezTo>
                      <a:pt x="1" y="38"/>
                      <a:pt x="3" y="38"/>
                      <a:pt x="5" y="38"/>
                    </a:cubicBezTo>
                    <a:cubicBezTo>
                      <a:pt x="12" y="40"/>
                      <a:pt x="22" y="40"/>
                      <a:pt x="37" y="39"/>
                    </a:cubicBezTo>
                    <a:cubicBezTo>
                      <a:pt x="37" y="39"/>
                      <a:pt x="37" y="39"/>
                      <a:pt x="37" y="39"/>
                    </a:cubicBezTo>
                    <a:cubicBezTo>
                      <a:pt x="38" y="32"/>
                      <a:pt x="36" y="29"/>
                      <a:pt x="33" y="28"/>
                    </a:cubicBezTo>
                    <a:cubicBezTo>
                      <a:pt x="26" y="25"/>
                      <a:pt x="19" y="24"/>
                      <a:pt x="12" y="2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200" name="íṣlíḑe"/>
              <p:cNvSpPr/>
              <p:nvPr/>
            </p:nvSpPr>
            <p:spPr bwMode="auto">
              <a:xfrm>
                <a:off x="2273197" y="5255215"/>
                <a:ext cx="163513" cy="263525"/>
              </a:xfrm>
              <a:custGeom>
                <a:avLst/>
                <a:gdLst>
                  <a:gd name="T0" fmla="*/ 47 w 88"/>
                  <a:gd name="T1" fmla="*/ 8 h 143"/>
                  <a:gd name="T2" fmla="*/ 74 w 88"/>
                  <a:gd name="T3" fmla="*/ 14 h 143"/>
                  <a:gd name="T4" fmla="*/ 82 w 88"/>
                  <a:gd name="T5" fmla="*/ 26 h 143"/>
                  <a:gd name="T6" fmla="*/ 79 w 88"/>
                  <a:gd name="T7" fmla="*/ 75 h 143"/>
                  <a:gd name="T8" fmla="*/ 86 w 88"/>
                  <a:gd name="T9" fmla="*/ 136 h 143"/>
                  <a:gd name="T10" fmla="*/ 73 w 88"/>
                  <a:gd name="T11" fmla="*/ 45 h 143"/>
                  <a:gd name="T12" fmla="*/ 67 w 88"/>
                  <a:gd name="T13" fmla="*/ 44 h 143"/>
                  <a:gd name="T14" fmla="*/ 54 w 88"/>
                  <a:gd name="T15" fmla="*/ 58 h 143"/>
                  <a:gd name="T16" fmla="*/ 22 w 88"/>
                  <a:gd name="T17" fmla="*/ 54 h 143"/>
                  <a:gd name="T18" fmla="*/ 15 w 88"/>
                  <a:gd name="T19" fmla="*/ 45 h 143"/>
                  <a:gd name="T20" fmla="*/ 11 w 88"/>
                  <a:gd name="T21" fmla="*/ 91 h 143"/>
                  <a:gd name="T22" fmla="*/ 9 w 88"/>
                  <a:gd name="T23" fmla="*/ 118 h 143"/>
                  <a:gd name="T24" fmla="*/ 2 w 88"/>
                  <a:gd name="T25" fmla="*/ 139 h 143"/>
                  <a:gd name="T26" fmla="*/ 6 w 88"/>
                  <a:gd name="T27" fmla="*/ 80 h 143"/>
                  <a:gd name="T28" fmla="*/ 2 w 88"/>
                  <a:gd name="T29" fmla="*/ 26 h 143"/>
                  <a:gd name="T30" fmla="*/ 32 w 88"/>
                  <a:gd name="T31" fmla="*/ 10 h 143"/>
                  <a:gd name="T32" fmla="*/ 39 w 88"/>
                  <a:gd name="T33" fmla="*/ 0 h 143"/>
                  <a:gd name="T34" fmla="*/ 24 w 88"/>
                  <a:gd name="T35" fmla="*/ 23 h 143"/>
                  <a:gd name="T36" fmla="*/ 66 w 88"/>
                  <a:gd name="T37" fmla="*/ 29 h 143"/>
                  <a:gd name="T38" fmla="*/ 67 w 88"/>
                  <a:gd name="T39" fmla="*/ 37 h 143"/>
                  <a:gd name="T40" fmla="*/ 73 w 88"/>
                  <a:gd name="T41" fmla="*/ 34 h 143"/>
                  <a:gd name="T42" fmla="*/ 66 w 88"/>
                  <a:gd name="T43" fmla="*/ 20 h 143"/>
                  <a:gd name="T44" fmla="*/ 13 w 88"/>
                  <a:gd name="T45" fmla="*/ 21 h 143"/>
                  <a:gd name="T46" fmla="*/ 12 w 88"/>
                  <a:gd name="T47" fmla="*/ 32 h 143"/>
                  <a:gd name="T48" fmla="*/ 17 w 88"/>
                  <a:gd name="T49" fmla="*/ 38 h 143"/>
                  <a:gd name="T50" fmla="*/ 24 w 88"/>
                  <a:gd name="T51" fmla="*/ 23 h 143"/>
                  <a:gd name="T52" fmla="*/ 61 w 88"/>
                  <a:gd name="T53" fmla="*/ 64 h 143"/>
                  <a:gd name="T54" fmla="*/ 66 w 88"/>
                  <a:gd name="T55" fmla="*/ 96 h 143"/>
                  <a:gd name="T56" fmla="*/ 61 w 88"/>
                  <a:gd name="T57" fmla="*/ 136 h 143"/>
                  <a:gd name="T58" fmla="*/ 59 w 88"/>
                  <a:gd name="T59" fmla="*/ 143 h 143"/>
                  <a:gd name="T60" fmla="*/ 46 w 88"/>
                  <a:gd name="T61" fmla="*/ 105 h 143"/>
                  <a:gd name="T62" fmla="*/ 30 w 88"/>
                  <a:gd name="T63" fmla="*/ 140 h 143"/>
                  <a:gd name="T64" fmla="*/ 26 w 88"/>
                  <a:gd name="T65" fmla="*/ 137 h 143"/>
                  <a:gd name="T66" fmla="*/ 32 w 88"/>
                  <a:gd name="T67" fmla="*/ 121 h 143"/>
                  <a:gd name="T68" fmla="*/ 35 w 88"/>
                  <a:gd name="T69" fmla="*/ 105 h 143"/>
                  <a:gd name="T70" fmla="*/ 18 w 88"/>
                  <a:gd name="T71" fmla="*/ 75 h 143"/>
                  <a:gd name="T72" fmla="*/ 24 w 88"/>
                  <a:gd name="T73" fmla="*/ 35 h 143"/>
                  <a:gd name="T74" fmla="*/ 39 w 88"/>
                  <a:gd name="T75" fmla="*/ 37 h 143"/>
                  <a:gd name="T76" fmla="*/ 34 w 88"/>
                  <a:gd name="T77" fmla="*/ 29 h 143"/>
                  <a:gd name="T78" fmla="*/ 24 w 88"/>
                  <a:gd name="T79" fmla="*/ 35 h 143"/>
                  <a:gd name="T80" fmla="*/ 62 w 88"/>
                  <a:gd name="T81" fmla="*/ 84 h 143"/>
                  <a:gd name="T82" fmla="*/ 43 w 88"/>
                  <a:gd name="T83" fmla="*/ 81 h 143"/>
                  <a:gd name="T84" fmla="*/ 25 w 88"/>
                  <a:gd name="T85" fmla="*/ 87 h 143"/>
                  <a:gd name="T86" fmla="*/ 26 w 88"/>
                  <a:gd name="T87" fmla="*/ 48 h 143"/>
                  <a:gd name="T88" fmla="*/ 38 w 88"/>
                  <a:gd name="T89" fmla="*/ 52 h 143"/>
                  <a:gd name="T90" fmla="*/ 25 w 88"/>
                  <a:gd name="T91" fmla="*/ 44 h 143"/>
                  <a:gd name="T92" fmla="*/ 32 w 88"/>
                  <a:gd name="T93" fmla="*/ 69 h 143"/>
                  <a:gd name="T94" fmla="*/ 41 w 88"/>
                  <a:gd name="T95" fmla="*/ 75 h 143"/>
                  <a:gd name="T96" fmla="*/ 57 w 88"/>
                  <a:gd name="T97" fmla="*/ 70 h 143"/>
                  <a:gd name="T98" fmla="*/ 56 w 88"/>
                  <a:gd name="T99" fmla="*/ 98 h 143"/>
                  <a:gd name="T100" fmla="*/ 54 w 88"/>
                  <a:gd name="T101" fmla="*/ 93 h 143"/>
                  <a:gd name="T102" fmla="*/ 36 w 88"/>
                  <a:gd name="T103" fmla="*/ 93 h 143"/>
                  <a:gd name="T104" fmla="*/ 32 w 88"/>
                  <a:gd name="T105" fmla="*/ 98 h 143"/>
                  <a:gd name="T106" fmla="*/ 56 w 88"/>
                  <a:gd name="T107" fmla="*/ 29 h 143"/>
                  <a:gd name="T108" fmla="*/ 46 w 88"/>
                  <a:gd name="T109" fmla="*/ 29 h 143"/>
                  <a:gd name="T110" fmla="*/ 60 w 88"/>
                  <a:gd name="T111" fmla="*/ 37 h 143"/>
                  <a:gd name="T112" fmla="*/ 56 w 88"/>
                  <a:gd name="T113" fmla="*/ 29 h 143"/>
                  <a:gd name="T114" fmla="*/ 60 w 88"/>
                  <a:gd name="T115" fmla="*/ 43 h 143"/>
                  <a:gd name="T116" fmla="*/ 46 w 88"/>
                  <a:gd name="T117" fmla="*/ 52 h 143"/>
                  <a:gd name="T118" fmla="*/ 59 w 88"/>
                  <a:gd name="T119" fmla="*/ 48 h 1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88" h="143">
                    <a:moveTo>
                      <a:pt x="43" y="2"/>
                    </a:moveTo>
                    <a:cubicBezTo>
                      <a:pt x="45" y="3"/>
                      <a:pt x="47" y="6"/>
                      <a:pt x="47" y="8"/>
                    </a:cubicBezTo>
                    <a:cubicBezTo>
                      <a:pt x="47" y="9"/>
                      <a:pt x="48" y="10"/>
                      <a:pt x="49" y="10"/>
                    </a:cubicBezTo>
                    <a:cubicBezTo>
                      <a:pt x="57" y="10"/>
                      <a:pt x="66" y="12"/>
                      <a:pt x="74" y="14"/>
                    </a:cubicBezTo>
                    <a:cubicBezTo>
                      <a:pt x="78" y="16"/>
                      <a:pt x="81" y="18"/>
                      <a:pt x="81" y="19"/>
                    </a:cubicBezTo>
                    <a:cubicBezTo>
                      <a:pt x="82" y="21"/>
                      <a:pt x="82" y="24"/>
                      <a:pt x="82" y="26"/>
                    </a:cubicBezTo>
                    <a:cubicBezTo>
                      <a:pt x="82" y="27"/>
                      <a:pt x="82" y="27"/>
                      <a:pt x="82" y="28"/>
                    </a:cubicBezTo>
                    <a:cubicBezTo>
                      <a:pt x="79" y="39"/>
                      <a:pt x="78" y="55"/>
                      <a:pt x="79" y="75"/>
                    </a:cubicBezTo>
                    <a:cubicBezTo>
                      <a:pt x="80" y="87"/>
                      <a:pt x="83" y="106"/>
                      <a:pt x="87" y="131"/>
                    </a:cubicBezTo>
                    <a:cubicBezTo>
                      <a:pt x="88" y="134"/>
                      <a:pt x="87" y="135"/>
                      <a:pt x="86" y="136"/>
                    </a:cubicBezTo>
                    <a:cubicBezTo>
                      <a:pt x="84" y="137"/>
                      <a:pt x="82" y="136"/>
                      <a:pt x="82" y="133"/>
                    </a:cubicBezTo>
                    <a:cubicBezTo>
                      <a:pt x="74" y="106"/>
                      <a:pt x="71" y="76"/>
                      <a:pt x="73" y="45"/>
                    </a:cubicBezTo>
                    <a:cubicBezTo>
                      <a:pt x="72" y="45"/>
                      <a:pt x="71" y="44"/>
                      <a:pt x="70" y="44"/>
                    </a:cubicBezTo>
                    <a:cubicBezTo>
                      <a:pt x="69" y="44"/>
                      <a:pt x="68" y="44"/>
                      <a:pt x="67" y="44"/>
                    </a:cubicBezTo>
                    <a:cubicBezTo>
                      <a:pt x="67" y="48"/>
                      <a:pt x="66" y="51"/>
                      <a:pt x="64" y="54"/>
                    </a:cubicBezTo>
                    <a:cubicBezTo>
                      <a:pt x="62" y="57"/>
                      <a:pt x="59" y="59"/>
                      <a:pt x="54" y="58"/>
                    </a:cubicBezTo>
                    <a:cubicBezTo>
                      <a:pt x="47" y="58"/>
                      <a:pt x="39" y="58"/>
                      <a:pt x="32" y="58"/>
                    </a:cubicBezTo>
                    <a:cubicBezTo>
                      <a:pt x="28" y="59"/>
                      <a:pt x="25" y="58"/>
                      <a:pt x="22" y="54"/>
                    </a:cubicBezTo>
                    <a:cubicBezTo>
                      <a:pt x="20" y="51"/>
                      <a:pt x="19" y="48"/>
                      <a:pt x="18" y="45"/>
                    </a:cubicBezTo>
                    <a:cubicBezTo>
                      <a:pt x="17" y="45"/>
                      <a:pt x="16" y="45"/>
                      <a:pt x="15" y="45"/>
                    </a:cubicBezTo>
                    <a:cubicBezTo>
                      <a:pt x="14" y="45"/>
                      <a:pt x="13" y="45"/>
                      <a:pt x="13" y="45"/>
                    </a:cubicBezTo>
                    <a:cubicBezTo>
                      <a:pt x="13" y="60"/>
                      <a:pt x="13" y="75"/>
                      <a:pt x="11" y="91"/>
                    </a:cubicBezTo>
                    <a:cubicBezTo>
                      <a:pt x="11" y="95"/>
                      <a:pt x="11" y="102"/>
                      <a:pt x="10" y="111"/>
                    </a:cubicBezTo>
                    <a:cubicBezTo>
                      <a:pt x="10" y="108"/>
                      <a:pt x="10" y="111"/>
                      <a:pt x="9" y="118"/>
                    </a:cubicBezTo>
                    <a:cubicBezTo>
                      <a:pt x="9" y="124"/>
                      <a:pt x="8" y="130"/>
                      <a:pt x="6" y="134"/>
                    </a:cubicBezTo>
                    <a:cubicBezTo>
                      <a:pt x="5" y="138"/>
                      <a:pt x="3" y="139"/>
                      <a:pt x="2" y="139"/>
                    </a:cubicBezTo>
                    <a:cubicBezTo>
                      <a:pt x="0" y="139"/>
                      <a:pt x="0" y="137"/>
                      <a:pt x="0" y="133"/>
                    </a:cubicBezTo>
                    <a:cubicBezTo>
                      <a:pt x="3" y="112"/>
                      <a:pt x="5" y="94"/>
                      <a:pt x="6" y="80"/>
                    </a:cubicBezTo>
                    <a:cubicBezTo>
                      <a:pt x="8" y="64"/>
                      <a:pt x="7" y="51"/>
                      <a:pt x="6" y="38"/>
                    </a:cubicBezTo>
                    <a:cubicBezTo>
                      <a:pt x="5" y="34"/>
                      <a:pt x="4" y="30"/>
                      <a:pt x="2" y="26"/>
                    </a:cubicBezTo>
                    <a:cubicBezTo>
                      <a:pt x="0" y="21"/>
                      <a:pt x="1" y="17"/>
                      <a:pt x="6" y="16"/>
                    </a:cubicBezTo>
                    <a:cubicBezTo>
                      <a:pt x="14" y="12"/>
                      <a:pt x="23" y="11"/>
                      <a:pt x="32" y="10"/>
                    </a:cubicBezTo>
                    <a:cubicBezTo>
                      <a:pt x="36" y="9"/>
                      <a:pt x="38" y="7"/>
                      <a:pt x="38" y="4"/>
                    </a:cubicBezTo>
                    <a:cubicBezTo>
                      <a:pt x="38" y="2"/>
                      <a:pt x="38" y="1"/>
                      <a:pt x="39" y="0"/>
                    </a:cubicBezTo>
                    <a:cubicBezTo>
                      <a:pt x="41" y="0"/>
                      <a:pt x="42" y="0"/>
                      <a:pt x="43" y="2"/>
                    </a:cubicBezTo>
                    <a:close/>
                    <a:moveTo>
                      <a:pt x="24" y="23"/>
                    </a:moveTo>
                    <a:cubicBezTo>
                      <a:pt x="33" y="22"/>
                      <a:pt x="44" y="22"/>
                      <a:pt x="58" y="23"/>
                    </a:cubicBezTo>
                    <a:cubicBezTo>
                      <a:pt x="63" y="24"/>
                      <a:pt x="66" y="26"/>
                      <a:pt x="66" y="29"/>
                    </a:cubicBezTo>
                    <a:cubicBezTo>
                      <a:pt x="66" y="30"/>
                      <a:pt x="66" y="30"/>
                      <a:pt x="67" y="31"/>
                    </a:cubicBezTo>
                    <a:cubicBezTo>
                      <a:pt x="67" y="33"/>
                      <a:pt x="67" y="35"/>
                      <a:pt x="67" y="37"/>
                    </a:cubicBezTo>
                    <a:cubicBezTo>
                      <a:pt x="69" y="38"/>
                      <a:pt x="71" y="38"/>
                      <a:pt x="73" y="38"/>
                    </a:cubicBezTo>
                    <a:cubicBezTo>
                      <a:pt x="73" y="37"/>
                      <a:pt x="73" y="36"/>
                      <a:pt x="73" y="34"/>
                    </a:cubicBezTo>
                    <a:cubicBezTo>
                      <a:pt x="73" y="32"/>
                      <a:pt x="73" y="30"/>
                      <a:pt x="74" y="29"/>
                    </a:cubicBezTo>
                    <a:cubicBezTo>
                      <a:pt x="75" y="25"/>
                      <a:pt x="72" y="21"/>
                      <a:pt x="66" y="20"/>
                    </a:cubicBezTo>
                    <a:cubicBezTo>
                      <a:pt x="58" y="17"/>
                      <a:pt x="50" y="16"/>
                      <a:pt x="40" y="16"/>
                    </a:cubicBezTo>
                    <a:cubicBezTo>
                      <a:pt x="29" y="16"/>
                      <a:pt x="20" y="18"/>
                      <a:pt x="13" y="21"/>
                    </a:cubicBezTo>
                    <a:cubicBezTo>
                      <a:pt x="11" y="22"/>
                      <a:pt x="11" y="24"/>
                      <a:pt x="11" y="26"/>
                    </a:cubicBezTo>
                    <a:cubicBezTo>
                      <a:pt x="11" y="28"/>
                      <a:pt x="12" y="30"/>
                      <a:pt x="12" y="32"/>
                    </a:cubicBezTo>
                    <a:cubicBezTo>
                      <a:pt x="12" y="35"/>
                      <a:pt x="12" y="37"/>
                      <a:pt x="12" y="38"/>
                    </a:cubicBezTo>
                    <a:cubicBezTo>
                      <a:pt x="14" y="38"/>
                      <a:pt x="15" y="38"/>
                      <a:pt x="17" y="38"/>
                    </a:cubicBezTo>
                    <a:cubicBezTo>
                      <a:pt x="17" y="35"/>
                      <a:pt x="17" y="32"/>
                      <a:pt x="17" y="30"/>
                    </a:cubicBezTo>
                    <a:cubicBezTo>
                      <a:pt x="18" y="26"/>
                      <a:pt x="20" y="24"/>
                      <a:pt x="24" y="23"/>
                    </a:cubicBezTo>
                    <a:close/>
                    <a:moveTo>
                      <a:pt x="28" y="64"/>
                    </a:moveTo>
                    <a:cubicBezTo>
                      <a:pt x="39" y="62"/>
                      <a:pt x="50" y="62"/>
                      <a:pt x="61" y="64"/>
                    </a:cubicBezTo>
                    <a:cubicBezTo>
                      <a:pt x="65" y="65"/>
                      <a:pt x="67" y="67"/>
                      <a:pt x="67" y="71"/>
                    </a:cubicBezTo>
                    <a:cubicBezTo>
                      <a:pt x="69" y="79"/>
                      <a:pt x="68" y="88"/>
                      <a:pt x="66" y="96"/>
                    </a:cubicBezTo>
                    <a:cubicBezTo>
                      <a:pt x="65" y="102"/>
                      <a:pt x="61" y="105"/>
                      <a:pt x="54" y="105"/>
                    </a:cubicBezTo>
                    <a:cubicBezTo>
                      <a:pt x="55" y="115"/>
                      <a:pt x="57" y="125"/>
                      <a:pt x="61" y="136"/>
                    </a:cubicBezTo>
                    <a:cubicBezTo>
                      <a:pt x="63" y="138"/>
                      <a:pt x="63" y="140"/>
                      <a:pt x="61" y="142"/>
                    </a:cubicBezTo>
                    <a:cubicBezTo>
                      <a:pt x="60" y="142"/>
                      <a:pt x="59" y="143"/>
                      <a:pt x="59" y="143"/>
                    </a:cubicBezTo>
                    <a:cubicBezTo>
                      <a:pt x="58" y="143"/>
                      <a:pt x="57" y="142"/>
                      <a:pt x="57" y="141"/>
                    </a:cubicBezTo>
                    <a:cubicBezTo>
                      <a:pt x="52" y="131"/>
                      <a:pt x="48" y="120"/>
                      <a:pt x="46" y="105"/>
                    </a:cubicBezTo>
                    <a:cubicBezTo>
                      <a:pt x="41" y="105"/>
                      <a:pt x="41" y="105"/>
                      <a:pt x="41" y="105"/>
                    </a:cubicBezTo>
                    <a:cubicBezTo>
                      <a:pt x="40" y="120"/>
                      <a:pt x="37" y="131"/>
                      <a:pt x="30" y="140"/>
                    </a:cubicBezTo>
                    <a:cubicBezTo>
                      <a:pt x="29" y="141"/>
                      <a:pt x="27" y="142"/>
                      <a:pt x="26" y="142"/>
                    </a:cubicBezTo>
                    <a:cubicBezTo>
                      <a:pt x="25" y="141"/>
                      <a:pt x="25" y="139"/>
                      <a:pt x="26" y="137"/>
                    </a:cubicBezTo>
                    <a:cubicBezTo>
                      <a:pt x="26" y="137"/>
                      <a:pt x="26" y="135"/>
                      <a:pt x="28" y="132"/>
                    </a:cubicBezTo>
                    <a:cubicBezTo>
                      <a:pt x="30" y="127"/>
                      <a:pt x="32" y="123"/>
                      <a:pt x="32" y="121"/>
                    </a:cubicBezTo>
                    <a:cubicBezTo>
                      <a:pt x="33" y="118"/>
                      <a:pt x="34" y="113"/>
                      <a:pt x="35" y="107"/>
                    </a:cubicBezTo>
                    <a:cubicBezTo>
                      <a:pt x="35" y="106"/>
                      <a:pt x="35" y="106"/>
                      <a:pt x="35" y="105"/>
                    </a:cubicBezTo>
                    <a:cubicBezTo>
                      <a:pt x="29" y="105"/>
                      <a:pt x="25" y="103"/>
                      <a:pt x="22" y="98"/>
                    </a:cubicBezTo>
                    <a:cubicBezTo>
                      <a:pt x="19" y="93"/>
                      <a:pt x="17" y="85"/>
                      <a:pt x="18" y="75"/>
                    </a:cubicBezTo>
                    <a:cubicBezTo>
                      <a:pt x="19" y="68"/>
                      <a:pt x="22" y="65"/>
                      <a:pt x="28" y="64"/>
                    </a:cubicBezTo>
                    <a:close/>
                    <a:moveTo>
                      <a:pt x="24" y="35"/>
                    </a:moveTo>
                    <a:cubicBezTo>
                      <a:pt x="24" y="36"/>
                      <a:pt x="24" y="36"/>
                      <a:pt x="24" y="37"/>
                    </a:cubicBezTo>
                    <a:cubicBezTo>
                      <a:pt x="29" y="37"/>
                      <a:pt x="34" y="37"/>
                      <a:pt x="39" y="37"/>
                    </a:cubicBezTo>
                    <a:cubicBezTo>
                      <a:pt x="39" y="34"/>
                      <a:pt x="38" y="31"/>
                      <a:pt x="38" y="29"/>
                    </a:cubicBezTo>
                    <a:cubicBezTo>
                      <a:pt x="37" y="29"/>
                      <a:pt x="36" y="29"/>
                      <a:pt x="34" y="29"/>
                    </a:cubicBezTo>
                    <a:cubicBezTo>
                      <a:pt x="31" y="29"/>
                      <a:pt x="30" y="29"/>
                      <a:pt x="28" y="29"/>
                    </a:cubicBezTo>
                    <a:cubicBezTo>
                      <a:pt x="25" y="31"/>
                      <a:pt x="24" y="32"/>
                      <a:pt x="24" y="35"/>
                    </a:cubicBezTo>
                    <a:close/>
                    <a:moveTo>
                      <a:pt x="61" y="87"/>
                    </a:moveTo>
                    <a:cubicBezTo>
                      <a:pt x="61" y="86"/>
                      <a:pt x="62" y="85"/>
                      <a:pt x="62" y="84"/>
                    </a:cubicBezTo>
                    <a:cubicBezTo>
                      <a:pt x="62" y="83"/>
                      <a:pt x="62" y="82"/>
                      <a:pt x="62" y="82"/>
                    </a:cubicBezTo>
                    <a:cubicBezTo>
                      <a:pt x="56" y="81"/>
                      <a:pt x="50" y="80"/>
                      <a:pt x="43" y="81"/>
                    </a:cubicBezTo>
                    <a:cubicBezTo>
                      <a:pt x="37" y="81"/>
                      <a:pt x="31" y="82"/>
                      <a:pt x="24" y="83"/>
                    </a:cubicBezTo>
                    <a:cubicBezTo>
                      <a:pt x="25" y="87"/>
                      <a:pt x="25" y="87"/>
                      <a:pt x="25" y="87"/>
                    </a:cubicBezTo>
                    <a:cubicBezTo>
                      <a:pt x="35" y="86"/>
                      <a:pt x="48" y="86"/>
                      <a:pt x="61" y="87"/>
                    </a:cubicBezTo>
                    <a:close/>
                    <a:moveTo>
                      <a:pt x="26" y="48"/>
                    </a:moveTo>
                    <a:cubicBezTo>
                      <a:pt x="28" y="51"/>
                      <a:pt x="30" y="52"/>
                      <a:pt x="35" y="52"/>
                    </a:cubicBezTo>
                    <a:cubicBezTo>
                      <a:pt x="38" y="52"/>
                      <a:pt x="38" y="52"/>
                      <a:pt x="38" y="52"/>
                    </a:cubicBezTo>
                    <a:cubicBezTo>
                      <a:pt x="38" y="49"/>
                      <a:pt x="39" y="46"/>
                      <a:pt x="39" y="44"/>
                    </a:cubicBezTo>
                    <a:cubicBezTo>
                      <a:pt x="34" y="44"/>
                      <a:pt x="30" y="44"/>
                      <a:pt x="25" y="44"/>
                    </a:cubicBezTo>
                    <a:cubicBezTo>
                      <a:pt x="25" y="46"/>
                      <a:pt x="25" y="47"/>
                      <a:pt x="26" y="48"/>
                    </a:cubicBezTo>
                    <a:close/>
                    <a:moveTo>
                      <a:pt x="32" y="69"/>
                    </a:moveTo>
                    <a:cubicBezTo>
                      <a:pt x="28" y="70"/>
                      <a:pt x="25" y="72"/>
                      <a:pt x="25" y="76"/>
                    </a:cubicBezTo>
                    <a:cubicBezTo>
                      <a:pt x="30" y="75"/>
                      <a:pt x="35" y="75"/>
                      <a:pt x="41" y="75"/>
                    </a:cubicBezTo>
                    <a:cubicBezTo>
                      <a:pt x="46" y="74"/>
                      <a:pt x="53" y="74"/>
                      <a:pt x="61" y="75"/>
                    </a:cubicBezTo>
                    <a:cubicBezTo>
                      <a:pt x="61" y="72"/>
                      <a:pt x="59" y="71"/>
                      <a:pt x="57" y="70"/>
                    </a:cubicBezTo>
                    <a:cubicBezTo>
                      <a:pt x="49" y="68"/>
                      <a:pt x="40" y="68"/>
                      <a:pt x="32" y="69"/>
                    </a:cubicBezTo>
                    <a:close/>
                    <a:moveTo>
                      <a:pt x="56" y="98"/>
                    </a:moveTo>
                    <a:cubicBezTo>
                      <a:pt x="59" y="97"/>
                      <a:pt x="60" y="96"/>
                      <a:pt x="61" y="93"/>
                    </a:cubicBezTo>
                    <a:cubicBezTo>
                      <a:pt x="60" y="93"/>
                      <a:pt x="57" y="93"/>
                      <a:pt x="54" y="93"/>
                    </a:cubicBezTo>
                    <a:cubicBezTo>
                      <a:pt x="48" y="92"/>
                      <a:pt x="44" y="92"/>
                      <a:pt x="41" y="92"/>
                    </a:cubicBezTo>
                    <a:cubicBezTo>
                      <a:pt x="40" y="92"/>
                      <a:pt x="38" y="92"/>
                      <a:pt x="36" y="93"/>
                    </a:cubicBezTo>
                    <a:cubicBezTo>
                      <a:pt x="31" y="93"/>
                      <a:pt x="28" y="94"/>
                      <a:pt x="26" y="94"/>
                    </a:cubicBezTo>
                    <a:cubicBezTo>
                      <a:pt x="27" y="96"/>
                      <a:pt x="29" y="98"/>
                      <a:pt x="32" y="98"/>
                    </a:cubicBezTo>
                    <a:cubicBezTo>
                      <a:pt x="39" y="99"/>
                      <a:pt x="47" y="99"/>
                      <a:pt x="56" y="98"/>
                    </a:cubicBezTo>
                    <a:close/>
                    <a:moveTo>
                      <a:pt x="56" y="29"/>
                    </a:moveTo>
                    <a:cubicBezTo>
                      <a:pt x="55" y="29"/>
                      <a:pt x="53" y="29"/>
                      <a:pt x="51" y="29"/>
                    </a:cubicBezTo>
                    <a:cubicBezTo>
                      <a:pt x="49" y="29"/>
                      <a:pt x="47" y="29"/>
                      <a:pt x="46" y="29"/>
                    </a:cubicBezTo>
                    <a:cubicBezTo>
                      <a:pt x="46" y="31"/>
                      <a:pt x="46" y="34"/>
                      <a:pt x="46" y="37"/>
                    </a:cubicBezTo>
                    <a:cubicBezTo>
                      <a:pt x="50" y="37"/>
                      <a:pt x="55" y="37"/>
                      <a:pt x="60" y="37"/>
                    </a:cubicBezTo>
                    <a:cubicBezTo>
                      <a:pt x="60" y="35"/>
                      <a:pt x="60" y="35"/>
                      <a:pt x="60" y="35"/>
                    </a:cubicBezTo>
                    <a:cubicBezTo>
                      <a:pt x="60" y="32"/>
                      <a:pt x="58" y="30"/>
                      <a:pt x="56" y="29"/>
                    </a:cubicBezTo>
                    <a:close/>
                    <a:moveTo>
                      <a:pt x="59" y="48"/>
                    </a:moveTo>
                    <a:cubicBezTo>
                      <a:pt x="59" y="47"/>
                      <a:pt x="59" y="45"/>
                      <a:pt x="60" y="43"/>
                    </a:cubicBezTo>
                    <a:cubicBezTo>
                      <a:pt x="55" y="43"/>
                      <a:pt x="51" y="43"/>
                      <a:pt x="46" y="43"/>
                    </a:cubicBezTo>
                    <a:cubicBezTo>
                      <a:pt x="46" y="52"/>
                      <a:pt x="46" y="52"/>
                      <a:pt x="46" y="52"/>
                    </a:cubicBezTo>
                    <a:cubicBezTo>
                      <a:pt x="48" y="52"/>
                      <a:pt x="51" y="52"/>
                      <a:pt x="54" y="52"/>
                    </a:cubicBezTo>
                    <a:cubicBezTo>
                      <a:pt x="57" y="51"/>
                      <a:pt x="59" y="49"/>
                      <a:pt x="59" y="4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201" name="îSḻide"/>
              <p:cNvSpPr/>
              <p:nvPr/>
            </p:nvSpPr>
            <p:spPr bwMode="auto">
              <a:xfrm>
                <a:off x="2449409" y="5256803"/>
                <a:ext cx="139700" cy="265113"/>
              </a:xfrm>
              <a:custGeom>
                <a:avLst/>
                <a:gdLst>
                  <a:gd name="T0" fmla="*/ 56 w 76"/>
                  <a:gd name="T1" fmla="*/ 3 h 144"/>
                  <a:gd name="T2" fmla="*/ 61 w 76"/>
                  <a:gd name="T3" fmla="*/ 45 h 144"/>
                  <a:gd name="T4" fmla="*/ 50 w 76"/>
                  <a:gd name="T5" fmla="*/ 74 h 144"/>
                  <a:gd name="T6" fmla="*/ 68 w 76"/>
                  <a:gd name="T7" fmla="*/ 65 h 144"/>
                  <a:gd name="T8" fmla="*/ 70 w 76"/>
                  <a:gd name="T9" fmla="*/ 31 h 144"/>
                  <a:gd name="T10" fmla="*/ 74 w 76"/>
                  <a:gd name="T11" fmla="*/ 31 h 144"/>
                  <a:gd name="T12" fmla="*/ 74 w 76"/>
                  <a:gd name="T13" fmla="*/ 64 h 144"/>
                  <a:gd name="T14" fmla="*/ 50 w 76"/>
                  <a:gd name="T15" fmla="*/ 81 h 144"/>
                  <a:gd name="T16" fmla="*/ 69 w 76"/>
                  <a:gd name="T17" fmla="*/ 103 h 144"/>
                  <a:gd name="T18" fmla="*/ 74 w 76"/>
                  <a:gd name="T19" fmla="*/ 140 h 144"/>
                  <a:gd name="T20" fmla="*/ 63 w 76"/>
                  <a:gd name="T21" fmla="*/ 105 h 144"/>
                  <a:gd name="T22" fmla="*/ 52 w 76"/>
                  <a:gd name="T23" fmla="*/ 138 h 144"/>
                  <a:gd name="T24" fmla="*/ 46 w 76"/>
                  <a:gd name="T25" fmla="*/ 139 h 144"/>
                  <a:gd name="T26" fmla="*/ 42 w 76"/>
                  <a:gd name="T27" fmla="*/ 57 h 144"/>
                  <a:gd name="T28" fmla="*/ 35 w 76"/>
                  <a:gd name="T29" fmla="*/ 132 h 144"/>
                  <a:gd name="T30" fmla="*/ 27 w 76"/>
                  <a:gd name="T31" fmla="*/ 136 h 144"/>
                  <a:gd name="T32" fmla="*/ 29 w 76"/>
                  <a:gd name="T33" fmla="*/ 95 h 144"/>
                  <a:gd name="T34" fmla="*/ 5 w 76"/>
                  <a:gd name="T35" fmla="*/ 135 h 144"/>
                  <a:gd name="T36" fmla="*/ 0 w 76"/>
                  <a:gd name="T37" fmla="*/ 135 h 144"/>
                  <a:gd name="T38" fmla="*/ 30 w 76"/>
                  <a:gd name="T39" fmla="*/ 86 h 144"/>
                  <a:gd name="T40" fmla="*/ 26 w 76"/>
                  <a:gd name="T41" fmla="*/ 80 h 144"/>
                  <a:gd name="T42" fmla="*/ 5 w 76"/>
                  <a:gd name="T43" fmla="*/ 66 h 144"/>
                  <a:gd name="T44" fmla="*/ 3 w 76"/>
                  <a:gd name="T45" fmla="*/ 29 h 144"/>
                  <a:gd name="T46" fmla="*/ 9 w 76"/>
                  <a:gd name="T47" fmla="*/ 59 h 144"/>
                  <a:gd name="T48" fmla="*/ 31 w 76"/>
                  <a:gd name="T49" fmla="*/ 74 h 144"/>
                  <a:gd name="T50" fmla="*/ 32 w 76"/>
                  <a:gd name="T51" fmla="*/ 57 h 144"/>
                  <a:gd name="T52" fmla="*/ 16 w 76"/>
                  <a:gd name="T53" fmla="*/ 14 h 144"/>
                  <a:gd name="T54" fmla="*/ 22 w 76"/>
                  <a:gd name="T55" fmla="*/ 19 h 144"/>
                  <a:gd name="T56" fmla="*/ 57 w 76"/>
                  <a:gd name="T57" fmla="*/ 19 h 144"/>
                  <a:gd name="T58" fmla="*/ 50 w 76"/>
                  <a:gd name="T59" fmla="*/ 9 h 144"/>
                  <a:gd name="T60" fmla="*/ 22 w 76"/>
                  <a:gd name="T61" fmla="*/ 19 h 144"/>
                  <a:gd name="T62" fmla="*/ 23 w 76"/>
                  <a:gd name="T63" fmla="*/ 31 h 144"/>
                  <a:gd name="T64" fmla="*/ 57 w 76"/>
                  <a:gd name="T65" fmla="*/ 34 h 144"/>
                  <a:gd name="T66" fmla="*/ 22 w 76"/>
                  <a:gd name="T67" fmla="*/ 27 h 144"/>
                  <a:gd name="T68" fmla="*/ 48 w 76"/>
                  <a:gd name="T69" fmla="*/ 50 h 144"/>
                  <a:gd name="T70" fmla="*/ 57 w 76"/>
                  <a:gd name="T71" fmla="*/ 41 h 144"/>
                  <a:gd name="T72" fmla="*/ 25 w 76"/>
                  <a:gd name="T73" fmla="*/ 44 h 1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76" h="144">
                    <a:moveTo>
                      <a:pt x="27" y="2"/>
                    </a:moveTo>
                    <a:cubicBezTo>
                      <a:pt x="37" y="0"/>
                      <a:pt x="47" y="0"/>
                      <a:pt x="56" y="3"/>
                    </a:cubicBezTo>
                    <a:cubicBezTo>
                      <a:pt x="60" y="3"/>
                      <a:pt x="62" y="7"/>
                      <a:pt x="63" y="15"/>
                    </a:cubicBezTo>
                    <a:cubicBezTo>
                      <a:pt x="65" y="25"/>
                      <a:pt x="64" y="35"/>
                      <a:pt x="61" y="45"/>
                    </a:cubicBezTo>
                    <a:cubicBezTo>
                      <a:pt x="60" y="53"/>
                      <a:pt x="55" y="56"/>
                      <a:pt x="49" y="57"/>
                    </a:cubicBezTo>
                    <a:cubicBezTo>
                      <a:pt x="49" y="62"/>
                      <a:pt x="50" y="68"/>
                      <a:pt x="50" y="74"/>
                    </a:cubicBezTo>
                    <a:cubicBezTo>
                      <a:pt x="53" y="74"/>
                      <a:pt x="56" y="74"/>
                      <a:pt x="58" y="74"/>
                    </a:cubicBezTo>
                    <a:cubicBezTo>
                      <a:pt x="62" y="75"/>
                      <a:pt x="66" y="72"/>
                      <a:pt x="68" y="65"/>
                    </a:cubicBezTo>
                    <a:cubicBezTo>
                      <a:pt x="69" y="62"/>
                      <a:pt x="70" y="53"/>
                      <a:pt x="70" y="39"/>
                    </a:cubicBezTo>
                    <a:cubicBezTo>
                      <a:pt x="70" y="35"/>
                      <a:pt x="70" y="32"/>
                      <a:pt x="70" y="31"/>
                    </a:cubicBezTo>
                    <a:cubicBezTo>
                      <a:pt x="71" y="31"/>
                      <a:pt x="71" y="30"/>
                      <a:pt x="72" y="30"/>
                    </a:cubicBezTo>
                    <a:cubicBezTo>
                      <a:pt x="73" y="30"/>
                      <a:pt x="74" y="30"/>
                      <a:pt x="74" y="31"/>
                    </a:cubicBezTo>
                    <a:cubicBezTo>
                      <a:pt x="75" y="33"/>
                      <a:pt x="76" y="36"/>
                      <a:pt x="76" y="41"/>
                    </a:cubicBezTo>
                    <a:cubicBezTo>
                      <a:pt x="76" y="49"/>
                      <a:pt x="75" y="56"/>
                      <a:pt x="74" y="64"/>
                    </a:cubicBezTo>
                    <a:cubicBezTo>
                      <a:pt x="72" y="75"/>
                      <a:pt x="67" y="81"/>
                      <a:pt x="58" y="81"/>
                    </a:cubicBezTo>
                    <a:cubicBezTo>
                      <a:pt x="50" y="81"/>
                      <a:pt x="50" y="81"/>
                      <a:pt x="50" y="81"/>
                    </a:cubicBezTo>
                    <a:cubicBezTo>
                      <a:pt x="50" y="87"/>
                      <a:pt x="50" y="87"/>
                      <a:pt x="50" y="87"/>
                    </a:cubicBezTo>
                    <a:cubicBezTo>
                      <a:pt x="60" y="87"/>
                      <a:pt x="66" y="92"/>
                      <a:pt x="69" y="103"/>
                    </a:cubicBezTo>
                    <a:cubicBezTo>
                      <a:pt x="72" y="112"/>
                      <a:pt x="74" y="122"/>
                      <a:pt x="76" y="134"/>
                    </a:cubicBezTo>
                    <a:cubicBezTo>
                      <a:pt x="76" y="138"/>
                      <a:pt x="75" y="140"/>
                      <a:pt x="74" y="140"/>
                    </a:cubicBezTo>
                    <a:cubicBezTo>
                      <a:pt x="72" y="141"/>
                      <a:pt x="71" y="139"/>
                      <a:pt x="70" y="136"/>
                    </a:cubicBezTo>
                    <a:cubicBezTo>
                      <a:pt x="68" y="126"/>
                      <a:pt x="66" y="116"/>
                      <a:pt x="63" y="105"/>
                    </a:cubicBezTo>
                    <a:cubicBezTo>
                      <a:pt x="61" y="98"/>
                      <a:pt x="57" y="95"/>
                      <a:pt x="50" y="95"/>
                    </a:cubicBezTo>
                    <a:cubicBezTo>
                      <a:pt x="50" y="109"/>
                      <a:pt x="51" y="123"/>
                      <a:pt x="52" y="138"/>
                    </a:cubicBezTo>
                    <a:cubicBezTo>
                      <a:pt x="52" y="141"/>
                      <a:pt x="51" y="143"/>
                      <a:pt x="49" y="144"/>
                    </a:cubicBezTo>
                    <a:cubicBezTo>
                      <a:pt x="47" y="144"/>
                      <a:pt x="46" y="142"/>
                      <a:pt x="46" y="139"/>
                    </a:cubicBezTo>
                    <a:cubicBezTo>
                      <a:pt x="44" y="134"/>
                      <a:pt x="43" y="118"/>
                      <a:pt x="43" y="92"/>
                    </a:cubicBezTo>
                    <a:cubicBezTo>
                      <a:pt x="43" y="76"/>
                      <a:pt x="43" y="64"/>
                      <a:pt x="42" y="57"/>
                    </a:cubicBezTo>
                    <a:cubicBezTo>
                      <a:pt x="38" y="57"/>
                      <a:pt x="38" y="57"/>
                      <a:pt x="38" y="57"/>
                    </a:cubicBezTo>
                    <a:cubicBezTo>
                      <a:pt x="36" y="88"/>
                      <a:pt x="35" y="113"/>
                      <a:pt x="35" y="132"/>
                    </a:cubicBezTo>
                    <a:cubicBezTo>
                      <a:pt x="35" y="138"/>
                      <a:pt x="33" y="142"/>
                      <a:pt x="31" y="142"/>
                    </a:cubicBezTo>
                    <a:cubicBezTo>
                      <a:pt x="29" y="142"/>
                      <a:pt x="27" y="140"/>
                      <a:pt x="27" y="136"/>
                    </a:cubicBezTo>
                    <a:cubicBezTo>
                      <a:pt x="27" y="136"/>
                      <a:pt x="27" y="134"/>
                      <a:pt x="27" y="132"/>
                    </a:cubicBezTo>
                    <a:cubicBezTo>
                      <a:pt x="28" y="118"/>
                      <a:pt x="29" y="105"/>
                      <a:pt x="29" y="95"/>
                    </a:cubicBezTo>
                    <a:cubicBezTo>
                      <a:pt x="19" y="95"/>
                      <a:pt x="14" y="98"/>
                      <a:pt x="13" y="105"/>
                    </a:cubicBezTo>
                    <a:cubicBezTo>
                      <a:pt x="10" y="114"/>
                      <a:pt x="7" y="124"/>
                      <a:pt x="5" y="135"/>
                    </a:cubicBezTo>
                    <a:cubicBezTo>
                      <a:pt x="4" y="137"/>
                      <a:pt x="3" y="139"/>
                      <a:pt x="2" y="139"/>
                    </a:cubicBezTo>
                    <a:cubicBezTo>
                      <a:pt x="1" y="140"/>
                      <a:pt x="0" y="138"/>
                      <a:pt x="0" y="135"/>
                    </a:cubicBezTo>
                    <a:cubicBezTo>
                      <a:pt x="0" y="125"/>
                      <a:pt x="2" y="115"/>
                      <a:pt x="7" y="104"/>
                    </a:cubicBezTo>
                    <a:cubicBezTo>
                      <a:pt x="11" y="92"/>
                      <a:pt x="18" y="86"/>
                      <a:pt x="30" y="86"/>
                    </a:cubicBezTo>
                    <a:cubicBezTo>
                      <a:pt x="30" y="85"/>
                      <a:pt x="30" y="83"/>
                      <a:pt x="31" y="80"/>
                    </a:cubicBezTo>
                    <a:cubicBezTo>
                      <a:pt x="29" y="81"/>
                      <a:pt x="28" y="81"/>
                      <a:pt x="26" y="80"/>
                    </a:cubicBezTo>
                    <a:cubicBezTo>
                      <a:pt x="24" y="80"/>
                      <a:pt x="23" y="80"/>
                      <a:pt x="22" y="80"/>
                    </a:cubicBezTo>
                    <a:cubicBezTo>
                      <a:pt x="14" y="81"/>
                      <a:pt x="8" y="76"/>
                      <a:pt x="5" y="66"/>
                    </a:cubicBezTo>
                    <a:cubicBezTo>
                      <a:pt x="2" y="59"/>
                      <a:pt x="0" y="49"/>
                      <a:pt x="0" y="37"/>
                    </a:cubicBezTo>
                    <a:cubicBezTo>
                      <a:pt x="0" y="32"/>
                      <a:pt x="1" y="29"/>
                      <a:pt x="3" y="29"/>
                    </a:cubicBezTo>
                    <a:cubicBezTo>
                      <a:pt x="6" y="31"/>
                      <a:pt x="8" y="35"/>
                      <a:pt x="8" y="39"/>
                    </a:cubicBezTo>
                    <a:cubicBezTo>
                      <a:pt x="7" y="45"/>
                      <a:pt x="7" y="52"/>
                      <a:pt x="9" y="59"/>
                    </a:cubicBezTo>
                    <a:cubicBezTo>
                      <a:pt x="10" y="68"/>
                      <a:pt x="16" y="73"/>
                      <a:pt x="24" y="74"/>
                    </a:cubicBezTo>
                    <a:cubicBezTo>
                      <a:pt x="26" y="74"/>
                      <a:pt x="29" y="74"/>
                      <a:pt x="31" y="74"/>
                    </a:cubicBezTo>
                    <a:cubicBezTo>
                      <a:pt x="31" y="72"/>
                      <a:pt x="31" y="69"/>
                      <a:pt x="31" y="65"/>
                    </a:cubicBezTo>
                    <a:cubicBezTo>
                      <a:pt x="31" y="61"/>
                      <a:pt x="32" y="58"/>
                      <a:pt x="32" y="57"/>
                    </a:cubicBezTo>
                    <a:cubicBezTo>
                      <a:pt x="25" y="56"/>
                      <a:pt x="20" y="53"/>
                      <a:pt x="19" y="48"/>
                    </a:cubicBezTo>
                    <a:cubicBezTo>
                      <a:pt x="15" y="36"/>
                      <a:pt x="14" y="25"/>
                      <a:pt x="16" y="14"/>
                    </a:cubicBezTo>
                    <a:cubicBezTo>
                      <a:pt x="17" y="6"/>
                      <a:pt x="21" y="2"/>
                      <a:pt x="27" y="2"/>
                    </a:cubicBezTo>
                    <a:close/>
                    <a:moveTo>
                      <a:pt x="22" y="19"/>
                    </a:moveTo>
                    <a:cubicBezTo>
                      <a:pt x="22" y="20"/>
                      <a:pt x="22" y="20"/>
                      <a:pt x="22" y="20"/>
                    </a:cubicBezTo>
                    <a:cubicBezTo>
                      <a:pt x="30" y="20"/>
                      <a:pt x="42" y="19"/>
                      <a:pt x="57" y="19"/>
                    </a:cubicBezTo>
                    <a:cubicBezTo>
                      <a:pt x="57" y="18"/>
                      <a:pt x="57" y="17"/>
                      <a:pt x="57" y="16"/>
                    </a:cubicBezTo>
                    <a:cubicBezTo>
                      <a:pt x="56" y="13"/>
                      <a:pt x="54" y="10"/>
                      <a:pt x="50" y="9"/>
                    </a:cubicBezTo>
                    <a:cubicBezTo>
                      <a:pt x="44" y="8"/>
                      <a:pt x="37" y="7"/>
                      <a:pt x="31" y="9"/>
                    </a:cubicBezTo>
                    <a:cubicBezTo>
                      <a:pt x="25" y="11"/>
                      <a:pt x="22" y="14"/>
                      <a:pt x="22" y="19"/>
                    </a:cubicBezTo>
                    <a:close/>
                    <a:moveTo>
                      <a:pt x="22" y="27"/>
                    </a:moveTo>
                    <a:cubicBezTo>
                      <a:pt x="22" y="28"/>
                      <a:pt x="22" y="29"/>
                      <a:pt x="23" y="31"/>
                    </a:cubicBezTo>
                    <a:cubicBezTo>
                      <a:pt x="23" y="32"/>
                      <a:pt x="23" y="33"/>
                      <a:pt x="23" y="34"/>
                    </a:cubicBezTo>
                    <a:cubicBezTo>
                      <a:pt x="57" y="34"/>
                      <a:pt x="57" y="34"/>
                      <a:pt x="57" y="34"/>
                    </a:cubicBezTo>
                    <a:cubicBezTo>
                      <a:pt x="57" y="27"/>
                      <a:pt x="57" y="27"/>
                      <a:pt x="57" y="27"/>
                    </a:cubicBezTo>
                    <a:cubicBezTo>
                      <a:pt x="45" y="26"/>
                      <a:pt x="33" y="26"/>
                      <a:pt x="22" y="27"/>
                    </a:cubicBezTo>
                    <a:close/>
                    <a:moveTo>
                      <a:pt x="35" y="50"/>
                    </a:moveTo>
                    <a:cubicBezTo>
                      <a:pt x="48" y="50"/>
                      <a:pt x="48" y="50"/>
                      <a:pt x="48" y="50"/>
                    </a:cubicBezTo>
                    <a:cubicBezTo>
                      <a:pt x="53" y="50"/>
                      <a:pt x="55" y="47"/>
                      <a:pt x="57" y="42"/>
                    </a:cubicBezTo>
                    <a:cubicBezTo>
                      <a:pt x="57" y="41"/>
                      <a:pt x="57" y="41"/>
                      <a:pt x="57" y="41"/>
                    </a:cubicBezTo>
                    <a:cubicBezTo>
                      <a:pt x="43" y="41"/>
                      <a:pt x="32" y="41"/>
                      <a:pt x="24" y="42"/>
                    </a:cubicBezTo>
                    <a:cubicBezTo>
                      <a:pt x="24" y="43"/>
                      <a:pt x="24" y="43"/>
                      <a:pt x="25" y="44"/>
                    </a:cubicBezTo>
                    <a:cubicBezTo>
                      <a:pt x="27" y="48"/>
                      <a:pt x="30" y="50"/>
                      <a:pt x="35" y="5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202" name="iṣlîḋè"/>
              <p:cNvSpPr/>
              <p:nvPr/>
            </p:nvSpPr>
            <p:spPr bwMode="auto">
              <a:xfrm>
                <a:off x="2604984" y="5259978"/>
                <a:ext cx="177800" cy="255588"/>
              </a:xfrm>
              <a:custGeom>
                <a:avLst/>
                <a:gdLst>
                  <a:gd name="T0" fmla="*/ 5 w 96"/>
                  <a:gd name="T1" fmla="*/ 37 h 138"/>
                  <a:gd name="T2" fmla="*/ 24 w 96"/>
                  <a:gd name="T3" fmla="*/ 49 h 138"/>
                  <a:gd name="T4" fmla="*/ 7 w 96"/>
                  <a:gd name="T5" fmla="*/ 26 h 138"/>
                  <a:gd name="T6" fmla="*/ 0 w 96"/>
                  <a:gd name="T7" fmla="*/ 22 h 138"/>
                  <a:gd name="T8" fmla="*/ 44 w 96"/>
                  <a:gd name="T9" fmla="*/ 19 h 138"/>
                  <a:gd name="T10" fmla="*/ 40 w 96"/>
                  <a:gd name="T11" fmla="*/ 26 h 138"/>
                  <a:gd name="T12" fmla="*/ 29 w 96"/>
                  <a:gd name="T13" fmla="*/ 49 h 138"/>
                  <a:gd name="T14" fmla="*/ 42 w 96"/>
                  <a:gd name="T15" fmla="*/ 39 h 138"/>
                  <a:gd name="T16" fmla="*/ 36 w 96"/>
                  <a:gd name="T17" fmla="*/ 64 h 138"/>
                  <a:gd name="T18" fmla="*/ 44 w 96"/>
                  <a:gd name="T19" fmla="*/ 70 h 138"/>
                  <a:gd name="T20" fmla="*/ 30 w 96"/>
                  <a:gd name="T21" fmla="*/ 78 h 138"/>
                  <a:gd name="T22" fmla="*/ 48 w 96"/>
                  <a:gd name="T23" fmla="*/ 111 h 138"/>
                  <a:gd name="T24" fmla="*/ 42 w 96"/>
                  <a:gd name="T25" fmla="*/ 124 h 138"/>
                  <a:gd name="T26" fmla="*/ 33 w 96"/>
                  <a:gd name="T27" fmla="*/ 93 h 138"/>
                  <a:gd name="T28" fmla="*/ 30 w 96"/>
                  <a:gd name="T29" fmla="*/ 116 h 138"/>
                  <a:gd name="T30" fmla="*/ 24 w 96"/>
                  <a:gd name="T31" fmla="*/ 133 h 138"/>
                  <a:gd name="T32" fmla="*/ 20 w 96"/>
                  <a:gd name="T33" fmla="*/ 93 h 138"/>
                  <a:gd name="T34" fmla="*/ 11 w 96"/>
                  <a:gd name="T35" fmla="*/ 122 h 138"/>
                  <a:gd name="T36" fmla="*/ 8 w 96"/>
                  <a:gd name="T37" fmla="*/ 102 h 138"/>
                  <a:gd name="T38" fmla="*/ 24 w 96"/>
                  <a:gd name="T39" fmla="*/ 81 h 138"/>
                  <a:gd name="T40" fmla="*/ 3 w 96"/>
                  <a:gd name="T41" fmla="*/ 77 h 138"/>
                  <a:gd name="T42" fmla="*/ 14 w 96"/>
                  <a:gd name="T43" fmla="*/ 70 h 138"/>
                  <a:gd name="T44" fmla="*/ 20 w 96"/>
                  <a:gd name="T45" fmla="*/ 65 h 138"/>
                  <a:gd name="T46" fmla="*/ 2 w 96"/>
                  <a:gd name="T47" fmla="*/ 37 h 138"/>
                  <a:gd name="T48" fmla="*/ 40 w 96"/>
                  <a:gd name="T49" fmla="*/ 3 h 138"/>
                  <a:gd name="T50" fmla="*/ 14 w 96"/>
                  <a:gd name="T51" fmla="*/ 11 h 138"/>
                  <a:gd name="T52" fmla="*/ 5 w 96"/>
                  <a:gd name="T53" fmla="*/ 6 h 138"/>
                  <a:gd name="T54" fmla="*/ 33 w 96"/>
                  <a:gd name="T55" fmla="*/ 26 h 138"/>
                  <a:gd name="T56" fmla="*/ 27 w 96"/>
                  <a:gd name="T57" fmla="*/ 45 h 138"/>
                  <a:gd name="T58" fmla="*/ 54 w 96"/>
                  <a:gd name="T59" fmla="*/ 2 h 138"/>
                  <a:gd name="T60" fmla="*/ 58 w 96"/>
                  <a:gd name="T61" fmla="*/ 10 h 138"/>
                  <a:gd name="T62" fmla="*/ 88 w 96"/>
                  <a:gd name="T63" fmla="*/ 22 h 138"/>
                  <a:gd name="T64" fmla="*/ 74 w 96"/>
                  <a:gd name="T65" fmla="*/ 37 h 138"/>
                  <a:gd name="T66" fmla="*/ 62 w 96"/>
                  <a:gd name="T67" fmla="*/ 66 h 138"/>
                  <a:gd name="T68" fmla="*/ 53 w 96"/>
                  <a:gd name="T69" fmla="*/ 136 h 138"/>
                  <a:gd name="T70" fmla="*/ 48 w 96"/>
                  <a:gd name="T71" fmla="*/ 130 h 138"/>
                  <a:gd name="T72" fmla="*/ 55 w 96"/>
                  <a:gd name="T73" fmla="*/ 48 h 138"/>
                  <a:gd name="T74" fmla="*/ 76 w 96"/>
                  <a:gd name="T75" fmla="*/ 31 h 138"/>
                  <a:gd name="T76" fmla="*/ 65 w 96"/>
                  <a:gd name="T77" fmla="*/ 18 h 138"/>
                  <a:gd name="T78" fmla="*/ 52 w 96"/>
                  <a:gd name="T79" fmla="*/ 13 h 138"/>
                  <a:gd name="T80" fmla="*/ 94 w 96"/>
                  <a:gd name="T81" fmla="*/ 74 h 138"/>
                  <a:gd name="T82" fmla="*/ 76 w 96"/>
                  <a:gd name="T83" fmla="*/ 54 h 138"/>
                  <a:gd name="T84" fmla="*/ 83 w 96"/>
                  <a:gd name="T85" fmla="*/ 119 h 138"/>
                  <a:gd name="T86" fmla="*/ 88 w 96"/>
                  <a:gd name="T87" fmla="*/ 133 h 138"/>
                  <a:gd name="T88" fmla="*/ 70 w 96"/>
                  <a:gd name="T89" fmla="*/ 93 h 138"/>
                  <a:gd name="T90" fmla="*/ 70 w 96"/>
                  <a:gd name="T91" fmla="*/ 42 h 138"/>
                  <a:gd name="T92" fmla="*/ 95 w 96"/>
                  <a:gd name="T93" fmla="*/ 70 h 1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96" h="138">
                    <a:moveTo>
                      <a:pt x="2" y="37"/>
                    </a:moveTo>
                    <a:cubicBezTo>
                      <a:pt x="2" y="36"/>
                      <a:pt x="2" y="35"/>
                      <a:pt x="3" y="35"/>
                    </a:cubicBezTo>
                    <a:cubicBezTo>
                      <a:pt x="4" y="35"/>
                      <a:pt x="5" y="36"/>
                      <a:pt x="5" y="37"/>
                    </a:cubicBezTo>
                    <a:cubicBezTo>
                      <a:pt x="9" y="49"/>
                      <a:pt x="14" y="56"/>
                      <a:pt x="21" y="59"/>
                    </a:cubicBezTo>
                    <a:cubicBezTo>
                      <a:pt x="21" y="59"/>
                      <a:pt x="22" y="60"/>
                      <a:pt x="24" y="60"/>
                    </a:cubicBezTo>
                    <a:cubicBezTo>
                      <a:pt x="24" y="56"/>
                      <a:pt x="24" y="53"/>
                      <a:pt x="24" y="49"/>
                    </a:cubicBezTo>
                    <a:cubicBezTo>
                      <a:pt x="21" y="48"/>
                      <a:pt x="18" y="46"/>
                      <a:pt x="16" y="42"/>
                    </a:cubicBezTo>
                    <a:cubicBezTo>
                      <a:pt x="13" y="38"/>
                      <a:pt x="12" y="33"/>
                      <a:pt x="12" y="26"/>
                    </a:cubicBezTo>
                    <a:cubicBezTo>
                      <a:pt x="9" y="26"/>
                      <a:pt x="8" y="26"/>
                      <a:pt x="7" y="26"/>
                    </a:cubicBezTo>
                    <a:cubicBezTo>
                      <a:pt x="4" y="27"/>
                      <a:pt x="2" y="27"/>
                      <a:pt x="1" y="25"/>
                    </a:cubicBezTo>
                    <a:cubicBezTo>
                      <a:pt x="0" y="24"/>
                      <a:pt x="0" y="23"/>
                      <a:pt x="0" y="22"/>
                    </a:cubicBezTo>
                    <a:cubicBezTo>
                      <a:pt x="0" y="22"/>
                      <a:pt x="0" y="22"/>
                      <a:pt x="0" y="22"/>
                    </a:cubicBezTo>
                    <a:cubicBezTo>
                      <a:pt x="1" y="19"/>
                      <a:pt x="2" y="18"/>
                      <a:pt x="4" y="19"/>
                    </a:cubicBezTo>
                    <a:cubicBezTo>
                      <a:pt x="6" y="19"/>
                      <a:pt x="8" y="19"/>
                      <a:pt x="11" y="19"/>
                    </a:cubicBezTo>
                    <a:cubicBezTo>
                      <a:pt x="44" y="19"/>
                      <a:pt x="44" y="19"/>
                      <a:pt x="44" y="19"/>
                    </a:cubicBezTo>
                    <a:cubicBezTo>
                      <a:pt x="46" y="19"/>
                      <a:pt x="48" y="20"/>
                      <a:pt x="48" y="23"/>
                    </a:cubicBezTo>
                    <a:cubicBezTo>
                      <a:pt x="47" y="25"/>
                      <a:pt x="45" y="26"/>
                      <a:pt x="42" y="26"/>
                    </a:cubicBezTo>
                    <a:cubicBezTo>
                      <a:pt x="42" y="26"/>
                      <a:pt x="41" y="26"/>
                      <a:pt x="40" y="26"/>
                    </a:cubicBezTo>
                    <a:cubicBezTo>
                      <a:pt x="40" y="26"/>
                      <a:pt x="40" y="26"/>
                      <a:pt x="40" y="26"/>
                    </a:cubicBezTo>
                    <a:cubicBezTo>
                      <a:pt x="39" y="34"/>
                      <a:pt x="38" y="39"/>
                      <a:pt x="37" y="42"/>
                    </a:cubicBezTo>
                    <a:cubicBezTo>
                      <a:pt x="34" y="46"/>
                      <a:pt x="32" y="49"/>
                      <a:pt x="29" y="49"/>
                    </a:cubicBezTo>
                    <a:cubicBezTo>
                      <a:pt x="30" y="53"/>
                      <a:pt x="30" y="56"/>
                      <a:pt x="30" y="60"/>
                    </a:cubicBezTo>
                    <a:cubicBezTo>
                      <a:pt x="31" y="60"/>
                      <a:pt x="32" y="59"/>
                      <a:pt x="33" y="58"/>
                    </a:cubicBezTo>
                    <a:cubicBezTo>
                      <a:pt x="39" y="56"/>
                      <a:pt x="42" y="49"/>
                      <a:pt x="42" y="39"/>
                    </a:cubicBezTo>
                    <a:cubicBezTo>
                      <a:pt x="43" y="37"/>
                      <a:pt x="44" y="36"/>
                      <a:pt x="46" y="36"/>
                    </a:cubicBezTo>
                    <a:cubicBezTo>
                      <a:pt x="47" y="36"/>
                      <a:pt x="48" y="37"/>
                      <a:pt x="48" y="39"/>
                    </a:cubicBezTo>
                    <a:cubicBezTo>
                      <a:pt x="49" y="49"/>
                      <a:pt x="45" y="57"/>
                      <a:pt x="36" y="64"/>
                    </a:cubicBezTo>
                    <a:cubicBezTo>
                      <a:pt x="34" y="65"/>
                      <a:pt x="32" y="66"/>
                      <a:pt x="30" y="66"/>
                    </a:cubicBezTo>
                    <a:cubicBezTo>
                      <a:pt x="30" y="70"/>
                      <a:pt x="30" y="70"/>
                      <a:pt x="30" y="70"/>
                    </a:cubicBezTo>
                    <a:cubicBezTo>
                      <a:pt x="44" y="70"/>
                      <a:pt x="44" y="70"/>
                      <a:pt x="44" y="70"/>
                    </a:cubicBezTo>
                    <a:cubicBezTo>
                      <a:pt x="47" y="70"/>
                      <a:pt x="49" y="71"/>
                      <a:pt x="49" y="73"/>
                    </a:cubicBezTo>
                    <a:cubicBezTo>
                      <a:pt x="49" y="76"/>
                      <a:pt x="47" y="77"/>
                      <a:pt x="43" y="77"/>
                    </a:cubicBezTo>
                    <a:cubicBezTo>
                      <a:pt x="37" y="77"/>
                      <a:pt x="33" y="77"/>
                      <a:pt x="30" y="78"/>
                    </a:cubicBezTo>
                    <a:cubicBezTo>
                      <a:pt x="30" y="80"/>
                      <a:pt x="30" y="82"/>
                      <a:pt x="30" y="84"/>
                    </a:cubicBezTo>
                    <a:cubicBezTo>
                      <a:pt x="34" y="84"/>
                      <a:pt x="37" y="87"/>
                      <a:pt x="40" y="91"/>
                    </a:cubicBezTo>
                    <a:cubicBezTo>
                      <a:pt x="44" y="96"/>
                      <a:pt x="46" y="103"/>
                      <a:pt x="48" y="111"/>
                    </a:cubicBezTo>
                    <a:cubicBezTo>
                      <a:pt x="49" y="116"/>
                      <a:pt x="49" y="120"/>
                      <a:pt x="48" y="124"/>
                    </a:cubicBezTo>
                    <a:cubicBezTo>
                      <a:pt x="47" y="125"/>
                      <a:pt x="46" y="125"/>
                      <a:pt x="45" y="125"/>
                    </a:cubicBezTo>
                    <a:cubicBezTo>
                      <a:pt x="44" y="125"/>
                      <a:pt x="43" y="125"/>
                      <a:pt x="42" y="124"/>
                    </a:cubicBezTo>
                    <a:cubicBezTo>
                      <a:pt x="42" y="123"/>
                      <a:pt x="42" y="121"/>
                      <a:pt x="42" y="118"/>
                    </a:cubicBezTo>
                    <a:cubicBezTo>
                      <a:pt x="41" y="116"/>
                      <a:pt x="41" y="114"/>
                      <a:pt x="41" y="113"/>
                    </a:cubicBezTo>
                    <a:cubicBezTo>
                      <a:pt x="40" y="104"/>
                      <a:pt x="37" y="97"/>
                      <a:pt x="33" y="93"/>
                    </a:cubicBezTo>
                    <a:cubicBezTo>
                      <a:pt x="33" y="92"/>
                      <a:pt x="32" y="91"/>
                      <a:pt x="30" y="91"/>
                    </a:cubicBezTo>
                    <a:cubicBezTo>
                      <a:pt x="31" y="97"/>
                      <a:pt x="31" y="101"/>
                      <a:pt x="31" y="105"/>
                    </a:cubicBezTo>
                    <a:cubicBezTo>
                      <a:pt x="31" y="107"/>
                      <a:pt x="31" y="111"/>
                      <a:pt x="30" y="116"/>
                    </a:cubicBezTo>
                    <a:cubicBezTo>
                      <a:pt x="30" y="124"/>
                      <a:pt x="30" y="129"/>
                      <a:pt x="29" y="133"/>
                    </a:cubicBezTo>
                    <a:cubicBezTo>
                      <a:pt x="29" y="136"/>
                      <a:pt x="28" y="137"/>
                      <a:pt x="27" y="137"/>
                    </a:cubicBezTo>
                    <a:cubicBezTo>
                      <a:pt x="26" y="137"/>
                      <a:pt x="25" y="136"/>
                      <a:pt x="24" y="133"/>
                    </a:cubicBezTo>
                    <a:cubicBezTo>
                      <a:pt x="24" y="120"/>
                      <a:pt x="24" y="111"/>
                      <a:pt x="24" y="105"/>
                    </a:cubicBezTo>
                    <a:cubicBezTo>
                      <a:pt x="24" y="100"/>
                      <a:pt x="24" y="95"/>
                      <a:pt x="24" y="90"/>
                    </a:cubicBezTo>
                    <a:cubicBezTo>
                      <a:pt x="22" y="91"/>
                      <a:pt x="21" y="92"/>
                      <a:pt x="20" y="93"/>
                    </a:cubicBezTo>
                    <a:cubicBezTo>
                      <a:pt x="18" y="94"/>
                      <a:pt x="16" y="98"/>
                      <a:pt x="14" y="102"/>
                    </a:cubicBezTo>
                    <a:cubicBezTo>
                      <a:pt x="13" y="104"/>
                      <a:pt x="13" y="104"/>
                      <a:pt x="13" y="104"/>
                    </a:cubicBezTo>
                    <a:cubicBezTo>
                      <a:pt x="12" y="108"/>
                      <a:pt x="11" y="114"/>
                      <a:pt x="11" y="122"/>
                    </a:cubicBezTo>
                    <a:cubicBezTo>
                      <a:pt x="10" y="124"/>
                      <a:pt x="9" y="125"/>
                      <a:pt x="7" y="125"/>
                    </a:cubicBezTo>
                    <a:cubicBezTo>
                      <a:pt x="6" y="125"/>
                      <a:pt x="5" y="124"/>
                      <a:pt x="5" y="122"/>
                    </a:cubicBezTo>
                    <a:cubicBezTo>
                      <a:pt x="6" y="115"/>
                      <a:pt x="7" y="108"/>
                      <a:pt x="8" y="102"/>
                    </a:cubicBezTo>
                    <a:cubicBezTo>
                      <a:pt x="9" y="97"/>
                      <a:pt x="11" y="92"/>
                      <a:pt x="14" y="89"/>
                    </a:cubicBezTo>
                    <a:cubicBezTo>
                      <a:pt x="17" y="86"/>
                      <a:pt x="20" y="84"/>
                      <a:pt x="24" y="84"/>
                    </a:cubicBezTo>
                    <a:cubicBezTo>
                      <a:pt x="24" y="81"/>
                      <a:pt x="24" y="81"/>
                      <a:pt x="24" y="81"/>
                    </a:cubicBezTo>
                    <a:cubicBezTo>
                      <a:pt x="24" y="80"/>
                      <a:pt x="24" y="79"/>
                      <a:pt x="24" y="78"/>
                    </a:cubicBezTo>
                    <a:cubicBezTo>
                      <a:pt x="14" y="78"/>
                      <a:pt x="9" y="78"/>
                      <a:pt x="9" y="78"/>
                    </a:cubicBezTo>
                    <a:cubicBezTo>
                      <a:pt x="6" y="79"/>
                      <a:pt x="4" y="79"/>
                      <a:pt x="3" y="77"/>
                    </a:cubicBezTo>
                    <a:cubicBezTo>
                      <a:pt x="2" y="76"/>
                      <a:pt x="2" y="74"/>
                      <a:pt x="3" y="72"/>
                    </a:cubicBezTo>
                    <a:cubicBezTo>
                      <a:pt x="3" y="70"/>
                      <a:pt x="4" y="70"/>
                      <a:pt x="7" y="70"/>
                    </a:cubicBezTo>
                    <a:cubicBezTo>
                      <a:pt x="8" y="70"/>
                      <a:pt x="10" y="70"/>
                      <a:pt x="14" y="70"/>
                    </a:cubicBezTo>
                    <a:cubicBezTo>
                      <a:pt x="24" y="70"/>
                      <a:pt x="24" y="70"/>
                      <a:pt x="24" y="70"/>
                    </a:cubicBezTo>
                    <a:cubicBezTo>
                      <a:pt x="24" y="66"/>
                      <a:pt x="24" y="66"/>
                      <a:pt x="24" y="66"/>
                    </a:cubicBezTo>
                    <a:cubicBezTo>
                      <a:pt x="22" y="66"/>
                      <a:pt x="21" y="66"/>
                      <a:pt x="20" y="65"/>
                    </a:cubicBezTo>
                    <a:cubicBezTo>
                      <a:pt x="12" y="62"/>
                      <a:pt x="6" y="56"/>
                      <a:pt x="2" y="46"/>
                    </a:cubicBezTo>
                    <a:cubicBezTo>
                      <a:pt x="2" y="46"/>
                      <a:pt x="2" y="43"/>
                      <a:pt x="2" y="40"/>
                    </a:cubicBezTo>
                    <a:cubicBezTo>
                      <a:pt x="2" y="39"/>
                      <a:pt x="2" y="38"/>
                      <a:pt x="2" y="37"/>
                    </a:cubicBezTo>
                    <a:close/>
                    <a:moveTo>
                      <a:pt x="9" y="3"/>
                    </a:moveTo>
                    <a:cubicBezTo>
                      <a:pt x="11" y="3"/>
                      <a:pt x="15" y="3"/>
                      <a:pt x="19" y="3"/>
                    </a:cubicBezTo>
                    <a:cubicBezTo>
                      <a:pt x="40" y="3"/>
                      <a:pt x="40" y="3"/>
                      <a:pt x="40" y="3"/>
                    </a:cubicBezTo>
                    <a:cubicBezTo>
                      <a:pt x="43" y="3"/>
                      <a:pt x="44" y="5"/>
                      <a:pt x="44" y="7"/>
                    </a:cubicBezTo>
                    <a:cubicBezTo>
                      <a:pt x="44" y="9"/>
                      <a:pt x="42" y="10"/>
                      <a:pt x="39" y="10"/>
                    </a:cubicBezTo>
                    <a:cubicBezTo>
                      <a:pt x="34" y="10"/>
                      <a:pt x="25" y="10"/>
                      <a:pt x="14" y="11"/>
                    </a:cubicBezTo>
                    <a:cubicBezTo>
                      <a:pt x="13" y="11"/>
                      <a:pt x="12" y="11"/>
                      <a:pt x="11" y="11"/>
                    </a:cubicBezTo>
                    <a:cubicBezTo>
                      <a:pt x="7" y="11"/>
                      <a:pt x="5" y="11"/>
                      <a:pt x="5" y="9"/>
                    </a:cubicBezTo>
                    <a:cubicBezTo>
                      <a:pt x="5" y="9"/>
                      <a:pt x="4" y="8"/>
                      <a:pt x="5" y="6"/>
                    </a:cubicBezTo>
                    <a:cubicBezTo>
                      <a:pt x="5" y="5"/>
                      <a:pt x="5" y="5"/>
                      <a:pt x="5" y="5"/>
                    </a:cubicBezTo>
                    <a:cubicBezTo>
                      <a:pt x="5" y="3"/>
                      <a:pt x="6" y="3"/>
                      <a:pt x="9" y="3"/>
                    </a:cubicBezTo>
                    <a:close/>
                    <a:moveTo>
                      <a:pt x="33" y="26"/>
                    </a:moveTo>
                    <a:cubicBezTo>
                      <a:pt x="28" y="26"/>
                      <a:pt x="23" y="26"/>
                      <a:pt x="17" y="26"/>
                    </a:cubicBezTo>
                    <a:cubicBezTo>
                      <a:pt x="18" y="32"/>
                      <a:pt x="20" y="38"/>
                      <a:pt x="24" y="42"/>
                    </a:cubicBezTo>
                    <a:cubicBezTo>
                      <a:pt x="25" y="44"/>
                      <a:pt x="26" y="45"/>
                      <a:pt x="27" y="45"/>
                    </a:cubicBezTo>
                    <a:cubicBezTo>
                      <a:pt x="28" y="45"/>
                      <a:pt x="29" y="44"/>
                      <a:pt x="29" y="42"/>
                    </a:cubicBezTo>
                    <a:cubicBezTo>
                      <a:pt x="32" y="38"/>
                      <a:pt x="33" y="33"/>
                      <a:pt x="33" y="26"/>
                    </a:cubicBezTo>
                    <a:close/>
                    <a:moveTo>
                      <a:pt x="54" y="2"/>
                    </a:moveTo>
                    <a:cubicBezTo>
                      <a:pt x="55" y="0"/>
                      <a:pt x="57" y="0"/>
                      <a:pt x="58" y="1"/>
                    </a:cubicBezTo>
                    <a:cubicBezTo>
                      <a:pt x="59" y="2"/>
                      <a:pt x="60" y="4"/>
                      <a:pt x="59" y="6"/>
                    </a:cubicBezTo>
                    <a:cubicBezTo>
                      <a:pt x="57" y="8"/>
                      <a:pt x="57" y="9"/>
                      <a:pt x="58" y="10"/>
                    </a:cubicBezTo>
                    <a:cubicBezTo>
                      <a:pt x="59" y="11"/>
                      <a:pt x="61" y="12"/>
                      <a:pt x="63" y="11"/>
                    </a:cubicBezTo>
                    <a:cubicBezTo>
                      <a:pt x="67" y="9"/>
                      <a:pt x="73" y="9"/>
                      <a:pt x="80" y="11"/>
                    </a:cubicBezTo>
                    <a:cubicBezTo>
                      <a:pt x="84" y="13"/>
                      <a:pt x="87" y="16"/>
                      <a:pt x="88" y="22"/>
                    </a:cubicBezTo>
                    <a:cubicBezTo>
                      <a:pt x="89" y="27"/>
                      <a:pt x="88" y="32"/>
                      <a:pt x="85" y="35"/>
                    </a:cubicBezTo>
                    <a:cubicBezTo>
                      <a:pt x="84" y="38"/>
                      <a:pt x="81" y="39"/>
                      <a:pt x="75" y="37"/>
                    </a:cubicBezTo>
                    <a:cubicBezTo>
                      <a:pt x="75" y="37"/>
                      <a:pt x="74" y="37"/>
                      <a:pt x="74" y="37"/>
                    </a:cubicBezTo>
                    <a:cubicBezTo>
                      <a:pt x="69" y="37"/>
                      <a:pt x="66" y="37"/>
                      <a:pt x="63" y="38"/>
                    </a:cubicBezTo>
                    <a:cubicBezTo>
                      <a:pt x="62" y="38"/>
                      <a:pt x="61" y="40"/>
                      <a:pt x="61" y="43"/>
                    </a:cubicBezTo>
                    <a:cubicBezTo>
                      <a:pt x="62" y="48"/>
                      <a:pt x="62" y="56"/>
                      <a:pt x="62" y="66"/>
                    </a:cubicBezTo>
                    <a:cubicBezTo>
                      <a:pt x="62" y="70"/>
                      <a:pt x="61" y="76"/>
                      <a:pt x="61" y="84"/>
                    </a:cubicBezTo>
                    <a:cubicBezTo>
                      <a:pt x="59" y="99"/>
                      <a:pt x="58" y="110"/>
                      <a:pt x="57" y="116"/>
                    </a:cubicBezTo>
                    <a:cubicBezTo>
                      <a:pt x="57" y="122"/>
                      <a:pt x="55" y="128"/>
                      <a:pt x="53" y="136"/>
                    </a:cubicBezTo>
                    <a:cubicBezTo>
                      <a:pt x="52" y="137"/>
                      <a:pt x="51" y="138"/>
                      <a:pt x="50" y="138"/>
                    </a:cubicBezTo>
                    <a:cubicBezTo>
                      <a:pt x="48" y="138"/>
                      <a:pt x="48" y="137"/>
                      <a:pt x="48" y="136"/>
                    </a:cubicBezTo>
                    <a:cubicBezTo>
                      <a:pt x="48" y="135"/>
                      <a:pt x="48" y="133"/>
                      <a:pt x="48" y="130"/>
                    </a:cubicBezTo>
                    <a:cubicBezTo>
                      <a:pt x="49" y="127"/>
                      <a:pt x="49" y="126"/>
                      <a:pt x="49" y="125"/>
                    </a:cubicBezTo>
                    <a:cubicBezTo>
                      <a:pt x="53" y="104"/>
                      <a:pt x="55" y="85"/>
                      <a:pt x="55" y="68"/>
                    </a:cubicBezTo>
                    <a:cubicBezTo>
                      <a:pt x="56" y="60"/>
                      <a:pt x="56" y="54"/>
                      <a:pt x="55" y="48"/>
                    </a:cubicBezTo>
                    <a:cubicBezTo>
                      <a:pt x="54" y="45"/>
                      <a:pt x="53" y="42"/>
                      <a:pt x="52" y="40"/>
                    </a:cubicBezTo>
                    <a:cubicBezTo>
                      <a:pt x="50" y="38"/>
                      <a:pt x="51" y="36"/>
                      <a:pt x="54" y="34"/>
                    </a:cubicBezTo>
                    <a:cubicBezTo>
                      <a:pt x="58" y="30"/>
                      <a:pt x="66" y="29"/>
                      <a:pt x="76" y="31"/>
                    </a:cubicBezTo>
                    <a:cubicBezTo>
                      <a:pt x="81" y="32"/>
                      <a:pt x="83" y="30"/>
                      <a:pt x="83" y="25"/>
                    </a:cubicBezTo>
                    <a:cubicBezTo>
                      <a:pt x="83" y="21"/>
                      <a:pt x="81" y="18"/>
                      <a:pt x="77" y="18"/>
                    </a:cubicBezTo>
                    <a:cubicBezTo>
                      <a:pt x="70" y="17"/>
                      <a:pt x="66" y="17"/>
                      <a:pt x="65" y="18"/>
                    </a:cubicBezTo>
                    <a:cubicBezTo>
                      <a:pt x="63" y="19"/>
                      <a:pt x="60" y="19"/>
                      <a:pt x="57" y="19"/>
                    </a:cubicBezTo>
                    <a:cubicBezTo>
                      <a:pt x="57" y="18"/>
                      <a:pt x="55" y="17"/>
                      <a:pt x="53" y="15"/>
                    </a:cubicBezTo>
                    <a:cubicBezTo>
                      <a:pt x="53" y="14"/>
                      <a:pt x="52" y="14"/>
                      <a:pt x="52" y="13"/>
                    </a:cubicBezTo>
                    <a:cubicBezTo>
                      <a:pt x="50" y="10"/>
                      <a:pt x="51" y="6"/>
                      <a:pt x="54" y="2"/>
                    </a:cubicBezTo>
                    <a:close/>
                    <a:moveTo>
                      <a:pt x="95" y="70"/>
                    </a:moveTo>
                    <a:cubicBezTo>
                      <a:pt x="96" y="72"/>
                      <a:pt x="95" y="73"/>
                      <a:pt x="94" y="74"/>
                    </a:cubicBezTo>
                    <a:cubicBezTo>
                      <a:pt x="92" y="74"/>
                      <a:pt x="91" y="74"/>
                      <a:pt x="90" y="72"/>
                    </a:cubicBezTo>
                    <a:cubicBezTo>
                      <a:pt x="88" y="67"/>
                      <a:pt x="84" y="62"/>
                      <a:pt x="78" y="56"/>
                    </a:cubicBezTo>
                    <a:cubicBezTo>
                      <a:pt x="77" y="55"/>
                      <a:pt x="76" y="54"/>
                      <a:pt x="76" y="54"/>
                    </a:cubicBezTo>
                    <a:cubicBezTo>
                      <a:pt x="75" y="56"/>
                      <a:pt x="75" y="56"/>
                      <a:pt x="75" y="56"/>
                    </a:cubicBezTo>
                    <a:cubicBezTo>
                      <a:pt x="75" y="61"/>
                      <a:pt x="75" y="73"/>
                      <a:pt x="77" y="93"/>
                    </a:cubicBezTo>
                    <a:cubicBezTo>
                      <a:pt x="78" y="99"/>
                      <a:pt x="80" y="107"/>
                      <a:pt x="83" y="119"/>
                    </a:cubicBezTo>
                    <a:cubicBezTo>
                      <a:pt x="84" y="122"/>
                      <a:pt x="85" y="124"/>
                      <a:pt x="85" y="124"/>
                    </a:cubicBezTo>
                    <a:cubicBezTo>
                      <a:pt x="86" y="126"/>
                      <a:pt x="86" y="128"/>
                      <a:pt x="87" y="131"/>
                    </a:cubicBezTo>
                    <a:cubicBezTo>
                      <a:pt x="88" y="132"/>
                      <a:pt x="88" y="133"/>
                      <a:pt x="88" y="133"/>
                    </a:cubicBezTo>
                    <a:cubicBezTo>
                      <a:pt x="88" y="135"/>
                      <a:pt x="88" y="136"/>
                      <a:pt x="86" y="136"/>
                    </a:cubicBezTo>
                    <a:cubicBezTo>
                      <a:pt x="84" y="136"/>
                      <a:pt x="83" y="135"/>
                      <a:pt x="82" y="133"/>
                    </a:cubicBezTo>
                    <a:cubicBezTo>
                      <a:pt x="77" y="123"/>
                      <a:pt x="73" y="110"/>
                      <a:pt x="70" y="93"/>
                    </a:cubicBezTo>
                    <a:cubicBezTo>
                      <a:pt x="69" y="79"/>
                      <a:pt x="68" y="68"/>
                      <a:pt x="68" y="58"/>
                    </a:cubicBezTo>
                    <a:cubicBezTo>
                      <a:pt x="68" y="51"/>
                      <a:pt x="68" y="46"/>
                      <a:pt x="68" y="44"/>
                    </a:cubicBezTo>
                    <a:cubicBezTo>
                      <a:pt x="68" y="43"/>
                      <a:pt x="69" y="42"/>
                      <a:pt x="70" y="42"/>
                    </a:cubicBezTo>
                    <a:cubicBezTo>
                      <a:pt x="71" y="41"/>
                      <a:pt x="71" y="41"/>
                      <a:pt x="72" y="42"/>
                    </a:cubicBezTo>
                    <a:cubicBezTo>
                      <a:pt x="76" y="45"/>
                      <a:pt x="78" y="48"/>
                      <a:pt x="80" y="49"/>
                    </a:cubicBezTo>
                    <a:cubicBezTo>
                      <a:pt x="86" y="54"/>
                      <a:pt x="91" y="61"/>
                      <a:pt x="95" y="7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203" name="íṣ1ïḑe"/>
              <p:cNvSpPr/>
              <p:nvPr/>
            </p:nvSpPr>
            <p:spPr bwMode="auto">
              <a:xfrm>
                <a:off x="1750909" y="4905965"/>
                <a:ext cx="93663" cy="87313"/>
              </a:xfrm>
              <a:custGeom>
                <a:avLst/>
                <a:gdLst>
                  <a:gd name="T0" fmla="*/ 51 w 51"/>
                  <a:gd name="T1" fmla="*/ 17 h 47"/>
                  <a:gd name="T2" fmla="*/ 46 w 51"/>
                  <a:gd name="T3" fmla="*/ 25 h 47"/>
                  <a:gd name="T4" fmla="*/ 26 w 51"/>
                  <a:gd name="T5" fmla="*/ 13 h 47"/>
                  <a:gd name="T6" fmla="*/ 20 w 51"/>
                  <a:gd name="T7" fmla="*/ 9 h 47"/>
                  <a:gd name="T8" fmla="*/ 14 w 51"/>
                  <a:gd name="T9" fmla="*/ 9 h 47"/>
                  <a:gd name="T10" fmla="*/ 10 w 51"/>
                  <a:gd name="T11" fmla="*/ 13 h 47"/>
                  <a:gd name="T12" fmla="*/ 8 w 51"/>
                  <a:gd name="T13" fmla="*/ 19 h 47"/>
                  <a:gd name="T14" fmla="*/ 10 w 51"/>
                  <a:gd name="T15" fmla="*/ 23 h 47"/>
                  <a:gd name="T16" fmla="*/ 17 w 51"/>
                  <a:gd name="T17" fmla="*/ 27 h 47"/>
                  <a:gd name="T18" fmla="*/ 37 w 51"/>
                  <a:gd name="T19" fmla="*/ 40 h 47"/>
                  <a:gd name="T20" fmla="*/ 33 w 51"/>
                  <a:gd name="T21" fmla="*/ 47 h 47"/>
                  <a:gd name="T22" fmla="*/ 13 w 51"/>
                  <a:gd name="T23" fmla="*/ 35 h 47"/>
                  <a:gd name="T24" fmla="*/ 4 w 51"/>
                  <a:gd name="T25" fmla="*/ 29 h 47"/>
                  <a:gd name="T26" fmla="*/ 1 w 51"/>
                  <a:gd name="T27" fmla="*/ 24 h 47"/>
                  <a:gd name="T28" fmla="*/ 0 w 51"/>
                  <a:gd name="T29" fmla="*/ 18 h 47"/>
                  <a:gd name="T30" fmla="*/ 3 w 51"/>
                  <a:gd name="T31" fmla="*/ 10 h 47"/>
                  <a:gd name="T32" fmla="*/ 10 w 51"/>
                  <a:gd name="T33" fmla="*/ 2 h 47"/>
                  <a:gd name="T34" fmla="*/ 15 w 51"/>
                  <a:gd name="T35" fmla="*/ 0 h 47"/>
                  <a:gd name="T36" fmla="*/ 21 w 51"/>
                  <a:gd name="T37" fmla="*/ 0 h 47"/>
                  <a:gd name="T38" fmla="*/ 31 w 51"/>
                  <a:gd name="T39" fmla="*/ 5 h 47"/>
                  <a:gd name="T40" fmla="*/ 51 w 51"/>
                  <a:gd name="T41" fmla="*/ 17 h 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51" h="47">
                    <a:moveTo>
                      <a:pt x="51" y="17"/>
                    </a:moveTo>
                    <a:cubicBezTo>
                      <a:pt x="46" y="25"/>
                      <a:pt x="46" y="25"/>
                      <a:pt x="46" y="25"/>
                    </a:cubicBezTo>
                    <a:cubicBezTo>
                      <a:pt x="26" y="13"/>
                      <a:pt x="26" y="13"/>
                      <a:pt x="26" y="13"/>
                    </a:cubicBezTo>
                    <a:cubicBezTo>
                      <a:pt x="23" y="11"/>
                      <a:pt x="21" y="10"/>
                      <a:pt x="20" y="9"/>
                    </a:cubicBezTo>
                    <a:cubicBezTo>
                      <a:pt x="18" y="9"/>
                      <a:pt x="16" y="9"/>
                      <a:pt x="14" y="9"/>
                    </a:cubicBezTo>
                    <a:cubicBezTo>
                      <a:pt x="13" y="10"/>
                      <a:pt x="11" y="11"/>
                      <a:pt x="10" y="13"/>
                    </a:cubicBezTo>
                    <a:cubicBezTo>
                      <a:pt x="9" y="16"/>
                      <a:pt x="8" y="17"/>
                      <a:pt x="8" y="19"/>
                    </a:cubicBezTo>
                    <a:cubicBezTo>
                      <a:pt x="9" y="21"/>
                      <a:pt x="9" y="22"/>
                      <a:pt x="10" y="23"/>
                    </a:cubicBezTo>
                    <a:cubicBezTo>
                      <a:pt x="12" y="24"/>
                      <a:pt x="14" y="25"/>
                      <a:pt x="17" y="27"/>
                    </a:cubicBezTo>
                    <a:cubicBezTo>
                      <a:pt x="37" y="40"/>
                      <a:pt x="37" y="40"/>
                      <a:pt x="37" y="40"/>
                    </a:cubicBezTo>
                    <a:cubicBezTo>
                      <a:pt x="33" y="47"/>
                      <a:pt x="33" y="47"/>
                      <a:pt x="33" y="47"/>
                    </a:cubicBezTo>
                    <a:cubicBezTo>
                      <a:pt x="13" y="35"/>
                      <a:pt x="13" y="35"/>
                      <a:pt x="13" y="35"/>
                    </a:cubicBezTo>
                    <a:cubicBezTo>
                      <a:pt x="9" y="33"/>
                      <a:pt x="6" y="31"/>
                      <a:pt x="4" y="29"/>
                    </a:cubicBezTo>
                    <a:cubicBezTo>
                      <a:pt x="2" y="28"/>
                      <a:pt x="1" y="26"/>
                      <a:pt x="1" y="24"/>
                    </a:cubicBezTo>
                    <a:cubicBezTo>
                      <a:pt x="0" y="22"/>
                      <a:pt x="0" y="20"/>
                      <a:pt x="0" y="18"/>
                    </a:cubicBezTo>
                    <a:cubicBezTo>
                      <a:pt x="0" y="15"/>
                      <a:pt x="2" y="13"/>
                      <a:pt x="3" y="10"/>
                    </a:cubicBezTo>
                    <a:cubicBezTo>
                      <a:pt x="6" y="6"/>
                      <a:pt x="8" y="4"/>
                      <a:pt x="10" y="2"/>
                    </a:cubicBezTo>
                    <a:cubicBezTo>
                      <a:pt x="11" y="1"/>
                      <a:pt x="13" y="0"/>
                      <a:pt x="15" y="0"/>
                    </a:cubicBezTo>
                    <a:cubicBezTo>
                      <a:pt x="17" y="0"/>
                      <a:pt x="19" y="0"/>
                      <a:pt x="21" y="0"/>
                    </a:cubicBezTo>
                    <a:cubicBezTo>
                      <a:pt x="23" y="1"/>
                      <a:pt x="27" y="3"/>
                      <a:pt x="31" y="5"/>
                    </a:cubicBezTo>
                    <a:lnTo>
                      <a:pt x="51" y="1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204" name="íṧḷîde"/>
              <p:cNvSpPr/>
              <p:nvPr/>
            </p:nvSpPr>
            <p:spPr bwMode="auto">
              <a:xfrm>
                <a:off x="1704872" y="4971053"/>
                <a:ext cx="100013" cy="92075"/>
              </a:xfrm>
              <a:custGeom>
                <a:avLst/>
                <a:gdLst>
                  <a:gd name="T0" fmla="*/ 17 w 63"/>
                  <a:gd name="T1" fmla="*/ 0 h 58"/>
                  <a:gd name="T2" fmla="*/ 63 w 63"/>
                  <a:gd name="T3" fmla="*/ 21 h 58"/>
                  <a:gd name="T4" fmla="*/ 59 w 63"/>
                  <a:gd name="T5" fmla="*/ 30 h 58"/>
                  <a:gd name="T6" fmla="*/ 19 w 63"/>
                  <a:gd name="T7" fmla="*/ 35 h 58"/>
                  <a:gd name="T8" fmla="*/ 50 w 63"/>
                  <a:gd name="T9" fmla="*/ 50 h 58"/>
                  <a:gd name="T10" fmla="*/ 46 w 63"/>
                  <a:gd name="T11" fmla="*/ 58 h 58"/>
                  <a:gd name="T12" fmla="*/ 0 w 63"/>
                  <a:gd name="T13" fmla="*/ 37 h 58"/>
                  <a:gd name="T14" fmla="*/ 4 w 63"/>
                  <a:gd name="T15" fmla="*/ 26 h 58"/>
                  <a:gd name="T16" fmla="*/ 43 w 63"/>
                  <a:gd name="T17" fmla="*/ 22 h 58"/>
                  <a:gd name="T18" fmla="*/ 12 w 63"/>
                  <a:gd name="T19" fmla="*/ 8 h 58"/>
                  <a:gd name="T20" fmla="*/ 17 w 63"/>
                  <a:gd name="T21" fmla="*/ 0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63" h="58">
                    <a:moveTo>
                      <a:pt x="17" y="0"/>
                    </a:moveTo>
                    <a:lnTo>
                      <a:pt x="63" y="21"/>
                    </a:lnTo>
                    <a:lnTo>
                      <a:pt x="59" y="30"/>
                    </a:lnTo>
                    <a:lnTo>
                      <a:pt x="19" y="35"/>
                    </a:lnTo>
                    <a:lnTo>
                      <a:pt x="50" y="50"/>
                    </a:lnTo>
                    <a:lnTo>
                      <a:pt x="46" y="58"/>
                    </a:lnTo>
                    <a:lnTo>
                      <a:pt x="0" y="37"/>
                    </a:lnTo>
                    <a:lnTo>
                      <a:pt x="4" y="26"/>
                    </a:lnTo>
                    <a:lnTo>
                      <a:pt x="43" y="22"/>
                    </a:lnTo>
                    <a:lnTo>
                      <a:pt x="12" y="8"/>
                    </a:lnTo>
                    <a:lnTo>
                      <a:pt x="17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205" name="íS1îḍé"/>
              <p:cNvSpPr/>
              <p:nvPr/>
            </p:nvSpPr>
            <p:spPr bwMode="auto">
              <a:xfrm>
                <a:off x="1690584" y="5045665"/>
                <a:ext cx="84138" cy="44450"/>
              </a:xfrm>
              <a:custGeom>
                <a:avLst/>
                <a:gdLst>
                  <a:gd name="T0" fmla="*/ 5 w 53"/>
                  <a:gd name="T1" fmla="*/ 0 h 28"/>
                  <a:gd name="T2" fmla="*/ 53 w 53"/>
                  <a:gd name="T3" fmla="*/ 19 h 28"/>
                  <a:gd name="T4" fmla="*/ 49 w 53"/>
                  <a:gd name="T5" fmla="*/ 28 h 28"/>
                  <a:gd name="T6" fmla="*/ 0 w 53"/>
                  <a:gd name="T7" fmla="*/ 10 h 28"/>
                  <a:gd name="T8" fmla="*/ 5 w 53"/>
                  <a:gd name="T9" fmla="*/ 0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3" h="28">
                    <a:moveTo>
                      <a:pt x="5" y="0"/>
                    </a:moveTo>
                    <a:lnTo>
                      <a:pt x="53" y="19"/>
                    </a:lnTo>
                    <a:lnTo>
                      <a:pt x="49" y="28"/>
                    </a:lnTo>
                    <a:lnTo>
                      <a:pt x="0" y="10"/>
                    </a:lnTo>
                    <a:lnTo>
                      <a:pt x="5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206" name="íṧļïḋè"/>
              <p:cNvSpPr/>
              <p:nvPr/>
            </p:nvSpPr>
            <p:spPr bwMode="auto">
              <a:xfrm>
                <a:off x="1674709" y="5091703"/>
                <a:ext cx="92075" cy="73025"/>
              </a:xfrm>
              <a:custGeom>
                <a:avLst/>
                <a:gdLst>
                  <a:gd name="T0" fmla="*/ 4 w 58"/>
                  <a:gd name="T1" fmla="*/ 3 h 46"/>
                  <a:gd name="T2" fmla="*/ 58 w 58"/>
                  <a:gd name="T3" fmla="*/ 0 h 46"/>
                  <a:gd name="T4" fmla="*/ 55 w 58"/>
                  <a:gd name="T5" fmla="*/ 11 h 46"/>
                  <a:gd name="T6" fmla="*/ 14 w 58"/>
                  <a:gd name="T7" fmla="*/ 13 h 46"/>
                  <a:gd name="T8" fmla="*/ 46 w 58"/>
                  <a:gd name="T9" fmla="*/ 35 h 46"/>
                  <a:gd name="T10" fmla="*/ 44 w 58"/>
                  <a:gd name="T11" fmla="*/ 46 h 46"/>
                  <a:gd name="T12" fmla="*/ 0 w 58"/>
                  <a:gd name="T13" fmla="*/ 14 h 46"/>
                  <a:gd name="T14" fmla="*/ 4 w 58"/>
                  <a:gd name="T15" fmla="*/ 3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58" h="46">
                    <a:moveTo>
                      <a:pt x="4" y="3"/>
                    </a:moveTo>
                    <a:lnTo>
                      <a:pt x="58" y="0"/>
                    </a:lnTo>
                    <a:lnTo>
                      <a:pt x="55" y="11"/>
                    </a:lnTo>
                    <a:lnTo>
                      <a:pt x="14" y="13"/>
                    </a:lnTo>
                    <a:lnTo>
                      <a:pt x="46" y="35"/>
                    </a:lnTo>
                    <a:lnTo>
                      <a:pt x="44" y="46"/>
                    </a:lnTo>
                    <a:lnTo>
                      <a:pt x="0" y="14"/>
                    </a:lnTo>
                    <a:lnTo>
                      <a:pt x="4" y="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207" name="ïṡḷiḋé"/>
              <p:cNvSpPr/>
              <p:nvPr/>
            </p:nvSpPr>
            <p:spPr bwMode="auto">
              <a:xfrm>
                <a:off x="1652484" y="5153615"/>
                <a:ext cx="90488" cy="73025"/>
              </a:xfrm>
              <a:custGeom>
                <a:avLst/>
                <a:gdLst>
                  <a:gd name="T0" fmla="*/ 7 w 57"/>
                  <a:gd name="T1" fmla="*/ 0 h 46"/>
                  <a:gd name="T2" fmla="*/ 57 w 57"/>
                  <a:gd name="T3" fmla="*/ 10 h 46"/>
                  <a:gd name="T4" fmla="*/ 50 w 57"/>
                  <a:gd name="T5" fmla="*/ 46 h 46"/>
                  <a:gd name="T6" fmla="*/ 42 w 57"/>
                  <a:gd name="T7" fmla="*/ 45 h 46"/>
                  <a:gd name="T8" fmla="*/ 47 w 57"/>
                  <a:gd name="T9" fmla="*/ 18 h 46"/>
                  <a:gd name="T10" fmla="*/ 36 w 57"/>
                  <a:gd name="T11" fmla="*/ 16 h 46"/>
                  <a:gd name="T12" fmla="*/ 30 w 57"/>
                  <a:gd name="T13" fmla="*/ 40 h 46"/>
                  <a:gd name="T14" fmla="*/ 22 w 57"/>
                  <a:gd name="T15" fmla="*/ 39 h 46"/>
                  <a:gd name="T16" fmla="*/ 27 w 57"/>
                  <a:gd name="T17" fmla="*/ 14 h 46"/>
                  <a:gd name="T18" fmla="*/ 14 w 57"/>
                  <a:gd name="T19" fmla="*/ 11 h 46"/>
                  <a:gd name="T20" fmla="*/ 8 w 57"/>
                  <a:gd name="T21" fmla="*/ 39 h 46"/>
                  <a:gd name="T22" fmla="*/ 0 w 57"/>
                  <a:gd name="T23" fmla="*/ 38 h 46"/>
                  <a:gd name="T24" fmla="*/ 7 w 57"/>
                  <a:gd name="T25" fmla="*/ 0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57" h="46">
                    <a:moveTo>
                      <a:pt x="7" y="0"/>
                    </a:moveTo>
                    <a:lnTo>
                      <a:pt x="57" y="10"/>
                    </a:lnTo>
                    <a:lnTo>
                      <a:pt x="50" y="46"/>
                    </a:lnTo>
                    <a:lnTo>
                      <a:pt x="42" y="45"/>
                    </a:lnTo>
                    <a:lnTo>
                      <a:pt x="47" y="18"/>
                    </a:lnTo>
                    <a:lnTo>
                      <a:pt x="36" y="16"/>
                    </a:lnTo>
                    <a:lnTo>
                      <a:pt x="30" y="40"/>
                    </a:lnTo>
                    <a:lnTo>
                      <a:pt x="22" y="39"/>
                    </a:lnTo>
                    <a:lnTo>
                      <a:pt x="27" y="14"/>
                    </a:lnTo>
                    <a:lnTo>
                      <a:pt x="14" y="11"/>
                    </a:lnTo>
                    <a:lnTo>
                      <a:pt x="8" y="39"/>
                    </a:lnTo>
                    <a:lnTo>
                      <a:pt x="0" y="38"/>
                    </a:lnTo>
                    <a:lnTo>
                      <a:pt x="7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208" name="ïşļiḋe"/>
              <p:cNvSpPr/>
              <p:nvPr/>
            </p:nvSpPr>
            <p:spPr bwMode="auto">
              <a:xfrm>
                <a:off x="1641372" y="5231403"/>
                <a:ext cx="88900" cy="71438"/>
              </a:xfrm>
              <a:custGeom>
                <a:avLst/>
                <a:gdLst>
                  <a:gd name="T0" fmla="*/ 4 w 48"/>
                  <a:gd name="T1" fmla="*/ 0 h 39"/>
                  <a:gd name="T2" fmla="*/ 48 w 48"/>
                  <a:gd name="T3" fmla="*/ 4 h 39"/>
                  <a:gd name="T4" fmla="*/ 46 w 48"/>
                  <a:gd name="T5" fmla="*/ 23 h 39"/>
                  <a:gd name="T6" fmla="*/ 44 w 48"/>
                  <a:gd name="T7" fmla="*/ 33 h 39"/>
                  <a:gd name="T8" fmla="*/ 39 w 48"/>
                  <a:gd name="T9" fmla="*/ 38 h 39"/>
                  <a:gd name="T10" fmla="*/ 32 w 48"/>
                  <a:gd name="T11" fmla="*/ 39 h 39"/>
                  <a:gd name="T12" fmla="*/ 24 w 48"/>
                  <a:gd name="T13" fmla="*/ 35 h 39"/>
                  <a:gd name="T14" fmla="*/ 21 w 48"/>
                  <a:gd name="T15" fmla="*/ 26 h 39"/>
                  <a:gd name="T16" fmla="*/ 17 w 48"/>
                  <a:gd name="T17" fmla="*/ 30 h 39"/>
                  <a:gd name="T18" fmla="*/ 9 w 48"/>
                  <a:gd name="T19" fmla="*/ 35 h 39"/>
                  <a:gd name="T20" fmla="*/ 0 w 48"/>
                  <a:gd name="T21" fmla="*/ 39 h 39"/>
                  <a:gd name="T22" fmla="*/ 1 w 48"/>
                  <a:gd name="T23" fmla="*/ 29 h 39"/>
                  <a:gd name="T24" fmla="*/ 12 w 48"/>
                  <a:gd name="T25" fmla="*/ 23 h 39"/>
                  <a:gd name="T26" fmla="*/ 18 w 48"/>
                  <a:gd name="T27" fmla="*/ 19 h 39"/>
                  <a:gd name="T28" fmla="*/ 20 w 48"/>
                  <a:gd name="T29" fmla="*/ 17 h 39"/>
                  <a:gd name="T30" fmla="*/ 21 w 48"/>
                  <a:gd name="T31" fmla="*/ 12 h 39"/>
                  <a:gd name="T32" fmla="*/ 22 w 48"/>
                  <a:gd name="T33" fmla="*/ 11 h 39"/>
                  <a:gd name="T34" fmla="*/ 3 w 48"/>
                  <a:gd name="T35" fmla="*/ 9 h 39"/>
                  <a:gd name="T36" fmla="*/ 4 w 48"/>
                  <a:gd name="T37" fmla="*/ 0 h 39"/>
                  <a:gd name="T38" fmla="*/ 29 w 48"/>
                  <a:gd name="T39" fmla="*/ 11 h 39"/>
                  <a:gd name="T40" fmla="*/ 28 w 48"/>
                  <a:gd name="T41" fmla="*/ 18 h 39"/>
                  <a:gd name="T42" fmla="*/ 28 w 48"/>
                  <a:gd name="T43" fmla="*/ 26 h 39"/>
                  <a:gd name="T44" fmla="*/ 29 w 48"/>
                  <a:gd name="T45" fmla="*/ 28 h 39"/>
                  <a:gd name="T46" fmla="*/ 32 w 48"/>
                  <a:gd name="T47" fmla="*/ 30 h 39"/>
                  <a:gd name="T48" fmla="*/ 36 w 48"/>
                  <a:gd name="T49" fmla="*/ 29 h 39"/>
                  <a:gd name="T50" fmla="*/ 38 w 48"/>
                  <a:gd name="T51" fmla="*/ 26 h 39"/>
                  <a:gd name="T52" fmla="*/ 39 w 48"/>
                  <a:gd name="T53" fmla="*/ 19 h 39"/>
                  <a:gd name="T54" fmla="*/ 40 w 48"/>
                  <a:gd name="T55" fmla="*/ 12 h 39"/>
                  <a:gd name="T56" fmla="*/ 29 w 48"/>
                  <a:gd name="T57" fmla="*/ 11 h 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48" h="39">
                    <a:moveTo>
                      <a:pt x="4" y="0"/>
                    </a:moveTo>
                    <a:cubicBezTo>
                      <a:pt x="48" y="4"/>
                      <a:pt x="48" y="4"/>
                      <a:pt x="48" y="4"/>
                    </a:cubicBezTo>
                    <a:cubicBezTo>
                      <a:pt x="46" y="23"/>
                      <a:pt x="46" y="23"/>
                      <a:pt x="46" y="23"/>
                    </a:cubicBezTo>
                    <a:cubicBezTo>
                      <a:pt x="46" y="27"/>
                      <a:pt x="45" y="31"/>
                      <a:pt x="44" y="33"/>
                    </a:cubicBezTo>
                    <a:cubicBezTo>
                      <a:pt x="43" y="35"/>
                      <a:pt x="41" y="36"/>
                      <a:pt x="39" y="38"/>
                    </a:cubicBezTo>
                    <a:cubicBezTo>
                      <a:pt x="37" y="39"/>
                      <a:pt x="35" y="39"/>
                      <a:pt x="32" y="39"/>
                    </a:cubicBezTo>
                    <a:cubicBezTo>
                      <a:pt x="29" y="38"/>
                      <a:pt x="26" y="37"/>
                      <a:pt x="24" y="35"/>
                    </a:cubicBezTo>
                    <a:cubicBezTo>
                      <a:pt x="22" y="33"/>
                      <a:pt x="21" y="30"/>
                      <a:pt x="21" y="26"/>
                    </a:cubicBezTo>
                    <a:cubicBezTo>
                      <a:pt x="20" y="28"/>
                      <a:pt x="18" y="29"/>
                      <a:pt x="17" y="30"/>
                    </a:cubicBezTo>
                    <a:cubicBezTo>
                      <a:pt x="16" y="32"/>
                      <a:pt x="13" y="33"/>
                      <a:pt x="9" y="35"/>
                    </a:cubicBezTo>
                    <a:cubicBezTo>
                      <a:pt x="0" y="39"/>
                      <a:pt x="0" y="39"/>
                      <a:pt x="0" y="39"/>
                    </a:cubicBezTo>
                    <a:cubicBezTo>
                      <a:pt x="1" y="29"/>
                      <a:pt x="1" y="29"/>
                      <a:pt x="1" y="29"/>
                    </a:cubicBezTo>
                    <a:cubicBezTo>
                      <a:pt x="12" y="23"/>
                      <a:pt x="12" y="23"/>
                      <a:pt x="12" y="23"/>
                    </a:cubicBezTo>
                    <a:cubicBezTo>
                      <a:pt x="15" y="21"/>
                      <a:pt x="17" y="20"/>
                      <a:pt x="18" y="19"/>
                    </a:cubicBezTo>
                    <a:cubicBezTo>
                      <a:pt x="19" y="18"/>
                      <a:pt x="20" y="18"/>
                      <a:pt x="20" y="17"/>
                    </a:cubicBezTo>
                    <a:cubicBezTo>
                      <a:pt x="21" y="16"/>
                      <a:pt x="21" y="14"/>
                      <a:pt x="21" y="12"/>
                    </a:cubicBezTo>
                    <a:cubicBezTo>
                      <a:pt x="22" y="11"/>
                      <a:pt x="22" y="11"/>
                      <a:pt x="22" y="11"/>
                    </a:cubicBezTo>
                    <a:cubicBezTo>
                      <a:pt x="3" y="9"/>
                      <a:pt x="3" y="9"/>
                      <a:pt x="3" y="9"/>
                    </a:cubicBezTo>
                    <a:lnTo>
                      <a:pt x="4" y="0"/>
                    </a:lnTo>
                    <a:close/>
                    <a:moveTo>
                      <a:pt x="29" y="11"/>
                    </a:moveTo>
                    <a:cubicBezTo>
                      <a:pt x="28" y="18"/>
                      <a:pt x="28" y="18"/>
                      <a:pt x="28" y="18"/>
                    </a:cubicBezTo>
                    <a:cubicBezTo>
                      <a:pt x="28" y="22"/>
                      <a:pt x="27" y="25"/>
                      <a:pt x="28" y="26"/>
                    </a:cubicBezTo>
                    <a:cubicBezTo>
                      <a:pt x="28" y="27"/>
                      <a:pt x="28" y="28"/>
                      <a:pt x="29" y="28"/>
                    </a:cubicBezTo>
                    <a:cubicBezTo>
                      <a:pt x="30" y="29"/>
                      <a:pt x="31" y="30"/>
                      <a:pt x="32" y="30"/>
                    </a:cubicBezTo>
                    <a:cubicBezTo>
                      <a:pt x="34" y="30"/>
                      <a:pt x="35" y="30"/>
                      <a:pt x="36" y="29"/>
                    </a:cubicBezTo>
                    <a:cubicBezTo>
                      <a:pt x="37" y="28"/>
                      <a:pt x="38" y="27"/>
                      <a:pt x="38" y="26"/>
                    </a:cubicBezTo>
                    <a:cubicBezTo>
                      <a:pt x="38" y="25"/>
                      <a:pt x="39" y="23"/>
                      <a:pt x="39" y="19"/>
                    </a:cubicBezTo>
                    <a:cubicBezTo>
                      <a:pt x="40" y="12"/>
                      <a:pt x="40" y="12"/>
                      <a:pt x="40" y="12"/>
                    </a:cubicBezTo>
                    <a:lnTo>
                      <a:pt x="29" y="1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209" name="îś1iḓê"/>
              <p:cNvSpPr/>
              <p:nvPr/>
            </p:nvSpPr>
            <p:spPr bwMode="auto">
              <a:xfrm>
                <a:off x="1641372" y="5312365"/>
                <a:ext cx="82550" cy="66675"/>
              </a:xfrm>
              <a:custGeom>
                <a:avLst/>
                <a:gdLst>
                  <a:gd name="T0" fmla="*/ 15 w 45"/>
                  <a:gd name="T1" fmla="*/ 0 h 36"/>
                  <a:gd name="T2" fmla="*/ 16 w 45"/>
                  <a:gd name="T3" fmla="*/ 8 h 36"/>
                  <a:gd name="T4" fmla="*/ 9 w 45"/>
                  <a:gd name="T5" fmla="*/ 12 h 36"/>
                  <a:gd name="T6" fmla="*/ 7 w 45"/>
                  <a:gd name="T7" fmla="*/ 18 h 36"/>
                  <a:gd name="T8" fmla="*/ 9 w 45"/>
                  <a:gd name="T9" fmla="*/ 25 h 36"/>
                  <a:gd name="T10" fmla="*/ 13 w 45"/>
                  <a:gd name="T11" fmla="*/ 27 h 36"/>
                  <a:gd name="T12" fmla="*/ 16 w 45"/>
                  <a:gd name="T13" fmla="*/ 26 h 36"/>
                  <a:gd name="T14" fmla="*/ 18 w 45"/>
                  <a:gd name="T15" fmla="*/ 23 h 36"/>
                  <a:gd name="T16" fmla="*/ 20 w 45"/>
                  <a:gd name="T17" fmla="*/ 15 h 36"/>
                  <a:gd name="T18" fmla="*/ 24 w 45"/>
                  <a:gd name="T19" fmla="*/ 5 h 36"/>
                  <a:gd name="T20" fmla="*/ 33 w 45"/>
                  <a:gd name="T21" fmla="*/ 1 h 36"/>
                  <a:gd name="T22" fmla="*/ 39 w 45"/>
                  <a:gd name="T23" fmla="*/ 3 h 36"/>
                  <a:gd name="T24" fmla="*/ 44 w 45"/>
                  <a:gd name="T25" fmla="*/ 9 h 36"/>
                  <a:gd name="T26" fmla="*/ 45 w 45"/>
                  <a:gd name="T27" fmla="*/ 17 h 36"/>
                  <a:gd name="T28" fmla="*/ 42 w 45"/>
                  <a:gd name="T29" fmla="*/ 30 h 36"/>
                  <a:gd name="T30" fmla="*/ 32 w 45"/>
                  <a:gd name="T31" fmla="*/ 34 h 36"/>
                  <a:gd name="T32" fmla="*/ 31 w 45"/>
                  <a:gd name="T33" fmla="*/ 25 h 36"/>
                  <a:gd name="T34" fmla="*/ 36 w 45"/>
                  <a:gd name="T35" fmla="*/ 23 h 36"/>
                  <a:gd name="T36" fmla="*/ 38 w 45"/>
                  <a:gd name="T37" fmla="*/ 17 h 36"/>
                  <a:gd name="T38" fmla="*/ 36 w 45"/>
                  <a:gd name="T39" fmla="*/ 11 h 36"/>
                  <a:gd name="T40" fmla="*/ 33 w 45"/>
                  <a:gd name="T41" fmla="*/ 10 h 36"/>
                  <a:gd name="T42" fmla="*/ 31 w 45"/>
                  <a:gd name="T43" fmla="*/ 11 h 36"/>
                  <a:gd name="T44" fmla="*/ 28 w 45"/>
                  <a:gd name="T45" fmla="*/ 19 h 36"/>
                  <a:gd name="T46" fmla="*/ 25 w 45"/>
                  <a:gd name="T47" fmla="*/ 29 h 36"/>
                  <a:gd name="T48" fmla="*/ 20 w 45"/>
                  <a:gd name="T49" fmla="*/ 34 h 36"/>
                  <a:gd name="T50" fmla="*/ 13 w 45"/>
                  <a:gd name="T51" fmla="*/ 36 h 36"/>
                  <a:gd name="T52" fmla="*/ 6 w 45"/>
                  <a:gd name="T53" fmla="*/ 33 h 36"/>
                  <a:gd name="T54" fmla="*/ 1 w 45"/>
                  <a:gd name="T55" fmla="*/ 28 h 36"/>
                  <a:gd name="T56" fmla="*/ 0 w 45"/>
                  <a:gd name="T57" fmla="*/ 18 h 36"/>
                  <a:gd name="T58" fmla="*/ 3 w 45"/>
                  <a:gd name="T59" fmla="*/ 5 h 36"/>
                  <a:gd name="T60" fmla="*/ 15 w 45"/>
                  <a:gd name="T61" fmla="*/ 0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45" h="36">
                    <a:moveTo>
                      <a:pt x="15" y="0"/>
                    </a:moveTo>
                    <a:cubicBezTo>
                      <a:pt x="16" y="8"/>
                      <a:pt x="16" y="8"/>
                      <a:pt x="16" y="8"/>
                    </a:cubicBezTo>
                    <a:cubicBezTo>
                      <a:pt x="13" y="9"/>
                      <a:pt x="10" y="10"/>
                      <a:pt x="9" y="12"/>
                    </a:cubicBezTo>
                    <a:cubicBezTo>
                      <a:pt x="8" y="13"/>
                      <a:pt x="7" y="15"/>
                      <a:pt x="7" y="18"/>
                    </a:cubicBezTo>
                    <a:cubicBezTo>
                      <a:pt x="7" y="21"/>
                      <a:pt x="8" y="23"/>
                      <a:pt x="9" y="25"/>
                    </a:cubicBezTo>
                    <a:cubicBezTo>
                      <a:pt x="10" y="26"/>
                      <a:pt x="12" y="27"/>
                      <a:pt x="13" y="27"/>
                    </a:cubicBezTo>
                    <a:cubicBezTo>
                      <a:pt x="14" y="27"/>
                      <a:pt x="15" y="26"/>
                      <a:pt x="16" y="26"/>
                    </a:cubicBezTo>
                    <a:cubicBezTo>
                      <a:pt x="17" y="25"/>
                      <a:pt x="17" y="24"/>
                      <a:pt x="18" y="23"/>
                    </a:cubicBezTo>
                    <a:cubicBezTo>
                      <a:pt x="18" y="22"/>
                      <a:pt x="19" y="19"/>
                      <a:pt x="20" y="15"/>
                    </a:cubicBezTo>
                    <a:cubicBezTo>
                      <a:pt x="21" y="11"/>
                      <a:pt x="22" y="7"/>
                      <a:pt x="24" y="5"/>
                    </a:cubicBezTo>
                    <a:cubicBezTo>
                      <a:pt x="26" y="3"/>
                      <a:pt x="29" y="1"/>
                      <a:pt x="33" y="1"/>
                    </a:cubicBezTo>
                    <a:cubicBezTo>
                      <a:pt x="35" y="1"/>
                      <a:pt x="37" y="2"/>
                      <a:pt x="39" y="3"/>
                    </a:cubicBezTo>
                    <a:cubicBezTo>
                      <a:pt x="41" y="4"/>
                      <a:pt x="43" y="6"/>
                      <a:pt x="44" y="9"/>
                    </a:cubicBezTo>
                    <a:cubicBezTo>
                      <a:pt x="45" y="11"/>
                      <a:pt x="45" y="14"/>
                      <a:pt x="45" y="17"/>
                    </a:cubicBezTo>
                    <a:cubicBezTo>
                      <a:pt x="45" y="23"/>
                      <a:pt x="44" y="27"/>
                      <a:pt x="42" y="30"/>
                    </a:cubicBezTo>
                    <a:cubicBezTo>
                      <a:pt x="39" y="33"/>
                      <a:pt x="36" y="34"/>
                      <a:pt x="32" y="34"/>
                    </a:cubicBezTo>
                    <a:cubicBezTo>
                      <a:pt x="31" y="25"/>
                      <a:pt x="31" y="25"/>
                      <a:pt x="31" y="25"/>
                    </a:cubicBezTo>
                    <a:cubicBezTo>
                      <a:pt x="34" y="25"/>
                      <a:pt x="35" y="24"/>
                      <a:pt x="36" y="23"/>
                    </a:cubicBezTo>
                    <a:cubicBezTo>
                      <a:pt x="37" y="22"/>
                      <a:pt x="38" y="20"/>
                      <a:pt x="38" y="17"/>
                    </a:cubicBezTo>
                    <a:cubicBezTo>
                      <a:pt x="38" y="15"/>
                      <a:pt x="37" y="13"/>
                      <a:pt x="36" y="11"/>
                    </a:cubicBezTo>
                    <a:cubicBezTo>
                      <a:pt x="35" y="10"/>
                      <a:pt x="35" y="10"/>
                      <a:pt x="33" y="10"/>
                    </a:cubicBezTo>
                    <a:cubicBezTo>
                      <a:pt x="32" y="10"/>
                      <a:pt x="31" y="10"/>
                      <a:pt x="31" y="11"/>
                    </a:cubicBezTo>
                    <a:cubicBezTo>
                      <a:pt x="30" y="12"/>
                      <a:pt x="29" y="15"/>
                      <a:pt x="28" y="19"/>
                    </a:cubicBezTo>
                    <a:cubicBezTo>
                      <a:pt x="27" y="24"/>
                      <a:pt x="26" y="27"/>
                      <a:pt x="25" y="29"/>
                    </a:cubicBezTo>
                    <a:cubicBezTo>
                      <a:pt x="24" y="31"/>
                      <a:pt x="22" y="33"/>
                      <a:pt x="20" y="34"/>
                    </a:cubicBezTo>
                    <a:cubicBezTo>
                      <a:pt x="18" y="35"/>
                      <a:pt x="16" y="36"/>
                      <a:pt x="13" y="36"/>
                    </a:cubicBezTo>
                    <a:cubicBezTo>
                      <a:pt x="11" y="36"/>
                      <a:pt x="8" y="35"/>
                      <a:pt x="6" y="33"/>
                    </a:cubicBezTo>
                    <a:cubicBezTo>
                      <a:pt x="4" y="32"/>
                      <a:pt x="2" y="30"/>
                      <a:pt x="1" y="28"/>
                    </a:cubicBezTo>
                    <a:cubicBezTo>
                      <a:pt x="0" y="25"/>
                      <a:pt x="0" y="22"/>
                      <a:pt x="0" y="18"/>
                    </a:cubicBezTo>
                    <a:cubicBezTo>
                      <a:pt x="0" y="12"/>
                      <a:pt x="1" y="8"/>
                      <a:pt x="3" y="5"/>
                    </a:cubicBezTo>
                    <a:cubicBezTo>
                      <a:pt x="6" y="2"/>
                      <a:pt x="10" y="0"/>
                      <a:pt x="15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210" name="íş1ïḓe"/>
              <p:cNvSpPr/>
              <p:nvPr/>
            </p:nvSpPr>
            <p:spPr bwMode="auto">
              <a:xfrm>
                <a:off x="1642959" y="5385390"/>
                <a:ext cx="84138" cy="22225"/>
              </a:xfrm>
              <a:custGeom>
                <a:avLst/>
                <a:gdLst>
                  <a:gd name="T0" fmla="*/ 0 w 53"/>
                  <a:gd name="T1" fmla="*/ 5 h 14"/>
                  <a:gd name="T2" fmla="*/ 51 w 53"/>
                  <a:gd name="T3" fmla="*/ 0 h 14"/>
                  <a:gd name="T4" fmla="*/ 53 w 53"/>
                  <a:gd name="T5" fmla="*/ 11 h 14"/>
                  <a:gd name="T6" fmla="*/ 1 w 53"/>
                  <a:gd name="T7" fmla="*/ 14 h 14"/>
                  <a:gd name="T8" fmla="*/ 0 w 53"/>
                  <a:gd name="T9" fmla="*/ 5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3" h="14">
                    <a:moveTo>
                      <a:pt x="0" y="5"/>
                    </a:moveTo>
                    <a:lnTo>
                      <a:pt x="51" y="0"/>
                    </a:lnTo>
                    <a:lnTo>
                      <a:pt x="53" y="11"/>
                    </a:lnTo>
                    <a:lnTo>
                      <a:pt x="1" y="14"/>
                    </a:lnTo>
                    <a:lnTo>
                      <a:pt x="0" y="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211" name="ïṩlîḋè"/>
              <p:cNvSpPr/>
              <p:nvPr/>
            </p:nvSpPr>
            <p:spPr bwMode="auto">
              <a:xfrm>
                <a:off x="1649309" y="5407615"/>
                <a:ext cx="84138" cy="66675"/>
              </a:xfrm>
              <a:custGeom>
                <a:avLst/>
                <a:gdLst>
                  <a:gd name="T0" fmla="*/ 0 w 53"/>
                  <a:gd name="T1" fmla="*/ 22 h 42"/>
                  <a:gd name="T2" fmla="*/ 42 w 53"/>
                  <a:gd name="T3" fmla="*/ 17 h 42"/>
                  <a:gd name="T4" fmla="*/ 39 w 53"/>
                  <a:gd name="T5" fmla="*/ 1 h 42"/>
                  <a:gd name="T6" fmla="*/ 49 w 53"/>
                  <a:gd name="T7" fmla="*/ 0 h 42"/>
                  <a:gd name="T8" fmla="*/ 53 w 53"/>
                  <a:gd name="T9" fmla="*/ 41 h 42"/>
                  <a:gd name="T10" fmla="*/ 45 w 53"/>
                  <a:gd name="T11" fmla="*/ 42 h 42"/>
                  <a:gd name="T12" fmla="*/ 43 w 53"/>
                  <a:gd name="T13" fmla="*/ 27 h 42"/>
                  <a:gd name="T14" fmla="*/ 1 w 53"/>
                  <a:gd name="T15" fmla="*/ 33 h 42"/>
                  <a:gd name="T16" fmla="*/ 0 w 53"/>
                  <a:gd name="T17" fmla="*/ 22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3" h="42">
                    <a:moveTo>
                      <a:pt x="0" y="22"/>
                    </a:moveTo>
                    <a:lnTo>
                      <a:pt x="42" y="17"/>
                    </a:lnTo>
                    <a:lnTo>
                      <a:pt x="39" y="1"/>
                    </a:lnTo>
                    <a:lnTo>
                      <a:pt x="49" y="0"/>
                    </a:lnTo>
                    <a:lnTo>
                      <a:pt x="53" y="41"/>
                    </a:lnTo>
                    <a:lnTo>
                      <a:pt x="45" y="42"/>
                    </a:lnTo>
                    <a:lnTo>
                      <a:pt x="43" y="27"/>
                    </a:lnTo>
                    <a:lnTo>
                      <a:pt x="1" y="33"/>
                    </a:lnTo>
                    <a:lnTo>
                      <a:pt x="0" y="2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212" name="ïṣľîďe"/>
              <p:cNvSpPr/>
              <p:nvPr/>
            </p:nvSpPr>
            <p:spPr bwMode="auto">
              <a:xfrm>
                <a:off x="1662009" y="5471115"/>
                <a:ext cx="90488" cy="73025"/>
              </a:xfrm>
              <a:custGeom>
                <a:avLst/>
                <a:gdLst>
                  <a:gd name="T0" fmla="*/ 0 w 57"/>
                  <a:gd name="T1" fmla="*/ 29 h 46"/>
                  <a:gd name="T2" fmla="*/ 21 w 57"/>
                  <a:gd name="T3" fmla="*/ 24 h 46"/>
                  <a:gd name="T4" fmla="*/ 45 w 57"/>
                  <a:gd name="T5" fmla="*/ 0 h 46"/>
                  <a:gd name="T6" fmla="*/ 49 w 57"/>
                  <a:gd name="T7" fmla="*/ 11 h 46"/>
                  <a:gd name="T8" fmla="*/ 31 w 57"/>
                  <a:gd name="T9" fmla="*/ 28 h 46"/>
                  <a:gd name="T10" fmla="*/ 53 w 57"/>
                  <a:gd name="T11" fmla="*/ 35 h 46"/>
                  <a:gd name="T12" fmla="*/ 57 w 57"/>
                  <a:gd name="T13" fmla="*/ 46 h 46"/>
                  <a:gd name="T14" fmla="*/ 23 w 57"/>
                  <a:gd name="T15" fmla="*/ 35 h 46"/>
                  <a:gd name="T16" fmla="*/ 2 w 57"/>
                  <a:gd name="T17" fmla="*/ 39 h 46"/>
                  <a:gd name="T18" fmla="*/ 0 w 57"/>
                  <a:gd name="T19" fmla="*/ 29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57" h="46">
                    <a:moveTo>
                      <a:pt x="0" y="29"/>
                    </a:moveTo>
                    <a:lnTo>
                      <a:pt x="21" y="24"/>
                    </a:lnTo>
                    <a:lnTo>
                      <a:pt x="45" y="0"/>
                    </a:lnTo>
                    <a:lnTo>
                      <a:pt x="49" y="11"/>
                    </a:lnTo>
                    <a:lnTo>
                      <a:pt x="31" y="28"/>
                    </a:lnTo>
                    <a:lnTo>
                      <a:pt x="53" y="35"/>
                    </a:lnTo>
                    <a:lnTo>
                      <a:pt x="57" y="46"/>
                    </a:lnTo>
                    <a:lnTo>
                      <a:pt x="23" y="35"/>
                    </a:lnTo>
                    <a:lnTo>
                      <a:pt x="2" y="39"/>
                    </a:lnTo>
                    <a:lnTo>
                      <a:pt x="0" y="2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213" name="íśļiḓe"/>
              <p:cNvSpPr/>
              <p:nvPr/>
            </p:nvSpPr>
            <p:spPr bwMode="auto">
              <a:xfrm>
                <a:off x="1704872" y="5609228"/>
                <a:ext cx="85725" cy="80963"/>
              </a:xfrm>
              <a:custGeom>
                <a:avLst/>
                <a:gdLst>
                  <a:gd name="T0" fmla="*/ 15 w 47"/>
                  <a:gd name="T1" fmla="*/ 2 h 44"/>
                  <a:gd name="T2" fmla="*/ 26 w 47"/>
                  <a:gd name="T3" fmla="*/ 0 h 44"/>
                  <a:gd name="T4" fmla="*/ 33 w 47"/>
                  <a:gd name="T5" fmla="*/ 1 h 44"/>
                  <a:gd name="T6" fmla="*/ 39 w 47"/>
                  <a:gd name="T7" fmla="*/ 4 h 44"/>
                  <a:gd name="T8" fmla="*/ 44 w 47"/>
                  <a:gd name="T9" fmla="*/ 12 h 44"/>
                  <a:gd name="T10" fmla="*/ 45 w 47"/>
                  <a:gd name="T11" fmla="*/ 29 h 44"/>
                  <a:gd name="T12" fmla="*/ 32 w 47"/>
                  <a:gd name="T13" fmla="*/ 41 h 44"/>
                  <a:gd name="T14" fmla="*/ 15 w 47"/>
                  <a:gd name="T15" fmla="*/ 43 h 44"/>
                  <a:gd name="T16" fmla="*/ 3 w 47"/>
                  <a:gd name="T17" fmla="*/ 31 h 44"/>
                  <a:gd name="T18" fmla="*/ 2 w 47"/>
                  <a:gd name="T19" fmla="*/ 14 h 44"/>
                  <a:gd name="T20" fmla="*/ 15 w 47"/>
                  <a:gd name="T21" fmla="*/ 2 h 44"/>
                  <a:gd name="T22" fmla="*/ 19 w 47"/>
                  <a:gd name="T23" fmla="*/ 10 h 44"/>
                  <a:gd name="T24" fmla="*/ 10 w 47"/>
                  <a:gd name="T25" fmla="*/ 18 h 44"/>
                  <a:gd name="T26" fmla="*/ 10 w 47"/>
                  <a:gd name="T27" fmla="*/ 28 h 44"/>
                  <a:gd name="T28" fmla="*/ 17 w 47"/>
                  <a:gd name="T29" fmla="*/ 34 h 44"/>
                  <a:gd name="T30" fmla="*/ 29 w 47"/>
                  <a:gd name="T31" fmla="*/ 33 h 44"/>
                  <a:gd name="T32" fmla="*/ 38 w 47"/>
                  <a:gd name="T33" fmla="*/ 25 h 44"/>
                  <a:gd name="T34" fmla="*/ 37 w 47"/>
                  <a:gd name="T35" fmla="*/ 16 h 44"/>
                  <a:gd name="T36" fmla="*/ 30 w 47"/>
                  <a:gd name="T37" fmla="*/ 9 h 44"/>
                  <a:gd name="T38" fmla="*/ 19 w 47"/>
                  <a:gd name="T39" fmla="*/ 10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47" h="44">
                    <a:moveTo>
                      <a:pt x="15" y="2"/>
                    </a:moveTo>
                    <a:cubicBezTo>
                      <a:pt x="19" y="0"/>
                      <a:pt x="23" y="0"/>
                      <a:pt x="26" y="0"/>
                    </a:cubicBezTo>
                    <a:cubicBezTo>
                      <a:pt x="28" y="0"/>
                      <a:pt x="31" y="0"/>
                      <a:pt x="33" y="1"/>
                    </a:cubicBezTo>
                    <a:cubicBezTo>
                      <a:pt x="35" y="2"/>
                      <a:pt x="37" y="3"/>
                      <a:pt x="39" y="4"/>
                    </a:cubicBezTo>
                    <a:cubicBezTo>
                      <a:pt x="41" y="6"/>
                      <a:pt x="43" y="9"/>
                      <a:pt x="44" y="12"/>
                    </a:cubicBezTo>
                    <a:cubicBezTo>
                      <a:pt x="47" y="18"/>
                      <a:pt x="47" y="24"/>
                      <a:pt x="45" y="29"/>
                    </a:cubicBezTo>
                    <a:cubicBezTo>
                      <a:pt x="43" y="34"/>
                      <a:pt x="39" y="38"/>
                      <a:pt x="32" y="41"/>
                    </a:cubicBezTo>
                    <a:cubicBezTo>
                      <a:pt x="26" y="44"/>
                      <a:pt x="20" y="44"/>
                      <a:pt x="15" y="43"/>
                    </a:cubicBezTo>
                    <a:cubicBezTo>
                      <a:pt x="9" y="41"/>
                      <a:pt x="5" y="37"/>
                      <a:pt x="3" y="31"/>
                    </a:cubicBezTo>
                    <a:cubicBezTo>
                      <a:pt x="0" y="25"/>
                      <a:pt x="0" y="19"/>
                      <a:pt x="2" y="14"/>
                    </a:cubicBezTo>
                    <a:cubicBezTo>
                      <a:pt x="4" y="9"/>
                      <a:pt x="8" y="5"/>
                      <a:pt x="15" y="2"/>
                    </a:cubicBezTo>
                    <a:close/>
                    <a:moveTo>
                      <a:pt x="19" y="10"/>
                    </a:moveTo>
                    <a:cubicBezTo>
                      <a:pt x="14" y="12"/>
                      <a:pt x="11" y="15"/>
                      <a:pt x="10" y="18"/>
                    </a:cubicBezTo>
                    <a:cubicBezTo>
                      <a:pt x="8" y="21"/>
                      <a:pt x="8" y="24"/>
                      <a:pt x="10" y="28"/>
                    </a:cubicBezTo>
                    <a:cubicBezTo>
                      <a:pt x="11" y="31"/>
                      <a:pt x="13" y="33"/>
                      <a:pt x="17" y="34"/>
                    </a:cubicBezTo>
                    <a:cubicBezTo>
                      <a:pt x="20" y="35"/>
                      <a:pt x="24" y="35"/>
                      <a:pt x="29" y="33"/>
                    </a:cubicBezTo>
                    <a:cubicBezTo>
                      <a:pt x="33" y="31"/>
                      <a:pt x="36" y="28"/>
                      <a:pt x="38" y="25"/>
                    </a:cubicBezTo>
                    <a:cubicBezTo>
                      <a:pt x="39" y="22"/>
                      <a:pt x="39" y="19"/>
                      <a:pt x="37" y="16"/>
                    </a:cubicBezTo>
                    <a:cubicBezTo>
                      <a:pt x="36" y="12"/>
                      <a:pt x="34" y="10"/>
                      <a:pt x="30" y="9"/>
                    </a:cubicBezTo>
                    <a:cubicBezTo>
                      <a:pt x="27" y="8"/>
                      <a:pt x="23" y="8"/>
                      <a:pt x="19" y="1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214" name="î$ḷïďe"/>
              <p:cNvSpPr/>
              <p:nvPr/>
            </p:nvSpPr>
            <p:spPr bwMode="auto">
              <a:xfrm>
                <a:off x="1733447" y="5675903"/>
                <a:ext cx="98425" cy="66675"/>
              </a:xfrm>
              <a:custGeom>
                <a:avLst/>
                <a:gdLst>
                  <a:gd name="T0" fmla="*/ 0 w 62"/>
                  <a:gd name="T1" fmla="*/ 26 h 42"/>
                  <a:gd name="T2" fmla="*/ 45 w 62"/>
                  <a:gd name="T3" fmla="*/ 0 h 42"/>
                  <a:gd name="T4" fmla="*/ 62 w 62"/>
                  <a:gd name="T5" fmla="*/ 30 h 42"/>
                  <a:gd name="T6" fmla="*/ 55 w 62"/>
                  <a:gd name="T7" fmla="*/ 35 h 42"/>
                  <a:gd name="T8" fmla="*/ 43 w 62"/>
                  <a:gd name="T9" fmla="*/ 14 h 42"/>
                  <a:gd name="T10" fmla="*/ 32 w 62"/>
                  <a:gd name="T11" fmla="*/ 20 h 42"/>
                  <a:gd name="T12" fmla="*/ 43 w 62"/>
                  <a:gd name="T13" fmla="*/ 38 h 42"/>
                  <a:gd name="T14" fmla="*/ 35 w 62"/>
                  <a:gd name="T15" fmla="*/ 42 h 42"/>
                  <a:gd name="T16" fmla="*/ 25 w 62"/>
                  <a:gd name="T17" fmla="*/ 23 h 42"/>
                  <a:gd name="T18" fmla="*/ 6 w 62"/>
                  <a:gd name="T19" fmla="*/ 35 h 42"/>
                  <a:gd name="T20" fmla="*/ 0 w 62"/>
                  <a:gd name="T21" fmla="*/ 26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62" h="42">
                    <a:moveTo>
                      <a:pt x="0" y="26"/>
                    </a:moveTo>
                    <a:lnTo>
                      <a:pt x="45" y="0"/>
                    </a:lnTo>
                    <a:lnTo>
                      <a:pt x="62" y="30"/>
                    </a:lnTo>
                    <a:lnTo>
                      <a:pt x="55" y="35"/>
                    </a:lnTo>
                    <a:lnTo>
                      <a:pt x="43" y="14"/>
                    </a:lnTo>
                    <a:lnTo>
                      <a:pt x="32" y="20"/>
                    </a:lnTo>
                    <a:lnTo>
                      <a:pt x="43" y="38"/>
                    </a:lnTo>
                    <a:lnTo>
                      <a:pt x="35" y="42"/>
                    </a:lnTo>
                    <a:lnTo>
                      <a:pt x="25" y="23"/>
                    </a:lnTo>
                    <a:lnTo>
                      <a:pt x="6" y="35"/>
                    </a:lnTo>
                    <a:lnTo>
                      <a:pt x="0" y="26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215" name="îśḻîḍe"/>
              <p:cNvSpPr/>
              <p:nvPr/>
            </p:nvSpPr>
            <p:spPr bwMode="auto">
              <a:xfrm>
                <a:off x="1812822" y="5785440"/>
                <a:ext cx="85725" cy="82550"/>
              </a:xfrm>
              <a:custGeom>
                <a:avLst/>
                <a:gdLst>
                  <a:gd name="T0" fmla="*/ 6 w 46"/>
                  <a:gd name="T1" fmla="*/ 13 h 45"/>
                  <a:gd name="T2" fmla="*/ 12 w 46"/>
                  <a:gd name="T3" fmla="*/ 19 h 45"/>
                  <a:gd name="T4" fmla="*/ 9 w 46"/>
                  <a:gd name="T5" fmla="*/ 26 h 45"/>
                  <a:gd name="T6" fmla="*/ 11 w 46"/>
                  <a:gd name="T7" fmla="*/ 32 h 45"/>
                  <a:gd name="T8" fmla="*/ 17 w 46"/>
                  <a:gd name="T9" fmla="*/ 36 h 45"/>
                  <a:gd name="T10" fmla="*/ 22 w 46"/>
                  <a:gd name="T11" fmla="*/ 35 h 45"/>
                  <a:gd name="T12" fmla="*/ 23 w 46"/>
                  <a:gd name="T13" fmla="*/ 32 h 45"/>
                  <a:gd name="T14" fmla="*/ 22 w 46"/>
                  <a:gd name="T15" fmla="*/ 29 h 45"/>
                  <a:gd name="T16" fmla="*/ 19 w 46"/>
                  <a:gd name="T17" fmla="*/ 22 h 45"/>
                  <a:gd name="T18" fmla="*/ 16 w 46"/>
                  <a:gd name="T19" fmla="*/ 12 h 45"/>
                  <a:gd name="T20" fmla="*/ 21 w 46"/>
                  <a:gd name="T21" fmla="*/ 3 h 45"/>
                  <a:gd name="T22" fmla="*/ 27 w 46"/>
                  <a:gd name="T23" fmla="*/ 0 h 45"/>
                  <a:gd name="T24" fmla="*/ 34 w 46"/>
                  <a:gd name="T25" fmla="*/ 2 h 45"/>
                  <a:gd name="T26" fmla="*/ 40 w 46"/>
                  <a:gd name="T27" fmla="*/ 8 h 45"/>
                  <a:gd name="T28" fmla="*/ 45 w 46"/>
                  <a:gd name="T29" fmla="*/ 19 h 45"/>
                  <a:gd name="T30" fmla="*/ 41 w 46"/>
                  <a:gd name="T31" fmla="*/ 29 h 45"/>
                  <a:gd name="T32" fmla="*/ 35 w 46"/>
                  <a:gd name="T33" fmla="*/ 22 h 45"/>
                  <a:gd name="T34" fmla="*/ 37 w 46"/>
                  <a:gd name="T35" fmla="*/ 17 h 45"/>
                  <a:gd name="T36" fmla="*/ 35 w 46"/>
                  <a:gd name="T37" fmla="*/ 12 h 45"/>
                  <a:gd name="T38" fmla="*/ 30 w 46"/>
                  <a:gd name="T39" fmla="*/ 8 h 45"/>
                  <a:gd name="T40" fmla="*/ 27 w 46"/>
                  <a:gd name="T41" fmla="*/ 9 h 45"/>
                  <a:gd name="T42" fmla="*/ 25 w 46"/>
                  <a:gd name="T43" fmla="*/ 12 h 45"/>
                  <a:gd name="T44" fmla="*/ 28 w 46"/>
                  <a:gd name="T45" fmla="*/ 20 h 45"/>
                  <a:gd name="T46" fmla="*/ 32 w 46"/>
                  <a:gd name="T47" fmla="*/ 29 h 45"/>
                  <a:gd name="T48" fmla="*/ 31 w 46"/>
                  <a:gd name="T49" fmla="*/ 36 h 45"/>
                  <a:gd name="T50" fmla="*/ 27 w 46"/>
                  <a:gd name="T51" fmla="*/ 42 h 45"/>
                  <a:gd name="T52" fmla="*/ 20 w 46"/>
                  <a:gd name="T53" fmla="*/ 45 h 45"/>
                  <a:gd name="T54" fmla="*/ 13 w 46"/>
                  <a:gd name="T55" fmla="*/ 43 h 45"/>
                  <a:gd name="T56" fmla="*/ 6 w 46"/>
                  <a:gd name="T57" fmla="*/ 37 h 45"/>
                  <a:gd name="T58" fmla="*/ 0 w 46"/>
                  <a:gd name="T59" fmla="*/ 24 h 45"/>
                  <a:gd name="T60" fmla="*/ 6 w 46"/>
                  <a:gd name="T61" fmla="*/ 13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46" h="45">
                    <a:moveTo>
                      <a:pt x="6" y="13"/>
                    </a:moveTo>
                    <a:cubicBezTo>
                      <a:pt x="12" y="19"/>
                      <a:pt x="12" y="19"/>
                      <a:pt x="12" y="19"/>
                    </a:cubicBezTo>
                    <a:cubicBezTo>
                      <a:pt x="10" y="21"/>
                      <a:pt x="9" y="24"/>
                      <a:pt x="9" y="26"/>
                    </a:cubicBezTo>
                    <a:cubicBezTo>
                      <a:pt x="9" y="28"/>
                      <a:pt x="10" y="30"/>
                      <a:pt x="11" y="32"/>
                    </a:cubicBezTo>
                    <a:cubicBezTo>
                      <a:pt x="13" y="34"/>
                      <a:pt x="15" y="35"/>
                      <a:pt x="17" y="36"/>
                    </a:cubicBezTo>
                    <a:cubicBezTo>
                      <a:pt x="19" y="36"/>
                      <a:pt x="20" y="36"/>
                      <a:pt x="22" y="35"/>
                    </a:cubicBezTo>
                    <a:cubicBezTo>
                      <a:pt x="22" y="34"/>
                      <a:pt x="23" y="33"/>
                      <a:pt x="23" y="32"/>
                    </a:cubicBezTo>
                    <a:cubicBezTo>
                      <a:pt x="23" y="32"/>
                      <a:pt x="23" y="30"/>
                      <a:pt x="22" y="29"/>
                    </a:cubicBezTo>
                    <a:cubicBezTo>
                      <a:pt x="22" y="28"/>
                      <a:pt x="21" y="26"/>
                      <a:pt x="19" y="22"/>
                    </a:cubicBezTo>
                    <a:cubicBezTo>
                      <a:pt x="17" y="18"/>
                      <a:pt x="16" y="14"/>
                      <a:pt x="16" y="12"/>
                    </a:cubicBezTo>
                    <a:cubicBezTo>
                      <a:pt x="17" y="8"/>
                      <a:pt x="18" y="5"/>
                      <a:pt x="21" y="3"/>
                    </a:cubicBezTo>
                    <a:cubicBezTo>
                      <a:pt x="23" y="1"/>
                      <a:pt x="25" y="1"/>
                      <a:pt x="27" y="0"/>
                    </a:cubicBezTo>
                    <a:cubicBezTo>
                      <a:pt x="29" y="0"/>
                      <a:pt x="31" y="1"/>
                      <a:pt x="34" y="2"/>
                    </a:cubicBezTo>
                    <a:cubicBezTo>
                      <a:pt x="36" y="3"/>
                      <a:pt x="38" y="5"/>
                      <a:pt x="40" y="8"/>
                    </a:cubicBezTo>
                    <a:cubicBezTo>
                      <a:pt x="44" y="12"/>
                      <a:pt x="46" y="16"/>
                      <a:pt x="45" y="19"/>
                    </a:cubicBezTo>
                    <a:cubicBezTo>
                      <a:pt x="45" y="23"/>
                      <a:pt x="44" y="26"/>
                      <a:pt x="41" y="29"/>
                    </a:cubicBezTo>
                    <a:cubicBezTo>
                      <a:pt x="35" y="22"/>
                      <a:pt x="35" y="22"/>
                      <a:pt x="35" y="22"/>
                    </a:cubicBezTo>
                    <a:cubicBezTo>
                      <a:pt x="36" y="21"/>
                      <a:pt x="37" y="19"/>
                      <a:pt x="37" y="17"/>
                    </a:cubicBezTo>
                    <a:cubicBezTo>
                      <a:pt x="37" y="16"/>
                      <a:pt x="36" y="14"/>
                      <a:pt x="35" y="12"/>
                    </a:cubicBezTo>
                    <a:cubicBezTo>
                      <a:pt x="33" y="10"/>
                      <a:pt x="31" y="9"/>
                      <a:pt x="30" y="8"/>
                    </a:cubicBezTo>
                    <a:cubicBezTo>
                      <a:pt x="28" y="8"/>
                      <a:pt x="27" y="8"/>
                      <a:pt x="27" y="9"/>
                    </a:cubicBezTo>
                    <a:cubicBezTo>
                      <a:pt x="26" y="10"/>
                      <a:pt x="25" y="11"/>
                      <a:pt x="25" y="12"/>
                    </a:cubicBezTo>
                    <a:cubicBezTo>
                      <a:pt x="25" y="13"/>
                      <a:pt x="26" y="16"/>
                      <a:pt x="28" y="20"/>
                    </a:cubicBezTo>
                    <a:cubicBezTo>
                      <a:pt x="30" y="24"/>
                      <a:pt x="31" y="27"/>
                      <a:pt x="32" y="29"/>
                    </a:cubicBezTo>
                    <a:cubicBezTo>
                      <a:pt x="32" y="32"/>
                      <a:pt x="32" y="34"/>
                      <a:pt x="31" y="36"/>
                    </a:cubicBezTo>
                    <a:cubicBezTo>
                      <a:pt x="31" y="38"/>
                      <a:pt x="29" y="40"/>
                      <a:pt x="27" y="42"/>
                    </a:cubicBezTo>
                    <a:cubicBezTo>
                      <a:pt x="25" y="43"/>
                      <a:pt x="23" y="44"/>
                      <a:pt x="20" y="45"/>
                    </a:cubicBezTo>
                    <a:cubicBezTo>
                      <a:pt x="18" y="45"/>
                      <a:pt x="15" y="44"/>
                      <a:pt x="13" y="43"/>
                    </a:cubicBezTo>
                    <a:cubicBezTo>
                      <a:pt x="10" y="42"/>
                      <a:pt x="8" y="40"/>
                      <a:pt x="6" y="37"/>
                    </a:cubicBezTo>
                    <a:cubicBezTo>
                      <a:pt x="2" y="32"/>
                      <a:pt x="0" y="28"/>
                      <a:pt x="0" y="24"/>
                    </a:cubicBezTo>
                    <a:cubicBezTo>
                      <a:pt x="1" y="20"/>
                      <a:pt x="2" y="17"/>
                      <a:pt x="6" y="1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216" name="í$ļîḋê"/>
              <p:cNvSpPr/>
              <p:nvPr/>
            </p:nvSpPr>
            <p:spPr bwMode="auto">
              <a:xfrm>
                <a:off x="1868384" y="5844178"/>
                <a:ext cx="82550" cy="82550"/>
              </a:xfrm>
              <a:custGeom>
                <a:avLst/>
                <a:gdLst>
                  <a:gd name="T0" fmla="*/ 25 w 45"/>
                  <a:gd name="T1" fmla="*/ 33 h 45"/>
                  <a:gd name="T2" fmla="*/ 29 w 45"/>
                  <a:gd name="T3" fmla="*/ 41 h 45"/>
                  <a:gd name="T4" fmla="*/ 17 w 45"/>
                  <a:gd name="T5" fmla="*/ 44 h 45"/>
                  <a:gd name="T6" fmla="*/ 6 w 45"/>
                  <a:gd name="T7" fmla="*/ 38 h 45"/>
                  <a:gd name="T8" fmla="*/ 0 w 45"/>
                  <a:gd name="T9" fmla="*/ 24 h 45"/>
                  <a:gd name="T10" fmla="*/ 8 w 45"/>
                  <a:gd name="T11" fmla="*/ 8 h 45"/>
                  <a:gd name="T12" fmla="*/ 24 w 45"/>
                  <a:gd name="T13" fmla="*/ 0 h 45"/>
                  <a:gd name="T14" fmla="*/ 39 w 45"/>
                  <a:gd name="T15" fmla="*/ 7 h 45"/>
                  <a:gd name="T16" fmla="*/ 45 w 45"/>
                  <a:gd name="T17" fmla="*/ 19 h 45"/>
                  <a:gd name="T18" fmla="*/ 42 w 45"/>
                  <a:gd name="T19" fmla="*/ 28 h 45"/>
                  <a:gd name="T20" fmla="*/ 34 w 45"/>
                  <a:gd name="T21" fmla="*/ 23 h 45"/>
                  <a:gd name="T22" fmla="*/ 36 w 45"/>
                  <a:gd name="T23" fmla="*/ 17 h 45"/>
                  <a:gd name="T24" fmla="*/ 33 w 45"/>
                  <a:gd name="T25" fmla="*/ 12 h 45"/>
                  <a:gd name="T26" fmla="*/ 25 w 45"/>
                  <a:gd name="T27" fmla="*/ 9 h 45"/>
                  <a:gd name="T28" fmla="*/ 15 w 45"/>
                  <a:gd name="T29" fmla="*/ 14 h 45"/>
                  <a:gd name="T30" fmla="*/ 8 w 45"/>
                  <a:gd name="T31" fmla="*/ 25 h 45"/>
                  <a:gd name="T32" fmla="*/ 11 w 45"/>
                  <a:gd name="T33" fmla="*/ 33 h 45"/>
                  <a:gd name="T34" fmla="*/ 17 w 45"/>
                  <a:gd name="T35" fmla="*/ 36 h 45"/>
                  <a:gd name="T36" fmla="*/ 25 w 45"/>
                  <a:gd name="T37" fmla="*/ 33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45" h="45">
                    <a:moveTo>
                      <a:pt x="25" y="33"/>
                    </a:moveTo>
                    <a:cubicBezTo>
                      <a:pt x="29" y="41"/>
                      <a:pt x="29" y="41"/>
                      <a:pt x="29" y="41"/>
                    </a:cubicBezTo>
                    <a:cubicBezTo>
                      <a:pt x="25" y="44"/>
                      <a:pt x="21" y="45"/>
                      <a:pt x="17" y="44"/>
                    </a:cubicBezTo>
                    <a:cubicBezTo>
                      <a:pt x="13" y="44"/>
                      <a:pt x="9" y="42"/>
                      <a:pt x="6" y="38"/>
                    </a:cubicBezTo>
                    <a:cubicBezTo>
                      <a:pt x="2" y="34"/>
                      <a:pt x="0" y="29"/>
                      <a:pt x="0" y="24"/>
                    </a:cubicBezTo>
                    <a:cubicBezTo>
                      <a:pt x="0" y="19"/>
                      <a:pt x="3" y="13"/>
                      <a:pt x="8" y="8"/>
                    </a:cubicBezTo>
                    <a:cubicBezTo>
                      <a:pt x="13" y="3"/>
                      <a:pt x="18" y="1"/>
                      <a:pt x="24" y="0"/>
                    </a:cubicBezTo>
                    <a:cubicBezTo>
                      <a:pt x="29" y="0"/>
                      <a:pt x="34" y="2"/>
                      <a:pt x="39" y="7"/>
                    </a:cubicBezTo>
                    <a:cubicBezTo>
                      <a:pt x="42" y="10"/>
                      <a:pt x="44" y="15"/>
                      <a:pt x="45" y="19"/>
                    </a:cubicBezTo>
                    <a:cubicBezTo>
                      <a:pt x="45" y="22"/>
                      <a:pt x="44" y="25"/>
                      <a:pt x="42" y="28"/>
                    </a:cubicBezTo>
                    <a:cubicBezTo>
                      <a:pt x="34" y="23"/>
                      <a:pt x="34" y="23"/>
                      <a:pt x="34" y="23"/>
                    </a:cubicBezTo>
                    <a:cubicBezTo>
                      <a:pt x="36" y="21"/>
                      <a:pt x="36" y="19"/>
                      <a:pt x="36" y="17"/>
                    </a:cubicBezTo>
                    <a:cubicBezTo>
                      <a:pt x="36" y="15"/>
                      <a:pt x="35" y="13"/>
                      <a:pt x="33" y="12"/>
                    </a:cubicBezTo>
                    <a:cubicBezTo>
                      <a:pt x="31" y="9"/>
                      <a:pt x="28" y="8"/>
                      <a:pt x="25" y="9"/>
                    </a:cubicBezTo>
                    <a:cubicBezTo>
                      <a:pt x="22" y="9"/>
                      <a:pt x="18" y="11"/>
                      <a:pt x="15" y="14"/>
                    </a:cubicBezTo>
                    <a:cubicBezTo>
                      <a:pt x="11" y="18"/>
                      <a:pt x="9" y="22"/>
                      <a:pt x="8" y="25"/>
                    </a:cubicBezTo>
                    <a:cubicBezTo>
                      <a:pt x="8" y="28"/>
                      <a:pt x="9" y="31"/>
                      <a:pt x="11" y="33"/>
                    </a:cubicBezTo>
                    <a:cubicBezTo>
                      <a:pt x="13" y="35"/>
                      <a:pt x="15" y="36"/>
                      <a:pt x="17" y="36"/>
                    </a:cubicBezTo>
                    <a:cubicBezTo>
                      <a:pt x="20" y="36"/>
                      <a:pt x="22" y="35"/>
                      <a:pt x="25" y="3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217" name="íṩḷiḋé"/>
              <p:cNvSpPr/>
              <p:nvPr/>
            </p:nvSpPr>
            <p:spPr bwMode="auto">
              <a:xfrm>
                <a:off x="1916009" y="5887040"/>
                <a:ext cx="65088" cy="71438"/>
              </a:xfrm>
              <a:custGeom>
                <a:avLst/>
                <a:gdLst>
                  <a:gd name="T0" fmla="*/ 0 w 41"/>
                  <a:gd name="T1" fmla="*/ 38 h 45"/>
                  <a:gd name="T2" fmla="*/ 34 w 41"/>
                  <a:gd name="T3" fmla="*/ 0 h 45"/>
                  <a:gd name="T4" fmla="*/ 41 w 41"/>
                  <a:gd name="T5" fmla="*/ 6 h 45"/>
                  <a:gd name="T6" fmla="*/ 8 w 41"/>
                  <a:gd name="T7" fmla="*/ 45 h 45"/>
                  <a:gd name="T8" fmla="*/ 0 w 41"/>
                  <a:gd name="T9" fmla="*/ 38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1" h="45">
                    <a:moveTo>
                      <a:pt x="0" y="38"/>
                    </a:moveTo>
                    <a:lnTo>
                      <a:pt x="34" y="0"/>
                    </a:lnTo>
                    <a:lnTo>
                      <a:pt x="41" y="6"/>
                    </a:lnTo>
                    <a:lnTo>
                      <a:pt x="8" y="45"/>
                    </a:lnTo>
                    <a:lnTo>
                      <a:pt x="0" y="3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218" name="îsľïďé"/>
              <p:cNvSpPr/>
              <p:nvPr/>
            </p:nvSpPr>
            <p:spPr bwMode="auto">
              <a:xfrm>
                <a:off x="1941409" y="5904503"/>
                <a:ext cx="96838" cy="101600"/>
              </a:xfrm>
              <a:custGeom>
                <a:avLst/>
                <a:gdLst>
                  <a:gd name="T0" fmla="*/ 0 w 61"/>
                  <a:gd name="T1" fmla="*/ 41 h 64"/>
                  <a:gd name="T2" fmla="*/ 31 w 61"/>
                  <a:gd name="T3" fmla="*/ 0 h 64"/>
                  <a:gd name="T4" fmla="*/ 61 w 61"/>
                  <a:gd name="T5" fmla="*/ 22 h 64"/>
                  <a:gd name="T6" fmla="*/ 56 w 61"/>
                  <a:gd name="T7" fmla="*/ 29 h 64"/>
                  <a:gd name="T8" fmla="*/ 34 w 61"/>
                  <a:gd name="T9" fmla="*/ 13 h 64"/>
                  <a:gd name="T10" fmla="*/ 27 w 61"/>
                  <a:gd name="T11" fmla="*/ 22 h 64"/>
                  <a:gd name="T12" fmla="*/ 47 w 61"/>
                  <a:gd name="T13" fmla="*/ 37 h 64"/>
                  <a:gd name="T14" fmla="*/ 42 w 61"/>
                  <a:gd name="T15" fmla="*/ 44 h 64"/>
                  <a:gd name="T16" fmla="*/ 21 w 61"/>
                  <a:gd name="T17" fmla="*/ 29 h 64"/>
                  <a:gd name="T18" fmla="*/ 13 w 61"/>
                  <a:gd name="T19" fmla="*/ 40 h 64"/>
                  <a:gd name="T20" fmla="*/ 36 w 61"/>
                  <a:gd name="T21" fmla="*/ 57 h 64"/>
                  <a:gd name="T22" fmla="*/ 31 w 61"/>
                  <a:gd name="T23" fmla="*/ 64 h 64"/>
                  <a:gd name="T24" fmla="*/ 0 w 61"/>
                  <a:gd name="T25" fmla="*/ 41 h 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1" h="64">
                    <a:moveTo>
                      <a:pt x="0" y="41"/>
                    </a:moveTo>
                    <a:lnTo>
                      <a:pt x="31" y="0"/>
                    </a:lnTo>
                    <a:lnTo>
                      <a:pt x="61" y="22"/>
                    </a:lnTo>
                    <a:lnTo>
                      <a:pt x="56" y="29"/>
                    </a:lnTo>
                    <a:lnTo>
                      <a:pt x="34" y="13"/>
                    </a:lnTo>
                    <a:lnTo>
                      <a:pt x="27" y="22"/>
                    </a:lnTo>
                    <a:lnTo>
                      <a:pt x="47" y="37"/>
                    </a:lnTo>
                    <a:lnTo>
                      <a:pt x="42" y="44"/>
                    </a:lnTo>
                    <a:lnTo>
                      <a:pt x="21" y="29"/>
                    </a:lnTo>
                    <a:lnTo>
                      <a:pt x="13" y="40"/>
                    </a:lnTo>
                    <a:lnTo>
                      <a:pt x="36" y="57"/>
                    </a:lnTo>
                    <a:lnTo>
                      <a:pt x="31" y="64"/>
                    </a:lnTo>
                    <a:lnTo>
                      <a:pt x="0" y="4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219" name="íśliḋé"/>
              <p:cNvSpPr/>
              <p:nvPr/>
            </p:nvSpPr>
            <p:spPr bwMode="auto">
              <a:xfrm>
                <a:off x="2004909" y="5947365"/>
                <a:ext cx="96838" cy="101600"/>
              </a:xfrm>
              <a:custGeom>
                <a:avLst/>
                <a:gdLst>
                  <a:gd name="T0" fmla="*/ 0 w 61"/>
                  <a:gd name="T1" fmla="*/ 43 h 64"/>
                  <a:gd name="T2" fmla="*/ 27 w 61"/>
                  <a:gd name="T3" fmla="*/ 0 h 64"/>
                  <a:gd name="T4" fmla="*/ 35 w 61"/>
                  <a:gd name="T5" fmla="*/ 5 h 64"/>
                  <a:gd name="T6" fmla="*/ 36 w 61"/>
                  <a:gd name="T7" fmla="*/ 45 h 64"/>
                  <a:gd name="T8" fmla="*/ 53 w 61"/>
                  <a:gd name="T9" fmla="*/ 15 h 64"/>
                  <a:gd name="T10" fmla="*/ 61 w 61"/>
                  <a:gd name="T11" fmla="*/ 21 h 64"/>
                  <a:gd name="T12" fmla="*/ 35 w 61"/>
                  <a:gd name="T13" fmla="*/ 64 h 64"/>
                  <a:gd name="T14" fmla="*/ 27 w 61"/>
                  <a:gd name="T15" fmla="*/ 59 h 64"/>
                  <a:gd name="T16" fmla="*/ 25 w 61"/>
                  <a:gd name="T17" fmla="*/ 20 h 64"/>
                  <a:gd name="T18" fmla="*/ 8 w 61"/>
                  <a:gd name="T19" fmla="*/ 49 h 64"/>
                  <a:gd name="T20" fmla="*/ 0 w 61"/>
                  <a:gd name="T21" fmla="*/ 43 h 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61" h="64">
                    <a:moveTo>
                      <a:pt x="0" y="43"/>
                    </a:moveTo>
                    <a:lnTo>
                      <a:pt x="27" y="0"/>
                    </a:lnTo>
                    <a:lnTo>
                      <a:pt x="35" y="5"/>
                    </a:lnTo>
                    <a:lnTo>
                      <a:pt x="36" y="45"/>
                    </a:lnTo>
                    <a:lnTo>
                      <a:pt x="53" y="15"/>
                    </a:lnTo>
                    <a:lnTo>
                      <a:pt x="61" y="21"/>
                    </a:lnTo>
                    <a:lnTo>
                      <a:pt x="35" y="64"/>
                    </a:lnTo>
                    <a:lnTo>
                      <a:pt x="27" y="59"/>
                    </a:lnTo>
                    <a:lnTo>
                      <a:pt x="25" y="20"/>
                    </a:lnTo>
                    <a:lnTo>
                      <a:pt x="8" y="49"/>
                    </a:lnTo>
                    <a:lnTo>
                      <a:pt x="0" y="4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220" name="iSļiďê"/>
              <p:cNvSpPr/>
              <p:nvPr/>
            </p:nvSpPr>
            <p:spPr bwMode="auto">
              <a:xfrm>
                <a:off x="2087459" y="5993403"/>
                <a:ext cx="79375" cy="87313"/>
              </a:xfrm>
              <a:custGeom>
                <a:avLst/>
                <a:gdLst>
                  <a:gd name="T0" fmla="*/ 28 w 43"/>
                  <a:gd name="T1" fmla="*/ 33 h 47"/>
                  <a:gd name="T2" fmla="*/ 34 w 43"/>
                  <a:gd name="T3" fmla="*/ 39 h 47"/>
                  <a:gd name="T4" fmla="*/ 24 w 43"/>
                  <a:gd name="T5" fmla="*/ 46 h 47"/>
                  <a:gd name="T6" fmla="*/ 12 w 43"/>
                  <a:gd name="T7" fmla="*/ 44 h 47"/>
                  <a:gd name="T8" fmla="*/ 1 w 43"/>
                  <a:gd name="T9" fmla="*/ 33 h 47"/>
                  <a:gd name="T10" fmla="*/ 3 w 43"/>
                  <a:gd name="T11" fmla="*/ 15 h 47"/>
                  <a:gd name="T12" fmla="*/ 15 w 43"/>
                  <a:gd name="T13" fmla="*/ 2 h 47"/>
                  <a:gd name="T14" fmla="*/ 32 w 43"/>
                  <a:gd name="T15" fmla="*/ 3 h 47"/>
                  <a:gd name="T16" fmla="*/ 41 w 43"/>
                  <a:gd name="T17" fmla="*/ 13 h 47"/>
                  <a:gd name="T18" fmla="*/ 42 w 43"/>
                  <a:gd name="T19" fmla="*/ 22 h 47"/>
                  <a:gd name="T20" fmla="*/ 33 w 43"/>
                  <a:gd name="T21" fmla="*/ 20 h 47"/>
                  <a:gd name="T22" fmla="*/ 33 w 43"/>
                  <a:gd name="T23" fmla="*/ 14 h 47"/>
                  <a:gd name="T24" fmla="*/ 28 w 43"/>
                  <a:gd name="T25" fmla="*/ 10 h 47"/>
                  <a:gd name="T26" fmla="*/ 19 w 43"/>
                  <a:gd name="T27" fmla="*/ 10 h 47"/>
                  <a:gd name="T28" fmla="*/ 12 w 43"/>
                  <a:gd name="T29" fmla="*/ 19 h 47"/>
                  <a:gd name="T30" fmla="*/ 9 w 43"/>
                  <a:gd name="T31" fmla="*/ 31 h 47"/>
                  <a:gd name="T32" fmla="*/ 15 w 43"/>
                  <a:gd name="T33" fmla="*/ 37 h 47"/>
                  <a:gd name="T34" fmla="*/ 22 w 43"/>
                  <a:gd name="T35" fmla="*/ 38 h 47"/>
                  <a:gd name="T36" fmla="*/ 28 w 43"/>
                  <a:gd name="T37" fmla="*/ 33 h 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43" h="47">
                    <a:moveTo>
                      <a:pt x="28" y="33"/>
                    </a:moveTo>
                    <a:cubicBezTo>
                      <a:pt x="34" y="39"/>
                      <a:pt x="34" y="39"/>
                      <a:pt x="34" y="39"/>
                    </a:cubicBezTo>
                    <a:cubicBezTo>
                      <a:pt x="31" y="43"/>
                      <a:pt x="28" y="45"/>
                      <a:pt x="24" y="46"/>
                    </a:cubicBezTo>
                    <a:cubicBezTo>
                      <a:pt x="20" y="47"/>
                      <a:pt x="16" y="46"/>
                      <a:pt x="12" y="44"/>
                    </a:cubicBezTo>
                    <a:cubicBezTo>
                      <a:pt x="7" y="42"/>
                      <a:pt x="3" y="38"/>
                      <a:pt x="1" y="33"/>
                    </a:cubicBezTo>
                    <a:cubicBezTo>
                      <a:pt x="0" y="27"/>
                      <a:pt x="0" y="22"/>
                      <a:pt x="3" y="15"/>
                    </a:cubicBezTo>
                    <a:cubicBezTo>
                      <a:pt x="6" y="9"/>
                      <a:pt x="10" y="4"/>
                      <a:pt x="15" y="2"/>
                    </a:cubicBezTo>
                    <a:cubicBezTo>
                      <a:pt x="21" y="0"/>
                      <a:pt x="26" y="1"/>
                      <a:pt x="32" y="3"/>
                    </a:cubicBezTo>
                    <a:cubicBezTo>
                      <a:pt x="36" y="5"/>
                      <a:pt x="40" y="9"/>
                      <a:pt x="41" y="13"/>
                    </a:cubicBezTo>
                    <a:cubicBezTo>
                      <a:pt x="42" y="16"/>
                      <a:pt x="43" y="19"/>
                      <a:pt x="42" y="22"/>
                    </a:cubicBezTo>
                    <a:cubicBezTo>
                      <a:pt x="33" y="20"/>
                      <a:pt x="33" y="20"/>
                      <a:pt x="33" y="20"/>
                    </a:cubicBezTo>
                    <a:cubicBezTo>
                      <a:pt x="34" y="18"/>
                      <a:pt x="34" y="16"/>
                      <a:pt x="33" y="14"/>
                    </a:cubicBezTo>
                    <a:cubicBezTo>
                      <a:pt x="32" y="12"/>
                      <a:pt x="30" y="11"/>
                      <a:pt x="28" y="10"/>
                    </a:cubicBezTo>
                    <a:cubicBezTo>
                      <a:pt x="25" y="8"/>
                      <a:pt x="22" y="8"/>
                      <a:pt x="19" y="10"/>
                    </a:cubicBezTo>
                    <a:cubicBezTo>
                      <a:pt x="16" y="11"/>
                      <a:pt x="14" y="14"/>
                      <a:pt x="12" y="19"/>
                    </a:cubicBezTo>
                    <a:cubicBezTo>
                      <a:pt x="9" y="24"/>
                      <a:pt x="9" y="28"/>
                      <a:pt x="9" y="31"/>
                    </a:cubicBezTo>
                    <a:cubicBezTo>
                      <a:pt x="10" y="34"/>
                      <a:pt x="12" y="36"/>
                      <a:pt x="15" y="37"/>
                    </a:cubicBezTo>
                    <a:cubicBezTo>
                      <a:pt x="17" y="38"/>
                      <a:pt x="19" y="38"/>
                      <a:pt x="22" y="38"/>
                    </a:cubicBezTo>
                    <a:cubicBezTo>
                      <a:pt x="24" y="37"/>
                      <a:pt x="26" y="35"/>
                      <a:pt x="28" y="3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221" name="íSliḋé"/>
              <p:cNvSpPr/>
              <p:nvPr/>
            </p:nvSpPr>
            <p:spPr bwMode="auto">
              <a:xfrm>
                <a:off x="2157309" y="6017215"/>
                <a:ext cx="82550" cy="96838"/>
              </a:xfrm>
              <a:custGeom>
                <a:avLst/>
                <a:gdLst>
                  <a:gd name="T0" fmla="*/ 0 w 52"/>
                  <a:gd name="T1" fmla="*/ 49 h 61"/>
                  <a:gd name="T2" fmla="*/ 16 w 52"/>
                  <a:gd name="T3" fmla="*/ 0 h 61"/>
                  <a:gd name="T4" fmla="*/ 52 w 52"/>
                  <a:gd name="T5" fmla="*/ 13 h 61"/>
                  <a:gd name="T6" fmla="*/ 50 w 52"/>
                  <a:gd name="T7" fmla="*/ 21 h 61"/>
                  <a:gd name="T8" fmla="*/ 23 w 52"/>
                  <a:gd name="T9" fmla="*/ 12 h 61"/>
                  <a:gd name="T10" fmla="*/ 20 w 52"/>
                  <a:gd name="T11" fmla="*/ 22 h 61"/>
                  <a:gd name="T12" fmla="*/ 44 w 52"/>
                  <a:gd name="T13" fmla="*/ 30 h 61"/>
                  <a:gd name="T14" fmla="*/ 41 w 52"/>
                  <a:gd name="T15" fmla="*/ 38 h 61"/>
                  <a:gd name="T16" fmla="*/ 18 w 52"/>
                  <a:gd name="T17" fmla="*/ 30 h 61"/>
                  <a:gd name="T18" fmla="*/ 13 w 52"/>
                  <a:gd name="T19" fmla="*/ 43 h 61"/>
                  <a:gd name="T20" fmla="*/ 40 w 52"/>
                  <a:gd name="T21" fmla="*/ 52 h 61"/>
                  <a:gd name="T22" fmla="*/ 36 w 52"/>
                  <a:gd name="T23" fmla="*/ 61 h 61"/>
                  <a:gd name="T24" fmla="*/ 0 w 52"/>
                  <a:gd name="T25" fmla="*/ 49 h 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52" h="61">
                    <a:moveTo>
                      <a:pt x="0" y="49"/>
                    </a:moveTo>
                    <a:lnTo>
                      <a:pt x="16" y="0"/>
                    </a:lnTo>
                    <a:lnTo>
                      <a:pt x="52" y="13"/>
                    </a:lnTo>
                    <a:lnTo>
                      <a:pt x="50" y="21"/>
                    </a:lnTo>
                    <a:lnTo>
                      <a:pt x="23" y="12"/>
                    </a:lnTo>
                    <a:lnTo>
                      <a:pt x="20" y="22"/>
                    </a:lnTo>
                    <a:lnTo>
                      <a:pt x="44" y="30"/>
                    </a:lnTo>
                    <a:lnTo>
                      <a:pt x="41" y="38"/>
                    </a:lnTo>
                    <a:lnTo>
                      <a:pt x="18" y="30"/>
                    </a:lnTo>
                    <a:lnTo>
                      <a:pt x="13" y="43"/>
                    </a:lnTo>
                    <a:lnTo>
                      <a:pt x="40" y="52"/>
                    </a:lnTo>
                    <a:lnTo>
                      <a:pt x="36" y="61"/>
                    </a:lnTo>
                    <a:lnTo>
                      <a:pt x="0" y="4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222" name="îŝ1îḑè"/>
              <p:cNvSpPr/>
              <p:nvPr/>
            </p:nvSpPr>
            <p:spPr bwMode="auto">
              <a:xfrm>
                <a:off x="2663722" y="6026740"/>
                <a:ext cx="77788" cy="92075"/>
              </a:xfrm>
              <a:custGeom>
                <a:avLst/>
                <a:gdLst>
                  <a:gd name="T0" fmla="*/ 49 w 49"/>
                  <a:gd name="T1" fmla="*/ 42 h 58"/>
                  <a:gd name="T2" fmla="*/ 39 w 49"/>
                  <a:gd name="T3" fmla="*/ 45 h 58"/>
                  <a:gd name="T4" fmla="*/ 31 w 49"/>
                  <a:gd name="T5" fmla="*/ 36 h 58"/>
                  <a:gd name="T6" fmla="*/ 11 w 49"/>
                  <a:gd name="T7" fmla="*/ 43 h 58"/>
                  <a:gd name="T8" fmla="*/ 11 w 49"/>
                  <a:gd name="T9" fmla="*/ 55 h 58"/>
                  <a:gd name="T10" fmla="*/ 0 w 49"/>
                  <a:gd name="T11" fmla="*/ 58 h 58"/>
                  <a:gd name="T12" fmla="*/ 3 w 49"/>
                  <a:gd name="T13" fmla="*/ 3 h 58"/>
                  <a:gd name="T14" fmla="*/ 13 w 49"/>
                  <a:gd name="T15" fmla="*/ 0 h 58"/>
                  <a:gd name="T16" fmla="*/ 49 w 49"/>
                  <a:gd name="T17" fmla="*/ 42 h 58"/>
                  <a:gd name="T18" fmla="*/ 25 w 49"/>
                  <a:gd name="T19" fmla="*/ 29 h 58"/>
                  <a:gd name="T20" fmla="*/ 12 w 49"/>
                  <a:gd name="T21" fmla="*/ 14 h 58"/>
                  <a:gd name="T22" fmla="*/ 11 w 49"/>
                  <a:gd name="T23" fmla="*/ 34 h 58"/>
                  <a:gd name="T24" fmla="*/ 25 w 49"/>
                  <a:gd name="T25" fmla="*/ 29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49" h="58">
                    <a:moveTo>
                      <a:pt x="49" y="42"/>
                    </a:moveTo>
                    <a:lnTo>
                      <a:pt x="39" y="45"/>
                    </a:lnTo>
                    <a:lnTo>
                      <a:pt x="31" y="36"/>
                    </a:lnTo>
                    <a:lnTo>
                      <a:pt x="11" y="43"/>
                    </a:lnTo>
                    <a:lnTo>
                      <a:pt x="11" y="55"/>
                    </a:lnTo>
                    <a:lnTo>
                      <a:pt x="0" y="58"/>
                    </a:lnTo>
                    <a:lnTo>
                      <a:pt x="3" y="3"/>
                    </a:lnTo>
                    <a:lnTo>
                      <a:pt x="13" y="0"/>
                    </a:lnTo>
                    <a:lnTo>
                      <a:pt x="49" y="42"/>
                    </a:lnTo>
                    <a:close/>
                    <a:moveTo>
                      <a:pt x="25" y="29"/>
                    </a:moveTo>
                    <a:lnTo>
                      <a:pt x="12" y="14"/>
                    </a:lnTo>
                    <a:lnTo>
                      <a:pt x="11" y="34"/>
                    </a:lnTo>
                    <a:lnTo>
                      <a:pt x="25" y="2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223" name="íṩḻiḋê"/>
              <p:cNvSpPr/>
              <p:nvPr/>
            </p:nvSpPr>
            <p:spPr bwMode="auto">
              <a:xfrm>
                <a:off x="2714522" y="5990228"/>
                <a:ext cx="92075" cy="101600"/>
              </a:xfrm>
              <a:custGeom>
                <a:avLst/>
                <a:gdLst>
                  <a:gd name="T0" fmla="*/ 21 w 58"/>
                  <a:gd name="T1" fmla="*/ 64 h 64"/>
                  <a:gd name="T2" fmla="*/ 0 w 58"/>
                  <a:gd name="T3" fmla="*/ 17 h 64"/>
                  <a:gd name="T4" fmla="*/ 9 w 58"/>
                  <a:gd name="T5" fmla="*/ 12 h 64"/>
                  <a:gd name="T6" fmla="*/ 43 w 58"/>
                  <a:gd name="T7" fmla="*/ 36 h 64"/>
                  <a:gd name="T8" fmla="*/ 29 w 58"/>
                  <a:gd name="T9" fmla="*/ 4 h 64"/>
                  <a:gd name="T10" fmla="*/ 37 w 58"/>
                  <a:gd name="T11" fmla="*/ 0 h 64"/>
                  <a:gd name="T12" fmla="*/ 58 w 58"/>
                  <a:gd name="T13" fmla="*/ 46 h 64"/>
                  <a:gd name="T14" fmla="*/ 49 w 58"/>
                  <a:gd name="T15" fmla="*/ 51 h 64"/>
                  <a:gd name="T16" fmla="*/ 16 w 58"/>
                  <a:gd name="T17" fmla="*/ 29 h 64"/>
                  <a:gd name="T18" fmla="*/ 30 w 58"/>
                  <a:gd name="T19" fmla="*/ 59 h 64"/>
                  <a:gd name="T20" fmla="*/ 21 w 58"/>
                  <a:gd name="T21" fmla="*/ 64 h 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58" h="64">
                    <a:moveTo>
                      <a:pt x="21" y="64"/>
                    </a:moveTo>
                    <a:lnTo>
                      <a:pt x="0" y="17"/>
                    </a:lnTo>
                    <a:lnTo>
                      <a:pt x="9" y="12"/>
                    </a:lnTo>
                    <a:lnTo>
                      <a:pt x="43" y="36"/>
                    </a:lnTo>
                    <a:lnTo>
                      <a:pt x="29" y="4"/>
                    </a:lnTo>
                    <a:lnTo>
                      <a:pt x="37" y="0"/>
                    </a:lnTo>
                    <a:lnTo>
                      <a:pt x="58" y="46"/>
                    </a:lnTo>
                    <a:lnTo>
                      <a:pt x="49" y="51"/>
                    </a:lnTo>
                    <a:lnTo>
                      <a:pt x="16" y="29"/>
                    </a:lnTo>
                    <a:lnTo>
                      <a:pt x="30" y="59"/>
                    </a:lnTo>
                    <a:lnTo>
                      <a:pt x="21" y="6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224" name="îṧľíḍe"/>
              <p:cNvSpPr/>
              <p:nvPr/>
            </p:nvSpPr>
            <p:spPr bwMode="auto">
              <a:xfrm>
                <a:off x="2781197" y="5963240"/>
                <a:ext cx="85725" cy="95250"/>
              </a:xfrm>
              <a:custGeom>
                <a:avLst/>
                <a:gdLst>
                  <a:gd name="T0" fmla="*/ 0 w 47"/>
                  <a:gd name="T1" fmla="*/ 13 h 51"/>
                  <a:gd name="T2" fmla="*/ 14 w 47"/>
                  <a:gd name="T3" fmla="*/ 4 h 51"/>
                  <a:gd name="T4" fmla="*/ 22 w 47"/>
                  <a:gd name="T5" fmla="*/ 1 h 51"/>
                  <a:gd name="T6" fmla="*/ 29 w 47"/>
                  <a:gd name="T7" fmla="*/ 1 h 51"/>
                  <a:gd name="T8" fmla="*/ 37 w 47"/>
                  <a:gd name="T9" fmla="*/ 5 h 51"/>
                  <a:gd name="T10" fmla="*/ 43 w 47"/>
                  <a:gd name="T11" fmla="*/ 14 h 51"/>
                  <a:gd name="T12" fmla="*/ 47 w 47"/>
                  <a:gd name="T13" fmla="*/ 22 h 51"/>
                  <a:gd name="T14" fmla="*/ 46 w 47"/>
                  <a:gd name="T15" fmla="*/ 31 h 51"/>
                  <a:gd name="T16" fmla="*/ 43 w 47"/>
                  <a:gd name="T17" fmla="*/ 38 h 51"/>
                  <a:gd name="T18" fmla="*/ 36 w 47"/>
                  <a:gd name="T19" fmla="*/ 42 h 51"/>
                  <a:gd name="T20" fmla="*/ 22 w 47"/>
                  <a:gd name="T21" fmla="*/ 51 h 51"/>
                  <a:gd name="T22" fmla="*/ 0 w 47"/>
                  <a:gd name="T23" fmla="*/ 13 h 51"/>
                  <a:gd name="T24" fmla="*/ 11 w 47"/>
                  <a:gd name="T25" fmla="*/ 15 h 51"/>
                  <a:gd name="T26" fmla="*/ 26 w 47"/>
                  <a:gd name="T27" fmla="*/ 40 h 51"/>
                  <a:gd name="T28" fmla="*/ 32 w 47"/>
                  <a:gd name="T29" fmla="*/ 37 h 51"/>
                  <a:gd name="T30" fmla="*/ 36 w 47"/>
                  <a:gd name="T31" fmla="*/ 33 h 51"/>
                  <a:gd name="T32" fmla="*/ 38 w 47"/>
                  <a:gd name="T33" fmla="*/ 30 h 51"/>
                  <a:gd name="T34" fmla="*/ 38 w 47"/>
                  <a:gd name="T35" fmla="*/ 25 h 51"/>
                  <a:gd name="T36" fmla="*/ 35 w 47"/>
                  <a:gd name="T37" fmla="*/ 18 h 51"/>
                  <a:gd name="T38" fmla="*/ 30 w 47"/>
                  <a:gd name="T39" fmla="*/ 11 h 51"/>
                  <a:gd name="T40" fmla="*/ 26 w 47"/>
                  <a:gd name="T41" fmla="*/ 9 h 51"/>
                  <a:gd name="T42" fmla="*/ 21 w 47"/>
                  <a:gd name="T43" fmla="*/ 9 h 51"/>
                  <a:gd name="T44" fmla="*/ 15 w 47"/>
                  <a:gd name="T45" fmla="*/ 13 h 51"/>
                  <a:gd name="T46" fmla="*/ 11 w 47"/>
                  <a:gd name="T47" fmla="*/ 15 h 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47" h="51">
                    <a:moveTo>
                      <a:pt x="0" y="13"/>
                    </a:moveTo>
                    <a:cubicBezTo>
                      <a:pt x="14" y="4"/>
                      <a:pt x="14" y="4"/>
                      <a:pt x="14" y="4"/>
                    </a:cubicBezTo>
                    <a:cubicBezTo>
                      <a:pt x="17" y="3"/>
                      <a:pt x="20" y="1"/>
                      <a:pt x="22" y="1"/>
                    </a:cubicBezTo>
                    <a:cubicBezTo>
                      <a:pt x="24" y="0"/>
                      <a:pt x="27" y="0"/>
                      <a:pt x="29" y="1"/>
                    </a:cubicBezTo>
                    <a:cubicBezTo>
                      <a:pt x="32" y="2"/>
                      <a:pt x="34" y="3"/>
                      <a:pt x="37" y="5"/>
                    </a:cubicBezTo>
                    <a:cubicBezTo>
                      <a:pt x="39" y="7"/>
                      <a:pt x="41" y="10"/>
                      <a:pt x="43" y="14"/>
                    </a:cubicBezTo>
                    <a:cubicBezTo>
                      <a:pt x="45" y="17"/>
                      <a:pt x="46" y="20"/>
                      <a:pt x="47" y="22"/>
                    </a:cubicBezTo>
                    <a:cubicBezTo>
                      <a:pt x="47" y="26"/>
                      <a:pt x="47" y="29"/>
                      <a:pt x="46" y="31"/>
                    </a:cubicBezTo>
                    <a:cubicBezTo>
                      <a:pt x="46" y="34"/>
                      <a:pt x="45" y="36"/>
                      <a:pt x="43" y="38"/>
                    </a:cubicBezTo>
                    <a:cubicBezTo>
                      <a:pt x="41" y="39"/>
                      <a:pt x="39" y="41"/>
                      <a:pt x="36" y="42"/>
                    </a:cubicBezTo>
                    <a:cubicBezTo>
                      <a:pt x="22" y="51"/>
                      <a:pt x="22" y="51"/>
                      <a:pt x="22" y="51"/>
                    </a:cubicBezTo>
                    <a:lnTo>
                      <a:pt x="0" y="13"/>
                    </a:lnTo>
                    <a:close/>
                    <a:moveTo>
                      <a:pt x="11" y="15"/>
                    </a:moveTo>
                    <a:cubicBezTo>
                      <a:pt x="26" y="40"/>
                      <a:pt x="26" y="40"/>
                      <a:pt x="26" y="40"/>
                    </a:cubicBezTo>
                    <a:cubicBezTo>
                      <a:pt x="32" y="37"/>
                      <a:pt x="32" y="37"/>
                      <a:pt x="32" y="37"/>
                    </a:cubicBezTo>
                    <a:cubicBezTo>
                      <a:pt x="34" y="35"/>
                      <a:pt x="35" y="34"/>
                      <a:pt x="36" y="33"/>
                    </a:cubicBezTo>
                    <a:cubicBezTo>
                      <a:pt x="37" y="32"/>
                      <a:pt x="38" y="31"/>
                      <a:pt x="38" y="30"/>
                    </a:cubicBezTo>
                    <a:cubicBezTo>
                      <a:pt x="39" y="29"/>
                      <a:pt x="39" y="27"/>
                      <a:pt x="38" y="25"/>
                    </a:cubicBezTo>
                    <a:cubicBezTo>
                      <a:pt x="38" y="23"/>
                      <a:pt x="37" y="21"/>
                      <a:pt x="35" y="18"/>
                    </a:cubicBezTo>
                    <a:cubicBezTo>
                      <a:pt x="33" y="15"/>
                      <a:pt x="32" y="13"/>
                      <a:pt x="30" y="11"/>
                    </a:cubicBezTo>
                    <a:cubicBezTo>
                      <a:pt x="29" y="10"/>
                      <a:pt x="27" y="9"/>
                      <a:pt x="26" y="9"/>
                    </a:cubicBezTo>
                    <a:cubicBezTo>
                      <a:pt x="25" y="9"/>
                      <a:pt x="23" y="9"/>
                      <a:pt x="21" y="9"/>
                    </a:cubicBezTo>
                    <a:cubicBezTo>
                      <a:pt x="20" y="10"/>
                      <a:pt x="18" y="11"/>
                      <a:pt x="15" y="13"/>
                    </a:cubicBezTo>
                    <a:lnTo>
                      <a:pt x="11" y="1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225" name="ïṩḻiḍe"/>
              <p:cNvSpPr/>
              <p:nvPr/>
            </p:nvSpPr>
            <p:spPr bwMode="auto">
              <a:xfrm>
                <a:off x="2876447" y="5888628"/>
                <a:ext cx="80963" cy="88900"/>
              </a:xfrm>
              <a:custGeom>
                <a:avLst/>
                <a:gdLst>
                  <a:gd name="T0" fmla="*/ 43 w 51"/>
                  <a:gd name="T1" fmla="*/ 56 h 56"/>
                  <a:gd name="T2" fmla="*/ 16 w 51"/>
                  <a:gd name="T3" fmla="*/ 22 h 56"/>
                  <a:gd name="T4" fmla="*/ 5 w 51"/>
                  <a:gd name="T5" fmla="*/ 31 h 56"/>
                  <a:gd name="T6" fmla="*/ 0 w 51"/>
                  <a:gd name="T7" fmla="*/ 25 h 56"/>
                  <a:gd name="T8" fmla="*/ 31 w 51"/>
                  <a:gd name="T9" fmla="*/ 0 h 56"/>
                  <a:gd name="T10" fmla="*/ 37 w 51"/>
                  <a:gd name="T11" fmla="*/ 7 h 56"/>
                  <a:gd name="T12" fmla="*/ 24 w 51"/>
                  <a:gd name="T13" fmla="*/ 16 h 56"/>
                  <a:gd name="T14" fmla="*/ 51 w 51"/>
                  <a:gd name="T15" fmla="*/ 49 h 56"/>
                  <a:gd name="T16" fmla="*/ 43 w 51"/>
                  <a:gd name="T17" fmla="*/ 56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1" h="56">
                    <a:moveTo>
                      <a:pt x="43" y="56"/>
                    </a:moveTo>
                    <a:lnTo>
                      <a:pt x="16" y="22"/>
                    </a:lnTo>
                    <a:lnTo>
                      <a:pt x="5" y="31"/>
                    </a:lnTo>
                    <a:lnTo>
                      <a:pt x="0" y="25"/>
                    </a:lnTo>
                    <a:lnTo>
                      <a:pt x="31" y="0"/>
                    </a:lnTo>
                    <a:lnTo>
                      <a:pt x="37" y="7"/>
                    </a:lnTo>
                    <a:lnTo>
                      <a:pt x="24" y="16"/>
                    </a:lnTo>
                    <a:lnTo>
                      <a:pt x="51" y="49"/>
                    </a:lnTo>
                    <a:lnTo>
                      <a:pt x="43" y="56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226" name="íśļïḓè"/>
              <p:cNvSpPr/>
              <p:nvPr/>
            </p:nvSpPr>
            <p:spPr bwMode="auto">
              <a:xfrm>
                <a:off x="2925659" y="5845765"/>
                <a:ext cx="101600" cy="100013"/>
              </a:xfrm>
              <a:custGeom>
                <a:avLst/>
                <a:gdLst>
                  <a:gd name="T0" fmla="*/ 36 w 64"/>
                  <a:gd name="T1" fmla="*/ 63 h 63"/>
                  <a:gd name="T2" fmla="*/ 0 w 64"/>
                  <a:gd name="T3" fmla="*/ 26 h 63"/>
                  <a:gd name="T4" fmla="*/ 28 w 64"/>
                  <a:gd name="T5" fmla="*/ 0 h 63"/>
                  <a:gd name="T6" fmla="*/ 34 w 64"/>
                  <a:gd name="T7" fmla="*/ 6 h 63"/>
                  <a:gd name="T8" fmla="*/ 14 w 64"/>
                  <a:gd name="T9" fmla="*/ 26 h 63"/>
                  <a:gd name="T10" fmla="*/ 22 w 64"/>
                  <a:gd name="T11" fmla="*/ 34 h 63"/>
                  <a:gd name="T12" fmla="*/ 41 w 64"/>
                  <a:gd name="T13" fmla="*/ 16 h 63"/>
                  <a:gd name="T14" fmla="*/ 47 w 64"/>
                  <a:gd name="T15" fmla="*/ 22 h 63"/>
                  <a:gd name="T16" fmla="*/ 28 w 64"/>
                  <a:gd name="T17" fmla="*/ 39 h 63"/>
                  <a:gd name="T18" fmla="*/ 38 w 64"/>
                  <a:gd name="T19" fmla="*/ 50 h 63"/>
                  <a:gd name="T20" fmla="*/ 58 w 64"/>
                  <a:gd name="T21" fmla="*/ 30 h 63"/>
                  <a:gd name="T22" fmla="*/ 64 w 64"/>
                  <a:gd name="T23" fmla="*/ 36 h 63"/>
                  <a:gd name="T24" fmla="*/ 36 w 64"/>
                  <a:gd name="T25" fmla="*/ 63 h 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4" h="63">
                    <a:moveTo>
                      <a:pt x="36" y="63"/>
                    </a:moveTo>
                    <a:lnTo>
                      <a:pt x="0" y="26"/>
                    </a:lnTo>
                    <a:lnTo>
                      <a:pt x="28" y="0"/>
                    </a:lnTo>
                    <a:lnTo>
                      <a:pt x="34" y="6"/>
                    </a:lnTo>
                    <a:lnTo>
                      <a:pt x="14" y="26"/>
                    </a:lnTo>
                    <a:lnTo>
                      <a:pt x="22" y="34"/>
                    </a:lnTo>
                    <a:lnTo>
                      <a:pt x="41" y="16"/>
                    </a:lnTo>
                    <a:lnTo>
                      <a:pt x="47" y="22"/>
                    </a:lnTo>
                    <a:lnTo>
                      <a:pt x="28" y="39"/>
                    </a:lnTo>
                    <a:lnTo>
                      <a:pt x="38" y="50"/>
                    </a:lnTo>
                    <a:lnTo>
                      <a:pt x="58" y="30"/>
                    </a:lnTo>
                    <a:lnTo>
                      <a:pt x="64" y="36"/>
                    </a:lnTo>
                    <a:lnTo>
                      <a:pt x="36" y="6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227" name="íṩḻîde"/>
              <p:cNvSpPr/>
              <p:nvPr/>
            </p:nvSpPr>
            <p:spPr bwMode="auto">
              <a:xfrm>
                <a:off x="2985984" y="5801315"/>
                <a:ext cx="82550" cy="80963"/>
              </a:xfrm>
              <a:custGeom>
                <a:avLst/>
                <a:gdLst>
                  <a:gd name="T0" fmla="*/ 34 w 45"/>
                  <a:gd name="T1" fmla="*/ 19 h 44"/>
                  <a:gd name="T2" fmla="*/ 41 w 45"/>
                  <a:gd name="T3" fmla="*/ 14 h 44"/>
                  <a:gd name="T4" fmla="*/ 45 w 45"/>
                  <a:gd name="T5" fmla="*/ 26 h 44"/>
                  <a:gd name="T6" fmla="*/ 40 w 45"/>
                  <a:gd name="T7" fmla="*/ 37 h 44"/>
                  <a:gd name="T8" fmla="*/ 26 w 45"/>
                  <a:gd name="T9" fmla="*/ 44 h 44"/>
                  <a:gd name="T10" fmla="*/ 10 w 45"/>
                  <a:gd name="T11" fmla="*/ 38 h 44"/>
                  <a:gd name="T12" fmla="*/ 1 w 45"/>
                  <a:gd name="T13" fmla="*/ 22 h 44"/>
                  <a:gd name="T14" fmla="*/ 6 w 45"/>
                  <a:gd name="T15" fmla="*/ 7 h 44"/>
                  <a:gd name="T16" fmla="*/ 18 w 45"/>
                  <a:gd name="T17" fmla="*/ 0 h 44"/>
                  <a:gd name="T18" fmla="*/ 27 w 45"/>
                  <a:gd name="T19" fmla="*/ 2 h 44"/>
                  <a:gd name="T20" fmla="*/ 23 w 45"/>
                  <a:gd name="T21" fmla="*/ 10 h 44"/>
                  <a:gd name="T22" fmla="*/ 17 w 45"/>
                  <a:gd name="T23" fmla="*/ 9 h 44"/>
                  <a:gd name="T24" fmla="*/ 11 w 45"/>
                  <a:gd name="T25" fmla="*/ 12 h 44"/>
                  <a:gd name="T26" fmla="*/ 9 w 45"/>
                  <a:gd name="T27" fmla="*/ 21 h 44"/>
                  <a:gd name="T28" fmla="*/ 15 w 45"/>
                  <a:gd name="T29" fmla="*/ 30 h 44"/>
                  <a:gd name="T30" fmla="*/ 26 w 45"/>
                  <a:gd name="T31" fmla="*/ 36 h 44"/>
                  <a:gd name="T32" fmla="*/ 34 w 45"/>
                  <a:gd name="T33" fmla="*/ 32 h 44"/>
                  <a:gd name="T34" fmla="*/ 36 w 45"/>
                  <a:gd name="T35" fmla="*/ 26 h 44"/>
                  <a:gd name="T36" fmla="*/ 34 w 45"/>
                  <a:gd name="T37" fmla="*/ 19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45" h="44">
                    <a:moveTo>
                      <a:pt x="34" y="19"/>
                    </a:moveTo>
                    <a:cubicBezTo>
                      <a:pt x="41" y="14"/>
                      <a:pt x="41" y="14"/>
                      <a:pt x="41" y="14"/>
                    </a:cubicBezTo>
                    <a:cubicBezTo>
                      <a:pt x="44" y="18"/>
                      <a:pt x="45" y="22"/>
                      <a:pt x="45" y="26"/>
                    </a:cubicBezTo>
                    <a:cubicBezTo>
                      <a:pt x="45" y="30"/>
                      <a:pt x="43" y="34"/>
                      <a:pt x="40" y="37"/>
                    </a:cubicBezTo>
                    <a:cubicBezTo>
                      <a:pt x="36" y="42"/>
                      <a:pt x="31" y="44"/>
                      <a:pt x="26" y="44"/>
                    </a:cubicBezTo>
                    <a:cubicBezTo>
                      <a:pt x="21" y="44"/>
                      <a:pt x="15" y="42"/>
                      <a:pt x="10" y="38"/>
                    </a:cubicBezTo>
                    <a:cubicBezTo>
                      <a:pt x="4" y="33"/>
                      <a:pt x="1" y="28"/>
                      <a:pt x="1" y="22"/>
                    </a:cubicBezTo>
                    <a:cubicBezTo>
                      <a:pt x="0" y="17"/>
                      <a:pt x="2" y="12"/>
                      <a:pt x="6" y="7"/>
                    </a:cubicBezTo>
                    <a:cubicBezTo>
                      <a:pt x="10" y="3"/>
                      <a:pt x="14" y="1"/>
                      <a:pt x="18" y="0"/>
                    </a:cubicBezTo>
                    <a:cubicBezTo>
                      <a:pt x="21" y="0"/>
                      <a:pt x="24" y="1"/>
                      <a:pt x="27" y="2"/>
                    </a:cubicBezTo>
                    <a:cubicBezTo>
                      <a:pt x="23" y="10"/>
                      <a:pt x="23" y="10"/>
                      <a:pt x="23" y="10"/>
                    </a:cubicBezTo>
                    <a:cubicBezTo>
                      <a:pt x="21" y="9"/>
                      <a:pt x="19" y="9"/>
                      <a:pt x="17" y="9"/>
                    </a:cubicBezTo>
                    <a:cubicBezTo>
                      <a:pt x="15" y="9"/>
                      <a:pt x="13" y="11"/>
                      <a:pt x="11" y="12"/>
                    </a:cubicBezTo>
                    <a:cubicBezTo>
                      <a:pt x="9" y="15"/>
                      <a:pt x="8" y="18"/>
                      <a:pt x="9" y="21"/>
                    </a:cubicBezTo>
                    <a:cubicBezTo>
                      <a:pt x="9" y="24"/>
                      <a:pt x="12" y="27"/>
                      <a:pt x="15" y="30"/>
                    </a:cubicBezTo>
                    <a:cubicBezTo>
                      <a:pt x="20" y="34"/>
                      <a:pt x="23" y="36"/>
                      <a:pt x="26" y="36"/>
                    </a:cubicBezTo>
                    <a:cubicBezTo>
                      <a:pt x="29" y="36"/>
                      <a:pt x="32" y="35"/>
                      <a:pt x="34" y="32"/>
                    </a:cubicBezTo>
                    <a:cubicBezTo>
                      <a:pt x="36" y="31"/>
                      <a:pt x="36" y="29"/>
                      <a:pt x="36" y="26"/>
                    </a:cubicBezTo>
                    <a:cubicBezTo>
                      <a:pt x="36" y="24"/>
                      <a:pt x="35" y="22"/>
                      <a:pt x="34" y="1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228" name="îŝḷïḓê"/>
              <p:cNvSpPr/>
              <p:nvPr/>
            </p:nvSpPr>
            <p:spPr bwMode="auto">
              <a:xfrm>
                <a:off x="3022497" y="5733053"/>
                <a:ext cx="103188" cy="101600"/>
              </a:xfrm>
              <a:custGeom>
                <a:avLst/>
                <a:gdLst>
                  <a:gd name="T0" fmla="*/ 42 w 65"/>
                  <a:gd name="T1" fmla="*/ 64 h 64"/>
                  <a:gd name="T2" fmla="*/ 0 w 65"/>
                  <a:gd name="T3" fmla="*/ 34 h 64"/>
                  <a:gd name="T4" fmla="*/ 6 w 65"/>
                  <a:gd name="T5" fmla="*/ 26 h 64"/>
                  <a:gd name="T6" fmla="*/ 22 w 65"/>
                  <a:gd name="T7" fmla="*/ 37 h 64"/>
                  <a:gd name="T8" fmla="*/ 33 w 65"/>
                  <a:gd name="T9" fmla="*/ 21 h 64"/>
                  <a:gd name="T10" fmla="*/ 17 w 65"/>
                  <a:gd name="T11" fmla="*/ 9 h 64"/>
                  <a:gd name="T12" fmla="*/ 23 w 65"/>
                  <a:gd name="T13" fmla="*/ 0 h 64"/>
                  <a:gd name="T14" fmla="*/ 65 w 65"/>
                  <a:gd name="T15" fmla="*/ 30 h 64"/>
                  <a:gd name="T16" fmla="*/ 59 w 65"/>
                  <a:gd name="T17" fmla="*/ 38 h 64"/>
                  <a:gd name="T18" fmla="*/ 40 w 65"/>
                  <a:gd name="T19" fmla="*/ 26 h 64"/>
                  <a:gd name="T20" fmla="*/ 29 w 65"/>
                  <a:gd name="T21" fmla="*/ 42 h 64"/>
                  <a:gd name="T22" fmla="*/ 47 w 65"/>
                  <a:gd name="T23" fmla="*/ 55 h 64"/>
                  <a:gd name="T24" fmla="*/ 42 w 65"/>
                  <a:gd name="T25" fmla="*/ 64 h 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5" h="64">
                    <a:moveTo>
                      <a:pt x="42" y="64"/>
                    </a:moveTo>
                    <a:lnTo>
                      <a:pt x="0" y="34"/>
                    </a:lnTo>
                    <a:lnTo>
                      <a:pt x="6" y="26"/>
                    </a:lnTo>
                    <a:lnTo>
                      <a:pt x="22" y="37"/>
                    </a:lnTo>
                    <a:lnTo>
                      <a:pt x="33" y="21"/>
                    </a:lnTo>
                    <a:lnTo>
                      <a:pt x="17" y="9"/>
                    </a:lnTo>
                    <a:lnTo>
                      <a:pt x="23" y="0"/>
                    </a:lnTo>
                    <a:lnTo>
                      <a:pt x="65" y="30"/>
                    </a:lnTo>
                    <a:lnTo>
                      <a:pt x="59" y="38"/>
                    </a:lnTo>
                    <a:lnTo>
                      <a:pt x="40" y="26"/>
                    </a:lnTo>
                    <a:lnTo>
                      <a:pt x="29" y="42"/>
                    </a:lnTo>
                    <a:lnTo>
                      <a:pt x="47" y="55"/>
                    </a:lnTo>
                    <a:lnTo>
                      <a:pt x="42" y="6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229" name="îşḷîḑe"/>
              <p:cNvSpPr/>
              <p:nvPr/>
            </p:nvSpPr>
            <p:spPr bwMode="auto">
              <a:xfrm>
                <a:off x="3062184" y="5672728"/>
                <a:ext cx="103188" cy="95250"/>
              </a:xfrm>
              <a:custGeom>
                <a:avLst/>
                <a:gdLst>
                  <a:gd name="T0" fmla="*/ 44 w 65"/>
                  <a:gd name="T1" fmla="*/ 60 h 60"/>
                  <a:gd name="T2" fmla="*/ 0 w 65"/>
                  <a:gd name="T3" fmla="*/ 34 h 60"/>
                  <a:gd name="T4" fmla="*/ 5 w 65"/>
                  <a:gd name="T5" fmla="*/ 26 h 60"/>
                  <a:gd name="T6" fmla="*/ 46 w 65"/>
                  <a:gd name="T7" fmla="*/ 24 h 60"/>
                  <a:gd name="T8" fmla="*/ 15 w 65"/>
                  <a:gd name="T9" fmla="*/ 8 h 60"/>
                  <a:gd name="T10" fmla="*/ 20 w 65"/>
                  <a:gd name="T11" fmla="*/ 0 h 60"/>
                  <a:gd name="T12" fmla="*/ 65 w 65"/>
                  <a:gd name="T13" fmla="*/ 24 h 60"/>
                  <a:gd name="T14" fmla="*/ 59 w 65"/>
                  <a:gd name="T15" fmla="*/ 33 h 60"/>
                  <a:gd name="T16" fmla="*/ 20 w 65"/>
                  <a:gd name="T17" fmla="*/ 34 h 60"/>
                  <a:gd name="T18" fmla="*/ 49 w 65"/>
                  <a:gd name="T19" fmla="*/ 52 h 60"/>
                  <a:gd name="T20" fmla="*/ 44 w 65"/>
                  <a:gd name="T21" fmla="*/ 60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65" h="60">
                    <a:moveTo>
                      <a:pt x="44" y="60"/>
                    </a:moveTo>
                    <a:lnTo>
                      <a:pt x="0" y="34"/>
                    </a:lnTo>
                    <a:lnTo>
                      <a:pt x="5" y="26"/>
                    </a:lnTo>
                    <a:lnTo>
                      <a:pt x="46" y="24"/>
                    </a:lnTo>
                    <a:lnTo>
                      <a:pt x="15" y="8"/>
                    </a:lnTo>
                    <a:lnTo>
                      <a:pt x="20" y="0"/>
                    </a:lnTo>
                    <a:lnTo>
                      <a:pt x="65" y="24"/>
                    </a:lnTo>
                    <a:lnTo>
                      <a:pt x="59" y="33"/>
                    </a:lnTo>
                    <a:lnTo>
                      <a:pt x="20" y="34"/>
                    </a:lnTo>
                    <a:lnTo>
                      <a:pt x="49" y="52"/>
                    </a:lnTo>
                    <a:lnTo>
                      <a:pt x="44" y="6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230" name="îşḷïḋê"/>
              <p:cNvSpPr/>
              <p:nvPr/>
            </p:nvSpPr>
            <p:spPr bwMode="auto">
              <a:xfrm>
                <a:off x="3106634" y="5606053"/>
                <a:ext cx="87313" cy="84138"/>
              </a:xfrm>
              <a:custGeom>
                <a:avLst/>
                <a:gdLst>
                  <a:gd name="T0" fmla="*/ 15 w 47"/>
                  <a:gd name="T1" fmla="*/ 43 h 46"/>
                  <a:gd name="T2" fmla="*/ 5 w 47"/>
                  <a:gd name="T3" fmla="*/ 36 h 46"/>
                  <a:gd name="T4" fmla="*/ 2 w 47"/>
                  <a:gd name="T5" fmla="*/ 30 h 46"/>
                  <a:gd name="T6" fmla="*/ 0 w 47"/>
                  <a:gd name="T7" fmla="*/ 23 h 46"/>
                  <a:gd name="T8" fmla="*/ 2 w 47"/>
                  <a:gd name="T9" fmla="*/ 14 h 46"/>
                  <a:gd name="T10" fmla="*/ 14 w 47"/>
                  <a:gd name="T11" fmla="*/ 2 h 46"/>
                  <a:gd name="T12" fmla="*/ 32 w 47"/>
                  <a:gd name="T13" fmla="*/ 3 h 46"/>
                  <a:gd name="T14" fmla="*/ 45 w 47"/>
                  <a:gd name="T15" fmla="*/ 15 h 46"/>
                  <a:gd name="T16" fmla="*/ 44 w 47"/>
                  <a:gd name="T17" fmla="*/ 32 h 46"/>
                  <a:gd name="T18" fmla="*/ 32 w 47"/>
                  <a:gd name="T19" fmla="*/ 44 h 46"/>
                  <a:gd name="T20" fmla="*/ 15 w 47"/>
                  <a:gd name="T21" fmla="*/ 43 h 46"/>
                  <a:gd name="T22" fmla="*/ 18 w 47"/>
                  <a:gd name="T23" fmla="*/ 34 h 46"/>
                  <a:gd name="T24" fmla="*/ 30 w 47"/>
                  <a:gd name="T25" fmla="*/ 35 h 46"/>
                  <a:gd name="T26" fmla="*/ 37 w 47"/>
                  <a:gd name="T27" fmla="*/ 29 h 46"/>
                  <a:gd name="T28" fmla="*/ 37 w 47"/>
                  <a:gd name="T29" fmla="*/ 19 h 46"/>
                  <a:gd name="T30" fmla="*/ 28 w 47"/>
                  <a:gd name="T31" fmla="*/ 12 h 46"/>
                  <a:gd name="T32" fmla="*/ 16 w 47"/>
                  <a:gd name="T33" fmla="*/ 10 h 46"/>
                  <a:gd name="T34" fmla="*/ 9 w 47"/>
                  <a:gd name="T35" fmla="*/ 17 h 46"/>
                  <a:gd name="T36" fmla="*/ 9 w 47"/>
                  <a:gd name="T37" fmla="*/ 27 h 46"/>
                  <a:gd name="T38" fmla="*/ 18 w 47"/>
                  <a:gd name="T39" fmla="*/ 34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47" h="46">
                    <a:moveTo>
                      <a:pt x="15" y="43"/>
                    </a:moveTo>
                    <a:cubicBezTo>
                      <a:pt x="11" y="41"/>
                      <a:pt x="8" y="39"/>
                      <a:pt x="5" y="36"/>
                    </a:cubicBezTo>
                    <a:cubicBezTo>
                      <a:pt x="4" y="34"/>
                      <a:pt x="2" y="32"/>
                      <a:pt x="2" y="30"/>
                    </a:cubicBezTo>
                    <a:cubicBezTo>
                      <a:pt x="1" y="28"/>
                      <a:pt x="0" y="26"/>
                      <a:pt x="0" y="23"/>
                    </a:cubicBezTo>
                    <a:cubicBezTo>
                      <a:pt x="0" y="20"/>
                      <a:pt x="1" y="17"/>
                      <a:pt x="2" y="14"/>
                    </a:cubicBezTo>
                    <a:cubicBezTo>
                      <a:pt x="5" y="8"/>
                      <a:pt x="9" y="4"/>
                      <a:pt x="14" y="2"/>
                    </a:cubicBezTo>
                    <a:cubicBezTo>
                      <a:pt x="19" y="0"/>
                      <a:pt x="25" y="1"/>
                      <a:pt x="32" y="3"/>
                    </a:cubicBezTo>
                    <a:cubicBezTo>
                      <a:pt x="38" y="6"/>
                      <a:pt x="43" y="10"/>
                      <a:pt x="45" y="15"/>
                    </a:cubicBezTo>
                    <a:cubicBezTo>
                      <a:pt x="47" y="21"/>
                      <a:pt x="47" y="26"/>
                      <a:pt x="44" y="32"/>
                    </a:cubicBezTo>
                    <a:cubicBezTo>
                      <a:pt x="41" y="38"/>
                      <a:pt x="38" y="42"/>
                      <a:pt x="32" y="44"/>
                    </a:cubicBezTo>
                    <a:cubicBezTo>
                      <a:pt x="27" y="46"/>
                      <a:pt x="21" y="45"/>
                      <a:pt x="15" y="43"/>
                    </a:cubicBezTo>
                    <a:close/>
                    <a:moveTo>
                      <a:pt x="18" y="34"/>
                    </a:moveTo>
                    <a:cubicBezTo>
                      <a:pt x="23" y="36"/>
                      <a:pt x="27" y="37"/>
                      <a:pt x="30" y="35"/>
                    </a:cubicBezTo>
                    <a:cubicBezTo>
                      <a:pt x="33" y="34"/>
                      <a:pt x="36" y="32"/>
                      <a:pt x="37" y="29"/>
                    </a:cubicBezTo>
                    <a:cubicBezTo>
                      <a:pt x="39" y="26"/>
                      <a:pt x="39" y="23"/>
                      <a:pt x="37" y="19"/>
                    </a:cubicBezTo>
                    <a:cubicBezTo>
                      <a:pt x="36" y="16"/>
                      <a:pt x="33" y="14"/>
                      <a:pt x="28" y="12"/>
                    </a:cubicBezTo>
                    <a:cubicBezTo>
                      <a:pt x="23" y="10"/>
                      <a:pt x="19" y="9"/>
                      <a:pt x="16" y="10"/>
                    </a:cubicBezTo>
                    <a:cubicBezTo>
                      <a:pt x="13" y="11"/>
                      <a:pt x="11" y="14"/>
                      <a:pt x="9" y="17"/>
                    </a:cubicBezTo>
                    <a:cubicBezTo>
                      <a:pt x="8" y="20"/>
                      <a:pt x="8" y="23"/>
                      <a:pt x="9" y="27"/>
                    </a:cubicBezTo>
                    <a:cubicBezTo>
                      <a:pt x="11" y="30"/>
                      <a:pt x="14" y="32"/>
                      <a:pt x="18" y="3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231" name="îṣlïḍè"/>
              <p:cNvSpPr/>
              <p:nvPr/>
            </p:nvSpPr>
            <p:spPr bwMode="auto">
              <a:xfrm>
                <a:off x="3128859" y="5560015"/>
                <a:ext cx="93663" cy="57150"/>
              </a:xfrm>
              <a:custGeom>
                <a:avLst/>
                <a:gdLst>
                  <a:gd name="T0" fmla="*/ 49 w 59"/>
                  <a:gd name="T1" fmla="*/ 36 h 36"/>
                  <a:gd name="T2" fmla="*/ 0 w 59"/>
                  <a:gd name="T3" fmla="*/ 21 h 36"/>
                  <a:gd name="T4" fmla="*/ 4 w 59"/>
                  <a:gd name="T5" fmla="*/ 10 h 36"/>
                  <a:gd name="T6" fmla="*/ 43 w 59"/>
                  <a:gd name="T7" fmla="*/ 24 h 36"/>
                  <a:gd name="T8" fmla="*/ 51 w 59"/>
                  <a:gd name="T9" fmla="*/ 0 h 36"/>
                  <a:gd name="T10" fmla="*/ 59 w 59"/>
                  <a:gd name="T11" fmla="*/ 2 h 36"/>
                  <a:gd name="T12" fmla="*/ 49 w 59"/>
                  <a:gd name="T13" fmla="*/ 36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59" h="36">
                    <a:moveTo>
                      <a:pt x="49" y="36"/>
                    </a:moveTo>
                    <a:lnTo>
                      <a:pt x="0" y="21"/>
                    </a:lnTo>
                    <a:lnTo>
                      <a:pt x="4" y="10"/>
                    </a:lnTo>
                    <a:lnTo>
                      <a:pt x="43" y="24"/>
                    </a:lnTo>
                    <a:lnTo>
                      <a:pt x="51" y="0"/>
                    </a:lnTo>
                    <a:lnTo>
                      <a:pt x="59" y="2"/>
                    </a:lnTo>
                    <a:lnTo>
                      <a:pt x="49" y="36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232" name="ïṩḷîḓê"/>
              <p:cNvSpPr/>
              <p:nvPr/>
            </p:nvSpPr>
            <p:spPr bwMode="auto">
              <a:xfrm>
                <a:off x="3152672" y="5469528"/>
                <a:ext cx="85725" cy="80963"/>
              </a:xfrm>
              <a:custGeom>
                <a:avLst/>
                <a:gdLst>
                  <a:gd name="T0" fmla="*/ 18 w 46"/>
                  <a:gd name="T1" fmla="*/ 43 h 44"/>
                  <a:gd name="T2" fmla="*/ 8 w 46"/>
                  <a:gd name="T3" fmla="*/ 38 h 44"/>
                  <a:gd name="T4" fmla="*/ 3 w 46"/>
                  <a:gd name="T5" fmla="*/ 33 h 44"/>
                  <a:gd name="T6" fmla="*/ 0 w 46"/>
                  <a:gd name="T7" fmla="*/ 27 h 44"/>
                  <a:gd name="T8" fmla="*/ 1 w 46"/>
                  <a:gd name="T9" fmla="*/ 17 h 44"/>
                  <a:gd name="T10" fmla="*/ 10 w 46"/>
                  <a:gd name="T11" fmla="*/ 3 h 44"/>
                  <a:gd name="T12" fmla="*/ 28 w 46"/>
                  <a:gd name="T13" fmla="*/ 1 h 44"/>
                  <a:gd name="T14" fmla="*/ 43 w 46"/>
                  <a:gd name="T15" fmla="*/ 11 h 44"/>
                  <a:gd name="T16" fmla="*/ 45 w 46"/>
                  <a:gd name="T17" fmla="*/ 27 h 44"/>
                  <a:gd name="T18" fmla="*/ 36 w 46"/>
                  <a:gd name="T19" fmla="*/ 41 h 44"/>
                  <a:gd name="T20" fmla="*/ 18 w 46"/>
                  <a:gd name="T21" fmla="*/ 43 h 44"/>
                  <a:gd name="T22" fmla="*/ 20 w 46"/>
                  <a:gd name="T23" fmla="*/ 34 h 44"/>
                  <a:gd name="T24" fmla="*/ 32 w 46"/>
                  <a:gd name="T25" fmla="*/ 33 h 44"/>
                  <a:gd name="T26" fmla="*/ 38 w 46"/>
                  <a:gd name="T27" fmla="*/ 25 h 44"/>
                  <a:gd name="T28" fmla="*/ 36 w 46"/>
                  <a:gd name="T29" fmla="*/ 16 h 44"/>
                  <a:gd name="T30" fmla="*/ 25 w 46"/>
                  <a:gd name="T31" fmla="*/ 10 h 44"/>
                  <a:gd name="T32" fmla="*/ 14 w 46"/>
                  <a:gd name="T33" fmla="*/ 11 h 44"/>
                  <a:gd name="T34" fmla="*/ 8 w 46"/>
                  <a:gd name="T35" fmla="*/ 19 h 44"/>
                  <a:gd name="T36" fmla="*/ 10 w 46"/>
                  <a:gd name="T37" fmla="*/ 28 h 44"/>
                  <a:gd name="T38" fmla="*/ 20 w 46"/>
                  <a:gd name="T39" fmla="*/ 34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46" h="44">
                    <a:moveTo>
                      <a:pt x="18" y="43"/>
                    </a:moveTo>
                    <a:cubicBezTo>
                      <a:pt x="14" y="42"/>
                      <a:pt x="10" y="40"/>
                      <a:pt x="8" y="38"/>
                    </a:cubicBezTo>
                    <a:cubicBezTo>
                      <a:pt x="6" y="37"/>
                      <a:pt x="4" y="35"/>
                      <a:pt x="3" y="33"/>
                    </a:cubicBezTo>
                    <a:cubicBezTo>
                      <a:pt x="1" y="31"/>
                      <a:pt x="1" y="29"/>
                      <a:pt x="0" y="27"/>
                    </a:cubicBezTo>
                    <a:cubicBezTo>
                      <a:pt x="0" y="24"/>
                      <a:pt x="0" y="21"/>
                      <a:pt x="1" y="17"/>
                    </a:cubicBezTo>
                    <a:cubicBezTo>
                      <a:pt x="2" y="11"/>
                      <a:pt x="5" y="6"/>
                      <a:pt x="10" y="3"/>
                    </a:cubicBezTo>
                    <a:cubicBezTo>
                      <a:pt x="15" y="0"/>
                      <a:pt x="21" y="0"/>
                      <a:pt x="28" y="1"/>
                    </a:cubicBezTo>
                    <a:cubicBezTo>
                      <a:pt x="34" y="3"/>
                      <a:pt x="39" y="6"/>
                      <a:pt x="43" y="11"/>
                    </a:cubicBezTo>
                    <a:cubicBezTo>
                      <a:pt x="46" y="15"/>
                      <a:pt x="46" y="21"/>
                      <a:pt x="45" y="27"/>
                    </a:cubicBezTo>
                    <a:cubicBezTo>
                      <a:pt x="44" y="33"/>
                      <a:pt x="40" y="38"/>
                      <a:pt x="36" y="41"/>
                    </a:cubicBezTo>
                    <a:cubicBezTo>
                      <a:pt x="31" y="44"/>
                      <a:pt x="25" y="44"/>
                      <a:pt x="18" y="43"/>
                    </a:cubicBezTo>
                    <a:close/>
                    <a:moveTo>
                      <a:pt x="20" y="34"/>
                    </a:moveTo>
                    <a:cubicBezTo>
                      <a:pt x="25" y="35"/>
                      <a:pt x="29" y="35"/>
                      <a:pt x="32" y="33"/>
                    </a:cubicBezTo>
                    <a:cubicBezTo>
                      <a:pt x="35" y="31"/>
                      <a:pt x="37" y="29"/>
                      <a:pt x="38" y="25"/>
                    </a:cubicBezTo>
                    <a:cubicBezTo>
                      <a:pt x="38" y="22"/>
                      <a:pt x="38" y="19"/>
                      <a:pt x="36" y="16"/>
                    </a:cubicBezTo>
                    <a:cubicBezTo>
                      <a:pt x="34" y="13"/>
                      <a:pt x="30" y="11"/>
                      <a:pt x="25" y="10"/>
                    </a:cubicBezTo>
                    <a:cubicBezTo>
                      <a:pt x="20" y="9"/>
                      <a:pt x="16" y="9"/>
                      <a:pt x="14" y="11"/>
                    </a:cubicBezTo>
                    <a:cubicBezTo>
                      <a:pt x="11" y="13"/>
                      <a:pt x="9" y="15"/>
                      <a:pt x="8" y="19"/>
                    </a:cubicBezTo>
                    <a:cubicBezTo>
                      <a:pt x="7" y="22"/>
                      <a:pt x="8" y="25"/>
                      <a:pt x="10" y="28"/>
                    </a:cubicBezTo>
                    <a:cubicBezTo>
                      <a:pt x="12" y="31"/>
                      <a:pt x="15" y="33"/>
                      <a:pt x="20" y="3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233" name="ïSļiďé"/>
              <p:cNvSpPr/>
              <p:nvPr/>
            </p:nvSpPr>
            <p:spPr bwMode="auto">
              <a:xfrm>
                <a:off x="3165372" y="5390153"/>
                <a:ext cx="85725" cy="77788"/>
              </a:xfrm>
              <a:custGeom>
                <a:avLst/>
                <a:gdLst>
                  <a:gd name="T0" fmla="*/ 29 w 46"/>
                  <a:gd name="T1" fmla="*/ 21 h 42"/>
                  <a:gd name="T2" fmla="*/ 22 w 46"/>
                  <a:gd name="T3" fmla="*/ 20 h 42"/>
                  <a:gd name="T4" fmla="*/ 24 w 46"/>
                  <a:gd name="T5" fmla="*/ 1 h 42"/>
                  <a:gd name="T6" fmla="*/ 41 w 46"/>
                  <a:gd name="T7" fmla="*/ 3 h 42"/>
                  <a:gd name="T8" fmla="*/ 45 w 46"/>
                  <a:gd name="T9" fmla="*/ 11 h 42"/>
                  <a:gd name="T10" fmla="*/ 46 w 46"/>
                  <a:gd name="T11" fmla="*/ 22 h 42"/>
                  <a:gd name="T12" fmla="*/ 42 w 46"/>
                  <a:gd name="T13" fmla="*/ 34 h 42"/>
                  <a:gd name="T14" fmla="*/ 33 w 46"/>
                  <a:gd name="T15" fmla="*/ 41 h 42"/>
                  <a:gd name="T16" fmla="*/ 21 w 46"/>
                  <a:gd name="T17" fmla="*/ 42 h 42"/>
                  <a:gd name="T18" fmla="*/ 9 w 46"/>
                  <a:gd name="T19" fmla="*/ 38 h 42"/>
                  <a:gd name="T20" fmla="*/ 2 w 46"/>
                  <a:gd name="T21" fmla="*/ 28 h 42"/>
                  <a:gd name="T22" fmla="*/ 1 w 46"/>
                  <a:gd name="T23" fmla="*/ 18 h 42"/>
                  <a:gd name="T24" fmla="*/ 6 w 46"/>
                  <a:gd name="T25" fmla="*/ 5 h 42"/>
                  <a:gd name="T26" fmla="*/ 16 w 46"/>
                  <a:gd name="T27" fmla="*/ 0 h 42"/>
                  <a:gd name="T28" fmla="*/ 16 w 46"/>
                  <a:gd name="T29" fmla="*/ 9 h 42"/>
                  <a:gd name="T30" fmla="*/ 11 w 46"/>
                  <a:gd name="T31" fmla="*/ 12 h 42"/>
                  <a:gd name="T32" fmla="*/ 8 w 46"/>
                  <a:gd name="T33" fmla="*/ 18 h 42"/>
                  <a:gd name="T34" fmla="*/ 11 w 46"/>
                  <a:gd name="T35" fmla="*/ 28 h 42"/>
                  <a:gd name="T36" fmla="*/ 21 w 46"/>
                  <a:gd name="T37" fmla="*/ 33 h 42"/>
                  <a:gd name="T38" fmla="*/ 34 w 46"/>
                  <a:gd name="T39" fmla="*/ 31 h 42"/>
                  <a:gd name="T40" fmla="*/ 38 w 46"/>
                  <a:gd name="T41" fmla="*/ 22 h 42"/>
                  <a:gd name="T42" fmla="*/ 38 w 46"/>
                  <a:gd name="T43" fmla="*/ 16 h 42"/>
                  <a:gd name="T44" fmla="*/ 36 w 46"/>
                  <a:gd name="T45" fmla="*/ 11 h 42"/>
                  <a:gd name="T46" fmla="*/ 30 w 46"/>
                  <a:gd name="T47" fmla="*/ 11 h 42"/>
                  <a:gd name="T48" fmla="*/ 29 w 46"/>
                  <a:gd name="T49" fmla="*/ 21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46" h="42">
                    <a:moveTo>
                      <a:pt x="29" y="21"/>
                    </a:moveTo>
                    <a:cubicBezTo>
                      <a:pt x="22" y="20"/>
                      <a:pt x="22" y="20"/>
                      <a:pt x="22" y="20"/>
                    </a:cubicBezTo>
                    <a:cubicBezTo>
                      <a:pt x="24" y="1"/>
                      <a:pt x="24" y="1"/>
                      <a:pt x="24" y="1"/>
                    </a:cubicBezTo>
                    <a:cubicBezTo>
                      <a:pt x="41" y="3"/>
                      <a:pt x="41" y="3"/>
                      <a:pt x="41" y="3"/>
                    </a:cubicBezTo>
                    <a:cubicBezTo>
                      <a:pt x="43" y="5"/>
                      <a:pt x="44" y="8"/>
                      <a:pt x="45" y="11"/>
                    </a:cubicBezTo>
                    <a:cubicBezTo>
                      <a:pt x="46" y="15"/>
                      <a:pt x="46" y="19"/>
                      <a:pt x="46" y="22"/>
                    </a:cubicBezTo>
                    <a:cubicBezTo>
                      <a:pt x="46" y="27"/>
                      <a:pt x="44" y="31"/>
                      <a:pt x="42" y="34"/>
                    </a:cubicBezTo>
                    <a:cubicBezTo>
                      <a:pt x="39" y="37"/>
                      <a:pt x="36" y="39"/>
                      <a:pt x="33" y="41"/>
                    </a:cubicBezTo>
                    <a:cubicBezTo>
                      <a:pt x="29" y="42"/>
                      <a:pt x="25" y="42"/>
                      <a:pt x="21" y="42"/>
                    </a:cubicBezTo>
                    <a:cubicBezTo>
                      <a:pt x="16" y="41"/>
                      <a:pt x="12" y="40"/>
                      <a:pt x="9" y="38"/>
                    </a:cubicBezTo>
                    <a:cubicBezTo>
                      <a:pt x="6" y="35"/>
                      <a:pt x="3" y="32"/>
                      <a:pt x="2" y="28"/>
                    </a:cubicBezTo>
                    <a:cubicBezTo>
                      <a:pt x="1" y="25"/>
                      <a:pt x="0" y="22"/>
                      <a:pt x="1" y="18"/>
                    </a:cubicBezTo>
                    <a:cubicBezTo>
                      <a:pt x="1" y="12"/>
                      <a:pt x="3" y="8"/>
                      <a:pt x="6" y="5"/>
                    </a:cubicBezTo>
                    <a:cubicBezTo>
                      <a:pt x="8" y="2"/>
                      <a:pt x="12" y="1"/>
                      <a:pt x="16" y="0"/>
                    </a:cubicBezTo>
                    <a:cubicBezTo>
                      <a:pt x="16" y="9"/>
                      <a:pt x="16" y="9"/>
                      <a:pt x="16" y="9"/>
                    </a:cubicBezTo>
                    <a:cubicBezTo>
                      <a:pt x="14" y="10"/>
                      <a:pt x="12" y="11"/>
                      <a:pt x="11" y="12"/>
                    </a:cubicBezTo>
                    <a:cubicBezTo>
                      <a:pt x="10" y="14"/>
                      <a:pt x="9" y="16"/>
                      <a:pt x="8" y="18"/>
                    </a:cubicBezTo>
                    <a:cubicBezTo>
                      <a:pt x="8" y="22"/>
                      <a:pt x="9" y="25"/>
                      <a:pt x="11" y="28"/>
                    </a:cubicBezTo>
                    <a:cubicBezTo>
                      <a:pt x="13" y="31"/>
                      <a:pt x="17" y="32"/>
                      <a:pt x="21" y="33"/>
                    </a:cubicBezTo>
                    <a:cubicBezTo>
                      <a:pt x="27" y="33"/>
                      <a:pt x="31" y="33"/>
                      <a:pt x="34" y="31"/>
                    </a:cubicBezTo>
                    <a:cubicBezTo>
                      <a:pt x="36" y="29"/>
                      <a:pt x="38" y="26"/>
                      <a:pt x="38" y="22"/>
                    </a:cubicBezTo>
                    <a:cubicBezTo>
                      <a:pt x="39" y="20"/>
                      <a:pt x="39" y="18"/>
                      <a:pt x="38" y="16"/>
                    </a:cubicBezTo>
                    <a:cubicBezTo>
                      <a:pt x="37" y="14"/>
                      <a:pt x="37" y="13"/>
                      <a:pt x="36" y="11"/>
                    </a:cubicBezTo>
                    <a:cubicBezTo>
                      <a:pt x="30" y="11"/>
                      <a:pt x="30" y="11"/>
                      <a:pt x="30" y="11"/>
                    </a:cubicBezTo>
                    <a:lnTo>
                      <a:pt x="29" y="2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234" name="îSḷiḋè"/>
              <p:cNvSpPr/>
              <p:nvPr/>
            </p:nvSpPr>
            <p:spPr bwMode="auto">
              <a:xfrm>
                <a:off x="3173309" y="5313953"/>
                <a:ext cx="80963" cy="76200"/>
              </a:xfrm>
              <a:custGeom>
                <a:avLst/>
                <a:gdLst>
                  <a:gd name="T0" fmla="*/ 51 w 51"/>
                  <a:gd name="T1" fmla="*/ 30 h 48"/>
                  <a:gd name="T2" fmla="*/ 29 w 51"/>
                  <a:gd name="T3" fmla="*/ 29 h 48"/>
                  <a:gd name="T4" fmla="*/ 0 w 51"/>
                  <a:gd name="T5" fmla="*/ 48 h 48"/>
                  <a:gd name="T6" fmla="*/ 0 w 51"/>
                  <a:gd name="T7" fmla="*/ 36 h 48"/>
                  <a:gd name="T8" fmla="*/ 20 w 51"/>
                  <a:gd name="T9" fmla="*/ 24 h 48"/>
                  <a:gd name="T10" fmla="*/ 0 w 51"/>
                  <a:gd name="T11" fmla="*/ 12 h 48"/>
                  <a:gd name="T12" fmla="*/ 0 w 51"/>
                  <a:gd name="T13" fmla="*/ 0 h 48"/>
                  <a:gd name="T14" fmla="*/ 30 w 51"/>
                  <a:gd name="T15" fmla="*/ 20 h 48"/>
                  <a:gd name="T16" fmla="*/ 51 w 51"/>
                  <a:gd name="T17" fmla="*/ 20 h 48"/>
                  <a:gd name="T18" fmla="*/ 51 w 51"/>
                  <a:gd name="T19" fmla="*/ 30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51" h="48">
                    <a:moveTo>
                      <a:pt x="51" y="30"/>
                    </a:moveTo>
                    <a:lnTo>
                      <a:pt x="29" y="29"/>
                    </a:lnTo>
                    <a:lnTo>
                      <a:pt x="0" y="48"/>
                    </a:lnTo>
                    <a:lnTo>
                      <a:pt x="0" y="36"/>
                    </a:lnTo>
                    <a:lnTo>
                      <a:pt x="20" y="24"/>
                    </a:lnTo>
                    <a:lnTo>
                      <a:pt x="0" y="12"/>
                    </a:lnTo>
                    <a:lnTo>
                      <a:pt x="0" y="0"/>
                    </a:lnTo>
                    <a:lnTo>
                      <a:pt x="30" y="20"/>
                    </a:lnTo>
                    <a:lnTo>
                      <a:pt x="51" y="20"/>
                    </a:lnTo>
                    <a:lnTo>
                      <a:pt x="51" y="3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235" name="îṣḷíḋé"/>
              <p:cNvSpPr/>
              <p:nvPr/>
            </p:nvSpPr>
            <p:spPr bwMode="auto">
              <a:xfrm>
                <a:off x="3163784" y="5193303"/>
                <a:ext cx="87313" cy="76200"/>
              </a:xfrm>
              <a:custGeom>
                <a:avLst/>
                <a:gdLst>
                  <a:gd name="T0" fmla="*/ 4 w 47"/>
                  <a:gd name="T1" fmla="*/ 41 h 41"/>
                  <a:gd name="T2" fmla="*/ 1 w 47"/>
                  <a:gd name="T3" fmla="*/ 24 h 41"/>
                  <a:gd name="T4" fmla="*/ 0 w 47"/>
                  <a:gd name="T5" fmla="*/ 16 h 41"/>
                  <a:gd name="T6" fmla="*/ 2 w 47"/>
                  <a:gd name="T7" fmla="*/ 11 h 41"/>
                  <a:gd name="T8" fmla="*/ 5 w 47"/>
                  <a:gd name="T9" fmla="*/ 7 h 41"/>
                  <a:gd name="T10" fmla="*/ 10 w 47"/>
                  <a:gd name="T11" fmla="*/ 5 h 41"/>
                  <a:gd name="T12" fmla="*/ 16 w 47"/>
                  <a:gd name="T13" fmla="*/ 6 h 41"/>
                  <a:gd name="T14" fmla="*/ 20 w 47"/>
                  <a:gd name="T15" fmla="*/ 10 h 41"/>
                  <a:gd name="T16" fmla="*/ 23 w 47"/>
                  <a:gd name="T17" fmla="*/ 3 h 41"/>
                  <a:gd name="T18" fmla="*/ 29 w 47"/>
                  <a:gd name="T19" fmla="*/ 0 h 41"/>
                  <a:gd name="T20" fmla="*/ 35 w 47"/>
                  <a:gd name="T21" fmla="*/ 1 h 41"/>
                  <a:gd name="T22" fmla="*/ 40 w 47"/>
                  <a:gd name="T23" fmla="*/ 4 h 41"/>
                  <a:gd name="T24" fmla="*/ 43 w 47"/>
                  <a:gd name="T25" fmla="*/ 10 h 41"/>
                  <a:gd name="T26" fmla="*/ 45 w 47"/>
                  <a:gd name="T27" fmla="*/ 20 h 41"/>
                  <a:gd name="T28" fmla="*/ 47 w 47"/>
                  <a:gd name="T29" fmla="*/ 35 h 41"/>
                  <a:gd name="T30" fmla="*/ 4 w 47"/>
                  <a:gd name="T31" fmla="*/ 41 h 41"/>
                  <a:gd name="T32" fmla="*/ 10 w 47"/>
                  <a:gd name="T33" fmla="*/ 31 h 41"/>
                  <a:gd name="T34" fmla="*/ 20 w 47"/>
                  <a:gd name="T35" fmla="*/ 30 h 41"/>
                  <a:gd name="T36" fmla="*/ 19 w 47"/>
                  <a:gd name="T37" fmla="*/ 24 h 41"/>
                  <a:gd name="T38" fmla="*/ 18 w 47"/>
                  <a:gd name="T39" fmla="*/ 18 h 41"/>
                  <a:gd name="T40" fmla="*/ 16 w 47"/>
                  <a:gd name="T41" fmla="*/ 15 h 41"/>
                  <a:gd name="T42" fmla="*/ 12 w 47"/>
                  <a:gd name="T43" fmla="*/ 14 h 41"/>
                  <a:gd name="T44" fmla="*/ 9 w 47"/>
                  <a:gd name="T45" fmla="*/ 15 h 41"/>
                  <a:gd name="T46" fmla="*/ 8 w 47"/>
                  <a:gd name="T47" fmla="*/ 19 h 41"/>
                  <a:gd name="T48" fmla="*/ 9 w 47"/>
                  <a:gd name="T49" fmla="*/ 26 h 41"/>
                  <a:gd name="T50" fmla="*/ 10 w 47"/>
                  <a:gd name="T51" fmla="*/ 31 h 41"/>
                  <a:gd name="T52" fmla="*/ 27 w 47"/>
                  <a:gd name="T53" fmla="*/ 29 h 41"/>
                  <a:gd name="T54" fmla="*/ 39 w 47"/>
                  <a:gd name="T55" fmla="*/ 27 h 41"/>
                  <a:gd name="T56" fmla="*/ 37 w 47"/>
                  <a:gd name="T57" fmla="*/ 19 h 41"/>
                  <a:gd name="T58" fmla="*/ 36 w 47"/>
                  <a:gd name="T59" fmla="*/ 13 h 41"/>
                  <a:gd name="T60" fmla="*/ 34 w 47"/>
                  <a:gd name="T61" fmla="*/ 10 h 41"/>
                  <a:gd name="T62" fmla="*/ 30 w 47"/>
                  <a:gd name="T63" fmla="*/ 10 h 41"/>
                  <a:gd name="T64" fmla="*/ 27 w 47"/>
                  <a:gd name="T65" fmla="*/ 11 h 41"/>
                  <a:gd name="T66" fmla="*/ 25 w 47"/>
                  <a:gd name="T67" fmla="*/ 14 h 41"/>
                  <a:gd name="T68" fmla="*/ 26 w 47"/>
                  <a:gd name="T69" fmla="*/ 22 h 41"/>
                  <a:gd name="T70" fmla="*/ 27 w 47"/>
                  <a:gd name="T71" fmla="*/ 29 h 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47" h="41">
                    <a:moveTo>
                      <a:pt x="4" y="41"/>
                    </a:moveTo>
                    <a:cubicBezTo>
                      <a:pt x="1" y="24"/>
                      <a:pt x="1" y="24"/>
                      <a:pt x="1" y="24"/>
                    </a:cubicBezTo>
                    <a:cubicBezTo>
                      <a:pt x="1" y="20"/>
                      <a:pt x="0" y="18"/>
                      <a:pt x="0" y="16"/>
                    </a:cubicBezTo>
                    <a:cubicBezTo>
                      <a:pt x="1" y="14"/>
                      <a:pt x="1" y="13"/>
                      <a:pt x="2" y="11"/>
                    </a:cubicBezTo>
                    <a:cubicBezTo>
                      <a:pt x="2" y="10"/>
                      <a:pt x="3" y="9"/>
                      <a:pt x="5" y="7"/>
                    </a:cubicBezTo>
                    <a:cubicBezTo>
                      <a:pt x="6" y="6"/>
                      <a:pt x="8" y="6"/>
                      <a:pt x="10" y="5"/>
                    </a:cubicBezTo>
                    <a:cubicBezTo>
                      <a:pt x="12" y="5"/>
                      <a:pt x="14" y="5"/>
                      <a:pt x="16" y="6"/>
                    </a:cubicBezTo>
                    <a:cubicBezTo>
                      <a:pt x="17" y="7"/>
                      <a:pt x="19" y="8"/>
                      <a:pt x="20" y="10"/>
                    </a:cubicBezTo>
                    <a:cubicBezTo>
                      <a:pt x="20" y="7"/>
                      <a:pt x="21" y="5"/>
                      <a:pt x="23" y="3"/>
                    </a:cubicBezTo>
                    <a:cubicBezTo>
                      <a:pt x="25" y="2"/>
                      <a:pt x="27" y="1"/>
                      <a:pt x="29" y="0"/>
                    </a:cubicBezTo>
                    <a:cubicBezTo>
                      <a:pt x="31" y="0"/>
                      <a:pt x="33" y="0"/>
                      <a:pt x="35" y="1"/>
                    </a:cubicBezTo>
                    <a:cubicBezTo>
                      <a:pt x="37" y="2"/>
                      <a:pt x="39" y="3"/>
                      <a:pt x="40" y="4"/>
                    </a:cubicBezTo>
                    <a:cubicBezTo>
                      <a:pt x="42" y="5"/>
                      <a:pt x="43" y="7"/>
                      <a:pt x="43" y="10"/>
                    </a:cubicBezTo>
                    <a:cubicBezTo>
                      <a:pt x="44" y="11"/>
                      <a:pt x="44" y="15"/>
                      <a:pt x="45" y="20"/>
                    </a:cubicBezTo>
                    <a:cubicBezTo>
                      <a:pt x="47" y="35"/>
                      <a:pt x="47" y="35"/>
                      <a:pt x="47" y="35"/>
                    </a:cubicBezTo>
                    <a:lnTo>
                      <a:pt x="4" y="41"/>
                    </a:lnTo>
                    <a:close/>
                    <a:moveTo>
                      <a:pt x="10" y="31"/>
                    </a:moveTo>
                    <a:cubicBezTo>
                      <a:pt x="20" y="30"/>
                      <a:pt x="20" y="30"/>
                      <a:pt x="20" y="30"/>
                    </a:cubicBezTo>
                    <a:cubicBezTo>
                      <a:pt x="19" y="24"/>
                      <a:pt x="19" y="24"/>
                      <a:pt x="19" y="24"/>
                    </a:cubicBezTo>
                    <a:cubicBezTo>
                      <a:pt x="18" y="21"/>
                      <a:pt x="18" y="19"/>
                      <a:pt x="18" y="18"/>
                    </a:cubicBezTo>
                    <a:cubicBezTo>
                      <a:pt x="17" y="16"/>
                      <a:pt x="17" y="15"/>
                      <a:pt x="16" y="15"/>
                    </a:cubicBezTo>
                    <a:cubicBezTo>
                      <a:pt x="15" y="14"/>
                      <a:pt x="14" y="14"/>
                      <a:pt x="12" y="14"/>
                    </a:cubicBezTo>
                    <a:cubicBezTo>
                      <a:pt x="11" y="14"/>
                      <a:pt x="10" y="14"/>
                      <a:pt x="9" y="15"/>
                    </a:cubicBezTo>
                    <a:cubicBezTo>
                      <a:pt x="8" y="16"/>
                      <a:pt x="8" y="17"/>
                      <a:pt x="8" y="19"/>
                    </a:cubicBezTo>
                    <a:cubicBezTo>
                      <a:pt x="8" y="20"/>
                      <a:pt x="8" y="22"/>
                      <a:pt x="9" y="26"/>
                    </a:cubicBezTo>
                    <a:lnTo>
                      <a:pt x="10" y="31"/>
                    </a:lnTo>
                    <a:close/>
                    <a:moveTo>
                      <a:pt x="27" y="29"/>
                    </a:moveTo>
                    <a:cubicBezTo>
                      <a:pt x="39" y="27"/>
                      <a:pt x="39" y="27"/>
                      <a:pt x="39" y="27"/>
                    </a:cubicBezTo>
                    <a:cubicBezTo>
                      <a:pt x="37" y="19"/>
                      <a:pt x="37" y="19"/>
                      <a:pt x="37" y="19"/>
                    </a:cubicBezTo>
                    <a:cubicBezTo>
                      <a:pt x="37" y="16"/>
                      <a:pt x="37" y="14"/>
                      <a:pt x="36" y="13"/>
                    </a:cubicBezTo>
                    <a:cubicBezTo>
                      <a:pt x="36" y="12"/>
                      <a:pt x="35" y="11"/>
                      <a:pt x="34" y="10"/>
                    </a:cubicBezTo>
                    <a:cubicBezTo>
                      <a:pt x="33" y="10"/>
                      <a:pt x="32" y="9"/>
                      <a:pt x="30" y="10"/>
                    </a:cubicBezTo>
                    <a:cubicBezTo>
                      <a:pt x="29" y="10"/>
                      <a:pt x="28" y="10"/>
                      <a:pt x="27" y="11"/>
                    </a:cubicBezTo>
                    <a:cubicBezTo>
                      <a:pt x="26" y="12"/>
                      <a:pt x="26" y="13"/>
                      <a:pt x="25" y="14"/>
                    </a:cubicBezTo>
                    <a:cubicBezTo>
                      <a:pt x="25" y="15"/>
                      <a:pt x="25" y="18"/>
                      <a:pt x="26" y="22"/>
                    </a:cubicBezTo>
                    <a:lnTo>
                      <a:pt x="27" y="2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236" name="îṩliďè"/>
              <p:cNvSpPr/>
              <p:nvPr/>
            </p:nvSpPr>
            <p:spPr bwMode="auto">
              <a:xfrm>
                <a:off x="3146322" y="5120278"/>
                <a:ext cx="93663" cy="79375"/>
              </a:xfrm>
              <a:custGeom>
                <a:avLst/>
                <a:gdLst>
                  <a:gd name="T0" fmla="*/ 59 w 59"/>
                  <a:gd name="T1" fmla="*/ 37 h 50"/>
                  <a:gd name="T2" fmla="*/ 9 w 59"/>
                  <a:gd name="T3" fmla="*/ 50 h 50"/>
                  <a:gd name="T4" fmla="*/ 0 w 59"/>
                  <a:gd name="T5" fmla="*/ 13 h 50"/>
                  <a:gd name="T6" fmla="*/ 8 w 59"/>
                  <a:gd name="T7" fmla="*/ 10 h 50"/>
                  <a:gd name="T8" fmla="*/ 15 w 59"/>
                  <a:gd name="T9" fmla="*/ 37 h 50"/>
                  <a:gd name="T10" fmla="*/ 25 w 59"/>
                  <a:gd name="T11" fmla="*/ 35 h 50"/>
                  <a:gd name="T12" fmla="*/ 19 w 59"/>
                  <a:gd name="T13" fmla="*/ 9 h 50"/>
                  <a:gd name="T14" fmla="*/ 27 w 59"/>
                  <a:gd name="T15" fmla="*/ 8 h 50"/>
                  <a:gd name="T16" fmla="*/ 34 w 59"/>
                  <a:gd name="T17" fmla="*/ 32 h 50"/>
                  <a:gd name="T18" fmla="*/ 47 w 59"/>
                  <a:gd name="T19" fmla="*/ 29 h 50"/>
                  <a:gd name="T20" fmla="*/ 40 w 59"/>
                  <a:gd name="T21" fmla="*/ 1 h 50"/>
                  <a:gd name="T22" fmla="*/ 49 w 59"/>
                  <a:gd name="T23" fmla="*/ 0 h 50"/>
                  <a:gd name="T24" fmla="*/ 59 w 59"/>
                  <a:gd name="T25" fmla="*/ 37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59" h="50">
                    <a:moveTo>
                      <a:pt x="59" y="37"/>
                    </a:moveTo>
                    <a:lnTo>
                      <a:pt x="9" y="50"/>
                    </a:lnTo>
                    <a:lnTo>
                      <a:pt x="0" y="13"/>
                    </a:lnTo>
                    <a:lnTo>
                      <a:pt x="8" y="10"/>
                    </a:lnTo>
                    <a:lnTo>
                      <a:pt x="15" y="37"/>
                    </a:lnTo>
                    <a:lnTo>
                      <a:pt x="25" y="35"/>
                    </a:lnTo>
                    <a:lnTo>
                      <a:pt x="19" y="9"/>
                    </a:lnTo>
                    <a:lnTo>
                      <a:pt x="27" y="8"/>
                    </a:lnTo>
                    <a:lnTo>
                      <a:pt x="34" y="32"/>
                    </a:lnTo>
                    <a:lnTo>
                      <a:pt x="47" y="29"/>
                    </a:lnTo>
                    <a:lnTo>
                      <a:pt x="40" y="1"/>
                    </a:lnTo>
                    <a:lnTo>
                      <a:pt x="49" y="0"/>
                    </a:lnTo>
                    <a:lnTo>
                      <a:pt x="59" y="3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237" name="iṧlíḋè"/>
              <p:cNvSpPr/>
              <p:nvPr/>
            </p:nvSpPr>
            <p:spPr bwMode="auto">
              <a:xfrm>
                <a:off x="3138384" y="5096465"/>
                <a:ext cx="82550" cy="38100"/>
              </a:xfrm>
              <a:custGeom>
                <a:avLst/>
                <a:gdLst>
                  <a:gd name="T0" fmla="*/ 52 w 52"/>
                  <a:gd name="T1" fmla="*/ 9 h 24"/>
                  <a:gd name="T2" fmla="*/ 3 w 52"/>
                  <a:gd name="T3" fmla="*/ 24 h 24"/>
                  <a:gd name="T4" fmla="*/ 0 w 52"/>
                  <a:gd name="T5" fmla="*/ 15 h 24"/>
                  <a:gd name="T6" fmla="*/ 49 w 52"/>
                  <a:gd name="T7" fmla="*/ 0 h 24"/>
                  <a:gd name="T8" fmla="*/ 52 w 52"/>
                  <a:gd name="T9" fmla="*/ 9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2" h="24">
                    <a:moveTo>
                      <a:pt x="52" y="9"/>
                    </a:moveTo>
                    <a:lnTo>
                      <a:pt x="3" y="24"/>
                    </a:lnTo>
                    <a:lnTo>
                      <a:pt x="0" y="15"/>
                    </a:lnTo>
                    <a:lnTo>
                      <a:pt x="49" y="0"/>
                    </a:lnTo>
                    <a:lnTo>
                      <a:pt x="52" y="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238" name="islïḓè"/>
              <p:cNvSpPr/>
              <p:nvPr/>
            </p:nvSpPr>
            <p:spPr bwMode="auto">
              <a:xfrm>
                <a:off x="3120922" y="5047253"/>
                <a:ext cx="88900" cy="52388"/>
              </a:xfrm>
              <a:custGeom>
                <a:avLst/>
                <a:gdLst>
                  <a:gd name="T0" fmla="*/ 3 w 48"/>
                  <a:gd name="T1" fmla="*/ 20 h 28"/>
                  <a:gd name="T2" fmla="*/ 0 w 48"/>
                  <a:gd name="T3" fmla="*/ 12 h 28"/>
                  <a:gd name="T4" fmla="*/ 26 w 48"/>
                  <a:gd name="T5" fmla="*/ 2 h 28"/>
                  <a:gd name="T6" fmla="*/ 34 w 48"/>
                  <a:gd name="T7" fmla="*/ 0 h 28"/>
                  <a:gd name="T8" fmla="*/ 42 w 48"/>
                  <a:gd name="T9" fmla="*/ 3 h 28"/>
                  <a:gd name="T10" fmla="*/ 47 w 48"/>
                  <a:gd name="T11" fmla="*/ 10 h 28"/>
                  <a:gd name="T12" fmla="*/ 47 w 48"/>
                  <a:gd name="T13" fmla="*/ 21 h 28"/>
                  <a:gd name="T14" fmla="*/ 38 w 48"/>
                  <a:gd name="T15" fmla="*/ 28 h 28"/>
                  <a:gd name="T16" fmla="*/ 34 w 48"/>
                  <a:gd name="T17" fmla="*/ 20 h 28"/>
                  <a:gd name="T18" fmla="*/ 39 w 48"/>
                  <a:gd name="T19" fmla="*/ 17 h 28"/>
                  <a:gd name="T20" fmla="*/ 40 w 48"/>
                  <a:gd name="T21" fmla="*/ 13 h 28"/>
                  <a:gd name="T22" fmla="*/ 37 w 48"/>
                  <a:gd name="T23" fmla="*/ 9 h 28"/>
                  <a:gd name="T24" fmla="*/ 30 w 48"/>
                  <a:gd name="T25" fmla="*/ 10 h 28"/>
                  <a:gd name="T26" fmla="*/ 3 w 48"/>
                  <a:gd name="T27" fmla="*/ 20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48" h="28">
                    <a:moveTo>
                      <a:pt x="3" y="20"/>
                    </a:moveTo>
                    <a:cubicBezTo>
                      <a:pt x="0" y="12"/>
                      <a:pt x="0" y="12"/>
                      <a:pt x="0" y="12"/>
                    </a:cubicBezTo>
                    <a:cubicBezTo>
                      <a:pt x="26" y="2"/>
                      <a:pt x="26" y="2"/>
                      <a:pt x="26" y="2"/>
                    </a:cubicBezTo>
                    <a:cubicBezTo>
                      <a:pt x="29" y="1"/>
                      <a:pt x="32" y="0"/>
                      <a:pt x="34" y="0"/>
                    </a:cubicBezTo>
                    <a:cubicBezTo>
                      <a:pt x="37" y="0"/>
                      <a:pt x="39" y="1"/>
                      <a:pt x="42" y="3"/>
                    </a:cubicBezTo>
                    <a:cubicBezTo>
                      <a:pt x="44" y="4"/>
                      <a:pt x="46" y="7"/>
                      <a:pt x="47" y="10"/>
                    </a:cubicBezTo>
                    <a:cubicBezTo>
                      <a:pt x="48" y="14"/>
                      <a:pt x="48" y="18"/>
                      <a:pt x="47" y="21"/>
                    </a:cubicBezTo>
                    <a:cubicBezTo>
                      <a:pt x="45" y="24"/>
                      <a:pt x="42" y="26"/>
                      <a:pt x="38" y="28"/>
                    </a:cubicBezTo>
                    <a:cubicBezTo>
                      <a:pt x="34" y="20"/>
                      <a:pt x="34" y="20"/>
                      <a:pt x="34" y="20"/>
                    </a:cubicBezTo>
                    <a:cubicBezTo>
                      <a:pt x="37" y="19"/>
                      <a:pt x="38" y="18"/>
                      <a:pt x="39" y="17"/>
                    </a:cubicBezTo>
                    <a:cubicBezTo>
                      <a:pt x="40" y="16"/>
                      <a:pt x="40" y="14"/>
                      <a:pt x="40" y="13"/>
                    </a:cubicBezTo>
                    <a:cubicBezTo>
                      <a:pt x="39" y="11"/>
                      <a:pt x="38" y="10"/>
                      <a:pt x="37" y="9"/>
                    </a:cubicBezTo>
                    <a:cubicBezTo>
                      <a:pt x="35" y="9"/>
                      <a:pt x="33" y="9"/>
                      <a:pt x="30" y="10"/>
                    </a:cubicBezTo>
                    <a:lnTo>
                      <a:pt x="3" y="2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239" name="íṥ1iḍe"/>
              <p:cNvSpPr/>
              <p:nvPr/>
            </p:nvSpPr>
            <p:spPr bwMode="auto">
              <a:xfrm>
                <a:off x="3112984" y="5017090"/>
                <a:ext cx="80963" cy="46038"/>
              </a:xfrm>
              <a:custGeom>
                <a:avLst/>
                <a:gdLst>
                  <a:gd name="T0" fmla="*/ 51 w 51"/>
                  <a:gd name="T1" fmla="*/ 9 h 29"/>
                  <a:gd name="T2" fmla="*/ 3 w 51"/>
                  <a:gd name="T3" fmla="*/ 29 h 29"/>
                  <a:gd name="T4" fmla="*/ 0 w 51"/>
                  <a:gd name="T5" fmla="*/ 19 h 29"/>
                  <a:gd name="T6" fmla="*/ 46 w 51"/>
                  <a:gd name="T7" fmla="*/ 0 h 29"/>
                  <a:gd name="T8" fmla="*/ 51 w 51"/>
                  <a:gd name="T9" fmla="*/ 9 h 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1" h="29">
                    <a:moveTo>
                      <a:pt x="51" y="9"/>
                    </a:moveTo>
                    <a:lnTo>
                      <a:pt x="3" y="29"/>
                    </a:lnTo>
                    <a:lnTo>
                      <a:pt x="0" y="19"/>
                    </a:lnTo>
                    <a:lnTo>
                      <a:pt x="46" y="0"/>
                    </a:lnTo>
                    <a:lnTo>
                      <a:pt x="51" y="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240" name="iṥľîḋé"/>
              <p:cNvSpPr/>
              <p:nvPr/>
            </p:nvSpPr>
            <p:spPr bwMode="auto">
              <a:xfrm>
                <a:off x="3081234" y="4948828"/>
                <a:ext cx="101600" cy="93663"/>
              </a:xfrm>
              <a:custGeom>
                <a:avLst/>
                <a:gdLst>
                  <a:gd name="T0" fmla="*/ 64 w 64"/>
                  <a:gd name="T1" fmla="*/ 36 h 59"/>
                  <a:gd name="T2" fmla="*/ 18 w 64"/>
                  <a:gd name="T3" fmla="*/ 59 h 59"/>
                  <a:gd name="T4" fmla="*/ 14 w 64"/>
                  <a:gd name="T5" fmla="*/ 50 h 59"/>
                  <a:gd name="T6" fmla="*/ 35 w 64"/>
                  <a:gd name="T7" fmla="*/ 16 h 59"/>
                  <a:gd name="T8" fmla="*/ 3 w 64"/>
                  <a:gd name="T9" fmla="*/ 31 h 59"/>
                  <a:gd name="T10" fmla="*/ 0 w 64"/>
                  <a:gd name="T11" fmla="*/ 22 h 59"/>
                  <a:gd name="T12" fmla="*/ 45 w 64"/>
                  <a:gd name="T13" fmla="*/ 0 h 59"/>
                  <a:gd name="T14" fmla="*/ 50 w 64"/>
                  <a:gd name="T15" fmla="*/ 8 h 59"/>
                  <a:gd name="T16" fmla="*/ 29 w 64"/>
                  <a:gd name="T17" fmla="*/ 42 h 59"/>
                  <a:gd name="T18" fmla="*/ 59 w 64"/>
                  <a:gd name="T19" fmla="*/ 26 h 59"/>
                  <a:gd name="T20" fmla="*/ 64 w 64"/>
                  <a:gd name="T21" fmla="*/ 36 h 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64" h="59">
                    <a:moveTo>
                      <a:pt x="64" y="36"/>
                    </a:moveTo>
                    <a:lnTo>
                      <a:pt x="18" y="59"/>
                    </a:lnTo>
                    <a:lnTo>
                      <a:pt x="14" y="50"/>
                    </a:lnTo>
                    <a:lnTo>
                      <a:pt x="35" y="16"/>
                    </a:lnTo>
                    <a:lnTo>
                      <a:pt x="3" y="31"/>
                    </a:lnTo>
                    <a:lnTo>
                      <a:pt x="0" y="22"/>
                    </a:lnTo>
                    <a:lnTo>
                      <a:pt x="45" y="0"/>
                    </a:lnTo>
                    <a:lnTo>
                      <a:pt x="50" y="8"/>
                    </a:lnTo>
                    <a:lnTo>
                      <a:pt x="29" y="42"/>
                    </a:lnTo>
                    <a:lnTo>
                      <a:pt x="59" y="26"/>
                    </a:lnTo>
                    <a:lnTo>
                      <a:pt x="64" y="36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241" name="îślidè"/>
              <p:cNvSpPr/>
              <p:nvPr/>
            </p:nvSpPr>
            <p:spPr bwMode="auto">
              <a:xfrm>
                <a:off x="3047897" y="4877390"/>
                <a:ext cx="84138" cy="88900"/>
              </a:xfrm>
              <a:custGeom>
                <a:avLst/>
                <a:gdLst>
                  <a:gd name="T0" fmla="*/ 28 w 46"/>
                  <a:gd name="T1" fmla="*/ 21 h 48"/>
                  <a:gd name="T2" fmla="*/ 22 w 46"/>
                  <a:gd name="T3" fmla="*/ 25 h 48"/>
                  <a:gd name="T4" fmla="*/ 11 w 46"/>
                  <a:gd name="T5" fmla="*/ 9 h 48"/>
                  <a:gd name="T6" fmla="*/ 26 w 46"/>
                  <a:gd name="T7" fmla="*/ 0 h 48"/>
                  <a:gd name="T8" fmla="*/ 35 w 46"/>
                  <a:gd name="T9" fmla="*/ 4 h 48"/>
                  <a:gd name="T10" fmla="*/ 42 w 46"/>
                  <a:gd name="T11" fmla="*/ 12 h 48"/>
                  <a:gd name="T12" fmla="*/ 46 w 46"/>
                  <a:gd name="T13" fmla="*/ 24 h 48"/>
                  <a:gd name="T14" fmla="*/ 43 w 46"/>
                  <a:gd name="T15" fmla="*/ 35 h 48"/>
                  <a:gd name="T16" fmla="*/ 35 w 46"/>
                  <a:gd name="T17" fmla="*/ 43 h 48"/>
                  <a:gd name="T18" fmla="*/ 23 w 46"/>
                  <a:gd name="T19" fmla="*/ 47 h 48"/>
                  <a:gd name="T20" fmla="*/ 12 w 46"/>
                  <a:gd name="T21" fmla="*/ 45 h 48"/>
                  <a:gd name="T22" fmla="*/ 4 w 46"/>
                  <a:gd name="T23" fmla="*/ 37 h 48"/>
                  <a:gd name="T24" fmla="*/ 0 w 46"/>
                  <a:gd name="T25" fmla="*/ 24 h 48"/>
                  <a:gd name="T26" fmla="*/ 5 w 46"/>
                  <a:gd name="T27" fmla="*/ 14 h 48"/>
                  <a:gd name="T28" fmla="*/ 11 w 46"/>
                  <a:gd name="T29" fmla="*/ 21 h 48"/>
                  <a:gd name="T30" fmla="*/ 9 w 46"/>
                  <a:gd name="T31" fmla="*/ 27 h 48"/>
                  <a:gd name="T32" fmla="*/ 11 w 46"/>
                  <a:gd name="T33" fmla="*/ 33 h 48"/>
                  <a:gd name="T34" fmla="*/ 19 w 46"/>
                  <a:gd name="T35" fmla="*/ 39 h 48"/>
                  <a:gd name="T36" fmla="*/ 30 w 46"/>
                  <a:gd name="T37" fmla="*/ 36 h 48"/>
                  <a:gd name="T38" fmla="*/ 38 w 46"/>
                  <a:gd name="T39" fmla="*/ 26 h 48"/>
                  <a:gd name="T40" fmla="*/ 36 w 46"/>
                  <a:gd name="T41" fmla="*/ 17 h 48"/>
                  <a:gd name="T42" fmla="*/ 32 w 46"/>
                  <a:gd name="T43" fmla="*/ 13 h 48"/>
                  <a:gd name="T44" fmla="*/ 27 w 46"/>
                  <a:gd name="T45" fmla="*/ 10 h 48"/>
                  <a:gd name="T46" fmla="*/ 23 w 46"/>
                  <a:gd name="T47" fmla="*/ 13 h 48"/>
                  <a:gd name="T48" fmla="*/ 28 w 46"/>
                  <a:gd name="T49" fmla="*/ 21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46" h="48">
                    <a:moveTo>
                      <a:pt x="28" y="21"/>
                    </a:moveTo>
                    <a:cubicBezTo>
                      <a:pt x="22" y="25"/>
                      <a:pt x="22" y="25"/>
                      <a:pt x="22" y="25"/>
                    </a:cubicBezTo>
                    <a:cubicBezTo>
                      <a:pt x="11" y="9"/>
                      <a:pt x="11" y="9"/>
                      <a:pt x="11" y="9"/>
                    </a:cubicBezTo>
                    <a:cubicBezTo>
                      <a:pt x="26" y="0"/>
                      <a:pt x="26" y="0"/>
                      <a:pt x="26" y="0"/>
                    </a:cubicBezTo>
                    <a:cubicBezTo>
                      <a:pt x="29" y="1"/>
                      <a:pt x="31" y="2"/>
                      <a:pt x="35" y="4"/>
                    </a:cubicBezTo>
                    <a:cubicBezTo>
                      <a:pt x="38" y="6"/>
                      <a:pt x="40" y="9"/>
                      <a:pt x="42" y="12"/>
                    </a:cubicBezTo>
                    <a:cubicBezTo>
                      <a:pt x="45" y="16"/>
                      <a:pt x="46" y="20"/>
                      <a:pt x="46" y="24"/>
                    </a:cubicBezTo>
                    <a:cubicBezTo>
                      <a:pt x="46" y="28"/>
                      <a:pt x="45" y="31"/>
                      <a:pt x="43" y="35"/>
                    </a:cubicBezTo>
                    <a:cubicBezTo>
                      <a:pt x="41" y="38"/>
                      <a:pt x="38" y="41"/>
                      <a:pt x="35" y="43"/>
                    </a:cubicBezTo>
                    <a:cubicBezTo>
                      <a:pt x="31" y="46"/>
                      <a:pt x="27" y="47"/>
                      <a:pt x="23" y="47"/>
                    </a:cubicBezTo>
                    <a:cubicBezTo>
                      <a:pt x="19" y="48"/>
                      <a:pt x="15" y="47"/>
                      <a:pt x="12" y="45"/>
                    </a:cubicBezTo>
                    <a:cubicBezTo>
                      <a:pt x="9" y="43"/>
                      <a:pt x="6" y="41"/>
                      <a:pt x="4" y="37"/>
                    </a:cubicBezTo>
                    <a:cubicBezTo>
                      <a:pt x="1" y="32"/>
                      <a:pt x="0" y="28"/>
                      <a:pt x="0" y="24"/>
                    </a:cubicBezTo>
                    <a:cubicBezTo>
                      <a:pt x="0" y="21"/>
                      <a:pt x="2" y="17"/>
                      <a:pt x="5" y="14"/>
                    </a:cubicBezTo>
                    <a:cubicBezTo>
                      <a:pt x="11" y="21"/>
                      <a:pt x="11" y="21"/>
                      <a:pt x="11" y="21"/>
                    </a:cubicBezTo>
                    <a:cubicBezTo>
                      <a:pt x="10" y="23"/>
                      <a:pt x="9" y="24"/>
                      <a:pt x="9" y="27"/>
                    </a:cubicBezTo>
                    <a:cubicBezTo>
                      <a:pt x="8" y="29"/>
                      <a:pt x="9" y="31"/>
                      <a:pt x="11" y="33"/>
                    </a:cubicBezTo>
                    <a:cubicBezTo>
                      <a:pt x="13" y="36"/>
                      <a:pt x="15" y="38"/>
                      <a:pt x="19" y="39"/>
                    </a:cubicBezTo>
                    <a:cubicBezTo>
                      <a:pt x="22" y="39"/>
                      <a:pt x="26" y="38"/>
                      <a:pt x="30" y="36"/>
                    </a:cubicBezTo>
                    <a:cubicBezTo>
                      <a:pt x="34" y="33"/>
                      <a:pt x="37" y="30"/>
                      <a:pt x="38" y="26"/>
                    </a:cubicBezTo>
                    <a:cubicBezTo>
                      <a:pt x="39" y="23"/>
                      <a:pt x="38" y="20"/>
                      <a:pt x="36" y="17"/>
                    </a:cubicBezTo>
                    <a:cubicBezTo>
                      <a:pt x="35" y="15"/>
                      <a:pt x="34" y="14"/>
                      <a:pt x="32" y="13"/>
                    </a:cubicBezTo>
                    <a:cubicBezTo>
                      <a:pt x="30" y="11"/>
                      <a:pt x="29" y="10"/>
                      <a:pt x="27" y="10"/>
                    </a:cubicBezTo>
                    <a:cubicBezTo>
                      <a:pt x="23" y="13"/>
                      <a:pt x="23" y="13"/>
                      <a:pt x="23" y="13"/>
                    </a:cubicBezTo>
                    <a:lnTo>
                      <a:pt x="28" y="2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242" name="îŝ1ide"/>
              <p:cNvSpPr/>
              <p:nvPr/>
            </p:nvSpPr>
            <p:spPr bwMode="auto">
              <a:xfrm>
                <a:off x="1981097" y="4907553"/>
                <a:ext cx="931863" cy="969963"/>
              </a:xfrm>
              <a:custGeom>
                <a:avLst/>
                <a:gdLst>
                  <a:gd name="T0" fmla="*/ 488 w 506"/>
                  <a:gd name="T1" fmla="*/ 144 h 525"/>
                  <a:gd name="T2" fmla="*/ 449 w 506"/>
                  <a:gd name="T3" fmla="*/ 161 h 525"/>
                  <a:gd name="T4" fmla="*/ 473 w 506"/>
                  <a:gd name="T5" fmla="*/ 361 h 525"/>
                  <a:gd name="T6" fmla="*/ 434 w 506"/>
                  <a:gd name="T7" fmla="*/ 382 h 525"/>
                  <a:gd name="T8" fmla="*/ 463 w 506"/>
                  <a:gd name="T9" fmla="*/ 392 h 525"/>
                  <a:gd name="T10" fmla="*/ 434 w 506"/>
                  <a:gd name="T11" fmla="*/ 455 h 525"/>
                  <a:gd name="T12" fmla="*/ 418 w 506"/>
                  <a:gd name="T13" fmla="*/ 525 h 525"/>
                  <a:gd name="T14" fmla="*/ 328 w 506"/>
                  <a:gd name="T15" fmla="*/ 392 h 525"/>
                  <a:gd name="T16" fmla="*/ 200 w 506"/>
                  <a:gd name="T17" fmla="*/ 376 h 525"/>
                  <a:gd name="T18" fmla="*/ 179 w 506"/>
                  <a:gd name="T19" fmla="*/ 525 h 525"/>
                  <a:gd name="T20" fmla="*/ 72 w 506"/>
                  <a:gd name="T21" fmla="*/ 510 h 525"/>
                  <a:gd name="T22" fmla="*/ 44 w 506"/>
                  <a:gd name="T23" fmla="*/ 439 h 525"/>
                  <a:gd name="T24" fmla="*/ 72 w 506"/>
                  <a:gd name="T25" fmla="*/ 392 h 525"/>
                  <a:gd name="T26" fmla="*/ 57 w 506"/>
                  <a:gd name="T27" fmla="*/ 382 h 525"/>
                  <a:gd name="T28" fmla="*/ 18 w 506"/>
                  <a:gd name="T29" fmla="*/ 161 h 525"/>
                  <a:gd name="T30" fmla="*/ 56 w 506"/>
                  <a:gd name="T31" fmla="*/ 144 h 525"/>
                  <a:gd name="T32" fmla="*/ 0 w 506"/>
                  <a:gd name="T33" fmla="*/ 21 h 525"/>
                  <a:gd name="T34" fmla="*/ 92 w 506"/>
                  <a:gd name="T35" fmla="*/ 21 h 525"/>
                  <a:gd name="T36" fmla="*/ 403 w 506"/>
                  <a:gd name="T37" fmla="*/ 82 h 525"/>
                  <a:gd name="T38" fmla="*/ 457 w 506"/>
                  <a:gd name="T39" fmla="*/ 0 h 525"/>
                  <a:gd name="T40" fmla="*/ 461 w 506"/>
                  <a:gd name="T41" fmla="*/ 82 h 525"/>
                  <a:gd name="T42" fmla="*/ 455 w 506"/>
                  <a:gd name="T43" fmla="*/ 24 h 525"/>
                  <a:gd name="T44" fmla="*/ 435 w 506"/>
                  <a:gd name="T45" fmla="*/ 82 h 525"/>
                  <a:gd name="T46" fmla="*/ 454 w 506"/>
                  <a:gd name="T47" fmla="*/ 127 h 525"/>
                  <a:gd name="T48" fmla="*/ 49 w 506"/>
                  <a:gd name="T49" fmla="*/ 112 h 525"/>
                  <a:gd name="T50" fmla="*/ 78 w 506"/>
                  <a:gd name="T51" fmla="*/ 127 h 525"/>
                  <a:gd name="T52" fmla="*/ 81 w 506"/>
                  <a:gd name="T53" fmla="*/ 161 h 525"/>
                  <a:gd name="T54" fmla="*/ 426 w 506"/>
                  <a:gd name="T55" fmla="*/ 145 h 525"/>
                  <a:gd name="T56" fmla="*/ 454 w 506"/>
                  <a:gd name="T57" fmla="*/ 127 h 525"/>
                  <a:gd name="T58" fmla="*/ 450 w 506"/>
                  <a:gd name="T59" fmla="*/ 178 h 525"/>
                  <a:gd name="T60" fmla="*/ 65 w 506"/>
                  <a:gd name="T61" fmla="*/ 335 h 525"/>
                  <a:gd name="T62" fmla="*/ 421 w 506"/>
                  <a:gd name="T63" fmla="*/ 349 h 525"/>
                  <a:gd name="T64" fmla="*/ 398 w 506"/>
                  <a:gd name="T65" fmla="*/ 490 h 525"/>
                  <a:gd name="T66" fmla="*/ 356 w 506"/>
                  <a:gd name="T67" fmla="*/ 371 h 525"/>
                  <a:gd name="T68" fmla="*/ 389 w 506"/>
                  <a:gd name="T69" fmla="*/ 496 h 525"/>
                  <a:gd name="T70" fmla="*/ 150 w 506"/>
                  <a:gd name="T71" fmla="*/ 496 h 525"/>
                  <a:gd name="T72" fmla="*/ 108 w 506"/>
                  <a:gd name="T73" fmla="*/ 371 h 525"/>
                  <a:gd name="T74" fmla="*/ 117 w 506"/>
                  <a:gd name="T75" fmla="*/ 496 h 525"/>
                  <a:gd name="T76" fmla="*/ 71 w 506"/>
                  <a:gd name="T77" fmla="*/ 82 h 525"/>
                  <a:gd name="T78" fmla="*/ 51 w 506"/>
                  <a:gd name="T79" fmla="*/ 24 h 525"/>
                  <a:gd name="T80" fmla="*/ 45 w 506"/>
                  <a:gd name="T81" fmla="*/ 82 h 5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506" h="525">
                    <a:moveTo>
                      <a:pt x="506" y="21"/>
                    </a:moveTo>
                    <a:cubicBezTo>
                      <a:pt x="488" y="144"/>
                      <a:pt x="488" y="144"/>
                      <a:pt x="488" y="144"/>
                    </a:cubicBezTo>
                    <a:cubicBezTo>
                      <a:pt x="450" y="144"/>
                      <a:pt x="450" y="144"/>
                      <a:pt x="450" y="144"/>
                    </a:cubicBezTo>
                    <a:cubicBezTo>
                      <a:pt x="449" y="161"/>
                      <a:pt x="449" y="161"/>
                      <a:pt x="449" y="161"/>
                    </a:cubicBezTo>
                    <a:cubicBezTo>
                      <a:pt x="488" y="161"/>
                      <a:pt x="488" y="161"/>
                      <a:pt x="488" y="161"/>
                    </a:cubicBezTo>
                    <a:cubicBezTo>
                      <a:pt x="473" y="361"/>
                      <a:pt x="473" y="361"/>
                      <a:pt x="473" y="361"/>
                    </a:cubicBezTo>
                    <a:cubicBezTo>
                      <a:pt x="473" y="372"/>
                      <a:pt x="462" y="382"/>
                      <a:pt x="450" y="382"/>
                    </a:cubicBezTo>
                    <a:cubicBezTo>
                      <a:pt x="434" y="382"/>
                      <a:pt x="434" y="382"/>
                      <a:pt x="434" y="382"/>
                    </a:cubicBezTo>
                    <a:cubicBezTo>
                      <a:pt x="434" y="392"/>
                      <a:pt x="434" y="392"/>
                      <a:pt x="434" y="392"/>
                    </a:cubicBezTo>
                    <a:cubicBezTo>
                      <a:pt x="463" y="392"/>
                      <a:pt x="463" y="392"/>
                      <a:pt x="463" y="392"/>
                    </a:cubicBezTo>
                    <a:cubicBezTo>
                      <a:pt x="463" y="439"/>
                      <a:pt x="463" y="439"/>
                      <a:pt x="463" y="439"/>
                    </a:cubicBezTo>
                    <a:cubicBezTo>
                      <a:pt x="463" y="448"/>
                      <a:pt x="450" y="455"/>
                      <a:pt x="434" y="455"/>
                    </a:cubicBezTo>
                    <a:cubicBezTo>
                      <a:pt x="434" y="510"/>
                      <a:pt x="434" y="510"/>
                      <a:pt x="434" y="510"/>
                    </a:cubicBezTo>
                    <a:cubicBezTo>
                      <a:pt x="434" y="518"/>
                      <a:pt x="427" y="525"/>
                      <a:pt x="418" y="525"/>
                    </a:cubicBezTo>
                    <a:cubicBezTo>
                      <a:pt x="328" y="525"/>
                      <a:pt x="328" y="525"/>
                      <a:pt x="328" y="525"/>
                    </a:cubicBezTo>
                    <a:cubicBezTo>
                      <a:pt x="328" y="392"/>
                      <a:pt x="328" y="392"/>
                      <a:pt x="328" y="392"/>
                    </a:cubicBezTo>
                    <a:cubicBezTo>
                      <a:pt x="328" y="383"/>
                      <a:pt x="318" y="376"/>
                      <a:pt x="307" y="376"/>
                    </a:cubicBezTo>
                    <a:cubicBezTo>
                      <a:pt x="200" y="376"/>
                      <a:pt x="200" y="376"/>
                      <a:pt x="200" y="376"/>
                    </a:cubicBezTo>
                    <a:cubicBezTo>
                      <a:pt x="188" y="376"/>
                      <a:pt x="179" y="383"/>
                      <a:pt x="179" y="392"/>
                    </a:cubicBezTo>
                    <a:cubicBezTo>
                      <a:pt x="179" y="525"/>
                      <a:pt x="179" y="525"/>
                      <a:pt x="179" y="525"/>
                    </a:cubicBezTo>
                    <a:cubicBezTo>
                      <a:pt x="89" y="525"/>
                      <a:pt x="89" y="525"/>
                      <a:pt x="89" y="525"/>
                    </a:cubicBezTo>
                    <a:cubicBezTo>
                      <a:pt x="80" y="525"/>
                      <a:pt x="72" y="518"/>
                      <a:pt x="72" y="510"/>
                    </a:cubicBezTo>
                    <a:cubicBezTo>
                      <a:pt x="72" y="455"/>
                      <a:pt x="72" y="455"/>
                      <a:pt x="72" y="455"/>
                    </a:cubicBezTo>
                    <a:cubicBezTo>
                      <a:pt x="56" y="455"/>
                      <a:pt x="44" y="448"/>
                      <a:pt x="44" y="439"/>
                    </a:cubicBezTo>
                    <a:cubicBezTo>
                      <a:pt x="44" y="392"/>
                      <a:pt x="44" y="392"/>
                      <a:pt x="44" y="392"/>
                    </a:cubicBezTo>
                    <a:cubicBezTo>
                      <a:pt x="72" y="392"/>
                      <a:pt x="72" y="392"/>
                      <a:pt x="72" y="392"/>
                    </a:cubicBezTo>
                    <a:cubicBezTo>
                      <a:pt x="72" y="382"/>
                      <a:pt x="72" y="382"/>
                      <a:pt x="72" y="382"/>
                    </a:cubicBezTo>
                    <a:cubicBezTo>
                      <a:pt x="57" y="382"/>
                      <a:pt x="57" y="382"/>
                      <a:pt x="57" y="382"/>
                    </a:cubicBezTo>
                    <a:cubicBezTo>
                      <a:pt x="44" y="382"/>
                      <a:pt x="34" y="372"/>
                      <a:pt x="34" y="361"/>
                    </a:cubicBezTo>
                    <a:cubicBezTo>
                      <a:pt x="18" y="161"/>
                      <a:pt x="18" y="161"/>
                      <a:pt x="18" y="161"/>
                    </a:cubicBezTo>
                    <a:cubicBezTo>
                      <a:pt x="58" y="161"/>
                      <a:pt x="58" y="161"/>
                      <a:pt x="58" y="161"/>
                    </a:cubicBezTo>
                    <a:cubicBezTo>
                      <a:pt x="56" y="144"/>
                      <a:pt x="56" y="144"/>
                      <a:pt x="56" y="144"/>
                    </a:cubicBezTo>
                    <a:cubicBezTo>
                      <a:pt x="18" y="144"/>
                      <a:pt x="18" y="144"/>
                      <a:pt x="18" y="144"/>
                    </a:cubicBezTo>
                    <a:cubicBezTo>
                      <a:pt x="0" y="21"/>
                      <a:pt x="0" y="21"/>
                      <a:pt x="0" y="21"/>
                    </a:cubicBezTo>
                    <a:cubicBezTo>
                      <a:pt x="2" y="7"/>
                      <a:pt x="31" y="0"/>
                      <a:pt x="49" y="0"/>
                    </a:cubicBezTo>
                    <a:cubicBezTo>
                      <a:pt x="73" y="0"/>
                      <a:pt x="80" y="3"/>
                      <a:pt x="92" y="21"/>
                    </a:cubicBezTo>
                    <a:cubicBezTo>
                      <a:pt x="103" y="82"/>
                      <a:pt x="103" y="82"/>
                      <a:pt x="103" y="82"/>
                    </a:cubicBezTo>
                    <a:cubicBezTo>
                      <a:pt x="403" y="82"/>
                      <a:pt x="403" y="82"/>
                      <a:pt x="403" y="82"/>
                    </a:cubicBezTo>
                    <a:cubicBezTo>
                      <a:pt x="415" y="21"/>
                      <a:pt x="415" y="21"/>
                      <a:pt x="415" y="21"/>
                    </a:cubicBezTo>
                    <a:cubicBezTo>
                      <a:pt x="426" y="3"/>
                      <a:pt x="433" y="0"/>
                      <a:pt x="457" y="0"/>
                    </a:cubicBezTo>
                    <a:cubicBezTo>
                      <a:pt x="475" y="0"/>
                      <a:pt x="504" y="7"/>
                      <a:pt x="506" y="21"/>
                    </a:cubicBezTo>
                    <a:close/>
                    <a:moveTo>
                      <a:pt x="461" y="82"/>
                    </a:moveTo>
                    <a:cubicBezTo>
                      <a:pt x="469" y="32"/>
                      <a:pt x="469" y="32"/>
                      <a:pt x="469" y="32"/>
                    </a:cubicBezTo>
                    <a:cubicBezTo>
                      <a:pt x="469" y="24"/>
                      <a:pt x="463" y="24"/>
                      <a:pt x="455" y="24"/>
                    </a:cubicBezTo>
                    <a:cubicBezTo>
                      <a:pt x="450" y="24"/>
                      <a:pt x="447" y="26"/>
                      <a:pt x="445" y="32"/>
                    </a:cubicBezTo>
                    <a:cubicBezTo>
                      <a:pt x="435" y="82"/>
                      <a:pt x="435" y="82"/>
                      <a:pt x="435" y="82"/>
                    </a:cubicBezTo>
                    <a:lnTo>
                      <a:pt x="461" y="82"/>
                    </a:lnTo>
                    <a:close/>
                    <a:moveTo>
                      <a:pt x="454" y="127"/>
                    </a:moveTo>
                    <a:cubicBezTo>
                      <a:pt x="457" y="112"/>
                      <a:pt x="457" y="112"/>
                      <a:pt x="457" y="112"/>
                    </a:cubicBezTo>
                    <a:cubicBezTo>
                      <a:pt x="49" y="112"/>
                      <a:pt x="49" y="112"/>
                      <a:pt x="49" y="112"/>
                    </a:cubicBezTo>
                    <a:cubicBezTo>
                      <a:pt x="52" y="127"/>
                      <a:pt x="52" y="127"/>
                      <a:pt x="52" y="127"/>
                    </a:cubicBezTo>
                    <a:cubicBezTo>
                      <a:pt x="78" y="127"/>
                      <a:pt x="78" y="127"/>
                      <a:pt x="78" y="127"/>
                    </a:cubicBezTo>
                    <a:cubicBezTo>
                      <a:pt x="80" y="145"/>
                      <a:pt x="80" y="145"/>
                      <a:pt x="80" y="145"/>
                    </a:cubicBezTo>
                    <a:cubicBezTo>
                      <a:pt x="81" y="161"/>
                      <a:pt x="81" y="161"/>
                      <a:pt x="81" y="161"/>
                    </a:cubicBezTo>
                    <a:cubicBezTo>
                      <a:pt x="425" y="161"/>
                      <a:pt x="425" y="161"/>
                      <a:pt x="425" y="161"/>
                    </a:cubicBezTo>
                    <a:cubicBezTo>
                      <a:pt x="426" y="145"/>
                      <a:pt x="426" y="145"/>
                      <a:pt x="426" y="145"/>
                    </a:cubicBezTo>
                    <a:cubicBezTo>
                      <a:pt x="428" y="127"/>
                      <a:pt x="428" y="127"/>
                      <a:pt x="428" y="127"/>
                    </a:cubicBezTo>
                    <a:lnTo>
                      <a:pt x="454" y="127"/>
                    </a:lnTo>
                    <a:close/>
                    <a:moveTo>
                      <a:pt x="441" y="335"/>
                    </a:moveTo>
                    <a:cubicBezTo>
                      <a:pt x="450" y="178"/>
                      <a:pt x="450" y="178"/>
                      <a:pt x="450" y="178"/>
                    </a:cubicBezTo>
                    <a:cubicBezTo>
                      <a:pt x="56" y="178"/>
                      <a:pt x="56" y="178"/>
                      <a:pt x="56" y="178"/>
                    </a:cubicBezTo>
                    <a:cubicBezTo>
                      <a:pt x="65" y="335"/>
                      <a:pt x="65" y="335"/>
                      <a:pt x="65" y="335"/>
                    </a:cubicBezTo>
                    <a:cubicBezTo>
                      <a:pt x="65" y="343"/>
                      <a:pt x="74" y="349"/>
                      <a:pt x="85" y="349"/>
                    </a:cubicBezTo>
                    <a:cubicBezTo>
                      <a:pt x="421" y="349"/>
                      <a:pt x="421" y="349"/>
                      <a:pt x="421" y="349"/>
                    </a:cubicBezTo>
                    <a:cubicBezTo>
                      <a:pt x="432" y="349"/>
                      <a:pt x="441" y="343"/>
                      <a:pt x="441" y="335"/>
                    </a:cubicBezTo>
                    <a:close/>
                    <a:moveTo>
                      <a:pt x="398" y="490"/>
                    </a:moveTo>
                    <a:cubicBezTo>
                      <a:pt x="398" y="371"/>
                      <a:pt x="398" y="371"/>
                      <a:pt x="398" y="371"/>
                    </a:cubicBezTo>
                    <a:cubicBezTo>
                      <a:pt x="356" y="371"/>
                      <a:pt x="356" y="371"/>
                      <a:pt x="356" y="371"/>
                    </a:cubicBezTo>
                    <a:cubicBezTo>
                      <a:pt x="356" y="496"/>
                      <a:pt x="356" y="496"/>
                      <a:pt x="356" y="496"/>
                    </a:cubicBezTo>
                    <a:cubicBezTo>
                      <a:pt x="389" y="496"/>
                      <a:pt x="389" y="496"/>
                      <a:pt x="389" y="496"/>
                    </a:cubicBezTo>
                    <a:cubicBezTo>
                      <a:pt x="394" y="496"/>
                      <a:pt x="398" y="496"/>
                      <a:pt x="398" y="490"/>
                    </a:cubicBezTo>
                    <a:close/>
                    <a:moveTo>
                      <a:pt x="150" y="496"/>
                    </a:moveTo>
                    <a:cubicBezTo>
                      <a:pt x="150" y="371"/>
                      <a:pt x="150" y="371"/>
                      <a:pt x="150" y="371"/>
                    </a:cubicBezTo>
                    <a:cubicBezTo>
                      <a:pt x="108" y="371"/>
                      <a:pt x="108" y="371"/>
                      <a:pt x="108" y="371"/>
                    </a:cubicBezTo>
                    <a:cubicBezTo>
                      <a:pt x="108" y="490"/>
                      <a:pt x="108" y="490"/>
                      <a:pt x="108" y="490"/>
                    </a:cubicBezTo>
                    <a:cubicBezTo>
                      <a:pt x="108" y="496"/>
                      <a:pt x="112" y="496"/>
                      <a:pt x="117" y="496"/>
                    </a:cubicBezTo>
                    <a:lnTo>
                      <a:pt x="150" y="496"/>
                    </a:lnTo>
                    <a:close/>
                    <a:moveTo>
                      <a:pt x="71" y="82"/>
                    </a:moveTo>
                    <a:cubicBezTo>
                      <a:pt x="61" y="32"/>
                      <a:pt x="61" y="32"/>
                      <a:pt x="61" y="32"/>
                    </a:cubicBezTo>
                    <a:cubicBezTo>
                      <a:pt x="60" y="26"/>
                      <a:pt x="57" y="24"/>
                      <a:pt x="51" y="24"/>
                    </a:cubicBezTo>
                    <a:cubicBezTo>
                      <a:pt x="43" y="24"/>
                      <a:pt x="37" y="24"/>
                      <a:pt x="37" y="32"/>
                    </a:cubicBezTo>
                    <a:cubicBezTo>
                      <a:pt x="45" y="82"/>
                      <a:pt x="45" y="82"/>
                      <a:pt x="45" y="82"/>
                    </a:cubicBezTo>
                    <a:lnTo>
                      <a:pt x="71" y="8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243" name="í$ḻíde"/>
              <p:cNvSpPr/>
              <p:nvPr/>
            </p:nvSpPr>
            <p:spPr bwMode="auto">
              <a:xfrm>
                <a:off x="2144609" y="5142503"/>
                <a:ext cx="604838" cy="31750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</p:grpSp>
        <p:grpSp>
          <p:nvGrpSpPr>
            <p:cNvPr id="133" name="组合 132"/>
            <p:cNvGrpSpPr/>
            <p:nvPr userDrawn="1"/>
          </p:nvGrpSpPr>
          <p:grpSpPr>
            <a:xfrm>
              <a:off x="10250573" y="283036"/>
              <a:ext cx="1640266" cy="338554"/>
              <a:chOff x="5180266" y="4756740"/>
              <a:chExt cx="5753100" cy="1187451"/>
            </a:xfrm>
            <a:solidFill>
              <a:srgbClr val="CA351C"/>
            </a:solidFill>
          </p:grpSpPr>
          <p:sp>
            <p:nvSpPr>
              <p:cNvPr id="134" name="ïṩļîḑê"/>
              <p:cNvSpPr/>
              <p:nvPr/>
            </p:nvSpPr>
            <p:spPr bwMode="auto">
              <a:xfrm>
                <a:off x="10319003" y="4805953"/>
                <a:ext cx="600075" cy="771525"/>
              </a:xfrm>
              <a:custGeom>
                <a:avLst/>
                <a:gdLst>
                  <a:gd name="T0" fmla="*/ 210 w 325"/>
                  <a:gd name="T1" fmla="*/ 140 h 418"/>
                  <a:gd name="T2" fmla="*/ 237 w 325"/>
                  <a:gd name="T3" fmla="*/ 155 h 418"/>
                  <a:gd name="T4" fmla="*/ 161 w 325"/>
                  <a:gd name="T5" fmla="*/ 179 h 418"/>
                  <a:gd name="T6" fmla="*/ 187 w 325"/>
                  <a:gd name="T7" fmla="*/ 68 h 418"/>
                  <a:gd name="T8" fmla="*/ 230 w 325"/>
                  <a:gd name="T9" fmla="*/ 40 h 418"/>
                  <a:gd name="T10" fmla="*/ 199 w 325"/>
                  <a:gd name="T11" fmla="*/ 85 h 418"/>
                  <a:gd name="T12" fmla="*/ 99 w 325"/>
                  <a:gd name="T13" fmla="*/ 132 h 418"/>
                  <a:gd name="T14" fmla="*/ 132 w 325"/>
                  <a:gd name="T15" fmla="*/ 83 h 418"/>
                  <a:gd name="T16" fmla="*/ 174 w 325"/>
                  <a:gd name="T17" fmla="*/ 116 h 418"/>
                  <a:gd name="T18" fmla="*/ 59 w 325"/>
                  <a:gd name="T19" fmla="*/ 198 h 418"/>
                  <a:gd name="T20" fmla="*/ 16 w 325"/>
                  <a:gd name="T21" fmla="*/ 224 h 418"/>
                  <a:gd name="T22" fmla="*/ 17 w 325"/>
                  <a:gd name="T23" fmla="*/ 314 h 418"/>
                  <a:gd name="T24" fmla="*/ 55 w 325"/>
                  <a:gd name="T25" fmla="*/ 244 h 418"/>
                  <a:gd name="T26" fmla="*/ 131 w 325"/>
                  <a:gd name="T27" fmla="*/ 194 h 418"/>
                  <a:gd name="T28" fmla="*/ 111 w 325"/>
                  <a:gd name="T29" fmla="*/ 251 h 418"/>
                  <a:gd name="T30" fmla="*/ 148 w 325"/>
                  <a:gd name="T31" fmla="*/ 246 h 418"/>
                  <a:gd name="T32" fmla="*/ 184 w 325"/>
                  <a:gd name="T33" fmla="*/ 243 h 418"/>
                  <a:gd name="T34" fmla="*/ 131 w 325"/>
                  <a:gd name="T35" fmla="*/ 281 h 418"/>
                  <a:gd name="T36" fmla="*/ 76 w 325"/>
                  <a:gd name="T37" fmla="*/ 299 h 418"/>
                  <a:gd name="T38" fmla="*/ 134 w 325"/>
                  <a:gd name="T39" fmla="*/ 334 h 418"/>
                  <a:gd name="T40" fmla="*/ 203 w 325"/>
                  <a:gd name="T41" fmla="*/ 298 h 418"/>
                  <a:gd name="T42" fmla="*/ 206 w 325"/>
                  <a:gd name="T43" fmla="*/ 350 h 418"/>
                  <a:gd name="T44" fmla="*/ 165 w 325"/>
                  <a:gd name="T45" fmla="*/ 378 h 418"/>
                  <a:gd name="T46" fmla="*/ 144 w 325"/>
                  <a:gd name="T47" fmla="*/ 410 h 418"/>
                  <a:gd name="T48" fmla="*/ 228 w 325"/>
                  <a:gd name="T49" fmla="*/ 408 h 418"/>
                  <a:gd name="T50" fmla="*/ 239 w 325"/>
                  <a:gd name="T51" fmla="*/ 307 h 418"/>
                  <a:gd name="T52" fmla="*/ 273 w 325"/>
                  <a:gd name="T53" fmla="*/ 283 h 418"/>
                  <a:gd name="T54" fmla="*/ 271 w 325"/>
                  <a:gd name="T55" fmla="*/ 239 h 418"/>
                  <a:gd name="T56" fmla="*/ 233 w 325"/>
                  <a:gd name="T57" fmla="*/ 226 h 418"/>
                  <a:gd name="T58" fmla="*/ 261 w 325"/>
                  <a:gd name="T59" fmla="*/ 181 h 418"/>
                  <a:gd name="T60" fmla="*/ 316 w 325"/>
                  <a:gd name="T61" fmla="*/ 167 h 418"/>
                  <a:gd name="T62" fmla="*/ 297 w 325"/>
                  <a:gd name="T63" fmla="*/ 119 h 418"/>
                  <a:gd name="T64" fmla="*/ 251 w 325"/>
                  <a:gd name="T65" fmla="*/ 93 h 418"/>
                  <a:gd name="T66" fmla="*/ 276 w 325"/>
                  <a:gd name="T67" fmla="*/ 34 h 418"/>
                  <a:gd name="T68" fmla="*/ 217 w 325"/>
                  <a:gd name="T69" fmla="*/ 11 h 418"/>
                  <a:gd name="T70" fmla="*/ 164 w 325"/>
                  <a:gd name="T71" fmla="*/ 29 h 418"/>
                  <a:gd name="T72" fmla="*/ 136 w 325"/>
                  <a:gd name="T73" fmla="*/ 43 h 418"/>
                  <a:gd name="T74" fmla="*/ 113 w 325"/>
                  <a:gd name="T75" fmla="*/ 21 h 418"/>
                  <a:gd name="T76" fmla="*/ 78 w 325"/>
                  <a:gd name="T77" fmla="*/ 52 h 4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325" h="418">
                    <a:moveTo>
                      <a:pt x="161" y="179"/>
                    </a:moveTo>
                    <a:cubicBezTo>
                      <a:pt x="160" y="178"/>
                      <a:pt x="188" y="143"/>
                      <a:pt x="210" y="140"/>
                    </a:cubicBezTo>
                    <a:cubicBezTo>
                      <a:pt x="232" y="137"/>
                      <a:pt x="226" y="133"/>
                      <a:pt x="238" y="138"/>
                    </a:cubicBezTo>
                    <a:cubicBezTo>
                      <a:pt x="250" y="144"/>
                      <a:pt x="252" y="148"/>
                      <a:pt x="237" y="155"/>
                    </a:cubicBezTo>
                    <a:cubicBezTo>
                      <a:pt x="222" y="162"/>
                      <a:pt x="215" y="168"/>
                      <a:pt x="196" y="171"/>
                    </a:cubicBezTo>
                    <a:cubicBezTo>
                      <a:pt x="177" y="175"/>
                      <a:pt x="163" y="181"/>
                      <a:pt x="161" y="179"/>
                    </a:cubicBezTo>
                    <a:close/>
                    <a:moveTo>
                      <a:pt x="199" y="85"/>
                    </a:moveTo>
                    <a:cubicBezTo>
                      <a:pt x="197" y="87"/>
                      <a:pt x="186" y="79"/>
                      <a:pt x="187" y="68"/>
                    </a:cubicBezTo>
                    <a:cubicBezTo>
                      <a:pt x="188" y="57"/>
                      <a:pt x="197" y="38"/>
                      <a:pt x="211" y="34"/>
                    </a:cubicBezTo>
                    <a:cubicBezTo>
                      <a:pt x="225" y="30"/>
                      <a:pt x="230" y="30"/>
                      <a:pt x="230" y="40"/>
                    </a:cubicBezTo>
                    <a:cubicBezTo>
                      <a:pt x="229" y="51"/>
                      <a:pt x="229" y="62"/>
                      <a:pt x="219" y="71"/>
                    </a:cubicBezTo>
                    <a:cubicBezTo>
                      <a:pt x="210" y="80"/>
                      <a:pt x="201" y="84"/>
                      <a:pt x="199" y="85"/>
                    </a:cubicBezTo>
                    <a:close/>
                    <a:moveTo>
                      <a:pt x="79" y="112"/>
                    </a:moveTo>
                    <a:cubicBezTo>
                      <a:pt x="79" y="113"/>
                      <a:pt x="87" y="125"/>
                      <a:pt x="99" y="132"/>
                    </a:cubicBezTo>
                    <a:cubicBezTo>
                      <a:pt x="112" y="138"/>
                      <a:pt x="119" y="135"/>
                      <a:pt x="129" y="127"/>
                    </a:cubicBezTo>
                    <a:cubicBezTo>
                      <a:pt x="139" y="118"/>
                      <a:pt x="130" y="95"/>
                      <a:pt x="132" y="83"/>
                    </a:cubicBezTo>
                    <a:cubicBezTo>
                      <a:pt x="135" y="70"/>
                      <a:pt x="136" y="73"/>
                      <a:pt x="146" y="75"/>
                    </a:cubicBezTo>
                    <a:cubicBezTo>
                      <a:pt x="156" y="76"/>
                      <a:pt x="173" y="108"/>
                      <a:pt x="174" y="116"/>
                    </a:cubicBezTo>
                    <a:cubicBezTo>
                      <a:pt x="174" y="123"/>
                      <a:pt x="170" y="123"/>
                      <a:pt x="128" y="142"/>
                    </a:cubicBezTo>
                    <a:cubicBezTo>
                      <a:pt x="86" y="161"/>
                      <a:pt x="67" y="195"/>
                      <a:pt x="59" y="198"/>
                    </a:cubicBezTo>
                    <a:cubicBezTo>
                      <a:pt x="52" y="202"/>
                      <a:pt x="55" y="191"/>
                      <a:pt x="40" y="188"/>
                    </a:cubicBezTo>
                    <a:cubicBezTo>
                      <a:pt x="26" y="186"/>
                      <a:pt x="23" y="211"/>
                      <a:pt x="16" y="224"/>
                    </a:cubicBezTo>
                    <a:cubicBezTo>
                      <a:pt x="8" y="238"/>
                      <a:pt x="5" y="266"/>
                      <a:pt x="5" y="277"/>
                    </a:cubicBezTo>
                    <a:cubicBezTo>
                      <a:pt x="5" y="288"/>
                      <a:pt x="0" y="301"/>
                      <a:pt x="17" y="314"/>
                    </a:cubicBezTo>
                    <a:cubicBezTo>
                      <a:pt x="33" y="326"/>
                      <a:pt x="49" y="311"/>
                      <a:pt x="53" y="304"/>
                    </a:cubicBezTo>
                    <a:cubicBezTo>
                      <a:pt x="57" y="298"/>
                      <a:pt x="53" y="269"/>
                      <a:pt x="55" y="244"/>
                    </a:cubicBezTo>
                    <a:cubicBezTo>
                      <a:pt x="57" y="220"/>
                      <a:pt x="89" y="204"/>
                      <a:pt x="100" y="197"/>
                    </a:cubicBezTo>
                    <a:cubicBezTo>
                      <a:pt x="115" y="189"/>
                      <a:pt x="129" y="190"/>
                      <a:pt x="131" y="194"/>
                    </a:cubicBezTo>
                    <a:cubicBezTo>
                      <a:pt x="134" y="197"/>
                      <a:pt x="119" y="214"/>
                      <a:pt x="112" y="219"/>
                    </a:cubicBezTo>
                    <a:cubicBezTo>
                      <a:pt x="105" y="224"/>
                      <a:pt x="110" y="244"/>
                      <a:pt x="111" y="251"/>
                    </a:cubicBezTo>
                    <a:cubicBezTo>
                      <a:pt x="113" y="257"/>
                      <a:pt x="111" y="260"/>
                      <a:pt x="125" y="265"/>
                    </a:cubicBezTo>
                    <a:cubicBezTo>
                      <a:pt x="142" y="271"/>
                      <a:pt x="139" y="257"/>
                      <a:pt x="148" y="246"/>
                    </a:cubicBezTo>
                    <a:cubicBezTo>
                      <a:pt x="157" y="236"/>
                      <a:pt x="163" y="224"/>
                      <a:pt x="170" y="224"/>
                    </a:cubicBezTo>
                    <a:cubicBezTo>
                      <a:pt x="177" y="224"/>
                      <a:pt x="180" y="238"/>
                      <a:pt x="184" y="243"/>
                    </a:cubicBezTo>
                    <a:cubicBezTo>
                      <a:pt x="187" y="248"/>
                      <a:pt x="189" y="257"/>
                      <a:pt x="177" y="263"/>
                    </a:cubicBezTo>
                    <a:cubicBezTo>
                      <a:pt x="165" y="269"/>
                      <a:pt x="131" y="281"/>
                      <a:pt x="131" y="281"/>
                    </a:cubicBezTo>
                    <a:cubicBezTo>
                      <a:pt x="131" y="281"/>
                      <a:pt x="112" y="284"/>
                      <a:pt x="101" y="287"/>
                    </a:cubicBezTo>
                    <a:cubicBezTo>
                      <a:pt x="90" y="289"/>
                      <a:pt x="78" y="285"/>
                      <a:pt x="76" y="299"/>
                    </a:cubicBezTo>
                    <a:cubicBezTo>
                      <a:pt x="73" y="312"/>
                      <a:pt x="78" y="305"/>
                      <a:pt x="86" y="319"/>
                    </a:cubicBezTo>
                    <a:cubicBezTo>
                      <a:pt x="94" y="333"/>
                      <a:pt x="119" y="337"/>
                      <a:pt x="134" y="334"/>
                    </a:cubicBezTo>
                    <a:cubicBezTo>
                      <a:pt x="149" y="332"/>
                      <a:pt x="157" y="324"/>
                      <a:pt x="168" y="316"/>
                    </a:cubicBezTo>
                    <a:cubicBezTo>
                      <a:pt x="178" y="308"/>
                      <a:pt x="194" y="298"/>
                      <a:pt x="203" y="298"/>
                    </a:cubicBezTo>
                    <a:cubicBezTo>
                      <a:pt x="211" y="299"/>
                      <a:pt x="211" y="311"/>
                      <a:pt x="211" y="325"/>
                    </a:cubicBezTo>
                    <a:cubicBezTo>
                      <a:pt x="211" y="339"/>
                      <a:pt x="210" y="337"/>
                      <a:pt x="206" y="350"/>
                    </a:cubicBezTo>
                    <a:cubicBezTo>
                      <a:pt x="202" y="364"/>
                      <a:pt x="199" y="368"/>
                      <a:pt x="194" y="372"/>
                    </a:cubicBezTo>
                    <a:cubicBezTo>
                      <a:pt x="189" y="377"/>
                      <a:pt x="184" y="376"/>
                      <a:pt x="165" y="378"/>
                    </a:cubicBezTo>
                    <a:cubicBezTo>
                      <a:pt x="145" y="380"/>
                      <a:pt x="131" y="393"/>
                      <a:pt x="129" y="400"/>
                    </a:cubicBezTo>
                    <a:cubicBezTo>
                      <a:pt x="128" y="407"/>
                      <a:pt x="135" y="405"/>
                      <a:pt x="144" y="410"/>
                    </a:cubicBezTo>
                    <a:cubicBezTo>
                      <a:pt x="152" y="414"/>
                      <a:pt x="163" y="416"/>
                      <a:pt x="185" y="417"/>
                    </a:cubicBezTo>
                    <a:cubicBezTo>
                      <a:pt x="208" y="418"/>
                      <a:pt x="219" y="417"/>
                      <a:pt x="228" y="408"/>
                    </a:cubicBezTo>
                    <a:cubicBezTo>
                      <a:pt x="238" y="400"/>
                      <a:pt x="240" y="373"/>
                      <a:pt x="241" y="354"/>
                    </a:cubicBezTo>
                    <a:cubicBezTo>
                      <a:pt x="243" y="335"/>
                      <a:pt x="239" y="315"/>
                      <a:pt x="239" y="307"/>
                    </a:cubicBezTo>
                    <a:cubicBezTo>
                      <a:pt x="239" y="299"/>
                      <a:pt x="239" y="297"/>
                      <a:pt x="244" y="288"/>
                    </a:cubicBezTo>
                    <a:cubicBezTo>
                      <a:pt x="249" y="280"/>
                      <a:pt x="257" y="284"/>
                      <a:pt x="273" y="283"/>
                    </a:cubicBezTo>
                    <a:cubicBezTo>
                      <a:pt x="288" y="281"/>
                      <a:pt x="286" y="270"/>
                      <a:pt x="287" y="261"/>
                    </a:cubicBezTo>
                    <a:cubicBezTo>
                      <a:pt x="288" y="251"/>
                      <a:pt x="281" y="247"/>
                      <a:pt x="271" y="239"/>
                    </a:cubicBezTo>
                    <a:cubicBezTo>
                      <a:pt x="260" y="231"/>
                      <a:pt x="250" y="236"/>
                      <a:pt x="240" y="236"/>
                    </a:cubicBezTo>
                    <a:cubicBezTo>
                      <a:pt x="230" y="236"/>
                      <a:pt x="233" y="234"/>
                      <a:pt x="233" y="226"/>
                    </a:cubicBezTo>
                    <a:cubicBezTo>
                      <a:pt x="233" y="219"/>
                      <a:pt x="238" y="215"/>
                      <a:pt x="239" y="207"/>
                    </a:cubicBezTo>
                    <a:cubicBezTo>
                      <a:pt x="241" y="200"/>
                      <a:pt x="251" y="192"/>
                      <a:pt x="261" y="181"/>
                    </a:cubicBezTo>
                    <a:cubicBezTo>
                      <a:pt x="270" y="170"/>
                      <a:pt x="276" y="175"/>
                      <a:pt x="289" y="176"/>
                    </a:cubicBezTo>
                    <a:cubicBezTo>
                      <a:pt x="302" y="176"/>
                      <a:pt x="307" y="176"/>
                      <a:pt x="316" y="167"/>
                    </a:cubicBezTo>
                    <a:cubicBezTo>
                      <a:pt x="325" y="157"/>
                      <a:pt x="318" y="138"/>
                      <a:pt x="316" y="132"/>
                    </a:cubicBezTo>
                    <a:cubicBezTo>
                      <a:pt x="315" y="125"/>
                      <a:pt x="309" y="129"/>
                      <a:pt x="297" y="119"/>
                    </a:cubicBezTo>
                    <a:cubicBezTo>
                      <a:pt x="285" y="108"/>
                      <a:pt x="274" y="111"/>
                      <a:pt x="261" y="111"/>
                    </a:cubicBezTo>
                    <a:cubicBezTo>
                      <a:pt x="248" y="111"/>
                      <a:pt x="244" y="100"/>
                      <a:pt x="251" y="93"/>
                    </a:cubicBezTo>
                    <a:cubicBezTo>
                      <a:pt x="259" y="87"/>
                      <a:pt x="265" y="77"/>
                      <a:pt x="272" y="66"/>
                    </a:cubicBezTo>
                    <a:cubicBezTo>
                      <a:pt x="278" y="55"/>
                      <a:pt x="276" y="45"/>
                      <a:pt x="276" y="34"/>
                    </a:cubicBezTo>
                    <a:cubicBezTo>
                      <a:pt x="275" y="24"/>
                      <a:pt x="264" y="20"/>
                      <a:pt x="252" y="10"/>
                    </a:cubicBezTo>
                    <a:cubicBezTo>
                      <a:pt x="240" y="0"/>
                      <a:pt x="225" y="8"/>
                      <a:pt x="217" y="11"/>
                    </a:cubicBezTo>
                    <a:cubicBezTo>
                      <a:pt x="208" y="14"/>
                      <a:pt x="196" y="20"/>
                      <a:pt x="187" y="25"/>
                    </a:cubicBezTo>
                    <a:cubicBezTo>
                      <a:pt x="178" y="30"/>
                      <a:pt x="172" y="30"/>
                      <a:pt x="164" y="29"/>
                    </a:cubicBezTo>
                    <a:cubicBezTo>
                      <a:pt x="157" y="29"/>
                      <a:pt x="150" y="29"/>
                      <a:pt x="147" y="29"/>
                    </a:cubicBezTo>
                    <a:cubicBezTo>
                      <a:pt x="144" y="29"/>
                      <a:pt x="141" y="35"/>
                      <a:pt x="136" y="43"/>
                    </a:cubicBezTo>
                    <a:cubicBezTo>
                      <a:pt x="131" y="51"/>
                      <a:pt x="126" y="47"/>
                      <a:pt x="124" y="43"/>
                    </a:cubicBezTo>
                    <a:cubicBezTo>
                      <a:pt x="121" y="38"/>
                      <a:pt x="116" y="28"/>
                      <a:pt x="113" y="21"/>
                    </a:cubicBezTo>
                    <a:cubicBezTo>
                      <a:pt x="110" y="15"/>
                      <a:pt x="97" y="18"/>
                      <a:pt x="91" y="21"/>
                    </a:cubicBezTo>
                    <a:cubicBezTo>
                      <a:pt x="84" y="25"/>
                      <a:pt x="80" y="41"/>
                      <a:pt x="78" y="52"/>
                    </a:cubicBezTo>
                    <a:cubicBezTo>
                      <a:pt x="75" y="63"/>
                      <a:pt x="78" y="111"/>
                      <a:pt x="79" y="1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135" name="îşḷïḍe"/>
              <p:cNvSpPr/>
              <p:nvPr/>
            </p:nvSpPr>
            <p:spPr bwMode="auto">
              <a:xfrm>
                <a:off x="9461753" y="4939303"/>
                <a:ext cx="388938" cy="534988"/>
              </a:xfrm>
              <a:custGeom>
                <a:avLst/>
                <a:gdLst>
                  <a:gd name="T0" fmla="*/ 4 w 211"/>
                  <a:gd name="T1" fmla="*/ 137 h 290"/>
                  <a:gd name="T2" fmla="*/ 41 w 211"/>
                  <a:gd name="T3" fmla="*/ 117 h 290"/>
                  <a:gd name="T4" fmla="*/ 75 w 211"/>
                  <a:gd name="T5" fmla="*/ 83 h 290"/>
                  <a:gd name="T6" fmla="*/ 82 w 211"/>
                  <a:gd name="T7" fmla="*/ 29 h 290"/>
                  <a:gd name="T8" fmla="*/ 94 w 211"/>
                  <a:gd name="T9" fmla="*/ 6 h 290"/>
                  <a:gd name="T10" fmla="*/ 126 w 211"/>
                  <a:gd name="T11" fmla="*/ 27 h 290"/>
                  <a:gd name="T12" fmla="*/ 145 w 211"/>
                  <a:gd name="T13" fmla="*/ 65 h 290"/>
                  <a:gd name="T14" fmla="*/ 170 w 211"/>
                  <a:gd name="T15" fmla="*/ 93 h 290"/>
                  <a:gd name="T16" fmla="*/ 164 w 211"/>
                  <a:gd name="T17" fmla="*/ 119 h 290"/>
                  <a:gd name="T18" fmla="*/ 127 w 211"/>
                  <a:gd name="T19" fmla="*/ 151 h 290"/>
                  <a:gd name="T20" fmla="*/ 123 w 211"/>
                  <a:gd name="T21" fmla="*/ 165 h 290"/>
                  <a:gd name="T22" fmla="*/ 181 w 211"/>
                  <a:gd name="T23" fmla="*/ 187 h 290"/>
                  <a:gd name="T24" fmla="*/ 210 w 211"/>
                  <a:gd name="T25" fmla="*/ 231 h 290"/>
                  <a:gd name="T26" fmla="*/ 202 w 211"/>
                  <a:gd name="T27" fmla="*/ 281 h 290"/>
                  <a:gd name="T28" fmla="*/ 185 w 211"/>
                  <a:gd name="T29" fmla="*/ 289 h 290"/>
                  <a:gd name="T30" fmla="*/ 162 w 211"/>
                  <a:gd name="T31" fmla="*/ 267 h 290"/>
                  <a:gd name="T32" fmla="*/ 158 w 211"/>
                  <a:gd name="T33" fmla="*/ 217 h 290"/>
                  <a:gd name="T34" fmla="*/ 134 w 211"/>
                  <a:gd name="T35" fmla="*/ 188 h 290"/>
                  <a:gd name="T36" fmla="*/ 117 w 211"/>
                  <a:gd name="T37" fmla="*/ 183 h 290"/>
                  <a:gd name="T38" fmla="*/ 105 w 211"/>
                  <a:gd name="T39" fmla="*/ 191 h 290"/>
                  <a:gd name="T40" fmla="*/ 95 w 211"/>
                  <a:gd name="T41" fmla="*/ 225 h 290"/>
                  <a:gd name="T42" fmla="*/ 92 w 211"/>
                  <a:gd name="T43" fmla="*/ 251 h 290"/>
                  <a:gd name="T44" fmla="*/ 58 w 211"/>
                  <a:gd name="T45" fmla="*/ 261 h 290"/>
                  <a:gd name="T46" fmla="*/ 37 w 211"/>
                  <a:gd name="T47" fmla="*/ 235 h 290"/>
                  <a:gd name="T48" fmla="*/ 39 w 211"/>
                  <a:gd name="T49" fmla="*/ 205 h 290"/>
                  <a:gd name="T50" fmla="*/ 45 w 211"/>
                  <a:gd name="T51" fmla="*/ 177 h 290"/>
                  <a:gd name="T52" fmla="*/ 18 w 211"/>
                  <a:gd name="T53" fmla="*/ 155 h 290"/>
                  <a:gd name="T54" fmla="*/ 0 w 211"/>
                  <a:gd name="T55" fmla="*/ 147 h 290"/>
                  <a:gd name="T56" fmla="*/ 4 w 211"/>
                  <a:gd name="T57" fmla="*/ 137 h 2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211" h="290">
                    <a:moveTo>
                      <a:pt x="4" y="137"/>
                    </a:moveTo>
                    <a:cubicBezTo>
                      <a:pt x="4" y="137"/>
                      <a:pt x="32" y="120"/>
                      <a:pt x="41" y="117"/>
                    </a:cubicBezTo>
                    <a:cubicBezTo>
                      <a:pt x="50" y="115"/>
                      <a:pt x="69" y="103"/>
                      <a:pt x="75" y="83"/>
                    </a:cubicBezTo>
                    <a:cubicBezTo>
                      <a:pt x="81" y="63"/>
                      <a:pt x="82" y="39"/>
                      <a:pt x="82" y="29"/>
                    </a:cubicBezTo>
                    <a:cubicBezTo>
                      <a:pt x="82" y="19"/>
                      <a:pt x="76" y="0"/>
                      <a:pt x="94" y="6"/>
                    </a:cubicBezTo>
                    <a:cubicBezTo>
                      <a:pt x="112" y="12"/>
                      <a:pt x="124" y="15"/>
                      <a:pt x="126" y="27"/>
                    </a:cubicBezTo>
                    <a:cubicBezTo>
                      <a:pt x="129" y="39"/>
                      <a:pt x="131" y="55"/>
                      <a:pt x="145" y="65"/>
                    </a:cubicBezTo>
                    <a:cubicBezTo>
                      <a:pt x="159" y="75"/>
                      <a:pt x="168" y="83"/>
                      <a:pt x="170" y="93"/>
                    </a:cubicBezTo>
                    <a:cubicBezTo>
                      <a:pt x="172" y="103"/>
                      <a:pt x="172" y="114"/>
                      <a:pt x="164" y="119"/>
                    </a:cubicBezTo>
                    <a:cubicBezTo>
                      <a:pt x="157" y="123"/>
                      <a:pt x="132" y="147"/>
                      <a:pt x="127" y="151"/>
                    </a:cubicBezTo>
                    <a:cubicBezTo>
                      <a:pt x="121" y="154"/>
                      <a:pt x="119" y="165"/>
                      <a:pt x="123" y="165"/>
                    </a:cubicBezTo>
                    <a:cubicBezTo>
                      <a:pt x="127" y="165"/>
                      <a:pt x="163" y="172"/>
                      <a:pt x="181" y="187"/>
                    </a:cubicBezTo>
                    <a:cubicBezTo>
                      <a:pt x="198" y="202"/>
                      <a:pt x="209" y="216"/>
                      <a:pt x="210" y="231"/>
                    </a:cubicBezTo>
                    <a:cubicBezTo>
                      <a:pt x="211" y="247"/>
                      <a:pt x="210" y="273"/>
                      <a:pt x="202" y="281"/>
                    </a:cubicBezTo>
                    <a:cubicBezTo>
                      <a:pt x="194" y="288"/>
                      <a:pt x="192" y="290"/>
                      <a:pt x="185" y="289"/>
                    </a:cubicBezTo>
                    <a:cubicBezTo>
                      <a:pt x="178" y="288"/>
                      <a:pt x="164" y="279"/>
                      <a:pt x="162" y="267"/>
                    </a:cubicBezTo>
                    <a:cubicBezTo>
                      <a:pt x="160" y="255"/>
                      <a:pt x="164" y="239"/>
                      <a:pt x="158" y="217"/>
                    </a:cubicBezTo>
                    <a:cubicBezTo>
                      <a:pt x="153" y="196"/>
                      <a:pt x="139" y="191"/>
                      <a:pt x="134" y="188"/>
                    </a:cubicBezTo>
                    <a:cubicBezTo>
                      <a:pt x="129" y="186"/>
                      <a:pt x="117" y="183"/>
                      <a:pt x="117" y="183"/>
                    </a:cubicBezTo>
                    <a:cubicBezTo>
                      <a:pt x="117" y="183"/>
                      <a:pt x="108" y="182"/>
                      <a:pt x="105" y="191"/>
                    </a:cubicBezTo>
                    <a:cubicBezTo>
                      <a:pt x="102" y="199"/>
                      <a:pt x="96" y="215"/>
                      <a:pt x="95" y="225"/>
                    </a:cubicBezTo>
                    <a:cubicBezTo>
                      <a:pt x="94" y="235"/>
                      <a:pt x="96" y="247"/>
                      <a:pt x="92" y="251"/>
                    </a:cubicBezTo>
                    <a:cubicBezTo>
                      <a:pt x="87" y="256"/>
                      <a:pt x="77" y="267"/>
                      <a:pt x="58" y="261"/>
                    </a:cubicBezTo>
                    <a:cubicBezTo>
                      <a:pt x="39" y="255"/>
                      <a:pt x="41" y="238"/>
                      <a:pt x="37" y="235"/>
                    </a:cubicBezTo>
                    <a:cubicBezTo>
                      <a:pt x="33" y="231"/>
                      <a:pt x="39" y="211"/>
                      <a:pt x="39" y="205"/>
                    </a:cubicBezTo>
                    <a:cubicBezTo>
                      <a:pt x="39" y="200"/>
                      <a:pt x="47" y="182"/>
                      <a:pt x="45" y="177"/>
                    </a:cubicBezTo>
                    <a:cubicBezTo>
                      <a:pt x="44" y="173"/>
                      <a:pt x="25" y="153"/>
                      <a:pt x="18" y="155"/>
                    </a:cubicBezTo>
                    <a:cubicBezTo>
                      <a:pt x="11" y="157"/>
                      <a:pt x="1" y="155"/>
                      <a:pt x="0" y="147"/>
                    </a:cubicBezTo>
                    <a:cubicBezTo>
                      <a:pt x="0" y="140"/>
                      <a:pt x="4" y="137"/>
                      <a:pt x="4" y="13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 dirty="0"/>
              </a:p>
            </p:txBody>
          </p:sp>
          <p:sp>
            <p:nvSpPr>
              <p:cNvPr id="137" name="îṧļíďe"/>
              <p:cNvSpPr/>
              <p:nvPr/>
            </p:nvSpPr>
            <p:spPr bwMode="auto">
              <a:xfrm>
                <a:off x="8326691" y="4823415"/>
                <a:ext cx="746125" cy="695325"/>
              </a:xfrm>
              <a:custGeom>
                <a:avLst/>
                <a:gdLst>
                  <a:gd name="T0" fmla="*/ 159 w 405"/>
                  <a:gd name="T1" fmla="*/ 229 h 377"/>
                  <a:gd name="T2" fmla="*/ 218 w 405"/>
                  <a:gd name="T3" fmla="*/ 183 h 377"/>
                  <a:gd name="T4" fmla="*/ 234 w 405"/>
                  <a:gd name="T5" fmla="*/ 247 h 377"/>
                  <a:gd name="T6" fmla="*/ 260 w 405"/>
                  <a:gd name="T7" fmla="*/ 269 h 377"/>
                  <a:gd name="T8" fmla="*/ 209 w 405"/>
                  <a:gd name="T9" fmla="*/ 247 h 377"/>
                  <a:gd name="T10" fmla="*/ 108 w 405"/>
                  <a:gd name="T11" fmla="*/ 215 h 377"/>
                  <a:gd name="T12" fmla="*/ 73 w 405"/>
                  <a:gd name="T13" fmla="*/ 283 h 377"/>
                  <a:gd name="T14" fmla="*/ 43 w 405"/>
                  <a:gd name="T15" fmla="*/ 350 h 377"/>
                  <a:gd name="T16" fmla="*/ 91 w 405"/>
                  <a:gd name="T17" fmla="*/ 347 h 377"/>
                  <a:gd name="T18" fmla="*/ 118 w 405"/>
                  <a:gd name="T19" fmla="*/ 372 h 377"/>
                  <a:gd name="T20" fmla="*/ 136 w 405"/>
                  <a:gd name="T21" fmla="*/ 328 h 377"/>
                  <a:gd name="T22" fmla="*/ 147 w 405"/>
                  <a:gd name="T23" fmla="*/ 265 h 377"/>
                  <a:gd name="T24" fmla="*/ 242 w 405"/>
                  <a:gd name="T25" fmla="*/ 306 h 377"/>
                  <a:gd name="T26" fmla="*/ 186 w 405"/>
                  <a:gd name="T27" fmla="*/ 337 h 377"/>
                  <a:gd name="T28" fmla="*/ 172 w 405"/>
                  <a:gd name="T29" fmla="*/ 367 h 377"/>
                  <a:gd name="T30" fmla="*/ 272 w 405"/>
                  <a:gd name="T31" fmla="*/ 328 h 377"/>
                  <a:gd name="T32" fmla="*/ 352 w 405"/>
                  <a:gd name="T33" fmla="*/ 373 h 377"/>
                  <a:gd name="T34" fmla="*/ 389 w 405"/>
                  <a:gd name="T35" fmla="*/ 333 h 377"/>
                  <a:gd name="T36" fmla="*/ 292 w 405"/>
                  <a:gd name="T37" fmla="*/ 299 h 377"/>
                  <a:gd name="T38" fmla="*/ 291 w 405"/>
                  <a:gd name="T39" fmla="*/ 217 h 377"/>
                  <a:gd name="T40" fmla="*/ 261 w 405"/>
                  <a:gd name="T41" fmla="*/ 173 h 377"/>
                  <a:gd name="T42" fmla="*/ 297 w 405"/>
                  <a:gd name="T43" fmla="*/ 107 h 377"/>
                  <a:gd name="T44" fmla="*/ 283 w 405"/>
                  <a:gd name="T45" fmla="*/ 43 h 377"/>
                  <a:gd name="T46" fmla="*/ 241 w 405"/>
                  <a:gd name="T47" fmla="*/ 1 h 377"/>
                  <a:gd name="T48" fmla="*/ 241 w 405"/>
                  <a:gd name="T49" fmla="*/ 35 h 377"/>
                  <a:gd name="T50" fmla="*/ 245 w 405"/>
                  <a:gd name="T51" fmla="*/ 97 h 377"/>
                  <a:gd name="T52" fmla="*/ 194 w 405"/>
                  <a:gd name="T53" fmla="*/ 129 h 377"/>
                  <a:gd name="T54" fmla="*/ 161 w 405"/>
                  <a:gd name="T55" fmla="*/ 121 h 377"/>
                  <a:gd name="T56" fmla="*/ 150 w 405"/>
                  <a:gd name="T57" fmla="*/ 33 h 377"/>
                  <a:gd name="T58" fmla="*/ 122 w 405"/>
                  <a:gd name="T59" fmla="*/ 56 h 377"/>
                  <a:gd name="T60" fmla="*/ 121 w 405"/>
                  <a:gd name="T61" fmla="*/ 133 h 377"/>
                  <a:gd name="T62" fmla="*/ 30 w 405"/>
                  <a:gd name="T63" fmla="*/ 180 h 377"/>
                  <a:gd name="T64" fmla="*/ 22 w 405"/>
                  <a:gd name="T65" fmla="*/ 219 h 3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405" h="377">
                    <a:moveTo>
                      <a:pt x="174" y="243"/>
                    </a:moveTo>
                    <a:cubicBezTo>
                      <a:pt x="172" y="243"/>
                      <a:pt x="154" y="236"/>
                      <a:pt x="159" y="229"/>
                    </a:cubicBezTo>
                    <a:cubicBezTo>
                      <a:pt x="163" y="221"/>
                      <a:pt x="190" y="187"/>
                      <a:pt x="199" y="183"/>
                    </a:cubicBezTo>
                    <a:cubicBezTo>
                      <a:pt x="208" y="178"/>
                      <a:pt x="215" y="172"/>
                      <a:pt x="218" y="183"/>
                    </a:cubicBezTo>
                    <a:cubicBezTo>
                      <a:pt x="221" y="193"/>
                      <a:pt x="215" y="230"/>
                      <a:pt x="220" y="236"/>
                    </a:cubicBezTo>
                    <a:cubicBezTo>
                      <a:pt x="225" y="241"/>
                      <a:pt x="227" y="248"/>
                      <a:pt x="234" y="247"/>
                    </a:cubicBezTo>
                    <a:cubicBezTo>
                      <a:pt x="241" y="246"/>
                      <a:pt x="256" y="238"/>
                      <a:pt x="260" y="245"/>
                    </a:cubicBezTo>
                    <a:cubicBezTo>
                      <a:pt x="263" y="252"/>
                      <a:pt x="268" y="259"/>
                      <a:pt x="260" y="269"/>
                    </a:cubicBezTo>
                    <a:cubicBezTo>
                      <a:pt x="253" y="278"/>
                      <a:pt x="247" y="281"/>
                      <a:pt x="239" y="274"/>
                    </a:cubicBezTo>
                    <a:cubicBezTo>
                      <a:pt x="230" y="267"/>
                      <a:pt x="221" y="250"/>
                      <a:pt x="209" y="247"/>
                    </a:cubicBezTo>
                    <a:cubicBezTo>
                      <a:pt x="198" y="245"/>
                      <a:pt x="176" y="243"/>
                      <a:pt x="174" y="243"/>
                    </a:cubicBezTo>
                    <a:close/>
                    <a:moveTo>
                      <a:pt x="108" y="215"/>
                    </a:moveTo>
                    <a:cubicBezTo>
                      <a:pt x="109" y="216"/>
                      <a:pt x="102" y="238"/>
                      <a:pt x="93" y="254"/>
                    </a:cubicBezTo>
                    <a:cubicBezTo>
                      <a:pt x="84" y="271"/>
                      <a:pt x="81" y="271"/>
                      <a:pt x="73" y="283"/>
                    </a:cubicBezTo>
                    <a:cubicBezTo>
                      <a:pt x="65" y="295"/>
                      <a:pt x="45" y="309"/>
                      <a:pt x="44" y="316"/>
                    </a:cubicBezTo>
                    <a:cubicBezTo>
                      <a:pt x="43" y="323"/>
                      <a:pt x="41" y="343"/>
                      <a:pt x="43" y="350"/>
                    </a:cubicBezTo>
                    <a:cubicBezTo>
                      <a:pt x="44" y="357"/>
                      <a:pt x="61" y="358"/>
                      <a:pt x="69" y="357"/>
                    </a:cubicBezTo>
                    <a:cubicBezTo>
                      <a:pt x="77" y="355"/>
                      <a:pt x="84" y="347"/>
                      <a:pt x="91" y="347"/>
                    </a:cubicBezTo>
                    <a:cubicBezTo>
                      <a:pt x="98" y="347"/>
                      <a:pt x="96" y="355"/>
                      <a:pt x="97" y="361"/>
                    </a:cubicBezTo>
                    <a:cubicBezTo>
                      <a:pt x="97" y="366"/>
                      <a:pt x="101" y="368"/>
                      <a:pt x="118" y="372"/>
                    </a:cubicBezTo>
                    <a:cubicBezTo>
                      <a:pt x="136" y="377"/>
                      <a:pt x="140" y="364"/>
                      <a:pt x="144" y="352"/>
                    </a:cubicBezTo>
                    <a:cubicBezTo>
                      <a:pt x="148" y="339"/>
                      <a:pt x="140" y="339"/>
                      <a:pt x="136" y="328"/>
                    </a:cubicBezTo>
                    <a:cubicBezTo>
                      <a:pt x="133" y="316"/>
                      <a:pt x="136" y="302"/>
                      <a:pt x="136" y="292"/>
                    </a:cubicBezTo>
                    <a:cubicBezTo>
                      <a:pt x="135" y="281"/>
                      <a:pt x="141" y="272"/>
                      <a:pt x="147" y="265"/>
                    </a:cubicBezTo>
                    <a:cubicBezTo>
                      <a:pt x="153" y="258"/>
                      <a:pt x="160" y="248"/>
                      <a:pt x="186" y="258"/>
                    </a:cubicBezTo>
                    <a:cubicBezTo>
                      <a:pt x="212" y="267"/>
                      <a:pt x="239" y="298"/>
                      <a:pt x="242" y="306"/>
                    </a:cubicBezTo>
                    <a:cubicBezTo>
                      <a:pt x="245" y="313"/>
                      <a:pt x="232" y="318"/>
                      <a:pt x="227" y="325"/>
                    </a:cubicBezTo>
                    <a:cubicBezTo>
                      <a:pt x="222" y="332"/>
                      <a:pt x="196" y="338"/>
                      <a:pt x="186" y="337"/>
                    </a:cubicBezTo>
                    <a:cubicBezTo>
                      <a:pt x="175" y="336"/>
                      <a:pt x="172" y="344"/>
                      <a:pt x="167" y="348"/>
                    </a:cubicBezTo>
                    <a:cubicBezTo>
                      <a:pt x="162" y="351"/>
                      <a:pt x="167" y="361"/>
                      <a:pt x="172" y="367"/>
                    </a:cubicBezTo>
                    <a:cubicBezTo>
                      <a:pt x="177" y="373"/>
                      <a:pt x="211" y="373"/>
                      <a:pt x="224" y="364"/>
                    </a:cubicBezTo>
                    <a:cubicBezTo>
                      <a:pt x="237" y="354"/>
                      <a:pt x="272" y="328"/>
                      <a:pt x="272" y="328"/>
                    </a:cubicBezTo>
                    <a:cubicBezTo>
                      <a:pt x="272" y="328"/>
                      <a:pt x="285" y="340"/>
                      <a:pt x="293" y="348"/>
                    </a:cubicBezTo>
                    <a:cubicBezTo>
                      <a:pt x="301" y="357"/>
                      <a:pt x="319" y="369"/>
                      <a:pt x="352" y="373"/>
                    </a:cubicBezTo>
                    <a:cubicBezTo>
                      <a:pt x="385" y="377"/>
                      <a:pt x="398" y="356"/>
                      <a:pt x="401" y="352"/>
                    </a:cubicBezTo>
                    <a:cubicBezTo>
                      <a:pt x="405" y="348"/>
                      <a:pt x="399" y="342"/>
                      <a:pt x="389" y="333"/>
                    </a:cubicBezTo>
                    <a:cubicBezTo>
                      <a:pt x="379" y="323"/>
                      <a:pt x="353" y="312"/>
                      <a:pt x="337" y="313"/>
                    </a:cubicBezTo>
                    <a:cubicBezTo>
                      <a:pt x="321" y="315"/>
                      <a:pt x="303" y="305"/>
                      <a:pt x="292" y="299"/>
                    </a:cubicBezTo>
                    <a:cubicBezTo>
                      <a:pt x="282" y="293"/>
                      <a:pt x="287" y="293"/>
                      <a:pt x="291" y="277"/>
                    </a:cubicBezTo>
                    <a:cubicBezTo>
                      <a:pt x="295" y="261"/>
                      <a:pt x="294" y="231"/>
                      <a:pt x="291" y="217"/>
                    </a:cubicBezTo>
                    <a:cubicBezTo>
                      <a:pt x="287" y="204"/>
                      <a:pt x="269" y="200"/>
                      <a:pt x="264" y="192"/>
                    </a:cubicBezTo>
                    <a:cubicBezTo>
                      <a:pt x="258" y="184"/>
                      <a:pt x="251" y="180"/>
                      <a:pt x="261" y="173"/>
                    </a:cubicBezTo>
                    <a:cubicBezTo>
                      <a:pt x="272" y="166"/>
                      <a:pt x="282" y="146"/>
                      <a:pt x="290" y="135"/>
                    </a:cubicBezTo>
                    <a:cubicBezTo>
                      <a:pt x="298" y="123"/>
                      <a:pt x="305" y="117"/>
                      <a:pt x="297" y="107"/>
                    </a:cubicBezTo>
                    <a:cubicBezTo>
                      <a:pt x="289" y="97"/>
                      <a:pt x="283" y="94"/>
                      <a:pt x="281" y="86"/>
                    </a:cubicBezTo>
                    <a:cubicBezTo>
                      <a:pt x="280" y="79"/>
                      <a:pt x="283" y="57"/>
                      <a:pt x="283" y="43"/>
                    </a:cubicBezTo>
                    <a:cubicBezTo>
                      <a:pt x="283" y="29"/>
                      <a:pt x="285" y="30"/>
                      <a:pt x="272" y="15"/>
                    </a:cubicBezTo>
                    <a:cubicBezTo>
                      <a:pt x="260" y="0"/>
                      <a:pt x="248" y="2"/>
                      <a:pt x="241" y="1"/>
                    </a:cubicBezTo>
                    <a:cubicBezTo>
                      <a:pt x="235" y="0"/>
                      <a:pt x="231" y="21"/>
                      <a:pt x="233" y="26"/>
                    </a:cubicBezTo>
                    <a:cubicBezTo>
                      <a:pt x="235" y="31"/>
                      <a:pt x="239" y="31"/>
                      <a:pt x="241" y="35"/>
                    </a:cubicBezTo>
                    <a:cubicBezTo>
                      <a:pt x="242" y="39"/>
                      <a:pt x="239" y="36"/>
                      <a:pt x="243" y="53"/>
                    </a:cubicBezTo>
                    <a:cubicBezTo>
                      <a:pt x="247" y="70"/>
                      <a:pt x="245" y="91"/>
                      <a:pt x="245" y="97"/>
                    </a:cubicBezTo>
                    <a:cubicBezTo>
                      <a:pt x="245" y="103"/>
                      <a:pt x="240" y="107"/>
                      <a:pt x="234" y="114"/>
                    </a:cubicBezTo>
                    <a:cubicBezTo>
                      <a:pt x="228" y="121"/>
                      <a:pt x="206" y="123"/>
                      <a:pt x="194" y="129"/>
                    </a:cubicBezTo>
                    <a:cubicBezTo>
                      <a:pt x="181" y="135"/>
                      <a:pt x="179" y="146"/>
                      <a:pt x="170" y="149"/>
                    </a:cubicBezTo>
                    <a:cubicBezTo>
                      <a:pt x="161" y="151"/>
                      <a:pt x="157" y="138"/>
                      <a:pt x="161" y="121"/>
                    </a:cubicBezTo>
                    <a:cubicBezTo>
                      <a:pt x="164" y="109"/>
                      <a:pt x="168" y="79"/>
                      <a:pt x="168" y="64"/>
                    </a:cubicBezTo>
                    <a:cubicBezTo>
                      <a:pt x="167" y="54"/>
                      <a:pt x="158" y="40"/>
                      <a:pt x="150" y="33"/>
                    </a:cubicBezTo>
                    <a:cubicBezTo>
                      <a:pt x="142" y="25"/>
                      <a:pt x="136" y="30"/>
                      <a:pt x="131" y="32"/>
                    </a:cubicBezTo>
                    <a:cubicBezTo>
                      <a:pt x="126" y="35"/>
                      <a:pt x="120" y="43"/>
                      <a:pt x="122" y="56"/>
                    </a:cubicBezTo>
                    <a:cubicBezTo>
                      <a:pt x="124" y="70"/>
                      <a:pt x="127" y="72"/>
                      <a:pt x="127" y="82"/>
                    </a:cubicBezTo>
                    <a:cubicBezTo>
                      <a:pt x="128" y="92"/>
                      <a:pt x="124" y="113"/>
                      <a:pt x="121" y="133"/>
                    </a:cubicBezTo>
                    <a:cubicBezTo>
                      <a:pt x="117" y="152"/>
                      <a:pt x="104" y="151"/>
                      <a:pt x="90" y="158"/>
                    </a:cubicBezTo>
                    <a:cubicBezTo>
                      <a:pt x="76" y="165"/>
                      <a:pt x="48" y="175"/>
                      <a:pt x="30" y="180"/>
                    </a:cubicBezTo>
                    <a:cubicBezTo>
                      <a:pt x="13" y="184"/>
                      <a:pt x="0" y="191"/>
                      <a:pt x="0" y="200"/>
                    </a:cubicBezTo>
                    <a:cubicBezTo>
                      <a:pt x="0" y="209"/>
                      <a:pt x="9" y="210"/>
                      <a:pt x="22" y="219"/>
                    </a:cubicBezTo>
                    <a:cubicBezTo>
                      <a:pt x="35" y="228"/>
                      <a:pt x="107" y="215"/>
                      <a:pt x="108" y="21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139" name="íŝļïḓè"/>
              <p:cNvSpPr/>
              <p:nvPr/>
            </p:nvSpPr>
            <p:spPr bwMode="auto">
              <a:xfrm>
                <a:off x="6220078" y="4756740"/>
                <a:ext cx="627063" cy="793750"/>
              </a:xfrm>
              <a:custGeom>
                <a:avLst/>
                <a:gdLst>
                  <a:gd name="T0" fmla="*/ 194 w 340"/>
                  <a:gd name="T1" fmla="*/ 225 h 430"/>
                  <a:gd name="T2" fmla="*/ 189 w 340"/>
                  <a:gd name="T3" fmla="*/ 204 h 430"/>
                  <a:gd name="T4" fmla="*/ 222 w 340"/>
                  <a:gd name="T5" fmla="*/ 196 h 430"/>
                  <a:gd name="T6" fmla="*/ 234 w 340"/>
                  <a:gd name="T7" fmla="*/ 215 h 430"/>
                  <a:gd name="T8" fmla="*/ 217 w 340"/>
                  <a:gd name="T9" fmla="*/ 231 h 430"/>
                  <a:gd name="T10" fmla="*/ 194 w 340"/>
                  <a:gd name="T11" fmla="*/ 225 h 430"/>
                  <a:gd name="T12" fmla="*/ 33 w 340"/>
                  <a:gd name="T13" fmla="*/ 228 h 430"/>
                  <a:gd name="T14" fmla="*/ 67 w 340"/>
                  <a:gd name="T15" fmla="*/ 224 h 430"/>
                  <a:gd name="T16" fmla="*/ 105 w 340"/>
                  <a:gd name="T17" fmla="*/ 194 h 430"/>
                  <a:gd name="T18" fmla="*/ 164 w 340"/>
                  <a:gd name="T19" fmla="*/ 151 h 430"/>
                  <a:gd name="T20" fmla="*/ 170 w 340"/>
                  <a:gd name="T21" fmla="*/ 163 h 430"/>
                  <a:gd name="T22" fmla="*/ 144 w 340"/>
                  <a:gd name="T23" fmla="*/ 203 h 430"/>
                  <a:gd name="T24" fmla="*/ 142 w 340"/>
                  <a:gd name="T25" fmla="*/ 250 h 430"/>
                  <a:gd name="T26" fmla="*/ 166 w 340"/>
                  <a:gd name="T27" fmla="*/ 278 h 430"/>
                  <a:gd name="T28" fmla="*/ 170 w 340"/>
                  <a:gd name="T29" fmla="*/ 300 h 430"/>
                  <a:gd name="T30" fmla="*/ 132 w 340"/>
                  <a:gd name="T31" fmla="*/ 347 h 430"/>
                  <a:gd name="T32" fmla="*/ 133 w 340"/>
                  <a:gd name="T33" fmla="*/ 397 h 430"/>
                  <a:gd name="T34" fmla="*/ 181 w 340"/>
                  <a:gd name="T35" fmla="*/ 410 h 430"/>
                  <a:gd name="T36" fmla="*/ 184 w 340"/>
                  <a:gd name="T37" fmla="*/ 375 h 430"/>
                  <a:gd name="T38" fmla="*/ 198 w 340"/>
                  <a:gd name="T39" fmla="*/ 374 h 430"/>
                  <a:gd name="T40" fmla="*/ 215 w 340"/>
                  <a:gd name="T41" fmla="*/ 416 h 430"/>
                  <a:gd name="T42" fmla="*/ 240 w 340"/>
                  <a:gd name="T43" fmla="*/ 406 h 430"/>
                  <a:gd name="T44" fmla="*/ 230 w 340"/>
                  <a:gd name="T45" fmla="*/ 341 h 430"/>
                  <a:gd name="T46" fmla="*/ 250 w 340"/>
                  <a:gd name="T47" fmla="*/ 322 h 430"/>
                  <a:gd name="T48" fmla="*/ 268 w 340"/>
                  <a:gd name="T49" fmla="*/ 373 h 430"/>
                  <a:gd name="T50" fmla="*/ 316 w 340"/>
                  <a:gd name="T51" fmla="*/ 385 h 430"/>
                  <a:gd name="T52" fmla="*/ 295 w 340"/>
                  <a:gd name="T53" fmla="*/ 310 h 430"/>
                  <a:gd name="T54" fmla="*/ 263 w 340"/>
                  <a:gd name="T55" fmla="*/ 288 h 430"/>
                  <a:gd name="T56" fmla="*/ 264 w 340"/>
                  <a:gd name="T57" fmla="*/ 259 h 430"/>
                  <a:gd name="T58" fmla="*/ 265 w 340"/>
                  <a:gd name="T59" fmla="*/ 233 h 430"/>
                  <a:gd name="T60" fmla="*/ 300 w 340"/>
                  <a:gd name="T61" fmla="*/ 199 h 430"/>
                  <a:gd name="T62" fmla="*/ 275 w 340"/>
                  <a:gd name="T63" fmla="*/ 161 h 430"/>
                  <a:gd name="T64" fmla="*/ 217 w 340"/>
                  <a:gd name="T65" fmla="*/ 159 h 430"/>
                  <a:gd name="T66" fmla="*/ 270 w 340"/>
                  <a:gd name="T67" fmla="*/ 132 h 430"/>
                  <a:gd name="T68" fmla="*/ 316 w 340"/>
                  <a:gd name="T69" fmla="*/ 126 h 430"/>
                  <a:gd name="T70" fmla="*/ 332 w 340"/>
                  <a:gd name="T71" fmla="*/ 110 h 430"/>
                  <a:gd name="T72" fmla="*/ 321 w 340"/>
                  <a:gd name="T73" fmla="*/ 75 h 430"/>
                  <a:gd name="T74" fmla="*/ 256 w 340"/>
                  <a:gd name="T75" fmla="*/ 74 h 430"/>
                  <a:gd name="T76" fmla="*/ 240 w 340"/>
                  <a:gd name="T77" fmla="*/ 51 h 430"/>
                  <a:gd name="T78" fmla="*/ 212 w 340"/>
                  <a:gd name="T79" fmla="*/ 9 h 430"/>
                  <a:gd name="T80" fmla="*/ 190 w 340"/>
                  <a:gd name="T81" fmla="*/ 6 h 430"/>
                  <a:gd name="T82" fmla="*/ 174 w 340"/>
                  <a:gd name="T83" fmla="*/ 34 h 430"/>
                  <a:gd name="T84" fmla="*/ 183 w 340"/>
                  <a:gd name="T85" fmla="*/ 70 h 430"/>
                  <a:gd name="T86" fmla="*/ 172 w 340"/>
                  <a:gd name="T87" fmla="*/ 98 h 430"/>
                  <a:gd name="T88" fmla="*/ 65 w 340"/>
                  <a:gd name="T89" fmla="*/ 161 h 430"/>
                  <a:gd name="T90" fmla="*/ 21 w 340"/>
                  <a:gd name="T91" fmla="*/ 171 h 430"/>
                  <a:gd name="T92" fmla="*/ 10 w 340"/>
                  <a:gd name="T93" fmla="*/ 198 h 430"/>
                  <a:gd name="T94" fmla="*/ 33 w 340"/>
                  <a:gd name="T95" fmla="*/ 228 h 4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340" h="430">
                    <a:moveTo>
                      <a:pt x="194" y="225"/>
                    </a:moveTo>
                    <a:cubicBezTo>
                      <a:pt x="194" y="225"/>
                      <a:pt x="178" y="212"/>
                      <a:pt x="189" y="204"/>
                    </a:cubicBezTo>
                    <a:cubicBezTo>
                      <a:pt x="201" y="196"/>
                      <a:pt x="211" y="188"/>
                      <a:pt x="222" y="196"/>
                    </a:cubicBezTo>
                    <a:cubicBezTo>
                      <a:pt x="234" y="203"/>
                      <a:pt x="238" y="207"/>
                      <a:pt x="234" y="215"/>
                    </a:cubicBezTo>
                    <a:cubicBezTo>
                      <a:pt x="230" y="222"/>
                      <a:pt x="228" y="229"/>
                      <a:pt x="217" y="231"/>
                    </a:cubicBezTo>
                    <a:cubicBezTo>
                      <a:pt x="204" y="230"/>
                      <a:pt x="194" y="225"/>
                      <a:pt x="194" y="225"/>
                    </a:cubicBezTo>
                    <a:close/>
                    <a:moveTo>
                      <a:pt x="33" y="228"/>
                    </a:moveTo>
                    <a:cubicBezTo>
                      <a:pt x="40" y="229"/>
                      <a:pt x="52" y="231"/>
                      <a:pt x="67" y="224"/>
                    </a:cubicBezTo>
                    <a:cubicBezTo>
                      <a:pt x="82" y="216"/>
                      <a:pt x="91" y="208"/>
                      <a:pt x="105" y="194"/>
                    </a:cubicBezTo>
                    <a:cubicBezTo>
                      <a:pt x="119" y="180"/>
                      <a:pt x="153" y="155"/>
                      <a:pt x="164" y="151"/>
                    </a:cubicBezTo>
                    <a:cubicBezTo>
                      <a:pt x="176" y="146"/>
                      <a:pt x="176" y="155"/>
                      <a:pt x="170" y="163"/>
                    </a:cubicBezTo>
                    <a:cubicBezTo>
                      <a:pt x="164" y="171"/>
                      <a:pt x="150" y="188"/>
                      <a:pt x="144" y="203"/>
                    </a:cubicBezTo>
                    <a:cubicBezTo>
                      <a:pt x="139" y="218"/>
                      <a:pt x="134" y="224"/>
                      <a:pt x="142" y="250"/>
                    </a:cubicBezTo>
                    <a:cubicBezTo>
                      <a:pt x="149" y="275"/>
                      <a:pt x="160" y="275"/>
                      <a:pt x="166" y="278"/>
                    </a:cubicBezTo>
                    <a:cubicBezTo>
                      <a:pt x="172" y="281"/>
                      <a:pt x="176" y="301"/>
                      <a:pt x="170" y="300"/>
                    </a:cubicBezTo>
                    <a:cubicBezTo>
                      <a:pt x="164" y="299"/>
                      <a:pt x="136" y="327"/>
                      <a:pt x="132" y="347"/>
                    </a:cubicBezTo>
                    <a:cubicBezTo>
                      <a:pt x="127" y="366"/>
                      <a:pt x="123" y="375"/>
                      <a:pt x="133" y="397"/>
                    </a:cubicBezTo>
                    <a:cubicBezTo>
                      <a:pt x="144" y="419"/>
                      <a:pt x="174" y="413"/>
                      <a:pt x="181" y="410"/>
                    </a:cubicBezTo>
                    <a:cubicBezTo>
                      <a:pt x="189" y="407"/>
                      <a:pt x="185" y="395"/>
                      <a:pt x="184" y="375"/>
                    </a:cubicBezTo>
                    <a:cubicBezTo>
                      <a:pt x="182" y="355"/>
                      <a:pt x="192" y="364"/>
                      <a:pt x="198" y="374"/>
                    </a:cubicBezTo>
                    <a:cubicBezTo>
                      <a:pt x="204" y="384"/>
                      <a:pt x="203" y="402"/>
                      <a:pt x="215" y="416"/>
                    </a:cubicBezTo>
                    <a:cubicBezTo>
                      <a:pt x="226" y="430"/>
                      <a:pt x="235" y="419"/>
                      <a:pt x="240" y="406"/>
                    </a:cubicBezTo>
                    <a:cubicBezTo>
                      <a:pt x="245" y="393"/>
                      <a:pt x="232" y="357"/>
                      <a:pt x="230" y="341"/>
                    </a:cubicBezTo>
                    <a:cubicBezTo>
                      <a:pt x="229" y="326"/>
                      <a:pt x="238" y="322"/>
                      <a:pt x="250" y="322"/>
                    </a:cubicBezTo>
                    <a:cubicBezTo>
                      <a:pt x="262" y="322"/>
                      <a:pt x="248" y="347"/>
                      <a:pt x="268" y="373"/>
                    </a:cubicBezTo>
                    <a:cubicBezTo>
                      <a:pt x="287" y="399"/>
                      <a:pt x="292" y="396"/>
                      <a:pt x="316" y="385"/>
                    </a:cubicBezTo>
                    <a:cubicBezTo>
                      <a:pt x="340" y="375"/>
                      <a:pt x="311" y="327"/>
                      <a:pt x="295" y="310"/>
                    </a:cubicBezTo>
                    <a:cubicBezTo>
                      <a:pt x="279" y="294"/>
                      <a:pt x="263" y="294"/>
                      <a:pt x="263" y="288"/>
                    </a:cubicBezTo>
                    <a:cubicBezTo>
                      <a:pt x="263" y="282"/>
                      <a:pt x="266" y="267"/>
                      <a:pt x="264" y="259"/>
                    </a:cubicBezTo>
                    <a:cubicBezTo>
                      <a:pt x="262" y="251"/>
                      <a:pt x="258" y="239"/>
                      <a:pt x="265" y="233"/>
                    </a:cubicBezTo>
                    <a:cubicBezTo>
                      <a:pt x="273" y="226"/>
                      <a:pt x="301" y="222"/>
                      <a:pt x="300" y="199"/>
                    </a:cubicBezTo>
                    <a:cubicBezTo>
                      <a:pt x="299" y="177"/>
                      <a:pt x="294" y="175"/>
                      <a:pt x="275" y="161"/>
                    </a:cubicBezTo>
                    <a:cubicBezTo>
                      <a:pt x="257" y="148"/>
                      <a:pt x="216" y="168"/>
                      <a:pt x="217" y="159"/>
                    </a:cubicBezTo>
                    <a:cubicBezTo>
                      <a:pt x="218" y="150"/>
                      <a:pt x="250" y="138"/>
                      <a:pt x="270" y="132"/>
                    </a:cubicBezTo>
                    <a:cubicBezTo>
                      <a:pt x="290" y="125"/>
                      <a:pt x="306" y="126"/>
                      <a:pt x="316" y="126"/>
                    </a:cubicBezTo>
                    <a:cubicBezTo>
                      <a:pt x="326" y="126"/>
                      <a:pt x="326" y="118"/>
                      <a:pt x="332" y="110"/>
                    </a:cubicBezTo>
                    <a:cubicBezTo>
                      <a:pt x="337" y="102"/>
                      <a:pt x="334" y="88"/>
                      <a:pt x="321" y="75"/>
                    </a:cubicBezTo>
                    <a:cubicBezTo>
                      <a:pt x="308" y="61"/>
                      <a:pt x="263" y="74"/>
                      <a:pt x="256" y="74"/>
                    </a:cubicBezTo>
                    <a:cubicBezTo>
                      <a:pt x="250" y="74"/>
                      <a:pt x="250" y="63"/>
                      <a:pt x="240" y="51"/>
                    </a:cubicBezTo>
                    <a:cubicBezTo>
                      <a:pt x="229" y="38"/>
                      <a:pt x="220" y="18"/>
                      <a:pt x="212" y="9"/>
                    </a:cubicBezTo>
                    <a:cubicBezTo>
                      <a:pt x="205" y="0"/>
                      <a:pt x="203" y="8"/>
                      <a:pt x="190" y="6"/>
                    </a:cubicBezTo>
                    <a:cubicBezTo>
                      <a:pt x="176" y="3"/>
                      <a:pt x="165" y="15"/>
                      <a:pt x="174" y="34"/>
                    </a:cubicBezTo>
                    <a:cubicBezTo>
                      <a:pt x="183" y="53"/>
                      <a:pt x="183" y="56"/>
                      <a:pt x="183" y="70"/>
                    </a:cubicBezTo>
                    <a:cubicBezTo>
                      <a:pt x="183" y="84"/>
                      <a:pt x="197" y="88"/>
                      <a:pt x="172" y="98"/>
                    </a:cubicBezTo>
                    <a:cubicBezTo>
                      <a:pt x="147" y="108"/>
                      <a:pt x="75" y="152"/>
                      <a:pt x="65" y="161"/>
                    </a:cubicBezTo>
                    <a:cubicBezTo>
                      <a:pt x="55" y="170"/>
                      <a:pt x="26" y="169"/>
                      <a:pt x="21" y="171"/>
                    </a:cubicBezTo>
                    <a:cubicBezTo>
                      <a:pt x="15" y="173"/>
                      <a:pt x="0" y="170"/>
                      <a:pt x="10" y="198"/>
                    </a:cubicBezTo>
                    <a:cubicBezTo>
                      <a:pt x="24" y="238"/>
                      <a:pt x="26" y="227"/>
                      <a:pt x="33" y="22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140" name="ïs1îḋè"/>
              <p:cNvSpPr/>
              <p:nvPr/>
            </p:nvSpPr>
            <p:spPr bwMode="auto">
              <a:xfrm>
                <a:off x="7263066" y="4780553"/>
                <a:ext cx="674688" cy="863600"/>
              </a:xfrm>
              <a:custGeom>
                <a:avLst/>
                <a:gdLst>
                  <a:gd name="T0" fmla="*/ 258 w 366"/>
                  <a:gd name="T1" fmla="*/ 136 h 468"/>
                  <a:gd name="T2" fmla="*/ 270 w 366"/>
                  <a:gd name="T3" fmla="*/ 115 h 468"/>
                  <a:gd name="T4" fmla="*/ 287 w 366"/>
                  <a:gd name="T5" fmla="*/ 153 h 468"/>
                  <a:gd name="T6" fmla="*/ 200 w 366"/>
                  <a:gd name="T7" fmla="*/ 103 h 468"/>
                  <a:gd name="T8" fmla="*/ 227 w 366"/>
                  <a:gd name="T9" fmla="*/ 122 h 468"/>
                  <a:gd name="T10" fmla="*/ 225 w 366"/>
                  <a:gd name="T11" fmla="*/ 167 h 468"/>
                  <a:gd name="T12" fmla="*/ 215 w 366"/>
                  <a:gd name="T13" fmla="*/ 201 h 468"/>
                  <a:gd name="T14" fmla="*/ 197 w 366"/>
                  <a:gd name="T15" fmla="*/ 167 h 468"/>
                  <a:gd name="T16" fmla="*/ 204 w 366"/>
                  <a:gd name="T17" fmla="*/ 133 h 468"/>
                  <a:gd name="T18" fmla="*/ 200 w 366"/>
                  <a:gd name="T19" fmla="*/ 103 h 468"/>
                  <a:gd name="T20" fmla="*/ 271 w 366"/>
                  <a:gd name="T21" fmla="*/ 175 h 468"/>
                  <a:gd name="T22" fmla="*/ 286 w 366"/>
                  <a:gd name="T23" fmla="*/ 190 h 468"/>
                  <a:gd name="T24" fmla="*/ 146 w 366"/>
                  <a:gd name="T25" fmla="*/ 109 h 468"/>
                  <a:gd name="T26" fmla="*/ 87 w 366"/>
                  <a:gd name="T27" fmla="*/ 173 h 468"/>
                  <a:gd name="T28" fmla="*/ 7 w 366"/>
                  <a:gd name="T29" fmla="*/ 236 h 468"/>
                  <a:gd name="T30" fmla="*/ 111 w 366"/>
                  <a:gd name="T31" fmla="*/ 239 h 468"/>
                  <a:gd name="T32" fmla="*/ 108 w 366"/>
                  <a:gd name="T33" fmla="*/ 279 h 468"/>
                  <a:gd name="T34" fmla="*/ 110 w 366"/>
                  <a:gd name="T35" fmla="*/ 332 h 468"/>
                  <a:gd name="T36" fmla="*/ 139 w 366"/>
                  <a:gd name="T37" fmla="*/ 316 h 468"/>
                  <a:gd name="T38" fmla="*/ 159 w 366"/>
                  <a:gd name="T39" fmla="*/ 326 h 468"/>
                  <a:gd name="T40" fmla="*/ 189 w 366"/>
                  <a:gd name="T41" fmla="*/ 330 h 468"/>
                  <a:gd name="T42" fmla="*/ 217 w 366"/>
                  <a:gd name="T43" fmla="*/ 281 h 468"/>
                  <a:gd name="T44" fmla="*/ 284 w 366"/>
                  <a:gd name="T45" fmla="*/ 237 h 468"/>
                  <a:gd name="T46" fmla="*/ 287 w 366"/>
                  <a:gd name="T47" fmla="*/ 396 h 468"/>
                  <a:gd name="T48" fmla="*/ 284 w 366"/>
                  <a:gd name="T49" fmla="*/ 461 h 468"/>
                  <a:gd name="T50" fmla="*/ 319 w 366"/>
                  <a:gd name="T51" fmla="*/ 393 h 468"/>
                  <a:gd name="T52" fmla="*/ 327 w 366"/>
                  <a:gd name="T53" fmla="*/ 227 h 468"/>
                  <a:gd name="T54" fmla="*/ 363 w 366"/>
                  <a:gd name="T55" fmla="*/ 202 h 468"/>
                  <a:gd name="T56" fmla="*/ 324 w 366"/>
                  <a:gd name="T57" fmla="*/ 162 h 468"/>
                  <a:gd name="T58" fmla="*/ 330 w 366"/>
                  <a:gd name="T59" fmla="*/ 85 h 468"/>
                  <a:gd name="T60" fmla="*/ 324 w 366"/>
                  <a:gd name="T61" fmla="*/ 23 h 468"/>
                  <a:gd name="T62" fmla="*/ 275 w 366"/>
                  <a:gd name="T63" fmla="*/ 29 h 468"/>
                  <a:gd name="T64" fmla="*/ 286 w 366"/>
                  <a:gd name="T65" fmla="*/ 69 h 468"/>
                  <a:gd name="T66" fmla="*/ 253 w 366"/>
                  <a:gd name="T67" fmla="*/ 65 h 468"/>
                  <a:gd name="T68" fmla="*/ 212 w 366"/>
                  <a:gd name="T69" fmla="*/ 52 h 468"/>
                  <a:gd name="T70" fmla="*/ 115 w 366"/>
                  <a:gd name="T71" fmla="*/ 68 h 468"/>
                  <a:gd name="T72" fmla="*/ 30 w 366"/>
                  <a:gd name="T73" fmla="*/ 163 h 468"/>
                  <a:gd name="T74" fmla="*/ 96 w 366"/>
                  <a:gd name="T75" fmla="*/ 132 h 4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366" h="468">
                    <a:moveTo>
                      <a:pt x="270" y="152"/>
                    </a:moveTo>
                    <a:cubicBezTo>
                      <a:pt x="270" y="152"/>
                      <a:pt x="273" y="146"/>
                      <a:pt x="258" y="136"/>
                    </a:cubicBezTo>
                    <a:cubicBezTo>
                      <a:pt x="242" y="126"/>
                      <a:pt x="247" y="126"/>
                      <a:pt x="254" y="122"/>
                    </a:cubicBezTo>
                    <a:cubicBezTo>
                      <a:pt x="261" y="119"/>
                      <a:pt x="262" y="114"/>
                      <a:pt x="270" y="115"/>
                    </a:cubicBezTo>
                    <a:cubicBezTo>
                      <a:pt x="279" y="116"/>
                      <a:pt x="285" y="112"/>
                      <a:pt x="287" y="120"/>
                    </a:cubicBezTo>
                    <a:cubicBezTo>
                      <a:pt x="289" y="128"/>
                      <a:pt x="291" y="151"/>
                      <a:pt x="287" y="153"/>
                    </a:cubicBezTo>
                    <a:cubicBezTo>
                      <a:pt x="284" y="155"/>
                      <a:pt x="271" y="153"/>
                      <a:pt x="270" y="152"/>
                    </a:cubicBezTo>
                    <a:close/>
                    <a:moveTo>
                      <a:pt x="200" y="103"/>
                    </a:moveTo>
                    <a:cubicBezTo>
                      <a:pt x="200" y="99"/>
                      <a:pt x="207" y="96"/>
                      <a:pt x="216" y="102"/>
                    </a:cubicBezTo>
                    <a:cubicBezTo>
                      <a:pt x="225" y="108"/>
                      <a:pt x="228" y="113"/>
                      <a:pt x="227" y="122"/>
                    </a:cubicBezTo>
                    <a:cubicBezTo>
                      <a:pt x="225" y="131"/>
                      <a:pt x="222" y="135"/>
                      <a:pt x="223" y="145"/>
                    </a:cubicBezTo>
                    <a:cubicBezTo>
                      <a:pt x="223" y="156"/>
                      <a:pt x="217" y="162"/>
                      <a:pt x="225" y="167"/>
                    </a:cubicBezTo>
                    <a:cubicBezTo>
                      <a:pt x="232" y="173"/>
                      <a:pt x="235" y="171"/>
                      <a:pt x="233" y="185"/>
                    </a:cubicBezTo>
                    <a:cubicBezTo>
                      <a:pt x="231" y="202"/>
                      <a:pt x="214" y="210"/>
                      <a:pt x="215" y="201"/>
                    </a:cubicBezTo>
                    <a:cubicBezTo>
                      <a:pt x="215" y="192"/>
                      <a:pt x="220" y="185"/>
                      <a:pt x="213" y="176"/>
                    </a:cubicBezTo>
                    <a:cubicBezTo>
                      <a:pt x="205" y="167"/>
                      <a:pt x="204" y="178"/>
                      <a:pt x="197" y="167"/>
                    </a:cubicBezTo>
                    <a:cubicBezTo>
                      <a:pt x="191" y="155"/>
                      <a:pt x="195" y="154"/>
                      <a:pt x="199" y="152"/>
                    </a:cubicBezTo>
                    <a:cubicBezTo>
                      <a:pt x="204" y="149"/>
                      <a:pt x="209" y="147"/>
                      <a:pt x="204" y="133"/>
                    </a:cubicBezTo>
                    <a:cubicBezTo>
                      <a:pt x="199" y="119"/>
                      <a:pt x="198" y="127"/>
                      <a:pt x="197" y="119"/>
                    </a:cubicBezTo>
                    <a:cubicBezTo>
                      <a:pt x="196" y="112"/>
                      <a:pt x="200" y="107"/>
                      <a:pt x="200" y="103"/>
                    </a:cubicBezTo>
                    <a:close/>
                    <a:moveTo>
                      <a:pt x="246" y="206"/>
                    </a:moveTo>
                    <a:cubicBezTo>
                      <a:pt x="243" y="205"/>
                      <a:pt x="264" y="181"/>
                      <a:pt x="271" y="175"/>
                    </a:cubicBezTo>
                    <a:cubicBezTo>
                      <a:pt x="277" y="170"/>
                      <a:pt x="289" y="166"/>
                      <a:pt x="288" y="173"/>
                    </a:cubicBezTo>
                    <a:cubicBezTo>
                      <a:pt x="287" y="180"/>
                      <a:pt x="291" y="185"/>
                      <a:pt x="286" y="190"/>
                    </a:cubicBezTo>
                    <a:cubicBezTo>
                      <a:pt x="282" y="195"/>
                      <a:pt x="250" y="207"/>
                      <a:pt x="246" y="206"/>
                    </a:cubicBezTo>
                    <a:close/>
                    <a:moveTo>
                      <a:pt x="146" y="109"/>
                    </a:moveTo>
                    <a:cubicBezTo>
                      <a:pt x="146" y="114"/>
                      <a:pt x="141" y="124"/>
                      <a:pt x="134" y="134"/>
                    </a:cubicBezTo>
                    <a:cubicBezTo>
                      <a:pt x="127" y="144"/>
                      <a:pt x="103" y="162"/>
                      <a:pt x="87" y="173"/>
                    </a:cubicBezTo>
                    <a:cubicBezTo>
                      <a:pt x="70" y="183"/>
                      <a:pt x="23" y="206"/>
                      <a:pt x="16" y="212"/>
                    </a:cubicBezTo>
                    <a:cubicBezTo>
                      <a:pt x="10" y="218"/>
                      <a:pt x="0" y="213"/>
                      <a:pt x="7" y="236"/>
                    </a:cubicBezTo>
                    <a:cubicBezTo>
                      <a:pt x="13" y="258"/>
                      <a:pt x="24" y="253"/>
                      <a:pt x="55" y="252"/>
                    </a:cubicBezTo>
                    <a:cubicBezTo>
                      <a:pt x="85" y="250"/>
                      <a:pt x="106" y="237"/>
                      <a:pt x="111" y="239"/>
                    </a:cubicBezTo>
                    <a:cubicBezTo>
                      <a:pt x="116" y="242"/>
                      <a:pt x="119" y="251"/>
                      <a:pt x="119" y="259"/>
                    </a:cubicBezTo>
                    <a:cubicBezTo>
                      <a:pt x="120" y="266"/>
                      <a:pt x="116" y="270"/>
                      <a:pt x="108" y="279"/>
                    </a:cubicBezTo>
                    <a:cubicBezTo>
                      <a:pt x="100" y="288"/>
                      <a:pt x="100" y="303"/>
                      <a:pt x="100" y="311"/>
                    </a:cubicBezTo>
                    <a:cubicBezTo>
                      <a:pt x="101" y="318"/>
                      <a:pt x="104" y="325"/>
                      <a:pt x="110" y="332"/>
                    </a:cubicBezTo>
                    <a:cubicBezTo>
                      <a:pt x="117" y="338"/>
                      <a:pt x="119" y="333"/>
                      <a:pt x="127" y="333"/>
                    </a:cubicBezTo>
                    <a:cubicBezTo>
                      <a:pt x="134" y="332"/>
                      <a:pt x="138" y="323"/>
                      <a:pt x="139" y="316"/>
                    </a:cubicBezTo>
                    <a:cubicBezTo>
                      <a:pt x="140" y="308"/>
                      <a:pt x="148" y="313"/>
                      <a:pt x="155" y="314"/>
                    </a:cubicBezTo>
                    <a:cubicBezTo>
                      <a:pt x="161" y="316"/>
                      <a:pt x="158" y="318"/>
                      <a:pt x="159" y="326"/>
                    </a:cubicBezTo>
                    <a:cubicBezTo>
                      <a:pt x="159" y="334"/>
                      <a:pt x="159" y="336"/>
                      <a:pt x="168" y="339"/>
                    </a:cubicBezTo>
                    <a:cubicBezTo>
                      <a:pt x="177" y="343"/>
                      <a:pt x="178" y="342"/>
                      <a:pt x="189" y="330"/>
                    </a:cubicBezTo>
                    <a:cubicBezTo>
                      <a:pt x="199" y="319"/>
                      <a:pt x="187" y="291"/>
                      <a:pt x="193" y="292"/>
                    </a:cubicBezTo>
                    <a:cubicBezTo>
                      <a:pt x="198" y="293"/>
                      <a:pt x="209" y="289"/>
                      <a:pt x="217" y="281"/>
                    </a:cubicBezTo>
                    <a:cubicBezTo>
                      <a:pt x="225" y="273"/>
                      <a:pt x="232" y="272"/>
                      <a:pt x="243" y="263"/>
                    </a:cubicBezTo>
                    <a:cubicBezTo>
                      <a:pt x="253" y="254"/>
                      <a:pt x="278" y="233"/>
                      <a:pt x="284" y="237"/>
                    </a:cubicBezTo>
                    <a:cubicBezTo>
                      <a:pt x="290" y="240"/>
                      <a:pt x="285" y="282"/>
                      <a:pt x="286" y="321"/>
                    </a:cubicBezTo>
                    <a:cubicBezTo>
                      <a:pt x="288" y="361"/>
                      <a:pt x="286" y="379"/>
                      <a:pt x="287" y="396"/>
                    </a:cubicBezTo>
                    <a:cubicBezTo>
                      <a:pt x="289" y="413"/>
                      <a:pt x="278" y="425"/>
                      <a:pt x="278" y="434"/>
                    </a:cubicBezTo>
                    <a:cubicBezTo>
                      <a:pt x="277" y="443"/>
                      <a:pt x="278" y="454"/>
                      <a:pt x="284" y="461"/>
                    </a:cubicBezTo>
                    <a:cubicBezTo>
                      <a:pt x="291" y="468"/>
                      <a:pt x="296" y="458"/>
                      <a:pt x="305" y="449"/>
                    </a:cubicBezTo>
                    <a:cubicBezTo>
                      <a:pt x="314" y="440"/>
                      <a:pt x="315" y="424"/>
                      <a:pt x="319" y="393"/>
                    </a:cubicBezTo>
                    <a:cubicBezTo>
                      <a:pt x="323" y="362"/>
                      <a:pt x="318" y="269"/>
                      <a:pt x="320" y="252"/>
                    </a:cubicBezTo>
                    <a:cubicBezTo>
                      <a:pt x="321" y="236"/>
                      <a:pt x="323" y="232"/>
                      <a:pt x="327" y="227"/>
                    </a:cubicBezTo>
                    <a:cubicBezTo>
                      <a:pt x="332" y="222"/>
                      <a:pt x="332" y="212"/>
                      <a:pt x="340" y="211"/>
                    </a:cubicBezTo>
                    <a:cubicBezTo>
                      <a:pt x="349" y="210"/>
                      <a:pt x="360" y="212"/>
                      <a:pt x="363" y="202"/>
                    </a:cubicBezTo>
                    <a:cubicBezTo>
                      <a:pt x="366" y="192"/>
                      <a:pt x="364" y="182"/>
                      <a:pt x="358" y="177"/>
                    </a:cubicBezTo>
                    <a:cubicBezTo>
                      <a:pt x="352" y="172"/>
                      <a:pt x="326" y="167"/>
                      <a:pt x="324" y="162"/>
                    </a:cubicBezTo>
                    <a:cubicBezTo>
                      <a:pt x="322" y="158"/>
                      <a:pt x="323" y="119"/>
                      <a:pt x="322" y="108"/>
                    </a:cubicBezTo>
                    <a:cubicBezTo>
                      <a:pt x="322" y="96"/>
                      <a:pt x="324" y="98"/>
                      <a:pt x="330" y="85"/>
                    </a:cubicBezTo>
                    <a:cubicBezTo>
                      <a:pt x="336" y="73"/>
                      <a:pt x="333" y="65"/>
                      <a:pt x="334" y="48"/>
                    </a:cubicBezTo>
                    <a:cubicBezTo>
                      <a:pt x="334" y="32"/>
                      <a:pt x="334" y="33"/>
                      <a:pt x="324" y="23"/>
                    </a:cubicBezTo>
                    <a:cubicBezTo>
                      <a:pt x="315" y="14"/>
                      <a:pt x="306" y="6"/>
                      <a:pt x="292" y="3"/>
                    </a:cubicBezTo>
                    <a:cubicBezTo>
                      <a:pt x="278" y="0"/>
                      <a:pt x="274" y="12"/>
                      <a:pt x="275" y="29"/>
                    </a:cubicBezTo>
                    <a:cubicBezTo>
                      <a:pt x="275" y="47"/>
                      <a:pt x="278" y="37"/>
                      <a:pt x="282" y="43"/>
                    </a:cubicBezTo>
                    <a:cubicBezTo>
                      <a:pt x="286" y="49"/>
                      <a:pt x="285" y="62"/>
                      <a:pt x="286" y="69"/>
                    </a:cubicBezTo>
                    <a:cubicBezTo>
                      <a:pt x="287" y="76"/>
                      <a:pt x="283" y="77"/>
                      <a:pt x="274" y="77"/>
                    </a:cubicBezTo>
                    <a:cubicBezTo>
                      <a:pt x="265" y="78"/>
                      <a:pt x="268" y="69"/>
                      <a:pt x="253" y="65"/>
                    </a:cubicBezTo>
                    <a:cubicBezTo>
                      <a:pt x="238" y="60"/>
                      <a:pt x="225" y="74"/>
                      <a:pt x="218" y="72"/>
                    </a:cubicBezTo>
                    <a:cubicBezTo>
                      <a:pt x="212" y="71"/>
                      <a:pt x="215" y="68"/>
                      <a:pt x="212" y="52"/>
                    </a:cubicBezTo>
                    <a:cubicBezTo>
                      <a:pt x="209" y="36"/>
                      <a:pt x="191" y="26"/>
                      <a:pt x="177" y="26"/>
                    </a:cubicBezTo>
                    <a:cubicBezTo>
                      <a:pt x="164" y="26"/>
                      <a:pt x="135" y="52"/>
                      <a:pt x="115" y="68"/>
                    </a:cubicBezTo>
                    <a:cubicBezTo>
                      <a:pt x="96" y="84"/>
                      <a:pt x="55" y="129"/>
                      <a:pt x="47" y="139"/>
                    </a:cubicBezTo>
                    <a:cubicBezTo>
                      <a:pt x="39" y="149"/>
                      <a:pt x="30" y="156"/>
                      <a:pt x="30" y="163"/>
                    </a:cubicBezTo>
                    <a:cubicBezTo>
                      <a:pt x="30" y="170"/>
                      <a:pt x="28" y="170"/>
                      <a:pt x="39" y="172"/>
                    </a:cubicBezTo>
                    <a:cubicBezTo>
                      <a:pt x="49" y="174"/>
                      <a:pt x="64" y="154"/>
                      <a:pt x="96" y="132"/>
                    </a:cubicBezTo>
                    <a:cubicBezTo>
                      <a:pt x="128" y="110"/>
                      <a:pt x="147" y="103"/>
                      <a:pt x="146" y="10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141" name="îš1ïdè"/>
              <p:cNvSpPr/>
              <p:nvPr/>
            </p:nvSpPr>
            <p:spPr bwMode="auto">
              <a:xfrm>
                <a:off x="5180266" y="4845640"/>
                <a:ext cx="635000" cy="660400"/>
              </a:xfrm>
              <a:custGeom>
                <a:avLst/>
                <a:gdLst>
                  <a:gd name="T0" fmla="*/ 5 w 344"/>
                  <a:gd name="T1" fmla="*/ 147 h 358"/>
                  <a:gd name="T2" fmla="*/ 38 w 344"/>
                  <a:gd name="T3" fmla="*/ 142 h 358"/>
                  <a:gd name="T4" fmla="*/ 53 w 344"/>
                  <a:gd name="T5" fmla="*/ 125 h 358"/>
                  <a:gd name="T6" fmla="*/ 43 w 344"/>
                  <a:gd name="T7" fmla="*/ 70 h 358"/>
                  <a:gd name="T8" fmla="*/ 48 w 344"/>
                  <a:gd name="T9" fmla="*/ 43 h 358"/>
                  <a:gd name="T10" fmla="*/ 76 w 344"/>
                  <a:gd name="T11" fmla="*/ 45 h 358"/>
                  <a:gd name="T12" fmla="*/ 122 w 344"/>
                  <a:gd name="T13" fmla="*/ 89 h 358"/>
                  <a:gd name="T14" fmla="*/ 122 w 344"/>
                  <a:gd name="T15" fmla="*/ 185 h 358"/>
                  <a:gd name="T16" fmla="*/ 141 w 344"/>
                  <a:gd name="T17" fmla="*/ 192 h 358"/>
                  <a:gd name="T18" fmla="*/ 231 w 344"/>
                  <a:gd name="T19" fmla="*/ 135 h 358"/>
                  <a:gd name="T20" fmla="*/ 241 w 344"/>
                  <a:gd name="T21" fmla="*/ 87 h 358"/>
                  <a:gd name="T22" fmla="*/ 234 w 344"/>
                  <a:gd name="T23" fmla="*/ 48 h 358"/>
                  <a:gd name="T24" fmla="*/ 263 w 344"/>
                  <a:gd name="T25" fmla="*/ 17 h 358"/>
                  <a:gd name="T26" fmla="*/ 298 w 344"/>
                  <a:gd name="T27" fmla="*/ 76 h 358"/>
                  <a:gd name="T28" fmla="*/ 292 w 344"/>
                  <a:gd name="T29" fmla="*/ 111 h 358"/>
                  <a:gd name="T30" fmla="*/ 317 w 344"/>
                  <a:gd name="T31" fmla="*/ 138 h 358"/>
                  <a:gd name="T32" fmla="*/ 292 w 344"/>
                  <a:gd name="T33" fmla="*/ 181 h 358"/>
                  <a:gd name="T34" fmla="*/ 270 w 344"/>
                  <a:gd name="T35" fmla="*/ 217 h 358"/>
                  <a:gd name="T36" fmla="*/ 276 w 344"/>
                  <a:gd name="T37" fmla="*/ 252 h 358"/>
                  <a:gd name="T38" fmla="*/ 334 w 344"/>
                  <a:gd name="T39" fmla="*/ 270 h 358"/>
                  <a:gd name="T40" fmla="*/ 333 w 344"/>
                  <a:gd name="T41" fmla="*/ 304 h 358"/>
                  <a:gd name="T42" fmla="*/ 226 w 344"/>
                  <a:gd name="T43" fmla="*/ 338 h 358"/>
                  <a:gd name="T44" fmla="*/ 166 w 344"/>
                  <a:gd name="T45" fmla="*/ 352 h 358"/>
                  <a:gd name="T46" fmla="*/ 191 w 344"/>
                  <a:gd name="T47" fmla="*/ 319 h 358"/>
                  <a:gd name="T48" fmla="*/ 228 w 344"/>
                  <a:gd name="T49" fmla="*/ 287 h 358"/>
                  <a:gd name="T50" fmla="*/ 231 w 344"/>
                  <a:gd name="T51" fmla="*/ 223 h 358"/>
                  <a:gd name="T52" fmla="*/ 194 w 344"/>
                  <a:gd name="T53" fmla="*/ 194 h 358"/>
                  <a:gd name="T54" fmla="*/ 152 w 344"/>
                  <a:gd name="T55" fmla="*/ 228 h 358"/>
                  <a:gd name="T56" fmla="*/ 55 w 344"/>
                  <a:gd name="T57" fmla="*/ 337 h 358"/>
                  <a:gd name="T58" fmla="*/ 21 w 344"/>
                  <a:gd name="T59" fmla="*/ 316 h 358"/>
                  <a:gd name="T60" fmla="*/ 30 w 344"/>
                  <a:gd name="T61" fmla="*/ 260 h 358"/>
                  <a:gd name="T62" fmla="*/ 53 w 344"/>
                  <a:gd name="T63" fmla="*/ 228 h 358"/>
                  <a:gd name="T64" fmla="*/ 37 w 344"/>
                  <a:gd name="T65" fmla="*/ 201 h 358"/>
                  <a:gd name="T66" fmla="*/ 1 w 344"/>
                  <a:gd name="T67" fmla="*/ 170 h 358"/>
                  <a:gd name="T68" fmla="*/ 5 w 344"/>
                  <a:gd name="T69" fmla="*/ 147 h 3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344" h="358">
                    <a:moveTo>
                      <a:pt x="5" y="147"/>
                    </a:moveTo>
                    <a:cubicBezTo>
                      <a:pt x="6" y="143"/>
                      <a:pt x="22" y="140"/>
                      <a:pt x="38" y="142"/>
                    </a:cubicBezTo>
                    <a:cubicBezTo>
                      <a:pt x="54" y="144"/>
                      <a:pt x="53" y="137"/>
                      <a:pt x="53" y="125"/>
                    </a:cubicBezTo>
                    <a:cubicBezTo>
                      <a:pt x="53" y="112"/>
                      <a:pt x="60" y="89"/>
                      <a:pt x="43" y="70"/>
                    </a:cubicBezTo>
                    <a:cubicBezTo>
                      <a:pt x="25" y="52"/>
                      <a:pt x="48" y="43"/>
                      <a:pt x="48" y="43"/>
                    </a:cubicBezTo>
                    <a:cubicBezTo>
                      <a:pt x="48" y="43"/>
                      <a:pt x="55" y="32"/>
                      <a:pt x="76" y="45"/>
                    </a:cubicBezTo>
                    <a:cubicBezTo>
                      <a:pt x="97" y="58"/>
                      <a:pt x="115" y="74"/>
                      <a:pt x="122" y="89"/>
                    </a:cubicBezTo>
                    <a:cubicBezTo>
                      <a:pt x="129" y="104"/>
                      <a:pt x="118" y="174"/>
                      <a:pt x="122" y="185"/>
                    </a:cubicBezTo>
                    <a:cubicBezTo>
                      <a:pt x="125" y="195"/>
                      <a:pt x="130" y="200"/>
                      <a:pt x="141" y="192"/>
                    </a:cubicBezTo>
                    <a:cubicBezTo>
                      <a:pt x="153" y="183"/>
                      <a:pt x="214" y="138"/>
                      <a:pt x="231" y="135"/>
                    </a:cubicBezTo>
                    <a:cubicBezTo>
                      <a:pt x="249" y="132"/>
                      <a:pt x="241" y="103"/>
                      <a:pt x="241" y="87"/>
                    </a:cubicBezTo>
                    <a:cubicBezTo>
                      <a:pt x="242" y="70"/>
                      <a:pt x="234" y="59"/>
                      <a:pt x="234" y="48"/>
                    </a:cubicBezTo>
                    <a:cubicBezTo>
                      <a:pt x="234" y="36"/>
                      <a:pt x="247" y="0"/>
                      <a:pt x="263" y="17"/>
                    </a:cubicBezTo>
                    <a:cubicBezTo>
                      <a:pt x="279" y="35"/>
                      <a:pt x="303" y="58"/>
                      <a:pt x="298" y="76"/>
                    </a:cubicBezTo>
                    <a:cubicBezTo>
                      <a:pt x="294" y="95"/>
                      <a:pt x="283" y="92"/>
                      <a:pt x="292" y="111"/>
                    </a:cubicBezTo>
                    <a:cubicBezTo>
                      <a:pt x="301" y="129"/>
                      <a:pt x="320" y="117"/>
                      <a:pt x="317" y="138"/>
                    </a:cubicBezTo>
                    <a:cubicBezTo>
                      <a:pt x="315" y="160"/>
                      <a:pt x="321" y="149"/>
                      <a:pt x="292" y="181"/>
                    </a:cubicBezTo>
                    <a:cubicBezTo>
                      <a:pt x="268" y="209"/>
                      <a:pt x="270" y="208"/>
                      <a:pt x="270" y="217"/>
                    </a:cubicBezTo>
                    <a:cubicBezTo>
                      <a:pt x="270" y="226"/>
                      <a:pt x="266" y="249"/>
                      <a:pt x="276" y="252"/>
                    </a:cubicBezTo>
                    <a:cubicBezTo>
                      <a:pt x="287" y="254"/>
                      <a:pt x="325" y="250"/>
                      <a:pt x="334" y="270"/>
                    </a:cubicBezTo>
                    <a:cubicBezTo>
                      <a:pt x="344" y="290"/>
                      <a:pt x="344" y="295"/>
                      <a:pt x="333" y="304"/>
                    </a:cubicBezTo>
                    <a:cubicBezTo>
                      <a:pt x="321" y="312"/>
                      <a:pt x="288" y="320"/>
                      <a:pt x="226" y="338"/>
                    </a:cubicBezTo>
                    <a:cubicBezTo>
                      <a:pt x="180" y="351"/>
                      <a:pt x="168" y="358"/>
                      <a:pt x="166" y="352"/>
                    </a:cubicBezTo>
                    <a:cubicBezTo>
                      <a:pt x="164" y="346"/>
                      <a:pt x="175" y="331"/>
                      <a:pt x="191" y="319"/>
                    </a:cubicBezTo>
                    <a:cubicBezTo>
                      <a:pt x="207" y="307"/>
                      <a:pt x="224" y="304"/>
                      <a:pt x="228" y="287"/>
                    </a:cubicBezTo>
                    <a:cubicBezTo>
                      <a:pt x="232" y="270"/>
                      <a:pt x="235" y="234"/>
                      <a:pt x="231" y="223"/>
                    </a:cubicBezTo>
                    <a:cubicBezTo>
                      <a:pt x="227" y="212"/>
                      <a:pt x="213" y="188"/>
                      <a:pt x="194" y="194"/>
                    </a:cubicBezTo>
                    <a:cubicBezTo>
                      <a:pt x="176" y="200"/>
                      <a:pt x="166" y="210"/>
                      <a:pt x="152" y="228"/>
                    </a:cubicBezTo>
                    <a:cubicBezTo>
                      <a:pt x="138" y="247"/>
                      <a:pt x="66" y="336"/>
                      <a:pt x="55" y="337"/>
                    </a:cubicBezTo>
                    <a:cubicBezTo>
                      <a:pt x="45" y="338"/>
                      <a:pt x="22" y="340"/>
                      <a:pt x="21" y="316"/>
                    </a:cubicBezTo>
                    <a:cubicBezTo>
                      <a:pt x="20" y="292"/>
                      <a:pt x="16" y="285"/>
                      <a:pt x="30" y="260"/>
                    </a:cubicBezTo>
                    <a:cubicBezTo>
                      <a:pt x="44" y="234"/>
                      <a:pt x="53" y="241"/>
                      <a:pt x="53" y="228"/>
                    </a:cubicBezTo>
                    <a:cubicBezTo>
                      <a:pt x="53" y="216"/>
                      <a:pt x="47" y="207"/>
                      <a:pt x="37" y="201"/>
                    </a:cubicBezTo>
                    <a:cubicBezTo>
                      <a:pt x="27" y="195"/>
                      <a:pt x="2" y="182"/>
                      <a:pt x="1" y="170"/>
                    </a:cubicBezTo>
                    <a:cubicBezTo>
                      <a:pt x="0" y="157"/>
                      <a:pt x="4" y="150"/>
                      <a:pt x="5" y="14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142" name="ï$líḋé"/>
              <p:cNvSpPr/>
              <p:nvPr/>
            </p:nvSpPr>
            <p:spPr bwMode="auto">
              <a:xfrm>
                <a:off x="5596191" y="5675903"/>
                <a:ext cx="25400" cy="30163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143" name="işḷíḓè"/>
              <p:cNvSpPr/>
              <p:nvPr/>
            </p:nvSpPr>
            <p:spPr bwMode="auto">
              <a:xfrm>
                <a:off x="5596191" y="5733053"/>
                <a:ext cx="25400" cy="149225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144" name="ïSḷîḋé"/>
              <p:cNvSpPr/>
              <p:nvPr/>
            </p:nvSpPr>
            <p:spPr bwMode="auto">
              <a:xfrm>
                <a:off x="5645403" y="5733053"/>
                <a:ext cx="136525" cy="149225"/>
              </a:xfrm>
              <a:custGeom>
                <a:avLst/>
                <a:gdLst>
                  <a:gd name="T0" fmla="*/ 42 w 74"/>
                  <a:gd name="T1" fmla="*/ 50 h 81"/>
                  <a:gd name="T2" fmla="*/ 37 w 74"/>
                  <a:gd name="T3" fmla="*/ 65 h 81"/>
                  <a:gd name="T4" fmla="*/ 32 w 74"/>
                  <a:gd name="T5" fmla="*/ 49 h 81"/>
                  <a:gd name="T6" fmla="*/ 14 w 74"/>
                  <a:gd name="T7" fmla="*/ 0 h 81"/>
                  <a:gd name="T8" fmla="*/ 0 w 74"/>
                  <a:gd name="T9" fmla="*/ 0 h 81"/>
                  <a:gd name="T10" fmla="*/ 31 w 74"/>
                  <a:gd name="T11" fmla="*/ 81 h 81"/>
                  <a:gd name="T12" fmla="*/ 44 w 74"/>
                  <a:gd name="T13" fmla="*/ 81 h 81"/>
                  <a:gd name="T14" fmla="*/ 74 w 74"/>
                  <a:gd name="T15" fmla="*/ 0 h 81"/>
                  <a:gd name="T16" fmla="*/ 60 w 74"/>
                  <a:gd name="T17" fmla="*/ 0 h 81"/>
                  <a:gd name="T18" fmla="*/ 42 w 74"/>
                  <a:gd name="T19" fmla="*/ 50 h 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74" h="81">
                    <a:moveTo>
                      <a:pt x="42" y="50"/>
                    </a:moveTo>
                    <a:cubicBezTo>
                      <a:pt x="40" y="56"/>
                      <a:pt x="38" y="61"/>
                      <a:pt x="37" y="65"/>
                    </a:cubicBezTo>
                    <a:cubicBezTo>
                      <a:pt x="35" y="59"/>
                      <a:pt x="34" y="54"/>
                      <a:pt x="32" y="49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31" y="81"/>
                      <a:pt x="31" y="81"/>
                      <a:pt x="31" y="81"/>
                    </a:cubicBezTo>
                    <a:cubicBezTo>
                      <a:pt x="44" y="81"/>
                      <a:pt x="44" y="81"/>
                      <a:pt x="44" y="81"/>
                    </a:cubicBezTo>
                    <a:cubicBezTo>
                      <a:pt x="74" y="0"/>
                      <a:pt x="74" y="0"/>
                      <a:pt x="74" y="0"/>
                    </a:cubicBezTo>
                    <a:cubicBezTo>
                      <a:pt x="60" y="0"/>
                      <a:pt x="60" y="0"/>
                      <a:pt x="60" y="0"/>
                    </a:cubicBezTo>
                    <a:lnTo>
                      <a:pt x="42" y="5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145" name="išḷiḓé"/>
              <p:cNvSpPr/>
              <p:nvPr/>
            </p:nvSpPr>
            <p:spPr bwMode="auto">
              <a:xfrm>
                <a:off x="5796216" y="5729878"/>
                <a:ext cx="138113" cy="157163"/>
              </a:xfrm>
              <a:custGeom>
                <a:avLst/>
                <a:gdLst>
                  <a:gd name="T0" fmla="*/ 38 w 75"/>
                  <a:gd name="T1" fmla="*/ 0 h 85"/>
                  <a:gd name="T2" fmla="*/ 10 w 75"/>
                  <a:gd name="T3" fmla="*/ 12 h 85"/>
                  <a:gd name="T4" fmla="*/ 0 w 75"/>
                  <a:gd name="T5" fmla="*/ 43 h 85"/>
                  <a:gd name="T6" fmla="*/ 10 w 75"/>
                  <a:gd name="T7" fmla="*/ 74 h 85"/>
                  <a:gd name="T8" fmla="*/ 39 w 75"/>
                  <a:gd name="T9" fmla="*/ 85 h 85"/>
                  <a:gd name="T10" fmla="*/ 62 w 75"/>
                  <a:gd name="T11" fmla="*/ 78 h 85"/>
                  <a:gd name="T12" fmla="*/ 74 w 75"/>
                  <a:gd name="T13" fmla="*/ 59 h 85"/>
                  <a:gd name="T14" fmla="*/ 60 w 75"/>
                  <a:gd name="T15" fmla="*/ 57 h 85"/>
                  <a:gd name="T16" fmla="*/ 52 w 75"/>
                  <a:gd name="T17" fmla="*/ 70 h 85"/>
                  <a:gd name="T18" fmla="*/ 39 w 75"/>
                  <a:gd name="T19" fmla="*/ 74 h 85"/>
                  <a:gd name="T20" fmla="*/ 22 w 75"/>
                  <a:gd name="T21" fmla="*/ 67 h 85"/>
                  <a:gd name="T22" fmla="*/ 14 w 75"/>
                  <a:gd name="T23" fmla="*/ 46 h 85"/>
                  <a:gd name="T24" fmla="*/ 75 w 75"/>
                  <a:gd name="T25" fmla="*/ 46 h 85"/>
                  <a:gd name="T26" fmla="*/ 75 w 75"/>
                  <a:gd name="T27" fmla="*/ 43 h 85"/>
                  <a:gd name="T28" fmla="*/ 64 w 75"/>
                  <a:gd name="T29" fmla="*/ 11 h 85"/>
                  <a:gd name="T30" fmla="*/ 38 w 75"/>
                  <a:gd name="T31" fmla="*/ 0 h 85"/>
                  <a:gd name="T32" fmla="*/ 15 w 75"/>
                  <a:gd name="T33" fmla="*/ 35 h 85"/>
                  <a:gd name="T34" fmla="*/ 22 w 75"/>
                  <a:gd name="T35" fmla="*/ 18 h 85"/>
                  <a:gd name="T36" fmla="*/ 38 w 75"/>
                  <a:gd name="T37" fmla="*/ 12 h 85"/>
                  <a:gd name="T38" fmla="*/ 55 w 75"/>
                  <a:gd name="T39" fmla="*/ 20 h 85"/>
                  <a:gd name="T40" fmla="*/ 60 w 75"/>
                  <a:gd name="T41" fmla="*/ 35 h 85"/>
                  <a:gd name="T42" fmla="*/ 15 w 75"/>
                  <a:gd name="T43" fmla="*/ 35 h 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75" h="85">
                    <a:moveTo>
                      <a:pt x="38" y="0"/>
                    </a:moveTo>
                    <a:cubicBezTo>
                      <a:pt x="27" y="0"/>
                      <a:pt x="17" y="4"/>
                      <a:pt x="10" y="12"/>
                    </a:cubicBezTo>
                    <a:cubicBezTo>
                      <a:pt x="3" y="19"/>
                      <a:pt x="0" y="30"/>
                      <a:pt x="0" y="43"/>
                    </a:cubicBezTo>
                    <a:cubicBezTo>
                      <a:pt x="0" y="57"/>
                      <a:pt x="3" y="67"/>
                      <a:pt x="10" y="74"/>
                    </a:cubicBezTo>
                    <a:cubicBezTo>
                      <a:pt x="17" y="81"/>
                      <a:pt x="27" y="85"/>
                      <a:pt x="39" y="85"/>
                    </a:cubicBezTo>
                    <a:cubicBezTo>
                      <a:pt x="48" y="85"/>
                      <a:pt x="56" y="83"/>
                      <a:pt x="62" y="78"/>
                    </a:cubicBezTo>
                    <a:cubicBezTo>
                      <a:pt x="68" y="74"/>
                      <a:pt x="72" y="67"/>
                      <a:pt x="74" y="59"/>
                    </a:cubicBezTo>
                    <a:cubicBezTo>
                      <a:pt x="60" y="57"/>
                      <a:pt x="60" y="57"/>
                      <a:pt x="60" y="57"/>
                    </a:cubicBezTo>
                    <a:cubicBezTo>
                      <a:pt x="58" y="63"/>
                      <a:pt x="55" y="67"/>
                      <a:pt x="52" y="70"/>
                    </a:cubicBezTo>
                    <a:cubicBezTo>
                      <a:pt x="48" y="73"/>
                      <a:pt x="44" y="74"/>
                      <a:pt x="39" y="74"/>
                    </a:cubicBezTo>
                    <a:cubicBezTo>
                      <a:pt x="32" y="74"/>
                      <a:pt x="26" y="71"/>
                      <a:pt x="22" y="67"/>
                    </a:cubicBezTo>
                    <a:cubicBezTo>
                      <a:pt x="17" y="62"/>
                      <a:pt x="15" y="55"/>
                      <a:pt x="14" y="46"/>
                    </a:cubicBezTo>
                    <a:cubicBezTo>
                      <a:pt x="75" y="46"/>
                      <a:pt x="75" y="46"/>
                      <a:pt x="75" y="46"/>
                    </a:cubicBezTo>
                    <a:cubicBezTo>
                      <a:pt x="75" y="45"/>
                      <a:pt x="75" y="43"/>
                      <a:pt x="75" y="43"/>
                    </a:cubicBezTo>
                    <a:cubicBezTo>
                      <a:pt x="75" y="29"/>
                      <a:pt x="71" y="19"/>
                      <a:pt x="64" y="11"/>
                    </a:cubicBezTo>
                    <a:cubicBezTo>
                      <a:pt x="58" y="4"/>
                      <a:pt x="49" y="0"/>
                      <a:pt x="38" y="0"/>
                    </a:cubicBezTo>
                    <a:close/>
                    <a:moveTo>
                      <a:pt x="15" y="35"/>
                    </a:moveTo>
                    <a:cubicBezTo>
                      <a:pt x="15" y="28"/>
                      <a:pt x="18" y="22"/>
                      <a:pt x="22" y="18"/>
                    </a:cubicBezTo>
                    <a:cubicBezTo>
                      <a:pt x="26" y="14"/>
                      <a:pt x="32" y="12"/>
                      <a:pt x="38" y="12"/>
                    </a:cubicBezTo>
                    <a:cubicBezTo>
                      <a:pt x="45" y="12"/>
                      <a:pt x="51" y="14"/>
                      <a:pt x="55" y="20"/>
                    </a:cubicBezTo>
                    <a:cubicBezTo>
                      <a:pt x="58" y="23"/>
                      <a:pt x="60" y="28"/>
                      <a:pt x="60" y="35"/>
                    </a:cubicBezTo>
                    <a:lnTo>
                      <a:pt x="15" y="3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146" name="iṩľidè"/>
              <p:cNvSpPr/>
              <p:nvPr/>
            </p:nvSpPr>
            <p:spPr bwMode="auto">
              <a:xfrm>
                <a:off x="5964491" y="5729878"/>
                <a:ext cx="82550" cy="152400"/>
              </a:xfrm>
              <a:custGeom>
                <a:avLst/>
                <a:gdLst>
                  <a:gd name="T0" fmla="*/ 22 w 45"/>
                  <a:gd name="T1" fmla="*/ 3 h 83"/>
                  <a:gd name="T2" fmla="*/ 13 w 45"/>
                  <a:gd name="T3" fmla="*/ 14 h 83"/>
                  <a:gd name="T4" fmla="*/ 13 w 45"/>
                  <a:gd name="T5" fmla="*/ 2 h 83"/>
                  <a:gd name="T6" fmla="*/ 0 w 45"/>
                  <a:gd name="T7" fmla="*/ 2 h 83"/>
                  <a:gd name="T8" fmla="*/ 0 w 45"/>
                  <a:gd name="T9" fmla="*/ 83 h 83"/>
                  <a:gd name="T10" fmla="*/ 14 w 45"/>
                  <a:gd name="T11" fmla="*/ 83 h 83"/>
                  <a:gd name="T12" fmla="*/ 14 w 45"/>
                  <a:gd name="T13" fmla="*/ 41 h 83"/>
                  <a:gd name="T14" fmla="*/ 17 w 45"/>
                  <a:gd name="T15" fmla="*/ 25 h 83"/>
                  <a:gd name="T16" fmla="*/ 22 w 45"/>
                  <a:gd name="T17" fmla="*/ 17 h 83"/>
                  <a:gd name="T18" fmla="*/ 30 w 45"/>
                  <a:gd name="T19" fmla="*/ 14 h 83"/>
                  <a:gd name="T20" fmla="*/ 40 w 45"/>
                  <a:gd name="T21" fmla="*/ 17 h 83"/>
                  <a:gd name="T22" fmla="*/ 45 w 45"/>
                  <a:gd name="T23" fmla="*/ 5 h 83"/>
                  <a:gd name="T24" fmla="*/ 30 w 45"/>
                  <a:gd name="T25" fmla="*/ 0 h 83"/>
                  <a:gd name="T26" fmla="*/ 22 w 45"/>
                  <a:gd name="T27" fmla="*/ 3 h 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45" h="83">
                    <a:moveTo>
                      <a:pt x="22" y="3"/>
                    </a:moveTo>
                    <a:cubicBezTo>
                      <a:pt x="19" y="5"/>
                      <a:pt x="16" y="9"/>
                      <a:pt x="13" y="14"/>
                    </a:cubicBezTo>
                    <a:cubicBezTo>
                      <a:pt x="13" y="2"/>
                      <a:pt x="13" y="2"/>
                      <a:pt x="13" y="2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83"/>
                      <a:pt x="0" y="83"/>
                      <a:pt x="0" y="83"/>
                    </a:cubicBezTo>
                    <a:cubicBezTo>
                      <a:pt x="14" y="83"/>
                      <a:pt x="14" y="83"/>
                      <a:pt x="14" y="83"/>
                    </a:cubicBezTo>
                    <a:cubicBezTo>
                      <a:pt x="14" y="41"/>
                      <a:pt x="14" y="41"/>
                      <a:pt x="14" y="41"/>
                    </a:cubicBezTo>
                    <a:cubicBezTo>
                      <a:pt x="14" y="35"/>
                      <a:pt x="15" y="30"/>
                      <a:pt x="17" y="25"/>
                    </a:cubicBezTo>
                    <a:cubicBezTo>
                      <a:pt x="18" y="21"/>
                      <a:pt x="19" y="19"/>
                      <a:pt x="22" y="17"/>
                    </a:cubicBezTo>
                    <a:cubicBezTo>
                      <a:pt x="24" y="15"/>
                      <a:pt x="27" y="14"/>
                      <a:pt x="30" y="14"/>
                    </a:cubicBezTo>
                    <a:cubicBezTo>
                      <a:pt x="33" y="14"/>
                      <a:pt x="37" y="15"/>
                      <a:pt x="40" y="17"/>
                    </a:cubicBezTo>
                    <a:cubicBezTo>
                      <a:pt x="45" y="5"/>
                      <a:pt x="45" y="5"/>
                      <a:pt x="45" y="5"/>
                    </a:cubicBezTo>
                    <a:cubicBezTo>
                      <a:pt x="40" y="2"/>
                      <a:pt x="35" y="0"/>
                      <a:pt x="30" y="0"/>
                    </a:cubicBezTo>
                    <a:cubicBezTo>
                      <a:pt x="27" y="0"/>
                      <a:pt x="24" y="1"/>
                      <a:pt x="22" y="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147" name="îṡļiḑe"/>
              <p:cNvSpPr/>
              <p:nvPr/>
            </p:nvSpPr>
            <p:spPr bwMode="auto">
              <a:xfrm>
                <a:off x="6050216" y="5729878"/>
                <a:ext cx="125413" cy="157163"/>
              </a:xfrm>
              <a:custGeom>
                <a:avLst/>
                <a:gdLst>
                  <a:gd name="T0" fmla="*/ 55 w 68"/>
                  <a:gd name="T1" fmla="*/ 40 h 85"/>
                  <a:gd name="T2" fmla="*/ 35 w 68"/>
                  <a:gd name="T3" fmla="*/ 34 h 85"/>
                  <a:gd name="T4" fmla="*/ 23 w 68"/>
                  <a:gd name="T5" fmla="*/ 31 h 85"/>
                  <a:gd name="T6" fmla="*/ 18 w 68"/>
                  <a:gd name="T7" fmla="*/ 27 h 85"/>
                  <a:gd name="T8" fmla="*/ 16 w 68"/>
                  <a:gd name="T9" fmla="*/ 22 h 85"/>
                  <a:gd name="T10" fmla="*/ 20 w 68"/>
                  <a:gd name="T11" fmla="*/ 15 h 85"/>
                  <a:gd name="T12" fmla="*/ 34 w 68"/>
                  <a:gd name="T13" fmla="*/ 12 h 85"/>
                  <a:gd name="T14" fmla="*/ 46 w 68"/>
                  <a:gd name="T15" fmla="*/ 15 h 85"/>
                  <a:gd name="T16" fmla="*/ 51 w 68"/>
                  <a:gd name="T17" fmla="*/ 25 h 85"/>
                  <a:gd name="T18" fmla="*/ 65 w 68"/>
                  <a:gd name="T19" fmla="*/ 23 h 85"/>
                  <a:gd name="T20" fmla="*/ 60 w 68"/>
                  <a:gd name="T21" fmla="*/ 10 h 85"/>
                  <a:gd name="T22" fmla="*/ 49 w 68"/>
                  <a:gd name="T23" fmla="*/ 3 h 85"/>
                  <a:gd name="T24" fmla="*/ 33 w 68"/>
                  <a:gd name="T25" fmla="*/ 0 h 85"/>
                  <a:gd name="T26" fmla="*/ 21 w 68"/>
                  <a:gd name="T27" fmla="*/ 2 h 85"/>
                  <a:gd name="T28" fmla="*/ 12 w 68"/>
                  <a:gd name="T29" fmla="*/ 6 h 85"/>
                  <a:gd name="T30" fmla="*/ 5 w 68"/>
                  <a:gd name="T31" fmla="*/ 14 h 85"/>
                  <a:gd name="T32" fmla="*/ 3 w 68"/>
                  <a:gd name="T33" fmla="*/ 24 h 85"/>
                  <a:gd name="T34" fmla="*/ 6 w 68"/>
                  <a:gd name="T35" fmla="*/ 35 h 85"/>
                  <a:gd name="T36" fmla="*/ 15 w 68"/>
                  <a:gd name="T37" fmla="*/ 42 h 85"/>
                  <a:gd name="T38" fmla="*/ 36 w 68"/>
                  <a:gd name="T39" fmla="*/ 49 h 85"/>
                  <a:gd name="T40" fmla="*/ 50 w 68"/>
                  <a:gd name="T41" fmla="*/ 54 h 85"/>
                  <a:gd name="T42" fmla="*/ 54 w 68"/>
                  <a:gd name="T43" fmla="*/ 61 h 85"/>
                  <a:gd name="T44" fmla="*/ 49 w 68"/>
                  <a:gd name="T45" fmla="*/ 70 h 85"/>
                  <a:gd name="T46" fmla="*/ 35 w 68"/>
                  <a:gd name="T47" fmla="*/ 74 h 85"/>
                  <a:gd name="T48" fmla="*/ 20 w 68"/>
                  <a:gd name="T49" fmla="*/ 69 h 85"/>
                  <a:gd name="T50" fmla="*/ 14 w 68"/>
                  <a:gd name="T51" fmla="*/ 57 h 85"/>
                  <a:gd name="T52" fmla="*/ 0 w 68"/>
                  <a:gd name="T53" fmla="*/ 59 h 85"/>
                  <a:gd name="T54" fmla="*/ 11 w 68"/>
                  <a:gd name="T55" fmla="*/ 79 h 85"/>
                  <a:gd name="T56" fmla="*/ 35 w 68"/>
                  <a:gd name="T57" fmla="*/ 85 h 85"/>
                  <a:gd name="T58" fmla="*/ 52 w 68"/>
                  <a:gd name="T59" fmla="*/ 82 h 85"/>
                  <a:gd name="T60" fmla="*/ 64 w 68"/>
                  <a:gd name="T61" fmla="*/ 72 h 85"/>
                  <a:gd name="T62" fmla="*/ 68 w 68"/>
                  <a:gd name="T63" fmla="*/ 59 h 85"/>
                  <a:gd name="T64" fmla="*/ 65 w 68"/>
                  <a:gd name="T65" fmla="*/ 48 h 85"/>
                  <a:gd name="T66" fmla="*/ 55 w 68"/>
                  <a:gd name="T67" fmla="*/ 40 h 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68" h="85">
                    <a:moveTo>
                      <a:pt x="55" y="40"/>
                    </a:moveTo>
                    <a:cubicBezTo>
                      <a:pt x="52" y="39"/>
                      <a:pt x="45" y="37"/>
                      <a:pt x="35" y="34"/>
                    </a:cubicBezTo>
                    <a:cubicBezTo>
                      <a:pt x="28" y="32"/>
                      <a:pt x="24" y="31"/>
                      <a:pt x="23" y="31"/>
                    </a:cubicBezTo>
                    <a:cubicBezTo>
                      <a:pt x="20" y="30"/>
                      <a:pt x="19" y="28"/>
                      <a:pt x="18" y="27"/>
                    </a:cubicBezTo>
                    <a:cubicBezTo>
                      <a:pt x="16" y="25"/>
                      <a:pt x="16" y="24"/>
                      <a:pt x="16" y="22"/>
                    </a:cubicBezTo>
                    <a:cubicBezTo>
                      <a:pt x="16" y="19"/>
                      <a:pt x="17" y="17"/>
                      <a:pt x="20" y="15"/>
                    </a:cubicBezTo>
                    <a:cubicBezTo>
                      <a:pt x="23" y="13"/>
                      <a:pt x="27" y="12"/>
                      <a:pt x="34" y="12"/>
                    </a:cubicBezTo>
                    <a:cubicBezTo>
                      <a:pt x="39" y="12"/>
                      <a:pt x="43" y="13"/>
                      <a:pt x="46" y="15"/>
                    </a:cubicBezTo>
                    <a:cubicBezTo>
                      <a:pt x="49" y="17"/>
                      <a:pt x="51" y="21"/>
                      <a:pt x="51" y="25"/>
                    </a:cubicBezTo>
                    <a:cubicBezTo>
                      <a:pt x="65" y="23"/>
                      <a:pt x="65" y="23"/>
                      <a:pt x="65" y="23"/>
                    </a:cubicBezTo>
                    <a:cubicBezTo>
                      <a:pt x="64" y="18"/>
                      <a:pt x="62" y="14"/>
                      <a:pt x="60" y="10"/>
                    </a:cubicBezTo>
                    <a:cubicBezTo>
                      <a:pt x="58" y="7"/>
                      <a:pt x="54" y="5"/>
                      <a:pt x="49" y="3"/>
                    </a:cubicBezTo>
                    <a:cubicBezTo>
                      <a:pt x="44" y="1"/>
                      <a:pt x="39" y="0"/>
                      <a:pt x="33" y="0"/>
                    </a:cubicBezTo>
                    <a:cubicBezTo>
                      <a:pt x="28" y="0"/>
                      <a:pt x="24" y="1"/>
                      <a:pt x="21" y="2"/>
                    </a:cubicBezTo>
                    <a:cubicBezTo>
                      <a:pt x="17" y="3"/>
                      <a:pt x="14" y="4"/>
                      <a:pt x="12" y="6"/>
                    </a:cubicBezTo>
                    <a:cubicBezTo>
                      <a:pt x="9" y="8"/>
                      <a:pt x="7" y="10"/>
                      <a:pt x="5" y="14"/>
                    </a:cubicBezTo>
                    <a:cubicBezTo>
                      <a:pt x="3" y="17"/>
                      <a:pt x="3" y="20"/>
                      <a:pt x="3" y="24"/>
                    </a:cubicBezTo>
                    <a:cubicBezTo>
                      <a:pt x="3" y="28"/>
                      <a:pt x="4" y="31"/>
                      <a:pt x="6" y="35"/>
                    </a:cubicBezTo>
                    <a:cubicBezTo>
                      <a:pt x="8" y="38"/>
                      <a:pt x="11" y="40"/>
                      <a:pt x="15" y="42"/>
                    </a:cubicBezTo>
                    <a:cubicBezTo>
                      <a:pt x="18" y="44"/>
                      <a:pt x="25" y="46"/>
                      <a:pt x="36" y="49"/>
                    </a:cubicBezTo>
                    <a:cubicBezTo>
                      <a:pt x="43" y="51"/>
                      <a:pt x="48" y="52"/>
                      <a:pt x="50" y="54"/>
                    </a:cubicBezTo>
                    <a:cubicBezTo>
                      <a:pt x="52" y="55"/>
                      <a:pt x="54" y="58"/>
                      <a:pt x="54" y="61"/>
                    </a:cubicBezTo>
                    <a:cubicBezTo>
                      <a:pt x="54" y="64"/>
                      <a:pt x="52" y="67"/>
                      <a:pt x="49" y="70"/>
                    </a:cubicBezTo>
                    <a:cubicBezTo>
                      <a:pt x="46" y="73"/>
                      <a:pt x="41" y="74"/>
                      <a:pt x="35" y="74"/>
                    </a:cubicBezTo>
                    <a:cubicBezTo>
                      <a:pt x="29" y="74"/>
                      <a:pt x="24" y="72"/>
                      <a:pt x="20" y="69"/>
                    </a:cubicBezTo>
                    <a:cubicBezTo>
                      <a:pt x="17" y="67"/>
                      <a:pt x="15" y="62"/>
                      <a:pt x="14" y="57"/>
                    </a:cubicBezTo>
                    <a:cubicBezTo>
                      <a:pt x="0" y="59"/>
                      <a:pt x="0" y="59"/>
                      <a:pt x="0" y="59"/>
                    </a:cubicBezTo>
                    <a:cubicBezTo>
                      <a:pt x="2" y="68"/>
                      <a:pt x="5" y="74"/>
                      <a:pt x="11" y="79"/>
                    </a:cubicBezTo>
                    <a:cubicBezTo>
                      <a:pt x="16" y="83"/>
                      <a:pt x="24" y="85"/>
                      <a:pt x="35" y="85"/>
                    </a:cubicBezTo>
                    <a:cubicBezTo>
                      <a:pt x="41" y="85"/>
                      <a:pt x="47" y="84"/>
                      <a:pt x="52" y="82"/>
                    </a:cubicBezTo>
                    <a:cubicBezTo>
                      <a:pt x="57" y="80"/>
                      <a:pt x="61" y="76"/>
                      <a:pt x="64" y="72"/>
                    </a:cubicBezTo>
                    <a:cubicBezTo>
                      <a:pt x="66" y="68"/>
                      <a:pt x="68" y="64"/>
                      <a:pt x="68" y="59"/>
                    </a:cubicBezTo>
                    <a:cubicBezTo>
                      <a:pt x="68" y="55"/>
                      <a:pt x="67" y="51"/>
                      <a:pt x="65" y="48"/>
                    </a:cubicBezTo>
                    <a:cubicBezTo>
                      <a:pt x="62" y="45"/>
                      <a:pt x="59" y="42"/>
                      <a:pt x="55" y="4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148" name="ïśļíḓe"/>
              <p:cNvSpPr/>
              <p:nvPr/>
            </p:nvSpPr>
            <p:spPr bwMode="auto">
              <a:xfrm>
                <a:off x="6205791" y="5675903"/>
                <a:ext cx="25400" cy="30163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149" name="îṡľîdè"/>
              <p:cNvSpPr/>
              <p:nvPr/>
            </p:nvSpPr>
            <p:spPr bwMode="auto">
              <a:xfrm>
                <a:off x="6205791" y="5733053"/>
                <a:ext cx="25400" cy="149225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150" name="îś1iḋê"/>
              <p:cNvSpPr/>
              <p:nvPr/>
            </p:nvSpPr>
            <p:spPr bwMode="auto">
              <a:xfrm>
                <a:off x="6255003" y="5680665"/>
                <a:ext cx="74613" cy="203200"/>
              </a:xfrm>
              <a:custGeom>
                <a:avLst/>
                <a:gdLst>
                  <a:gd name="T0" fmla="*/ 32 w 40"/>
                  <a:gd name="T1" fmla="*/ 98 h 110"/>
                  <a:gd name="T2" fmla="*/ 27 w 40"/>
                  <a:gd name="T3" fmla="*/ 97 h 110"/>
                  <a:gd name="T4" fmla="*/ 25 w 40"/>
                  <a:gd name="T5" fmla="*/ 94 h 110"/>
                  <a:gd name="T6" fmla="*/ 24 w 40"/>
                  <a:gd name="T7" fmla="*/ 86 h 110"/>
                  <a:gd name="T8" fmla="*/ 24 w 40"/>
                  <a:gd name="T9" fmla="*/ 39 h 110"/>
                  <a:gd name="T10" fmla="*/ 38 w 40"/>
                  <a:gd name="T11" fmla="*/ 39 h 110"/>
                  <a:gd name="T12" fmla="*/ 38 w 40"/>
                  <a:gd name="T13" fmla="*/ 28 h 110"/>
                  <a:gd name="T14" fmla="*/ 24 w 40"/>
                  <a:gd name="T15" fmla="*/ 28 h 110"/>
                  <a:gd name="T16" fmla="*/ 24 w 40"/>
                  <a:gd name="T17" fmla="*/ 0 h 110"/>
                  <a:gd name="T18" fmla="*/ 11 w 40"/>
                  <a:gd name="T19" fmla="*/ 8 h 110"/>
                  <a:gd name="T20" fmla="*/ 11 w 40"/>
                  <a:gd name="T21" fmla="*/ 28 h 110"/>
                  <a:gd name="T22" fmla="*/ 0 w 40"/>
                  <a:gd name="T23" fmla="*/ 28 h 110"/>
                  <a:gd name="T24" fmla="*/ 0 w 40"/>
                  <a:gd name="T25" fmla="*/ 39 h 110"/>
                  <a:gd name="T26" fmla="*/ 11 w 40"/>
                  <a:gd name="T27" fmla="*/ 39 h 110"/>
                  <a:gd name="T28" fmla="*/ 11 w 40"/>
                  <a:gd name="T29" fmla="*/ 86 h 110"/>
                  <a:gd name="T30" fmla="*/ 12 w 40"/>
                  <a:gd name="T31" fmla="*/ 102 h 110"/>
                  <a:gd name="T32" fmla="*/ 18 w 40"/>
                  <a:gd name="T33" fmla="*/ 108 h 110"/>
                  <a:gd name="T34" fmla="*/ 30 w 40"/>
                  <a:gd name="T35" fmla="*/ 110 h 110"/>
                  <a:gd name="T36" fmla="*/ 40 w 40"/>
                  <a:gd name="T37" fmla="*/ 109 h 110"/>
                  <a:gd name="T38" fmla="*/ 38 w 40"/>
                  <a:gd name="T39" fmla="*/ 97 h 110"/>
                  <a:gd name="T40" fmla="*/ 32 w 40"/>
                  <a:gd name="T41" fmla="*/ 98 h 1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40" h="110">
                    <a:moveTo>
                      <a:pt x="32" y="98"/>
                    </a:moveTo>
                    <a:cubicBezTo>
                      <a:pt x="30" y="98"/>
                      <a:pt x="28" y="97"/>
                      <a:pt x="27" y="97"/>
                    </a:cubicBezTo>
                    <a:cubicBezTo>
                      <a:pt x="26" y="96"/>
                      <a:pt x="25" y="95"/>
                      <a:pt x="25" y="94"/>
                    </a:cubicBezTo>
                    <a:cubicBezTo>
                      <a:pt x="24" y="93"/>
                      <a:pt x="24" y="90"/>
                      <a:pt x="24" y="86"/>
                    </a:cubicBezTo>
                    <a:cubicBezTo>
                      <a:pt x="24" y="39"/>
                      <a:pt x="24" y="39"/>
                      <a:pt x="24" y="39"/>
                    </a:cubicBezTo>
                    <a:cubicBezTo>
                      <a:pt x="38" y="39"/>
                      <a:pt x="38" y="39"/>
                      <a:pt x="38" y="39"/>
                    </a:cubicBezTo>
                    <a:cubicBezTo>
                      <a:pt x="38" y="28"/>
                      <a:pt x="38" y="28"/>
                      <a:pt x="38" y="28"/>
                    </a:cubicBezTo>
                    <a:cubicBezTo>
                      <a:pt x="24" y="28"/>
                      <a:pt x="24" y="28"/>
                      <a:pt x="24" y="28"/>
                    </a:cubicBezTo>
                    <a:cubicBezTo>
                      <a:pt x="24" y="0"/>
                      <a:pt x="24" y="0"/>
                      <a:pt x="24" y="0"/>
                    </a:cubicBezTo>
                    <a:cubicBezTo>
                      <a:pt x="11" y="8"/>
                      <a:pt x="11" y="8"/>
                      <a:pt x="11" y="8"/>
                    </a:cubicBezTo>
                    <a:cubicBezTo>
                      <a:pt x="11" y="28"/>
                      <a:pt x="11" y="28"/>
                      <a:pt x="11" y="28"/>
                    </a:cubicBezTo>
                    <a:cubicBezTo>
                      <a:pt x="0" y="28"/>
                      <a:pt x="0" y="28"/>
                      <a:pt x="0" y="28"/>
                    </a:cubicBezTo>
                    <a:cubicBezTo>
                      <a:pt x="0" y="39"/>
                      <a:pt x="0" y="39"/>
                      <a:pt x="0" y="39"/>
                    </a:cubicBezTo>
                    <a:cubicBezTo>
                      <a:pt x="11" y="39"/>
                      <a:pt x="11" y="39"/>
                      <a:pt x="11" y="39"/>
                    </a:cubicBezTo>
                    <a:cubicBezTo>
                      <a:pt x="11" y="86"/>
                      <a:pt x="11" y="86"/>
                      <a:pt x="11" y="86"/>
                    </a:cubicBezTo>
                    <a:cubicBezTo>
                      <a:pt x="11" y="94"/>
                      <a:pt x="11" y="99"/>
                      <a:pt x="12" y="102"/>
                    </a:cubicBezTo>
                    <a:cubicBezTo>
                      <a:pt x="13" y="104"/>
                      <a:pt x="15" y="106"/>
                      <a:pt x="18" y="108"/>
                    </a:cubicBezTo>
                    <a:cubicBezTo>
                      <a:pt x="21" y="110"/>
                      <a:pt x="25" y="110"/>
                      <a:pt x="30" y="110"/>
                    </a:cubicBezTo>
                    <a:cubicBezTo>
                      <a:pt x="33" y="110"/>
                      <a:pt x="36" y="110"/>
                      <a:pt x="40" y="109"/>
                    </a:cubicBezTo>
                    <a:cubicBezTo>
                      <a:pt x="38" y="97"/>
                      <a:pt x="38" y="97"/>
                      <a:pt x="38" y="97"/>
                    </a:cubicBezTo>
                    <a:cubicBezTo>
                      <a:pt x="36" y="97"/>
                      <a:pt x="34" y="98"/>
                      <a:pt x="32" y="9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151" name="išľîḋê"/>
              <p:cNvSpPr/>
              <p:nvPr/>
            </p:nvSpPr>
            <p:spPr bwMode="auto">
              <a:xfrm>
                <a:off x="6335966" y="5733053"/>
                <a:ext cx="136525" cy="211138"/>
              </a:xfrm>
              <a:custGeom>
                <a:avLst/>
                <a:gdLst>
                  <a:gd name="T0" fmla="*/ 43 w 74"/>
                  <a:gd name="T1" fmla="*/ 47 h 114"/>
                  <a:gd name="T2" fmla="*/ 37 w 74"/>
                  <a:gd name="T3" fmla="*/ 66 h 114"/>
                  <a:gd name="T4" fmla="*/ 32 w 74"/>
                  <a:gd name="T5" fmla="*/ 47 h 114"/>
                  <a:gd name="T6" fmla="*/ 15 w 74"/>
                  <a:gd name="T7" fmla="*/ 0 h 114"/>
                  <a:gd name="T8" fmla="*/ 0 w 74"/>
                  <a:gd name="T9" fmla="*/ 0 h 114"/>
                  <a:gd name="T10" fmla="*/ 31 w 74"/>
                  <a:gd name="T11" fmla="*/ 81 h 114"/>
                  <a:gd name="T12" fmla="*/ 29 w 74"/>
                  <a:gd name="T13" fmla="*/ 85 h 114"/>
                  <a:gd name="T14" fmla="*/ 25 w 74"/>
                  <a:gd name="T15" fmla="*/ 95 h 114"/>
                  <a:gd name="T16" fmla="*/ 21 w 74"/>
                  <a:gd name="T17" fmla="*/ 99 h 114"/>
                  <a:gd name="T18" fmla="*/ 13 w 74"/>
                  <a:gd name="T19" fmla="*/ 101 h 114"/>
                  <a:gd name="T20" fmla="*/ 5 w 74"/>
                  <a:gd name="T21" fmla="*/ 100 h 114"/>
                  <a:gd name="T22" fmla="*/ 7 w 74"/>
                  <a:gd name="T23" fmla="*/ 113 h 114"/>
                  <a:gd name="T24" fmla="*/ 16 w 74"/>
                  <a:gd name="T25" fmla="*/ 114 h 114"/>
                  <a:gd name="T26" fmla="*/ 27 w 74"/>
                  <a:gd name="T27" fmla="*/ 111 h 114"/>
                  <a:gd name="T28" fmla="*/ 36 w 74"/>
                  <a:gd name="T29" fmla="*/ 101 h 114"/>
                  <a:gd name="T30" fmla="*/ 43 w 74"/>
                  <a:gd name="T31" fmla="*/ 83 h 114"/>
                  <a:gd name="T32" fmla="*/ 74 w 74"/>
                  <a:gd name="T33" fmla="*/ 0 h 114"/>
                  <a:gd name="T34" fmla="*/ 60 w 74"/>
                  <a:gd name="T35" fmla="*/ 0 h 114"/>
                  <a:gd name="T36" fmla="*/ 43 w 74"/>
                  <a:gd name="T37" fmla="*/ 47 h 1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74" h="114">
                    <a:moveTo>
                      <a:pt x="43" y="47"/>
                    </a:moveTo>
                    <a:cubicBezTo>
                      <a:pt x="41" y="53"/>
                      <a:pt x="39" y="60"/>
                      <a:pt x="37" y="66"/>
                    </a:cubicBezTo>
                    <a:cubicBezTo>
                      <a:pt x="36" y="59"/>
                      <a:pt x="34" y="53"/>
                      <a:pt x="32" y="47"/>
                    </a:cubicBezTo>
                    <a:cubicBezTo>
                      <a:pt x="15" y="0"/>
                      <a:pt x="15" y="0"/>
                      <a:pt x="15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31" y="81"/>
                      <a:pt x="31" y="81"/>
                      <a:pt x="31" y="81"/>
                    </a:cubicBezTo>
                    <a:cubicBezTo>
                      <a:pt x="30" y="83"/>
                      <a:pt x="30" y="84"/>
                      <a:pt x="29" y="85"/>
                    </a:cubicBezTo>
                    <a:cubicBezTo>
                      <a:pt x="27" y="90"/>
                      <a:pt x="26" y="94"/>
                      <a:pt x="25" y="95"/>
                    </a:cubicBezTo>
                    <a:cubicBezTo>
                      <a:pt x="24" y="97"/>
                      <a:pt x="22" y="98"/>
                      <a:pt x="21" y="99"/>
                    </a:cubicBezTo>
                    <a:cubicBezTo>
                      <a:pt x="19" y="100"/>
                      <a:pt x="16" y="101"/>
                      <a:pt x="13" y="101"/>
                    </a:cubicBezTo>
                    <a:cubicBezTo>
                      <a:pt x="11" y="101"/>
                      <a:pt x="8" y="101"/>
                      <a:pt x="5" y="100"/>
                    </a:cubicBezTo>
                    <a:cubicBezTo>
                      <a:pt x="7" y="113"/>
                      <a:pt x="7" y="113"/>
                      <a:pt x="7" y="113"/>
                    </a:cubicBezTo>
                    <a:cubicBezTo>
                      <a:pt x="10" y="114"/>
                      <a:pt x="13" y="114"/>
                      <a:pt x="16" y="114"/>
                    </a:cubicBezTo>
                    <a:cubicBezTo>
                      <a:pt x="20" y="114"/>
                      <a:pt x="24" y="113"/>
                      <a:pt x="27" y="111"/>
                    </a:cubicBezTo>
                    <a:cubicBezTo>
                      <a:pt x="30" y="109"/>
                      <a:pt x="33" y="106"/>
                      <a:pt x="36" y="101"/>
                    </a:cubicBezTo>
                    <a:cubicBezTo>
                      <a:pt x="37" y="98"/>
                      <a:pt x="40" y="92"/>
                      <a:pt x="43" y="83"/>
                    </a:cubicBezTo>
                    <a:cubicBezTo>
                      <a:pt x="74" y="0"/>
                      <a:pt x="74" y="0"/>
                      <a:pt x="74" y="0"/>
                    </a:cubicBezTo>
                    <a:cubicBezTo>
                      <a:pt x="60" y="0"/>
                      <a:pt x="60" y="0"/>
                      <a:pt x="60" y="0"/>
                    </a:cubicBezTo>
                    <a:lnTo>
                      <a:pt x="43" y="4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152" name="íSḷiḑè"/>
              <p:cNvSpPr/>
              <p:nvPr/>
            </p:nvSpPr>
            <p:spPr bwMode="auto">
              <a:xfrm>
                <a:off x="6564566" y="5729878"/>
                <a:ext cx="142875" cy="157163"/>
              </a:xfrm>
              <a:custGeom>
                <a:avLst/>
                <a:gdLst>
                  <a:gd name="T0" fmla="*/ 38 w 77"/>
                  <a:gd name="T1" fmla="*/ 0 h 85"/>
                  <a:gd name="T2" fmla="*/ 13 w 77"/>
                  <a:gd name="T3" fmla="*/ 9 h 85"/>
                  <a:gd name="T4" fmla="*/ 0 w 77"/>
                  <a:gd name="T5" fmla="*/ 43 h 85"/>
                  <a:gd name="T6" fmla="*/ 11 w 77"/>
                  <a:gd name="T7" fmla="*/ 74 h 85"/>
                  <a:gd name="T8" fmla="*/ 38 w 77"/>
                  <a:gd name="T9" fmla="*/ 85 h 85"/>
                  <a:gd name="T10" fmla="*/ 58 w 77"/>
                  <a:gd name="T11" fmla="*/ 80 h 85"/>
                  <a:gd name="T12" fmla="*/ 72 w 77"/>
                  <a:gd name="T13" fmla="*/ 66 h 85"/>
                  <a:gd name="T14" fmla="*/ 77 w 77"/>
                  <a:gd name="T15" fmla="*/ 42 h 85"/>
                  <a:gd name="T16" fmla="*/ 66 w 77"/>
                  <a:gd name="T17" fmla="*/ 11 h 85"/>
                  <a:gd name="T18" fmla="*/ 38 w 77"/>
                  <a:gd name="T19" fmla="*/ 0 h 85"/>
                  <a:gd name="T20" fmla="*/ 56 w 77"/>
                  <a:gd name="T21" fmla="*/ 66 h 85"/>
                  <a:gd name="T22" fmla="*/ 38 w 77"/>
                  <a:gd name="T23" fmla="*/ 74 h 85"/>
                  <a:gd name="T24" fmla="*/ 21 w 77"/>
                  <a:gd name="T25" fmla="*/ 66 h 85"/>
                  <a:gd name="T26" fmla="*/ 15 w 77"/>
                  <a:gd name="T27" fmla="*/ 43 h 85"/>
                  <a:gd name="T28" fmla="*/ 21 w 77"/>
                  <a:gd name="T29" fmla="*/ 19 h 85"/>
                  <a:gd name="T30" fmla="*/ 38 w 77"/>
                  <a:gd name="T31" fmla="*/ 12 h 85"/>
                  <a:gd name="T32" fmla="*/ 56 w 77"/>
                  <a:gd name="T33" fmla="*/ 19 h 85"/>
                  <a:gd name="T34" fmla="*/ 62 w 77"/>
                  <a:gd name="T35" fmla="*/ 42 h 85"/>
                  <a:gd name="T36" fmla="*/ 56 w 77"/>
                  <a:gd name="T37" fmla="*/ 66 h 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77" h="85">
                    <a:moveTo>
                      <a:pt x="38" y="0"/>
                    </a:moveTo>
                    <a:cubicBezTo>
                      <a:pt x="28" y="0"/>
                      <a:pt x="20" y="3"/>
                      <a:pt x="13" y="9"/>
                    </a:cubicBezTo>
                    <a:cubicBezTo>
                      <a:pt x="5" y="16"/>
                      <a:pt x="0" y="28"/>
                      <a:pt x="0" y="43"/>
                    </a:cubicBezTo>
                    <a:cubicBezTo>
                      <a:pt x="0" y="56"/>
                      <a:pt x="4" y="67"/>
                      <a:pt x="11" y="74"/>
                    </a:cubicBezTo>
                    <a:cubicBezTo>
                      <a:pt x="18" y="82"/>
                      <a:pt x="27" y="85"/>
                      <a:pt x="38" y="85"/>
                    </a:cubicBezTo>
                    <a:cubicBezTo>
                      <a:pt x="46" y="85"/>
                      <a:pt x="52" y="84"/>
                      <a:pt x="58" y="80"/>
                    </a:cubicBezTo>
                    <a:cubicBezTo>
                      <a:pt x="64" y="77"/>
                      <a:pt x="69" y="72"/>
                      <a:pt x="72" y="66"/>
                    </a:cubicBezTo>
                    <a:cubicBezTo>
                      <a:pt x="75" y="60"/>
                      <a:pt x="77" y="52"/>
                      <a:pt x="77" y="42"/>
                    </a:cubicBezTo>
                    <a:cubicBezTo>
                      <a:pt x="77" y="29"/>
                      <a:pt x="73" y="19"/>
                      <a:pt x="66" y="11"/>
                    </a:cubicBezTo>
                    <a:cubicBezTo>
                      <a:pt x="59" y="4"/>
                      <a:pt x="50" y="0"/>
                      <a:pt x="38" y="0"/>
                    </a:cubicBezTo>
                    <a:close/>
                    <a:moveTo>
                      <a:pt x="56" y="66"/>
                    </a:moveTo>
                    <a:cubicBezTo>
                      <a:pt x="51" y="71"/>
                      <a:pt x="45" y="74"/>
                      <a:pt x="38" y="74"/>
                    </a:cubicBezTo>
                    <a:cubicBezTo>
                      <a:pt x="32" y="74"/>
                      <a:pt x="26" y="71"/>
                      <a:pt x="21" y="66"/>
                    </a:cubicBezTo>
                    <a:cubicBezTo>
                      <a:pt x="17" y="61"/>
                      <a:pt x="15" y="53"/>
                      <a:pt x="15" y="43"/>
                    </a:cubicBezTo>
                    <a:cubicBezTo>
                      <a:pt x="15" y="32"/>
                      <a:pt x="17" y="24"/>
                      <a:pt x="21" y="19"/>
                    </a:cubicBezTo>
                    <a:cubicBezTo>
                      <a:pt x="26" y="14"/>
                      <a:pt x="32" y="12"/>
                      <a:pt x="38" y="12"/>
                    </a:cubicBezTo>
                    <a:cubicBezTo>
                      <a:pt x="45" y="12"/>
                      <a:pt x="51" y="14"/>
                      <a:pt x="56" y="19"/>
                    </a:cubicBezTo>
                    <a:cubicBezTo>
                      <a:pt x="60" y="25"/>
                      <a:pt x="62" y="32"/>
                      <a:pt x="62" y="42"/>
                    </a:cubicBezTo>
                    <a:cubicBezTo>
                      <a:pt x="62" y="53"/>
                      <a:pt x="60" y="61"/>
                      <a:pt x="56" y="6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153" name="ïṣľïḑe"/>
              <p:cNvSpPr/>
              <p:nvPr/>
            </p:nvSpPr>
            <p:spPr bwMode="auto">
              <a:xfrm>
                <a:off x="6720141" y="5672728"/>
                <a:ext cx="85725" cy="209550"/>
              </a:xfrm>
              <a:custGeom>
                <a:avLst/>
                <a:gdLst>
                  <a:gd name="T0" fmla="*/ 20 w 47"/>
                  <a:gd name="T1" fmla="*/ 4 h 114"/>
                  <a:gd name="T2" fmla="*/ 13 w 47"/>
                  <a:gd name="T3" fmla="*/ 12 h 114"/>
                  <a:gd name="T4" fmla="*/ 12 w 47"/>
                  <a:gd name="T5" fmla="*/ 24 h 114"/>
                  <a:gd name="T6" fmla="*/ 12 w 47"/>
                  <a:gd name="T7" fmla="*/ 33 h 114"/>
                  <a:gd name="T8" fmla="*/ 0 w 47"/>
                  <a:gd name="T9" fmla="*/ 33 h 114"/>
                  <a:gd name="T10" fmla="*/ 0 w 47"/>
                  <a:gd name="T11" fmla="*/ 44 h 114"/>
                  <a:gd name="T12" fmla="*/ 12 w 47"/>
                  <a:gd name="T13" fmla="*/ 44 h 114"/>
                  <a:gd name="T14" fmla="*/ 12 w 47"/>
                  <a:gd name="T15" fmla="*/ 114 h 114"/>
                  <a:gd name="T16" fmla="*/ 26 w 47"/>
                  <a:gd name="T17" fmla="*/ 114 h 114"/>
                  <a:gd name="T18" fmla="*/ 26 w 47"/>
                  <a:gd name="T19" fmla="*/ 44 h 114"/>
                  <a:gd name="T20" fmla="*/ 41 w 47"/>
                  <a:gd name="T21" fmla="*/ 44 h 114"/>
                  <a:gd name="T22" fmla="*/ 41 w 47"/>
                  <a:gd name="T23" fmla="*/ 33 h 114"/>
                  <a:gd name="T24" fmla="*/ 26 w 47"/>
                  <a:gd name="T25" fmla="*/ 33 h 114"/>
                  <a:gd name="T26" fmla="*/ 26 w 47"/>
                  <a:gd name="T27" fmla="*/ 26 h 114"/>
                  <a:gd name="T28" fmla="*/ 28 w 47"/>
                  <a:gd name="T29" fmla="*/ 16 h 114"/>
                  <a:gd name="T30" fmla="*/ 37 w 47"/>
                  <a:gd name="T31" fmla="*/ 13 h 114"/>
                  <a:gd name="T32" fmla="*/ 45 w 47"/>
                  <a:gd name="T33" fmla="*/ 14 h 114"/>
                  <a:gd name="T34" fmla="*/ 47 w 47"/>
                  <a:gd name="T35" fmla="*/ 2 h 114"/>
                  <a:gd name="T36" fmla="*/ 34 w 47"/>
                  <a:gd name="T37" fmla="*/ 0 h 114"/>
                  <a:gd name="T38" fmla="*/ 20 w 47"/>
                  <a:gd name="T39" fmla="*/ 4 h 1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47" h="114">
                    <a:moveTo>
                      <a:pt x="20" y="4"/>
                    </a:moveTo>
                    <a:cubicBezTo>
                      <a:pt x="17" y="6"/>
                      <a:pt x="15" y="9"/>
                      <a:pt x="13" y="12"/>
                    </a:cubicBezTo>
                    <a:cubicBezTo>
                      <a:pt x="12" y="15"/>
                      <a:pt x="12" y="19"/>
                      <a:pt x="12" y="24"/>
                    </a:cubicBezTo>
                    <a:cubicBezTo>
                      <a:pt x="12" y="33"/>
                      <a:pt x="12" y="33"/>
                      <a:pt x="12" y="33"/>
                    </a:cubicBezTo>
                    <a:cubicBezTo>
                      <a:pt x="0" y="33"/>
                      <a:pt x="0" y="33"/>
                      <a:pt x="0" y="33"/>
                    </a:cubicBezTo>
                    <a:cubicBezTo>
                      <a:pt x="0" y="44"/>
                      <a:pt x="0" y="44"/>
                      <a:pt x="0" y="44"/>
                    </a:cubicBezTo>
                    <a:cubicBezTo>
                      <a:pt x="12" y="44"/>
                      <a:pt x="12" y="44"/>
                      <a:pt x="12" y="44"/>
                    </a:cubicBezTo>
                    <a:cubicBezTo>
                      <a:pt x="12" y="114"/>
                      <a:pt x="12" y="114"/>
                      <a:pt x="12" y="114"/>
                    </a:cubicBezTo>
                    <a:cubicBezTo>
                      <a:pt x="26" y="114"/>
                      <a:pt x="26" y="114"/>
                      <a:pt x="26" y="114"/>
                    </a:cubicBezTo>
                    <a:cubicBezTo>
                      <a:pt x="26" y="44"/>
                      <a:pt x="26" y="44"/>
                      <a:pt x="26" y="44"/>
                    </a:cubicBezTo>
                    <a:cubicBezTo>
                      <a:pt x="41" y="44"/>
                      <a:pt x="41" y="44"/>
                      <a:pt x="41" y="44"/>
                    </a:cubicBezTo>
                    <a:cubicBezTo>
                      <a:pt x="41" y="33"/>
                      <a:pt x="41" y="33"/>
                      <a:pt x="41" y="33"/>
                    </a:cubicBezTo>
                    <a:cubicBezTo>
                      <a:pt x="26" y="33"/>
                      <a:pt x="26" y="33"/>
                      <a:pt x="26" y="33"/>
                    </a:cubicBezTo>
                    <a:cubicBezTo>
                      <a:pt x="26" y="26"/>
                      <a:pt x="26" y="26"/>
                      <a:pt x="26" y="26"/>
                    </a:cubicBezTo>
                    <a:cubicBezTo>
                      <a:pt x="26" y="21"/>
                      <a:pt x="27" y="17"/>
                      <a:pt x="28" y="16"/>
                    </a:cubicBezTo>
                    <a:cubicBezTo>
                      <a:pt x="30" y="14"/>
                      <a:pt x="33" y="13"/>
                      <a:pt x="37" y="13"/>
                    </a:cubicBezTo>
                    <a:cubicBezTo>
                      <a:pt x="40" y="13"/>
                      <a:pt x="42" y="13"/>
                      <a:pt x="45" y="14"/>
                    </a:cubicBezTo>
                    <a:cubicBezTo>
                      <a:pt x="47" y="2"/>
                      <a:pt x="47" y="2"/>
                      <a:pt x="47" y="2"/>
                    </a:cubicBezTo>
                    <a:cubicBezTo>
                      <a:pt x="43" y="1"/>
                      <a:pt x="38" y="0"/>
                      <a:pt x="34" y="0"/>
                    </a:cubicBezTo>
                    <a:cubicBezTo>
                      <a:pt x="28" y="0"/>
                      <a:pt x="24" y="1"/>
                      <a:pt x="20" y="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154" name="ïš1îḍè"/>
              <p:cNvSpPr/>
              <p:nvPr/>
            </p:nvSpPr>
            <p:spPr bwMode="auto">
              <a:xfrm>
                <a:off x="6890003" y="5672728"/>
                <a:ext cx="165100" cy="214313"/>
              </a:xfrm>
              <a:custGeom>
                <a:avLst/>
                <a:gdLst>
                  <a:gd name="T0" fmla="*/ 71 w 90"/>
                  <a:gd name="T1" fmla="*/ 55 h 116"/>
                  <a:gd name="T2" fmla="*/ 46 w 90"/>
                  <a:gd name="T3" fmla="*/ 48 h 116"/>
                  <a:gd name="T4" fmla="*/ 23 w 90"/>
                  <a:gd name="T5" fmla="*/ 40 h 116"/>
                  <a:gd name="T6" fmla="*/ 19 w 90"/>
                  <a:gd name="T7" fmla="*/ 30 h 116"/>
                  <a:gd name="T8" fmla="*/ 25 w 90"/>
                  <a:gd name="T9" fmla="*/ 18 h 116"/>
                  <a:gd name="T10" fmla="*/ 45 w 90"/>
                  <a:gd name="T11" fmla="*/ 13 h 116"/>
                  <a:gd name="T12" fmla="*/ 64 w 90"/>
                  <a:gd name="T13" fmla="*/ 19 h 116"/>
                  <a:gd name="T14" fmla="*/ 72 w 90"/>
                  <a:gd name="T15" fmla="*/ 35 h 116"/>
                  <a:gd name="T16" fmla="*/ 86 w 90"/>
                  <a:gd name="T17" fmla="*/ 34 h 116"/>
                  <a:gd name="T18" fmla="*/ 81 w 90"/>
                  <a:gd name="T19" fmla="*/ 16 h 116"/>
                  <a:gd name="T20" fmla="*/ 66 w 90"/>
                  <a:gd name="T21" fmla="*/ 4 h 116"/>
                  <a:gd name="T22" fmla="*/ 44 w 90"/>
                  <a:gd name="T23" fmla="*/ 0 h 116"/>
                  <a:gd name="T24" fmla="*/ 24 w 90"/>
                  <a:gd name="T25" fmla="*/ 4 h 116"/>
                  <a:gd name="T26" fmla="*/ 10 w 90"/>
                  <a:gd name="T27" fmla="*/ 15 h 116"/>
                  <a:gd name="T28" fmla="*/ 5 w 90"/>
                  <a:gd name="T29" fmla="*/ 31 h 116"/>
                  <a:gd name="T30" fmla="*/ 9 w 90"/>
                  <a:gd name="T31" fmla="*/ 45 h 116"/>
                  <a:gd name="T32" fmla="*/ 21 w 90"/>
                  <a:gd name="T33" fmla="*/ 56 h 116"/>
                  <a:gd name="T34" fmla="*/ 42 w 90"/>
                  <a:gd name="T35" fmla="*/ 63 h 116"/>
                  <a:gd name="T36" fmla="*/ 62 w 90"/>
                  <a:gd name="T37" fmla="*/ 68 h 116"/>
                  <a:gd name="T38" fmla="*/ 72 w 90"/>
                  <a:gd name="T39" fmla="*/ 75 h 116"/>
                  <a:gd name="T40" fmla="*/ 75 w 90"/>
                  <a:gd name="T41" fmla="*/ 84 h 116"/>
                  <a:gd name="T42" fmla="*/ 72 w 90"/>
                  <a:gd name="T43" fmla="*/ 93 h 116"/>
                  <a:gd name="T44" fmla="*/ 63 w 90"/>
                  <a:gd name="T45" fmla="*/ 100 h 116"/>
                  <a:gd name="T46" fmla="*/ 48 w 90"/>
                  <a:gd name="T47" fmla="*/ 103 h 116"/>
                  <a:gd name="T48" fmla="*/ 30 w 90"/>
                  <a:gd name="T49" fmla="*/ 100 h 116"/>
                  <a:gd name="T50" fmla="*/ 19 w 90"/>
                  <a:gd name="T51" fmla="*/ 91 h 116"/>
                  <a:gd name="T52" fmla="*/ 14 w 90"/>
                  <a:gd name="T53" fmla="*/ 77 h 116"/>
                  <a:gd name="T54" fmla="*/ 0 w 90"/>
                  <a:gd name="T55" fmla="*/ 78 h 116"/>
                  <a:gd name="T56" fmla="*/ 7 w 90"/>
                  <a:gd name="T57" fmla="*/ 98 h 116"/>
                  <a:gd name="T58" fmla="*/ 23 w 90"/>
                  <a:gd name="T59" fmla="*/ 112 h 116"/>
                  <a:gd name="T60" fmla="*/ 48 w 90"/>
                  <a:gd name="T61" fmla="*/ 116 h 116"/>
                  <a:gd name="T62" fmla="*/ 70 w 90"/>
                  <a:gd name="T63" fmla="*/ 112 h 116"/>
                  <a:gd name="T64" fmla="*/ 85 w 90"/>
                  <a:gd name="T65" fmla="*/ 100 h 116"/>
                  <a:gd name="T66" fmla="*/ 90 w 90"/>
                  <a:gd name="T67" fmla="*/ 83 h 116"/>
                  <a:gd name="T68" fmla="*/ 85 w 90"/>
                  <a:gd name="T69" fmla="*/ 67 h 116"/>
                  <a:gd name="T70" fmla="*/ 71 w 90"/>
                  <a:gd name="T71" fmla="*/ 55 h 1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90" h="116">
                    <a:moveTo>
                      <a:pt x="71" y="55"/>
                    </a:moveTo>
                    <a:cubicBezTo>
                      <a:pt x="66" y="53"/>
                      <a:pt x="58" y="51"/>
                      <a:pt x="46" y="48"/>
                    </a:cubicBezTo>
                    <a:cubicBezTo>
                      <a:pt x="34" y="45"/>
                      <a:pt x="26" y="43"/>
                      <a:pt x="23" y="40"/>
                    </a:cubicBezTo>
                    <a:cubicBezTo>
                      <a:pt x="21" y="38"/>
                      <a:pt x="19" y="34"/>
                      <a:pt x="19" y="30"/>
                    </a:cubicBezTo>
                    <a:cubicBezTo>
                      <a:pt x="19" y="26"/>
                      <a:pt x="21" y="22"/>
                      <a:pt x="25" y="18"/>
                    </a:cubicBezTo>
                    <a:cubicBezTo>
                      <a:pt x="29" y="15"/>
                      <a:pt x="36" y="13"/>
                      <a:pt x="45" y="13"/>
                    </a:cubicBezTo>
                    <a:cubicBezTo>
                      <a:pt x="53" y="13"/>
                      <a:pt x="60" y="15"/>
                      <a:pt x="64" y="19"/>
                    </a:cubicBezTo>
                    <a:cubicBezTo>
                      <a:pt x="69" y="22"/>
                      <a:pt x="71" y="28"/>
                      <a:pt x="72" y="35"/>
                    </a:cubicBezTo>
                    <a:cubicBezTo>
                      <a:pt x="86" y="34"/>
                      <a:pt x="86" y="34"/>
                      <a:pt x="86" y="34"/>
                    </a:cubicBezTo>
                    <a:cubicBezTo>
                      <a:pt x="86" y="27"/>
                      <a:pt x="84" y="21"/>
                      <a:pt x="81" y="16"/>
                    </a:cubicBezTo>
                    <a:cubicBezTo>
                      <a:pt x="77" y="11"/>
                      <a:pt x="73" y="7"/>
                      <a:pt x="66" y="4"/>
                    </a:cubicBezTo>
                    <a:cubicBezTo>
                      <a:pt x="60" y="2"/>
                      <a:pt x="53" y="0"/>
                      <a:pt x="44" y="0"/>
                    </a:cubicBezTo>
                    <a:cubicBezTo>
                      <a:pt x="37" y="0"/>
                      <a:pt x="30" y="1"/>
                      <a:pt x="24" y="4"/>
                    </a:cubicBezTo>
                    <a:cubicBezTo>
                      <a:pt x="17" y="7"/>
                      <a:pt x="13" y="10"/>
                      <a:pt x="10" y="15"/>
                    </a:cubicBezTo>
                    <a:cubicBezTo>
                      <a:pt x="6" y="20"/>
                      <a:pt x="5" y="25"/>
                      <a:pt x="5" y="31"/>
                    </a:cubicBezTo>
                    <a:cubicBezTo>
                      <a:pt x="5" y="36"/>
                      <a:pt x="6" y="41"/>
                      <a:pt x="9" y="45"/>
                    </a:cubicBezTo>
                    <a:cubicBezTo>
                      <a:pt x="11" y="49"/>
                      <a:pt x="15" y="53"/>
                      <a:pt x="21" y="56"/>
                    </a:cubicBezTo>
                    <a:cubicBezTo>
                      <a:pt x="25" y="58"/>
                      <a:pt x="32" y="60"/>
                      <a:pt x="42" y="63"/>
                    </a:cubicBezTo>
                    <a:cubicBezTo>
                      <a:pt x="53" y="65"/>
                      <a:pt x="59" y="67"/>
                      <a:pt x="62" y="68"/>
                    </a:cubicBezTo>
                    <a:cubicBezTo>
                      <a:pt x="67" y="70"/>
                      <a:pt x="70" y="72"/>
                      <a:pt x="72" y="75"/>
                    </a:cubicBezTo>
                    <a:cubicBezTo>
                      <a:pt x="74" y="77"/>
                      <a:pt x="75" y="80"/>
                      <a:pt x="75" y="84"/>
                    </a:cubicBezTo>
                    <a:cubicBezTo>
                      <a:pt x="75" y="87"/>
                      <a:pt x="74" y="91"/>
                      <a:pt x="72" y="93"/>
                    </a:cubicBezTo>
                    <a:cubicBezTo>
                      <a:pt x="70" y="96"/>
                      <a:pt x="67" y="99"/>
                      <a:pt x="63" y="100"/>
                    </a:cubicBezTo>
                    <a:cubicBezTo>
                      <a:pt x="58" y="102"/>
                      <a:pt x="53" y="103"/>
                      <a:pt x="48" y="103"/>
                    </a:cubicBezTo>
                    <a:cubicBezTo>
                      <a:pt x="41" y="103"/>
                      <a:pt x="35" y="102"/>
                      <a:pt x="30" y="100"/>
                    </a:cubicBezTo>
                    <a:cubicBezTo>
                      <a:pt x="25" y="97"/>
                      <a:pt x="22" y="94"/>
                      <a:pt x="19" y="91"/>
                    </a:cubicBezTo>
                    <a:cubicBezTo>
                      <a:pt x="17" y="87"/>
                      <a:pt x="15" y="83"/>
                      <a:pt x="14" y="77"/>
                    </a:cubicBezTo>
                    <a:cubicBezTo>
                      <a:pt x="0" y="78"/>
                      <a:pt x="0" y="78"/>
                      <a:pt x="0" y="78"/>
                    </a:cubicBezTo>
                    <a:cubicBezTo>
                      <a:pt x="1" y="86"/>
                      <a:pt x="3" y="93"/>
                      <a:pt x="7" y="98"/>
                    </a:cubicBezTo>
                    <a:cubicBezTo>
                      <a:pt x="11" y="104"/>
                      <a:pt x="16" y="109"/>
                      <a:pt x="23" y="112"/>
                    </a:cubicBezTo>
                    <a:cubicBezTo>
                      <a:pt x="30" y="115"/>
                      <a:pt x="38" y="116"/>
                      <a:pt x="48" y="116"/>
                    </a:cubicBezTo>
                    <a:cubicBezTo>
                      <a:pt x="56" y="116"/>
                      <a:pt x="64" y="115"/>
                      <a:pt x="70" y="112"/>
                    </a:cubicBezTo>
                    <a:cubicBezTo>
                      <a:pt x="76" y="109"/>
                      <a:pt x="81" y="105"/>
                      <a:pt x="85" y="100"/>
                    </a:cubicBezTo>
                    <a:cubicBezTo>
                      <a:pt x="88" y="94"/>
                      <a:pt x="90" y="89"/>
                      <a:pt x="90" y="83"/>
                    </a:cubicBezTo>
                    <a:cubicBezTo>
                      <a:pt x="90" y="77"/>
                      <a:pt x="88" y="71"/>
                      <a:pt x="85" y="67"/>
                    </a:cubicBezTo>
                    <a:cubicBezTo>
                      <a:pt x="82" y="62"/>
                      <a:pt x="77" y="58"/>
                      <a:pt x="71" y="5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155" name="iṥľïḍê"/>
              <p:cNvSpPr/>
              <p:nvPr/>
            </p:nvSpPr>
            <p:spPr bwMode="auto">
              <a:xfrm>
                <a:off x="7080503" y="5729878"/>
                <a:ext cx="131763" cy="157163"/>
              </a:xfrm>
              <a:custGeom>
                <a:avLst/>
                <a:gdLst>
                  <a:gd name="T0" fmla="*/ 50 w 71"/>
                  <a:gd name="T1" fmla="*/ 69 h 85"/>
                  <a:gd name="T2" fmla="*/ 37 w 71"/>
                  <a:gd name="T3" fmla="*/ 74 h 85"/>
                  <a:gd name="T4" fmla="*/ 21 w 71"/>
                  <a:gd name="T5" fmla="*/ 66 h 85"/>
                  <a:gd name="T6" fmla="*/ 14 w 71"/>
                  <a:gd name="T7" fmla="*/ 43 h 85"/>
                  <a:gd name="T8" fmla="*/ 21 w 71"/>
                  <a:gd name="T9" fmla="*/ 19 h 85"/>
                  <a:gd name="T10" fmla="*/ 38 w 71"/>
                  <a:gd name="T11" fmla="*/ 12 h 85"/>
                  <a:gd name="T12" fmla="*/ 49 w 71"/>
                  <a:gd name="T13" fmla="*/ 16 h 85"/>
                  <a:gd name="T14" fmla="*/ 56 w 71"/>
                  <a:gd name="T15" fmla="*/ 28 h 85"/>
                  <a:gd name="T16" fmla="*/ 70 w 71"/>
                  <a:gd name="T17" fmla="*/ 26 h 85"/>
                  <a:gd name="T18" fmla="*/ 59 w 71"/>
                  <a:gd name="T19" fmla="*/ 7 h 85"/>
                  <a:gd name="T20" fmla="*/ 37 w 71"/>
                  <a:gd name="T21" fmla="*/ 0 h 85"/>
                  <a:gd name="T22" fmla="*/ 18 w 71"/>
                  <a:gd name="T23" fmla="*/ 5 h 85"/>
                  <a:gd name="T24" fmla="*/ 4 w 71"/>
                  <a:gd name="T25" fmla="*/ 20 h 85"/>
                  <a:gd name="T26" fmla="*/ 0 w 71"/>
                  <a:gd name="T27" fmla="*/ 43 h 85"/>
                  <a:gd name="T28" fmla="*/ 10 w 71"/>
                  <a:gd name="T29" fmla="*/ 74 h 85"/>
                  <a:gd name="T30" fmla="*/ 37 w 71"/>
                  <a:gd name="T31" fmla="*/ 85 h 85"/>
                  <a:gd name="T32" fmla="*/ 60 w 71"/>
                  <a:gd name="T33" fmla="*/ 77 h 85"/>
                  <a:gd name="T34" fmla="*/ 71 w 71"/>
                  <a:gd name="T35" fmla="*/ 55 h 85"/>
                  <a:gd name="T36" fmla="*/ 57 w 71"/>
                  <a:gd name="T37" fmla="*/ 54 h 85"/>
                  <a:gd name="T38" fmla="*/ 50 w 71"/>
                  <a:gd name="T39" fmla="*/ 69 h 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71" h="85">
                    <a:moveTo>
                      <a:pt x="50" y="69"/>
                    </a:moveTo>
                    <a:cubicBezTo>
                      <a:pt x="47" y="72"/>
                      <a:pt x="42" y="74"/>
                      <a:pt x="37" y="74"/>
                    </a:cubicBezTo>
                    <a:cubicBezTo>
                      <a:pt x="30" y="74"/>
                      <a:pt x="25" y="71"/>
                      <a:pt x="21" y="66"/>
                    </a:cubicBezTo>
                    <a:cubicBezTo>
                      <a:pt x="16" y="61"/>
                      <a:pt x="14" y="54"/>
                      <a:pt x="14" y="43"/>
                    </a:cubicBezTo>
                    <a:cubicBezTo>
                      <a:pt x="14" y="32"/>
                      <a:pt x="16" y="24"/>
                      <a:pt x="21" y="19"/>
                    </a:cubicBezTo>
                    <a:cubicBezTo>
                      <a:pt x="25" y="14"/>
                      <a:pt x="31" y="12"/>
                      <a:pt x="38" y="12"/>
                    </a:cubicBezTo>
                    <a:cubicBezTo>
                      <a:pt x="42" y="12"/>
                      <a:pt x="46" y="13"/>
                      <a:pt x="49" y="16"/>
                    </a:cubicBezTo>
                    <a:cubicBezTo>
                      <a:pt x="53" y="18"/>
                      <a:pt x="55" y="23"/>
                      <a:pt x="56" y="28"/>
                    </a:cubicBezTo>
                    <a:cubicBezTo>
                      <a:pt x="70" y="26"/>
                      <a:pt x="70" y="26"/>
                      <a:pt x="70" y="26"/>
                    </a:cubicBezTo>
                    <a:cubicBezTo>
                      <a:pt x="68" y="18"/>
                      <a:pt x="64" y="11"/>
                      <a:pt x="59" y="7"/>
                    </a:cubicBezTo>
                    <a:cubicBezTo>
                      <a:pt x="53" y="2"/>
                      <a:pt x="46" y="0"/>
                      <a:pt x="37" y="0"/>
                    </a:cubicBezTo>
                    <a:cubicBezTo>
                      <a:pt x="30" y="0"/>
                      <a:pt x="24" y="2"/>
                      <a:pt x="18" y="5"/>
                    </a:cubicBezTo>
                    <a:cubicBezTo>
                      <a:pt x="12" y="8"/>
                      <a:pt x="7" y="13"/>
                      <a:pt x="4" y="20"/>
                    </a:cubicBezTo>
                    <a:cubicBezTo>
                      <a:pt x="2" y="27"/>
                      <a:pt x="0" y="34"/>
                      <a:pt x="0" y="43"/>
                    </a:cubicBezTo>
                    <a:cubicBezTo>
                      <a:pt x="0" y="57"/>
                      <a:pt x="3" y="67"/>
                      <a:pt x="10" y="74"/>
                    </a:cubicBezTo>
                    <a:cubicBezTo>
                      <a:pt x="17" y="82"/>
                      <a:pt x="26" y="85"/>
                      <a:pt x="37" y="85"/>
                    </a:cubicBezTo>
                    <a:cubicBezTo>
                      <a:pt x="46" y="85"/>
                      <a:pt x="53" y="83"/>
                      <a:pt x="60" y="77"/>
                    </a:cubicBezTo>
                    <a:cubicBezTo>
                      <a:pt x="66" y="72"/>
                      <a:pt x="69" y="65"/>
                      <a:pt x="71" y="55"/>
                    </a:cubicBezTo>
                    <a:cubicBezTo>
                      <a:pt x="57" y="54"/>
                      <a:pt x="57" y="54"/>
                      <a:pt x="57" y="54"/>
                    </a:cubicBezTo>
                    <a:cubicBezTo>
                      <a:pt x="56" y="60"/>
                      <a:pt x="54" y="66"/>
                      <a:pt x="50" y="6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156" name="íṥ1ïdê"/>
              <p:cNvSpPr/>
              <p:nvPr/>
            </p:nvSpPr>
            <p:spPr bwMode="auto">
              <a:xfrm>
                <a:off x="7234491" y="5675903"/>
                <a:ext cx="25400" cy="30163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157" name="îṡ1îďé"/>
              <p:cNvSpPr/>
              <p:nvPr/>
            </p:nvSpPr>
            <p:spPr bwMode="auto">
              <a:xfrm>
                <a:off x="7234491" y="5733053"/>
                <a:ext cx="25400" cy="149225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158" name="íṩḷïḑé"/>
              <p:cNvSpPr/>
              <p:nvPr/>
            </p:nvSpPr>
            <p:spPr bwMode="auto">
              <a:xfrm>
                <a:off x="7290053" y="5729878"/>
                <a:ext cx="138113" cy="157163"/>
              </a:xfrm>
              <a:custGeom>
                <a:avLst/>
                <a:gdLst>
                  <a:gd name="T0" fmla="*/ 38 w 75"/>
                  <a:gd name="T1" fmla="*/ 0 h 85"/>
                  <a:gd name="T2" fmla="*/ 10 w 75"/>
                  <a:gd name="T3" fmla="*/ 12 h 85"/>
                  <a:gd name="T4" fmla="*/ 0 w 75"/>
                  <a:gd name="T5" fmla="*/ 43 h 85"/>
                  <a:gd name="T6" fmla="*/ 10 w 75"/>
                  <a:gd name="T7" fmla="*/ 74 h 85"/>
                  <a:gd name="T8" fmla="*/ 39 w 75"/>
                  <a:gd name="T9" fmla="*/ 85 h 85"/>
                  <a:gd name="T10" fmla="*/ 62 w 75"/>
                  <a:gd name="T11" fmla="*/ 78 h 85"/>
                  <a:gd name="T12" fmla="*/ 74 w 75"/>
                  <a:gd name="T13" fmla="*/ 59 h 85"/>
                  <a:gd name="T14" fmla="*/ 60 w 75"/>
                  <a:gd name="T15" fmla="*/ 57 h 85"/>
                  <a:gd name="T16" fmla="*/ 52 w 75"/>
                  <a:gd name="T17" fmla="*/ 70 h 85"/>
                  <a:gd name="T18" fmla="*/ 39 w 75"/>
                  <a:gd name="T19" fmla="*/ 74 h 85"/>
                  <a:gd name="T20" fmla="*/ 22 w 75"/>
                  <a:gd name="T21" fmla="*/ 67 h 85"/>
                  <a:gd name="T22" fmla="*/ 14 w 75"/>
                  <a:gd name="T23" fmla="*/ 46 h 85"/>
                  <a:gd name="T24" fmla="*/ 75 w 75"/>
                  <a:gd name="T25" fmla="*/ 46 h 85"/>
                  <a:gd name="T26" fmla="*/ 75 w 75"/>
                  <a:gd name="T27" fmla="*/ 43 h 85"/>
                  <a:gd name="T28" fmla="*/ 65 w 75"/>
                  <a:gd name="T29" fmla="*/ 11 h 85"/>
                  <a:gd name="T30" fmla="*/ 38 w 75"/>
                  <a:gd name="T31" fmla="*/ 0 h 85"/>
                  <a:gd name="T32" fmla="*/ 15 w 75"/>
                  <a:gd name="T33" fmla="*/ 35 h 85"/>
                  <a:gd name="T34" fmla="*/ 22 w 75"/>
                  <a:gd name="T35" fmla="*/ 18 h 85"/>
                  <a:gd name="T36" fmla="*/ 38 w 75"/>
                  <a:gd name="T37" fmla="*/ 12 h 85"/>
                  <a:gd name="T38" fmla="*/ 55 w 75"/>
                  <a:gd name="T39" fmla="*/ 20 h 85"/>
                  <a:gd name="T40" fmla="*/ 60 w 75"/>
                  <a:gd name="T41" fmla="*/ 35 h 85"/>
                  <a:gd name="T42" fmla="*/ 15 w 75"/>
                  <a:gd name="T43" fmla="*/ 35 h 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75" h="85">
                    <a:moveTo>
                      <a:pt x="38" y="0"/>
                    </a:moveTo>
                    <a:cubicBezTo>
                      <a:pt x="27" y="0"/>
                      <a:pt x="18" y="4"/>
                      <a:pt x="10" y="12"/>
                    </a:cubicBezTo>
                    <a:cubicBezTo>
                      <a:pt x="3" y="19"/>
                      <a:pt x="0" y="30"/>
                      <a:pt x="0" y="43"/>
                    </a:cubicBezTo>
                    <a:cubicBezTo>
                      <a:pt x="0" y="57"/>
                      <a:pt x="3" y="67"/>
                      <a:pt x="10" y="74"/>
                    </a:cubicBezTo>
                    <a:cubicBezTo>
                      <a:pt x="17" y="81"/>
                      <a:pt x="27" y="85"/>
                      <a:pt x="39" y="85"/>
                    </a:cubicBezTo>
                    <a:cubicBezTo>
                      <a:pt x="48" y="85"/>
                      <a:pt x="56" y="83"/>
                      <a:pt x="62" y="78"/>
                    </a:cubicBezTo>
                    <a:cubicBezTo>
                      <a:pt x="68" y="74"/>
                      <a:pt x="72" y="67"/>
                      <a:pt x="74" y="59"/>
                    </a:cubicBezTo>
                    <a:cubicBezTo>
                      <a:pt x="60" y="57"/>
                      <a:pt x="60" y="57"/>
                      <a:pt x="60" y="57"/>
                    </a:cubicBezTo>
                    <a:cubicBezTo>
                      <a:pt x="58" y="63"/>
                      <a:pt x="55" y="67"/>
                      <a:pt x="52" y="70"/>
                    </a:cubicBezTo>
                    <a:cubicBezTo>
                      <a:pt x="48" y="73"/>
                      <a:pt x="44" y="74"/>
                      <a:pt x="39" y="74"/>
                    </a:cubicBezTo>
                    <a:cubicBezTo>
                      <a:pt x="32" y="74"/>
                      <a:pt x="26" y="71"/>
                      <a:pt x="22" y="67"/>
                    </a:cubicBezTo>
                    <a:cubicBezTo>
                      <a:pt x="17" y="62"/>
                      <a:pt x="15" y="55"/>
                      <a:pt x="14" y="46"/>
                    </a:cubicBezTo>
                    <a:cubicBezTo>
                      <a:pt x="75" y="46"/>
                      <a:pt x="75" y="46"/>
                      <a:pt x="75" y="46"/>
                    </a:cubicBezTo>
                    <a:cubicBezTo>
                      <a:pt x="75" y="45"/>
                      <a:pt x="75" y="43"/>
                      <a:pt x="75" y="43"/>
                    </a:cubicBezTo>
                    <a:cubicBezTo>
                      <a:pt x="75" y="29"/>
                      <a:pt x="71" y="19"/>
                      <a:pt x="65" y="11"/>
                    </a:cubicBezTo>
                    <a:cubicBezTo>
                      <a:pt x="58" y="4"/>
                      <a:pt x="49" y="0"/>
                      <a:pt x="38" y="0"/>
                    </a:cubicBezTo>
                    <a:close/>
                    <a:moveTo>
                      <a:pt x="15" y="35"/>
                    </a:moveTo>
                    <a:cubicBezTo>
                      <a:pt x="15" y="28"/>
                      <a:pt x="18" y="22"/>
                      <a:pt x="22" y="18"/>
                    </a:cubicBezTo>
                    <a:cubicBezTo>
                      <a:pt x="26" y="14"/>
                      <a:pt x="32" y="12"/>
                      <a:pt x="38" y="12"/>
                    </a:cubicBezTo>
                    <a:cubicBezTo>
                      <a:pt x="45" y="12"/>
                      <a:pt x="51" y="14"/>
                      <a:pt x="55" y="20"/>
                    </a:cubicBezTo>
                    <a:cubicBezTo>
                      <a:pt x="58" y="23"/>
                      <a:pt x="60" y="28"/>
                      <a:pt x="60" y="35"/>
                    </a:cubicBezTo>
                    <a:lnTo>
                      <a:pt x="15" y="3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159" name="ïşḷiḋè"/>
              <p:cNvSpPr/>
              <p:nvPr/>
            </p:nvSpPr>
            <p:spPr bwMode="auto">
              <a:xfrm>
                <a:off x="7458328" y="5729878"/>
                <a:ext cx="122238" cy="152400"/>
              </a:xfrm>
              <a:custGeom>
                <a:avLst/>
                <a:gdLst>
                  <a:gd name="T0" fmla="*/ 61 w 66"/>
                  <a:gd name="T1" fmla="*/ 10 h 83"/>
                  <a:gd name="T2" fmla="*/ 51 w 66"/>
                  <a:gd name="T3" fmla="*/ 3 h 83"/>
                  <a:gd name="T4" fmla="*/ 38 w 66"/>
                  <a:gd name="T5" fmla="*/ 0 h 83"/>
                  <a:gd name="T6" fmla="*/ 12 w 66"/>
                  <a:gd name="T7" fmla="*/ 14 h 83"/>
                  <a:gd name="T8" fmla="*/ 12 w 66"/>
                  <a:gd name="T9" fmla="*/ 2 h 83"/>
                  <a:gd name="T10" fmla="*/ 0 w 66"/>
                  <a:gd name="T11" fmla="*/ 2 h 83"/>
                  <a:gd name="T12" fmla="*/ 0 w 66"/>
                  <a:gd name="T13" fmla="*/ 83 h 83"/>
                  <a:gd name="T14" fmla="*/ 13 w 66"/>
                  <a:gd name="T15" fmla="*/ 83 h 83"/>
                  <a:gd name="T16" fmla="*/ 13 w 66"/>
                  <a:gd name="T17" fmla="*/ 39 h 83"/>
                  <a:gd name="T18" fmla="*/ 20 w 66"/>
                  <a:gd name="T19" fmla="*/ 18 h 83"/>
                  <a:gd name="T20" fmla="*/ 35 w 66"/>
                  <a:gd name="T21" fmla="*/ 12 h 83"/>
                  <a:gd name="T22" fmla="*/ 45 w 66"/>
                  <a:gd name="T23" fmla="*/ 15 h 83"/>
                  <a:gd name="T24" fmla="*/ 50 w 66"/>
                  <a:gd name="T25" fmla="*/ 21 h 83"/>
                  <a:gd name="T26" fmla="*/ 52 w 66"/>
                  <a:gd name="T27" fmla="*/ 34 h 83"/>
                  <a:gd name="T28" fmla="*/ 52 w 66"/>
                  <a:gd name="T29" fmla="*/ 83 h 83"/>
                  <a:gd name="T30" fmla="*/ 66 w 66"/>
                  <a:gd name="T31" fmla="*/ 83 h 83"/>
                  <a:gd name="T32" fmla="*/ 66 w 66"/>
                  <a:gd name="T33" fmla="*/ 33 h 83"/>
                  <a:gd name="T34" fmla="*/ 65 w 66"/>
                  <a:gd name="T35" fmla="*/ 20 h 83"/>
                  <a:gd name="T36" fmla="*/ 61 w 66"/>
                  <a:gd name="T37" fmla="*/ 10 h 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66" h="83">
                    <a:moveTo>
                      <a:pt x="61" y="10"/>
                    </a:moveTo>
                    <a:cubicBezTo>
                      <a:pt x="59" y="7"/>
                      <a:pt x="56" y="5"/>
                      <a:pt x="51" y="3"/>
                    </a:cubicBezTo>
                    <a:cubicBezTo>
                      <a:pt x="47" y="1"/>
                      <a:pt x="43" y="0"/>
                      <a:pt x="38" y="0"/>
                    </a:cubicBezTo>
                    <a:cubicBezTo>
                      <a:pt x="27" y="0"/>
                      <a:pt x="18" y="5"/>
                      <a:pt x="12" y="14"/>
                    </a:cubicBezTo>
                    <a:cubicBezTo>
                      <a:pt x="12" y="2"/>
                      <a:pt x="12" y="2"/>
                      <a:pt x="12" y="2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83"/>
                      <a:pt x="0" y="83"/>
                      <a:pt x="0" y="83"/>
                    </a:cubicBezTo>
                    <a:cubicBezTo>
                      <a:pt x="13" y="83"/>
                      <a:pt x="13" y="83"/>
                      <a:pt x="13" y="83"/>
                    </a:cubicBezTo>
                    <a:cubicBezTo>
                      <a:pt x="13" y="39"/>
                      <a:pt x="13" y="39"/>
                      <a:pt x="13" y="39"/>
                    </a:cubicBezTo>
                    <a:cubicBezTo>
                      <a:pt x="13" y="29"/>
                      <a:pt x="16" y="21"/>
                      <a:pt x="20" y="18"/>
                    </a:cubicBezTo>
                    <a:cubicBezTo>
                      <a:pt x="24" y="14"/>
                      <a:pt x="29" y="12"/>
                      <a:pt x="35" y="12"/>
                    </a:cubicBezTo>
                    <a:cubicBezTo>
                      <a:pt x="39" y="12"/>
                      <a:pt x="42" y="13"/>
                      <a:pt x="45" y="15"/>
                    </a:cubicBezTo>
                    <a:cubicBezTo>
                      <a:pt x="47" y="16"/>
                      <a:pt x="49" y="19"/>
                      <a:pt x="50" y="21"/>
                    </a:cubicBezTo>
                    <a:cubicBezTo>
                      <a:pt x="51" y="24"/>
                      <a:pt x="52" y="28"/>
                      <a:pt x="52" y="34"/>
                    </a:cubicBezTo>
                    <a:cubicBezTo>
                      <a:pt x="52" y="83"/>
                      <a:pt x="52" y="83"/>
                      <a:pt x="52" y="83"/>
                    </a:cubicBezTo>
                    <a:cubicBezTo>
                      <a:pt x="66" y="83"/>
                      <a:pt x="66" y="83"/>
                      <a:pt x="66" y="83"/>
                    </a:cubicBezTo>
                    <a:cubicBezTo>
                      <a:pt x="66" y="33"/>
                      <a:pt x="66" y="33"/>
                      <a:pt x="66" y="33"/>
                    </a:cubicBezTo>
                    <a:cubicBezTo>
                      <a:pt x="66" y="27"/>
                      <a:pt x="65" y="23"/>
                      <a:pt x="65" y="20"/>
                    </a:cubicBezTo>
                    <a:cubicBezTo>
                      <a:pt x="64" y="16"/>
                      <a:pt x="63" y="13"/>
                      <a:pt x="61" y="1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160" name="îṩľiḍé"/>
              <p:cNvSpPr/>
              <p:nvPr/>
            </p:nvSpPr>
            <p:spPr bwMode="auto">
              <a:xfrm>
                <a:off x="7612316" y="5729878"/>
                <a:ext cx="128588" cy="157163"/>
              </a:xfrm>
              <a:custGeom>
                <a:avLst/>
                <a:gdLst>
                  <a:gd name="T0" fmla="*/ 50 w 70"/>
                  <a:gd name="T1" fmla="*/ 69 h 85"/>
                  <a:gd name="T2" fmla="*/ 36 w 70"/>
                  <a:gd name="T3" fmla="*/ 74 h 85"/>
                  <a:gd name="T4" fmla="*/ 20 w 70"/>
                  <a:gd name="T5" fmla="*/ 66 h 85"/>
                  <a:gd name="T6" fmla="*/ 14 w 70"/>
                  <a:gd name="T7" fmla="*/ 43 h 85"/>
                  <a:gd name="T8" fmla="*/ 20 w 70"/>
                  <a:gd name="T9" fmla="*/ 19 h 85"/>
                  <a:gd name="T10" fmla="*/ 37 w 70"/>
                  <a:gd name="T11" fmla="*/ 12 h 85"/>
                  <a:gd name="T12" fmla="*/ 49 w 70"/>
                  <a:gd name="T13" fmla="*/ 16 h 85"/>
                  <a:gd name="T14" fmla="*/ 56 w 70"/>
                  <a:gd name="T15" fmla="*/ 28 h 85"/>
                  <a:gd name="T16" fmla="*/ 69 w 70"/>
                  <a:gd name="T17" fmla="*/ 26 h 85"/>
                  <a:gd name="T18" fmla="*/ 58 w 70"/>
                  <a:gd name="T19" fmla="*/ 7 h 85"/>
                  <a:gd name="T20" fmla="*/ 37 w 70"/>
                  <a:gd name="T21" fmla="*/ 0 h 85"/>
                  <a:gd name="T22" fmla="*/ 17 w 70"/>
                  <a:gd name="T23" fmla="*/ 5 h 85"/>
                  <a:gd name="T24" fmla="*/ 4 w 70"/>
                  <a:gd name="T25" fmla="*/ 20 h 85"/>
                  <a:gd name="T26" fmla="*/ 0 w 70"/>
                  <a:gd name="T27" fmla="*/ 43 h 85"/>
                  <a:gd name="T28" fmla="*/ 10 w 70"/>
                  <a:gd name="T29" fmla="*/ 74 h 85"/>
                  <a:gd name="T30" fmla="*/ 37 w 70"/>
                  <a:gd name="T31" fmla="*/ 85 h 85"/>
                  <a:gd name="T32" fmla="*/ 59 w 70"/>
                  <a:gd name="T33" fmla="*/ 77 h 85"/>
                  <a:gd name="T34" fmla="*/ 70 w 70"/>
                  <a:gd name="T35" fmla="*/ 55 h 85"/>
                  <a:gd name="T36" fmla="*/ 57 w 70"/>
                  <a:gd name="T37" fmla="*/ 54 h 85"/>
                  <a:gd name="T38" fmla="*/ 50 w 70"/>
                  <a:gd name="T39" fmla="*/ 69 h 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70" h="85">
                    <a:moveTo>
                      <a:pt x="50" y="69"/>
                    </a:moveTo>
                    <a:cubicBezTo>
                      <a:pt x="46" y="72"/>
                      <a:pt x="42" y="74"/>
                      <a:pt x="36" y="74"/>
                    </a:cubicBezTo>
                    <a:cubicBezTo>
                      <a:pt x="30" y="74"/>
                      <a:pt x="24" y="71"/>
                      <a:pt x="20" y="66"/>
                    </a:cubicBezTo>
                    <a:cubicBezTo>
                      <a:pt x="16" y="61"/>
                      <a:pt x="14" y="54"/>
                      <a:pt x="14" y="43"/>
                    </a:cubicBezTo>
                    <a:cubicBezTo>
                      <a:pt x="14" y="32"/>
                      <a:pt x="16" y="24"/>
                      <a:pt x="20" y="19"/>
                    </a:cubicBezTo>
                    <a:cubicBezTo>
                      <a:pt x="25" y="14"/>
                      <a:pt x="30" y="12"/>
                      <a:pt x="37" y="12"/>
                    </a:cubicBezTo>
                    <a:cubicBezTo>
                      <a:pt x="42" y="12"/>
                      <a:pt x="46" y="13"/>
                      <a:pt x="49" y="16"/>
                    </a:cubicBezTo>
                    <a:cubicBezTo>
                      <a:pt x="52" y="18"/>
                      <a:pt x="54" y="23"/>
                      <a:pt x="56" y="28"/>
                    </a:cubicBezTo>
                    <a:cubicBezTo>
                      <a:pt x="69" y="26"/>
                      <a:pt x="69" y="26"/>
                      <a:pt x="69" y="26"/>
                    </a:cubicBezTo>
                    <a:cubicBezTo>
                      <a:pt x="68" y="18"/>
                      <a:pt x="64" y="11"/>
                      <a:pt x="58" y="7"/>
                    </a:cubicBezTo>
                    <a:cubicBezTo>
                      <a:pt x="53" y="2"/>
                      <a:pt x="46" y="0"/>
                      <a:pt x="37" y="0"/>
                    </a:cubicBezTo>
                    <a:cubicBezTo>
                      <a:pt x="30" y="0"/>
                      <a:pt x="23" y="2"/>
                      <a:pt x="17" y="5"/>
                    </a:cubicBezTo>
                    <a:cubicBezTo>
                      <a:pt x="11" y="8"/>
                      <a:pt x="7" y="13"/>
                      <a:pt x="4" y="20"/>
                    </a:cubicBezTo>
                    <a:cubicBezTo>
                      <a:pt x="1" y="27"/>
                      <a:pt x="0" y="34"/>
                      <a:pt x="0" y="43"/>
                    </a:cubicBezTo>
                    <a:cubicBezTo>
                      <a:pt x="0" y="57"/>
                      <a:pt x="3" y="67"/>
                      <a:pt x="10" y="74"/>
                    </a:cubicBezTo>
                    <a:cubicBezTo>
                      <a:pt x="17" y="82"/>
                      <a:pt x="26" y="85"/>
                      <a:pt x="37" y="85"/>
                    </a:cubicBezTo>
                    <a:cubicBezTo>
                      <a:pt x="45" y="85"/>
                      <a:pt x="53" y="83"/>
                      <a:pt x="59" y="77"/>
                    </a:cubicBezTo>
                    <a:cubicBezTo>
                      <a:pt x="65" y="72"/>
                      <a:pt x="69" y="65"/>
                      <a:pt x="70" y="55"/>
                    </a:cubicBezTo>
                    <a:cubicBezTo>
                      <a:pt x="57" y="54"/>
                      <a:pt x="57" y="54"/>
                      <a:pt x="57" y="54"/>
                    </a:cubicBezTo>
                    <a:cubicBezTo>
                      <a:pt x="56" y="60"/>
                      <a:pt x="54" y="66"/>
                      <a:pt x="50" y="6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161" name="íṡḷïďe"/>
              <p:cNvSpPr/>
              <p:nvPr/>
            </p:nvSpPr>
            <p:spPr bwMode="auto">
              <a:xfrm>
                <a:off x="7755191" y="5729878"/>
                <a:ext cx="138113" cy="157163"/>
              </a:xfrm>
              <a:custGeom>
                <a:avLst/>
                <a:gdLst>
                  <a:gd name="T0" fmla="*/ 38 w 75"/>
                  <a:gd name="T1" fmla="*/ 0 h 85"/>
                  <a:gd name="T2" fmla="*/ 10 w 75"/>
                  <a:gd name="T3" fmla="*/ 12 h 85"/>
                  <a:gd name="T4" fmla="*/ 0 w 75"/>
                  <a:gd name="T5" fmla="*/ 43 h 85"/>
                  <a:gd name="T6" fmla="*/ 10 w 75"/>
                  <a:gd name="T7" fmla="*/ 74 h 85"/>
                  <a:gd name="T8" fmla="*/ 38 w 75"/>
                  <a:gd name="T9" fmla="*/ 85 h 85"/>
                  <a:gd name="T10" fmla="*/ 62 w 75"/>
                  <a:gd name="T11" fmla="*/ 78 h 85"/>
                  <a:gd name="T12" fmla="*/ 74 w 75"/>
                  <a:gd name="T13" fmla="*/ 59 h 85"/>
                  <a:gd name="T14" fmla="*/ 60 w 75"/>
                  <a:gd name="T15" fmla="*/ 57 h 85"/>
                  <a:gd name="T16" fmla="*/ 51 w 75"/>
                  <a:gd name="T17" fmla="*/ 70 h 85"/>
                  <a:gd name="T18" fmla="*/ 38 w 75"/>
                  <a:gd name="T19" fmla="*/ 74 h 85"/>
                  <a:gd name="T20" fmla="*/ 21 w 75"/>
                  <a:gd name="T21" fmla="*/ 67 h 85"/>
                  <a:gd name="T22" fmla="*/ 14 w 75"/>
                  <a:gd name="T23" fmla="*/ 46 h 85"/>
                  <a:gd name="T24" fmla="*/ 75 w 75"/>
                  <a:gd name="T25" fmla="*/ 46 h 85"/>
                  <a:gd name="T26" fmla="*/ 75 w 75"/>
                  <a:gd name="T27" fmla="*/ 43 h 85"/>
                  <a:gd name="T28" fmla="*/ 64 w 75"/>
                  <a:gd name="T29" fmla="*/ 11 h 85"/>
                  <a:gd name="T30" fmla="*/ 38 w 75"/>
                  <a:gd name="T31" fmla="*/ 0 h 85"/>
                  <a:gd name="T32" fmla="*/ 15 w 75"/>
                  <a:gd name="T33" fmla="*/ 35 h 85"/>
                  <a:gd name="T34" fmla="*/ 22 w 75"/>
                  <a:gd name="T35" fmla="*/ 18 h 85"/>
                  <a:gd name="T36" fmla="*/ 38 w 75"/>
                  <a:gd name="T37" fmla="*/ 12 h 85"/>
                  <a:gd name="T38" fmla="*/ 55 w 75"/>
                  <a:gd name="T39" fmla="*/ 20 h 85"/>
                  <a:gd name="T40" fmla="*/ 60 w 75"/>
                  <a:gd name="T41" fmla="*/ 35 h 85"/>
                  <a:gd name="T42" fmla="*/ 15 w 75"/>
                  <a:gd name="T43" fmla="*/ 35 h 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75" h="85">
                    <a:moveTo>
                      <a:pt x="38" y="0"/>
                    </a:moveTo>
                    <a:cubicBezTo>
                      <a:pt x="26" y="0"/>
                      <a:pt x="17" y="4"/>
                      <a:pt x="10" y="12"/>
                    </a:cubicBezTo>
                    <a:cubicBezTo>
                      <a:pt x="3" y="19"/>
                      <a:pt x="0" y="30"/>
                      <a:pt x="0" y="43"/>
                    </a:cubicBezTo>
                    <a:cubicBezTo>
                      <a:pt x="0" y="57"/>
                      <a:pt x="3" y="67"/>
                      <a:pt x="10" y="74"/>
                    </a:cubicBezTo>
                    <a:cubicBezTo>
                      <a:pt x="17" y="81"/>
                      <a:pt x="26" y="85"/>
                      <a:pt x="38" y="85"/>
                    </a:cubicBezTo>
                    <a:cubicBezTo>
                      <a:pt x="48" y="85"/>
                      <a:pt x="56" y="83"/>
                      <a:pt x="62" y="78"/>
                    </a:cubicBezTo>
                    <a:cubicBezTo>
                      <a:pt x="68" y="74"/>
                      <a:pt x="72" y="67"/>
                      <a:pt x="74" y="59"/>
                    </a:cubicBezTo>
                    <a:cubicBezTo>
                      <a:pt x="60" y="57"/>
                      <a:pt x="60" y="57"/>
                      <a:pt x="60" y="57"/>
                    </a:cubicBezTo>
                    <a:cubicBezTo>
                      <a:pt x="58" y="63"/>
                      <a:pt x="55" y="67"/>
                      <a:pt x="51" y="70"/>
                    </a:cubicBezTo>
                    <a:cubicBezTo>
                      <a:pt x="48" y="73"/>
                      <a:pt x="43" y="74"/>
                      <a:pt x="38" y="74"/>
                    </a:cubicBezTo>
                    <a:cubicBezTo>
                      <a:pt x="32" y="74"/>
                      <a:pt x="26" y="71"/>
                      <a:pt x="21" y="67"/>
                    </a:cubicBezTo>
                    <a:cubicBezTo>
                      <a:pt x="17" y="62"/>
                      <a:pt x="14" y="55"/>
                      <a:pt x="14" y="46"/>
                    </a:cubicBezTo>
                    <a:cubicBezTo>
                      <a:pt x="75" y="46"/>
                      <a:pt x="75" y="46"/>
                      <a:pt x="75" y="46"/>
                    </a:cubicBezTo>
                    <a:cubicBezTo>
                      <a:pt x="75" y="45"/>
                      <a:pt x="75" y="43"/>
                      <a:pt x="75" y="43"/>
                    </a:cubicBezTo>
                    <a:cubicBezTo>
                      <a:pt x="75" y="29"/>
                      <a:pt x="71" y="19"/>
                      <a:pt x="64" y="11"/>
                    </a:cubicBezTo>
                    <a:cubicBezTo>
                      <a:pt x="57" y="4"/>
                      <a:pt x="48" y="0"/>
                      <a:pt x="38" y="0"/>
                    </a:cubicBezTo>
                    <a:close/>
                    <a:moveTo>
                      <a:pt x="15" y="35"/>
                    </a:moveTo>
                    <a:cubicBezTo>
                      <a:pt x="15" y="28"/>
                      <a:pt x="17" y="22"/>
                      <a:pt x="22" y="18"/>
                    </a:cubicBezTo>
                    <a:cubicBezTo>
                      <a:pt x="26" y="14"/>
                      <a:pt x="31" y="12"/>
                      <a:pt x="38" y="12"/>
                    </a:cubicBezTo>
                    <a:cubicBezTo>
                      <a:pt x="45" y="12"/>
                      <a:pt x="50" y="14"/>
                      <a:pt x="55" y="20"/>
                    </a:cubicBezTo>
                    <a:cubicBezTo>
                      <a:pt x="58" y="23"/>
                      <a:pt x="59" y="28"/>
                      <a:pt x="60" y="35"/>
                    </a:cubicBezTo>
                    <a:lnTo>
                      <a:pt x="15" y="3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162" name="í$ľîde"/>
              <p:cNvSpPr/>
              <p:nvPr/>
            </p:nvSpPr>
            <p:spPr bwMode="auto">
              <a:xfrm>
                <a:off x="7994903" y="5729878"/>
                <a:ext cx="138113" cy="157163"/>
              </a:xfrm>
              <a:custGeom>
                <a:avLst/>
                <a:gdLst>
                  <a:gd name="T0" fmla="*/ 71 w 75"/>
                  <a:gd name="T1" fmla="*/ 49 h 85"/>
                  <a:gd name="T2" fmla="*/ 71 w 75"/>
                  <a:gd name="T3" fmla="*/ 31 h 85"/>
                  <a:gd name="T4" fmla="*/ 70 w 75"/>
                  <a:gd name="T5" fmla="*/ 18 h 85"/>
                  <a:gd name="T6" fmla="*/ 66 w 75"/>
                  <a:gd name="T7" fmla="*/ 9 h 85"/>
                  <a:gd name="T8" fmla="*/ 56 w 75"/>
                  <a:gd name="T9" fmla="*/ 3 h 85"/>
                  <a:gd name="T10" fmla="*/ 39 w 75"/>
                  <a:gd name="T11" fmla="*/ 0 h 85"/>
                  <a:gd name="T12" fmla="*/ 21 w 75"/>
                  <a:gd name="T13" fmla="*/ 3 h 85"/>
                  <a:gd name="T14" fmla="*/ 9 w 75"/>
                  <a:gd name="T15" fmla="*/ 11 h 85"/>
                  <a:gd name="T16" fmla="*/ 3 w 75"/>
                  <a:gd name="T17" fmla="*/ 25 h 85"/>
                  <a:gd name="T18" fmla="*/ 16 w 75"/>
                  <a:gd name="T19" fmla="*/ 27 h 85"/>
                  <a:gd name="T20" fmla="*/ 23 w 75"/>
                  <a:gd name="T21" fmla="*/ 15 h 85"/>
                  <a:gd name="T22" fmla="*/ 37 w 75"/>
                  <a:gd name="T23" fmla="*/ 12 h 85"/>
                  <a:gd name="T24" fmla="*/ 53 w 75"/>
                  <a:gd name="T25" fmla="*/ 16 h 85"/>
                  <a:gd name="T26" fmla="*/ 57 w 75"/>
                  <a:gd name="T27" fmla="*/ 28 h 85"/>
                  <a:gd name="T28" fmla="*/ 57 w 75"/>
                  <a:gd name="T29" fmla="*/ 32 h 85"/>
                  <a:gd name="T30" fmla="*/ 32 w 75"/>
                  <a:gd name="T31" fmla="*/ 36 h 85"/>
                  <a:gd name="T32" fmla="*/ 20 w 75"/>
                  <a:gd name="T33" fmla="*/ 39 h 85"/>
                  <a:gd name="T34" fmla="*/ 10 w 75"/>
                  <a:gd name="T35" fmla="*/ 43 h 85"/>
                  <a:gd name="T36" fmla="*/ 3 w 75"/>
                  <a:gd name="T37" fmla="*/ 51 h 85"/>
                  <a:gd name="T38" fmla="*/ 0 w 75"/>
                  <a:gd name="T39" fmla="*/ 62 h 85"/>
                  <a:gd name="T40" fmla="*/ 7 w 75"/>
                  <a:gd name="T41" fmla="*/ 79 h 85"/>
                  <a:gd name="T42" fmla="*/ 28 w 75"/>
                  <a:gd name="T43" fmla="*/ 85 h 85"/>
                  <a:gd name="T44" fmla="*/ 43 w 75"/>
                  <a:gd name="T45" fmla="*/ 82 h 85"/>
                  <a:gd name="T46" fmla="*/ 58 w 75"/>
                  <a:gd name="T47" fmla="*/ 73 h 85"/>
                  <a:gd name="T48" fmla="*/ 61 w 75"/>
                  <a:gd name="T49" fmla="*/ 83 h 85"/>
                  <a:gd name="T50" fmla="*/ 75 w 75"/>
                  <a:gd name="T51" fmla="*/ 83 h 85"/>
                  <a:gd name="T52" fmla="*/ 72 w 75"/>
                  <a:gd name="T53" fmla="*/ 74 h 85"/>
                  <a:gd name="T54" fmla="*/ 71 w 75"/>
                  <a:gd name="T55" fmla="*/ 49 h 85"/>
                  <a:gd name="T56" fmla="*/ 57 w 75"/>
                  <a:gd name="T57" fmla="*/ 48 h 85"/>
                  <a:gd name="T58" fmla="*/ 55 w 75"/>
                  <a:gd name="T59" fmla="*/ 61 h 85"/>
                  <a:gd name="T60" fmla="*/ 46 w 75"/>
                  <a:gd name="T61" fmla="*/ 71 h 85"/>
                  <a:gd name="T62" fmla="*/ 31 w 75"/>
                  <a:gd name="T63" fmla="*/ 74 h 85"/>
                  <a:gd name="T64" fmla="*/ 19 w 75"/>
                  <a:gd name="T65" fmla="*/ 71 h 85"/>
                  <a:gd name="T66" fmla="*/ 15 w 75"/>
                  <a:gd name="T67" fmla="*/ 62 h 85"/>
                  <a:gd name="T68" fmla="*/ 17 w 75"/>
                  <a:gd name="T69" fmla="*/ 55 h 85"/>
                  <a:gd name="T70" fmla="*/ 22 w 75"/>
                  <a:gd name="T71" fmla="*/ 50 h 85"/>
                  <a:gd name="T72" fmla="*/ 34 w 75"/>
                  <a:gd name="T73" fmla="*/ 48 h 85"/>
                  <a:gd name="T74" fmla="*/ 57 w 75"/>
                  <a:gd name="T75" fmla="*/ 43 h 85"/>
                  <a:gd name="T76" fmla="*/ 57 w 75"/>
                  <a:gd name="T77" fmla="*/ 48 h 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75" h="85">
                    <a:moveTo>
                      <a:pt x="71" y="49"/>
                    </a:moveTo>
                    <a:cubicBezTo>
                      <a:pt x="71" y="31"/>
                      <a:pt x="71" y="31"/>
                      <a:pt x="71" y="31"/>
                    </a:cubicBezTo>
                    <a:cubicBezTo>
                      <a:pt x="71" y="25"/>
                      <a:pt x="71" y="21"/>
                      <a:pt x="70" y="18"/>
                    </a:cubicBezTo>
                    <a:cubicBezTo>
                      <a:pt x="69" y="14"/>
                      <a:pt x="68" y="11"/>
                      <a:pt x="66" y="9"/>
                    </a:cubicBezTo>
                    <a:cubicBezTo>
                      <a:pt x="64" y="6"/>
                      <a:pt x="61" y="4"/>
                      <a:pt x="56" y="3"/>
                    </a:cubicBezTo>
                    <a:cubicBezTo>
                      <a:pt x="52" y="1"/>
                      <a:pt x="46" y="0"/>
                      <a:pt x="39" y="0"/>
                    </a:cubicBezTo>
                    <a:cubicBezTo>
                      <a:pt x="32" y="0"/>
                      <a:pt x="26" y="1"/>
                      <a:pt x="21" y="3"/>
                    </a:cubicBezTo>
                    <a:cubicBezTo>
                      <a:pt x="16" y="5"/>
                      <a:pt x="12" y="8"/>
                      <a:pt x="9" y="11"/>
                    </a:cubicBezTo>
                    <a:cubicBezTo>
                      <a:pt x="6" y="15"/>
                      <a:pt x="4" y="19"/>
                      <a:pt x="3" y="25"/>
                    </a:cubicBezTo>
                    <a:cubicBezTo>
                      <a:pt x="16" y="27"/>
                      <a:pt x="16" y="27"/>
                      <a:pt x="16" y="27"/>
                    </a:cubicBezTo>
                    <a:cubicBezTo>
                      <a:pt x="18" y="21"/>
                      <a:pt x="20" y="17"/>
                      <a:pt x="23" y="15"/>
                    </a:cubicBezTo>
                    <a:cubicBezTo>
                      <a:pt x="26" y="13"/>
                      <a:pt x="31" y="12"/>
                      <a:pt x="37" y="12"/>
                    </a:cubicBezTo>
                    <a:cubicBezTo>
                      <a:pt x="44" y="12"/>
                      <a:pt x="50" y="13"/>
                      <a:pt x="53" y="16"/>
                    </a:cubicBezTo>
                    <a:cubicBezTo>
                      <a:pt x="56" y="19"/>
                      <a:pt x="57" y="23"/>
                      <a:pt x="57" y="28"/>
                    </a:cubicBezTo>
                    <a:cubicBezTo>
                      <a:pt x="57" y="29"/>
                      <a:pt x="57" y="30"/>
                      <a:pt x="57" y="32"/>
                    </a:cubicBezTo>
                    <a:cubicBezTo>
                      <a:pt x="52" y="34"/>
                      <a:pt x="43" y="35"/>
                      <a:pt x="32" y="36"/>
                    </a:cubicBezTo>
                    <a:cubicBezTo>
                      <a:pt x="27" y="37"/>
                      <a:pt x="23" y="38"/>
                      <a:pt x="20" y="39"/>
                    </a:cubicBezTo>
                    <a:cubicBezTo>
                      <a:pt x="16" y="40"/>
                      <a:pt x="13" y="41"/>
                      <a:pt x="10" y="43"/>
                    </a:cubicBezTo>
                    <a:cubicBezTo>
                      <a:pt x="7" y="45"/>
                      <a:pt x="5" y="48"/>
                      <a:pt x="3" y="51"/>
                    </a:cubicBezTo>
                    <a:cubicBezTo>
                      <a:pt x="1" y="54"/>
                      <a:pt x="0" y="58"/>
                      <a:pt x="0" y="62"/>
                    </a:cubicBezTo>
                    <a:cubicBezTo>
                      <a:pt x="0" y="69"/>
                      <a:pt x="3" y="74"/>
                      <a:pt x="7" y="79"/>
                    </a:cubicBezTo>
                    <a:cubicBezTo>
                      <a:pt x="12" y="83"/>
                      <a:pt x="19" y="85"/>
                      <a:pt x="28" y="85"/>
                    </a:cubicBezTo>
                    <a:cubicBezTo>
                      <a:pt x="33" y="85"/>
                      <a:pt x="39" y="84"/>
                      <a:pt x="43" y="82"/>
                    </a:cubicBezTo>
                    <a:cubicBezTo>
                      <a:pt x="48" y="81"/>
                      <a:pt x="53" y="78"/>
                      <a:pt x="58" y="73"/>
                    </a:cubicBezTo>
                    <a:cubicBezTo>
                      <a:pt x="58" y="77"/>
                      <a:pt x="59" y="80"/>
                      <a:pt x="61" y="83"/>
                    </a:cubicBezTo>
                    <a:cubicBezTo>
                      <a:pt x="75" y="83"/>
                      <a:pt x="75" y="83"/>
                      <a:pt x="75" y="83"/>
                    </a:cubicBezTo>
                    <a:cubicBezTo>
                      <a:pt x="73" y="80"/>
                      <a:pt x="72" y="77"/>
                      <a:pt x="72" y="74"/>
                    </a:cubicBezTo>
                    <a:cubicBezTo>
                      <a:pt x="71" y="70"/>
                      <a:pt x="71" y="62"/>
                      <a:pt x="71" y="49"/>
                    </a:cubicBezTo>
                    <a:close/>
                    <a:moveTo>
                      <a:pt x="57" y="48"/>
                    </a:moveTo>
                    <a:cubicBezTo>
                      <a:pt x="57" y="54"/>
                      <a:pt x="56" y="58"/>
                      <a:pt x="55" y="61"/>
                    </a:cubicBezTo>
                    <a:cubicBezTo>
                      <a:pt x="53" y="65"/>
                      <a:pt x="50" y="69"/>
                      <a:pt x="46" y="71"/>
                    </a:cubicBezTo>
                    <a:cubicBezTo>
                      <a:pt x="41" y="73"/>
                      <a:pt x="37" y="74"/>
                      <a:pt x="31" y="74"/>
                    </a:cubicBezTo>
                    <a:cubicBezTo>
                      <a:pt x="26" y="74"/>
                      <a:pt x="22" y="73"/>
                      <a:pt x="19" y="71"/>
                    </a:cubicBezTo>
                    <a:cubicBezTo>
                      <a:pt x="16" y="68"/>
                      <a:pt x="15" y="65"/>
                      <a:pt x="15" y="62"/>
                    </a:cubicBezTo>
                    <a:cubicBezTo>
                      <a:pt x="15" y="59"/>
                      <a:pt x="16" y="57"/>
                      <a:pt x="17" y="55"/>
                    </a:cubicBezTo>
                    <a:cubicBezTo>
                      <a:pt x="18" y="53"/>
                      <a:pt x="20" y="52"/>
                      <a:pt x="22" y="50"/>
                    </a:cubicBezTo>
                    <a:cubicBezTo>
                      <a:pt x="25" y="49"/>
                      <a:pt x="29" y="49"/>
                      <a:pt x="34" y="48"/>
                    </a:cubicBezTo>
                    <a:cubicBezTo>
                      <a:pt x="44" y="46"/>
                      <a:pt x="52" y="45"/>
                      <a:pt x="57" y="43"/>
                    </a:cubicBezTo>
                    <a:lnTo>
                      <a:pt x="57" y="4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163" name="ï$ḻíḋê"/>
              <p:cNvSpPr/>
              <p:nvPr/>
            </p:nvSpPr>
            <p:spPr bwMode="auto">
              <a:xfrm>
                <a:off x="8164766" y="5729878"/>
                <a:ext cx="122238" cy="152400"/>
              </a:xfrm>
              <a:custGeom>
                <a:avLst/>
                <a:gdLst>
                  <a:gd name="T0" fmla="*/ 61 w 66"/>
                  <a:gd name="T1" fmla="*/ 10 h 83"/>
                  <a:gd name="T2" fmla="*/ 52 w 66"/>
                  <a:gd name="T3" fmla="*/ 3 h 83"/>
                  <a:gd name="T4" fmla="*/ 38 w 66"/>
                  <a:gd name="T5" fmla="*/ 0 h 83"/>
                  <a:gd name="T6" fmla="*/ 13 w 66"/>
                  <a:gd name="T7" fmla="*/ 14 h 83"/>
                  <a:gd name="T8" fmla="*/ 13 w 66"/>
                  <a:gd name="T9" fmla="*/ 2 h 83"/>
                  <a:gd name="T10" fmla="*/ 0 w 66"/>
                  <a:gd name="T11" fmla="*/ 2 h 83"/>
                  <a:gd name="T12" fmla="*/ 0 w 66"/>
                  <a:gd name="T13" fmla="*/ 83 h 83"/>
                  <a:gd name="T14" fmla="*/ 14 w 66"/>
                  <a:gd name="T15" fmla="*/ 83 h 83"/>
                  <a:gd name="T16" fmla="*/ 14 w 66"/>
                  <a:gd name="T17" fmla="*/ 39 h 83"/>
                  <a:gd name="T18" fmla="*/ 20 w 66"/>
                  <a:gd name="T19" fmla="*/ 18 h 83"/>
                  <a:gd name="T20" fmla="*/ 36 w 66"/>
                  <a:gd name="T21" fmla="*/ 12 h 83"/>
                  <a:gd name="T22" fmla="*/ 45 w 66"/>
                  <a:gd name="T23" fmla="*/ 15 h 83"/>
                  <a:gd name="T24" fmla="*/ 51 w 66"/>
                  <a:gd name="T25" fmla="*/ 21 h 83"/>
                  <a:gd name="T26" fmla="*/ 52 w 66"/>
                  <a:gd name="T27" fmla="*/ 34 h 83"/>
                  <a:gd name="T28" fmla="*/ 52 w 66"/>
                  <a:gd name="T29" fmla="*/ 83 h 83"/>
                  <a:gd name="T30" fmla="*/ 66 w 66"/>
                  <a:gd name="T31" fmla="*/ 83 h 83"/>
                  <a:gd name="T32" fmla="*/ 66 w 66"/>
                  <a:gd name="T33" fmla="*/ 33 h 83"/>
                  <a:gd name="T34" fmla="*/ 65 w 66"/>
                  <a:gd name="T35" fmla="*/ 20 h 83"/>
                  <a:gd name="T36" fmla="*/ 61 w 66"/>
                  <a:gd name="T37" fmla="*/ 10 h 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66" h="83">
                    <a:moveTo>
                      <a:pt x="61" y="10"/>
                    </a:moveTo>
                    <a:cubicBezTo>
                      <a:pt x="59" y="7"/>
                      <a:pt x="56" y="5"/>
                      <a:pt x="52" y="3"/>
                    </a:cubicBezTo>
                    <a:cubicBezTo>
                      <a:pt x="48" y="1"/>
                      <a:pt x="43" y="0"/>
                      <a:pt x="38" y="0"/>
                    </a:cubicBezTo>
                    <a:cubicBezTo>
                      <a:pt x="27" y="0"/>
                      <a:pt x="19" y="5"/>
                      <a:pt x="13" y="14"/>
                    </a:cubicBezTo>
                    <a:cubicBezTo>
                      <a:pt x="13" y="2"/>
                      <a:pt x="13" y="2"/>
                      <a:pt x="13" y="2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83"/>
                      <a:pt x="0" y="83"/>
                      <a:pt x="0" y="83"/>
                    </a:cubicBezTo>
                    <a:cubicBezTo>
                      <a:pt x="14" y="83"/>
                      <a:pt x="14" y="83"/>
                      <a:pt x="14" y="83"/>
                    </a:cubicBezTo>
                    <a:cubicBezTo>
                      <a:pt x="14" y="39"/>
                      <a:pt x="14" y="39"/>
                      <a:pt x="14" y="39"/>
                    </a:cubicBezTo>
                    <a:cubicBezTo>
                      <a:pt x="14" y="29"/>
                      <a:pt x="16" y="21"/>
                      <a:pt x="20" y="18"/>
                    </a:cubicBezTo>
                    <a:cubicBezTo>
                      <a:pt x="25" y="14"/>
                      <a:pt x="30" y="12"/>
                      <a:pt x="36" y="12"/>
                    </a:cubicBezTo>
                    <a:cubicBezTo>
                      <a:pt x="39" y="12"/>
                      <a:pt x="42" y="13"/>
                      <a:pt x="45" y="15"/>
                    </a:cubicBezTo>
                    <a:cubicBezTo>
                      <a:pt x="48" y="16"/>
                      <a:pt x="50" y="19"/>
                      <a:pt x="51" y="21"/>
                    </a:cubicBezTo>
                    <a:cubicBezTo>
                      <a:pt x="52" y="24"/>
                      <a:pt x="52" y="28"/>
                      <a:pt x="52" y="34"/>
                    </a:cubicBezTo>
                    <a:cubicBezTo>
                      <a:pt x="52" y="83"/>
                      <a:pt x="52" y="83"/>
                      <a:pt x="52" y="83"/>
                    </a:cubicBezTo>
                    <a:cubicBezTo>
                      <a:pt x="66" y="83"/>
                      <a:pt x="66" y="83"/>
                      <a:pt x="66" y="83"/>
                    </a:cubicBezTo>
                    <a:cubicBezTo>
                      <a:pt x="66" y="33"/>
                      <a:pt x="66" y="33"/>
                      <a:pt x="66" y="33"/>
                    </a:cubicBezTo>
                    <a:cubicBezTo>
                      <a:pt x="66" y="27"/>
                      <a:pt x="66" y="23"/>
                      <a:pt x="65" y="20"/>
                    </a:cubicBezTo>
                    <a:cubicBezTo>
                      <a:pt x="65" y="16"/>
                      <a:pt x="63" y="13"/>
                      <a:pt x="61" y="1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164" name="îśḻïďè"/>
              <p:cNvSpPr/>
              <p:nvPr/>
            </p:nvSpPr>
            <p:spPr bwMode="auto">
              <a:xfrm>
                <a:off x="8315578" y="5675903"/>
                <a:ext cx="131763" cy="211138"/>
              </a:xfrm>
              <a:custGeom>
                <a:avLst/>
                <a:gdLst>
                  <a:gd name="T0" fmla="*/ 57 w 71"/>
                  <a:gd name="T1" fmla="*/ 40 h 114"/>
                  <a:gd name="T2" fmla="*/ 48 w 71"/>
                  <a:gd name="T3" fmla="*/ 32 h 114"/>
                  <a:gd name="T4" fmla="*/ 35 w 71"/>
                  <a:gd name="T5" fmla="*/ 29 h 114"/>
                  <a:gd name="T6" fmla="*/ 17 w 71"/>
                  <a:gd name="T7" fmla="*/ 35 h 114"/>
                  <a:gd name="T8" fmla="*/ 4 w 71"/>
                  <a:gd name="T9" fmla="*/ 50 h 114"/>
                  <a:gd name="T10" fmla="*/ 0 w 71"/>
                  <a:gd name="T11" fmla="*/ 72 h 114"/>
                  <a:gd name="T12" fmla="*/ 5 w 71"/>
                  <a:gd name="T13" fmla="*/ 94 h 114"/>
                  <a:gd name="T14" fmla="*/ 17 w 71"/>
                  <a:gd name="T15" fmla="*/ 109 h 114"/>
                  <a:gd name="T16" fmla="*/ 35 w 71"/>
                  <a:gd name="T17" fmla="*/ 114 h 114"/>
                  <a:gd name="T18" fmla="*/ 58 w 71"/>
                  <a:gd name="T19" fmla="*/ 102 h 114"/>
                  <a:gd name="T20" fmla="*/ 58 w 71"/>
                  <a:gd name="T21" fmla="*/ 112 h 114"/>
                  <a:gd name="T22" fmla="*/ 71 w 71"/>
                  <a:gd name="T23" fmla="*/ 112 h 114"/>
                  <a:gd name="T24" fmla="*/ 71 w 71"/>
                  <a:gd name="T25" fmla="*/ 0 h 114"/>
                  <a:gd name="T26" fmla="*/ 57 w 71"/>
                  <a:gd name="T27" fmla="*/ 0 h 114"/>
                  <a:gd name="T28" fmla="*/ 57 w 71"/>
                  <a:gd name="T29" fmla="*/ 40 h 114"/>
                  <a:gd name="T30" fmla="*/ 52 w 71"/>
                  <a:gd name="T31" fmla="*/ 95 h 114"/>
                  <a:gd name="T32" fmla="*/ 37 w 71"/>
                  <a:gd name="T33" fmla="*/ 103 h 114"/>
                  <a:gd name="T34" fmla="*/ 21 w 71"/>
                  <a:gd name="T35" fmla="*/ 95 h 114"/>
                  <a:gd name="T36" fmla="*/ 15 w 71"/>
                  <a:gd name="T37" fmla="*/ 72 h 114"/>
                  <a:gd name="T38" fmla="*/ 21 w 71"/>
                  <a:gd name="T39" fmla="*/ 48 h 114"/>
                  <a:gd name="T40" fmla="*/ 36 w 71"/>
                  <a:gd name="T41" fmla="*/ 41 h 114"/>
                  <a:gd name="T42" fmla="*/ 52 w 71"/>
                  <a:gd name="T43" fmla="*/ 48 h 114"/>
                  <a:gd name="T44" fmla="*/ 58 w 71"/>
                  <a:gd name="T45" fmla="*/ 73 h 114"/>
                  <a:gd name="T46" fmla="*/ 52 w 71"/>
                  <a:gd name="T47" fmla="*/ 95 h 1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71" h="114">
                    <a:moveTo>
                      <a:pt x="57" y="40"/>
                    </a:moveTo>
                    <a:cubicBezTo>
                      <a:pt x="55" y="37"/>
                      <a:pt x="52" y="34"/>
                      <a:pt x="48" y="32"/>
                    </a:cubicBezTo>
                    <a:cubicBezTo>
                      <a:pt x="44" y="30"/>
                      <a:pt x="40" y="29"/>
                      <a:pt x="35" y="29"/>
                    </a:cubicBezTo>
                    <a:cubicBezTo>
                      <a:pt x="28" y="29"/>
                      <a:pt x="22" y="31"/>
                      <a:pt x="17" y="35"/>
                    </a:cubicBezTo>
                    <a:cubicBezTo>
                      <a:pt x="11" y="38"/>
                      <a:pt x="7" y="43"/>
                      <a:pt x="4" y="50"/>
                    </a:cubicBezTo>
                    <a:cubicBezTo>
                      <a:pt x="2" y="56"/>
                      <a:pt x="0" y="64"/>
                      <a:pt x="0" y="72"/>
                    </a:cubicBezTo>
                    <a:cubicBezTo>
                      <a:pt x="0" y="80"/>
                      <a:pt x="2" y="87"/>
                      <a:pt x="5" y="94"/>
                    </a:cubicBezTo>
                    <a:cubicBezTo>
                      <a:pt x="8" y="100"/>
                      <a:pt x="12" y="105"/>
                      <a:pt x="17" y="109"/>
                    </a:cubicBezTo>
                    <a:cubicBezTo>
                      <a:pt x="23" y="112"/>
                      <a:pt x="29" y="114"/>
                      <a:pt x="35" y="114"/>
                    </a:cubicBezTo>
                    <a:cubicBezTo>
                      <a:pt x="45" y="114"/>
                      <a:pt x="53" y="110"/>
                      <a:pt x="58" y="102"/>
                    </a:cubicBezTo>
                    <a:cubicBezTo>
                      <a:pt x="58" y="112"/>
                      <a:pt x="58" y="112"/>
                      <a:pt x="58" y="112"/>
                    </a:cubicBezTo>
                    <a:cubicBezTo>
                      <a:pt x="71" y="112"/>
                      <a:pt x="71" y="112"/>
                      <a:pt x="71" y="112"/>
                    </a:cubicBezTo>
                    <a:cubicBezTo>
                      <a:pt x="71" y="0"/>
                      <a:pt x="71" y="0"/>
                      <a:pt x="71" y="0"/>
                    </a:cubicBezTo>
                    <a:cubicBezTo>
                      <a:pt x="57" y="0"/>
                      <a:pt x="57" y="0"/>
                      <a:pt x="57" y="0"/>
                    </a:cubicBezTo>
                    <a:lnTo>
                      <a:pt x="57" y="40"/>
                    </a:lnTo>
                    <a:close/>
                    <a:moveTo>
                      <a:pt x="52" y="95"/>
                    </a:moveTo>
                    <a:cubicBezTo>
                      <a:pt x="48" y="100"/>
                      <a:pt x="43" y="103"/>
                      <a:pt x="37" y="103"/>
                    </a:cubicBezTo>
                    <a:cubicBezTo>
                      <a:pt x="31" y="103"/>
                      <a:pt x="25" y="100"/>
                      <a:pt x="21" y="95"/>
                    </a:cubicBezTo>
                    <a:cubicBezTo>
                      <a:pt x="17" y="90"/>
                      <a:pt x="15" y="82"/>
                      <a:pt x="15" y="72"/>
                    </a:cubicBezTo>
                    <a:cubicBezTo>
                      <a:pt x="15" y="61"/>
                      <a:pt x="17" y="53"/>
                      <a:pt x="21" y="48"/>
                    </a:cubicBezTo>
                    <a:cubicBezTo>
                      <a:pt x="25" y="43"/>
                      <a:pt x="30" y="41"/>
                      <a:pt x="36" y="41"/>
                    </a:cubicBezTo>
                    <a:cubicBezTo>
                      <a:pt x="42" y="41"/>
                      <a:pt x="48" y="43"/>
                      <a:pt x="52" y="48"/>
                    </a:cubicBezTo>
                    <a:cubicBezTo>
                      <a:pt x="56" y="54"/>
                      <a:pt x="58" y="62"/>
                      <a:pt x="58" y="73"/>
                    </a:cubicBezTo>
                    <a:cubicBezTo>
                      <a:pt x="58" y="83"/>
                      <a:pt x="56" y="91"/>
                      <a:pt x="52" y="9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165" name="iṡľîdé"/>
              <p:cNvSpPr/>
              <p:nvPr/>
            </p:nvSpPr>
            <p:spPr bwMode="auto">
              <a:xfrm>
                <a:off x="8550528" y="5675903"/>
                <a:ext cx="163513" cy="206375"/>
              </a:xfrm>
              <a:custGeom>
                <a:avLst/>
                <a:gdLst>
                  <a:gd name="T0" fmla="*/ 103 w 103"/>
                  <a:gd name="T1" fmla="*/ 0 h 130"/>
                  <a:gd name="T2" fmla="*/ 0 w 103"/>
                  <a:gd name="T3" fmla="*/ 0 h 130"/>
                  <a:gd name="T4" fmla="*/ 0 w 103"/>
                  <a:gd name="T5" fmla="*/ 15 h 130"/>
                  <a:gd name="T6" fmla="*/ 43 w 103"/>
                  <a:gd name="T7" fmla="*/ 15 h 130"/>
                  <a:gd name="T8" fmla="*/ 43 w 103"/>
                  <a:gd name="T9" fmla="*/ 130 h 130"/>
                  <a:gd name="T10" fmla="*/ 59 w 103"/>
                  <a:gd name="T11" fmla="*/ 130 h 130"/>
                  <a:gd name="T12" fmla="*/ 59 w 103"/>
                  <a:gd name="T13" fmla="*/ 15 h 130"/>
                  <a:gd name="T14" fmla="*/ 103 w 103"/>
                  <a:gd name="T15" fmla="*/ 15 h 130"/>
                  <a:gd name="T16" fmla="*/ 103 w 103"/>
                  <a:gd name="T17" fmla="*/ 0 h 1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03" h="130">
                    <a:moveTo>
                      <a:pt x="103" y="0"/>
                    </a:moveTo>
                    <a:lnTo>
                      <a:pt x="0" y="0"/>
                    </a:lnTo>
                    <a:lnTo>
                      <a:pt x="0" y="15"/>
                    </a:lnTo>
                    <a:lnTo>
                      <a:pt x="43" y="15"/>
                    </a:lnTo>
                    <a:lnTo>
                      <a:pt x="43" y="130"/>
                    </a:lnTo>
                    <a:lnTo>
                      <a:pt x="59" y="130"/>
                    </a:lnTo>
                    <a:lnTo>
                      <a:pt x="59" y="15"/>
                    </a:lnTo>
                    <a:lnTo>
                      <a:pt x="103" y="15"/>
                    </a:lnTo>
                    <a:lnTo>
                      <a:pt x="103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166" name="íṥḻíḋé"/>
              <p:cNvSpPr/>
              <p:nvPr/>
            </p:nvSpPr>
            <p:spPr bwMode="auto">
              <a:xfrm>
                <a:off x="8698166" y="5729878"/>
                <a:ext cx="138113" cy="157163"/>
              </a:xfrm>
              <a:custGeom>
                <a:avLst/>
                <a:gdLst>
                  <a:gd name="T0" fmla="*/ 38 w 75"/>
                  <a:gd name="T1" fmla="*/ 0 h 85"/>
                  <a:gd name="T2" fmla="*/ 11 w 75"/>
                  <a:gd name="T3" fmla="*/ 12 h 85"/>
                  <a:gd name="T4" fmla="*/ 0 w 75"/>
                  <a:gd name="T5" fmla="*/ 43 h 85"/>
                  <a:gd name="T6" fmla="*/ 10 w 75"/>
                  <a:gd name="T7" fmla="*/ 74 h 85"/>
                  <a:gd name="T8" fmla="*/ 39 w 75"/>
                  <a:gd name="T9" fmla="*/ 85 h 85"/>
                  <a:gd name="T10" fmla="*/ 62 w 75"/>
                  <a:gd name="T11" fmla="*/ 78 h 85"/>
                  <a:gd name="T12" fmla="*/ 74 w 75"/>
                  <a:gd name="T13" fmla="*/ 59 h 85"/>
                  <a:gd name="T14" fmla="*/ 60 w 75"/>
                  <a:gd name="T15" fmla="*/ 57 h 85"/>
                  <a:gd name="T16" fmla="*/ 52 w 75"/>
                  <a:gd name="T17" fmla="*/ 70 h 85"/>
                  <a:gd name="T18" fmla="*/ 39 w 75"/>
                  <a:gd name="T19" fmla="*/ 74 h 85"/>
                  <a:gd name="T20" fmla="*/ 22 w 75"/>
                  <a:gd name="T21" fmla="*/ 67 h 85"/>
                  <a:gd name="T22" fmla="*/ 14 w 75"/>
                  <a:gd name="T23" fmla="*/ 46 h 85"/>
                  <a:gd name="T24" fmla="*/ 75 w 75"/>
                  <a:gd name="T25" fmla="*/ 46 h 85"/>
                  <a:gd name="T26" fmla="*/ 75 w 75"/>
                  <a:gd name="T27" fmla="*/ 43 h 85"/>
                  <a:gd name="T28" fmla="*/ 65 w 75"/>
                  <a:gd name="T29" fmla="*/ 11 h 85"/>
                  <a:gd name="T30" fmla="*/ 38 w 75"/>
                  <a:gd name="T31" fmla="*/ 0 h 85"/>
                  <a:gd name="T32" fmla="*/ 15 w 75"/>
                  <a:gd name="T33" fmla="*/ 35 h 85"/>
                  <a:gd name="T34" fmla="*/ 22 w 75"/>
                  <a:gd name="T35" fmla="*/ 18 h 85"/>
                  <a:gd name="T36" fmla="*/ 38 w 75"/>
                  <a:gd name="T37" fmla="*/ 12 h 85"/>
                  <a:gd name="T38" fmla="*/ 55 w 75"/>
                  <a:gd name="T39" fmla="*/ 20 h 85"/>
                  <a:gd name="T40" fmla="*/ 60 w 75"/>
                  <a:gd name="T41" fmla="*/ 35 h 85"/>
                  <a:gd name="T42" fmla="*/ 15 w 75"/>
                  <a:gd name="T43" fmla="*/ 35 h 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75" h="85">
                    <a:moveTo>
                      <a:pt x="38" y="0"/>
                    </a:moveTo>
                    <a:cubicBezTo>
                      <a:pt x="27" y="0"/>
                      <a:pt x="18" y="4"/>
                      <a:pt x="11" y="12"/>
                    </a:cubicBezTo>
                    <a:cubicBezTo>
                      <a:pt x="4" y="19"/>
                      <a:pt x="0" y="30"/>
                      <a:pt x="0" y="43"/>
                    </a:cubicBezTo>
                    <a:cubicBezTo>
                      <a:pt x="0" y="57"/>
                      <a:pt x="3" y="67"/>
                      <a:pt x="10" y="74"/>
                    </a:cubicBezTo>
                    <a:cubicBezTo>
                      <a:pt x="17" y="81"/>
                      <a:pt x="27" y="85"/>
                      <a:pt x="39" y="85"/>
                    </a:cubicBezTo>
                    <a:cubicBezTo>
                      <a:pt x="48" y="85"/>
                      <a:pt x="56" y="83"/>
                      <a:pt x="62" y="78"/>
                    </a:cubicBezTo>
                    <a:cubicBezTo>
                      <a:pt x="68" y="74"/>
                      <a:pt x="72" y="67"/>
                      <a:pt x="74" y="59"/>
                    </a:cubicBezTo>
                    <a:cubicBezTo>
                      <a:pt x="60" y="57"/>
                      <a:pt x="60" y="57"/>
                      <a:pt x="60" y="57"/>
                    </a:cubicBezTo>
                    <a:cubicBezTo>
                      <a:pt x="58" y="63"/>
                      <a:pt x="55" y="67"/>
                      <a:pt x="52" y="70"/>
                    </a:cubicBezTo>
                    <a:cubicBezTo>
                      <a:pt x="48" y="73"/>
                      <a:pt x="44" y="74"/>
                      <a:pt x="39" y="74"/>
                    </a:cubicBezTo>
                    <a:cubicBezTo>
                      <a:pt x="32" y="74"/>
                      <a:pt x="26" y="71"/>
                      <a:pt x="22" y="67"/>
                    </a:cubicBezTo>
                    <a:cubicBezTo>
                      <a:pt x="17" y="62"/>
                      <a:pt x="15" y="55"/>
                      <a:pt x="14" y="46"/>
                    </a:cubicBezTo>
                    <a:cubicBezTo>
                      <a:pt x="75" y="46"/>
                      <a:pt x="75" y="46"/>
                      <a:pt x="75" y="46"/>
                    </a:cubicBezTo>
                    <a:cubicBezTo>
                      <a:pt x="75" y="45"/>
                      <a:pt x="75" y="43"/>
                      <a:pt x="75" y="43"/>
                    </a:cubicBezTo>
                    <a:cubicBezTo>
                      <a:pt x="75" y="29"/>
                      <a:pt x="72" y="19"/>
                      <a:pt x="65" y="11"/>
                    </a:cubicBezTo>
                    <a:cubicBezTo>
                      <a:pt x="58" y="4"/>
                      <a:pt x="49" y="0"/>
                      <a:pt x="38" y="0"/>
                    </a:cubicBezTo>
                    <a:close/>
                    <a:moveTo>
                      <a:pt x="15" y="35"/>
                    </a:moveTo>
                    <a:cubicBezTo>
                      <a:pt x="15" y="28"/>
                      <a:pt x="18" y="22"/>
                      <a:pt x="22" y="18"/>
                    </a:cubicBezTo>
                    <a:cubicBezTo>
                      <a:pt x="26" y="14"/>
                      <a:pt x="32" y="12"/>
                      <a:pt x="38" y="12"/>
                    </a:cubicBezTo>
                    <a:cubicBezTo>
                      <a:pt x="45" y="12"/>
                      <a:pt x="51" y="14"/>
                      <a:pt x="55" y="20"/>
                    </a:cubicBezTo>
                    <a:cubicBezTo>
                      <a:pt x="58" y="23"/>
                      <a:pt x="60" y="28"/>
                      <a:pt x="60" y="35"/>
                    </a:cubicBezTo>
                    <a:lnTo>
                      <a:pt x="15" y="3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167" name="ïṡļïḍè"/>
              <p:cNvSpPr/>
              <p:nvPr/>
            </p:nvSpPr>
            <p:spPr bwMode="auto">
              <a:xfrm>
                <a:off x="8860091" y="5729878"/>
                <a:ext cx="128588" cy="157163"/>
              </a:xfrm>
              <a:custGeom>
                <a:avLst/>
                <a:gdLst>
                  <a:gd name="T0" fmla="*/ 50 w 70"/>
                  <a:gd name="T1" fmla="*/ 69 h 85"/>
                  <a:gd name="T2" fmla="*/ 36 w 70"/>
                  <a:gd name="T3" fmla="*/ 74 h 85"/>
                  <a:gd name="T4" fmla="*/ 20 w 70"/>
                  <a:gd name="T5" fmla="*/ 66 h 85"/>
                  <a:gd name="T6" fmla="*/ 14 w 70"/>
                  <a:gd name="T7" fmla="*/ 43 h 85"/>
                  <a:gd name="T8" fmla="*/ 20 w 70"/>
                  <a:gd name="T9" fmla="*/ 19 h 85"/>
                  <a:gd name="T10" fmla="*/ 37 w 70"/>
                  <a:gd name="T11" fmla="*/ 12 h 85"/>
                  <a:gd name="T12" fmla="*/ 49 w 70"/>
                  <a:gd name="T13" fmla="*/ 16 h 85"/>
                  <a:gd name="T14" fmla="*/ 56 w 70"/>
                  <a:gd name="T15" fmla="*/ 28 h 85"/>
                  <a:gd name="T16" fmla="*/ 69 w 70"/>
                  <a:gd name="T17" fmla="*/ 26 h 85"/>
                  <a:gd name="T18" fmla="*/ 58 w 70"/>
                  <a:gd name="T19" fmla="*/ 7 h 85"/>
                  <a:gd name="T20" fmla="*/ 37 w 70"/>
                  <a:gd name="T21" fmla="*/ 0 h 85"/>
                  <a:gd name="T22" fmla="*/ 17 w 70"/>
                  <a:gd name="T23" fmla="*/ 5 h 85"/>
                  <a:gd name="T24" fmla="*/ 4 w 70"/>
                  <a:gd name="T25" fmla="*/ 20 h 85"/>
                  <a:gd name="T26" fmla="*/ 0 w 70"/>
                  <a:gd name="T27" fmla="*/ 43 h 85"/>
                  <a:gd name="T28" fmla="*/ 10 w 70"/>
                  <a:gd name="T29" fmla="*/ 74 h 85"/>
                  <a:gd name="T30" fmla="*/ 37 w 70"/>
                  <a:gd name="T31" fmla="*/ 85 h 85"/>
                  <a:gd name="T32" fmla="*/ 59 w 70"/>
                  <a:gd name="T33" fmla="*/ 77 h 85"/>
                  <a:gd name="T34" fmla="*/ 70 w 70"/>
                  <a:gd name="T35" fmla="*/ 55 h 85"/>
                  <a:gd name="T36" fmla="*/ 57 w 70"/>
                  <a:gd name="T37" fmla="*/ 54 h 85"/>
                  <a:gd name="T38" fmla="*/ 50 w 70"/>
                  <a:gd name="T39" fmla="*/ 69 h 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70" h="85">
                    <a:moveTo>
                      <a:pt x="50" y="69"/>
                    </a:moveTo>
                    <a:cubicBezTo>
                      <a:pt x="46" y="72"/>
                      <a:pt x="42" y="74"/>
                      <a:pt x="36" y="74"/>
                    </a:cubicBezTo>
                    <a:cubicBezTo>
                      <a:pt x="30" y="74"/>
                      <a:pt x="24" y="71"/>
                      <a:pt x="20" y="66"/>
                    </a:cubicBezTo>
                    <a:cubicBezTo>
                      <a:pt x="16" y="61"/>
                      <a:pt x="14" y="54"/>
                      <a:pt x="14" y="43"/>
                    </a:cubicBezTo>
                    <a:cubicBezTo>
                      <a:pt x="14" y="32"/>
                      <a:pt x="16" y="24"/>
                      <a:pt x="20" y="19"/>
                    </a:cubicBezTo>
                    <a:cubicBezTo>
                      <a:pt x="25" y="14"/>
                      <a:pt x="30" y="12"/>
                      <a:pt x="37" y="12"/>
                    </a:cubicBezTo>
                    <a:cubicBezTo>
                      <a:pt x="42" y="12"/>
                      <a:pt x="46" y="13"/>
                      <a:pt x="49" y="16"/>
                    </a:cubicBezTo>
                    <a:cubicBezTo>
                      <a:pt x="52" y="18"/>
                      <a:pt x="54" y="23"/>
                      <a:pt x="56" y="28"/>
                    </a:cubicBezTo>
                    <a:cubicBezTo>
                      <a:pt x="69" y="26"/>
                      <a:pt x="69" y="26"/>
                      <a:pt x="69" y="26"/>
                    </a:cubicBezTo>
                    <a:cubicBezTo>
                      <a:pt x="67" y="18"/>
                      <a:pt x="64" y="11"/>
                      <a:pt x="58" y="7"/>
                    </a:cubicBezTo>
                    <a:cubicBezTo>
                      <a:pt x="53" y="2"/>
                      <a:pt x="45" y="0"/>
                      <a:pt x="37" y="0"/>
                    </a:cubicBezTo>
                    <a:cubicBezTo>
                      <a:pt x="30" y="0"/>
                      <a:pt x="23" y="2"/>
                      <a:pt x="17" y="5"/>
                    </a:cubicBezTo>
                    <a:cubicBezTo>
                      <a:pt x="11" y="8"/>
                      <a:pt x="7" y="13"/>
                      <a:pt x="4" y="20"/>
                    </a:cubicBezTo>
                    <a:cubicBezTo>
                      <a:pt x="1" y="27"/>
                      <a:pt x="0" y="34"/>
                      <a:pt x="0" y="43"/>
                    </a:cubicBezTo>
                    <a:cubicBezTo>
                      <a:pt x="0" y="57"/>
                      <a:pt x="3" y="67"/>
                      <a:pt x="10" y="74"/>
                    </a:cubicBezTo>
                    <a:cubicBezTo>
                      <a:pt x="16" y="82"/>
                      <a:pt x="25" y="85"/>
                      <a:pt x="37" y="85"/>
                    </a:cubicBezTo>
                    <a:cubicBezTo>
                      <a:pt x="45" y="85"/>
                      <a:pt x="53" y="83"/>
                      <a:pt x="59" y="77"/>
                    </a:cubicBezTo>
                    <a:cubicBezTo>
                      <a:pt x="65" y="72"/>
                      <a:pt x="69" y="65"/>
                      <a:pt x="70" y="55"/>
                    </a:cubicBezTo>
                    <a:cubicBezTo>
                      <a:pt x="57" y="54"/>
                      <a:pt x="57" y="54"/>
                      <a:pt x="57" y="54"/>
                    </a:cubicBezTo>
                    <a:cubicBezTo>
                      <a:pt x="56" y="60"/>
                      <a:pt x="54" y="66"/>
                      <a:pt x="50" y="6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168" name="iṩḷídê"/>
              <p:cNvSpPr/>
              <p:nvPr/>
            </p:nvSpPr>
            <p:spPr bwMode="auto">
              <a:xfrm>
                <a:off x="9010903" y="5675903"/>
                <a:ext cx="122238" cy="206375"/>
              </a:xfrm>
              <a:custGeom>
                <a:avLst/>
                <a:gdLst>
                  <a:gd name="T0" fmla="*/ 54 w 66"/>
                  <a:gd name="T1" fmla="*/ 33 h 112"/>
                  <a:gd name="T2" fmla="*/ 38 w 66"/>
                  <a:gd name="T3" fmla="*/ 29 h 112"/>
                  <a:gd name="T4" fmla="*/ 14 w 66"/>
                  <a:gd name="T5" fmla="*/ 40 h 112"/>
                  <a:gd name="T6" fmla="*/ 14 w 66"/>
                  <a:gd name="T7" fmla="*/ 0 h 112"/>
                  <a:gd name="T8" fmla="*/ 0 w 66"/>
                  <a:gd name="T9" fmla="*/ 0 h 112"/>
                  <a:gd name="T10" fmla="*/ 0 w 66"/>
                  <a:gd name="T11" fmla="*/ 112 h 112"/>
                  <a:gd name="T12" fmla="*/ 14 w 66"/>
                  <a:gd name="T13" fmla="*/ 112 h 112"/>
                  <a:gd name="T14" fmla="*/ 14 w 66"/>
                  <a:gd name="T15" fmla="*/ 68 h 112"/>
                  <a:gd name="T16" fmla="*/ 16 w 66"/>
                  <a:gd name="T17" fmla="*/ 53 h 112"/>
                  <a:gd name="T18" fmla="*/ 24 w 66"/>
                  <a:gd name="T19" fmla="*/ 44 h 112"/>
                  <a:gd name="T20" fmla="*/ 35 w 66"/>
                  <a:gd name="T21" fmla="*/ 41 h 112"/>
                  <a:gd name="T22" fmla="*/ 48 w 66"/>
                  <a:gd name="T23" fmla="*/ 46 h 112"/>
                  <a:gd name="T24" fmla="*/ 53 w 66"/>
                  <a:gd name="T25" fmla="*/ 61 h 112"/>
                  <a:gd name="T26" fmla="*/ 53 w 66"/>
                  <a:gd name="T27" fmla="*/ 112 h 112"/>
                  <a:gd name="T28" fmla="*/ 66 w 66"/>
                  <a:gd name="T29" fmla="*/ 112 h 112"/>
                  <a:gd name="T30" fmla="*/ 66 w 66"/>
                  <a:gd name="T31" fmla="*/ 61 h 112"/>
                  <a:gd name="T32" fmla="*/ 63 w 66"/>
                  <a:gd name="T33" fmla="*/ 43 h 112"/>
                  <a:gd name="T34" fmla="*/ 54 w 66"/>
                  <a:gd name="T35" fmla="*/ 33 h 1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66" h="112">
                    <a:moveTo>
                      <a:pt x="54" y="33"/>
                    </a:moveTo>
                    <a:cubicBezTo>
                      <a:pt x="50" y="30"/>
                      <a:pt x="44" y="29"/>
                      <a:pt x="38" y="29"/>
                    </a:cubicBezTo>
                    <a:cubicBezTo>
                      <a:pt x="28" y="29"/>
                      <a:pt x="20" y="33"/>
                      <a:pt x="14" y="4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112"/>
                      <a:pt x="0" y="112"/>
                      <a:pt x="0" y="112"/>
                    </a:cubicBezTo>
                    <a:cubicBezTo>
                      <a:pt x="14" y="112"/>
                      <a:pt x="14" y="112"/>
                      <a:pt x="14" y="112"/>
                    </a:cubicBezTo>
                    <a:cubicBezTo>
                      <a:pt x="14" y="68"/>
                      <a:pt x="14" y="68"/>
                      <a:pt x="14" y="68"/>
                    </a:cubicBezTo>
                    <a:cubicBezTo>
                      <a:pt x="14" y="61"/>
                      <a:pt x="15" y="56"/>
                      <a:pt x="16" y="53"/>
                    </a:cubicBezTo>
                    <a:cubicBezTo>
                      <a:pt x="18" y="49"/>
                      <a:pt x="20" y="46"/>
                      <a:pt x="24" y="44"/>
                    </a:cubicBezTo>
                    <a:cubicBezTo>
                      <a:pt x="28" y="42"/>
                      <a:pt x="31" y="41"/>
                      <a:pt x="35" y="41"/>
                    </a:cubicBezTo>
                    <a:cubicBezTo>
                      <a:pt x="41" y="41"/>
                      <a:pt x="45" y="43"/>
                      <a:pt x="48" y="46"/>
                    </a:cubicBezTo>
                    <a:cubicBezTo>
                      <a:pt x="51" y="49"/>
                      <a:pt x="53" y="54"/>
                      <a:pt x="53" y="61"/>
                    </a:cubicBezTo>
                    <a:cubicBezTo>
                      <a:pt x="53" y="112"/>
                      <a:pt x="53" y="112"/>
                      <a:pt x="53" y="112"/>
                    </a:cubicBezTo>
                    <a:cubicBezTo>
                      <a:pt x="66" y="112"/>
                      <a:pt x="66" y="112"/>
                      <a:pt x="66" y="112"/>
                    </a:cubicBezTo>
                    <a:cubicBezTo>
                      <a:pt x="66" y="61"/>
                      <a:pt x="66" y="61"/>
                      <a:pt x="66" y="61"/>
                    </a:cubicBezTo>
                    <a:cubicBezTo>
                      <a:pt x="66" y="53"/>
                      <a:pt x="65" y="47"/>
                      <a:pt x="63" y="43"/>
                    </a:cubicBezTo>
                    <a:cubicBezTo>
                      <a:pt x="62" y="38"/>
                      <a:pt x="58" y="35"/>
                      <a:pt x="54" y="3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169" name="íslîḍe"/>
              <p:cNvSpPr/>
              <p:nvPr/>
            </p:nvSpPr>
            <p:spPr bwMode="auto">
              <a:xfrm>
                <a:off x="9171241" y="5729878"/>
                <a:ext cx="122238" cy="152400"/>
              </a:xfrm>
              <a:custGeom>
                <a:avLst/>
                <a:gdLst>
                  <a:gd name="T0" fmla="*/ 61 w 66"/>
                  <a:gd name="T1" fmla="*/ 10 h 83"/>
                  <a:gd name="T2" fmla="*/ 52 w 66"/>
                  <a:gd name="T3" fmla="*/ 3 h 83"/>
                  <a:gd name="T4" fmla="*/ 39 w 66"/>
                  <a:gd name="T5" fmla="*/ 0 h 83"/>
                  <a:gd name="T6" fmla="*/ 13 w 66"/>
                  <a:gd name="T7" fmla="*/ 14 h 83"/>
                  <a:gd name="T8" fmla="*/ 13 w 66"/>
                  <a:gd name="T9" fmla="*/ 2 h 83"/>
                  <a:gd name="T10" fmla="*/ 0 w 66"/>
                  <a:gd name="T11" fmla="*/ 2 h 83"/>
                  <a:gd name="T12" fmla="*/ 0 w 66"/>
                  <a:gd name="T13" fmla="*/ 83 h 83"/>
                  <a:gd name="T14" fmla="*/ 14 w 66"/>
                  <a:gd name="T15" fmla="*/ 83 h 83"/>
                  <a:gd name="T16" fmla="*/ 14 w 66"/>
                  <a:gd name="T17" fmla="*/ 39 h 83"/>
                  <a:gd name="T18" fmla="*/ 20 w 66"/>
                  <a:gd name="T19" fmla="*/ 18 h 83"/>
                  <a:gd name="T20" fmla="*/ 36 w 66"/>
                  <a:gd name="T21" fmla="*/ 12 h 83"/>
                  <a:gd name="T22" fmla="*/ 45 w 66"/>
                  <a:gd name="T23" fmla="*/ 15 h 83"/>
                  <a:gd name="T24" fmla="*/ 51 w 66"/>
                  <a:gd name="T25" fmla="*/ 21 h 83"/>
                  <a:gd name="T26" fmla="*/ 53 w 66"/>
                  <a:gd name="T27" fmla="*/ 34 h 83"/>
                  <a:gd name="T28" fmla="*/ 53 w 66"/>
                  <a:gd name="T29" fmla="*/ 83 h 83"/>
                  <a:gd name="T30" fmla="*/ 66 w 66"/>
                  <a:gd name="T31" fmla="*/ 83 h 83"/>
                  <a:gd name="T32" fmla="*/ 66 w 66"/>
                  <a:gd name="T33" fmla="*/ 33 h 83"/>
                  <a:gd name="T34" fmla="*/ 66 w 66"/>
                  <a:gd name="T35" fmla="*/ 20 h 83"/>
                  <a:gd name="T36" fmla="*/ 61 w 66"/>
                  <a:gd name="T37" fmla="*/ 10 h 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66" h="83">
                    <a:moveTo>
                      <a:pt x="61" y="10"/>
                    </a:moveTo>
                    <a:cubicBezTo>
                      <a:pt x="59" y="7"/>
                      <a:pt x="56" y="5"/>
                      <a:pt x="52" y="3"/>
                    </a:cubicBezTo>
                    <a:cubicBezTo>
                      <a:pt x="48" y="1"/>
                      <a:pt x="43" y="0"/>
                      <a:pt x="39" y="0"/>
                    </a:cubicBezTo>
                    <a:cubicBezTo>
                      <a:pt x="27" y="0"/>
                      <a:pt x="19" y="5"/>
                      <a:pt x="13" y="14"/>
                    </a:cubicBezTo>
                    <a:cubicBezTo>
                      <a:pt x="13" y="2"/>
                      <a:pt x="13" y="2"/>
                      <a:pt x="13" y="2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83"/>
                      <a:pt x="0" y="83"/>
                      <a:pt x="0" y="83"/>
                    </a:cubicBezTo>
                    <a:cubicBezTo>
                      <a:pt x="14" y="83"/>
                      <a:pt x="14" y="83"/>
                      <a:pt x="14" y="83"/>
                    </a:cubicBezTo>
                    <a:cubicBezTo>
                      <a:pt x="14" y="39"/>
                      <a:pt x="14" y="39"/>
                      <a:pt x="14" y="39"/>
                    </a:cubicBezTo>
                    <a:cubicBezTo>
                      <a:pt x="14" y="29"/>
                      <a:pt x="16" y="21"/>
                      <a:pt x="20" y="18"/>
                    </a:cubicBezTo>
                    <a:cubicBezTo>
                      <a:pt x="25" y="14"/>
                      <a:pt x="30" y="12"/>
                      <a:pt x="36" y="12"/>
                    </a:cubicBezTo>
                    <a:cubicBezTo>
                      <a:pt x="39" y="12"/>
                      <a:pt x="43" y="13"/>
                      <a:pt x="45" y="15"/>
                    </a:cubicBezTo>
                    <a:cubicBezTo>
                      <a:pt x="48" y="16"/>
                      <a:pt x="50" y="19"/>
                      <a:pt x="51" y="21"/>
                    </a:cubicBezTo>
                    <a:cubicBezTo>
                      <a:pt x="52" y="24"/>
                      <a:pt x="53" y="28"/>
                      <a:pt x="53" y="34"/>
                    </a:cubicBezTo>
                    <a:cubicBezTo>
                      <a:pt x="53" y="83"/>
                      <a:pt x="53" y="83"/>
                      <a:pt x="53" y="83"/>
                    </a:cubicBezTo>
                    <a:cubicBezTo>
                      <a:pt x="66" y="83"/>
                      <a:pt x="66" y="83"/>
                      <a:pt x="66" y="83"/>
                    </a:cubicBezTo>
                    <a:cubicBezTo>
                      <a:pt x="66" y="33"/>
                      <a:pt x="66" y="33"/>
                      <a:pt x="66" y="33"/>
                    </a:cubicBezTo>
                    <a:cubicBezTo>
                      <a:pt x="66" y="27"/>
                      <a:pt x="66" y="23"/>
                      <a:pt x="66" y="20"/>
                    </a:cubicBezTo>
                    <a:cubicBezTo>
                      <a:pt x="65" y="16"/>
                      <a:pt x="63" y="13"/>
                      <a:pt x="61" y="1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170" name="ïṣľíḓè"/>
              <p:cNvSpPr/>
              <p:nvPr/>
            </p:nvSpPr>
            <p:spPr bwMode="auto">
              <a:xfrm>
                <a:off x="9322053" y="5729878"/>
                <a:ext cx="142875" cy="157163"/>
              </a:xfrm>
              <a:custGeom>
                <a:avLst/>
                <a:gdLst>
                  <a:gd name="T0" fmla="*/ 38 w 77"/>
                  <a:gd name="T1" fmla="*/ 0 h 85"/>
                  <a:gd name="T2" fmla="*/ 13 w 77"/>
                  <a:gd name="T3" fmla="*/ 9 h 85"/>
                  <a:gd name="T4" fmla="*/ 0 w 77"/>
                  <a:gd name="T5" fmla="*/ 43 h 85"/>
                  <a:gd name="T6" fmla="*/ 11 w 77"/>
                  <a:gd name="T7" fmla="*/ 74 h 85"/>
                  <a:gd name="T8" fmla="*/ 38 w 77"/>
                  <a:gd name="T9" fmla="*/ 85 h 85"/>
                  <a:gd name="T10" fmla="*/ 58 w 77"/>
                  <a:gd name="T11" fmla="*/ 80 h 85"/>
                  <a:gd name="T12" fmla="*/ 72 w 77"/>
                  <a:gd name="T13" fmla="*/ 66 h 85"/>
                  <a:gd name="T14" fmla="*/ 77 w 77"/>
                  <a:gd name="T15" fmla="*/ 42 h 85"/>
                  <a:gd name="T16" fmla="*/ 66 w 77"/>
                  <a:gd name="T17" fmla="*/ 11 h 85"/>
                  <a:gd name="T18" fmla="*/ 38 w 77"/>
                  <a:gd name="T19" fmla="*/ 0 h 85"/>
                  <a:gd name="T20" fmla="*/ 56 w 77"/>
                  <a:gd name="T21" fmla="*/ 66 h 85"/>
                  <a:gd name="T22" fmla="*/ 38 w 77"/>
                  <a:gd name="T23" fmla="*/ 74 h 85"/>
                  <a:gd name="T24" fmla="*/ 21 w 77"/>
                  <a:gd name="T25" fmla="*/ 66 h 85"/>
                  <a:gd name="T26" fmla="*/ 15 w 77"/>
                  <a:gd name="T27" fmla="*/ 43 h 85"/>
                  <a:gd name="T28" fmla="*/ 21 w 77"/>
                  <a:gd name="T29" fmla="*/ 19 h 85"/>
                  <a:gd name="T30" fmla="*/ 38 w 77"/>
                  <a:gd name="T31" fmla="*/ 12 h 85"/>
                  <a:gd name="T32" fmla="*/ 56 w 77"/>
                  <a:gd name="T33" fmla="*/ 19 h 85"/>
                  <a:gd name="T34" fmla="*/ 62 w 77"/>
                  <a:gd name="T35" fmla="*/ 42 h 85"/>
                  <a:gd name="T36" fmla="*/ 56 w 77"/>
                  <a:gd name="T37" fmla="*/ 66 h 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77" h="85">
                    <a:moveTo>
                      <a:pt x="38" y="0"/>
                    </a:moveTo>
                    <a:cubicBezTo>
                      <a:pt x="28" y="0"/>
                      <a:pt x="20" y="3"/>
                      <a:pt x="13" y="9"/>
                    </a:cubicBezTo>
                    <a:cubicBezTo>
                      <a:pt x="5" y="16"/>
                      <a:pt x="0" y="28"/>
                      <a:pt x="0" y="43"/>
                    </a:cubicBezTo>
                    <a:cubicBezTo>
                      <a:pt x="0" y="56"/>
                      <a:pt x="4" y="67"/>
                      <a:pt x="11" y="74"/>
                    </a:cubicBezTo>
                    <a:cubicBezTo>
                      <a:pt x="18" y="82"/>
                      <a:pt x="27" y="85"/>
                      <a:pt x="38" y="85"/>
                    </a:cubicBezTo>
                    <a:cubicBezTo>
                      <a:pt x="46" y="85"/>
                      <a:pt x="52" y="84"/>
                      <a:pt x="58" y="80"/>
                    </a:cubicBezTo>
                    <a:cubicBezTo>
                      <a:pt x="64" y="77"/>
                      <a:pt x="69" y="72"/>
                      <a:pt x="72" y="66"/>
                    </a:cubicBezTo>
                    <a:cubicBezTo>
                      <a:pt x="75" y="60"/>
                      <a:pt x="77" y="52"/>
                      <a:pt x="77" y="42"/>
                    </a:cubicBezTo>
                    <a:cubicBezTo>
                      <a:pt x="77" y="29"/>
                      <a:pt x="73" y="19"/>
                      <a:pt x="66" y="11"/>
                    </a:cubicBezTo>
                    <a:cubicBezTo>
                      <a:pt x="59" y="4"/>
                      <a:pt x="50" y="0"/>
                      <a:pt x="38" y="0"/>
                    </a:cubicBezTo>
                    <a:close/>
                    <a:moveTo>
                      <a:pt x="56" y="66"/>
                    </a:moveTo>
                    <a:cubicBezTo>
                      <a:pt x="51" y="71"/>
                      <a:pt x="45" y="74"/>
                      <a:pt x="38" y="74"/>
                    </a:cubicBezTo>
                    <a:cubicBezTo>
                      <a:pt x="32" y="74"/>
                      <a:pt x="26" y="71"/>
                      <a:pt x="21" y="66"/>
                    </a:cubicBezTo>
                    <a:cubicBezTo>
                      <a:pt x="17" y="61"/>
                      <a:pt x="15" y="53"/>
                      <a:pt x="15" y="43"/>
                    </a:cubicBezTo>
                    <a:cubicBezTo>
                      <a:pt x="15" y="32"/>
                      <a:pt x="17" y="24"/>
                      <a:pt x="21" y="19"/>
                    </a:cubicBezTo>
                    <a:cubicBezTo>
                      <a:pt x="26" y="14"/>
                      <a:pt x="32" y="12"/>
                      <a:pt x="38" y="12"/>
                    </a:cubicBezTo>
                    <a:cubicBezTo>
                      <a:pt x="45" y="12"/>
                      <a:pt x="51" y="14"/>
                      <a:pt x="56" y="19"/>
                    </a:cubicBezTo>
                    <a:cubicBezTo>
                      <a:pt x="60" y="25"/>
                      <a:pt x="62" y="32"/>
                      <a:pt x="62" y="42"/>
                    </a:cubicBezTo>
                    <a:cubicBezTo>
                      <a:pt x="62" y="53"/>
                      <a:pt x="60" y="61"/>
                      <a:pt x="56" y="6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171" name="îš1ïḋé"/>
              <p:cNvSpPr/>
              <p:nvPr/>
            </p:nvSpPr>
            <p:spPr bwMode="auto">
              <a:xfrm>
                <a:off x="9491916" y="5675903"/>
                <a:ext cx="25400" cy="206375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172" name="íŝḻíḍê"/>
              <p:cNvSpPr/>
              <p:nvPr/>
            </p:nvSpPr>
            <p:spPr bwMode="auto">
              <a:xfrm>
                <a:off x="9547478" y="5729878"/>
                <a:ext cx="141288" cy="157163"/>
              </a:xfrm>
              <a:custGeom>
                <a:avLst/>
                <a:gdLst>
                  <a:gd name="T0" fmla="*/ 38 w 77"/>
                  <a:gd name="T1" fmla="*/ 0 h 85"/>
                  <a:gd name="T2" fmla="*/ 13 w 77"/>
                  <a:gd name="T3" fmla="*/ 9 h 85"/>
                  <a:gd name="T4" fmla="*/ 0 w 77"/>
                  <a:gd name="T5" fmla="*/ 43 h 85"/>
                  <a:gd name="T6" fmla="*/ 11 w 77"/>
                  <a:gd name="T7" fmla="*/ 74 h 85"/>
                  <a:gd name="T8" fmla="*/ 38 w 77"/>
                  <a:gd name="T9" fmla="*/ 85 h 85"/>
                  <a:gd name="T10" fmla="*/ 58 w 77"/>
                  <a:gd name="T11" fmla="*/ 80 h 85"/>
                  <a:gd name="T12" fmla="*/ 72 w 77"/>
                  <a:gd name="T13" fmla="*/ 66 h 85"/>
                  <a:gd name="T14" fmla="*/ 77 w 77"/>
                  <a:gd name="T15" fmla="*/ 42 h 85"/>
                  <a:gd name="T16" fmla="*/ 66 w 77"/>
                  <a:gd name="T17" fmla="*/ 11 h 85"/>
                  <a:gd name="T18" fmla="*/ 38 w 77"/>
                  <a:gd name="T19" fmla="*/ 0 h 85"/>
                  <a:gd name="T20" fmla="*/ 56 w 77"/>
                  <a:gd name="T21" fmla="*/ 66 h 85"/>
                  <a:gd name="T22" fmla="*/ 38 w 77"/>
                  <a:gd name="T23" fmla="*/ 74 h 85"/>
                  <a:gd name="T24" fmla="*/ 21 w 77"/>
                  <a:gd name="T25" fmla="*/ 66 h 85"/>
                  <a:gd name="T26" fmla="*/ 15 w 77"/>
                  <a:gd name="T27" fmla="*/ 43 h 85"/>
                  <a:gd name="T28" fmla="*/ 21 w 77"/>
                  <a:gd name="T29" fmla="*/ 19 h 85"/>
                  <a:gd name="T30" fmla="*/ 38 w 77"/>
                  <a:gd name="T31" fmla="*/ 12 h 85"/>
                  <a:gd name="T32" fmla="*/ 56 w 77"/>
                  <a:gd name="T33" fmla="*/ 19 h 85"/>
                  <a:gd name="T34" fmla="*/ 62 w 77"/>
                  <a:gd name="T35" fmla="*/ 42 h 85"/>
                  <a:gd name="T36" fmla="*/ 56 w 77"/>
                  <a:gd name="T37" fmla="*/ 66 h 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77" h="85">
                    <a:moveTo>
                      <a:pt x="38" y="0"/>
                    </a:moveTo>
                    <a:cubicBezTo>
                      <a:pt x="28" y="0"/>
                      <a:pt x="20" y="3"/>
                      <a:pt x="13" y="9"/>
                    </a:cubicBezTo>
                    <a:cubicBezTo>
                      <a:pt x="5" y="16"/>
                      <a:pt x="0" y="28"/>
                      <a:pt x="0" y="43"/>
                    </a:cubicBezTo>
                    <a:cubicBezTo>
                      <a:pt x="0" y="56"/>
                      <a:pt x="4" y="67"/>
                      <a:pt x="11" y="74"/>
                    </a:cubicBezTo>
                    <a:cubicBezTo>
                      <a:pt x="18" y="82"/>
                      <a:pt x="27" y="85"/>
                      <a:pt x="38" y="85"/>
                    </a:cubicBezTo>
                    <a:cubicBezTo>
                      <a:pt x="46" y="85"/>
                      <a:pt x="52" y="84"/>
                      <a:pt x="58" y="80"/>
                    </a:cubicBezTo>
                    <a:cubicBezTo>
                      <a:pt x="64" y="77"/>
                      <a:pt x="69" y="72"/>
                      <a:pt x="72" y="66"/>
                    </a:cubicBezTo>
                    <a:cubicBezTo>
                      <a:pt x="75" y="60"/>
                      <a:pt x="77" y="52"/>
                      <a:pt x="77" y="42"/>
                    </a:cubicBezTo>
                    <a:cubicBezTo>
                      <a:pt x="77" y="29"/>
                      <a:pt x="73" y="19"/>
                      <a:pt x="66" y="11"/>
                    </a:cubicBezTo>
                    <a:cubicBezTo>
                      <a:pt x="59" y="4"/>
                      <a:pt x="50" y="0"/>
                      <a:pt x="38" y="0"/>
                    </a:cubicBezTo>
                    <a:close/>
                    <a:moveTo>
                      <a:pt x="56" y="66"/>
                    </a:moveTo>
                    <a:cubicBezTo>
                      <a:pt x="51" y="71"/>
                      <a:pt x="45" y="74"/>
                      <a:pt x="38" y="74"/>
                    </a:cubicBezTo>
                    <a:cubicBezTo>
                      <a:pt x="32" y="74"/>
                      <a:pt x="26" y="71"/>
                      <a:pt x="21" y="66"/>
                    </a:cubicBezTo>
                    <a:cubicBezTo>
                      <a:pt x="17" y="61"/>
                      <a:pt x="15" y="53"/>
                      <a:pt x="15" y="43"/>
                    </a:cubicBezTo>
                    <a:cubicBezTo>
                      <a:pt x="15" y="32"/>
                      <a:pt x="17" y="24"/>
                      <a:pt x="21" y="19"/>
                    </a:cubicBezTo>
                    <a:cubicBezTo>
                      <a:pt x="26" y="14"/>
                      <a:pt x="32" y="12"/>
                      <a:pt x="38" y="12"/>
                    </a:cubicBezTo>
                    <a:cubicBezTo>
                      <a:pt x="45" y="12"/>
                      <a:pt x="51" y="14"/>
                      <a:pt x="56" y="19"/>
                    </a:cubicBezTo>
                    <a:cubicBezTo>
                      <a:pt x="60" y="25"/>
                      <a:pt x="62" y="32"/>
                      <a:pt x="62" y="42"/>
                    </a:cubicBezTo>
                    <a:cubicBezTo>
                      <a:pt x="62" y="53"/>
                      <a:pt x="60" y="61"/>
                      <a:pt x="56" y="6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173" name="íṧḷíḓé"/>
              <p:cNvSpPr/>
              <p:nvPr/>
            </p:nvSpPr>
            <p:spPr bwMode="auto">
              <a:xfrm>
                <a:off x="9707816" y="5729878"/>
                <a:ext cx="131763" cy="214313"/>
              </a:xfrm>
              <a:custGeom>
                <a:avLst/>
                <a:gdLst>
                  <a:gd name="T0" fmla="*/ 59 w 72"/>
                  <a:gd name="T1" fmla="*/ 12 h 116"/>
                  <a:gd name="T2" fmla="*/ 36 w 72"/>
                  <a:gd name="T3" fmla="*/ 0 h 116"/>
                  <a:gd name="T4" fmla="*/ 17 w 72"/>
                  <a:gd name="T5" fmla="*/ 6 h 116"/>
                  <a:gd name="T6" fmla="*/ 5 w 72"/>
                  <a:gd name="T7" fmla="*/ 21 h 116"/>
                  <a:gd name="T8" fmla="*/ 0 w 72"/>
                  <a:gd name="T9" fmla="*/ 42 h 116"/>
                  <a:gd name="T10" fmla="*/ 10 w 72"/>
                  <a:gd name="T11" fmla="*/ 71 h 116"/>
                  <a:gd name="T12" fmla="*/ 36 w 72"/>
                  <a:gd name="T13" fmla="*/ 83 h 116"/>
                  <a:gd name="T14" fmla="*/ 58 w 72"/>
                  <a:gd name="T15" fmla="*/ 73 h 116"/>
                  <a:gd name="T16" fmla="*/ 57 w 72"/>
                  <a:gd name="T17" fmla="*/ 90 h 116"/>
                  <a:gd name="T18" fmla="*/ 50 w 72"/>
                  <a:gd name="T19" fmla="*/ 101 h 116"/>
                  <a:gd name="T20" fmla="*/ 35 w 72"/>
                  <a:gd name="T21" fmla="*/ 105 h 116"/>
                  <a:gd name="T22" fmla="*/ 21 w 72"/>
                  <a:gd name="T23" fmla="*/ 101 h 116"/>
                  <a:gd name="T24" fmla="*/ 17 w 72"/>
                  <a:gd name="T25" fmla="*/ 92 h 116"/>
                  <a:gd name="T26" fmla="*/ 3 w 72"/>
                  <a:gd name="T27" fmla="*/ 90 h 116"/>
                  <a:gd name="T28" fmla="*/ 12 w 72"/>
                  <a:gd name="T29" fmla="*/ 110 h 116"/>
                  <a:gd name="T30" fmla="*/ 35 w 72"/>
                  <a:gd name="T31" fmla="*/ 116 h 116"/>
                  <a:gd name="T32" fmla="*/ 56 w 72"/>
                  <a:gd name="T33" fmla="*/ 112 h 116"/>
                  <a:gd name="T34" fmla="*/ 68 w 72"/>
                  <a:gd name="T35" fmla="*/ 99 h 116"/>
                  <a:gd name="T36" fmla="*/ 72 w 72"/>
                  <a:gd name="T37" fmla="*/ 72 h 116"/>
                  <a:gd name="T38" fmla="*/ 72 w 72"/>
                  <a:gd name="T39" fmla="*/ 2 h 116"/>
                  <a:gd name="T40" fmla="*/ 59 w 72"/>
                  <a:gd name="T41" fmla="*/ 2 h 116"/>
                  <a:gd name="T42" fmla="*/ 59 w 72"/>
                  <a:gd name="T43" fmla="*/ 12 h 116"/>
                  <a:gd name="T44" fmla="*/ 53 w 72"/>
                  <a:gd name="T45" fmla="*/ 65 h 116"/>
                  <a:gd name="T46" fmla="*/ 37 w 72"/>
                  <a:gd name="T47" fmla="*/ 72 h 116"/>
                  <a:gd name="T48" fmla="*/ 21 w 72"/>
                  <a:gd name="T49" fmla="*/ 65 h 116"/>
                  <a:gd name="T50" fmla="*/ 15 w 72"/>
                  <a:gd name="T51" fmla="*/ 41 h 116"/>
                  <a:gd name="T52" fmla="*/ 21 w 72"/>
                  <a:gd name="T53" fmla="*/ 19 h 116"/>
                  <a:gd name="T54" fmla="*/ 37 w 72"/>
                  <a:gd name="T55" fmla="*/ 12 h 116"/>
                  <a:gd name="T56" fmla="*/ 53 w 72"/>
                  <a:gd name="T57" fmla="*/ 19 h 116"/>
                  <a:gd name="T58" fmla="*/ 59 w 72"/>
                  <a:gd name="T59" fmla="*/ 42 h 116"/>
                  <a:gd name="T60" fmla="*/ 53 w 72"/>
                  <a:gd name="T61" fmla="*/ 65 h 1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72" h="116">
                    <a:moveTo>
                      <a:pt x="59" y="12"/>
                    </a:moveTo>
                    <a:cubicBezTo>
                      <a:pt x="53" y="4"/>
                      <a:pt x="45" y="0"/>
                      <a:pt x="36" y="0"/>
                    </a:cubicBezTo>
                    <a:cubicBezTo>
                      <a:pt x="28" y="0"/>
                      <a:pt x="22" y="2"/>
                      <a:pt x="17" y="6"/>
                    </a:cubicBezTo>
                    <a:cubicBezTo>
                      <a:pt x="11" y="9"/>
                      <a:pt x="7" y="14"/>
                      <a:pt x="5" y="21"/>
                    </a:cubicBezTo>
                    <a:cubicBezTo>
                      <a:pt x="2" y="27"/>
                      <a:pt x="0" y="34"/>
                      <a:pt x="0" y="42"/>
                    </a:cubicBezTo>
                    <a:cubicBezTo>
                      <a:pt x="0" y="53"/>
                      <a:pt x="3" y="63"/>
                      <a:pt x="10" y="71"/>
                    </a:cubicBezTo>
                    <a:cubicBezTo>
                      <a:pt x="16" y="79"/>
                      <a:pt x="24" y="83"/>
                      <a:pt x="36" y="83"/>
                    </a:cubicBezTo>
                    <a:cubicBezTo>
                      <a:pt x="45" y="83"/>
                      <a:pt x="52" y="80"/>
                      <a:pt x="58" y="73"/>
                    </a:cubicBezTo>
                    <a:cubicBezTo>
                      <a:pt x="58" y="82"/>
                      <a:pt x="58" y="88"/>
                      <a:pt x="57" y="90"/>
                    </a:cubicBezTo>
                    <a:cubicBezTo>
                      <a:pt x="56" y="95"/>
                      <a:pt x="53" y="99"/>
                      <a:pt x="50" y="101"/>
                    </a:cubicBezTo>
                    <a:cubicBezTo>
                      <a:pt x="47" y="104"/>
                      <a:pt x="42" y="105"/>
                      <a:pt x="35" y="105"/>
                    </a:cubicBezTo>
                    <a:cubicBezTo>
                      <a:pt x="29" y="105"/>
                      <a:pt x="25" y="104"/>
                      <a:pt x="21" y="101"/>
                    </a:cubicBezTo>
                    <a:cubicBezTo>
                      <a:pt x="19" y="99"/>
                      <a:pt x="17" y="96"/>
                      <a:pt x="17" y="92"/>
                    </a:cubicBezTo>
                    <a:cubicBezTo>
                      <a:pt x="3" y="90"/>
                      <a:pt x="3" y="90"/>
                      <a:pt x="3" y="90"/>
                    </a:cubicBezTo>
                    <a:cubicBezTo>
                      <a:pt x="3" y="99"/>
                      <a:pt x="6" y="105"/>
                      <a:pt x="12" y="110"/>
                    </a:cubicBezTo>
                    <a:cubicBezTo>
                      <a:pt x="18" y="114"/>
                      <a:pt x="26" y="116"/>
                      <a:pt x="35" y="116"/>
                    </a:cubicBezTo>
                    <a:cubicBezTo>
                      <a:pt x="43" y="116"/>
                      <a:pt x="50" y="115"/>
                      <a:pt x="56" y="112"/>
                    </a:cubicBezTo>
                    <a:cubicBezTo>
                      <a:pt x="62" y="109"/>
                      <a:pt x="66" y="104"/>
                      <a:pt x="68" y="99"/>
                    </a:cubicBezTo>
                    <a:cubicBezTo>
                      <a:pt x="71" y="94"/>
                      <a:pt x="72" y="85"/>
                      <a:pt x="72" y="72"/>
                    </a:cubicBezTo>
                    <a:cubicBezTo>
                      <a:pt x="72" y="2"/>
                      <a:pt x="72" y="2"/>
                      <a:pt x="72" y="2"/>
                    </a:cubicBezTo>
                    <a:cubicBezTo>
                      <a:pt x="59" y="2"/>
                      <a:pt x="59" y="2"/>
                      <a:pt x="59" y="2"/>
                    </a:cubicBezTo>
                    <a:lnTo>
                      <a:pt x="59" y="12"/>
                    </a:lnTo>
                    <a:close/>
                    <a:moveTo>
                      <a:pt x="53" y="65"/>
                    </a:moveTo>
                    <a:cubicBezTo>
                      <a:pt x="48" y="69"/>
                      <a:pt x="43" y="72"/>
                      <a:pt x="37" y="72"/>
                    </a:cubicBezTo>
                    <a:cubicBezTo>
                      <a:pt x="30" y="72"/>
                      <a:pt x="25" y="69"/>
                      <a:pt x="21" y="65"/>
                    </a:cubicBezTo>
                    <a:cubicBezTo>
                      <a:pt x="17" y="60"/>
                      <a:pt x="15" y="52"/>
                      <a:pt x="15" y="41"/>
                    </a:cubicBezTo>
                    <a:cubicBezTo>
                      <a:pt x="15" y="31"/>
                      <a:pt x="17" y="24"/>
                      <a:pt x="21" y="19"/>
                    </a:cubicBezTo>
                    <a:cubicBezTo>
                      <a:pt x="25" y="14"/>
                      <a:pt x="30" y="12"/>
                      <a:pt x="37" y="12"/>
                    </a:cubicBezTo>
                    <a:cubicBezTo>
                      <a:pt x="43" y="12"/>
                      <a:pt x="48" y="14"/>
                      <a:pt x="53" y="19"/>
                    </a:cubicBezTo>
                    <a:cubicBezTo>
                      <a:pt x="57" y="24"/>
                      <a:pt x="59" y="32"/>
                      <a:pt x="59" y="42"/>
                    </a:cubicBezTo>
                    <a:cubicBezTo>
                      <a:pt x="59" y="52"/>
                      <a:pt x="57" y="60"/>
                      <a:pt x="53" y="6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174" name="îŝlíde"/>
              <p:cNvSpPr/>
              <p:nvPr/>
            </p:nvSpPr>
            <p:spPr bwMode="auto">
              <a:xfrm>
                <a:off x="9864978" y="5733053"/>
                <a:ext cx="138113" cy="211138"/>
              </a:xfrm>
              <a:custGeom>
                <a:avLst/>
                <a:gdLst>
                  <a:gd name="T0" fmla="*/ 43 w 75"/>
                  <a:gd name="T1" fmla="*/ 47 h 114"/>
                  <a:gd name="T2" fmla="*/ 38 w 75"/>
                  <a:gd name="T3" fmla="*/ 66 h 114"/>
                  <a:gd name="T4" fmla="*/ 32 w 75"/>
                  <a:gd name="T5" fmla="*/ 47 h 114"/>
                  <a:gd name="T6" fmla="*/ 15 w 75"/>
                  <a:gd name="T7" fmla="*/ 0 h 114"/>
                  <a:gd name="T8" fmla="*/ 0 w 75"/>
                  <a:gd name="T9" fmla="*/ 0 h 114"/>
                  <a:gd name="T10" fmla="*/ 31 w 75"/>
                  <a:gd name="T11" fmla="*/ 81 h 114"/>
                  <a:gd name="T12" fmla="*/ 30 w 75"/>
                  <a:gd name="T13" fmla="*/ 85 h 114"/>
                  <a:gd name="T14" fmla="*/ 25 w 75"/>
                  <a:gd name="T15" fmla="*/ 95 h 114"/>
                  <a:gd name="T16" fmla="*/ 21 w 75"/>
                  <a:gd name="T17" fmla="*/ 99 h 114"/>
                  <a:gd name="T18" fmla="*/ 14 w 75"/>
                  <a:gd name="T19" fmla="*/ 101 h 114"/>
                  <a:gd name="T20" fmla="*/ 6 w 75"/>
                  <a:gd name="T21" fmla="*/ 100 h 114"/>
                  <a:gd name="T22" fmla="*/ 7 w 75"/>
                  <a:gd name="T23" fmla="*/ 113 h 114"/>
                  <a:gd name="T24" fmla="*/ 16 w 75"/>
                  <a:gd name="T25" fmla="*/ 114 h 114"/>
                  <a:gd name="T26" fmla="*/ 27 w 75"/>
                  <a:gd name="T27" fmla="*/ 111 h 114"/>
                  <a:gd name="T28" fmla="*/ 36 w 75"/>
                  <a:gd name="T29" fmla="*/ 101 h 114"/>
                  <a:gd name="T30" fmla="*/ 44 w 75"/>
                  <a:gd name="T31" fmla="*/ 83 h 114"/>
                  <a:gd name="T32" fmla="*/ 75 w 75"/>
                  <a:gd name="T33" fmla="*/ 0 h 114"/>
                  <a:gd name="T34" fmla="*/ 61 w 75"/>
                  <a:gd name="T35" fmla="*/ 0 h 114"/>
                  <a:gd name="T36" fmla="*/ 43 w 75"/>
                  <a:gd name="T37" fmla="*/ 47 h 1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75" h="114">
                    <a:moveTo>
                      <a:pt x="43" y="47"/>
                    </a:moveTo>
                    <a:cubicBezTo>
                      <a:pt x="41" y="53"/>
                      <a:pt x="39" y="60"/>
                      <a:pt x="38" y="66"/>
                    </a:cubicBezTo>
                    <a:cubicBezTo>
                      <a:pt x="36" y="59"/>
                      <a:pt x="34" y="53"/>
                      <a:pt x="32" y="47"/>
                    </a:cubicBezTo>
                    <a:cubicBezTo>
                      <a:pt x="15" y="0"/>
                      <a:pt x="15" y="0"/>
                      <a:pt x="15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31" y="81"/>
                      <a:pt x="31" y="81"/>
                      <a:pt x="31" y="81"/>
                    </a:cubicBezTo>
                    <a:cubicBezTo>
                      <a:pt x="30" y="83"/>
                      <a:pt x="30" y="84"/>
                      <a:pt x="30" y="85"/>
                    </a:cubicBezTo>
                    <a:cubicBezTo>
                      <a:pt x="28" y="90"/>
                      <a:pt x="26" y="94"/>
                      <a:pt x="25" y="95"/>
                    </a:cubicBezTo>
                    <a:cubicBezTo>
                      <a:pt x="24" y="97"/>
                      <a:pt x="23" y="98"/>
                      <a:pt x="21" y="99"/>
                    </a:cubicBezTo>
                    <a:cubicBezTo>
                      <a:pt x="19" y="100"/>
                      <a:pt x="17" y="101"/>
                      <a:pt x="14" y="101"/>
                    </a:cubicBezTo>
                    <a:cubicBezTo>
                      <a:pt x="11" y="101"/>
                      <a:pt x="9" y="101"/>
                      <a:pt x="6" y="100"/>
                    </a:cubicBezTo>
                    <a:cubicBezTo>
                      <a:pt x="7" y="113"/>
                      <a:pt x="7" y="113"/>
                      <a:pt x="7" y="113"/>
                    </a:cubicBezTo>
                    <a:cubicBezTo>
                      <a:pt x="11" y="114"/>
                      <a:pt x="13" y="114"/>
                      <a:pt x="16" y="114"/>
                    </a:cubicBezTo>
                    <a:cubicBezTo>
                      <a:pt x="21" y="114"/>
                      <a:pt x="24" y="113"/>
                      <a:pt x="27" y="111"/>
                    </a:cubicBezTo>
                    <a:cubicBezTo>
                      <a:pt x="31" y="109"/>
                      <a:pt x="33" y="106"/>
                      <a:pt x="36" y="101"/>
                    </a:cubicBezTo>
                    <a:cubicBezTo>
                      <a:pt x="38" y="98"/>
                      <a:pt x="40" y="92"/>
                      <a:pt x="44" y="83"/>
                    </a:cubicBezTo>
                    <a:cubicBezTo>
                      <a:pt x="75" y="0"/>
                      <a:pt x="75" y="0"/>
                      <a:pt x="75" y="0"/>
                    </a:cubicBezTo>
                    <a:cubicBezTo>
                      <a:pt x="61" y="0"/>
                      <a:pt x="61" y="0"/>
                      <a:pt x="61" y="0"/>
                    </a:cubicBezTo>
                    <a:lnTo>
                      <a:pt x="43" y="4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175" name="íṧ1ïḍé"/>
              <p:cNvSpPr/>
              <p:nvPr/>
            </p:nvSpPr>
            <p:spPr bwMode="auto">
              <a:xfrm>
                <a:off x="10106278" y="5675903"/>
                <a:ext cx="155575" cy="206375"/>
              </a:xfrm>
              <a:custGeom>
                <a:avLst/>
                <a:gdLst>
                  <a:gd name="T0" fmla="*/ 64 w 85"/>
                  <a:gd name="T1" fmla="*/ 53 h 112"/>
                  <a:gd name="T2" fmla="*/ 75 w 85"/>
                  <a:gd name="T3" fmla="*/ 42 h 112"/>
                  <a:gd name="T4" fmla="*/ 79 w 85"/>
                  <a:gd name="T5" fmla="*/ 29 h 112"/>
                  <a:gd name="T6" fmla="*/ 75 w 85"/>
                  <a:gd name="T7" fmla="*/ 14 h 112"/>
                  <a:gd name="T8" fmla="*/ 63 w 85"/>
                  <a:gd name="T9" fmla="*/ 4 h 112"/>
                  <a:gd name="T10" fmla="*/ 42 w 85"/>
                  <a:gd name="T11" fmla="*/ 0 h 112"/>
                  <a:gd name="T12" fmla="*/ 0 w 85"/>
                  <a:gd name="T13" fmla="*/ 0 h 112"/>
                  <a:gd name="T14" fmla="*/ 0 w 85"/>
                  <a:gd name="T15" fmla="*/ 112 h 112"/>
                  <a:gd name="T16" fmla="*/ 43 w 85"/>
                  <a:gd name="T17" fmla="*/ 112 h 112"/>
                  <a:gd name="T18" fmla="*/ 61 w 85"/>
                  <a:gd name="T19" fmla="*/ 110 h 112"/>
                  <a:gd name="T20" fmla="*/ 73 w 85"/>
                  <a:gd name="T21" fmla="*/ 105 h 112"/>
                  <a:gd name="T22" fmla="*/ 81 w 85"/>
                  <a:gd name="T23" fmla="*/ 94 h 112"/>
                  <a:gd name="T24" fmla="*/ 85 w 85"/>
                  <a:gd name="T25" fmla="*/ 80 h 112"/>
                  <a:gd name="T26" fmla="*/ 79 w 85"/>
                  <a:gd name="T27" fmla="*/ 63 h 112"/>
                  <a:gd name="T28" fmla="*/ 64 w 85"/>
                  <a:gd name="T29" fmla="*/ 53 h 112"/>
                  <a:gd name="T30" fmla="*/ 15 w 85"/>
                  <a:gd name="T31" fmla="*/ 13 h 112"/>
                  <a:gd name="T32" fmla="*/ 37 w 85"/>
                  <a:gd name="T33" fmla="*/ 13 h 112"/>
                  <a:gd name="T34" fmla="*/ 54 w 85"/>
                  <a:gd name="T35" fmla="*/ 15 h 112"/>
                  <a:gd name="T36" fmla="*/ 62 w 85"/>
                  <a:gd name="T37" fmla="*/ 21 h 112"/>
                  <a:gd name="T38" fmla="*/ 65 w 85"/>
                  <a:gd name="T39" fmla="*/ 31 h 112"/>
                  <a:gd name="T40" fmla="*/ 62 w 85"/>
                  <a:gd name="T41" fmla="*/ 40 h 112"/>
                  <a:gd name="T42" fmla="*/ 53 w 85"/>
                  <a:gd name="T43" fmla="*/ 46 h 112"/>
                  <a:gd name="T44" fmla="*/ 39 w 85"/>
                  <a:gd name="T45" fmla="*/ 47 h 112"/>
                  <a:gd name="T46" fmla="*/ 15 w 85"/>
                  <a:gd name="T47" fmla="*/ 47 h 112"/>
                  <a:gd name="T48" fmla="*/ 15 w 85"/>
                  <a:gd name="T49" fmla="*/ 13 h 112"/>
                  <a:gd name="T50" fmla="*/ 67 w 85"/>
                  <a:gd name="T51" fmla="*/ 89 h 112"/>
                  <a:gd name="T52" fmla="*/ 61 w 85"/>
                  <a:gd name="T53" fmla="*/ 95 h 112"/>
                  <a:gd name="T54" fmla="*/ 53 w 85"/>
                  <a:gd name="T55" fmla="*/ 99 h 112"/>
                  <a:gd name="T56" fmla="*/ 43 w 85"/>
                  <a:gd name="T57" fmla="*/ 99 h 112"/>
                  <a:gd name="T58" fmla="*/ 15 w 85"/>
                  <a:gd name="T59" fmla="*/ 99 h 112"/>
                  <a:gd name="T60" fmla="*/ 15 w 85"/>
                  <a:gd name="T61" fmla="*/ 61 h 112"/>
                  <a:gd name="T62" fmla="*/ 41 w 85"/>
                  <a:gd name="T63" fmla="*/ 61 h 112"/>
                  <a:gd name="T64" fmla="*/ 57 w 85"/>
                  <a:gd name="T65" fmla="*/ 62 h 112"/>
                  <a:gd name="T66" fmla="*/ 66 w 85"/>
                  <a:gd name="T67" fmla="*/ 69 h 112"/>
                  <a:gd name="T68" fmla="*/ 69 w 85"/>
                  <a:gd name="T69" fmla="*/ 80 h 112"/>
                  <a:gd name="T70" fmla="*/ 67 w 85"/>
                  <a:gd name="T71" fmla="*/ 89 h 1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85" h="112">
                    <a:moveTo>
                      <a:pt x="64" y="53"/>
                    </a:moveTo>
                    <a:cubicBezTo>
                      <a:pt x="69" y="50"/>
                      <a:pt x="73" y="47"/>
                      <a:pt x="75" y="42"/>
                    </a:cubicBezTo>
                    <a:cubicBezTo>
                      <a:pt x="78" y="38"/>
                      <a:pt x="79" y="34"/>
                      <a:pt x="79" y="29"/>
                    </a:cubicBezTo>
                    <a:cubicBezTo>
                      <a:pt x="79" y="24"/>
                      <a:pt x="78" y="19"/>
                      <a:pt x="75" y="14"/>
                    </a:cubicBezTo>
                    <a:cubicBezTo>
                      <a:pt x="72" y="9"/>
                      <a:pt x="68" y="6"/>
                      <a:pt x="63" y="4"/>
                    </a:cubicBezTo>
                    <a:cubicBezTo>
                      <a:pt x="57" y="1"/>
                      <a:pt x="51" y="0"/>
                      <a:pt x="42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112"/>
                      <a:pt x="0" y="112"/>
                      <a:pt x="0" y="112"/>
                    </a:cubicBezTo>
                    <a:cubicBezTo>
                      <a:pt x="43" y="112"/>
                      <a:pt x="43" y="112"/>
                      <a:pt x="43" y="112"/>
                    </a:cubicBezTo>
                    <a:cubicBezTo>
                      <a:pt x="50" y="112"/>
                      <a:pt x="56" y="112"/>
                      <a:pt x="61" y="110"/>
                    </a:cubicBezTo>
                    <a:cubicBezTo>
                      <a:pt x="66" y="109"/>
                      <a:pt x="70" y="107"/>
                      <a:pt x="73" y="105"/>
                    </a:cubicBezTo>
                    <a:cubicBezTo>
                      <a:pt x="76" y="102"/>
                      <a:pt x="79" y="99"/>
                      <a:pt x="81" y="94"/>
                    </a:cubicBezTo>
                    <a:cubicBezTo>
                      <a:pt x="84" y="90"/>
                      <a:pt x="85" y="85"/>
                      <a:pt x="85" y="80"/>
                    </a:cubicBezTo>
                    <a:cubicBezTo>
                      <a:pt x="85" y="73"/>
                      <a:pt x="83" y="68"/>
                      <a:pt x="79" y="63"/>
                    </a:cubicBezTo>
                    <a:cubicBezTo>
                      <a:pt x="76" y="58"/>
                      <a:pt x="70" y="55"/>
                      <a:pt x="64" y="53"/>
                    </a:cubicBezTo>
                    <a:close/>
                    <a:moveTo>
                      <a:pt x="15" y="13"/>
                    </a:moveTo>
                    <a:cubicBezTo>
                      <a:pt x="37" y="13"/>
                      <a:pt x="37" y="13"/>
                      <a:pt x="37" y="13"/>
                    </a:cubicBezTo>
                    <a:cubicBezTo>
                      <a:pt x="45" y="13"/>
                      <a:pt x="51" y="14"/>
                      <a:pt x="54" y="15"/>
                    </a:cubicBezTo>
                    <a:cubicBezTo>
                      <a:pt x="58" y="16"/>
                      <a:pt x="60" y="18"/>
                      <a:pt x="62" y="21"/>
                    </a:cubicBezTo>
                    <a:cubicBezTo>
                      <a:pt x="64" y="24"/>
                      <a:pt x="65" y="27"/>
                      <a:pt x="65" y="31"/>
                    </a:cubicBezTo>
                    <a:cubicBezTo>
                      <a:pt x="65" y="35"/>
                      <a:pt x="64" y="38"/>
                      <a:pt x="62" y="40"/>
                    </a:cubicBezTo>
                    <a:cubicBezTo>
                      <a:pt x="60" y="43"/>
                      <a:pt x="57" y="45"/>
                      <a:pt x="53" y="46"/>
                    </a:cubicBezTo>
                    <a:cubicBezTo>
                      <a:pt x="50" y="47"/>
                      <a:pt x="46" y="47"/>
                      <a:pt x="39" y="47"/>
                    </a:cubicBezTo>
                    <a:cubicBezTo>
                      <a:pt x="15" y="47"/>
                      <a:pt x="15" y="47"/>
                      <a:pt x="15" y="47"/>
                    </a:cubicBezTo>
                    <a:lnTo>
                      <a:pt x="15" y="13"/>
                    </a:lnTo>
                    <a:close/>
                    <a:moveTo>
                      <a:pt x="67" y="89"/>
                    </a:moveTo>
                    <a:cubicBezTo>
                      <a:pt x="66" y="92"/>
                      <a:pt x="64" y="94"/>
                      <a:pt x="61" y="95"/>
                    </a:cubicBezTo>
                    <a:cubicBezTo>
                      <a:pt x="59" y="97"/>
                      <a:pt x="56" y="98"/>
                      <a:pt x="53" y="99"/>
                    </a:cubicBezTo>
                    <a:cubicBezTo>
                      <a:pt x="51" y="99"/>
                      <a:pt x="48" y="99"/>
                      <a:pt x="43" y="99"/>
                    </a:cubicBezTo>
                    <a:cubicBezTo>
                      <a:pt x="15" y="99"/>
                      <a:pt x="15" y="99"/>
                      <a:pt x="15" y="99"/>
                    </a:cubicBezTo>
                    <a:cubicBezTo>
                      <a:pt x="15" y="61"/>
                      <a:pt x="15" y="61"/>
                      <a:pt x="15" y="61"/>
                    </a:cubicBezTo>
                    <a:cubicBezTo>
                      <a:pt x="41" y="61"/>
                      <a:pt x="41" y="61"/>
                      <a:pt x="41" y="61"/>
                    </a:cubicBezTo>
                    <a:cubicBezTo>
                      <a:pt x="48" y="61"/>
                      <a:pt x="53" y="61"/>
                      <a:pt x="57" y="62"/>
                    </a:cubicBezTo>
                    <a:cubicBezTo>
                      <a:pt x="61" y="64"/>
                      <a:pt x="64" y="66"/>
                      <a:pt x="66" y="69"/>
                    </a:cubicBezTo>
                    <a:cubicBezTo>
                      <a:pt x="68" y="72"/>
                      <a:pt x="69" y="76"/>
                      <a:pt x="69" y="80"/>
                    </a:cubicBezTo>
                    <a:cubicBezTo>
                      <a:pt x="69" y="83"/>
                      <a:pt x="69" y="87"/>
                      <a:pt x="67" y="8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176" name="iŝļidé"/>
              <p:cNvSpPr/>
              <p:nvPr/>
            </p:nvSpPr>
            <p:spPr bwMode="auto">
              <a:xfrm>
                <a:off x="10288841" y="5729878"/>
                <a:ext cx="138113" cy="157163"/>
              </a:xfrm>
              <a:custGeom>
                <a:avLst/>
                <a:gdLst>
                  <a:gd name="T0" fmla="*/ 38 w 75"/>
                  <a:gd name="T1" fmla="*/ 0 h 85"/>
                  <a:gd name="T2" fmla="*/ 10 w 75"/>
                  <a:gd name="T3" fmla="*/ 12 h 85"/>
                  <a:gd name="T4" fmla="*/ 0 w 75"/>
                  <a:gd name="T5" fmla="*/ 43 h 85"/>
                  <a:gd name="T6" fmla="*/ 10 w 75"/>
                  <a:gd name="T7" fmla="*/ 74 h 85"/>
                  <a:gd name="T8" fmla="*/ 38 w 75"/>
                  <a:gd name="T9" fmla="*/ 85 h 85"/>
                  <a:gd name="T10" fmla="*/ 62 w 75"/>
                  <a:gd name="T11" fmla="*/ 78 h 85"/>
                  <a:gd name="T12" fmla="*/ 74 w 75"/>
                  <a:gd name="T13" fmla="*/ 59 h 85"/>
                  <a:gd name="T14" fmla="*/ 60 w 75"/>
                  <a:gd name="T15" fmla="*/ 57 h 85"/>
                  <a:gd name="T16" fmla="*/ 51 w 75"/>
                  <a:gd name="T17" fmla="*/ 70 h 85"/>
                  <a:gd name="T18" fmla="*/ 39 w 75"/>
                  <a:gd name="T19" fmla="*/ 74 h 85"/>
                  <a:gd name="T20" fmla="*/ 22 w 75"/>
                  <a:gd name="T21" fmla="*/ 67 h 85"/>
                  <a:gd name="T22" fmla="*/ 14 w 75"/>
                  <a:gd name="T23" fmla="*/ 46 h 85"/>
                  <a:gd name="T24" fmla="*/ 75 w 75"/>
                  <a:gd name="T25" fmla="*/ 46 h 85"/>
                  <a:gd name="T26" fmla="*/ 75 w 75"/>
                  <a:gd name="T27" fmla="*/ 43 h 85"/>
                  <a:gd name="T28" fmla="*/ 64 w 75"/>
                  <a:gd name="T29" fmla="*/ 11 h 85"/>
                  <a:gd name="T30" fmla="*/ 38 w 75"/>
                  <a:gd name="T31" fmla="*/ 0 h 85"/>
                  <a:gd name="T32" fmla="*/ 15 w 75"/>
                  <a:gd name="T33" fmla="*/ 35 h 85"/>
                  <a:gd name="T34" fmla="*/ 22 w 75"/>
                  <a:gd name="T35" fmla="*/ 18 h 85"/>
                  <a:gd name="T36" fmla="*/ 38 w 75"/>
                  <a:gd name="T37" fmla="*/ 12 h 85"/>
                  <a:gd name="T38" fmla="*/ 55 w 75"/>
                  <a:gd name="T39" fmla="*/ 20 h 85"/>
                  <a:gd name="T40" fmla="*/ 60 w 75"/>
                  <a:gd name="T41" fmla="*/ 35 h 85"/>
                  <a:gd name="T42" fmla="*/ 15 w 75"/>
                  <a:gd name="T43" fmla="*/ 35 h 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75" h="85">
                    <a:moveTo>
                      <a:pt x="38" y="0"/>
                    </a:moveTo>
                    <a:cubicBezTo>
                      <a:pt x="26" y="0"/>
                      <a:pt x="17" y="4"/>
                      <a:pt x="10" y="12"/>
                    </a:cubicBezTo>
                    <a:cubicBezTo>
                      <a:pt x="3" y="19"/>
                      <a:pt x="0" y="30"/>
                      <a:pt x="0" y="43"/>
                    </a:cubicBezTo>
                    <a:cubicBezTo>
                      <a:pt x="0" y="57"/>
                      <a:pt x="3" y="67"/>
                      <a:pt x="10" y="74"/>
                    </a:cubicBezTo>
                    <a:cubicBezTo>
                      <a:pt x="17" y="81"/>
                      <a:pt x="27" y="85"/>
                      <a:pt x="38" y="85"/>
                    </a:cubicBezTo>
                    <a:cubicBezTo>
                      <a:pt x="48" y="85"/>
                      <a:pt x="56" y="83"/>
                      <a:pt x="62" y="78"/>
                    </a:cubicBezTo>
                    <a:cubicBezTo>
                      <a:pt x="68" y="74"/>
                      <a:pt x="72" y="67"/>
                      <a:pt x="74" y="59"/>
                    </a:cubicBezTo>
                    <a:cubicBezTo>
                      <a:pt x="60" y="57"/>
                      <a:pt x="60" y="57"/>
                      <a:pt x="60" y="57"/>
                    </a:cubicBezTo>
                    <a:cubicBezTo>
                      <a:pt x="58" y="63"/>
                      <a:pt x="55" y="67"/>
                      <a:pt x="51" y="70"/>
                    </a:cubicBezTo>
                    <a:cubicBezTo>
                      <a:pt x="48" y="73"/>
                      <a:pt x="44" y="74"/>
                      <a:pt x="39" y="74"/>
                    </a:cubicBezTo>
                    <a:cubicBezTo>
                      <a:pt x="32" y="74"/>
                      <a:pt x="26" y="71"/>
                      <a:pt x="22" y="67"/>
                    </a:cubicBezTo>
                    <a:cubicBezTo>
                      <a:pt x="17" y="62"/>
                      <a:pt x="14" y="55"/>
                      <a:pt x="14" y="46"/>
                    </a:cubicBezTo>
                    <a:cubicBezTo>
                      <a:pt x="75" y="46"/>
                      <a:pt x="75" y="46"/>
                      <a:pt x="75" y="46"/>
                    </a:cubicBezTo>
                    <a:cubicBezTo>
                      <a:pt x="75" y="45"/>
                      <a:pt x="75" y="43"/>
                      <a:pt x="75" y="43"/>
                    </a:cubicBezTo>
                    <a:cubicBezTo>
                      <a:pt x="75" y="29"/>
                      <a:pt x="71" y="19"/>
                      <a:pt x="64" y="11"/>
                    </a:cubicBezTo>
                    <a:cubicBezTo>
                      <a:pt x="57" y="4"/>
                      <a:pt x="49" y="0"/>
                      <a:pt x="38" y="0"/>
                    </a:cubicBezTo>
                    <a:close/>
                    <a:moveTo>
                      <a:pt x="15" y="35"/>
                    </a:moveTo>
                    <a:cubicBezTo>
                      <a:pt x="15" y="28"/>
                      <a:pt x="18" y="22"/>
                      <a:pt x="22" y="18"/>
                    </a:cubicBezTo>
                    <a:cubicBezTo>
                      <a:pt x="26" y="14"/>
                      <a:pt x="32" y="12"/>
                      <a:pt x="38" y="12"/>
                    </a:cubicBezTo>
                    <a:cubicBezTo>
                      <a:pt x="45" y="12"/>
                      <a:pt x="51" y="14"/>
                      <a:pt x="55" y="20"/>
                    </a:cubicBezTo>
                    <a:cubicBezTo>
                      <a:pt x="58" y="23"/>
                      <a:pt x="60" y="28"/>
                      <a:pt x="60" y="35"/>
                    </a:cubicBezTo>
                    <a:lnTo>
                      <a:pt x="15" y="3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177" name="í$lidè"/>
              <p:cNvSpPr/>
              <p:nvPr/>
            </p:nvSpPr>
            <p:spPr bwMode="auto">
              <a:xfrm>
                <a:off x="10457116" y="5675903"/>
                <a:ext cx="25400" cy="30163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178" name="iSļiḋé"/>
              <p:cNvSpPr/>
              <p:nvPr/>
            </p:nvSpPr>
            <p:spPr bwMode="auto">
              <a:xfrm>
                <a:off x="10457116" y="5733053"/>
                <a:ext cx="25400" cy="149225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179" name="íṩḷïḑe"/>
              <p:cNvSpPr/>
              <p:nvPr/>
            </p:nvSpPr>
            <p:spPr bwMode="auto">
              <a:xfrm>
                <a:off x="10520616" y="5675903"/>
                <a:ext cx="25400" cy="30163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180" name="i$ḷïḍè"/>
              <p:cNvSpPr/>
              <p:nvPr/>
            </p:nvSpPr>
            <p:spPr bwMode="auto">
              <a:xfrm>
                <a:off x="10488866" y="5733053"/>
                <a:ext cx="57150" cy="211138"/>
              </a:xfrm>
              <a:custGeom>
                <a:avLst/>
                <a:gdLst>
                  <a:gd name="T0" fmla="*/ 17 w 31"/>
                  <a:gd name="T1" fmla="*/ 85 h 114"/>
                  <a:gd name="T2" fmla="*/ 15 w 31"/>
                  <a:gd name="T3" fmla="*/ 99 h 114"/>
                  <a:gd name="T4" fmla="*/ 9 w 31"/>
                  <a:gd name="T5" fmla="*/ 102 h 114"/>
                  <a:gd name="T6" fmla="*/ 2 w 31"/>
                  <a:gd name="T7" fmla="*/ 101 h 114"/>
                  <a:gd name="T8" fmla="*/ 0 w 31"/>
                  <a:gd name="T9" fmla="*/ 113 h 114"/>
                  <a:gd name="T10" fmla="*/ 11 w 31"/>
                  <a:gd name="T11" fmla="*/ 114 h 114"/>
                  <a:gd name="T12" fmla="*/ 27 w 31"/>
                  <a:gd name="T13" fmla="*/ 107 h 114"/>
                  <a:gd name="T14" fmla="*/ 31 w 31"/>
                  <a:gd name="T15" fmla="*/ 86 h 114"/>
                  <a:gd name="T16" fmla="*/ 31 w 31"/>
                  <a:gd name="T17" fmla="*/ 0 h 114"/>
                  <a:gd name="T18" fmla="*/ 17 w 31"/>
                  <a:gd name="T19" fmla="*/ 0 h 114"/>
                  <a:gd name="T20" fmla="*/ 17 w 31"/>
                  <a:gd name="T21" fmla="*/ 85 h 1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31" h="114">
                    <a:moveTo>
                      <a:pt x="17" y="85"/>
                    </a:moveTo>
                    <a:cubicBezTo>
                      <a:pt x="17" y="93"/>
                      <a:pt x="17" y="98"/>
                      <a:pt x="15" y="99"/>
                    </a:cubicBezTo>
                    <a:cubicBezTo>
                      <a:pt x="14" y="101"/>
                      <a:pt x="12" y="102"/>
                      <a:pt x="9" y="102"/>
                    </a:cubicBezTo>
                    <a:cubicBezTo>
                      <a:pt x="7" y="102"/>
                      <a:pt x="5" y="102"/>
                      <a:pt x="2" y="101"/>
                    </a:cubicBezTo>
                    <a:cubicBezTo>
                      <a:pt x="0" y="113"/>
                      <a:pt x="0" y="113"/>
                      <a:pt x="0" y="113"/>
                    </a:cubicBezTo>
                    <a:cubicBezTo>
                      <a:pt x="3" y="114"/>
                      <a:pt x="7" y="114"/>
                      <a:pt x="11" y="114"/>
                    </a:cubicBezTo>
                    <a:cubicBezTo>
                      <a:pt x="18" y="114"/>
                      <a:pt x="24" y="112"/>
                      <a:pt x="27" y="107"/>
                    </a:cubicBezTo>
                    <a:cubicBezTo>
                      <a:pt x="30" y="103"/>
                      <a:pt x="31" y="96"/>
                      <a:pt x="31" y="86"/>
                    </a:cubicBezTo>
                    <a:cubicBezTo>
                      <a:pt x="31" y="0"/>
                      <a:pt x="31" y="0"/>
                      <a:pt x="31" y="0"/>
                    </a:cubicBezTo>
                    <a:cubicBezTo>
                      <a:pt x="17" y="0"/>
                      <a:pt x="17" y="0"/>
                      <a:pt x="17" y="0"/>
                    </a:cubicBezTo>
                    <a:lnTo>
                      <a:pt x="17" y="8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181" name="íṩliḋé"/>
              <p:cNvSpPr/>
              <p:nvPr/>
            </p:nvSpPr>
            <p:spPr bwMode="auto">
              <a:xfrm>
                <a:off x="10585703" y="5675903"/>
                <a:ext cx="25400" cy="30163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182" name="ísḷiďé"/>
              <p:cNvSpPr/>
              <p:nvPr/>
            </p:nvSpPr>
            <p:spPr bwMode="auto">
              <a:xfrm>
                <a:off x="10585703" y="5733053"/>
                <a:ext cx="25400" cy="149225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183" name="íṩļïḍe"/>
              <p:cNvSpPr/>
              <p:nvPr/>
            </p:nvSpPr>
            <p:spPr bwMode="auto">
              <a:xfrm>
                <a:off x="10649203" y="5729878"/>
                <a:ext cx="122238" cy="152400"/>
              </a:xfrm>
              <a:custGeom>
                <a:avLst/>
                <a:gdLst>
                  <a:gd name="T0" fmla="*/ 65 w 66"/>
                  <a:gd name="T1" fmla="*/ 20 h 83"/>
                  <a:gd name="T2" fmla="*/ 61 w 66"/>
                  <a:gd name="T3" fmla="*/ 10 h 83"/>
                  <a:gd name="T4" fmla="*/ 52 w 66"/>
                  <a:gd name="T5" fmla="*/ 3 h 83"/>
                  <a:gd name="T6" fmla="*/ 38 w 66"/>
                  <a:gd name="T7" fmla="*/ 0 h 83"/>
                  <a:gd name="T8" fmla="*/ 12 w 66"/>
                  <a:gd name="T9" fmla="*/ 14 h 83"/>
                  <a:gd name="T10" fmla="*/ 12 w 66"/>
                  <a:gd name="T11" fmla="*/ 2 h 83"/>
                  <a:gd name="T12" fmla="*/ 0 w 66"/>
                  <a:gd name="T13" fmla="*/ 2 h 83"/>
                  <a:gd name="T14" fmla="*/ 0 w 66"/>
                  <a:gd name="T15" fmla="*/ 83 h 83"/>
                  <a:gd name="T16" fmla="*/ 14 w 66"/>
                  <a:gd name="T17" fmla="*/ 83 h 83"/>
                  <a:gd name="T18" fmla="*/ 14 w 66"/>
                  <a:gd name="T19" fmla="*/ 39 h 83"/>
                  <a:gd name="T20" fmla="*/ 20 w 66"/>
                  <a:gd name="T21" fmla="*/ 18 h 83"/>
                  <a:gd name="T22" fmla="*/ 35 w 66"/>
                  <a:gd name="T23" fmla="*/ 12 h 83"/>
                  <a:gd name="T24" fmla="*/ 45 w 66"/>
                  <a:gd name="T25" fmla="*/ 15 h 83"/>
                  <a:gd name="T26" fmla="*/ 51 w 66"/>
                  <a:gd name="T27" fmla="*/ 21 h 83"/>
                  <a:gd name="T28" fmla="*/ 52 w 66"/>
                  <a:gd name="T29" fmla="*/ 34 h 83"/>
                  <a:gd name="T30" fmla="*/ 52 w 66"/>
                  <a:gd name="T31" fmla="*/ 83 h 83"/>
                  <a:gd name="T32" fmla="*/ 66 w 66"/>
                  <a:gd name="T33" fmla="*/ 83 h 83"/>
                  <a:gd name="T34" fmla="*/ 66 w 66"/>
                  <a:gd name="T35" fmla="*/ 33 h 83"/>
                  <a:gd name="T36" fmla="*/ 65 w 66"/>
                  <a:gd name="T37" fmla="*/ 20 h 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66" h="83">
                    <a:moveTo>
                      <a:pt x="65" y="20"/>
                    </a:moveTo>
                    <a:cubicBezTo>
                      <a:pt x="64" y="16"/>
                      <a:pt x="63" y="13"/>
                      <a:pt x="61" y="10"/>
                    </a:cubicBezTo>
                    <a:cubicBezTo>
                      <a:pt x="59" y="7"/>
                      <a:pt x="56" y="5"/>
                      <a:pt x="52" y="3"/>
                    </a:cubicBezTo>
                    <a:cubicBezTo>
                      <a:pt x="48" y="1"/>
                      <a:pt x="43" y="0"/>
                      <a:pt x="38" y="0"/>
                    </a:cubicBezTo>
                    <a:cubicBezTo>
                      <a:pt x="27" y="0"/>
                      <a:pt x="18" y="5"/>
                      <a:pt x="12" y="14"/>
                    </a:cubicBezTo>
                    <a:cubicBezTo>
                      <a:pt x="12" y="2"/>
                      <a:pt x="12" y="2"/>
                      <a:pt x="12" y="2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83"/>
                      <a:pt x="0" y="83"/>
                      <a:pt x="0" y="83"/>
                    </a:cubicBezTo>
                    <a:cubicBezTo>
                      <a:pt x="14" y="83"/>
                      <a:pt x="14" y="83"/>
                      <a:pt x="14" y="83"/>
                    </a:cubicBezTo>
                    <a:cubicBezTo>
                      <a:pt x="14" y="39"/>
                      <a:pt x="14" y="39"/>
                      <a:pt x="14" y="39"/>
                    </a:cubicBezTo>
                    <a:cubicBezTo>
                      <a:pt x="14" y="29"/>
                      <a:pt x="16" y="21"/>
                      <a:pt x="20" y="18"/>
                    </a:cubicBezTo>
                    <a:cubicBezTo>
                      <a:pt x="24" y="14"/>
                      <a:pt x="29" y="12"/>
                      <a:pt x="35" y="12"/>
                    </a:cubicBezTo>
                    <a:cubicBezTo>
                      <a:pt x="39" y="12"/>
                      <a:pt x="42" y="13"/>
                      <a:pt x="45" y="15"/>
                    </a:cubicBezTo>
                    <a:cubicBezTo>
                      <a:pt x="48" y="16"/>
                      <a:pt x="50" y="19"/>
                      <a:pt x="51" y="21"/>
                    </a:cubicBezTo>
                    <a:cubicBezTo>
                      <a:pt x="52" y="24"/>
                      <a:pt x="52" y="28"/>
                      <a:pt x="52" y="34"/>
                    </a:cubicBezTo>
                    <a:cubicBezTo>
                      <a:pt x="52" y="83"/>
                      <a:pt x="52" y="83"/>
                      <a:pt x="52" y="83"/>
                    </a:cubicBezTo>
                    <a:cubicBezTo>
                      <a:pt x="66" y="83"/>
                      <a:pt x="66" y="83"/>
                      <a:pt x="66" y="83"/>
                    </a:cubicBezTo>
                    <a:cubicBezTo>
                      <a:pt x="66" y="33"/>
                      <a:pt x="66" y="33"/>
                      <a:pt x="66" y="33"/>
                    </a:cubicBezTo>
                    <a:cubicBezTo>
                      <a:pt x="66" y="27"/>
                      <a:pt x="66" y="23"/>
                      <a:pt x="65" y="2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184" name="í$ľíḍê"/>
              <p:cNvSpPr/>
              <p:nvPr/>
            </p:nvSpPr>
            <p:spPr bwMode="auto">
              <a:xfrm>
                <a:off x="10800016" y="5729878"/>
                <a:ext cx="133350" cy="214313"/>
              </a:xfrm>
              <a:custGeom>
                <a:avLst/>
                <a:gdLst>
                  <a:gd name="T0" fmla="*/ 59 w 72"/>
                  <a:gd name="T1" fmla="*/ 2 h 116"/>
                  <a:gd name="T2" fmla="*/ 59 w 72"/>
                  <a:gd name="T3" fmla="*/ 12 h 116"/>
                  <a:gd name="T4" fmla="*/ 35 w 72"/>
                  <a:gd name="T5" fmla="*/ 0 h 116"/>
                  <a:gd name="T6" fmla="*/ 16 w 72"/>
                  <a:gd name="T7" fmla="*/ 6 h 116"/>
                  <a:gd name="T8" fmla="*/ 4 w 72"/>
                  <a:gd name="T9" fmla="*/ 21 h 116"/>
                  <a:gd name="T10" fmla="*/ 0 w 72"/>
                  <a:gd name="T11" fmla="*/ 42 h 116"/>
                  <a:gd name="T12" fmla="*/ 9 w 72"/>
                  <a:gd name="T13" fmla="*/ 71 h 116"/>
                  <a:gd name="T14" fmla="*/ 35 w 72"/>
                  <a:gd name="T15" fmla="*/ 83 h 116"/>
                  <a:gd name="T16" fmla="*/ 58 w 72"/>
                  <a:gd name="T17" fmla="*/ 73 h 116"/>
                  <a:gd name="T18" fmla="*/ 57 w 72"/>
                  <a:gd name="T19" fmla="*/ 90 h 116"/>
                  <a:gd name="T20" fmla="*/ 49 w 72"/>
                  <a:gd name="T21" fmla="*/ 101 h 116"/>
                  <a:gd name="T22" fmla="*/ 35 w 72"/>
                  <a:gd name="T23" fmla="*/ 105 h 116"/>
                  <a:gd name="T24" fmla="*/ 21 w 72"/>
                  <a:gd name="T25" fmla="*/ 101 h 116"/>
                  <a:gd name="T26" fmla="*/ 16 w 72"/>
                  <a:gd name="T27" fmla="*/ 92 h 116"/>
                  <a:gd name="T28" fmla="*/ 3 w 72"/>
                  <a:gd name="T29" fmla="*/ 90 h 116"/>
                  <a:gd name="T30" fmla="*/ 11 w 72"/>
                  <a:gd name="T31" fmla="*/ 110 h 116"/>
                  <a:gd name="T32" fmla="*/ 35 w 72"/>
                  <a:gd name="T33" fmla="*/ 116 h 116"/>
                  <a:gd name="T34" fmla="*/ 55 w 72"/>
                  <a:gd name="T35" fmla="*/ 112 h 116"/>
                  <a:gd name="T36" fmla="*/ 68 w 72"/>
                  <a:gd name="T37" fmla="*/ 99 h 116"/>
                  <a:gd name="T38" fmla="*/ 72 w 72"/>
                  <a:gd name="T39" fmla="*/ 72 h 116"/>
                  <a:gd name="T40" fmla="*/ 72 w 72"/>
                  <a:gd name="T41" fmla="*/ 2 h 116"/>
                  <a:gd name="T42" fmla="*/ 59 w 72"/>
                  <a:gd name="T43" fmla="*/ 2 h 116"/>
                  <a:gd name="T44" fmla="*/ 52 w 72"/>
                  <a:gd name="T45" fmla="*/ 65 h 116"/>
                  <a:gd name="T46" fmla="*/ 36 w 72"/>
                  <a:gd name="T47" fmla="*/ 72 h 116"/>
                  <a:gd name="T48" fmla="*/ 20 w 72"/>
                  <a:gd name="T49" fmla="*/ 65 h 116"/>
                  <a:gd name="T50" fmla="*/ 14 w 72"/>
                  <a:gd name="T51" fmla="*/ 41 h 116"/>
                  <a:gd name="T52" fmla="*/ 20 w 72"/>
                  <a:gd name="T53" fmla="*/ 19 h 116"/>
                  <a:gd name="T54" fmla="*/ 36 w 72"/>
                  <a:gd name="T55" fmla="*/ 12 h 116"/>
                  <a:gd name="T56" fmla="*/ 52 w 72"/>
                  <a:gd name="T57" fmla="*/ 19 h 116"/>
                  <a:gd name="T58" fmla="*/ 59 w 72"/>
                  <a:gd name="T59" fmla="*/ 42 h 116"/>
                  <a:gd name="T60" fmla="*/ 52 w 72"/>
                  <a:gd name="T61" fmla="*/ 65 h 1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72" h="116">
                    <a:moveTo>
                      <a:pt x="59" y="2"/>
                    </a:moveTo>
                    <a:cubicBezTo>
                      <a:pt x="59" y="12"/>
                      <a:pt x="59" y="12"/>
                      <a:pt x="59" y="12"/>
                    </a:cubicBezTo>
                    <a:cubicBezTo>
                      <a:pt x="53" y="4"/>
                      <a:pt x="45" y="0"/>
                      <a:pt x="35" y="0"/>
                    </a:cubicBezTo>
                    <a:cubicBezTo>
                      <a:pt x="28" y="0"/>
                      <a:pt x="22" y="2"/>
                      <a:pt x="16" y="6"/>
                    </a:cubicBezTo>
                    <a:cubicBezTo>
                      <a:pt x="11" y="9"/>
                      <a:pt x="7" y="14"/>
                      <a:pt x="4" y="21"/>
                    </a:cubicBezTo>
                    <a:cubicBezTo>
                      <a:pt x="1" y="27"/>
                      <a:pt x="0" y="34"/>
                      <a:pt x="0" y="42"/>
                    </a:cubicBezTo>
                    <a:cubicBezTo>
                      <a:pt x="0" y="53"/>
                      <a:pt x="3" y="63"/>
                      <a:pt x="9" y="71"/>
                    </a:cubicBezTo>
                    <a:cubicBezTo>
                      <a:pt x="15" y="79"/>
                      <a:pt x="24" y="83"/>
                      <a:pt x="35" y="83"/>
                    </a:cubicBezTo>
                    <a:cubicBezTo>
                      <a:pt x="44" y="83"/>
                      <a:pt x="51" y="80"/>
                      <a:pt x="58" y="73"/>
                    </a:cubicBezTo>
                    <a:cubicBezTo>
                      <a:pt x="58" y="82"/>
                      <a:pt x="57" y="88"/>
                      <a:pt x="57" y="90"/>
                    </a:cubicBezTo>
                    <a:cubicBezTo>
                      <a:pt x="55" y="95"/>
                      <a:pt x="53" y="99"/>
                      <a:pt x="49" y="101"/>
                    </a:cubicBezTo>
                    <a:cubicBezTo>
                      <a:pt x="46" y="104"/>
                      <a:pt x="41" y="105"/>
                      <a:pt x="35" y="105"/>
                    </a:cubicBezTo>
                    <a:cubicBezTo>
                      <a:pt x="29" y="105"/>
                      <a:pt x="24" y="104"/>
                      <a:pt x="21" y="101"/>
                    </a:cubicBezTo>
                    <a:cubicBezTo>
                      <a:pt x="18" y="99"/>
                      <a:pt x="17" y="96"/>
                      <a:pt x="16" y="92"/>
                    </a:cubicBezTo>
                    <a:cubicBezTo>
                      <a:pt x="3" y="90"/>
                      <a:pt x="3" y="90"/>
                      <a:pt x="3" y="90"/>
                    </a:cubicBezTo>
                    <a:cubicBezTo>
                      <a:pt x="2" y="99"/>
                      <a:pt x="5" y="105"/>
                      <a:pt x="11" y="110"/>
                    </a:cubicBezTo>
                    <a:cubicBezTo>
                      <a:pt x="17" y="114"/>
                      <a:pt x="25" y="116"/>
                      <a:pt x="35" y="116"/>
                    </a:cubicBezTo>
                    <a:cubicBezTo>
                      <a:pt x="43" y="116"/>
                      <a:pt x="50" y="115"/>
                      <a:pt x="55" y="112"/>
                    </a:cubicBezTo>
                    <a:cubicBezTo>
                      <a:pt x="61" y="109"/>
                      <a:pt x="65" y="104"/>
                      <a:pt x="68" y="99"/>
                    </a:cubicBezTo>
                    <a:cubicBezTo>
                      <a:pt x="70" y="94"/>
                      <a:pt x="72" y="85"/>
                      <a:pt x="72" y="72"/>
                    </a:cubicBezTo>
                    <a:cubicBezTo>
                      <a:pt x="72" y="2"/>
                      <a:pt x="72" y="2"/>
                      <a:pt x="72" y="2"/>
                    </a:cubicBezTo>
                    <a:lnTo>
                      <a:pt x="59" y="2"/>
                    </a:lnTo>
                    <a:close/>
                    <a:moveTo>
                      <a:pt x="52" y="65"/>
                    </a:moveTo>
                    <a:cubicBezTo>
                      <a:pt x="48" y="69"/>
                      <a:pt x="43" y="72"/>
                      <a:pt x="36" y="72"/>
                    </a:cubicBezTo>
                    <a:cubicBezTo>
                      <a:pt x="30" y="72"/>
                      <a:pt x="25" y="69"/>
                      <a:pt x="20" y="65"/>
                    </a:cubicBezTo>
                    <a:cubicBezTo>
                      <a:pt x="16" y="60"/>
                      <a:pt x="14" y="52"/>
                      <a:pt x="14" y="41"/>
                    </a:cubicBezTo>
                    <a:cubicBezTo>
                      <a:pt x="14" y="31"/>
                      <a:pt x="16" y="24"/>
                      <a:pt x="20" y="19"/>
                    </a:cubicBezTo>
                    <a:cubicBezTo>
                      <a:pt x="25" y="14"/>
                      <a:pt x="30" y="12"/>
                      <a:pt x="36" y="12"/>
                    </a:cubicBezTo>
                    <a:cubicBezTo>
                      <a:pt x="42" y="12"/>
                      <a:pt x="48" y="14"/>
                      <a:pt x="52" y="19"/>
                    </a:cubicBezTo>
                    <a:cubicBezTo>
                      <a:pt x="56" y="24"/>
                      <a:pt x="59" y="32"/>
                      <a:pt x="59" y="42"/>
                    </a:cubicBezTo>
                    <a:cubicBezTo>
                      <a:pt x="59" y="52"/>
                      <a:pt x="57" y="60"/>
                      <a:pt x="52" y="6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185" name="î$1ïḍè"/>
              <p:cNvSpPr/>
              <p:nvPr/>
            </p:nvSpPr>
            <p:spPr bwMode="auto">
              <a:xfrm>
                <a:off x="5231066" y="5675903"/>
                <a:ext cx="161925" cy="211138"/>
              </a:xfrm>
              <a:custGeom>
                <a:avLst/>
                <a:gdLst>
                  <a:gd name="T0" fmla="*/ 73 w 88"/>
                  <a:gd name="T1" fmla="*/ 65 h 114"/>
                  <a:gd name="T2" fmla="*/ 66 w 88"/>
                  <a:gd name="T3" fmla="*/ 93 h 114"/>
                  <a:gd name="T4" fmla="*/ 43 w 88"/>
                  <a:gd name="T5" fmla="*/ 101 h 114"/>
                  <a:gd name="T6" fmla="*/ 27 w 88"/>
                  <a:gd name="T7" fmla="*/ 97 h 114"/>
                  <a:gd name="T8" fmla="*/ 17 w 88"/>
                  <a:gd name="T9" fmla="*/ 86 h 114"/>
                  <a:gd name="T10" fmla="*/ 15 w 88"/>
                  <a:gd name="T11" fmla="*/ 65 h 114"/>
                  <a:gd name="T12" fmla="*/ 15 w 88"/>
                  <a:gd name="T13" fmla="*/ 0 h 114"/>
                  <a:gd name="T14" fmla="*/ 0 w 88"/>
                  <a:gd name="T15" fmla="*/ 0 h 114"/>
                  <a:gd name="T16" fmla="*/ 0 w 88"/>
                  <a:gd name="T17" fmla="*/ 65 h 114"/>
                  <a:gd name="T18" fmla="*/ 4 w 88"/>
                  <a:gd name="T19" fmla="*/ 93 h 114"/>
                  <a:gd name="T20" fmla="*/ 18 w 88"/>
                  <a:gd name="T21" fmla="*/ 109 h 114"/>
                  <a:gd name="T22" fmla="*/ 44 w 88"/>
                  <a:gd name="T23" fmla="*/ 114 h 114"/>
                  <a:gd name="T24" fmla="*/ 70 w 88"/>
                  <a:gd name="T25" fmla="*/ 108 h 114"/>
                  <a:gd name="T26" fmla="*/ 84 w 88"/>
                  <a:gd name="T27" fmla="*/ 92 h 114"/>
                  <a:gd name="T28" fmla="*/ 88 w 88"/>
                  <a:gd name="T29" fmla="*/ 65 h 114"/>
                  <a:gd name="T30" fmla="*/ 88 w 88"/>
                  <a:gd name="T31" fmla="*/ 0 h 114"/>
                  <a:gd name="T32" fmla="*/ 73 w 88"/>
                  <a:gd name="T33" fmla="*/ 0 h 114"/>
                  <a:gd name="T34" fmla="*/ 73 w 88"/>
                  <a:gd name="T35" fmla="*/ 65 h 1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88" h="114">
                    <a:moveTo>
                      <a:pt x="73" y="65"/>
                    </a:moveTo>
                    <a:cubicBezTo>
                      <a:pt x="73" y="79"/>
                      <a:pt x="71" y="88"/>
                      <a:pt x="66" y="93"/>
                    </a:cubicBezTo>
                    <a:cubicBezTo>
                      <a:pt x="62" y="98"/>
                      <a:pt x="54" y="101"/>
                      <a:pt x="43" y="101"/>
                    </a:cubicBezTo>
                    <a:cubicBezTo>
                      <a:pt x="37" y="101"/>
                      <a:pt x="31" y="100"/>
                      <a:pt x="27" y="97"/>
                    </a:cubicBezTo>
                    <a:cubicBezTo>
                      <a:pt x="22" y="95"/>
                      <a:pt x="19" y="91"/>
                      <a:pt x="17" y="86"/>
                    </a:cubicBezTo>
                    <a:cubicBezTo>
                      <a:pt x="16" y="82"/>
                      <a:pt x="15" y="75"/>
                      <a:pt x="15" y="65"/>
                    </a:cubicBezTo>
                    <a:cubicBezTo>
                      <a:pt x="15" y="0"/>
                      <a:pt x="15" y="0"/>
                      <a:pt x="15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65"/>
                      <a:pt x="0" y="65"/>
                      <a:pt x="0" y="65"/>
                    </a:cubicBezTo>
                    <a:cubicBezTo>
                      <a:pt x="0" y="77"/>
                      <a:pt x="1" y="86"/>
                      <a:pt x="4" y="93"/>
                    </a:cubicBezTo>
                    <a:cubicBezTo>
                      <a:pt x="7" y="100"/>
                      <a:pt x="12" y="105"/>
                      <a:pt x="18" y="109"/>
                    </a:cubicBezTo>
                    <a:cubicBezTo>
                      <a:pt x="25" y="112"/>
                      <a:pt x="34" y="114"/>
                      <a:pt x="44" y="114"/>
                    </a:cubicBezTo>
                    <a:cubicBezTo>
                      <a:pt x="55" y="114"/>
                      <a:pt x="64" y="112"/>
                      <a:pt x="70" y="108"/>
                    </a:cubicBezTo>
                    <a:cubicBezTo>
                      <a:pt x="77" y="104"/>
                      <a:pt x="82" y="98"/>
                      <a:pt x="84" y="92"/>
                    </a:cubicBezTo>
                    <a:cubicBezTo>
                      <a:pt x="87" y="85"/>
                      <a:pt x="88" y="76"/>
                      <a:pt x="88" y="65"/>
                    </a:cubicBezTo>
                    <a:cubicBezTo>
                      <a:pt x="88" y="0"/>
                      <a:pt x="88" y="0"/>
                      <a:pt x="88" y="0"/>
                    </a:cubicBezTo>
                    <a:cubicBezTo>
                      <a:pt x="73" y="0"/>
                      <a:pt x="73" y="0"/>
                      <a:pt x="73" y="0"/>
                    </a:cubicBezTo>
                    <a:lnTo>
                      <a:pt x="73" y="6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186" name="ïṡļîḑê"/>
              <p:cNvSpPr/>
              <p:nvPr/>
            </p:nvSpPr>
            <p:spPr bwMode="auto">
              <a:xfrm>
                <a:off x="5435853" y="5729878"/>
                <a:ext cx="120650" cy="152400"/>
              </a:xfrm>
              <a:custGeom>
                <a:avLst/>
                <a:gdLst>
                  <a:gd name="T0" fmla="*/ 61 w 66"/>
                  <a:gd name="T1" fmla="*/ 10 h 83"/>
                  <a:gd name="T2" fmla="*/ 52 w 66"/>
                  <a:gd name="T3" fmla="*/ 3 h 83"/>
                  <a:gd name="T4" fmla="*/ 38 w 66"/>
                  <a:gd name="T5" fmla="*/ 0 h 83"/>
                  <a:gd name="T6" fmla="*/ 12 w 66"/>
                  <a:gd name="T7" fmla="*/ 14 h 83"/>
                  <a:gd name="T8" fmla="*/ 12 w 66"/>
                  <a:gd name="T9" fmla="*/ 2 h 83"/>
                  <a:gd name="T10" fmla="*/ 0 w 66"/>
                  <a:gd name="T11" fmla="*/ 2 h 83"/>
                  <a:gd name="T12" fmla="*/ 0 w 66"/>
                  <a:gd name="T13" fmla="*/ 83 h 83"/>
                  <a:gd name="T14" fmla="*/ 14 w 66"/>
                  <a:gd name="T15" fmla="*/ 83 h 83"/>
                  <a:gd name="T16" fmla="*/ 14 w 66"/>
                  <a:gd name="T17" fmla="*/ 39 h 83"/>
                  <a:gd name="T18" fmla="*/ 20 w 66"/>
                  <a:gd name="T19" fmla="*/ 18 h 83"/>
                  <a:gd name="T20" fmla="*/ 35 w 66"/>
                  <a:gd name="T21" fmla="*/ 12 h 83"/>
                  <a:gd name="T22" fmla="*/ 45 w 66"/>
                  <a:gd name="T23" fmla="*/ 15 h 83"/>
                  <a:gd name="T24" fmla="*/ 51 w 66"/>
                  <a:gd name="T25" fmla="*/ 21 h 83"/>
                  <a:gd name="T26" fmla="*/ 52 w 66"/>
                  <a:gd name="T27" fmla="*/ 34 h 83"/>
                  <a:gd name="T28" fmla="*/ 52 w 66"/>
                  <a:gd name="T29" fmla="*/ 83 h 83"/>
                  <a:gd name="T30" fmla="*/ 66 w 66"/>
                  <a:gd name="T31" fmla="*/ 83 h 83"/>
                  <a:gd name="T32" fmla="*/ 66 w 66"/>
                  <a:gd name="T33" fmla="*/ 33 h 83"/>
                  <a:gd name="T34" fmla="*/ 65 w 66"/>
                  <a:gd name="T35" fmla="*/ 20 h 83"/>
                  <a:gd name="T36" fmla="*/ 61 w 66"/>
                  <a:gd name="T37" fmla="*/ 10 h 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66" h="83">
                    <a:moveTo>
                      <a:pt x="61" y="10"/>
                    </a:moveTo>
                    <a:cubicBezTo>
                      <a:pt x="59" y="7"/>
                      <a:pt x="56" y="5"/>
                      <a:pt x="52" y="3"/>
                    </a:cubicBezTo>
                    <a:cubicBezTo>
                      <a:pt x="48" y="1"/>
                      <a:pt x="43" y="0"/>
                      <a:pt x="38" y="0"/>
                    </a:cubicBezTo>
                    <a:cubicBezTo>
                      <a:pt x="27" y="0"/>
                      <a:pt x="18" y="5"/>
                      <a:pt x="12" y="14"/>
                    </a:cubicBezTo>
                    <a:cubicBezTo>
                      <a:pt x="12" y="2"/>
                      <a:pt x="12" y="2"/>
                      <a:pt x="12" y="2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83"/>
                      <a:pt x="0" y="83"/>
                      <a:pt x="0" y="83"/>
                    </a:cubicBezTo>
                    <a:cubicBezTo>
                      <a:pt x="14" y="83"/>
                      <a:pt x="14" y="83"/>
                      <a:pt x="14" y="83"/>
                    </a:cubicBezTo>
                    <a:cubicBezTo>
                      <a:pt x="14" y="39"/>
                      <a:pt x="14" y="39"/>
                      <a:pt x="14" y="39"/>
                    </a:cubicBezTo>
                    <a:cubicBezTo>
                      <a:pt x="14" y="29"/>
                      <a:pt x="16" y="21"/>
                      <a:pt x="20" y="18"/>
                    </a:cubicBezTo>
                    <a:cubicBezTo>
                      <a:pt x="25" y="14"/>
                      <a:pt x="30" y="12"/>
                      <a:pt x="35" y="12"/>
                    </a:cubicBezTo>
                    <a:cubicBezTo>
                      <a:pt x="39" y="12"/>
                      <a:pt x="42" y="13"/>
                      <a:pt x="45" y="15"/>
                    </a:cubicBezTo>
                    <a:cubicBezTo>
                      <a:pt x="48" y="16"/>
                      <a:pt x="50" y="19"/>
                      <a:pt x="51" y="21"/>
                    </a:cubicBezTo>
                    <a:cubicBezTo>
                      <a:pt x="52" y="24"/>
                      <a:pt x="52" y="28"/>
                      <a:pt x="52" y="34"/>
                    </a:cubicBezTo>
                    <a:cubicBezTo>
                      <a:pt x="52" y="83"/>
                      <a:pt x="52" y="83"/>
                      <a:pt x="52" y="83"/>
                    </a:cubicBezTo>
                    <a:cubicBezTo>
                      <a:pt x="66" y="83"/>
                      <a:pt x="66" y="83"/>
                      <a:pt x="66" y="83"/>
                    </a:cubicBezTo>
                    <a:cubicBezTo>
                      <a:pt x="66" y="33"/>
                      <a:pt x="66" y="33"/>
                      <a:pt x="66" y="33"/>
                    </a:cubicBezTo>
                    <a:cubicBezTo>
                      <a:pt x="66" y="27"/>
                      <a:pt x="66" y="23"/>
                      <a:pt x="65" y="20"/>
                    </a:cubicBezTo>
                    <a:cubicBezTo>
                      <a:pt x="65" y="16"/>
                      <a:pt x="63" y="13"/>
                      <a:pt x="61" y="1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</p:grpSp>
      </p:grpSp>
      <p:sp>
        <p:nvSpPr>
          <p:cNvPr id="13" name="矩形 12"/>
          <p:cNvSpPr/>
          <p:nvPr userDrawn="1">
            <p:custDataLst>
              <p:tags r:id="rId4"/>
            </p:custDataLst>
          </p:nvPr>
        </p:nvSpPr>
        <p:spPr>
          <a:xfrm>
            <a:off x="-107950" y="6624955"/>
            <a:ext cx="9421495" cy="342265"/>
          </a:xfrm>
          <a:prstGeom prst="rect">
            <a:avLst/>
          </a:prstGeom>
          <a:solidFill>
            <a:srgbClr val="C14635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400" b="1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5" name="文本框 14"/>
          <p:cNvSpPr txBox="1"/>
          <p:nvPr userDrawn="1">
            <p:custDataLst>
              <p:tags r:id="rId5"/>
            </p:custDataLst>
          </p:nvPr>
        </p:nvSpPr>
        <p:spPr>
          <a:xfrm>
            <a:off x="3332163" y="6657658"/>
            <a:ext cx="2562860" cy="30670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zh-CN" altLang="en-US" sz="1400" b="1" dirty="0">
                <a:solidFill>
                  <a:schemeClr val="bg1">
                    <a:lumMod val="9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第三讲 社会实践考核与</a:t>
            </a:r>
            <a:r>
              <a:rPr lang="en-US" altLang="zh-CN" sz="1400" b="1" dirty="0">
                <a:solidFill>
                  <a:schemeClr val="bg1">
                    <a:lumMod val="9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AI</a:t>
            </a:r>
            <a:r>
              <a:rPr lang="zh-CN" altLang="en-US" sz="1400" b="1" dirty="0">
                <a:solidFill>
                  <a:schemeClr val="bg1">
                    <a:lumMod val="9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赋能</a:t>
            </a:r>
            <a:endParaRPr lang="zh-CN" altLang="en-US" sz="1400" b="1" dirty="0">
              <a:solidFill>
                <a:schemeClr val="bg1">
                  <a:lumMod val="9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  <a:sym typeface="+mn-ea"/>
            </a:endParaRPr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竖排标题与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图片 2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460" b="10440"/>
          <a:stretch>
            <a:fillRect/>
          </a:stretch>
        </p:blipFill>
        <p:spPr>
          <a:xfrm>
            <a:off x="-1" y="1721216"/>
            <a:ext cx="9144000" cy="3415569"/>
          </a:xfrm>
          <a:prstGeom prst="rect">
            <a:avLst/>
          </a:prstGeom>
        </p:spPr>
      </p:pic>
      <p:sp>
        <p:nvSpPr>
          <p:cNvPr id="8" name="矩形 7"/>
          <p:cNvSpPr/>
          <p:nvPr userDrawn="1"/>
        </p:nvSpPr>
        <p:spPr>
          <a:xfrm>
            <a:off x="1" y="1715168"/>
            <a:ext cx="9144000" cy="3427664"/>
          </a:xfrm>
          <a:prstGeom prst="rect">
            <a:avLst/>
          </a:prstGeom>
          <a:gradFill flip="none" rotWithShape="1">
            <a:gsLst>
              <a:gs pos="0">
                <a:srgbClr val="A22B17">
                  <a:lumMod val="94000"/>
                  <a:lumOff val="6000"/>
                </a:srgbClr>
              </a:gs>
              <a:gs pos="100000">
                <a:srgbClr val="A22B17">
                  <a:alpha val="72000"/>
                  <a:lumMod val="85000"/>
                  <a:lumOff val="15000"/>
                </a:srgb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zh-CN" altLang="en-US" sz="1350" dirty="0"/>
          </a:p>
        </p:txBody>
      </p:sp>
      <p:grpSp>
        <p:nvGrpSpPr>
          <p:cNvPr id="10" name="组合 9"/>
          <p:cNvGrpSpPr/>
          <p:nvPr userDrawn="1"/>
        </p:nvGrpSpPr>
        <p:grpSpPr>
          <a:xfrm>
            <a:off x="2230940" y="304800"/>
            <a:ext cx="4682120" cy="6248400"/>
            <a:chOff x="2514433" y="-155765"/>
            <a:chExt cx="7163134" cy="7169530"/>
          </a:xfrm>
        </p:grpSpPr>
        <p:grpSp>
          <p:nvGrpSpPr>
            <p:cNvPr id="11" name="组合 10"/>
            <p:cNvGrpSpPr/>
            <p:nvPr/>
          </p:nvGrpSpPr>
          <p:grpSpPr>
            <a:xfrm>
              <a:off x="2514433" y="-155765"/>
              <a:ext cx="7163134" cy="7169530"/>
              <a:chOff x="1560409" y="2069897"/>
              <a:chExt cx="1776413" cy="1778000"/>
            </a:xfrm>
          </p:grpSpPr>
          <p:sp>
            <p:nvSpPr>
              <p:cNvPr id="70" name="îS1îḋé"/>
              <p:cNvSpPr/>
              <p:nvPr/>
            </p:nvSpPr>
            <p:spPr bwMode="auto">
              <a:xfrm>
                <a:off x="1560409" y="2069897"/>
                <a:ext cx="1776413" cy="1778000"/>
              </a:xfrm>
              <a:prstGeom prst="ellipse">
                <a:avLst/>
              </a:prstGeom>
              <a:noFill/>
              <a:ln w="98425" cap="flat">
                <a:solidFill>
                  <a:schemeClr val="bg1">
                    <a:alpha val="7000"/>
                  </a:schemeClr>
                </a:solidFill>
                <a:prstDash val="solid"/>
                <a:miter lim="800000"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71" name="îṣḷïďé"/>
              <p:cNvSpPr/>
              <p:nvPr/>
            </p:nvSpPr>
            <p:spPr bwMode="auto">
              <a:xfrm>
                <a:off x="1779484" y="2288972"/>
                <a:ext cx="1336675" cy="1338263"/>
              </a:xfrm>
              <a:prstGeom prst="ellipse">
                <a:avLst/>
              </a:prstGeom>
              <a:noFill/>
              <a:ln w="19050" cap="flat">
                <a:solidFill>
                  <a:schemeClr val="bg1">
                    <a:alpha val="7000"/>
                  </a:schemeClr>
                </a:solidFill>
                <a:prstDash val="solid"/>
                <a:miter lim="800000"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</p:grpSp>
        <p:grpSp>
          <p:nvGrpSpPr>
            <p:cNvPr id="12" name="组合 11"/>
            <p:cNvGrpSpPr/>
            <p:nvPr/>
          </p:nvGrpSpPr>
          <p:grpSpPr>
            <a:xfrm>
              <a:off x="2844102" y="77886"/>
              <a:ext cx="6503791" cy="6702232"/>
              <a:chOff x="1641372" y="4491628"/>
              <a:chExt cx="1612900" cy="1662113"/>
            </a:xfrm>
            <a:solidFill>
              <a:schemeClr val="bg1">
                <a:alpha val="7000"/>
              </a:schemeClr>
            </a:solidFill>
          </p:grpSpPr>
          <p:sp>
            <p:nvSpPr>
              <p:cNvPr id="13" name="ïś1íďê"/>
              <p:cNvSpPr/>
              <p:nvPr/>
            </p:nvSpPr>
            <p:spPr bwMode="auto">
              <a:xfrm>
                <a:off x="2889147" y="4701178"/>
                <a:ext cx="153988" cy="138113"/>
              </a:xfrm>
              <a:custGeom>
                <a:avLst/>
                <a:gdLst>
                  <a:gd name="T0" fmla="*/ 62 w 83"/>
                  <a:gd name="T1" fmla="*/ 8 h 75"/>
                  <a:gd name="T2" fmla="*/ 53 w 83"/>
                  <a:gd name="T3" fmla="*/ 10 h 75"/>
                  <a:gd name="T4" fmla="*/ 57 w 83"/>
                  <a:gd name="T5" fmla="*/ 0 h 75"/>
                  <a:gd name="T6" fmla="*/ 44 w 83"/>
                  <a:gd name="T7" fmla="*/ 21 h 75"/>
                  <a:gd name="T8" fmla="*/ 58 w 83"/>
                  <a:gd name="T9" fmla="*/ 11 h 75"/>
                  <a:gd name="T10" fmla="*/ 54 w 83"/>
                  <a:gd name="T11" fmla="*/ 18 h 75"/>
                  <a:gd name="T12" fmla="*/ 28 w 83"/>
                  <a:gd name="T13" fmla="*/ 18 h 75"/>
                  <a:gd name="T14" fmla="*/ 19 w 83"/>
                  <a:gd name="T15" fmla="*/ 17 h 75"/>
                  <a:gd name="T16" fmla="*/ 25 w 83"/>
                  <a:gd name="T17" fmla="*/ 12 h 75"/>
                  <a:gd name="T18" fmla="*/ 1 w 83"/>
                  <a:gd name="T19" fmla="*/ 30 h 75"/>
                  <a:gd name="T20" fmla="*/ 13 w 83"/>
                  <a:gd name="T21" fmla="*/ 24 h 75"/>
                  <a:gd name="T22" fmla="*/ 36 w 83"/>
                  <a:gd name="T23" fmla="*/ 28 h 75"/>
                  <a:gd name="T24" fmla="*/ 22 w 83"/>
                  <a:gd name="T25" fmla="*/ 35 h 75"/>
                  <a:gd name="T26" fmla="*/ 45 w 83"/>
                  <a:gd name="T27" fmla="*/ 41 h 75"/>
                  <a:gd name="T28" fmla="*/ 42 w 83"/>
                  <a:gd name="T29" fmla="*/ 41 h 75"/>
                  <a:gd name="T30" fmla="*/ 35 w 83"/>
                  <a:gd name="T31" fmla="*/ 40 h 75"/>
                  <a:gd name="T32" fmla="*/ 37 w 83"/>
                  <a:gd name="T33" fmla="*/ 45 h 75"/>
                  <a:gd name="T34" fmla="*/ 12 w 83"/>
                  <a:gd name="T35" fmla="*/ 34 h 75"/>
                  <a:gd name="T36" fmla="*/ 9 w 83"/>
                  <a:gd name="T37" fmla="*/ 35 h 75"/>
                  <a:gd name="T38" fmla="*/ 20 w 83"/>
                  <a:gd name="T39" fmla="*/ 64 h 75"/>
                  <a:gd name="T40" fmla="*/ 0 w 83"/>
                  <a:gd name="T41" fmla="*/ 57 h 75"/>
                  <a:gd name="T42" fmla="*/ 35 w 83"/>
                  <a:gd name="T43" fmla="*/ 58 h 75"/>
                  <a:gd name="T44" fmla="*/ 46 w 83"/>
                  <a:gd name="T45" fmla="*/ 57 h 75"/>
                  <a:gd name="T46" fmla="*/ 42 w 83"/>
                  <a:gd name="T47" fmla="*/ 48 h 75"/>
                  <a:gd name="T48" fmla="*/ 62 w 83"/>
                  <a:gd name="T49" fmla="*/ 57 h 75"/>
                  <a:gd name="T50" fmla="*/ 61 w 83"/>
                  <a:gd name="T51" fmla="*/ 35 h 75"/>
                  <a:gd name="T52" fmla="*/ 62 w 83"/>
                  <a:gd name="T53" fmla="*/ 34 h 75"/>
                  <a:gd name="T54" fmla="*/ 66 w 83"/>
                  <a:gd name="T55" fmla="*/ 16 h 75"/>
                  <a:gd name="T56" fmla="*/ 63 w 83"/>
                  <a:gd name="T57" fmla="*/ 44 h 75"/>
                  <a:gd name="T58" fmla="*/ 54 w 83"/>
                  <a:gd name="T59" fmla="*/ 32 h 75"/>
                  <a:gd name="T60" fmla="*/ 60 w 83"/>
                  <a:gd name="T61" fmla="*/ 27 h 75"/>
                  <a:gd name="T62" fmla="*/ 67 w 83"/>
                  <a:gd name="T63" fmla="*/ 18 h 75"/>
                  <a:gd name="T64" fmla="*/ 77 w 83"/>
                  <a:gd name="T65" fmla="*/ 23 h 75"/>
                  <a:gd name="T66" fmla="*/ 60 w 83"/>
                  <a:gd name="T67" fmla="*/ 27 h 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83" h="75">
                    <a:moveTo>
                      <a:pt x="66" y="16"/>
                    </a:moveTo>
                    <a:cubicBezTo>
                      <a:pt x="65" y="13"/>
                      <a:pt x="63" y="11"/>
                      <a:pt x="62" y="8"/>
                    </a:cubicBezTo>
                    <a:cubicBezTo>
                      <a:pt x="59" y="9"/>
                      <a:pt x="57" y="9"/>
                      <a:pt x="54" y="10"/>
                    </a:cubicBezTo>
                    <a:cubicBezTo>
                      <a:pt x="54" y="10"/>
                      <a:pt x="53" y="10"/>
                      <a:pt x="53" y="10"/>
                    </a:cubicBezTo>
                    <a:cubicBezTo>
                      <a:pt x="54" y="7"/>
                      <a:pt x="57" y="6"/>
                      <a:pt x="59" y="3"/>
                    </a:cubicBezTo>
                    <a:cubicBezTo>
                      <a:pt x="58" y="2"/>
                      <a:pt x="58" y="1"/>
                      <a:pt x="57" y="0"/>
                    </a:cubicBezTo>
                    <a:cubicBezTo>
                      <a:pt x="48" y="1"/>
                      <a:pt x="37" y="9"/>
                      <a:pt x="42" y="19"/>
                    </a:cubicBezTo>
                    <a:cubicBezTo>
                      <a:pt x="42" y="19"/>
                      <a:pt x="43" y="20"/>
                      <a:pt x="44" y="21"/>
                    </a:cubicBezTo>
                    <a:cubicBezTo>
                      <a:pt x="47" y="19"/>
                      <a:pt x="48" y="15"/>
                      <a:pt x="51" y="14"/>
                    </a:cubicBezTo>
                    <a:cubicBezTo>
                      <a:pt x="53" y="13"/>
                      <a:pt x="55" y="13"/>
                      <a:pt x="58" y="11"/>
                    </a:cubicBezTo>
                    <a:cubicBezTo>
                      <a:pt x="58" y="11"/>
                      <a:pt x="59" y="11"/>
                      <a:pt x="59" y="11"/>
                    </a:cubicBezTo>
                    <a:cubicBezTo>
                      <a:pt x="57" y="14"/>
                      <a:pt x="56" y="16"/>
                      <a:pt x="54" y="18"/>
                    </a:cubicBezTo>
                    <a:cubicBezTo>
                      <a:pt x="54" y="21"/>
                      <a:pt x="55" y="24"/>
                      <a:pt x="54" y="27"/>
                    </a:cubicBezTo>
                    <a:cubicBezTo>
                      <a:pt x="54" y="27"/>
                      <a:pt x="30" y="18"/>
                      <a:pt x="28" y="18"/>
                    </a:cubicBezTo>
                    <a:cubicBezTo>
                      <a:pt x="25" y="17"/>
                      <a:pt x="22" y="17"/>
                      <a:pt x="20" y="17"/>
                    </a:cubicBezTo>
                    <a:cubicBezTo>
                      <a:pt x="19" y="17"/>
                      <a:pt x="19" y="17"/>
                      <a:pt x="19" y="17"/>
                    </a:cubicBezTo>
                    <a:cubicBezTo>
                      <a:pt x="22" y="15"/>
                      <a:pt x="23" y="15"/>
                      <a:pt x="25" y="13"/>
                    </a:cubicBezTo>
                    <a:cubicBezTo>
                      <a:pt x="25" y="12"/>
                      <a:pt x="25" y="12"/>
                      <a:pt x="25" y="12"/>
                    </a:cubicBezTo>
                    <a:cubicBezTo>
                      <a:pt x="18" y="12"/>
                      <a:pt x="11" y="16"/>
                      <a:pt x="4" y="18"/>
                    </a:cubicBezTo>
                    <a:cubicBezTo>
                      <a:pt x="0" y="22"/>
                      <a:pt x="0" y="25"/>
                      <a:pt x="1" y="30"/>
                    </a:cubicBezTo>
                    <a:cubicBezTo>
                      <a:pt x="3" y="31"/>
                      <a:pt x="3" y="31"/>
                      <a:pt x="3" y="31"/>
                    </a:cubicBezTo>
                    <a:cubicBezTo>
                      <a:pt x="6" y="29"/>
                      <a:pt x="9" y="26"/>
                      <a:pt x="13" y="24"/>
                    </a:cubicBezTo>
                    <a:cubicBezTo>
                      <a:pt x="19" y="20"/>
                      <a:pt x="30" y="22"/>
                      <a:pt x="37" y="27"/>
                    </a:cubicBezTo>
                    <a:cubicBezTo>
                      <a:pt x="37" y="28"/>
                      <a:pt x="36" y="28"/>
                      <a:pt x="36" y="28"/>
                    </a:cubicBezTo>
                    <a:cubicBezTo>
                      <a:pt x="31" y="29"/>
                      <a:pt x="28" y="28"/>
                      <a:pt x="22" y="32"/>
                    </a:cubicBezTo>
                    <a:cubicBezTo>
                      <a:pt x="22" y="33"/>
                      <a:pt x="22" y="34"/>
                      <a:pt x="22" y="35"/>
                    </a:cubicBezTo>
                    <a:cubicBezTo>
                      <a:pt x="22" y="37"/>
                      <a:pt x="22" y="37"/>
                      <a:pt x="24" y="39"/>
                    </a:cubicBezTo>
                    <a:cubicBezTo>
                      <a:pt x="31" y="37"/>
                      <a:pt x="37" y="36"/>
                      <a:pt x="45" y="41"/>
                    </a:cubicBezTo>
                    <a:cubicBezTo>
                      <a:pt x="44" y="41"/>
                      <a:pt x="44" y="41"/>
                      <a:pt x="44" y="41"/>
                    </a:cubicBezTo>
                    <a:cubicBezTo>
                      <a:pt x="43" y="41"/>
                      <a:pt x="42" y="41"/>
                      <a:pt x="42" y="41"/>
                    </a:cubicBezTo>
                    <a:cubicBezTo>
                      <a:pt x="41" y="40"/>
                      <a:pt x="40" y="39"/>
                      <a:pt x="39" y="39"/>
                    </a:cubicBezTo>
                    <a:cubicBezTo>
                      <a:pt x="37" y="41"/>
                      <a:pt x="37" y="41"/>
                      <a:pt x="35" y="40"/>
                    </a:cubicBezTo>
                    <a:cubicBezTo>
                      <a:pt x="35" y="40"/>
                      <a:pt x="34" y="41"/>
                      <a:pt x="34" y="41"/>
                    </a:cubicBezTo>
                    <a:cubicBezTo>
                      <a:pt x="35" y="43"/>
                      <a:pt x="35" y="43"/>
                      <a:pt x="37" y="45"/>
                    </a:cubicBezTo>
                    <a:cubicBezTo>
                      <a:pt x="36" y="46"/>
                      <a:pt x="36" y="47"/>
                      <a:pt x="35" y="48"/>
                    </a:cubicBezTo>
                    <a:cubicBezTo>
                      <a:pt x="27" y="44"/>
                      <a:pt x="20" y="40"/>
                      <a:pt x="12" y="34"/>
                    </a:cubicBezTo>
                    <a:cubicBezTo>
                      <a:pt x="11" y="34"/>
                      <a:pt x="11" y="34"/>
                      <a:pt x="10" y="34"/>
                    </a:cubicBezTo>
                    <a:cubicBezTo>
                      <a:pt x="9" y="34"/>
                      <a:pt x="9" y="35"/>
                      <a:pt x="9" y="35"/>
                    </a:cubicBezTo>
                    <a:cubicBezTo>
                      <a:pt x="11" y="55"/>
                      <a:pt x="20" y="44"/>
                      <a:pt x="31" y="54"/>
                    </a:cubicBezTo>
                    <a:cubicBezTo>
                      <a:pt x="27" y="58"/>
                      <a:pt x="23" y="61"/>
                      <a:pt x="20" y="64"/>
                    </a:cubicBezTo>
                    <a:cubicBezTo>
                      <a:pt x="15" y="63"/>
                      <a:pt x="6" y="55"/>
                      <a:pt x="1" y="56"/>
                    </a:cubicBezTo>
                    <a:cubicBezTo>
                      <a:pt x="1" y="56"/>
                      <a:pt x="1" y="56"/>
                      <a:pt x="0" y="57"/>
                    </a:cubicBezTo>
                    <a:cubicBezTo>
                      <a:pt x="2" y="62"/>
                      <a:pt x="7" y="67"/>
                      <a:pt x="9" y="72"/>
                    </a:cubicBezTo>
                    <a:cubicBezTo>
                      <a:pt x="17" y="75"/>
                      <a:pt x="26" y="66"/>
                      <a:pt x="35" y="58"/>
                    </a:cubicBezTo>
                    <a:cubicBezTo>
                      <a:pt x="37" y="60"/>
                      <a:pt x="39" y="63"/>
                      <a:pt x="42" y="65"/>
                    </a:cubicBezTo>
                    <a:cubicBezTo>
                      <a:pt x="46" y="63"/>
                      <a:pt x="46" y="60"/>
                      <a:pt x="46" y="57"/>
                    </a:cubicBezTo>
                    <a:cubicBezTo>
                      <a:pt x="45" y="54"/>
                      <a:pt x="43" y="53"/>
                      <a:pt x="40" y="50"/>
                    </a:cubicBezTo>
                    <a:cubicBezTo>
                      <a:pt x="41" y="49"/>
                      <a:pt x="42" y="48"/>
                      <a:pt x="42" y="48"/>
                    </a:cubicBezTo>
                    <a:cubicBezTo>
                      <a:pt x="46" y="48"/>
                      <a:pt x="49" y="48"/>
                      <a:pt x="53" y="46"/>
                    </a:cubicBezTo>
                    <a:cubicBezTo>
                      <a:pt x="56" y="49"/>
                      <a:pt x="59" y="53"/>
                      <a:pt x="62" y="57"/>
                    </a:cubicBezTo>
                    <a:cubicBezTo>
                      <a:pt x="65" y="56"/>
                      <a:pt x="68" y="55"/>
                      <a:pt x="70" y="52"/>
                    </a:cubicBezTo>
                    <a:cubicBezTo>
                      <a:pt x="72" y="47"/>
                      <a:pt x="66" y="40"/>
                      <a:pt x="61" y="35"/>
                    </a:cubicBezTo>
                    <a:cubicBezTo>
                      <a:pt x="61" y="35"/>
                      <a:pt x="61" y="35"/>
                      <a:pt x="61" y="35"/>
                    </a:cubicBezTo>
                    <a:cubicBezTo>
                      <a:pt x="62" y="34"/>
                      <a:pt x="62" y="34"/>
                      <a:pt x="62" y="34"/>
                    </a:cubicBezTo>
                    <a:cubicBezTo>
                      <a:pt x="69" y="34"/>
                      <a:pt x="72" y="37"/>
                      <a:pt x="79" y="32"/>
                    </a:cubicBezTo>
                    <a:cubicBezTo>
                      <a:pt x="83" y="17"/>
                      <a:pt x="74" y="21"/>
                      <a:pt x="66" y="16"/>
                    </a:cubicBezTo>
                    <a:close/>
                    <a:moveTo>
                      <a:pt x="63" y="44"/>
                    </a:moveTo>
                    <a:cubicBezTo>
                      <a:pt x="63" y="44"/>
                      <a:pt x="63" y="44"/>
                      <a:pt x="63" y="44"/>
                    </a:cubicBezTo>
                    <a:cubicBezTo>
                      <a:pt x="55" y="42"/>
                      <a:pt x="46" y="34"/>
                      <a:pt x="38" y="32"/>
                    </a:cubicBezTo>
                    <a:cubicBezTo>
                      <a:pt x="43" y="28"/>
                      <a:pt x="48" y="31"/>
                      <a:pt x="54" y="32"/>
                    </a:cubicBezTo>
                    <a:cubicBezTo>
                      <a:pt x="57" y="36"/>
                      <a:pt x="60" y="40"/>
                      <a:pt x="63" y="44"/>
                    </a:cubicBezTo>
                    <a:close/>
                    <a:moveTo>
                      <a:pt x="60" y="27"/>
                    </a:moveTo>
                    <a:cubicBezTo>
                      <a:pt x="60" y="27"/>
                      <a:pt x="60" y="26"/>
                      <a:pt x="59" y="26"/>
                    </a:cubicBezTo>
                    <a:cubicBezTo>
                      <a:pt x="61" y="23"/>
                      <a:pt x="63" y="20"/>
                      <a:pt x="67" y="18"/>
                    </a:cubicBezTo>
                    <a:cubicBezTo>
                      <a:pt x="69" y="19"/>
                      <a:pt x="71" y="19"/>
                      <a:pt x="74" y="20"/>
                    </a:cubicBezTo>
                    <a:cubicBezTo>
                      <a:pt x="75" y="21"/>
                      <a:pt x="76" y="22"/>
                      <a:pt x="77" y="23"/>
                    </a:cubicBezTo>
                    <a:cubicBezTo>
                      <a:pt x="77" y="24"/>
                      <a:pt x="77" y="24"/>
                      <a:pt x="77" y="25"/>
                    </a:cubicBezTo>
                    <a:cubicBezTo>
                      <a:pt x="72" y="29"/>
                      <a:pt x="66" y="27"/>
                      <a:pt x="60" y="2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14" name="ïṩḻîḓé"/>
              <p:cNvSpPr/>
              <p:nvPr/>
            </p:nvSpPr>
            <p:spPr bwMode="auto">
              <a:xfrm>
                <a:off x="2728809" y="4582115"/>
                <a:ext cx="101600" cy="147638"/>
              </a:xfrm>
              <a:custGeom>
                <a:avLst/>
                <a:gdLst>
                  <a:gd name="T0" fmla="*/ 47 w 55"/>
                  <a:gd name="T1" fmla="*/ 0 h 80"/>
                  <a:gd name="T2" fmla="*/ 49 w 55"/>
                  <a:gd name="T3" fmla="*/ 20 h 80"/>
                  <a:gd name="T4" fmla="*/ 51 w 55"/>
                  <a:gd name="T5" fmla="*/ 34 h 80"/>
                  <a:gd name="T6" fmla="*/ 28 w 55"/>
                  <a:gd name="T7" fmla="*/ 38 h 80"/>
                  <a:gd name="T8" fmla="*/ 41 w 55"/>
                  <a:gd name="T9" fmla="*/ 68 h 80"/>
                  <a:gd name="T10" fmla="*/ 25 w 55"/>
                  <a:gd name="T11" fmla="*/ 74 h 80"/>
                  <a:gd name="T12" fmla="*/ 26 w 55"/>
                  <a:gd name="T13" fmla="*/ 39 h 80"/>
                  <a:gd name="T14" fmla="*/ 23 w 55"/>
                  <a:gd name="T15" fmla="*/ 40 h 80"/>
                  <a:gd name="T16" fmla="*/ 7 w 55"/>
                  <a:gd name="T17" fmla="*/ 54 h 80"/>
                  <a:gd name="T18" fmla="*/ 0 w 55"/>
                  <a:gd name="T19" fmla="*/ 43 h 80"/>
                  <a:gd name="T20" fmla="*/ 14 w 55"/>
                  <a:gd name="T21" fmla="*/ 28 h 80"/>
                  <a:gd name="T22" fmla="*/ 6 w 55"/>
                  <a:gd name="T23" fmla="*/ 15 h 80"/>
                  <a:gd name="T24" fmla="*/ 7 w 55"/>
                  <a:gd name="T25" fmla="*/ 15 h 80"/>
                  <a:gd name="T26" fmla="*/ 26 w 55"/>
                  <a:gd name="T27" fmla="*/ 18 h 80"/>
                  <a:gd name="T28" fmla="*/ 47 w 55"/>
                  <a:gd name="T29" fmla="*/ 0 h 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55" h="80">
                    <a:moveTo>
                      <a:pt x="47" y="0"/>
                    </a:moveTo>
                    <a:cubicBezTo>
                      <a:pt x="55" y="7"/>
                      <a:pt x="49" y="11"/>
                      <a:pt x="49" y="20"/>
                    </a:cubicBezTo>
                    <a:cubicBezTo>
                      <a:pt x="49" y="25"/>
                      <a:pt x="55" y="25"/>
                      <a:pt x="51" y="34"/>
                    </a:cubicBezTo>
                    <a:cubicBezTo>
                      <a:pt x="44" y="37"/>
                      <a:pt x="34" y="32"/>
                      <a:pt x="28" y="38"/>
                    </a:cubicBezTo>
                    <a:cubicBezTo>
                      <a:pt x="38" y="44"/>
                      <a:pt x="45" y="59"/>
                      <a:pt x="41" y="68"/>
                    </a:cubicBezTo>
                    <a:cubicBezTo>
                      <a:pt x="39" y="74"/>
                      <a:pt x="28" y="80"/>
                      <a:pt x="25" y="74"/>
                    </a:cubicBezTo>
                    <a:cubicBezTo>
                      <a:pt x="19" y="62"/>
                      <a:pt x="39" y="55"/>
                      <a:pt x="26" y="39"/>
                    </a:cubicBezTo>
                    <a:cubicBezTo>
                      <a:pt x="25" y="39"/>
                      <a:pt x="25" y="39"/>
                      <a:pt x="23" y="40"/>
                    </a:cubicBezTo>
                    <a:cubicBezTo>
                      <a:pt x="17" y="44"/>
                      <a:pt x="14" y="52"/>
                      <a:pt x="7" y="54"/>
                    </a:cubicBezTo>
                    <a:cubicBezTo>
                      <a:pt x="2" y="51"/>
                      <a:pt x="2" y="48"/>
                      <a:pt x="0" y="43"/>
                    </a:cubicBezTo>
                    <a:cubicBezTo>
                      <a:pt x="3" y="39"/>
                      <a:pt x="14" y="30"/>
                      <a:pt x="14" y="28"/>
                    </a:cubicBezTo>
                    <a:cubicBezTo>
                      <a:pt x="14" y="25"/>
                      <a:pt x="7" y="19"/>
                      <a:pt x="6" y="15"/>
                    </a:cubicBezTo>
                    <a:cubicBezTo>
                      <a:pt x="6" y="15"/>
                      <a:pt x="7" y="15"/>
                      <a:pt x="7" y="15"/>
                    </a:cubicBezTo>
                    <a:cubicBezTo>
                      <a:pt x="13" y="15"/>
                      <a:pt x="20" y="18"/>
                      <a:pt x="26" y="18"/>
                    </a:cubicBezTo>
                    <a:cubicBezTo>
                      <a:pt x="34" y="17"/>
                      <a:pt x="41" y="5"/>
                      <a:pt x="47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15" name="išḷïḓe"/>
              <p:cNvSpPr/>
              <p:nvPr/>
            </p:nvSpPr>
            <p:spPr bwMode="auto">
              <a:xfrm>
                <a:off x="2490684" y="4510678"/>
                <a:ext cx="144463" cy="160338"/>
              </a:xfrm>
              <a:custGeom>
                <a:avLst/>
                <a:gdLst>
                  <a:gd name="T0" fmla="*/ 55 w 78"/>
                  <a:gd name="T1" fmla="*/ 64 h 87"/>
                  <a:gd name="T2" fmla="*/ 62 w 78"/>
                  <a:gd name="T3" fmla="*/ 50 h 87"/>
                  <a:gd name="T4" fmla="*/ 54 w 78"/>
                  <a:gd name="T5" fmla="*/ 43 h 87"/>
                  <a:gd name="T6" fmla="*/ 69 w 78"/>
                  <a:gd name="T7" fmla="*/ 29 h 87"/>
                  <a:gd name="T8" fmla="*/ 67 w 78"/>
                  <a:gd name="T9" fmla="*/ 21 h 87"/>
                  <a:gd name="T10" fmla="*/ 70 w 78"/>
                  <a:gd name="T11" fmla="*/ 11 h 87"/>
                  <a:gd name="T12" fmla="*/ 69 w 78"/>
                  <a:gd name="T13" fmla="*/ 3 h 87"/>
                  <a:gd name="T14" fmla="*/ 64 w 78"/>
                  <a:gd name="T15" fmla="*/ 0 h 87"/>
                  <a:gd name="T16" fmla="*/ 63 w 78"/>
                  <a:gd name="T17" fmla="*/ 0 h 87"/>
                  <a:gd name="T18" fmla="*/ 63 w 78"/>
                  <a:gd name="T19" fmla="*/ 12 h 87"/>
                  <a:gd name="T20" fmla="*/ 42 w 78"/>
                  <a:gd name="T21" fmla="*/ 25 h 87"/>
                  <a:gd name="T22" fmla="*/ 42 w 78"/>
                  <a:gd name="T23" fmla="*/ 33 h 87"/>
                  <a:gd name="T24" fmla="*/ 33 w 78"/>
                  <a:gd name="T25" fmla="*/ 36 h 87"/>
                  <a:gd name="T26" fmla="*/ 39 w 78"/>
                  <a:gd name="T27" fmla="*/ 33 h 87"/>
                  <a:gd name="T28" fmla="*/ 39 w 78"/>
                  <a:gd name="T29" fmla="*/ 23 h 87"/>
                  <a:gd name="T30" fmla="*/ 36 w 78"/>
                  <a:gd name="T31" fmla="*/ 0 h 87"/>
                  <a:gd name="T32" fmla="*/ 36 w 78"/>
                  <a:gd name="T33" fmla="*/ 0 h 87"/>
                  <a:gd name="T34" fmla="*/ 36 w 78"/>
                  <a:gd name="T35" fmla="*/ 8 h 87"/>
                  <a:gd name="T36" fmla="*/ 30 w 78"/>
                  <a:gd name="T37" fmla="*/ 24 h 87"/>
                  <a:gd name="T38" fmla="*/ 1 w 78"/>
                  <a:gd name="T39" fmla="*/ 29 h 87"/>
                  <a:gd name="T40" fmla="*/ 0 w 78"/>
                  <a:gd name="T41" fmla="*/ 31 h 87"/>
                  <a:gd name="T42" fmla="*/ 18 w 78"/>
                  <a:gd name="T43" fmla="*/ 39 h 87"/>
                  <a:gd name="T44" fmla="*/ 25 w 78"/>
                  <a:gd name="T45" fmla="*/ 36 h 87"/>
                  <a:gd name="T46" fmla="*/ 25 w 78"/>
                  <a:gd name="T47" fmla="*/ 36 h 87"/>
                  <a:gd name="T48" fmla="*/ 3 w 78"/>
                  <a:gd name="T49" fmla="*/ 62 h 87"/>
                  <a:gd name="T50" fmla="*/ 5 w 78"/>
                  <a:gd name="T51" fmla="*/ 67 h 87"/>
                  <a:gd name="T52" fmla="*/ 12 w 78"/>
                  <a:gd name="T53" fmla="*/ 66 h 87"/>
                  <a:gd name="T54" fmla="*/ 22 w 78"/>
                  <a:gd name="T55" fmla="*/ 74 h 87"/>
                  <a:gd name="T56" fmla="*/ 25 w 78"/>
                  <a:gd name="T57" fmla="*/ 61 h 87"/>
                  <a:gd name="T58" fmla="*/ 30 w 78"/>
                  <a:gd name="T59" fmla="*/ 49 h 87"/>
                  <a:gd name="T60" fmla="*/ 48 w 78"/>
                  <a:gd name="T61" fmla="*/ 63 h 87"/>
                  <a:gd name="T62" fmla="*/ 24 w 78"/>
                  <a:gd name="T63" fmla="*/ 71 h 87"/>
                  <a:gd name="T64" fmla="*/ 48 w 78"/>
                  <a:gd name="T65" fmla="*/ 71 h 87"/>
                  <a:gd name="T66" fmla="*/ 51 w 78"/>
                  <a:gd name="T67" fmla="*/ 69 h 87"/>
                  <a:gd name="T68" fmla="*/ 77 w 78"/>
                  <a:gd name="T69" fmla="*/ 87 h 87"/>
                  <a:gd name="T70" fmla="*/ 78 w 78"/>
                  <a:gd name="T71" fmla="*/ 86 h 87"/>
                  <a:gd name="T72" fmla="*/ 55 w 78"/>
                  <a:gd name="T73" fmla="*/ 64 h 87"/>
                  <a:gd name="T74" fmla="*/ 15 w 78"/>
                  <a:gd name="T75" fmla="*/ 64 h 87"/>
                  <a:gd name="T76" fmla="*/ 15 w 78"/>
                  <a:gd name="T77" fmla="*/ 65 h 87"/>
                  <a:gd name="T78" fmla="*/ 11 w 78"/>
                  <a:gd name="T79" fmla="*/ 63 h 87"/>
                  <a:gd name="T80" fmla="*/ 12 w 78"/>
                  <a:gd name="T81" fmla="*/ 60 h 87"/>
                  <a:gd name="T82" fmla="*/ 15 w 78"/>
                  <a:gd name="T83" fmla="*/ 57 h 87"/>
                  <a:gd name="T84" fmla="*/ 17 w 78"/>
                  <a:gd name="T85" fmla="*/ 58 h 87"/>
                  <a:gd name="T86" fmla="*/ 15 w 78"/>
                  <a:gd name="T87" fmla="*/ 64 h 87"/>
                  <a:gd name="T88" fmla="*/ 32 w 78"/>
                  <a:gd name="T89" fmla="*/ 46 h 87"/>
                  <a:gd name="T90" fmla="*/ 44 w 78"/>
                  <a:gd name="T91" fmla="*/ 34 h 87"/>
                  <a:gd name="T92" fmla="*/ 52 w 78"/>
                  <a:gd name="T93" fmla="*/ 35 h 87"/>
                  <a:gd name="T94" fmla="*/ 46 w 78"/>
                  <a:gd name="T95" fmla="*/ 50 h 87"/>
                  <a:gd name="T96" fmla="*/ 48 w 78"/>
                  <a:gd name="T97" fmla="*/ 52 h 87"/>
                  <a:gd name="T98" fmla="*/ 56 w 78"/>
                  <a:gd name="T99" fmla="*/ 50 h 87"/>
                  <a:gd name="T100" fmla="*/ 52 w 78"/>
                  <a:gd name="T101" fmla="*/ 61 h 87"/>
                  <a:gd name="T102" fmla="*/ 32 w 78"/>
                  <a:gd name="T103" fmla="*/ 46 h 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78" h="87">
                    <a:moveTo>
                      <a:pt x="55" y="64"/>
                    </a:moveTo>
                    <a:cubicBezTo>
                      <a:pt x="58" y="60"/>
                      <a:pt x="60" y="55"/>
                      <a:pt x="62" y="50"/>
                    </a:cubicBezTo>
                    <a:cubicBezTo>
                      <a:pt x="61" y="47"/>
                      <a:pt x="58" y="44"/>
                      <a:pt x="54" y="43"/>
                    </a:cubicBezTo>
                    <a:cubicBezTo>
                      <a:pt x="57" y="36"/>
                      <a:pt x="64" y="33"/>
                      <a:pt x="69" y="29"/>
                    </a:cubicBezTo>
                    <a:cubicBezTo>
                      <a:pt x="69" y="25"/>
                      <a:pt x="67" y="24"/>
                      <a:pt x="67" y="21"/>
                    </a:cubicBezTo>
                    <a:cubicBezTo>
                      <a:pt x="68" y="18"/>
                      <a:pt x="69" y="15"/>
                      <a:pt x="70" y="11"/>
                    </a:cubicBezTo>
                    <a:cubicBezTo>
                      <a:pt x="70" y="9"/>
                      <a:pt x="69" y="6"/>
                      <a:pt x="69" y="3"/>
                    </a:cubicBezTo>
                    <a:cubicBezTo>
                      <a:pt x="68" y="2"/>
                      <a:pt x="67" y="1"/>
                      <a:pt x="64" y="0"/>
                    </a:cubicBezTo>
                    <a:cubicBezTo>
                      <a:pt x="64" y="0"/>
                      <a:pt x="63" y="0"/>
                      <a:pt x="63" y="0"/>
                    </a:cubicBezTo>
                    <a:cubicBezTo>
                      <a:pt x="61" y="5"/>
                      <a:pt x="63" y="8"/>
                      <a:pt x="63" y="12"/>
                    </a:cubicBezTo>
                    <a:cubicBezTo>
                      <a:pt x="63" y="24"/>
                      <a:pt x="52" y="26"/>
                      <a:pt x="42" y="25"/>
                    </a:cubicBezTo>
                    <a:cubicBezTo>
                      <a:pt x="41" y="28"/>
                      <a:pt x="41" y="31"/>
                      <a:pt x="42" y="33"/>
                    </a:cubicBezTo>
                    <a:cubicBezTo>
                      <a:pt x="39" y="34"/>
                      <a:pt x="36" y="35"/>
                      <a:pt x="33" y="36"/>
                    </a:cubicBezTo>
                    <a:cubicBezTo>
                      <a:pt x="34" y="32"/>
                      <a:pt x="36" y="32"/>
                      <a:pt x="39" y="33"/>
                    </a:cubicBezTo>
                    <a:cubicBezTo>
                      <a:pt x="41" y="29"/>
                      <a:pt x="38" y="27"/>
                      <a:pt x="39" y="23"/>
                    </a:cubicBezTo>
                    <a:cubicBezTo>
                      <a:pt x="39" y="14"/>
                      <a:pt x="53" y="6"/>
                      <a:pt x="36" y="0"/>
                    </a:cubicBezTo>
                    <a:cubicBezTo>
                      <a:pt x="36" y="0"/>
                      <a:pt x="36" y="0"/>
                      <a:pt x="36" y="0"/>
                    </a:cubicBezTo>
                    <a:cubicBezTo>
                      <a:pt x="35" y="3"/>
                      <a:pt x="36" y="5"/>
                      <a:pt x="36" y="8"/>
                    </a:cubicBezTo>
                    <a:cubicBezTo>
                      <a:pt x="34" y="14"/>
                      <a:pt x="32" y="19"/>
                      <a:pt x="30" y="24"/>
                    </a:cubicBezTo>
                    <a:cubicBezTo>
                      <a:pt x="22" y="26"/>
                      <a:pt x="9" y="26"/>
                      <a:pt x="1" y="29"/>
                    </a:cubicBezTo>
                    <a:cubicBezTo>
                      <a:pt x="1" y="30"/>
                      <a:pt x="1" y="30"/>
                      <a:pt x="0" y="31"/>
                    </a:cubicBezTo>
                    <a:cubicBezTo>
                      <a:pt x="1" y="35"/>
                      <a:pt x="12" y="39"/>
                      <a:pt x="18" y="39"/>
                    </a:cubicBezTo>
                    <a:cubicBezTo>
                      <a:pt x="20" y="38"/>
                      <a:pt x="22" y="37"/>
                      <a:pt x="25" y="36"/>
                    </a:cubicBezTo>
                    <a:cubicBezTo>
                      <a:pt x="25" y="36"/>
                      <a:pt x="25" y="36"/>
                      <a:pt x="25" y="36"/>
                    </a:cubicBezTo>
                    <a:cubicBezTo>
                      <a:pt x="21" y="52"/>
                      <a:pt x="9" y="50"/>
                      <a:pt x="3" y="62"/>
                    </a:cubicBezTo>
                    <a:cubicBezTo>
                      <a:pt x="4" y="63"/>
                      <a:pt x="4" y="65"/>
                      <a:pt x="5" y="67"/>
                    </a:cubicBezTo>
                    <a:cubicBezTo>
                      <a:pt x="7" y="67"/>
                      <a:pt x="10" y="67"/>
                      <a:pt x="12" y="66"/>
                    </a:cubicBezTo>
                    <a:cubicBezTo>
                      <a:pt x="17" y="68"/>
                      <a:pt x="17" y="72"/>
                      <a:pt x="22" y="74"/>
                    </a:cubicBezTo>
                    <a:cubicBezTo>
                      <a:pt x="25" y="71"/>
                      <a:pt x="24" y="66"/>
                      <a:pt x="25" y="61"/>
                    </a:cubicBezTo>
                    <a:cubicBezTo>
                      <a:pt x="25" y="56"/>
                      <a:pt x="28" y="52"/>
                      <a:pt x="30" y="49"/>
                    </a:cubicBezTo>
                    <a:cubicBezTo>
                      <a:pt x="40" y="53"/>
                      <a:pt x="42" y="58"/>
                      <a:pt x="48" y="63"/>
                    </a:cubicBezTo>
                    <a:cubicBezTo>
                      <a:pt x="44" y="74"/>
                      <a:pt x="29" y="63"/>
                      <a:pt x="24" y="71"/>
                    </a:cubicBezTo>
                    <a:cubicBezTo>
                      <a:pt x="39" y="78"/>
                      <a:pt x="36" y="74"/>
                      <a:pt x="48" y="71"/>
                    </a:cubicBezTo>
                    <a:cubicBezTo>
                      <a:pt x="49" y="70"/>
                      <a:pt x="50" y="70"/>
                      <a:pt x="51" y="69"/>
                    </a:cubicBezTo>
                    <a:cubicBezTo>
                      <a:pt x="58" y="79"/>
                      <a:pt x="58" y="87"/>
                      <a:pt x="77" y="87"/>
                    </a:cubicBezTo>
                    <a:cubicBezTo>
                      <a:pt x="77" y="87"/>
                      <a:pt x="78" y="86"/>
                      <a:pt x="78" y="86"/>
                    </a:cubicBezTo>
                    <a:cubicBezTo>
                      <a:pt x="74" y="76"/>
                      <a:pt x="60" y="73"/>
                      <a:pt x="55" y="64"/>
                    </a:cubicBezTo>
                    <a:close/>
                    <a:moveTo>
                      <a:pt x="15" y="64"/>
                    </a:moveTo>
                    <a:cubicBezTo>
                      <a:pt x="15" y="65"/>
                      <a:pt x="15" y="65"/>
                      <a:pt x="15" y="65"/>
                    </a:cubicBezTo>
                    <a:cubicBezTo>
                      <a:pt x="14" y="64"/>
                      <a:pt x="13" y="64"/>
                      <a:pt x="11" y="63"/>
                    </a:cubicBezTo>
                    <a:cubicBezTo>
                      <a:pt x="11" y="62"/>
                      <a:pt x="12" y="61"/>
                      <a:pt x="12" y="60"/>
                    </a:cubicBezTo>
                    <a:cubicBezTo>
                      <a:pt x="13" y="59"/>
                      <a:pt x="14" y="58"/>
                      <a:pt x="15" y="57"/>
                    </a:cubicBezTo>
                    <a:cubicBezTo>
                      <a:pt x="16" y="57"/>
                      <a:pt x="16" y="58"/>
                      <a:pt x="17" y="58"/>
                    </a:cubicBezTo>
                    <a:cubicBezTo>
                      <a:pt x="16" y="60"/>
                      <a:pt x="16" y="62"/>
                      <a:pt x="15" y="64"/>
                    </a:cubicBezTo>
                    <a:close/>
                    <a:moveTo>
                      <a:pt x="32" y="46"/>
                    </a:moveTo>
                    <a:cubicBezTo>
                      <a:pt x="35" y="43"/>
                      <a:pt x="44" y="37"/>
                      <a:pt x="44" y="34"/>
                    </a:cubicBezTo>
                    <a:cubicBezTo>
                      <a:pt x="47" y="34"/>
                      <a:pt x="49" y="35"/>
                      <a:pt x="52" y="35"/>
                    </a:cubicBezTo>
                    <a:cubicBezTo>
                      <a:pt x="50" y="40"/>
                      <a:pt x="45" y="44"/>
                      <a:pt x="46" y="50"/>
                    </a:cubicBezTo>
                    <a:cubicBezTo>
                      <a:pt x="46" y="51"/>
                      <a:pt x="47" y="51"/>
                      <a:pt x="48" y="52"/>
                    </a:cubicBezTo>
                    <a:cubicBezTo>
                      <a:pt x="50" y="51"/>
                      <a:pt x="53" y="49"/>
                      <a:pt x="56" y="50"/>
                    </a:cubicBezTo>
                    <a:cubicBezTo>
                      <a:pt x="55" y="54"/>
                      <a:pt x="53" y="57"/>
                      <a:pt x="52" y="61"/>
                    </a:cubicBezTo>
                    <a:cubicBezTo>
                      <a:pt x="45" y="56"/>
                      <a:pt x="44" y="49"/>
                      <a:pt x="32" y="4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16" name="ï$ľíḍe"/>
              <p:cNvSpPr/>
              <p:nvPr/>
            </p:nvSpPr>
            <p:spPr bwMode="auto">
              <a:xfrm>
                <a:off x="2255734" y="4491628"/>
                <a:ext cx="136525" cy="174625"/>
              </a:xfrm>
              <a:custGeom>
                <a:avLst/>
                <a:gdLst>
                  <a:gd name="T0" fmla="*/ 74 w 74"/>
                  <a:gd name="T1" fmla="*/ 41 h 94"/>
                  <a:gd name="T2" fmla="*/ 64 w 74"/>
                  <a:gd name="T3" fmla="*/ 35 h 94"/>
                  <a:gd name="T4" fmla="*/ 51 w 74"/>
                  <a:gd name="T5" fmla="*/ 5 h 94"/>
                  <a:gd name="T6" fmla="*/ 58 w 74"/>
                  <a:gd name="T7" fmla="*/ 39 h 94"/>
                  <a:gd name="T8" fmla="*/ 47 w 74"/>
                  <a:gd name="T9" fmla="*/ 47 h 94"/>
                  <a:gd name="T10" fmla="*/ 55 w 74"/>
                  <a:gd name="T11" fmla="*/ 34 h 94"/>
                  <a:gd name="T12" fmla="*/ 47 w 74"/>
                  <a:gd name="T13" fmla="*/ 29 h 94"/>
                  <a:gd name="T14" fmla="*/ 54 w 74"/>
                  <a:gd name="T15" fmla="*/ 22 h 94"/>
                  <a:gd name="T16" fmla="*/ 54 w 74"/>
                  <a:gd name="T17" fmla="*/ 20 h 94"/>
                  <a:gd name="T18" fmla="*/ 54 w 74"/>
                  <a:gd name="T19" fmla="*/ 19 h 94"/>
                  <a:gd name="T20" fmla="*/ 41 w 74"/>
                  <a:gd name="T21" fmla="*/ 19 h 94"/>
                  <a:gd name="T22" fmla="*/ 44 w 74"/>
                  <a:gd name="T23" fmla="*/ 22 h 94"/>
                  <a:gd name="T24" fmla="*/ 44 w 74"/>
                  <a:gd name="T25" fmla="*/ 32 h 94"/>
                  <a:gd name="T26" fmla="*/ 48 w 74"/>
                  <a:gd name="T27" fmla="*/ 37 h 94"/>
                  <a:gd name="T28" fmla="*/ 40 w 74"/>
                  <a:gd name="T29" fmla="*/ 58 h 94"/>
                  <a:gd name="T30" fmla="*/ 44 w 74"/>
                  <a:gd name="T31" fmla="*/ 61 h 94"/>
                  <a:gd name="T32" fmla="*/ 59 w 74"/>
                  <a:gd name="T33" fmla="*/ 46 h 94"/>
                  <a:gd name="T34" fmla="*/ 59 w 74"/>
                  <a:gd name="T35" fmla="*/ 46 h 94"/>
                  <a:gd name="T36" fmla="*/ 66 w 74"/>
                  <a:gd name="T37" fmla="*/ 93 h 94"/>
                  <a:gd name="T38" fmla="*/ 68 w 74"/>
                  <a:gd name="T39" fmla="*/ 93 h 94"/>
                  <a:gd name="T40" fmla="*/ 65 w 74"/>
                  <a:gd name="T41" fmla="*/ 42 h 94"/>
                  <a:gd name="T42" fmla="*/ 73 w 74"/>
                  <a:gd name="T43" fmla="*/ 41 h 94"/>
                  <a:gd name="T44" fmla="*/ 74 w 74"/>
                  <a:gd name="T45" fmla="*/ 41 h 94"/>
                  <a:gd name="T46" fmla="*/ 43 w 74"/>
                  <a:gd name="T47" fmla="*/ 42 h 94"/>
                  <a:gd name="T48" fmla="*/ 35 w 74"/>
                  <a:gd name="T49" fmla="*/ 48 h 94"/>
                  <a:gd name="T50" fmla="*/ 39 w 74"/>
                  <a:gd name="T51" fmla="*/ 38 h 94"/>
                  <a:gd name="T52" fmla="*/ 37 w 74"/>
                  <a:gd name="T53" fmla="*/ 29 h 94"/>
                  <a:gd name="T54" fmla="*/ 40 w 74"/>
                  <a:gd name="T55" fmla="*/ 27 h 94"/>
                  <a:gd name="T56" fmla="*/ 34 w 74"/>
                  <a:gd name="T57" fmla="*/ 16 h 94"/>
                  <a:gd name="T58" fmla="*/ 32 w 74"/>
                  <a:gd name="T59" fmla="*/ 15 h 94"/>
                  <a:gd name="T60" fmla="*/ 4 w 74"/>
                  <a:gd name="T61" fmla="*/ 46 h 94"/>
                  <a:gd name="T62" fmla="*/ 30 w 74"/>
                  <a:gd name="T63" fmla="*/ 29 h 94"/>
                  <a:gd name="T64" fmla="*/ 8 w 74"/>
                  <a:gd name="T65" fmla="*/ 52 h 94"/>
                  <a:gd name="T66" fmla="*/ 0 w 74"/>
                  <a:gd name="T67" fmla="*/ 56 h 94"/>
                  <a:gd name="T68" fmla="*/ 3 w 74"/>
                  <a:gd name="T69" fmla="*/ 61 h 94"/>
                  <a:gd name="T70" fmla="*/ 23 w 74"/>
                  <a:gd name="T71" fmla="*/ 54 h 94"/>
                  <a:gd name="T72" fmla="*/ 25 w 74"/>
                  <a:gd name="T73" fmla="*/ 53 h 94"/>
                  <a:gd name="T74" fmla="*/ 25 w 74"/>
                  <a:gd name="T75" fmla="*/ 53 h 94"/>
                  <a:gd name="T76" fmla="*/ 20 w 74"/>
                  <a:gd name="T77" fmla="*/ 72 h 94"/>
                  <a:gd name="T78" fmla="*/ 25 w 74"/>
                  <a:gd name="T79" fmla="*/ 76 h 94"/>
                  <a:gd name="T80" fmla="*/ 26 w 74"/>
                  <a:gd name="T81" fmla="*/ 76 h 94"/>
                  <a:gd name="T82" fmla="*/ 30 w 74"/>
                  <a:gd name="T83" fmla="*/ 67 h 94"/>
                  <a:gd name="T84" fmla="*/ 31 w 74"/>
                  <a:gd name="T85" fmla="*/ 66 h 94"/>
                  <a:gd name="T86" fmla="*/ 32 w 74"/>
                  <a:gd name="T87" fmla="*/ 75 h 94"/>
                  <a:gd name="T88" fmla="*/ 35 w 74"/>
                  <a:gd name="T89" fmla="*/ 76 h 94"/>
                  <a:gd name="T90" fmla="*/ 38 w 74"/>
                  <a:gd name="T91" fmla="*/ 76 h 94"/>
                  <a:gd name="T92" fmla="*/ 35 w 74"/>
                  <a:gd name="T93" fmla="*/ 61 h 94"/>
                  <a:gd name="T94" fmla="*/ 43 w 74"/>
                  <a:gd name="T95" fmla="*/ 42 h 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74" h="94">
                    <a:moveTo>
                      <a:pt x="74" y="41"/>
                    </a:moveTo>
                    <a:cubicBezTo>
                      <a:pt x="73" y="36"/>
                      <a:pt x="70" y="34"/>
                      <a:pt x="64" y="35"/>
                    </a:cubicBezTo>
                    <a:cubicBezTo>
                      <a:pt x="63" y="24"/>
                      <a:pt x="67" y="0"/>
                      <a:pt x="51" y="5"/>
                    </a:cubicBezTo>
                    <a:cubicBezTo>
                      <a:pt x="50" y="9"/>
                      <a:pt x="61" y="31"/>
                      <a:pt x="58" y="39"/>
                    </a:cubicBezTo>
                    <a:cubicBezTo>
                      <a:pt x="58" y="39"/>
                      <a:pt x="47" y="47"/>
                      <a:pt x="47" y="47"/>
                    </a:cubicBezTo>
                    <a:cubicBezTo>
                      <a:pt x="48" y="41"/>
                      <a:pt x="53" y="39"/>
                      <a:pt x="55" y="34"/>
                    </a:cubicBezTo>
                    <a:cubicBezTo>
                      <a:pt x="56" y="30"/>
                      <a:pt x="49" y="31"/>
                      <a:pt x="47" y="29"/>
                    </a:cubicBezTo>
                    <a:cubicBezTo>
                      <a:pt x="48" y="26"/>
                      <a:pt x="51" y="23"/>
                      <a:pt x="54" y="22"/>
                    </a:cubicBezTo>
                    <a:cubicBezTo>
                      <a:pt x="54" y="21"/>
                      <a:pt x="54" y="21"/>
                      <a:pt x="54" y="20"/>
                    </a:cubicBezTo>
                    <a:cubicBezTo>
                      <a:pt x="54" y="20"/>
                      <a:pt x="54" y="19"/>
                      <a:pt x="54" y="19"/>
                    </a:cubicBezTo>
                    <a:cubicBezTo>
                      <a:pt x="50" y="17"/>
                      <a:pt x="45" y="17"/>
                      <a:pt x="41" y="19"/>
                    </a:cubicBezTo>
                    <a:cubicBezTo>
                      <a:pt x="41" y="22"/>
                      <a:pt x="42" y="22"/>
                      <a:pt x="44" y="22"/>
                    </a:cubicBezTo>
                    <a:cubicBezTo>
                      <a:pt x="44" y="26"/>
                      <a:pt x="44" y="29"/>
                      <a:pt x="44" y="32"/>
                    </a:cubicBezTo>
                    <a:cubicBezTo>
                      <a:pt x="45" y="34"/>
                      <a:pt x="47" y="35"/>
                      <a:pt x="48" y="37"/>
                    </a:cubicBezTo>
                    <a:cubicBezTo>
                      <a:pt x="46" y="41"/>
                      <a:pt x="35" y="51"/>
                      <a:pt x="40" y="58"/>
                    </a:cubicBezTo>
                    <a:cubicBezTo>
                      <a:pt x="41" y="60"/>
                      <a:pt x="42" y="60"/>
                      <a:pt x="44" y="61"/>
                    </a:cubicBezTo>
                    <a:cubicBezTo>
                      <a:pt x="49" y="55"/>
                      <a:pt x="51" y="50"/>
                      <a:pt x="59" y="46"/>
                    </a:cubicBezTo>
                    <a:cubicBezTo>
                      <a:pt x="59" y="46"/>
                      <a:pt x="59" y="46"/>
                      <a:pt x="59" y="46"/>
                    </a:cubicBezTo>
                    <a:cubicBezTo>
                      <a:pt x="61" y="60"/>
                      <a:pt x="59" y="83"/>
                      <a:pt x="66" y="93"/>
                    </a:cubicBezTo>
                    <a:cubicBezTo>
                      <a:pt x="67" y="94"/>
                      <a:pt x="67" y="93"/>
                      <a:pt x="68" y="93"/>
                    </a:cubicBezTo>
                    <a:cubicBezTo>
                      <a:pt x="68" y="78"/>
                      <a:pt x="67" y="60"/>
                      <a:pt x="65" y="42"/>
                    </a:cubicBezTo>
                    <a:cubicBezTo>
                      <a:pt x="68" y="42"/>
                      <a:pt x="72" y="42"/>
                      <a:pt x="73" y="41"/>
                    </a:cubicBezTo>
                    <a:cubicBezTo>
                      <a:pt x="74" y="41"/>
                      <a:pt x="74" y="41"/>
                      <a:pt x="74" y="41"/>
                    </a:cubicBezTo>
                    <a:close/>
                    <a:moveTo>
                      <a:pt x="43" y="42"/>
                    </a:moveTo>
                    <a:cubicBezTo>
                      <a:pt x="39" y="44"/>
                      <a:pt x="38" y="46"/>
                      <a:pt x="35" y="48"/>
                    </a:cubicBezTo>
                    <a:cubicBezTo>
                      <a:pt x="35" y="42"/>
                      <a:pt x="39" y="42"/>
                      <a:pt x="39" y="38"/>
                    </a:cubicBezTo>
                    <a:cubicBezTo>
                      <a:pt x="40" y="35"/>
                      <a:pt x="37" y="33"/>
                      <a:pt x="37" y="29"/>
                    </a:cubicBezTo>
                    <a:cubicBezTo>
                      <a:pt x="38" y="28"/>
                      <a:pt x="39" y="28"/>
                      <a:pt x="40" y="27"/>
                    </a:cubicBezTo>
                    <a:cubicBezTo>
                      <a:pt x="41" y="24"/>
                      <a:pt x="36" y="16"/>
                      <a:pt x="34" y="16"/>
                    </a:cubicBezTo>
                    <a:cubicBezTo>
                      <a:pt x="33" y="16"/>
                      <a:pt x="32" y="15"/>
                      <a:pt x="32" y="15"/>
                    </a:cubicBezTo>
                    <a:cubicBezTo>
                      <a:pt x="22" y="28"/>
                      <a:pt x="10" y="30"/>
                      <a:pt x="4" y="46"/>
                    </a:cubicBezTo>
                    <a:cubicBezTo>
                      <a:pt x="13" y="41"/>
                      <a:pt x="17" y="31"/>
                      <a:pt x="30" y="29"/>
                    </a:cubicBezTo>
                    <a:cubicBezTo>
                      <a:pt x="29" y="39"/>
                      <a:pt x="16" y="48"/>
                      <a:pt x="8" y="52"/>
                    </a:cubicBezTo>
                    <a:cubicBezTo>
                      <a:pt x="4" y="54"/>
                      <a:pt x="2" y="52"/>
                      <a:pt x="0" y="56"/>
                    </a:cubicBezTo>
                    <a:cubicBezTo>
                      <a:pt x="0" y="59"/>
                      <a:pt x="1" y="60"/>
                      <a:pt x="3" y="61"/>
                    </a:cubicBezTo>
                    <a:cubicBezTo>
                      <a:pt x="10" y="63"/>
                      <a:pt x="22" y="58"/>
                      <a:pt x="23" y="54"/>
                    </a:cubicBezTo>
                    <a:cubicBezTo>
                      <a:pt x="24" y="54"/>
                      <a:pt x="24" y="53"/>
                      <a:pt x="25" y="53"/>
                    </a:cubicBezTo>
                    <a:cubicBezTo>
                      <a:pt x="25" y="53"/>
                      <a:pt x="25" y="53"/>
                      <a:pt x="25" y="53"/>
                    </a:cubicBezTo>
                    <a:cubicBezTo>
                      <a:pt x="23" y="59"/>
                      <a:pt x="22" y="66"/>
                      <a:pt x="20" y="72"/>
                    </a:cubicBezTo>
                    <a:cubicBezTo>
                      <a:pt x="21" y="74"/>
                      <a:pt x="23" y="75"/>
                      <a:pt x="25" y="76"/>
                    </a:cubicBezTo>
                    <a:cubicBezTo>
                      <a:pt x="25" y="76"/>
                      <a:pt x="26" y="76"/>
                      <a:pt x="26" y="76"/>
                    </a:cubicBezTo>
                    <a:cubicBezTo>
                      <a:pt x="28" y="73"/>
                      <a:pt x="29" y="70"/>
                      <a:pt x="30" y="67"/>
                    </a:cubicBezTo>
                    <a:cubicBezTo>
                      <a:pt x="31" y="67"/>
                      <a:pt x="31" y="67"/>
                      <a:pt x="31" y="66"/>
                    </a:cubicBezTo>
                    <a:cubicBezTo>
                      <a:pt x="32" y="69"/>
                      <a:pt x="32" y="72"/>
                      <a:pt x="32" y="75"/>
                    </a:cubicBezTo>
                    <a:cubicBezTo>
                      <a:pt x="33" y="75"/>
                      <a:pt x="34" y="76"/>
                      <a:pt x="35" y="76"/>
                    </a:cubicBezTo>
                    <a:cubicBezTo>
                      <a:pt x="36" y="76"/>
                      <a:pt x="37" y="76"/>
                      <a:pt x="38" y="76"/>
                    </a:cubicBezTo>
                    <a:cubicBezTo>
                      <a:pt x="37" y="71"/>
                      <a:pt x="36" y="66"/>
                      <a:pt x="35" y="61"/>
                    </a:cubicBezTo>
                    <a:cubicBezTo>
                      <a:pt x="38" y="54"/>
                      <a:pt x="40" y="48"/>
                      <a:pt x="43" y="4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17" name="î$ḻîḑe"/>
              <p:cNvSpPr/>
              <p:nvPr/>
            </p:nvSpPr>
            <p:spPr bwMode="auto">
              <a:xfrm>
                <a:off x="2055709" y="4566240"/>
                <a:ext cx="136525" cy="150813"/>
              </a:xfrm>
              <a:custGeom>
                <a:avLst/>
                <a:gdLst>
                  <a:gd name="T0" fmla="*/ 55 w 74"/>
                  <a:gd name="T1" fmla="*/ 53 h 82"/>
                  <a:gd name="T2" fmla="*/ 54 w 74"/>
                  <a:gd name="T3" fmla="*/ 51 h 82"/>
                  <a:gd name="T4" fmla="*/ 57 w 74"/>
                  <a:gd name="T5" fmla="*/ 49 h 82"/>
                  <a:gd name="T6" fmla="*/ 56 w 74"/>
                  <a:gd name="T7" fmla="*/ 45 h 82"/>
                  <a:gd name="T8" fmla="*/ 52 w 74"/>
                  <a:gd name="T9" fmla="*/ 45 h 82"/>
                  <a:gd name="T10" fmla="*/ 51 w 74"/>
                  <a:gd name="T11" fmla="*/ 44 h 82"/>
                  <a:gd name="T12" fmla="*/ 60 w 74"/>
                  <a:gd name="T13" fmla="*/ 32 h 82"/>
                  <a:gd name="T14" fmla="*/ 60 w 74"/>
                  <a:gd name="T15" fmla="*/ 30 h 82"/>
                  <a:gd name="T16" fmla="*/ 34 w 74"/>
                  <a:gd name="T17" fmla="*/ 38 h 82"/>
                  <a:gd name="T18" fmla="*/ 33 w 74"/>
                  <a:gd name="T19" fmla="*/ 38 h 82"/>
                  <a:gd name="T20" fmla="*/ 60 w 74"/>
                  <a:gd name="T21" fmla="*/ 16 h 82"/>
                  <a:gd name="T22" fmla="*/ 61 w 74"/>
                  <a:gd name="T23" fmla="*/ 10 h 82"/>
                  <a:gd name="T24" fmla="*/ 42 w 74"/>
                  <a:gd name="T25" fmla="*/ 11 h 82"/>
                  <a:gd name="T26" fmla="*/ 27 w 74"/>
                  <a:gd name="T27" fmla="*/ 0 h 82"/>
                  <a:gd name="T28" fmla="*/ 24 w 74"/>
                  <a:gd name="T29" fmla="*/ 0 h 82"/>
                  <a:gd name="T30" fmla="*/ 29 w 74"/>
                  <a:gd name="T31" fmla="*/ 21 h 82"/>
                  <a:gd name="T32" fmla="*/ 11 w 74"/>
                  <a:gd name="T33" fmla="*/ 39 h 82"/>
                  <a:gd name="T34" fmla="*/ 1 w 74"/>
                  <a:gd name="T35" fmla="*/ 44 h 82"/>
                  <a:gd name="T36" fmla="*/ 0 w 74"/>
                  <a:gd name="T37" fmla="*/ 47 h 82"/>
                  <a:gd name="T38" fmla="*/ 35 w 74"/>
                  <a:gd name="T39" fmla="*/ 26 h 82"/>
                  <a:gd name="T40" fmla="*/ 35 w 74"/>
                  <a:gd name="T41" fmla="*/ 26 h 82"/>
                  <a:gd name="T42" fmla="*/ 30 w 74"/>
                  <a:gd name="T43" fmla="*/ 48 h 82"/>
                  <a:gd name="T44" fmla="*/ 40 w 74"/>
                  <a:gd name="T45" fmla="*/ 57 h 82"/>
                  <a:gd name="T46" fmla="*/ 35 w 74"/>
                  <a:gd name="T47" fmla="*/ 78 h 82"/>
                  <a:gd name="T48" fmla="*/ 45 w 74"/>
                  <a:gd name="T49" fmla="*/ 82 h 82"/>
                  <a:gd name="T50" fmla="*/ 47 w 74"/>
                  <a:gd name="T51" fmla="*/ 80 h 82"/>
                  <a:gd name="T52" fmla="*/ 46 w 74"/>
                  <a:gd name="T53" fmla="*/ 67 h 82"/>
                  <a:gd name="T54" fmla="*/ 47 w 74"/>
                  <a:gd name="T55" fmla="*/ 66 h 82"/>
                  <a:gd name="T56" fmla="*/ 50 w 74"/>
                  <a:gd name="T57" fmla="*/ 73 h 82"/>
                  <a:gd name="T58" fmla="*/ 58 w 74"/>
                  <a:gd name="T59" fmla="*/ 79 h 82"/>
                  <a:gd name="T60" fmla="*/ 59 w 74"/>
                  <a:gd name="T61" fmla="*/ 79 h 82"/>
                  <a:gd name="T62" fmla="*/ 53 w 74"/>
                  <a:gd name="T63" fmla="*/ 57 h 82"/>
                  <a:gd name="T64" fmla="*/ 56 w 74"/>
                  <a:gd name="T65" fmla="*/ 55 h 82"/>
                  <a:gd name="T66" fmla="*/ 56 w 74"/>
                  <a:gd name="T67" fmla="*/ 55 h 82"/>
                  <a:gd name="T68" fmla="*/ 69 w 74"/>
                  <a:gd name="T69" fmla="*/ 69 h 82"/>
                  <a:gd name="T70" fmla="*/ 74 w 74"/>
                  <a:gd name="T71" fmla="*/ 64 h 82"/>
                  <a:gd name="T72" fmla="*/ 55 w 74"/>
                  <a:gd name="T73" fmla="*/ 53 h 82"/>
                  <a:gd name="T74" fmla="*/ 40 w 74"/>
                  <a:gd name="T75" fmla="*/ 46 h 82"/>
                  <a:gd name="T76" fmla="*/ 39 w 74"/>
                  <a:gd name="T77" fmla="*/ 46 h 82"/>
                  <a:gd name="T78" fmla="*/ 38 w 74"/>
                  <a:gd name="T79" fmla="*/ 46 h 82"/>
                  <a:gd name="T80" fmla="*/ 37 w 74"/>
                  <a:gd name="T81" fmla="*/ 44 h 82"/>
                  <a:gd name="T82" fmla="*/ 44 w 74"/>
                  <a:gd name="T83" fmla="*/ 36 h 82"/>
                  <a:gd name="T84" fmla="*/ 46 w 74"/>
                  <a:gd name="T85" fmla="*/ 35 h 82"/>
                  <a:gd name="T86" fmla="*/ 46 w 74"/>
                  <a:gd name="T87" fmla="*/ 35 h 82"/>
                  <a:gd name="T88" fmla="*/ 40 w 74"/>
                  <a:gd name="T89" fmla="*/ 46 h 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74" h="82">
                    <a:moveTo>
                      <a:pt x="55" y="53"/>
                    </a:moveTo>
                    <a:cubicBezTo>
                      <a:pt x="55" y="53"/>
                      <a:pt x="54" y="52"/>
                      <a:pt x="54" y="51"/>
                    </a:cubicBezTo>
                    <a:cubicBezTo>
                      <a:pt x="55" y="51"/>
                      <a:pt x="56" y="50"/>
                      <a:pt x="57" y="49"/>
                    </a:cubicBezTo>
                    <a:cubicBezTo>
                      <a:pt x="57" y="48"/>
                      <a:pt x="56" y="47"/>
                      <a:pt x="56" y="45"/>
                    </a:cubicBezTo>
                    <a:cubicBezTo>
                      <a:pt x="54" y="45"/>
                      <a:pt x="53" y="45"/>
                      <a:pt x="52" y="45"/>
                    </a:cubicBezTo>
                    <a:cubicBezTo>
                      <a:pt x="51" y="45"/>
                      <a:pt x="51" y="44"/>
                      <a:pt x="51" y="44"/>
                    </a:cubicBezTo>
                    <a:cubicBezTo>
                      <a:pt x="53" y="40"/>
                      <a:pt x="59" y="36"/>
                      <a:pt x="60" y="32"/>
                    </a:cubicBezTo>
                    <a:cubicBezTo>
                      <a:pt x="60" y="31"/>
                      <a:pt x="60" y="31"/>
                      <a:pt x="60" y="30"/>
                    </a:cubicBezTo>
                    <a:cubicBezTo>
                      <a:pt x="50" y="21"/>
                      <a:pt x="41" y="31"/>
                      <a:pt x="34" y="38"/>
                    </a:cubicBezTo>
                    <a:cubicBezTo>
                      <a:pt x="33" y="38"/>
                      <a:pt x="33" y="38"/>
                      <a:pt x="33" y="38"/>
                    </a:cubicBezTo>
                    <a:cubicBezTo>
                      <a:pt x="34" y="30"/>
                      <a:pt x="48" y="16"/>
                      <a:pt x="60" y="16"/>
                    </a:cubicBezTo>
                    <a:cubicBezTo>
                      <a:pt x="61" y="14"/>
                      <a:pt x="61" y="12"/>
                      <a:pt x="61" y="10"/>
                    </a:cubicBezTo>
                    <a:cubicBezTo>
                      <a:pt x="50" y="3"/>
                      <a:pt x="52" y="11"/>
                      <a:pt x="42" y="11"/>
                    </a:cubicBezTo>
                    <a:cubicBezTo>
                      <a:pt x="38" y="10"/>
                      <a:pt x="32" y="1"/>
                      <a:pt x="27" y="0"/>
                    </a:cubicBezTo>
                    <a:cubicBezTo>
                      <a:pt x="26" y="0"/>
                      <a:pt x="25" y="0"/>
                      <a:pt x="24" y="0"/>
                    </a:cubicBezTo>
                    <a:cubicBezTo>
                      <a:pt x="21" y="5"/>
                      <a:pt x="30" y="14"/>
                      <a:pt x="29" y="21"/>
                    </a:cubicBezTo>
                    <a:cubicBezTo>
                      <a:pt x="19" y="27"/>
                      <a:pt x="17" y="33"/>
                      <a:pt x="11" y="39"/>
                    </a:cubicBezTo>
                    <a:cubicBezTo>
                      <a:pt x="8" y="42"/>
                      <a:pt x="4" y="42"/>
                      <a:pt x="1" y="44"/>
                    </a:cubicBezTo>
                    <a:cubicBezTo>
                      <a:pt x="1" y="45"/>
                      <a:pt x="0" y="46"/>
                      <a:pt x="0" y="47"/>
                    </a:cubicBezTo>
                    <a:cubicBezTo>
                      <a:pt x="11" y="69"/>
                      <a:pt x="23" y="30"/>
                      <a:pt x="35" y="26"/>
                    </a:cubicBezTo>
                    <a:cubicBezTo>
                      <a:pt x="35" y="26"/>
                      <a:pt x="35" y="26"/>
                      <a:pt x="35" y="26"/>
                    </a:cubicBezTo>
                    <a:cubicBezTo>
                      <a:pt x="33" y="33"/>
                      <a:pt x="28" y="39"/>
                      <a:pt x="30" y="48"/>
                    </a:cubicBezTo>
                    <a:cubicBezTo>
                      <a:pt x="30" y="51"/>
                      <a:pt x="37" y="56"/>
                      <a:pt x="40" y="57"/>
                    </a:cubicBezTo>
                    <a:cubicBezTo>
                      <a:pt x="37" y="64"/>
                      <a:pt x="32" y="69"/>
                      <a:pt x="35" y="78"/>
                    </a:cubicBezTo>
                    <a:cubicBezTo>
                      <a:pt x="39" y="79"/>
                      <a:pt x="42" y="80"/>
                      <a:pt x="45" y="82"/>
                    </a:cubicBezTo>
                    <a:cubicBezTo>
                      <a:pt x="46" y="81"/>
                      <a:pt x="46" y="81"/>
                      <a:pt x="47" y="80"/>
                    </a:cubicBezTo>
                    <a:cubicBezTo>
                      <a:pt x="49" y="77"/>
                      <a:pt x="45" y="70"/>
                      <a:pt x="46" y="67"/>
                    </a:cubicBezTo>
                    <a:cubicBezTo>
                      <a:pt x="46" y="66"/>
                      <a:pt x="46" y="66"/>
                      <a:pt x="47" y="66"/>
                    </a:cubicBezTo>
                    <a:cubicBezTo>
                      <a:pt x="48" y="67"/>
                      <a:pt x="49" y="71"/>
                      <a:pt x="50" y="73"/>
                    </a:cubicBezTo>
                    <a:cubicBezTo>
                      <a:pt x="52" y="76"/>
                      <a:pt x="55" y="77"/>
                      <a:pt x="58" y="79"/>
                    </a:cubicBezTo>
                    <a:cubicBezTo>
                      <a:pt x="58" y="79"/>
                      <a:pt x="58" y="79"/>
                      <a:pt x="59" y="79"/>
                    </a:cubicBezTo>
                    <a:cubicBezTo>
                      <a:pt x="60" y="72"/>
                      <a:pt x="53" y="64"/>
                      <a:pt x="53" y="57"/>
                    </a:cubicBezTo>
                    <a:cubicBezTo>
                      <a:pt x="54" y="56"/>
                      <a:pt x="55" y="56"/>
                      <a:pt x="56" y="55"/>
                    </a:cubicBezTo>
                    <a:cubicBezTo>
                      <a:pt x="56" y="55"/>
                      <a:pt x="56" y="55"/>
                      <a:pt x="56" y="55"/>
                    </a:cubicBezTo>
                    <a:cubicBezTo>
                      <a:pt x="63" y="60"/>
                      <a:pt x="59" y="67"/>
                      <a:pt x="69" y="69"/>
                    </a:cubicBezTo>
                    <a:cubicBezTo>
                      <a:pt x="71" y="67"/>
                      <a:pt x="72" y="66"/>
                      <a:pt x="74" y="64"/>
                    </a:cubicBezTo>
                    <a:cubicBezTo>
                      <a:pt x="71" y="56"/>
                      <a:pt x="63" y="51"/>
                      <a:pt x="55" y="53"/>
                    </a:cubicBezTo>
                    <a:close/>
                    <a:moveTo>
                      <a:pt x="40" y="46"/>
                    </a:moveTo>
                    <a:cubicBezTo>
                      <a:pt x="40" y="46"/>
                      <a:pt x="39" y="46"/>
                      <a:pt x="39" y="46"/>
                    </a:cubicBezTo>
                    <a:cubicBezTo>
                      <a:pt x="38" y="46"/>
                      <a:pt x="38" y="46"/>
                      <a:pt x="38" y="46"/>
                    </a:cubicBezTo>
                    <a:cubicBezTo>
                      <a:pt x="38" y="45"/>
                      <a:pt x="37" y="45"/>
                      <a:pt x="37" y="44"/>
                    </a:cubicBezTo>
                    <a:cubicBezTo>
                      <a:pt x="39" y="41"/>
                      <a:pt x="42" y="39"/>
                      <a:pt x="44" y="36"/>
                    </a:cubicBezTo>
                    <a:cubicBezTo>
                      <a:pt x="45" y="36"/>
                      <a:pt x="45" y="35"/>
                      <a:pt x="46" y="35"/>
                    </a:cubicBezTo>
                    <a:cubicBezTo>
                      <a:pt x="46" y="35"/>
                      <a:pt x="46" y="35"/>
                      <a:pt x="46" y="35"/>
                    </a:cubicBezTo>
                    <a:cubicBezTo>
                      <a:pt x="44" y="39"/>
                      <a:pt x="42" y="42"/>
                      <a:pt x="40" y="4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18" name="ïşḻíḍe"/>
              <p:cNvSpPr/>
              <p:nvPr/>
            </p:nvSpPr>
            <p:spPr bwMode="auto">
              <a:xfrm>
                <a:off x="1882672" y="4669428"/>
                <a:ext cx="160338" cy="169863"/>
              </a:xfrm>
              <a:custGeom>
                <a:avLst/>
                <a:gdLst>
                  <a:gd name="T0" fmla="*/ 29 w 87"/>
                  <a:gd name="T1" fmla="*/ 8 h 92"/>
                  <a:gd name="T2" fmla="*/ 52 w 87"/>
                  <a:gd name="T3" fmla="*/ 17 h 92"/>
                  <a:gd name="T4" fmla="*/ 61 w 87"/>
                  <a:gd name="T5" fmla="*/ 16 h 92"/>
                  <a:gd name="T6" fmla="*/ 62 w 87"/>
                  <a:gd name="T7" fmla="*/ 17 h 92"/>
                  <a:gd name="T8" fmla="*/ 69 w 87"/>
                  <a:gd name="T9" fmla="*/ 42 h 92"/>
                  <a:gd name="T10" fmla="*/ 86 w 87"/>
                  <a:gd name="T11" fmla="*/ 35 h 92"/>
                  <a:gd name="T12" fmla="*/ 87 w 87"/>
                  <a:gd name="T13" fmla="*/ 39 h 92"/>
                  <a:gd name="T14" fmla="*/ 76 w 87"/>
                  <a:gd name="T15" fmla="*/ 55 h 92"/>
                  <a:gd name="T16" fmla="*/ 67 w 87"/>
                  <a:gd name="T17" fmla="*/ 76 h 92"/>
                  <a:gd name="T18" fmla="*/ 65 w 87"/>
                  <a:gd name="T19" fmla="*/ 74 h 92"/>
                  <a:gd name="T20" fmla="*/ 69 w 87"/>
                  <a:gd name="T21" fmla="*/ 53 h 92"/>
                  <a:gd name="T22" fmla="*/ 55 w 87"/>
                  <a:gd name="T23" fmla="*/ 40 h 92"/>
                  <a:gd name="T24" fmla="*/ 45 w 87"/>
                  <a:gd name="T25" fmla="*/ 44 h 92"/>
                  <a:gd name="T26" fmla="*/ 46 w 87"/>
                  <a:gd name="T27" fmla="*/ 89 h 92"/>
                  <a:gd name="T28" fmla="*/ 38 w 87"/>
                  <a:gd name="T29" fmla="*/ 92 h 92"/>
                  <a:gd name="T30" fmla="*/ 27 w 87"/>
                  <a:gd name="T31" fmla="*/ 68 h 92"/>
                  <a:gd name="T32" fmla="*/ 14 w 87"/>
                  <a:gd name="T33" fmla="*/ 70 h 92"/>
                  <a:gd name="T34" fmla="*/ 12 w 87"/>
                  <a:gd name="T35" fmla="*/ 65 h 92"/>
                  <a:gd name="T36" fmla="*/ 18 w 87"/>
                  <a:gd name="T37" fmla="*/ 58 h 92"/>
                  <a:gd name="T38" fmla="*/ 0 w 87"/>
                  <a:gd name="T39" fmla="*/ 42 h 92"/>
                  <a:gd name="T40" fmla="*/ 0 w 87"/>
                  <a:gd name="T41" fmla="*/ 42 h 92"/>
                  <a:gd name="T42" fmla="*/ 21 w 87"/>
                  <a:gd name="T43" fmla="*/ 39 h 92"/>
                  <a:gd name="T44" fmla="*/ 27 w 87"/>
                  <a:gd name="T45" fmla="*/ 48 h 92"/>
                  <a:gd name="T46" fmla="*/ 34 w 87"/>
                  <a:gd name="T47" fmla="*/ 52 h 92"/>
                  <a:gd name="T48" fmla="*/ 36 w 87"/>
                  <a:gd name="T49" fmla="*/ 62 h 92"/>
                  <a:gd name="T50" fmla="*/ 39 w 87"/>
                  <a:gd name="T51" fmla="*/ 44 h 92"/>
                  <a:gd name="T52" fmla="*/ 46 w 87"/>
                  <a:gd name="T53" fmla="*/ 28 h 92"/>
                  <a:gd name="T54" fmla="*/ 29 w 87"/>
                  <a:gd name="T55" fmla="*/ 8 h 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87" h="92">
                    <a:moveTo>
                      <a:pt x="29" y="8"/>
                    </a:moveTo>
                    <a:cubicBezTo>
                      <a:pt x="42" y="0"/>
                      <a:pt x="43" y="12"/>
                      <a:pt x="52" y="17"/>
                    </a:cubicBezTo>
                    <a:cubicBezTo>
                      <a:pt x="55" y="15"/>
                      <a:pt x="58" y="15"/>
                      <a:pt x="61" y="16"/>
                    </a:cubicBezTo>
                    <a:cubicBezTo>
                      <a:pt x="61" y="16"/>
                      <a:pt x="62" y="17"/>
                      <a:pt x="62" y="17"/>
                    </a:cubicBezTo>
                    <a:cubicBezTo>
                      <a:pt x="62" y="26"/>
                      <a:pt x="58" y="33"/>
                      <a:pt x="69" y="42"/>
                    </a:cubicBezTo>
                    <a:cubicBezTo>
                      <a:pt x="75" y="35"/>
                      <a:pt x="80" y="33"/>
                      <a:pt x="86" y="35"/>
                    </a:cubicBezTo>
                    <a:cubicBezTo>
                      <a:pt x="87" y="36"/>
                      <a:pt x="87" y="38"/>
                      <a:pt x="87" y="39"/>
                    </a:cubicBezTo>
                    <a:cubicBezTo>
                      <a:pt x="83" y="45"/>
                      <a:pt x="80" y="50"/>
                      <a:pt x="76" y="55"/>
                    </a:cubicBezTo>
                    <a:cubicBezTo>
                      <a:pt x="71" y="62"/>
                      <a:pt x="71" y="70"/>
                      <a:pt x="67" y="76"/>
                    </a:cubicBezTo>
                    <a:cubicBezTo>
                      <a:pt x="66" y="75"/>
                      <a:pt x="66" y="75"/>
                      <a:pt x="65" y="74"/>
                    </a:cubicBezTo>
                    <a:cubicBezTo>
                      <a:pt x="63" y="66"/>
                      <a:pt x="67" y="60"/>
                      <a:pt x="69" y="53"/>
                    </a:cubicBezTo>
                    <a:cubicBezTo>
                      <a:pt x="64" y="51"/>
                      <a:pt x="60" y="46"/>
                      <a:pt x="55" y="40"/>
                    </a:cubicBezTo>
                    <a:cubicBezTo>
                      <a:pt x="52" y="42"/>
                      <a:pt x="49" y="41"/>
                      <a:pt x="45" y="44"/>
                    </a:cubicBezTo>
                    <a:cubicBezTo>
                      <a:pt x="40" y="59"/>
                      <a:pt x="48" y="75"/>
                      <a:pt x="46" y="89"/>
                    </a:cubicBezTo>
                    <a:cubicBezTo>
                      <a:pt x="43" y="92"/>
                      <a:pt x="41" y="91"/>
                      <a:pt x="38" y="92"/>
                    </a:cubicBezTo>
                    <a:cubicBezTo>
                      <a:pt x="31" y="83"/>
                      <a:pt x="33" y="76"/>
                      <a:pt x="27" y="68"/>
                    </a:cubicBezTo>
                    <a:cubicBezTo>
                      <a:pt x="23" y="71"/>
                      <a:pt x="18" y="71"/>
                      <a:pt x="14" y="70"/>
                    </a:cubicBezTo>
                    <a:cubicBezTo>
                      <a:pt x="12" y="68"/>
                      <a:pt x="12" y="67"/>
                      <a:pt x="12" y="65"/>
                    </a:cubicBezTo>
                    <a:cubicBezTo>
                      <a:pt x="14" y="63"/>
                      <a:pt x="16" y="60"/>
                      <a:pt x="18" y="58"/>
                    </a:cubicBezTo>
                    <a:cubicBezTo>
                      <a:pt x="13" y="49"/>
                      <a:pt x="3" y="48"/>
                      <a:pt x="0" y="42"/>
                    </a:cubicBezTo>
                    <a:cubicBezTo>
                      <a:pt x="0" y="42"/>
                      <a:pt x="0" y="42"/>
                      <a:pt x="0" y="42"/>
                    </a:cubicBezTo>
                    <a:cubicBezTo>
                      <a:pt x="6" y="39"/>
                      <a:pt x="15" y="35"/>
                      <a:pt x="21" y="39"/>
                    </a:cubicBezTo>
                    <a:cubicBezTo>
                      <a:pt x="23" y="42"/>
                      <a:pt x="25" y="45"/>
                      <a:pt x="27" y="48"/>
                    </a:cubicBezTo>
                    <a:cubicBezTo>
                      <a:pt x="29" y="50"/>
                      <a:pt x="31" y="51"/>
                      <a:pt x="34" y="52"/>
                    </a:cubicBezTo>
                    <a:cubicBezTo>
                      <a:pt x="34" y="55"/>
                      <a:pt x="35" y="58"/>
                      <a:pt x="36" y="62"/>
                    </a:cubicBezTo>
                    <a:cubicBezTo>
                      <a:pt x="39" y="56"/>
                      <a:pt x="38" y="50"/>
                      <a:pt x="39" y="44"/>
                    </a:cubicBezTo>
                    <a:cubicBezTo>
                      <a:pt x="42" y="39"/>
                      <a:pt x="44" y="34"/>
                      <a:pt x="46" y="28"/>
                    </a:cubicBezTo>
                    <a:cubicBezTo>
                      <a:pt x="42" y="22"/>
                      <a:pt x="31" y="15"/>
                      <a:pt x="29" y="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19" name="íṩľíḑè"/>
              <p:cNvSpPr/>
              <p:nvPr/>
            </p:nvSpPr>
            <p:spPr bwMode="auto">
              <a:xfrm>
                <a:off x="2243034" y="6066428"/>
                <a:ext cx="22225" cy="25400"/>
              </a:xfrm>
              <a:custGeom>
                <a:avLst/>
                <a:gdLst>
                  <a:gd name="T0" fmla="*/ 0 w 14"/>
                  <a:gd name="T1" fmla="*/ 12 h 16"/>
                  <a:gd name="T2" fmla="*/ 2 w 14"/>
                  <a:gd name="T3" fmla="*/ 0 h 16"/>
                  <a:gd name="T4" fmla="*/ 14 w 14"/>
                  <a:gd name="T5" fmla="*/ 4 h 16"/>
                  <a:gd name="T6" fmla="*/ 11 w 14"/>
                  <a:gd name="T7" fmla="*/ 16 h 16"/>
                  <a:gd name="T8" fmla="*/ 0 w 14"/>
                  <a:gd name="T9" fmla="*/ 12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4" h="16">
                    <a:moveTo>
                      <a:pt x="0" y="12"/>
                    </a:moveTo>
                    <a:lnTo>
                      <a:pt x="2" y="0"/>
                    </a:lnTo>
                    <a:lnTo>
                      <a:pt x="14" y="4"/>
                    </a:lnTo>
                    <a:lnTo>
                      <a:pt x="11" y="16"/>
                    </a:lnTo>
                    <a:lnTo>
                      <a:pt x="0" y="1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20" name="îṣḷïḓê"/>
              <p:cNvSpPr/>
              <p:nvPr/>
            </p:nvSpPr>
            <p:spPr bwMode="auto">
              <a:xfrm>
                <a:off x="2292247" y="6042615"/>
                <a:ext cx="49213" cy="100013"/>
              </a:xfrm>
              <a:custGeom>
                <a:avLst/>
                <a:gdLst>
                  <a:gd name="T0" fmla="*/ 17 w 27"/>
                  <a:gd name="T1" fmla="*/ 54 h 54"/>
                  <a:gd name="T2" fmla="*/ 7 w 27"/>
                  <a:gd name="T3" fmla="*/ 52 h 54"/>
                  <a:gd name="T4" fmla="*/ 14 w 27"/>
                  <a:gd name="T5" fmla="*/ 15 h 54"/>
                  <a:gd name="T6" fmla="*/ 0 w 27"/>
                  <a:gd name="T7" fmla="*/ 20 h 54"/>
                  <a:gd name="T8" fmla="*/ 1 w 27"/>
                  <a:gd name="T9" fmla="*/ 11 h 54"/>
                  <a:gd name="T10" fmla="*/ 11 w 27"/>
                  <a:gd name="T11" fmla="*/ 7 h 54"/>
                  <a:gd name="T12" fmla="*/ 18 w 27"/>
                  <a:gd name="T13" fmla="*/ 0 h 54"/>
                  <a:gd name="T14" fmla="*/ 27 w 27"/>
                  <a:gd name="T15" fmla="*/ 2 h 54"/>
                  <a:gd name="T16" fmla="*/ 17 w 27"/>
                  <a:gd name="T17" fmla="*/ 54 h 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7" h="54">
                    <a:moveTo>
                      <a:pt x="17" y="54"/>
                    </a:moveTo>
                    <a:cubicBezTo>
                      <a:pt x="7" y="52"/>
                      <a:pt x="7" y="52"/>
                      <a:pt x="7" y="52"/>
                    </a:cubicBezTo>
                    <a:cubicBezTo>
                      <a:pt x="14" y="15"/>
                      <a:pt x="14" y="15"/>
                      <a:pt x="14" y="15"/>
                    </a:cubicBezTo>
                    <a:cubicBezTo>
                      <a:pt x="10" y="17"/>
                      <a:pt x="5" y="19"/>
                      <a:pt x="0" y="20"/>
                    </a:cubicBezTo>
                    <a:cubicBezTo>
                      <a:pt x="1" y="11"/>
                      <a:pt x="1" y="11"/>
                      <a:pt x="1" y="11"/>
                    </a:cubicBezTo>
                    <a:cubicBezTo>
                      <a:pt x="4" y="10"/>
                      <a:pt x="7" y="9"/>
                      <a:pt x="11" y="7"/>
                    </a:cubicBezTo>
                    <a:cubicBezTo>
                      <a:pt x="14" y="6"/>
                      <a:pt x="17" y="3"/>
                      <a:pt x="18" y="0"/>
                    </a:cubicBezTo>
                    <a:cubicBezTo>
                      <a:pt x="27" y="2"/>
                      <a:pt x="27" y="2"/>
                      <a:pt x="27" y="2"/>
                    </a:cubicBezTo>
                    <a:lnTo>
                      <a:pt x="17" y="5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21" name="i$ḻîḓé"/>
              <p:cNvSpPr/>
              <p:nvPr/>
            </p:nvSpPr>
            <p:spPr bwMode="auto">
              <a:xfrm>
                <a:off x="2363684" y="6052140"/>
                <a:ext cx="66675" cy="100013"/>
              </a:xfrm>
              <a:custGeom>
                <a:avLst/>
                <a:gdLst>
                  <a:gd name="T0" fmla="*/ 0 w 36"/>
                  <a:gd name="T1" fmla="*/ 40 h 54"/>
                  <a:gd name="T2" fmla="*/ 10 w 36"/>
                  <a:gd name="T3" fmla="*/ 39 h 54"/>
                  <a:gd name="T4" fmla="*/ 11 w 36"/>
                  <a:gd name="T5" fmla="*/ 44 h 54"/>
                  <a:gd name="T6" fmla="*/ 15 w 36"/>
                  <a:gd name="T7" fmla="*/ 46 h 54"/>
                  <a:gd name="T8" fmla="*/ 21 w 36"/>
                  <a:gd name="T9" fmla="*/ 43 h 54"/>
                  <a:gd name="T10" fmla="*/ 24 w 36"/>
                  <a:gd name="T11" fmla="*/ 31 h 54"/>
                  <a:gd name="T12" fmla="*/ 15 w 36"/>
                  <a:gd name="T13" fmla="*/ 35 h 54"/>
                  <a:gd name="T14" fmla="*/ 4 w 36"/>
                  <a:gd name="T15" fmla="*/ 30 h 54"/>
                  <a:gd name="T16" fmla="*/ 0 w 36"/>
                  <a:gd name="T17" fmla="*/ 17 h 54"/>
                  <a:gd name="T18" fmla="*/ 6 w 36"/>
                  <a:gd name="T19" fmla="*/ 4 h 54"/>
                  <a:gd name="T20" fmla="*/ 19 w 36"/>
                  <a:gd name="T21" fmla="*/ 0 h 54"/>
                  <a:gd name="T22" fmla="*/ 31 w 36"/>
                  <a:gd name="T23" fmla="*/ 7 h 54"/>
                  <a:gd name="T24" fmla="*/ 35 w 36"/>
                  <a:gd name="T25" fmla="*/ 28 h 54"/>
                  <a:gd name="T26" fmla="*/ 28 w 36"/>
                  <a:gd name="T27" fmla="*/ 49 h 54"/>
                  <a:gd name="T28" fmla="*/ 14 w 36"/>
                  <a:gd name="T29" fmla="*/ 54 h 54"/>
                  <a:gd name="T30" fmla="*/ 4 w 36"/>
                  <a:gd name="T31" fmla="*/ 50 h 54"/>
                  <a:gd name="T32" fmla="*/ 0 w 36"/>
                  <a:gd name="T33" fmla="*/ 40 h 54"/>
                  <a:gd name="T34" fmla="*/ 24 w 36"/>
                  <a:gd name="T35" fmla="*/ 19 h 54"/>
                  <a:gd name="T36" fmla="*/ 23 w 36"/>
                  <a:gd name="T37" fmla="*/ 11 h 54"/>
                  <a:gd name="T38" fmla="*/ 18 w 36"/>
                  <a:gd name="T39" fmla="*/ 8 h 54"/>
                  <a:gd name="T40" fmla="*/ 13 w 36"/>
                  <a:gd name="T41" fmla="*/ 10 h 54"/>
                  <a:gd name="T42" fmla="*/ 10 w 36"/>
                  <a:gd name="T43" fmla="*/ 17 h 54"/>
                  <a:gd name="T44" fmla="*/ 12 w 36"/>
                  <a:gd name="T45" fmla="*/ 25 h 54"/>
                  <a:gd name="T46" fmla="*/ 17 w 36"/>
                  <a:gd name="T47" fmla="*/ 28 h 54"/>
                  <a:gd name="T48" fmla="*/ 22 w 36"/>
                  <a:gd name="T49" fmla="*/ 26 h 54"/>
                  <a:gd name="T50" fmla="*/ 24 w 36"/>
                  <a:gd name="T51" fmla="*/ 19 h 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6" h="54">
                    <a:moveTo>
                      <a:pt x="0" y="40"/>
                    </a:moveTo>
                    <a:cubicBezTo>
                      <a:pt x="10" y="39"/>
                      <a:pt x="10" y="39"/>
                      <a:pt x="10" y="39"/>
                    </a:cubicBezTo>
                    <a:cubicBezTo>
                      <a:pt x="10" y="41"/>
                      <a:pt x="10" y="43"/>
                      <a:pt x="11" y="44"/>
                    </a:cubicBezTo>
                    <a:cubicBezTo>
                      <a:pt x="12" y="45"/>
                      <a:pt x="14" y="46"/>
                      <a:pt x="15" y="46"/>
                    </a:cubicBezTo>
                    <a:cubicBezTo>
                      <a:pt x="17" y="46"/>
                      <a:pt x="19" y="45"/>
                      <a:pt x="21" y="43"/>
                    </a:cubicBezTo>
                    <a:cubicBezTo>
                      <a:pt x="22" y="41"/>
                      <a:pt x="24" y="37"/>
                      <a:pt x="24" y="31"/>
                    </a:cubicBezTo>
                    <a:cubicBezTo>
                      <a:pt x="22" y="34"/>
                      <a:pt x="18" y="35"/>
                      <a:pt x="15" y="35"/>
                    </a:cubicBezTo>
                    <a:cubicBezTo>
                      <a:pt x="10" y="35"/>
                      <a:pt x="7" y="33"/>
                      <a:pt x="4" y="30"/>
                    </a:cubicBezTo>
                    <a:cubicBezTo>
                      <a:pt x="1" y="26"/>
                      <a:pt x="0" y="22"/>
                      <a:pt x="0" y="17"/>
                    </a:cubicBezTo>
                    <a:cubicBezTo>
                      <a:pt x="1" y="11"/>
                      <a:pt x="3" y="7"/>
                      <a:pt x="6" y="4"/>
                    </a:cubicBezTo>
                    <a:cubicBezTo>
                      <a:pt x="10" y="1"/>
                      <a:pt x="14" y="0"/>
                      <a:pt x="19" y="0"/>
                    </a:cubicBezTo>
                    <a:cubicBezTo>
                      <a:pt x="24" y="0"/>
                      <a:pt x="28" y="3"/>
                      <a:pt x="31" y="7"/>
                    </a:cubicBezTo>
                    <a:cubicBezTo>
                      <a:pt x="35" y="12"/>
                      <a:pt x="36" y="19"/>
                      <a:pt x="35" y="28"/>
                    </a:cubicBezTo>
                    <a:cubicBezTo>
                      <a:pt x="34" y="38"/>
                      <a:pt x="32" y="44"/>
                      <a:pt x="28" y="49"/>
                    </a:cubicBezTo>
                    <a:cubicBezTo>
                      <a:pt x="24" y="53"/>
                      <a:pt x="20" y="54"/>
                      <a:pt x="14" y="54"/>
                    </a:cubicBezTo>
                    <a:cubicBezTo>
                      <a:pt x="10" y="54"/>
                      <a:pt x="7" y="52"/>
                      <a:pt x="4" y="50"/>
                    </a:cubicBezTo>
                    <a:cubicBezTo>
                      <a:pt x="2" y="48"/>
                      <a:pt x="0" y="44"/>
                      <a:pt x="0" y="40"/>
                    </a:cubicBezTo>
                    <a:close/>
                    <a:moveTo>
                      <a:pt x="24" y="19"/>
                    </a:moveTo>
                    <a:cubicBezTo>
                      <a:pt x="25" y="16"/>
                      <a:pt x="24" y="13"/>
                      <a:pt x="23" y="11"/>
                    </a:cubicBezTo>
                    <a:cubicBezTo>
                      <a:pt x="21" y="10"/>
                      <a:pt x="20" y="9"/>
                      <a:pt x="18" y="8"/>
                    </a:cubicBezTo>
                    <a:cubicBezTo>
                      <a:pt x="16" y="8"/>
                      <a:pt x="14" y="9"/>
                      <a:pt x="13" y="10"/>
                    </a:cubicBezTo>
                    <a:cubicBezTo>
                      <a:pt x="11" y="12"/>
                      <a:pt x="11" y="14"/>
                      <a:pt x="10" y="17"/>
                    </a:cubicBezTo>
                    <a:cubicBezTo>
                      <a:pt x="10" y="21"/>
                      <a:pt x="11" y="23"/>
                      <a:pt x="12" y="25"/>
                    </a:cubicBezTo>
                    <a:cubicBezTo>
                      <a:pt x="13" y="27"/>
                      <a:pt x="15" y="28"/>
                      <a:pt x="17" y="28"/>
                    </a:cubicBezTo>
                    <a:cubicBezTo>
                      <a:pt x="19" y="28"/>
                      <a:pt x="20" y="27"/>
                      <a:pt x="22" y="26"/>
                    </a:cubicBezTo>
                    <a:cubicBezTo>
                      <a:pt x="23" y="24"/>
                      <a:pt x="24" y="22"/>
                      <a:pt x="24" y="1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22" name="îṧľîḋé"/>
              <p:cNvSpPr/>
              <p:nvPr/>
            </p:nvSpPr>
            <p:spPr bwMode="auto">
              <a:xfrm>
                <a:off x="2446234" y="6053728"/>
                <a:ext cx="66675" cy="100013"/>
              </a:xfrm>
              <a:custGeom>
                <a:avLst/>
                <a:gdLst>
                  <a:gd name="T0" fmla="*/ 0 w 36"/>
                  <a:gd name="T1" fmla="*/ 40 h 54"/>
                  <a:gd name="T2" fmla="*/ 10 w 36"/>
                  <a:gd name="T3" fmla="*/ 39 h 54"/>
                  <a:gd name="T4" fmla="*/ 13 w 36"/>
                  <a:gd name="T5" fmla="*/ 44 h 54"/>
                  <a:gd name="T6" fmla="*/ 18 w 36"/>
                  <a:gd name="T7" fmla="*/ 46 h 54"/>
                  <a:gd name="T8" fmla="*/ 23 w 36"/>
                  <a:gd name="T9" fmla="*/ 43 h 54"/>
                  <a:gd name="T10" fmla="*/ 25 w 36"/>
                  <a:gd name="T11" fmla="*/ 35 h 54"/>
                  <a:gd name="T12" fmla="*/ 23 w 36"/>
                  <a:gd name="T13" fmla="*/ 28 h 54"/>
                  <a:gd name="T14" fmla="*/ 17 w 36"/>
                  <a:gd name="T15" fmla="*/ 26 h 54"/>
                  <a:gd name="T16" fmla="*/ 9 w 36"/>
                  <a:gd name="T17" fmla="*/ 30 h 54"/>
                  <a:gd name="T18" fmla="*/ 1 w 36"/>
                  <a:gd name="T19" fmla="*/ 29 h 54"/>
                  <a:gd name="T20" fmla="*/ 5 w 36"/>
                  <a:gd name="T21" fmla="*/ 1 h 54"/>
                  <a:gd name="T22" fmla="*/ 32 w 36"/>
                  <a:gd name="T23" fmla="*/ 0 h 54"/>
                  <a:gd name="T24" fmla="*/ 32 w 36"/>
                  <a:gd name="T25" fmla="*/ 10 h 54"/>
                  <a:gd name="T26" fmla="*/ 13 w 36"/>
                  <a:gd name="T27" fmla="*/ 10 h 54"/>
                  <a:gd name="T28" fmla="*/ 12 w 36"/>
                  <a:gd name="T29" fmla="*/ 19 h 54"/>
                  <a:gd name="T30" fmla="*/ 19 w 36"/>
                  <a:gd name="T31" fmla="*/ 17 h 54"/>
                  <a:gd name="T32" fmla="*/ 30 w 36"/>
                  <a:gd name="T33" fmla="*/ 22 h 54"/>
                  <a:gd name="T34" fmla="*/ 36 w 36"/>
                  <a:gd name="T35" fmla="*/ 34 h 54"/>
                  <a:gd name="T36" fmla="*/ 32 w 36"/>
                  <a:gd name="T37" fmla="*/ 46 h 54"/>
                  <a:gd name="T38" fmla="*/ 18 w 36"/>
                  <a:gd name="T39" fmla="*/ 54 h 54"/>
                  <a:gd name="T40" fmla="*/ 6 w 36"/>
                  <a:gd name="T41" fmla="*/ 50 h 54"/>
                  <a:gd name="T42" fmla="*/ 0 w 36"/>
                  <a:gd name="T43" fmla="*/ 40 h 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36" h="54">
                    <a:moveTo>
                      <a:pt x="0" y="40"/>
                    </a:moveTo>
                    <a:cubicBezTo>
                      <a:pt x="10" y="39"/>
                      <a:pt x="10" y="39"/>
                      <a:pt x="10" y="39"/>
                    </a:cubicBezTo>
                    <a:cubicBezTo>
                      <a:pt x="11" y="41"/>
                      <a:pt x="11" y="43"/>
                      <a:pt x="13" y="44"/>
                    </a:cubicBezTo>
                    <a:cubicBezTo>
                      <a:pt x="14" y="45"/>
                      <a:pt x="16" y="46"/>
                      <a:pt x="18" y="46"/>
                    </a:cubicBezTo>
                    <a:cubicBezTo>
                      <a:pt x="20" y="46"/>
                      <a:pt x="22" y="45"/>
                      <a:pt x="23" y="43"/>
                    </a:cubicBezTo>
                    <a:cubicBezTo>
                      <a:pt x="25" y="41"/>
                      <a:pt x="25" y="38"/>
                      <a:pt x="25" y="35"/>
                    </a:cubicBezTo>
                    <a:cubicBezTo>
                      <a:pt x="25" y="32"/>
                      <a:pt x="24" y="29"/>
                      <a:pt x="23" y="28"/>
                    </a:cubicBezTo>
                    <a:cubicBezTo>
                      <a:pt x="21" y="26"/>
                      <a:pt x="19" y="25"/>
                      <a:pt x="17" y="26"/>
                    </a:cubicBezTo>
                    <a:cubicBezTo>
                      <a:pt x="14" y="26"/>
                      <a:pt x="11" y="27"/>
                      <a:pt x="9" y="30"/>
                    </a:cubicBezTo>
                    <a:cubicBezTo>
                      <a:pt x="1" y="29"/>
                      <a:pt x="1" y="29"/>
                      <a:pt x="1" y="29"/>
                    </a:cubicBezTo>
                    <a:cubicBezTo>
                      <a:pt x="5" y="1"/>
                      <a:pt x="5" y="1"/>
                      <a:pt x="5" y="1"/>
                    </a:cubicBezTo>
                    <a:cubicBezTo>
                      <a:pt x="32" y="0"/>
                      <a:pt x="32" y="0"/>
                      <a:pt x="32" y="0"/>
                    </a:cubicBezTo>
                    <a:cubicBezTo>
                      <a:pt x="32" y="10"/>
                      <a:pt x="32" y="10"/>
                      <a:pt x="32" y="10"/>
                    </a:cubicBezTo>
                    <a:cubicBezTo>
                      <a:pt x="13" y="10"/>
                      <a:pt x="13" y="10"/>
                      <a:pt x="13" y="10"/>
                    </a:cubicBezTo>
                    <a:cubicBezTo>
                      <a:pt x="12" y="19"/>
                      <a:pt x="12" y="19"/>
                      <a:pt x="12" y="19"/>
                    </a:cubicBezTo>
                    <a:cubicBezTo>
                      <a:pt x="14" y="18"/>
                      <a:pt x="16" y="17"/>
                      <a:pt x="19" y="17"/>
                    </a:cubicBezTo>
                    <a:cubicBezTo>
                      <a:pt x="23" y="17"/>
                      <a:pt x="27" y="19"/>
                      <a:pt x="30" y="22"/>
                    </a:cubicBezTo>
                    <a:cubicBezTo>
                      <a:pt x="34" y="25"/>
                      <a:pt x="35" y="29"/>
                      <a:pt x="36" y="34"/>
                    </a:cubicBezTo>
                    <a:cubicBezTo>
                      <a:pt x="36" y="39"/>
                      <a:pt x="35" y="43"/>
                      <a:pt x="32" y="46"/>
                    </a:cubicBezTo>
                    <a:cubicBezTo>
                      <a:pt x="29" y="51"/>
                      <a:pt x="24" y="54"/>
                      <a:pt x="18" y="54"/>
                    </a:cubicBezTo>
                    <a:cubicBezTo>
                      <a:pt x="13" y="54"/>
                      <a:pt x="9" y="53"/>
                      <a:pt x="6" y="50"/>
                    </a:cubicBezTo>
                    <a:cubicBezTo>
                      <a:pt x="3" y="48"/>
                      <a:pt x="1" y="44"/>
                      <a:pt x="0" y="4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23" name="i$ḻïḑê"/>
              <p:cNvSpPr/>
              <p:nvPr/>
            </p:nvSpPr>
            <p:spPr bwMode="auto">
              <a:xfrm>
                <a:off x="2522434" y="6045790"/>
                <a:ext cx="74613" cy="103188"/>
              </a:xfrm>
              <a:custGeom>
                <a:avLst/>
                <a:gdLst>
                  <a:gd name="T0" fmla="*/ 39 w 40"/>
                  <a:gd name="T1" fmla="*/ 42 h 56"/>
                  <a:gd name="T2" fmla="*/ 40 w 40"/>
                  <a:gd name="T3" fmla="*/ 51 h 56"/>
                  <a:gd name="T4" fmla="*/ 5 w 40"/>
                  <a:gd name="T5" fmla="*/ 56 h 56"/>
                  <a:gd name="T6" fmla="*/ 7 w 40"/>
                  <a:gd name="T7" fmla="*/ 46 h 56"/>
                  <a:gd name="T8" fmla="*/ 16 w 40"/>
                  <a:gd name="T9" fmla="*/ 32 h 56"/>
                  <a:gd name="T10" fmla="*/ 23 w 40"/>
                  <a:gd name="T11" fmla="*/ 22 h 56"/>
                  <a:gd name="T12" fmla="*/ 24 w 40"/>
                  <a:gd name="T13" fmla="*/ 15 h 56"/>
                  <a:gd name="T14" fmla="*/ 22 w 40"/>
                  <a:gd name="T15" fmla="*/ 10 h 56"/>
                  <a:gd name="T16" fmla="*/ 17 w 40"/>
                  <a:gd name="T17" fmla="*/ 9 h 56"/>
                  <a:gd name="T18" fmla="*/ 12 w 40"/>
                  <a:gd name="T19" fmla="*/ 12 h 56"/>
                  <a:gd name="T20" fmla="*/ 11 w 40"/>
                  <a:gd name="T21" fmla="*/ 19 h 56"/>
                  <a:gd name="T22" fmla="*/ 1 w 40"/>
                  <a:gd name="T23" fmla="*/ 19 h 56"/>
                  <a:gd name="T24" fmla="*/ 4 w 40"/>
                  <a:gd name="T25" fmla="*/ 6 h 56"/>
                  <a:gd name="T26" fmla="*/ 16 w 40"/>
                  <a:gd name="T27" fmla="*/ 1 h 56"/>
                  <a:gd name="T28" fmla="*/ 28 w 40"/>
                  <a:gd name="T29" fmla="*/ 3 h 56"/>
                  <a:gd name="T30" fmla="*/ 34 w 40"/>
                  <a:gd name="T31" fmla="*/ 13 h 56"/>
                  <a:gd name="T32" fmla="*/ 34 w 40"/>
                  <a:gd name="T33" fmla="*/ 20 h 56"/>
                  <a:gd name="T34" fmla="*/ 31 w 40"/>
                  <a:gd name="T35" fmla="*/ 27 h 56"/>
                  <a:gd name="T36" fmla="*/ 26 w 40"/>
                  <a:gd name="T37" fmla="*/ 35 h 56"/>
                  <a:gd name="T38" fmla="*/ 20 w 40"/>
                  <a:gd name="T39" fmla="*/ 42 h 56"/>
                  <a:gd name="T40" fmla="*/ 19 w 40"/>
                  <a:gd name="T41" fmla="*/ 45 h 56"/>
                  <a:gd name="T42" fmla="*/ 39 w 40"/>
                  <a:gd name="T43" fmla="*/ 42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40" h="56">
                    <a:moveTo>
                      <a:pt x="39" y="42"/>
                    </a:moveTo>
                    <a:cubicBezTo>
                      <a:pt x="40" y="51"/>
                      <a:pt x="40" y="51"/>
                      <a:pt x="40" y="51"/>
                    </a:cubicBezTo>
                    <a:cubicBezTo>
                      <a:pt x="5" y="56"/>
                      <a:pt x="5" y="56"/>
                      <a:pt x="5" y="56"/>
                    </a:cubicBezTo>
                    <a:cubicBezTo>
                      <a:pt x="5" y="53"/>
                      <a:pt x="5" y="49"/>
                      <a:pt x="7" y="46"/>
                    </a:cubicBezTo>
                    <a:cubicBezTo>
                      <a:pt x="8" y="42"/>
                      <a:pt x="11" y="38"/>
                      <a:pt x="16" y="32"/>
                    </a:cubicBezTo>
                    <a:cubicBezTo>
                      <a:pt x="20" y="27"/>
                      <a:pt x="22" y="23"/>
                      <a:pt x="23" y="22"/>
                    </a:cubicBezTo>
                    <a:cubicBezTo>
                      <a:pt x="24" y="19"/>
                      <a:pt x="25" y="17"/>
                      <a:pt x="24" y="15"/>
                    </a:cubicBezTo>
                    <a:cubicBezTo>
                      <a:pt x="24" y="13"/>
                      <a:pt x="23" y="11"/>
                      <a:pt x="22" y="10"/>
                    </a:cubicBezTo>
                    <a:cubicBezTo>
                      <a:pt x="21" y="9"/>
                      <a:pt x="19" y="9"/>
                      <a:pt x="17" y="9"/>
                    </a:cubicBezTo>
                    <a:cubicBezTo>
                      <a:pt x="15" y="10"/>
                      <a:pt x="13" y="11"/>
                      <a:pt x="12" y="12"/>
                    </a:cubicBezTo>
                    <a:cubicBezTo>
                      <a:pt x="11" y="13"/>
                      <a:pt x="10" y="16"/>
                      <a:pt x="11" y="19"/>
                    </a:cubicBezTo>
                    <a:cubicBezTo>
                      <a:pt x="1" y="19"/>
                      <a:pt x="1" y="19"/>
                      <a:pt x="1" y="19"/>
                    </a:cubicBezTo>
                    <a:cubicBezTo>
                      <a:pt x="0" y="13"/>
                      <a:pt x="2" y="9"/>
                      <a:pt x="4" y="6"/>
                    </a:cubicBezTo>
                    <a:cubicBezTo>
                      <a:pt x="7" y="3"/>
                      <a:pt x="11" y="2"/>
                      <a:pt x="16" y="1"/>
                    </a:cubicBezTo>
                    <a:cubicBezTo>
                      <a:pt x="21" y="0"/>
                      <a:pt x="25" y="1"/>
                      <a:pt x="28" y="3"/>
                    </a:cubicBezTo>
                    <a:cubicBezTo>
                      <a:pt x="32" y="6"/>
                      <a:pt x="34" y="9"/>
                      <a:pt x="34" y="13"/>
                    </a:cubicBezTo>
                    <a:cubicBezTo>
                      <a:pt x="35" y="15"/>
                      <a:pt x="35" y="18"/>
                      <a:pt x="34" y="20"/>
                    </a:cubicBezTo>
                    <a:cubicBezTo>
                      <a:pt x="34" y="22"/>
                      <a:pt x="33" y="25"/>
                      <a:pt x="31" y="27"/>
                    </a:cubicBezTo>
                    <a:cubicBezTo>
                      <a:pt x="30" y="29"/>
                      <a:pt x="28" y="32"/>
                      <a:pt x="26" y="35"/>
                    </a:cubicBezTo>
                    <a:cubicBezTo>
                      <a:pt x="23" y="38"/>
                      <a:pt x="21" y="41"/>
                      <a:pt x="20" y="42"/>
                    </a:cubicBezTo>
                    <a:cubicBezTo>
                      <a:pt x="20" y="43"/>
                      <a:pt x="19" y="44"/>
                      <a:pt x="19" y="45"/>
                    </a:cubicBezTo>
                    <a:lnTo>
                      <a:pt x="39" y="4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24" name="íṧlíḍe"/>
              <p:cNvSpPr/>
              <p:nvPr/>
            </p:nvSpPr>
            <p:spPr bwMode="auto">
              <a:xfrm>
                <a:off x="2611334" y="6072778"/>
                <a:ext cx="22225" cy="23813"/>
              </a:xfrm>
              <a:custGeom>
                <a:avLst/>
                <a:gdLst>
                  <a:gd name="T0" fmla="*/ 3 w 14"/>
                  <a:gd name="T1" fmla="*/ 15 h 15"/>
                  <a:gd name="T2" fmla="*/ 0 w 14"/>
                  <a:gd name="T3" fmla="*/ 3 h 15"/>
                  <a:gd name="T4" fmla="*/ 11 w 14"/>
                  <a:gd name="T5" fmla="*/ 0 h 15"/>
                  <a:gd name="T6" fmla="*/ 14 w 14"/>
                  <a:gd name="T7" fmla="*/ 12 h 15"/>
                  <a:gd name="T8" fmla="*/ 3 w 14"/>
                  <a:gd name="T9" fmla="*/ 15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4" h="15">
                    <a:moveTo>
                      <a:pt x="3" y="15"/>
                    </a:moveTo>
                    <a:lnTo>
                      <a:pt x="0" y="3"/>
                    </a:lnTo>
                    <a:lnTo>
                      <a:pt x="11" y="0"/>
                    </a:lnTo>
                    <a:lnTo>
                      <a:pt x="14" y="12"/>
                    </a:lnTo>
                    <a:lnTo>
                      <a:pt x="3" y="1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25" name="îŝľîḓê"/>
              <p:cNvSpPr/>
              <p:nvPr/>
            </p:nvSpPr>
            <p:spPr bwMode="auto">
              <a:xfrm>
                <a:off x="2108097" y="5261565"/>
                <a:ext cx="141288" cy="257175"/>
              </a:xfrm>
              <a:custGeom>
                <a:avLst/>
                <a:gdLst>
                  <a:gd name="T0" fmla="*/ 12 w 77"/>
                  <a:gd name="T1" fmla="*/ 25 h 139"/>
                  <a:gd name="T2" fmla="*/ 9 w 77"/>
                  <a:gd name="T3" fmla="*/ 21 h 139"/>
                  <a:gd name="T4" fmla="*/ 12 w 77"/>
                  <a:gd name="T5" fmla="*/ 17 h 139"/>
                  <a:gd name="T6" fmla="*/ 39 w 77"/>
                  <a:gd name="T7" fmla="*/ 21 h 139"/>
                  <a:gd name="T8" fmla="*/ 46 w 77"/>
                  <a:gd name="T9" fmla="*/ 36 h 139"/>
                  <a:gd name="T10" fmla="*/ 46 w 77"/>
                  <a:gd name="T11" fmla="*/ 39 h 139"/>
                  <a:gd name="T12" fmla="*/ 61 w 77"/>
                  <a:gd name="T13" fmla="*/ 33 h 139"/>
                  <a:gd name="T14" fmla="*/ 57 w 77"/>
                  <a:gd name="T15" fmla="*/ 16 h 139"/>
                  <a:gd name="T16" fmla="*/ 35 w 77"/>
                  <a:gd name="T17" fmla="*/ 9 h 139"/>
                  <a:gd name="T18" fmla="*/ 27 w 77"/>
                  <a:gd name="T19" fmla="*/ 3 h 139"/>
                  <a:gd name="T20" fmla="*/ 32 w 77"/>
                  <a:gd name="T21" fmla="*/ 0 h 139"/>
                  <a:gd name="T22" fmla="*/ 61 w 77"/>
                  <a:gd name="T23" fmla="*/ 9 h 139"/>
                  <a:gd name="T24" fmla="*/ 72 w 77"/>
                  <a:gd name="T25" fmla="*/ 30 h 139"/>
                  <a:gd name="T26" fmla="*/ 48 w 77"/>
                  <a:gd name="T27" fmla="*/ 45 h 139"/>
                  <a:gd name="T28" fmla="*/ 45 w 77"/>
                  <a:gd name="T29" fmla="*/ 46 h 139"/>
                  <a:gd name="T30" fmla="*/ 45 w 77"/>
                  <a:gd name="T31" fmla="*/ 54 h 139"/>
                  <a:gd name="T32" fmla="*/ 59 w 77"/>
                  <a:gd name="T33" fmla="*/ 61 h 139"/>
                  <a:gd name="T34" fmla="*/ 77 w 77"/>
                  <a:gd name="T35" fmla="*/ 80 h 139"/>
                  <a:gd name="T36" fmla="*/ 75 w 77"/>
                  <a:gd name="T37" fmla="*/ 84 h 139"/>
                  <a:gd name="T38" fmla="*/ 71 w 77"/>
                  <a:gd name="T39" fmla="*/ 83 h 139"/>
                  <a:gd name="T40" fmla="*/ 59 w 77"/>
                  <a:gd name="T41" fmla="*/ 70 h 139"/>
                  <a:gd name="T42" fmla="*/ 45 w 77"/>
                  <a:gd name="T43" fmla="*/ 63 h 139"/>
                  <a:gd name="T44" fmla="*/ 45 w 77"/>
                  <a:gd name="T45" fmla="*/ 77 h 139"/>
                  <a:gd name="T46" fmla="*/ 53 w 77"/>
                  <a:gd name="T47" fmla="*/ 83 h 139"/>
                  <a:gd name="T48" fmla="*/ 66 w 77"/>
                  <a:gd name="T49" fmla="*/ 102 h 139"/>
                  <a:gd name="T50" fmla="*/ 72 w 77"/>
                  <a:gd name="T51" fmla="*/ 121 h 139"/>
                  <a:gd name="T52" fmla="*/ 70 w 77"/>
                  <a:gd name="T53" fmla="*/ 124 h 139"/>
                  <a:gd name="T54" fmla="*/ 67 w 77"/>
                  <a:gd name="T55" fmla="*/ 122 h 139"/>
                  <a:gd name="T56" fmla="*/ 64 w 77"/>
                  <a:gd name="T57" fmla="*/ 115 h 139"/>
                  <a:gd name="T58" fmla="*/ 55 w 77"/>
                  <a:gd name="T59" fmla="*/ 97 h 139"/>
                  <a:gd name="T60" fmla="*/ 45 w 77"/>
                  <a:gd name="T61" fmla="*/ 87 h 139"/>
                  <a:gd name="T62" fmla="*/ 45 w 77"/>
                  <a:gd name="T63" fmla="*/ 102 h 139"/>
                  <a:gd name="T64" fmla="*/ 44 w 77"/>
                  <a:gd name="T65" fmla="*/ 136 h 139"/>
                  <a:gd name="T66" fmla="*/ 41 w 77"/>
                  <a:gd name="T67" fmla="*/ 139 h 139"/>
                  <a:gd name="T68" fmla="*/ 38 w 77"/>
                  <a:gd name="T69" fmla="*/ 137 h 139"/>
                  <a:gd name="T70" fmla="*/ 37 w 77"/>
                  <a:gd name="T71" fmla="*/ 103 h 139"/>
                  <a:gd name="T72" fmla="*/ 37 w 77"/>
                  <a:gd name="T73" fmla="*/ 86 h 139"/>
                  <a:gd name="T74" fmla="*/ 28 w 77"/>
                  <a:gd name="T75" fmla="*/ 92 h 139"/>
                  <a:gd name="T76" fmla="*/ 19 w 77"/>
                  <a:gd name="T77" fmla="*/ 109 h 139"/>
                  <a:gd name="T78" fmla="*/ 12 w 77"/>
                  <a:gd name="T79" fmla="*/ 121 h 139"/>
                  <a:gd name="T80" fmla="*/ 8 w 77"/>
                  <a:gd name="T81" fmla="*/ 122 h 139"/>
                  <a:gd name="T82" fmla="*/ 7 w 77"/>
                  <a:gd name="T83" fmla="*/ 120 h 139"/>
                  <a:gd name="T84" fmla="*/ 8 w 77"/>
                  <a:gd name="T85" fmla="*/ 117 h 139"/>
                  <a:gd name="T86" fmla="*/ 11 w 77"/>
                  <a:gd name="T87" fmla="*/ 106 h 139"/>
                  <a:gd name="T88" fmla="*/ 22 w 77"/>
                  <a:gd name="T89" fmla="*/ 86 h 139"/>
                  <a:gd name="T90" fmla="*/ 37 w 77"/>
                  <a:gd name="T91" fmla="*/ 76 h 139"/>
                  <a:gd name="T92" fmla="*/ 37 w 77"/>
                  <a:gd name="T93" fmla="*/ 68 h 139"/>
                  <a:gd name="T94" fmla="*/ 37 w 77"/>
                  <a:gd name="T95" fmla="*/ 63 h 139"/>
                  <a:gd name="T96" fmla="*/ 24 w 77"/>
                  <a:gd name="T97" fmla="*/ 69 h 139"/>
                  <a:gd name="T98" fmla="*/ 16 w 77"/>
                  <a:gd name="T99" fmla="*/ 77 h 139"/>
                  <a:gd name="T100" fmla="*/ 9 w 77"/>
                  <a:gd name="T101" fmla="*/ 85 h 139"/>
                  <a:gd name="T102" fmla="*/ 6 w 77"/>
                  <a:gd name="T103" fmla="*/ 86 h 139"/>
                  <a:gd name="T104" fmla="*/ 5 w 77"/>
                  <a:gd name="T105" fmla="*/ 82 h 139"/>
                  <a:gd name="T106" fmla="*/ 22 w 77"/>
                  <a:gd name="T107" fmla="*/ 60 h 139"/>
                  <a:gd name="T108" fmla="*/ 37 w 77"/>
                  <a:gd name="T109" fmla="*/ 54 h 139"/>
                  <a:gd name="T110" fmla="*/ 37 w 77"/>
                  <a:gd name="T111" fmla="*/ 47 h 139"/>
                  <a:gd name="T112" fmla="*/ 3 w 77"/>
                  <a:gd name="T113" fmla="*/ 45 h 139"/>
                  <a:gd name="T114" fmla="*/ 0 w 77"/>
                  <a:gd name="T115" fmla="*/ 40 h 139"/>
                  <a:gd name="T116" fmla="*/ 5 w 77"/>
                  <a:gd name="T117" fmla="*/ 38 h 139"/>
                  <a:gd name="T118" fmla="*/ 37 w 77"/>
                  <a:gd name="T119" fmla="*/ 39 h 139"/>
                  <a:gd name="T120" fmla="*/ 37 w 77"/>
                  <a:gd name="T121" fmla="*/ 39 h 139"/>
                  <a:gd name="T122" fmla="*/ 33 w 77"/>
                  <a:gd name="T123" fmla="*/ 28 h 139"/>
                  <a:gd name="T124" fmla="*/ 12 w 77"/>
                  <a:gd name="T125" fmla="*/ 25 h 1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77" h="139">
                    <a:moveTo>
                      <a:pt x="12" y="25"/>
                    </a:moveTo>
                    <a:cubicBezTo>
                      <a:pt x="10" y="25"/>
                      <a:pt x="9" y="24"/>
                      <a:pt x="9" y="21"/>
                    </a:cubicBezTo>
                    <a:cubicBezTo>
                      <a:pt x="9" y="18"/>
                      <a:pt x="10" y="17"/>
                      <a:pt x="12" y="17"/>
                    </a:cubicBezTo>
                    <a:cubicBezTo>
                      <a:pt x="24" y="17"/>
                      <a:pt x="33" y="18"/>
                      <a:pt x="39" y="21"/>
                    </a:cubicBezTo>
                    <a:cubicBezTo>
                      <a:pt x="45" y="24"/>
                      <a:pt x="47" y="28"/>
                      <a:pt x="46" y="36"/>
                    </a:cubicBezTo>
                    <a:cubicBezTo>
                      <a:pt x="46" y="37"/>
                      <a:pt x="46" y="38"/>
                      <a:pt x="46" y="39"/>
                    </a:cubicBezTo>
                    <a:cubicBezTo>
                      <a:pt x="53" y="38"/>
                      <a:pt x="58" y="35"/>
                      <a:pt x="61" y="33"/>
                    </a:cubicBezTo>
                    <a:cubicBezTo>
                      <a:pt x="65" y="27"/>
                      <a:pt x="64" y="22"/>
                      <a:pt x="57" y="16"/>
                    </a:cubicBezTo>
                    <a:cubicBezTo>
                      <a:pt x="52" y="12"/>
                      <a:pt x="44" y="9"/>
                      <a:pt x="35" y="9"/>
                    </a:cubicBezTo>
                    <a:cubicBezTo>
                      <a:pt x="30" y="8"/>
                      <a:pt x="28" y="6"/>
                      <a:pt x="27" y="3"/>
                    </a:cubicBezTo>
                    <a:cubicBezTo>
                      <a:pt x="27" y="1"/>
                      <a:pt x="29" y="0"/>
                      <a:pt x="32" y="0"/>
                    </a:cubicBezTo>
                    <a:cubicBezTo>
                      <a:pt x="44" y="0"/>
                      <a:pt x="53" y="3"/>
                      <a:pt x="61" y="9"/>
                    </a:cubicBezTo>
                    <a:cubicBezTo>
                      <a:pt x="69" y="16"/>
                      <a:pt x="73" y="23"/>
                      <a:pt x="72" y="30"/>
                    </a:cubicBezTo>
                    <a:cubicBezTo>
                      <a:pt x="68" y="37"/>
                      <a:pt x="60" y="43"/>
                      <a:pt x="48" y="45"/>
                    </a:cubicBezTo>
                    <a:cubicBezTo>
                      <a:pt x="47" y="46"/>
                      <a:pt x="46" y="46"/>
                      <a:pt x="45" y="46"/>
                    </a:cubicBezTo>
                    <a:cubicBezTo>
                      <a:pt x="45" y="48"/>
                      <a:pt x="45" y="51"/>
                      <a:pt x="45" y="54"/>
                    </a:cubicBezTo>
                    <a:cubicBezTo>
                      <a:pt x="49" y="54"/>
                      <a:pt x="54" y="57"/>
                      <a:pt x="59" y="61"/>
                    </a:cubicBezTo>
                    <a:cubicBezTo>
                      <a:pt x="66" y="66"/>
                      <a:pt x="72" y="72"/>
                      <a:pt x="77" y="80"/>
                    </a:cubicBezTo>
                    <a:cubicBezTo>
                      <a:pt x="77" y="82"/>
                      <a:pt x="77" y="83"/>
                      <a:pt x="75" y="84"/>
                    </a:cubicBezTo>
                    <a:cubicBezTo>
                      <a:pt x="74" y="85"/>
                      <a:pt x="72" y="85"/>
                      <a:pt x="71" y="83"/>
                    </a:cubicBezTo>
                    <a:cubicBezTo>
                      <a:pt x="69" y="80"/>
                      <a:pt x="65" y="76"/>
                      <a:pt x="59" y="70"/>
                    </a:cubicBezTo>
                    <a:cubicBezTo>
                      <a:pt x="54" y="66"/>
                      <a:pt x="49" y="64"/>
                      <a:pt x="45" y="63"/>
                    </a:cubicBezTo>
                    <a:cubicBezTo>
                      <a:pt x="45" y="77"/>
                      <a:pt x="45" y="77"/>
                      <a:pt x="45" y="77"/>
                    </a:cubicBezTo>
                    <a:cubicBezTo>
                      <a:pt x="48" y="78"/>
                      <a:pt x="51" y="80"/>
                      <a:pt x="53" y="83"/>
                    </a:cubicBezTo>
                    <a:cubicBezTo>
                      <a:pt x="59" y="88"/>
                      <a:pt x="63" y="94"/>
                      <a:pt x="66" y="102"/>
                    </a:cubicBezTo>
                    <a:cubicBezTo>
                      <a:pt x="71" y="109"/>
                      <a:pt x="73" y="116"/>
                      <a:pt x="72" y="121"/>
                    </a:cubicBezTo>
                    <a:cubicBezTo>
                      <a:pt x="72" y="122"/>
                      <a:pt x="72" y="123"/>
                      <a:pt x="70" y="124"/>
                    </a:cubicBezTo>
                    <a:cubicBezTo>
                      <a:pt x="69" y="124"/>
                      <a:pt x="68" y="124"/>
                      <a:pt x="67" y="122"/>
                    </a:cubicBezTo>
                    <a:cubicBezTo>
                      <a:pt x="67" y="121"/>
                      <a:pt x="66" y="118"/>
                      <a:pt x="64" y="115"/>
                    </a:cubicBezTo>
                    <a:cubicBezTo>
                      <a:pt x="60" y="107"/>
                      <a:pt x="57" y="102"/>
                      <a:pt x="55" y="97"/>
                    </a:cubicBezTo>
                    <a:cubicBezTo>
                      <a:pt x="51" y="91"/>
                      <a:pt x="48" y="88"/>
                      <a:pt x="45" y="87"/>
                    </a:cubicBezTo>
                    <a:cubicBezTo>
                      <a:pt x="45" y="102"/>
                      <a:pt x="45" y="102"/>
                      <a:pt x="45" y="102"/>
                    </a:cubicBezTo>
                    <a:cubicBezTo>
                      <a:pt x="45" y="117"/>
                      <a:pt x="45" y="128"/>
                      <a:pt x="44" y="136"/>
                    </a:cubicBezTo>
                    <a:cubicBezTo>
                      <a:pt x="43" y="137"/>
                      <a:pt x="42" y="138"/>
                      <a:pt x="41" y="139"/>
                    </a:cubicBezTo>
                    <a:cubicBezTo>
                      <a:pt x="40" y="139"/>
                      <a:pt x="39" y="139"/>
                      <a:pt x="38" y="137"/>
                    </a:cubicBezTo>
                    <a:cubicBezTo>
                      <a:pt x="37" y="135"/>
                      <a:pt x="37" y="123"/>
                      <a:pt x="37" y="103"/>
                    </a:cubicBezTo>
                    <a:cubicBezTo>
                      <a:pt x="37" y="97"/>
                      <a:pt x="37" y="92"/>
                      <a:pt x="37" y="86"/>
                    </a:cubicBezTo>
                    <a:cubicBezTo>
                      <a:pt x="34" y="87"/>
                      <a:pt x="31" y="89"/>
                      <a:pt x="28" y="92"/>
                    </a:cubicBezTo>
                    <a:cubicBezTo>
                      <a:pt x="24" y="98"/>
                      <a:pt x="21" y="103"/>
                      <a:pt x="19" y="109"/>
                    </a:cubicBezTo>
                    <a:cubicBezTo>
                      <a:pt x="17" y="113"/>
                      <a:pt x="15" y="117"/>
                      <a:pt x="12" y="121"/>
                    </a:cubicBezTo>
                    <a:cubicBezTo>
                      <a:pt x="11" y="122"/>
                      <a:pt x="9" y="122"/>
                      <a:pt x="8" y="122"/>
                    </a:cubicBezTo>
                    <a:cubicBezTo>
                      <a:pt x="7" y="122"/>
                      <a:pt x="7" y="121"/>
                      <a:pt x="7" y="120"/>
                    </a:cubicBezTo>
                    <a:cubicBezTo>
                      <a:pt x="7" y="119"/>
                      <a:pt x="7" y="118"/>
                      <a:pt x="8" y="117"/>
                    </a:cubicBezTo>
                    <a:cubicBezTo>
                      <a:pt x="9" y="112"/>
                      <a:pt x="10" y="108"/>
                      <a:pt x="11" y="106"/>
                    </a:cubicBezTo>
                    <a:cubicBezTo>
                      <a:pt x="13" y="101"/>
                      <a:pt x="17" y="94"/>
                      <a:pt x="22" y="86"/>
                    </a:cubicBezTo>
                    <a:cubicBezTo>
                      <a:pt x="27" y="80"/>
                      <a:pt x="32" y="77"/>
                      <a:pt x="37" y="76"/>
                    </a:cubicBezTo>
                    <a:cubicBezTo>
                      <a:pt x="37" y="68"/>
                      <a:pt x="37" y="68"/>
                      <a:pt x="37" y="68"/>
                    </a:cubicBezTo>
                    <a:cubicBezTo>
                      <a:pt x="37" y="63"/>
                      <a:pt x="37" y="63"/>
                      <a:pt x="37" y="63"/>
                    </a:cubicBezTo>
                    <a:cubicBezTo>
                      <a:pt x="33" y="64"/>
                      <a:pt x="29" y="66"/>
                      <a:pt x="24" y="69"/>
                    </a:cubicBezTo>
                    <a:cubicBezTo>
                      <a:pt x="23" y="70"/>
                      <a:pt x="20" y="72"/>
                      <a:pt x="16" y="77"/>
                    </a:cubicBezTo>
                    <a:cubicBezTo>
                      <a:pt x="13" y="81"/>
                      <a:pt x="11" y="83"/>
                      <a:pt x="9" y="85"/>
                    </a:cubicBezTo>
                    <a:cubicBezTo>
                      <a:pt x="8" y="86"/>
                      <a:pt x="7" y="87"/>
                      <a:pt x="6" y="86"/>
                    </a:cubicBezTo>
                    <a:cubicBezTo>
                      <a:pt x="5" y="86"/>
                      <a:pt x="5" y="84"/>
                      <a:pt x="5" y="82"/>
                    </a:cubicBezTo>
                    <a:cubicBezTo>
                      <a:pt x="10" y="73"/>
                      <a:pt x="15" y="65"/>
                      <a:pt x="22" y="60"/>
                    </a:cubicBezTo>
                    <a:cubicBezTo>
                      <a:pt x="27" y="56"/>
                      <a:pt x="32" y="54"/>
                      <a:pt x="37" y="54"/>
                    </a:cubicBezTo>
                    <a:cubicBezTo>
                      <a:pt x="37" y="47"/>
                      <a:pt x="37" y="47"/>
                      <a:pt x="37" y="47"/>
                    </a:cubicBezTo>
                    <a:cubicBezTo>
                      <a:pt x="22" y="49"/>
                      <a:pt x="10" y="48"/>
                      <a:pt x="3" y="45"/>
                    </a:cubicBezTo>
                    <a:cubicBezTo>
                      <a:pt x="1" y="44"/>
                      <a:pt x="0" y="42"/>
                      <a:pt x="0" y="40"/>
                    </a:cubicBezTo>
                    <a:cubicBezTo>
                      <a:pt x="1" y="38"/>
                      <a:pt x="3" y="38"/>
                      <a:pt x="5" y="38"/>
                    </a:cubicBezTo>
                    <a:cubicBezTo>
                      <a:pt x="12" y="40"/>
                      <a:pt x="22" y="40"/>
                      <a:pt x="37" y="39"/>
                    </a:cubicBezTo>
                    <a:cubicBezTo>
                      <a:pt x="37" y="39"/>
                      <a:pt x="37" y="39"/>
                      <a:pt x="37" y="39"/>
                    </a:cubicBezTo>
                    <a:cubicBezTo>
                      <a:pt x="38" y="32"/>
                      <a:pt x="36" y="29"/>
                      <a:pt x="33" y="28"/>
                    </a:cubicBezTo>
                    <a:cubicBezTo>
                      <a:pt x="26" y="25"/>
                      <a:pt x="19" y="24"/>
                      <a:pt x="12" y="2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26" name="íṣlíḑe"/>
              <p:cNvSpPr/>
              <p:nvPr/>
            </p:nvSpPr>
            <p:spPr bwMode="auto">
              <a:xfrm>
                <a:off x="2273197" y="5255215"/>
                <a:ext cx="163513" cy="263525"/>
              </a:xfrm>
              <a:custGeom>
                <a:avLst/>
                <a:gdLst>
                  <a:gd name="T0" fmla="*/ 47 w 88"/>
                  <a:gd name="T1" fmla="*/ 8 h 143"/>
                  <a:gd name="T2" fmla="*/ 74 w 88"/>
                  <a:gd name="T3" fmla="*/ 14 h 143"/>
                  <a:gd name="T4" fmla="*/ 82 w 88"/>
                  <a:gd name="T5" fmla="*/ 26 h 143"/>
                  <a:gd name="T6" fmla="*/ 79 w 88"/>
                  <a:gd name="T7" fmla="*/ 75 h 143"/>
                  <a:gd name="T8" fmla="*/ 86 w 88"/>
                  <a:gd name="T9" fmla="*/ 136 h 143"/>
                  <a:gd name="T10" fmla="*/ 73 w 88"/>
                  <a:gd name="T11" fmla="*/ 45 h 143"/>
                  <a:gd name="T12" fmla="*/ 67 w 88"/>
                  <a:gd name="T13" fmla="*/ 44 h 143"/>
                  <a:gd name="T14" fmla="*/ 54 w 88"/>
                  <a:gd name="T15" fmla="*/ 58 h 143"/>
                  <a:gd name="T16" fmla="*/ 22 w 88"/>
                  <a:gd name="T17" fmla="*/ 54 h 143"/>
                  <a:gd name="T18" fmla="*/ 15 w 88"/>
                  <a:gd name="T19" fmla="*/ 45 h 143"/>
                  <a:gd name="T20" fmla="*/ 11 w 88"/>
                  <a:gd name="T21" fmla="*/ 91 h 143"/>
                  <a:gd name="T22" fmla="*/ 9 w 88"/>
                  <a:gd name="T23" fmla="*/ 118 h 143"/>
                  <a:gd name="T24" fmla="*/ 2 w 88"/>
                  <a:gd name="T25" fmla="*/ 139 h 143"/>
                  <a:gd name="T26" fmla="*/ 6 w 88"/>
                  <a:gd name="T27" fmla="*/ 80 h 143"/>
                  <a:gd name="T28" fmla="*/ 2 w 88"/>
                  <a:gd name="T29" fmla="*/ 26 h 143"/>
                  <a:gd name="T30" fmla="*/ 32 w 88"/>
                  <a:gd name="T31" fmla="*/ 10 h 143"/>
                  <a:gd name="T32" fmla="*/ 39 w 88"/>
                  <a:gd name="T33" fmla="*/ 0 h 143"/>
                  <a:gd name="T34" fmla="*/ 24 w 88"/>
                  <a:gd name="T35" fmla="*/ 23 h 143"/>
                  <a:gd name="T36" fmla="*/ 66 w 88"/>
                  <a:gd name="T37" fmla="*/ 29 h 143"/>
                  <a:gd name="T38" fmla="*/ 67 w 88"/>
                  <a:gd name="T39" fmla="*/ 37 h 143"/>
                  <a:gd name="T40" fmla="*/ 73 w 88"/>
                  <a:gd name="T41" fmla="*/ 34 h 143"/>
                  <a:gd name="T42" fmla="*/ 66 w 88"/>
                  <a:gd name="T43" fmla="*/ 20 h 143"/>
                  <a:gd name="T44" fmla="*/ 13 w 88"/>
                  <a:gd name="T45" fmla="*/ 21 h 143"/>
                  <a:gd name="T46" fmla="*/ 12 w 88"/>
                  <a:gd name="T47" fmla="*/ 32 h 143"/>
                  <a:gd name="T48" fmla="*/ 17 w 88"/>
                  <a:gd name="T49" fmla="*/ 38 h 143"/>
                  <a:gd name="T50" fmla="*/ 24 w 88"/>
                  <a:gd name="T51" fmla="*/ 23 h 143"/>
                  <a:gd name="T52" fmla="*/ 61 w 88"/>
                  <a:gd name="T53" fmla="*/ 64 h 143"/>
                  <a:gd name="T54" fmla="*/ 66 w 88"/>
                  <a:gd name="T55" fmla="*/ 96 h 143"/>
                  <a:gd name="T56" fmla="*/ 61 w 88"/>
                  <a:gd name="T57" fmla="*/ 136 h 143"/>
                  <a:gd name="T58" fmla="*/ 59 w 88"/>
                  <a:gd name="T59" fmla="*/ 143 h 143"/>
                  <a:gd name="T60" fmla="*/ 46 w 88"/>
                  <a:gd name="T61" fmla="*/ 105 h 143"/>
                  <a:gd name="T62" fmla="*/ 30 w 88"/>
                  <a:gd name="T63" fmla="*/ 140 h 143"/>
                  <a:gd name="T64" fmla="*/ 26 w 88"/>
                  <a:gd name="T65" fmla="*/ 137 h 143"/>
                  <a:gd name="T66" fmla="*/ 32 w 88"/>
                  <a:gd name="T67" fmla="*/ 121 h 143"/>
                  <a:gd name="T68" fmla="*/ 35 w 88"/>
                  <a:gd name="T69" fmla="*/ 105 h 143"/>
                  <a:gd name="T70" fmla="*/ 18 w 88"/>
                  <a:gd name="T71" fmla="*/ 75 h 143"/>
                  <a:gd name="T72" fmla="*/ 24 w 88"/>
                  <a:gd name="T73" fmla="*/ 35 h 143"/>
                  <a:gd name="T74" fmla="*/ 39 w 88"/>
                  <a:gd name="T75" fmla="*/ 37 h 143"/>
                  <a:gd name="T76" fmla="*/ 34 w 88"/>
                  <a:gd name="T77" fmla="*/ 29 h 143"/>
                  <a:gd name="T78" fmla="*/ 24 w 88"/>
                  <a:gd name="T79" fmla="*/ 35 h 143"/>
                  <a:gd name="T80" fmla="*/ 62 w 88"/>
                  <a:gd name="T81" fmla="*/ 84 h 143"/>
                  <a:gd name="T82" fmla="*/ 43 w 88"/>
                  <a:gd name="T83" fmla="*/ 81 h 143"/>
                  <a:gd name="T84" fmla="*/ 25 w 88"/>
                  <a:gd name="T85" fmla="*/ 87 h 143"/>
                  <a:gd name="T86" fmla="*/ 26 w 88"/>
                  <a:gd name="T87" fmla="*/ 48 h 143"/>
                  <a:gd name="T88" fmla="*/ 38 w 88"/>
                  <a:gd name="T89" fmla="*/ 52 h 143"/>
                  <a:gd name="T90" fmla="*/ 25 w 88"/>
                  <a:gd name="T91" fmla="*/ 44 h 143"/>
                  <a:gd name="T92" fmla="*/ 32 w 88"/>
                  <a:gd name="T93" fmla="*/ 69 h 143"/>
                  <a:gd name="T94" fmla="*/ 41 w 88"/>
                  <a:gd name="T95" fmla="*/ 75 h 143"/>
                  <a:gd name="T96" fmla="*/ 57 w 88"/>
                  <a:gd name="T97" fmla="*/ 70 h 143"/>
                  <a:gd name="T98" fmla="*/ 56 w 88"/>
                  <a:gd name="T99" fmla="*/ 98 h 143"/>
                  <a:gd name="T100" fmla="*/ 54 w 88"/>
                  <a:gd name="T101" fmla="*/ 93 h 143"/>
                  <a:gd name="T102" fmla="*/ 36 w 88"/>
                  <a:gd name="T103" fmla="*/ 93 h 143"/>
                  <a:gd name="T104" fmla="*/ 32 w 88"/>
                  <a:gd name="T105" fmla="*/ 98 h 143"/>
                  <a:gd name="T106" fmla="*/ 56 w 88"/>
                  <a:gd name="T107" fmla="*/ 29 h 143"/>
                  <a:gd name="T108" fmla="*/ 46 w 88"/>
                  <a:gd name="T109" fmla="*/ 29 h 143"/>
                  <a:gd name="T110" fmla="*/ 60 w 88"/>
                  <a:gd name="T111" fmla="*/ 37 h 143"/>
                  <a:gd name="T112" fmla="*/ 56 w 88"/>
                  <a:gd name="T113" fmla="*/ 29 h 143"/>
                  <a:gd name="T114" fmla="*/ 60 w 88"/>
                  <a:gd name="T115" fmla="*/ 43 h 143"/>
                  <a:gd name="T116" fmla="*/ 46 w 88"/>
                  <a:gd name="T117" fmla="*/ 52 h 143"/>
                  <a:gd name="T118" fmla="*/ 59 w 88"/>
                  <a:gd name="T119" fmla="*/ 48 h 1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88" h="143">
                    <a:moveTo>
                      <a:pt x="43" y="2"/>
                    </a:moveTo>
                    <a:cubicBezTo>
                      <a:pt x="45" y="3"/>
                      <a:pt x="47" y="6"/>
                      <a:pt x="47" y="8"/>
                    </a:cubicBezTo>
                    <a:cubicBezTo>
                      <a:pt x="47" y="9"/>
                      <a:pt x="48" y="10"/>
                      <a:pt x="49" y="10"/>
                    </a:cubicBezTo>
                    <a:cubicBezTo>
                      <a:pt x="57" y="10"/>
                      <a:pt x="66" y="12"/>
                      <a:pt x="74" y="14"/>
                    </a:cubicBezTo>
                    <a:cubicBezTo>
                      <a:pt x="78" y="16"/>
                      <a:pt x="81" y="18"/>
                      <a:pt x="81" y="19"/>
                    </a:cubicBezTo>
                    <a:cubicBezTo>
                      <a:pt x="82" y="21"/>
                      <a:pt x="82" y="24"/>
                      <a:pt x="82" y="26"/>
                    </a:cubicBezTo>
                    <a:cubicBezTo>
                      <a:pt x="82" y="27"/>
                      <a:pt x="82" y="27"/>
                      <a:pt x="82" y="28"/>
                    </a:cubicBezTo>
                    <a:cubicBezTo>
                      <a:pt x="79" y="39"/>
                      <a:pt x="78" y="55"/>
                      <a:pt x="79" y="75"/>
                    </a:cubicBezTo>
                    <a:cubicBezTo>
                      <a:pt x="80" y="87"/>
                      <a:pt x="83" y="106"/>
                      <a:pt x="87" y="131"/>
                    </a:cubicBezTo>
                    <a:cubicBezTo>
                      <a:pt x="88" y="134"/>
                      <a:pt x="87" y="135"/>
                      <a:pt x="86" y="136"/>
                    </a:cubicBezTo>
                    <a:cubicBezTo>
                      <a:pt x="84" y="137"/>
                      <a:pt x="82" y="136"/>
                      <a:pt x="82" y="133"/>
                    </a:cubicBezTo>
                    <a:cubicBezTo>
                      <a:pt x="74" y="106"/>
                      <a:pt x="71" y="76"/>
                      <a:pt x="73" y="45"/>
                    </a:cubicBezTo>
                    <a:cubicBezTo>
                      <a:pt x="72" y="45"/>
                      <a:pt x="71" y="44"/>
                      <a:pt x="70" y="44"/>
                    </a:cubicBezTo>
                    <a:cubicBezTo>
                      <a:pt x="69" y="44"/>
                      <a:pt x="68" y="44"/>
                      <a:pt x="67" y="44"/>
                    </a:cubicBezTo>
                    <a:cubicBezTo>
                      <a:pt x="67" y="48"/>
                      <a:pt x="66" y="51"/>
                      <a:pt x="64" y="54"/>
                    </a:cubicBezTo>
                    <a:cubicBezTo>
                      <a:pt x="62" y="57"/>
                      <a:pt x="59" y="59"/>
                      <a:pt x="54" y="58"/>
                    </a:cubicBezTo>
                    <a:cubicBezTo>
                      <a:pt x="47" y="58"/>
                      <a:pt x="39" y="58"/>
                      <a:pt x="32" y="58"/>
                    </a:cubicBezTo>
                    <a:cubicBezTo>
                      <a:pt x="28" y="59"/>
                      <a:pt x="25" y="58"/>
                      <a:pt x="22" y="54"/>
                    </a:cubicBezTo>
                    <a:cubicBezTo>
                      <a:pt x="20" y="51"/>
                      <a:pt x="19" y="48"/>
                      <a:pt x="18" y="45"/>
                    </a:cubicBezTo>
                    <a:cubicBezTo>
                      <a:pt x="17" y="45"/>
                      <a:pt x="16" y="45"/>
                      <a:pt x="15" y="45"/>
                    </a:cubicBezTo>
                    <a:cubicBezTo>
                      <a:pt x="14" y="45"/>
                      <a:pt x="13" y="45"/>
                      <a:pt x="13" y="45"/>
                    </a:cubicBezTo>
                    <a:cubicBezTo>
                      <a:pt x="13" y="60"/>
                      <a:pt x="13" y="75"/>
                      <a:pt x="11" y="91"/>
                    </a:cubicBezTo>
                    <a:cubicBezTo>
                      <a:pt x="11" y="95"/>
                      <a:pt x="11" y="102"/>
                      <a:pt x="10" y="111"/>
                    </a:cubicBezTo>
                    <a:cubicBezTo>
                      <a:pt x="10" y="108"/>
                      <a:pt x="10" y="111"/>
                      <a:pt x="9" y="118"/>
                    </a:cubicBezTo>
                    <a:cubicBezTo>
                      <a:pt x="9" y="124"/>
                      <a:pt x="8" y="130"/>
                      <a:pt x="6" y="134"/>
                    </a:cubicBezTo>
                    <a:cubicBezTo>
                      <a:pt x="5" y="138"/>
                      <a:pt x="3" y="139"/>
                      <a:pt x="2" y="139"/>
                    </a:cubicBezTo>
                    <a:cubicBezTo>
                      <a:pt x="0" y="139"/>
                      <a:pt x="0" y="137"/>
                      <a:pt x="0" y="133"/>
                    </a:cubicBezTo>
                    <a:cubicBezTo>
                      <a:pt x="3" y="112"/>
                      <a:pt x="5" y="94"/>
                      <a:pt x="6" y="80"/>
                    </a:cubicBezTo>
                    <a:cubicBezTo>
                      <a:pt x="8" y="64"/>
                      <a:pt x="7" y="51"/>
                      <a:pt x="6" y="38"/>
                    </a:cubicBezTo>
                    <a:cubicBezTo>
                      <a:pt x="5" y="34"/>
                      <a:pt x="4" y="30"/>
                      <a:pt x="2" y="26"/>
                    </a:cubicBezTo>
                    <a:cubicBezTo>
                      <a:pt x="0" y="21"/>
                      <a:pt x="1" y="17"/>
                      <a:pt x="6" y="16"/>
                    </a:cubicBezTo>
                    <a:cubicBezTo>
                      <a:pt x="14" y="12"/>
                      <a:pt x="23" y="11"/>
                      <a:pt x="32" y="10"/>
                    </a:cubicBezTo>
                    <a:cubicBezTo>
                      <a:pt x="36" y="9"/>
                      <a:pt x="38" y="7"/>
                      <a:pt x="38" y="4"/>
                    </a:cubicBezTo>
                    <a:cubicBezTo>
                      <a:pt x="38" y="2"/>
                      <a:pt x="38" y="1"/>
                      <a:pt x="39" y="0"/>
                    </a:cubicBezTo>
                    <a:cubicBezTo>
                      <a:pt x="41" y="0"/>
                      <a:pt x="42" y="0"/>
                      <a:pt x="43" y="2"/>
                    </a:cubicBezTo>
                    <a:close/>
                    <a:moveTo>
                      <a:pt x="24" y="23"/>
                    </a:moveTo>
                    <a:cubicBezTo>
                      <a:pt x="33" y="22"/>
                      <a:pt x="44" y="22"/>
                      <a:pt x="58" y="23"/>
                    </a:cubicBezTo>
                    <a:cubicBezTo>
                      <a:pt x="63" y="24"/>
                      <a:pt x="66" y="26"/>
                      <a:pt x="66" y="29"/>
                    </a:cubicBezTo>
                    <a:cubicBezTo>
                      <a:pt x="66" y="30"/>
                      <a:pt x="66" y="30"/>
                      <a:pt x="67" y="31"/>
                    </a:cubicBezTo>
                    <a:cubicBezTo>
                      <a:pt x="67" y="33"/>
                      <a:pt x="67" y="35"/>
                      <a:pt x="67" y="37"/>
                    </a:cubicBezTo>
                    <a:cubicBezTo>
                      <a:pt x="69" y="38"/>
                      <a:pt x="71" y="38"/>
                      <a:pt x="73" y="38"/>
                    </a:cubicBezTo>
                    <a:cubicBezTo>
                      <a:pt x="73" y="37"/>
                      <a:pt x="73" y="36"/>
                      <a:pt x="73" y="34"/>
                    </a:cubicBezTo>
                    <a:cubicBezTo>
                      <a:pt x="73" y="32"/>
                      <a:pt x="73" y="30"/>
                      <a:pt x="74" y="29"/>
                    </a:cubicBezTo>
                    <a:cubicBezTo>
                      <a:pt x="75" y="25"/>
                      <a:pt x="72" y="21"/>
                      <a:pt x="66" y="20"/>
                    </a:cubicBezTo>
                    <a:cubicBezTo>
                      <a:pt x="58" y="17"/>
                      <a:pt x="50" y="16"/>
                      <a:pt x="40" y="16"/>
                    </a:cubicBezTo>
                    <a:cubicBezTo>
                      <a:pt x="29" y="16"/>
                      <a:pt x="20" y="18"/>
                      <a:pt x="13" y="21"/>
                    </a:cubicBezTo>
                    <a:cubicBezTo>
                      <a:pt x="11" y="22"/>
                      <a:pt x="11" y="24"/>
                      <a:pt x="11" y="26"/>
                    </a:cubicBezTo>
                    <a:cubicBezTo>
                      <a:pt x="11" y="28"/>
                      <a:pt x="12" y="30"/>
                      <a:pt x="12" y="32"/>
                    </a:cubicBezTo>
                    <a:cubicBezTo>
                      <a:pt x="12" y="35"/>
                      <a:pt x="12" y="37"/>
                      <a:pt x="12" y="38"/>
                    </a:cubicBezTo>
                    <a:cubicBezTo>
                      <a:pt x="14" y="38"/>
                      <a:pt x="15" y="38"/>
                      <a:pt x="17" y="38"/>
                    </a:cubicBezTo>
                    <a:cubicBezTo>
                      <a:pt x="17" y="35"/>
                      <a:pt x="17" y="32"/>
                      <a:pt x="17" y="30"/>
                    </a:cubicBezTo>
                    <a:cubicBezTo>
                      <a:pt x="18" y="26"/>
                      <a:pt x="20" y="24"/>
                      <a:pt x="24" y="23"/>
                    </a:cubicBezTo>
                    <a:close/>
                    <a:moveTo>
                      <a:pt x="28" y="64"/>
                    </a:moveTo>
                    <a:cubicBezTo>
                      <a:pt x="39" y="62"/>
                      <a:pt x="50" y="62"/>
                      <a:pt x="61" y="64"/>
                    </a:cubicBezTo>
                    <a:cubicBezTo>
                      <a:pt x="65" y="65"/>
                      <a:pt x="67" y="67"/>
                      <a:pt x="67" y="71"/>
                    </a:cubicBezTo>
                    <a:cubicBezTo>
                      <a:pt x="69" y="79"/>
                      <a:pt x="68" y="88"/>
                      <a:pt x="66" y="96"/>
                    </a:cubicBezTo>
                    <a:cubicBezTo>
                      <a:pt x="65" y="102"/>
                      <a:pt x="61" y="105"/>
                      <a:pt x="54" y="105"/>
                    </a:cubicBezTo>
                    <a:cubicBezTo>
                      <a:pt x="55" y="115"/>
                      <a:pt x="57" y="125"/>
                      <a:pt x="61" y="136"/>
                    </a:cubicBezTo>
                    <a:cubicBezTo>
                      <a:pt x="63" y="138"/>
                      <a:pt x="63" y="140"/>
                      <a:pt x="61" y="142"/>
                    </a:cubicBezTo>
                    <a:cubicBezTo>
                      <a:pt x="60" y="142"/>
                      <a:pt x="59" y="143"/>
                      <a:pt x="59" y="143"/>
                    </a:cubicBezTo>
                    <a:cubicBezTo>
                      <a:pt x="58" y="143"/>
                      <a:pt x="57" y="142"/>
                      <a:pt x="57" y="141"/>
                    </a:cubicBezTo>
                    <a:cubicBezTo>
                      <a:pt x="52" y="131"/>
                      <a:pt x="48" y="120"/>
                      <a:pt x="46" y="105"/>
                    </a:cubicBezTo>
                    <a:cubicBezTo>
                      <a:pt x="41" y="105"/>
                      <a:pt x="41" y="105"/>
                      <a:pt x="41" y="105"/>
                    </a:cubicBezTo>
                    <a:cubicBezTo>
                      <a:pt x="40" y="120"/>
                      <a:pt x="37" y="131"/>
                      <a:pt x="30" y="140"/>
                    </a:cubicBezTo>
                    <a:cubicBezTo>
                      <a:pt x="29" y="141"/>
                      <a:pt x="27" y="142"/>
                      <a:pt x="26" y="142"/>
                    </a:cubicBezTo>
                    <a:cubicBezTo>
                      <a:pt x="25" y="141"/>
                      <a:pt x="25" y="139"/>
                      <a:pt x="26" y="137"/>
                    </a:cubicBezTo>
                    <a:cubicBezTo>
                      <a:pt x="26" y="137"/>
                      <a:pt x="26" y="135"/>
                      <a:pt x="28" y="132"/>
                    </a:cubicBezTo>
                    <a:cubicBezTo>
                      <a:pt x="30" y="127"/>
                      <a:pt x="32" y="123"/>
                      <a:pt x="32" y="121"/>
                    </a:cubicBezTo>
                    <a:cubicBezTo>
                      <a:pt x="33" y="118"/>
                      <a:pt x="34" y="113"/>
                      <a:pt x="35" y="107"/>
                    </a:cubicBezTo>
                    <a:cubicBezTo>
                      <a:pt x="35" y="106"/>
                      <a:pt x="35" y="106"/>
                      <a:pt x="35" y="105"/>
                    </a:cubicBezTo>
                    <a:cubicBezTo>
                      <a:pt x="29" y="105"/>
                      <a:pt x="25" y="103"/>
                      <a:pt x="22" y="98"/>
                    </a:cubicBezTo>
                    <a:cubicBezTo>
                      <a:pt x="19" y="93"/>
                      <a:pt x="17" y="85"/>
                      <a:pt x="18" y="75"/>
                    </a:cubicBezTo>
                    <a:cubicBezTo>
                      <a:pt x="19" y="68"/>
                      <a:pt x="22" y="65"/>
                      <a:pt x="28" y="64"/>
                    </a:cubicBezTo>
                    <a:close/>
                    <a:moveTo>
                      <a:pt x="24" y="35"/>
                    </a:moveTo>
                    <a:cubicBezTo>
                      <a:pt x="24" y="36"/>
                      <a:pt x="24" y="36"/>
                      <a:pt x="24" y="37"/>
                    </a:cubicBezTo>
                    <a:cubicBezTo>
                      <a:pt x="29" y="37"/>
                      <a:pt x="34" y="37"/>
                      <a:pt x="39" y="37"/>
                    </a:cubicBezTo>
                    <a:cubicBezTo>
                      <a:pt x="39" y="34"/>
                      <a:pt x="38" y="31"/>
                      <a:pt x="38" y="29"/>
                    </a:cubicBezTo>
                    <a:cubicBezTo>
                      <a:pt x="37" y="29"/>
                      <a:pt x="36" y="29"/>
                      <a:pt x="34" y="29"/>
                    </a:cubicBezTo>
                    <a:cubicBezTo>
                      <a:pt x="31" y="29"/>
                      <a:pt x="30" y="29"/>
                      <a:pt x="28" y="29"/>
                    </a:cubicBezTo>
                    <a:cubicBezTo>
                      <a:pt x="25" y="31"/>
                      <a:pt x="24" y="32"/>
                      <a:pt x="24" y="35"/>
                    </a:cubicBezTo>
                    <a:close/>
                    <a:moveTo>
                      <a:pt x="61" y="87"/>
                    </a:moveTo>
                    <a:cubicBezTo>
                      <a:pt x="61" y="86"/>
                      <a:pt x="62" y="85"/>
                      <a:pt x="62" y="84"/>
                    </a:cubicBezTo>
                    <a:cubicBezTo>
                      <a:pt x="62" y="83"/>
                      <a:pt x="62" y="82"/>
                      <a:pt x="62" y="82"/>
                    </a:cubicBezTo>
                    <a:cubicBezTo>
                      <a:pt x="56" y="81"/>
                      <a:pt x="50" y="80"/>
                      <a:pt x="43" y="81"/>
                    </a:cubicBezTo>
                    <a:cubicBezTo>
                      <a:pt x="37" y="81"/>
                      <a:pt x="31" y="82"/>
                      <a:pt x="24" y="83"/>
                    </a:cubicBezTo>
                    <a:cubicBezTo>
                      <a:pt x="25" y="87"/>
                      <a:pt x="25" y="87"/>
                      <a:pt x="25" y="87"/>
                    </a:cubicBezTo>
                    <a:cubicBezTo>
                      <a:pt x="35" y="86"/>
                      <a:pt x="48" y="86"/>
                      <a:pt x="61" y="87"/>
                    </a:cubicBezTo>
                    <a:close/>
                    <a:moveTo>
                      <a:pt x="26" y="48"/>
                    </a:moveTo>
                    <a:cubicBezTo>
                      <a:pt x="28" y="51"/>
                      <a:pt x="30" y="52"/>
                      <a:pt x="35" y="52"/>
                    </a:cubicBezTo>
                    <a:cubicBezTo>
                      <a:pt x="38" y="52"/>
                      <a:pt x="38" y="52"/>
                      <a:pt x="38" y="52"/>
                    </a:cubicBezTo>
                    <a:cubicBezTo>
                      <a:pt x="38" y="49"/>
                      <a:pt x="39" y="46"/>
                      <a:pt x="39" y="44"/>
                    </a:cubicBezTo>
                    <a:cubicBezTo>
                      <a:pt x="34" y="44"/>
                      <a:pt x="30" y="44"/>
                      <a:pt x="25" y="44"/>
                    </a:cubicBezTo>
                    <a:cubicBezTo>
                      <a:pt x="25" y="46"/>
                      <a:pt x="25" y="47"/>
                      <a:pt x="26" y="48"/>
                    </a:cubicBezTo>
                    <a:close/>
                    <a:moveTo>
                      <a:pt x="32" y="69"/>
                    </a:moveTo>
                    <a:cubicBezTo>
                      <a:pt x="28" y="70"/>
                      <a:pt x="25" y="72"/>
                      <a:pt x="25" y="76"/>
                    </a:cubicBezTo>
                    <a:cubicBezTo>
                      <a:pt x="30" y="75"/>
                      <a:pt x="35" y="75"/>
                      <a:pt x="41" y="75"/>
                    </a:cubicBezTo>
                    <a:cubicBezTo>
                      <a:pt x="46" y="74"/>
                      <a:pt x="53" y="74"/>
                      <a:pt x="61" y="75"/>
                    </a:cubicBezTo>
                    <a:cubicBezTo>
                      <a:pt x="61" y="72"/>
                      <a:pt x="59" y="71"/>
                      <a:pt x="57" y="70"/>
                    </a:cubicBezTo>
                    <a:cubicBezTo>
                      <a:pt x="49" y="68"/>
                      <a:pt x="40" y="68"/>
                      <a:pt x="32" y="69"/>
                    </a:cubicBezTo>
                    <a:close/>
                    <a:moveTo>
                      <a:pt x="56" y="98"/>
                    </a:moveTo>
                    <a:cubicBezTo>
                      <a:pt x="59" y="97"/>
                      <a:pt x="60" y="96"/>
                      <a:pt x="61" y="93"/>
                    </a:cubicBezTo>
                    <a:cubicBezTo>
                      <a:pt x="60" y="93"/>
                      <a:pt x="57" y="93"/>
                      <a:pt x="54" y="93"/>
                    </a:cubicBezTo>
                    <a:cubicBezTo>
                      <a:pt x="48" y="92"/>
                      <a:pt x="44" y="92"/>
                      <a:pt x="41" y="92"/>
                    </a:cubicBezTo>
                    <a:cubicBezTo>
                      <a:pt x="40" y="92"/>
                      <a:pt x="38" y="92"/>
                      <a:pt x="36" y="93"/>
                    </a:cubicBezTo>
                    <a:cubicBezTo>
                      <a:pt x="31" y="93"/>
                      <a:pt x="28" y="94"/>
                      <a:pt x="26" y="94"/>
                    </a:cubicBezTo>
                    <a:cubicBezTo>
                      <a:pt x="27" y="96"/>
                      <a:pt x="29" y="98"/>
                      <a:pt x="32" y="98"/>
                    </a:cubicBezTo>
                    <a:cubicBezTo>
                      <a:pt x="39" y="99"/>
                      <a:pt x="47" y="99"/>
                      <a:pt x="56" y="98"/>
                    </a:cubicBezTo>
                    <a:close/>
                    <a:moveTo>
                      <a:pt x="56" y="29"/>
                    </a:moveTo>
                    <a:cubicBezTo>
                      <a:pt x="55" y="29"/>
                      <a:pt x="53" y="29"/>
                      <a:pt x="51" y="29"/>
                    </a:cubicBezTo>
                    <a:cubicBezTo>
                      <a:pt x="49" y="29"/>
                      <a:pt x="47" y="29"/>
                      <a:pt x="46" y="29"/>
                    </a:cubicBezTo>
                    <a:cubicBezTo>
                      <a:pt x="46" y="31"/>
                      <a:pt x="46" y="34"/>
                      <a:pt x="46" y="37"/>
                    </a:cubicBezTo>
                    <a:cubicBezTo>
                      <a:pt x="50" y="37"/>
                      <a:pt x="55" y="37"/>
                      <a:pt x="60" y="37"/>
                    </a:cubicBezTo>
                    <a:cubicBezTo>
                      <a:pt x="60" y="35"/>
                      <a:pt x="60" y="35"/>
                      <a:pt x="60" y="35"/>
                    </a:cubicBezTo>
                    <a:cubicBezTo>
                      <a:pt x="60" y="32"/>
                      <a:pt x="58" y="30"/>
                      <a:pt x="56" y="29"/>
                    </a:cubicBezTo>
                    <a:close/>
                    <a:moveTo>
                      <a:pt x="59" y="48"/>
                    </a:moveTo>
                    <a:cubicBezTo>
                      <a:pt x="59" y="47"/>
                      <a:pt x="59" y="45"/>
                      <a:pt x="60" y="43"/>
                    </a:cubicBezTo>
                    <a:cubicBezTo>
                      <a:pt x="55" y="43"/>
                      <a:pt x="51" y="43"/>
                      <a:pt x="46" y="43"/>
                    </a:cubicBezTo>
                    <a:cubicBezTo>
                      <a:pt x="46" y="52"/>
                      <a:pt x="46" y="52"/>
                      <a:pt x="46" y="52"/>
                    </a:cubicBezTo>
                    <a:cubicBezTo>
                      <a:pt x="48" y="52"/>
                      <a:pt x="51" y="52"/>
                      <a:pt x="54" y="52"/>
                    </a:cubicBezTo>
                    <a:cubicBezTo>
                      <a:pt x="57" y="51"/>
                      <a:pt x="59" y="49"/>
                      <a:pt x="59" y="4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27" name="îSḻide"/>
              <p:cNvSpPr/>
              <p:nvPr/>
            </p:nvSpPr>
            <p:spPr bwMode="auto">
              <a:xfrm>
                <a:off x="2449409" y="5256803"/>
                <a:ext cx="139700" cy="265113"/>
              </a:xfrm>
              <a:custGeom>
                <a:avLst/>
                <a:gdLst>
                  <a:gd name="T0" fmla="*/ 56 w 76"/>
                  <a:gd name="T1" fmla="*/ 3 h 144"/>
                  <a:gd name="T2" fmla="*/ 61 w 76"/>
                  <a:gd name="T3" fmla="*/ 45 h 144"/>
                  <a:gd name="T4" fmla="*/ 50 w 76"/>
                  <a:gd name="T5" fmla="*/ 74 h 144"/>
                  <a:gd name="T6" fmla="*/ 68 w 76"/>
                  <a:gd name="T7" fmla="*/ 65 h 144"/>
                  <a:gd name="T8" fmla="*/ 70 w 76"/>
                  <a:gd name="T9" fmla="*/ 31 h 144"/>
                  <a:gd name="T10" fmla="*/ 74 w 76"/>
                  <a:gd name="T11" fmla="*/ 31 h 144"/>
                  <a:gd name="T12" fmla="*/ 74 w 76"/>
                  <a:gd name="T13" fmla="*/ 64 h 144"/>
                  <a:gd name="T14" fmla="*/ 50 w 76"/>
                  <a:gd name="T15" fmla="*/ 81 h 144"/>
                  <a:gd name="T16" fmla="*/ 69 w 76"/>
                  <a:gd name="T17" fmla="*/ 103 h 144"/>
                  <a:gd name="T18" fmla="*/ 74 w 76"/>
                  <a:gd name="T19" fmla="*/ 140 h 144"/>
                  <a:gd name="T20" fmla="*/ 63 w 76"/>
                  <a:gd name="T21" fmla="*/ 105 h 144"/>
                  <a:gd name="T22" fmla="*/ 52 w 76"/>
                  <a:gd name="T23" fmla="*/ 138 h 144"/>
                  <a:gd name="T24" fmla="*/ 46 w 76"/>
                  <a:gd name="T25" fmla="*/ 139 h 144"/>
                  <a:gd name="T26" fmla="*/ 42 w 76"/>
                  <a:gd name="T27" fmla="*/ 57 h 144"/>
                  <a:gd name="T28" fmla="*/ 35 w 76"/>
                  <a:gd name="T29" fmla="*/ 132 h 144"/>
                  <a:gd name="T30" fmla="*/ 27 w 76"/>
                  <a:gd name="T31" fmla="*/ 136 h 144"/>
                  <a:gd name="T32" fmla="*/ 29 w 76"/>
                  <a:gd name="T33" fmla="*/ 95 h 144"/>
                  <a:gd name="T34" fmla="*/ 5 w 76"/>
                  <a:gd name="T35" fmla="*/ 135 h 144"/>
                  <a:gd name="T36" fmla="*/ 0 w 76"/>
                  <a:gd name="T37" fmla="*/ 135 h 144"/>
                  <a:gd name="T38" fmla="*/ 30 w 76"/>
                  <a:gd name="T39" fmla="*/ 86 h 144"/>
                  <a:gd name="T40" fmla="*/ 26 w 76"/>
                  <a:gd name="T41" fmla="*/ 80 h 144"/>
                  <a:gd name="T42" fmla="*/ 5 w 76"/>
                  <a:gd name="T43" fmla="*/ 66 h 144"/>
                  <a:gd name="T44" fmla="*/ 3 w 76"/>
                  <a:gd name="T45" fmla="*/ 29 h 144"/>
                  <a:gd name="T46" fmla="*/ 9 w 76"/>
                  <a:gd name="T47" fmla="*/ 59 h 144"/>
                  <a:gd name="T48" fmla="*/ 31 w 76"/>
                  <a:gd name="T49" fmla="*/ 74 h 144"/>
                  <a:gd name="T50" fmla="*/ 32 w 76"/>
                  <a:gd name="T51" fmla="*/ 57 h 144"/>
                  <a:gd name="T52" fmla="*/ 16 w 76"/>
                  <a:gd name="T53" fmla="*/ 14 h 144"/>
                  <a:gd name="T54" fmla="*/ 22 w 76"/>
                  <a:gd name="T55" fmla="*/ 19 h 144"/>
                  <a:gd name="T56" fmla="*/ 57 w 76"/>
                  <a:gd name="T57" fmla="*/ 19 h 144"/>
                  <a:gd name="T58" fmla="*/ 50 w 76"/>
                  <a:gd name="T59" fmla="*/ 9 h 144"/>
                  <a:gd name="T60" fmla="*/ 22 w 76"/>
                  <a:gd name="T61" fmla="*/ 19 h 144"/>
                  <a:gd name="T62" fmla="*/ 23 w 76"/>
                  <a:gd name="T63" fmla="*/ 31 h 144"/>
                  <a:gd name="T64" fmla="*/ 57 w 76"/>
                  <a:gd name="T65" fmla="*/ 34 h 144"/>
                  <a:gd name="T66" fmla="*/ 22 w 76"/>
                  <a:gd name="T67" fmla="*/ 27 h 144"/>
                  <a:gd name="T68" fmla="*/ 48 w 76"/>
                  <a:gd name="T69" fmla="*/ 50 h 144"/>
                  <a:gd name="T70" fmla="*/ 57 w 76"/>
                  <a:gd name="T71" fmla="*/ 41 h 144"/>
                  <a:gd name="T72" fmla="*/ 25 w 76"/>
                  <a:gd name="T73" fmla="*/ 44 h 1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76" h="144">
                    <a:moveTo>
                      <a:pt x="27" y="2"/>
                    </a:moveTo>
                    <a:cubicBezTo>
                      <a:pt x="37" y="0"/>
                      <a:pt x="47" y="0"/>
                      <a:pt x="56" y="3"/>
                    </a:cubicBezTo>
                    <a:cubicBezTo>
                      <a:pt x="60" y="3"/>
                      <a:pt x="62" y="7"/>
                      <a:pt x="63" y="15"/>
                    </a:cubicBezTo>
                    <a:cubicBezTo>
                      <a:pt x="65" y="25"/>
                      <a:pt x="64" y="35"/>
                      <a:pt x="61" y="45"/>
                    </a:cubicBezTo>
                    <a:cubicBezTo>
                      <a:pt x="60" y="53"/>
                      <a:pt x="55" y="56"/>
                      <a:pt x="49" y="57"/>
                    </a:cubicBezTo>
                    <a:cubicBezTo>
                      <a:pt x="49" y="62"/>
                      <a:pt x="50" y="68"/>
                      <a:pt x="50" y="74"/>
                    </a:cubicBezTo>
                    <a:cubicBezTo>
                      <a:pt x="53" y="74"/>
                      <a:pt x="56" y="74"/>
                      <a:pt x="58" y="74"/>
                    </a:cubicBezTo>
                    <a:cubicBezTo>
                      <a:pt x="62" y="75"/>
                      <a:pt x="66" y="72"/>
                      <a:pt x="68" y="65"/>
                    </a:cubicBezTo>
                    <a:cubicBezTo>
                      <a:pt x="69" y="62"/>
                      <a:pt x="70" y="53"/>
                      <a:pt x="70" y="39"/>
                    </a:cubicBezTo>
                    <a:cubicBezTo>
                      <a:pt x="70" y="35"/>
                      <a:pt x="70" y="32"/>
                      <a:pt x="70" y="31"/>
                    </a:cubicBezTo>
                    <a:cubicBezTo>
                      <a:pt x="71" y="31"/>
                      <a:pt x="71" y="30"/>
                      <a:pt x="72" y="30"/>
                    </a:cubicBezTo>
                    <a:cubicBezTo>
                      <a:pt x="73" y="30"/>
                      <a:pt x="74" y="30"/>
                      <a:pt x="74" y="31"/>
                    </a:cubicBezTo>
                    <a:cubicBezTo>
                      <a:pt x="75" y="33"/>
                      <a:pt x="76" y="36"/>
                      <a:pt x="76" y="41"/>
                    </a:cubicBezTo>
                    <a:cubicBezTo>
                      <a:pt x="76" y="49"/>
                      <a:pt x="75" y="56"/>
                      <a:pt x="74" y="64"/>
                    </a:cubicBezTo>
                    <a:cubicBezTo>
                      <a:pt x="72" y="75"/>
                      <a:pt x="67" y="81"/>
                      <a:pt x="58" y="81"/>
                    </a:cubicBezTo>
                    <a:cubicBezTo>
                      <a:pt x="50" y="81"/>
                      <a:pt x="50" y="81"/>
                      <a:pt x="50" y="81"/>
                    </a:cubicBezTo>
                    <a:cubicBezTo>
                      <a:pt x="50" y="87"/>
                      <a:pt x="50" y="87"/>
                      <a:pt x="50" y="87"/>
                    </a:cubicBezTo>
                    <a:cubicBezTo>
                      <a:pt x="60" y="87"/>
                      <a:pt x="66" y="92"/>
                      <a:pt x="69" y="103"/>
                    </a:cubicBezTo>
                    <a:cubicBezTo>
                      <a:pt x="72" y="112"/>
                      <a:pt x="74" y="122"/>
                      <a:pt x="76" y="134"/>
                    </a:cubicBezTo>
                    <a:cubicBezTo>
                      <a:pt x="76" y="138"/>
                      <a:pt x="75" y="140"/>
                      <a:pt x="74" y="140"/>
                    </a:cubicBezTo>
                    <a:cubicBezTo>
                      <a:pt x="72" y="141"/>
                      <a:pt x="71" y="139"/>
                      <a:pt x="70" y="136"/>
                    </a:cubicBezTo>
                    <a:cubicBezTo>
                      <a:pt x="68" y="126"/>
                      <a:pt x="66" y="116"/>
                      <a:pt x="63" y="105"/>
                    </a:cubicBezTo>
                    <a:cubicBezTo>
                      <a:pt x="61" y="98"/>
                      <a:pt x="57" y="95"/>
                      <a:pt x="50" y="95"/>
                    </a:cubicBezTo>
                    <a:cubicBezTo>
                      <a:pt x="50" y="109"/>
                      <a:pt x="51" y="123"/>
                      <a:pt x="52" y="138"/>
                    </a:cubicBezTo>
                    <a:cubicBezTo>
                      <a:pt x="52" y="141"/>
                      <a:pt x="51" y="143"/>
                      <a:pt x="49" y="144"/>
                    </a:cubicBezTo>
                    <a:cubicBezTo>
                      <a:pt x="47" y="144"/>
                      <a:pt x="46" y="142"/>
                      <a:pt x="46" y="139"/>
                    </a:cubicBezTo>
                    <a:cubicBezTo>
                      <a:pt x="44" y="134"/>
                      <a:pt x="43" y="118"/>
                      <a:pt x="43" y="92"/>
                    </a:cubicBezTo>
                    <a:cubicBezTo>
                      <a:pt x="43" y="76"/>
                      <a:pt x="43" y="64"/>
                      <a:pt x="42" y="57"/>
                    </a:cubicBezTo>
                    <a:cubicBezTo>
                      <a:pt x="38" y="57"/>
                      <a:pt x="38" y="57"/>
                      <a:pt x="38" y="57"/>
                    </a:cubicBezTo>
                    <a:cubicBezTo>
                      <a:pt x="36" y="88"/>
                      <a:pt x="35" y="113"/>
                      <a:pt x="35" y="132"/>
                    </a:cubicBezTo>
                    <a:cubicBezTo>
                      <a:pt x="35" y="138"/>
                      <a:pt x="33" y="142"/>
                      <a:pt x="31" y="142"/>
                    </a:cubicBezTo>
                    <a:cubicBezTo>
                      <a:pt x="29" y="142"/>
                      <a:pt x="27" y="140"/>
                      <a:pt x="27" y="136"/>
                    </a:cubicBezTo>
                    <a:cubicBezTo>
                      <a:pt x="27" y="136"/>
                      <a:pt x="27" y="134"/>
                      <a:pt x="27" y="132"/>
                    </a:cubicBezTo>
                    <a:cubicBezTo>
                      <a:pt x="28" y="118"/>
                      <a:pt x="29" y="105"/>
                      <a:pt x="29" y="95"/>
                    </a:cubicBezTo>
                    <a:cubicBezTo>
                      <a:pt x="19" y="95"/>
                      <a:pt x="14" y="98"/>
                      <a:pt x="13" y="105"/>
                    </a:cubicBezTo>
                    <a:cubicBezTo>
                      <a:pt x="10" y="114"/>
                      <a:pt x="7" y="124"/>
                      <a:pt x="5" y="135"/>
                    </a:cubicBezTo>
                    <a:cubicBezTo>
                      <a:pt x="4" y="137"/>
                      <a:pt x="3" y="139"/>
                      <a:pt x="2" y="139"/>
                    </a:cubicBezTo>
                    <a:cubicBezTo>
                      <a:pt x="1" y="140"/>
                      <a:pt x="0" y="138"/>
                      <a:pt x="0" y="135"/>
                    </a:cubicBezTo>
                    <a:cubicBezTo>
                      <a:pt x="0" y="125"/>
                      <a:pt x="2" y="115"/>
                      <a:pt x="7" y="104"/>
                    </a:cubicBezTo>
                    <a:cubicBezTo>
                      <a:pt x="11" y="92"/>
                      <a:pt x="18" y="86"/>
                      <a:pt x="30" y="86"/>
                    </a:cubicBezTo>
                    <a:cubicBezTo>
                      <a:pt x="30" y="85"/>
                      <a:pt x="30" y="83"/>
                      <a:pt x="31" y="80"/>
                    </a:cubicBezTo>
                    <a:cubicBezTo>
                      <a:pt x="29" y="81"/>
                      <a:pt x="28" y="81"/>
                      <a:pt x="26" y="80"/>
                    </a:cubicBezTo>
                    <a:cubicBezTo>
                      <a:pt x="24" y="80"/>
                      <a:pt x="23" y="80"/>
                      <a:pt x="22" y="80"/>
                    </a:cubicBezTo>
                    <a:cubicBezTo>
                      <a:pt x="14" y="81"/>
                      <a:pt x="8" y="76"/>
                      <a:pt x="5" y="66"/>
                    </a:cubicBezTo>
                    <a:cubicBezTo>
                      <a:pt x="2" y="59"/>
                      <a:pt x="0" y="49"/>
                      <a:pt x="0" y="37"/>
                    </a:cubicBezTo>
                    <a:cubicBezTo>
                      <a:pt x="0" y="32"/>
                      <a:pt x="1" y="29"/>
                      <a:pt x="3" y="29"/>
                    </a:cubicBezTo>
                    <a:cubicBezTo>
                      <a:pt x="6" y="31"/>
                      <a:pt x="8" y="35"/>
                      <a:pt x="8" y="39"/>
                    </a:cubicBezTo>
                    <a:cubicBezTo>
                      <a:pt x="7" y="45"/>
                      <a:pt x="7" y="52"/>
                      <a:pt x="9" y="59"/>
                    </a:cubicBezTo>
                    <a:cubicBezTo>
                      <a:pt x="10" y="68"/>
                      <a:pt x="16" y="73"/>
                      <a:pt x="24" y="74"/>
                    </a:cubicBezTo>
                    <a:cubicBezTo>
                      <a:pt x="26" y="74"/>
                      <a:pt x="29" y="74"/>
                      <a:pt x="31" y="74"/>
                    </a:cubicBezTo>
                    <a:cubicBezTo>
                      <a:pt x="31" y="72"/>
                      <a:pt x="31" y="69"/>
                      <a:pt x="31" y="65"/>
                    </a:cubicBezTo>
                    <a:cubicBezTo>
                      <a:pt x="31" y="61"/>
                      <a:pt x="32" y="58"/>
                      <a:pt x="32" y="57"/>
                    </a:cubicBezTo>
                    <a:cubicBezTo>
                      <a:pt x="25" y="56"/>
                      <a:pt x="20" y="53"/>
                      <a:pt x="19" y="48"/>
                    </a:cubicBezTo>
                    <a:cubicBezTo>
                      <a:pt x="15" y="36"/>
                      <a:pt x="14" y="25"/>
                      <a:pt x="16" y="14"/>
                    </a:cubicBezTo>
                    <a:cubicBezTo>
                      <a:pt x="17" y="6"/>
                      <a:pt x="21" y="2"/>
                      <a:pt x="27" y="2"/>
                    </a:cubicBezTo>
                    <a:close/>
                    <a:moveTo>
                      <a:pt x="22" y="19"/>
                    </a:moveTo>
                    <a:cubicBezTo>
                      <a:pt x="22" y="20"/>
                      <a:pt x="22" y="20"/>
                      <a:pt x="22" y="20"/>
                    </a:cubicBezTo>
                    <a:cubicBezTo>
                      <a:pt x="30" y="20"/>
                      <a:pt x="42" y="19"/>
                      <a:pt x="57" y="19"/>
                    </a:cubicBezTo>
                    <a:cubicBezTo>
                      <a:pt x="57" y="18"/>
                      <a:pt x="57" y="17"/>
                      <a:pt x="57" y="16"/>
                    </a:cubicBezTo>
                    <a:cubicBezTo>
                      <a:pt x="56" y="13"/>
                      <a:pt x="54" y="10"/>
                      <a:pt x="50" y="9"/>
                    </a:cubicBezTo>
                    <a:cubicBezTo>
                      <a:pt x="44" y="8"/>
                      <a:pt x="37" y="7"/>
                      <a:pt x="31" y="9"/>
                    </a:cubicBezTo>
                    <a:cubicBezTo>
                      <a:pt x="25" y="11"/>
                      <a:pt x="22" y="14"/>
                      <a:pt x="22" y="19"/>
                    </a:cubicBezTo>
                    <a:close/>
                    <a:moveTo>
                      <a:pt x="22" y="27"/>
                    </a:moveTo>
                    <a:cubicBezTo>
                      <a:pt x="22" y="28"/>
                      <a:pt x="22" y="29"/>
                      <a:pt x="23" y="31"/>
                    </a:cubicBezTo>
                    <a:cubicBezTo>
                      <a:pt x="23" y="32"/>
                      <a:pt x="23" y="33"/>
                      <a:pt x="23" y="34"/>
                    </a:cubicBezTo>
                    <a:cubicBezTo>
                      <a:pt x="57" y="34"/>
                      <a:pt x="57" y="34"/>
                      <a:pt x="57" y="34"/>
                    </a:cubicBezTo>
                    <a:cubicBezTo>
                      <a:pt x="57" y="27"/>
                      <a:pt x="57" y="27"/>
                      <a:pt x="57" y="27"/>
                    </a:cubicBezTo>
                    <a:cubicBezTo>
                      <a:pt x="45" y="26"/>
                      <a:pt x="33" y="26"/>
                      <a:pt x="22" y="27"/>
                    </a:cubicBezTo>
                    <a:close/>
                    <a:moveTo>
                      <a:pt x="35" y="50"/>
                    </a:moveTo>
                    <a:cubicBezTo>
                      <a:pt x="48" y="50"/>
                      <a:pt x="48" y="50"/>
                      <a:pt x="48" y="50"/>
                    </a:cubicBezTo>
                    <a:cubicBezTo>
                      <a:pt x="53" y="50"/>
                      <a:pt x="55" y="47"/>
                      <a:pt x="57" y="42"/>
                    </a:cubicBezTo>
                    <a:cubicBezTo>
                      <a:pt x="57" y="41"/>
                      <a:pt x="57" y="41"/>
                      <a:pt x="57" y="41"/>
                    </a:cubicBezTo>
                    <a:cubicBezTo>
                      <a:pt x="43" y="41"/>
                      <a:pt x="32" y="41"/>
                      <a:pt x="24" y="42"/>
                    </a:cubicBezTo>
                    <a:cubicBezTo>
                      <a:pt x="24" y="43"/>
                      <a:pt x="24" y="43"/>
                      <a:pt x="25" y="44"/>
                    </a:cubicBezTo>
                    <a:cubicBezTo>
                      <a:pt x="27" y="48"/>
                      <a:pt x="30" y="50"/>
                      <a:pt x="35" y="5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28" name="iṣlîḋè"/>
              <p:cNvSpPr/>
              <p:nvPr/>
            </p:nvSpPr>
            <p:spPr bwMode="auto">
              <a:xfrm>
                <a:off x="2604984" y="5259978"/>
                <a:ext cx="177800" cy="255588"/>
              </a:xfrm>
              <a:custGeom>
                <a:avLst/>
                <a:gdLst>
                  <a:gd name="T0" fmla="*/ 5 w 96"/>
                  <a:gd name="T1" fmla="*/ 37 h 138"/>
                  <a:gd name="T2" fmla="*/ 24 w 96"/>
                  <a:gd name="T3" fmla="*/ 49 h 138"/>
                  <a:gd name="T4" fmla="*/ 7 w 96"/>
                  <a:gd name="T5" fmla="*/ 26 h 138"/>
                  <a:gd name="T6" fmla="*/ 0 w 96"/>
                  <a:gd name="T7" fmla="*/ 22 h 138"/>
                  <a:gd name="T8" fmla="*/ 44 w 96"/>
                  <a:gd name="T9" fmla="*/ 19 h 138"/>
                  <a:gd name="T10" fmla="*/ 40 w 96"/>
                  <a:gd name="T11" fmla="*/ 26 h 138"/>
                  <a:gd name="T12" fmla="*/ 29 w 96"/>
                  <a:gd name="T13" fmla="*/ 49 h 138"/>
                  <a:gd name="T14" fmla="*/ 42 w 96"/>
                  <a:gd name="T15" fmla="*/ 39 h 138"/>
                  <a:gd name="T16" fmla="*/ 36 w 96"/>
                  <a:gd name="T17" fmla="*/ 64 h 138"/>
                  <a:gd name="T18" fmla="*/ 44 w 96"/>
                  <a:gd name="T19" fmla="*/ 70 h 138"/>
                  <a:gd name="T20" fmla="*/ 30 w 96"/>
                  <a:gd name="T21" fmla="*/ 78 h 138"/>
                  <a:gd name="T22" fmla="*/ 48 w 96"/>
                  <a:gd name="T23" fmla="*/ 111 h 138"/>
                  <a:gd name="T24" fmla="*/ 42 w 96"/>
                  <a:gd name="T25" fmla="*/ 124 h 138"/>
                  <a:gd name="T26" fmla="*/ 33 w 96"/>
                  <a:gd name="T27" fmla="*/ 93 h 138"/>
                  <a:gd name="T28" fmla="*/ 30 w 96"/>
                  <a:gd name="T29" fmla="*/ 116 h 138"/>
                  <a:gd name="T30" fmla="*/ 24 w 96"/>
                  <a:gd name="T31" fmla="*/ 133 h 138"/>
                  <a:gd name="T32" fmla="*/ 20 w 96"/>
                  <a:gd name="T33" fmla="*/ 93 h 138"/>
                  <a:gd name="T34" fmla="*/ 11 w 96"/>
                  <a:gd name="T35" fmla="*/ 122 h 138"/>
                  <a:gd name="T36" fmla="*/ 8 w 96"/>
                  <a:gd name="T37" fmla="*/ 102 h 138"/>
                  <a:gd name="T38" fmla="*/ 24 w 96"/>
                  <a:gd name="T39" fmla="*/ 81 h 138"/>
                  <a:gd name="T40" fmla="*/ 3 w 96"/>
                  <a:gd name="T41" fmla="*/ 77 h 138"/>
                  <a:gd name="T42" fmla="*/ 14 w 96"/>
                  <a:gd name="T43" fmla="*/ 70 h 138"/>
                  <a:gd name="T44" fmla="*/ 20 w 96"/>
                  <a:gd name="T45" fmla="*/ 65 h 138"/>
                  <a:gd name="T46" fmla="*/ 2 w 96"/>
                  <a:gd name="T47" fmla="*/ 37 h 138"/>
                  <a:gd name="T48" fmla="*/ 40 w 96"/>
                  <a:gd name="T49" fmla="*/ 3 h 138"/>
                  <a:gd name="T50" fmla="*/ 14 w 96"/>
                  <a:gd name="T51" fmla="*/ 11 h 138"/>
                  <a:gd name="T52" fmla="*/ 5 w 96"/>
                  <a:gd name="T53" fmla="*/ 6 h 138"/>
                  <a:gd name="T54" fmla="*/ 33 w 96"/>
                  <a:gd name="T55" fmla="*/ 26 h 138"/>
                  <a:gd name="T56" fmla="*/ 27 w 96"/>
                  <a:gd name="T57" fmla="*/ 45 h 138"/>
                  <a:gd name="T58" fmla="*/ 54 w 96"/>
                  <a:gd name="T59" fmla="*/ 2 h 138"/>
                  <a:gd name="T60" fmla="*/ 58 w 96"/>
                  <a:gd name="T61" fmla="*/ 10 h 138"/>
                  <a:gd name="T62" fmla="*/ 88 w 96"/>
                  <a:gd name="T63" fmla="*/ 22 h 138"/>
                  <a:gd name="T64" fmla="*/ 74 w 96"/>
                  <a:gd name="T65" fmla="*/ 37 h 138"/>
                  <a:gd name="T66" fmla="*/ 62 w 96"/>
                  <a:gd name="T67" fmla="*/ 66 h 138"/>
                  <a:gd name="T68" fmla="*/ 53 w 96"/>
                  <a:gd name="T69" fmla="*/ 136 h 138"/>
                  <a:gd name="T70" fmla="*/ 48 w 96"/>
                  <a:gd name="T71" fmla="*/ 130 h 138"/>
                  <a:gd name="T72" fmla="*/ 55 w 96"/>
                  <a:gd name="T73" fmla="*/ 48 h 138"/>
                  <a:gd name="T74" fmla="*/ 76 w 96"/>
                  <a:gd name="T75" fmla="*/ 31 h 138"/>
                  <a:gd name="T76" fmla="*/ 65 w 96"/>
                  <a:gd name="T77" fmla="*/ 18 h 138"/>
                  <a:gd name="T78" fmla="*/ 52 w 96"/>
                  <a:gd name="T79" fmla="*/ 13 h 138"/>
                  <a:gd name="T80" fmla="*/ 94 w 96"/>
                  <a:gd name="T81" fmla="*/ 74 h 138"/>
                  <a:gd name="T82" fmla="*/ 76 w 96"/>
                  <a:gd name="T83" fmla="*/ 54 h 138"/>
                  <a:gd name="T84" fmla="*/ 83 w 96"/>
                  <a:gd name="T85" fmla="*/ 119 h 138"/>
                  <a:gd name="T86" fmla="*/ 88 w 96"/>
                  <a:gd name="T87" fmla="*/ 133 h 138"/>
                  <a:gd name="T88" fmla="*/ 70 w 96"/>
                  <a:gd name="T89" fmla="*/ 93 h 138"/>
                  <a:gd name="T90" fmla="*/ 70 w 96"/>
                  <a:gd name="T91" fmla="*/ 42 h 138"/>
                  <a:gd name="T92" fmla="*/ 95 w 96"/>
                  <a:gd name="T93" fmla="*/ 70 h 1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96" h="138">
                    <a:moveTo>
                      <a:pt x="2" y="37"/>
                    </a:moveTo>
                    <a:cubicBezTo>
                      <a:pt x="2" y="36"/>
                      <a:pt x="2" y="35"/>
                      <a:pt x="3" y="35"/>
                    </a:cubicBezTo>
                    <a:cubicBezTo>
                      <a:pt x="4" y="35"/>
                      <a:pt x="5" y="36"/>
                      <a:pt x="5" y="37"/>
                    </a:cubicBezTo>
                    <a:cubicBezTo>
                      <a:pt x="9" y="49"/>
                      <a:pt x="14" y="56"/>
                      <a:pt x="21" y="59"/>
                    </a:cubicBezTo>
                    <a:cubicBezTo>
                      <a:pt x="21" y="59"/>
                      <a:pt x="22" y="60"/>
                      <a:pt x="24" y="60"/>
                    </a:cubicBezTo>
                    <a:cubicBezTo>
                      <a:pt x="24" y="56"/>
                      <a:pt x="24" y="53"/>
                      <a:pt x="24" y="49"/>
                    </a:cubicBezTo>
                    <a:cubicBezTo>
                      <a:pt x="21" y="48"/>
                      <a:pt x="18" y="46"/>
                      <a:pt x="16" y="42"/>
                    </a:cubicBezTo>
                    <a:cubicBezTo>
                      <a:pt x="13" y="38"/>
                      <a:pt x="12" y="33"/>
                      <a:pt x="12" y="26"/>
                    </a:cubicBezTo>
                    <a:cubicBezTo>
                      <a:pt x="9" y="26"/>
                      <a:pt x="8" y="26"/>
                      <a:pt x="7" y="26"/>
                    </a:cubicBezTo>
                    <a:cubicBezTo>
                      <a:pt x="4" y="27"/>
                      <a:pt x="2" y="27"/>
                      <a:pt x="1" y="25"/>
                    </a:cubicBezTo>
                    <a:cubicBezTo>
                      <a:pt x="0" y="24"/>
                      <a:pt x="0" y="23"/>
                      <a:pt x="0" y="22"/>
                    </a:cubicBezTo>
                    <a:cubicBezTo>
                      <a:pt x="0" y="22"/>
                      <a:pt x="0" y="22"/>
                      <a:pt x="0" y="22"/>
                    </a:cubicBezTo>
                    <a:cubicBezTo>
                      <a:pt x="1" y="19"/>
                      <a:pt x="2" y="18"/>
                      <a:pt x="4" y="19"/>
                    </a:cubicBezTo>
                    <a:cubicBezTo>
                      <a:pt x="6" y="19"/>
                      <a:pt x="8" y="19"/>
                      <a:pt x="11" y="19"/>
                    </a:cubicBezTo>
                    <a:cubicBezTo>
                      <a:pt x="44" y="19"/>
                      <a:pt x="44" y="19"/>
                      <a:pt x="44" y="19"/>
                    </a:cubicBezTo>
                    <a:cubicBezTo>
                      <a:pt x="46" y="19"/>
                      <a:pt x="48" y="20"/>
                      <a:pt x="48" y="23"/>
                    </a:cubicBezTo>
                    <a:cubicBezTo>
                      <a:pt x="47" y="25"/>
                      <a:pt x="45" y="26"/>
                      <a:pt x="42" y="26"/>
                    </a:cubicBezTo>
                    <a:cubicBezTo>
                      <a:pt x="42" y="26"/>
                      <a:pt x="41" y="26"/>
                      <a:pt x="40" y="26"/>
                    </a:cubicBezTo>
                    <a:cubicBezTo>
                      <a:pt x="40" y="26"/>
                      <a:pt x="40" y="26"/>
                      <a:pt x="40" y="26"/>
                    </a:cubicBezTo>
                    <a:cubicBezTo>
                      <a:pt x="39" y="34"/>
                      <a:pt x="38" y="39"/>
                      <a:pt x="37" y="42"/>
                    </a:cubicBezTo>
                    <a:cubicBezTo>
                      <a:pt x="34" y="46"/>
                      <a:pt x="32" y="49"/>
                      <a:pt x="29" y="49"/>
                    </a:cubicBezTo>
                    <a:cubicBezTo>
                      <a:pt x="30" y="53"/>
                      <a:pt x="30" y="56"/>
                      <a:pt x="30" y="60"/>
                    </a:cubicBezTo>
                    <a:cubicBezTo>
                      <a:pt x="31" y="60"/>
                      <a:pt x="32" y="59"/>
                      <a:pt x="33" y="58"/>
                    </a:cubicBezTo>
                    <a:cubicBezTo>
                      <a:pt x="39" y="56"/>
                      <a:pt x="42" y="49"/>
                      <a:pt x="42" y="39"/>
                    </a:cubicBezTo>
                    <a:cubicBezTo>
                      <a:pt x="43" y="37"/>
                      <a:pt x="44" y="36"/>
                      <a:pt x="46" y="36"/>
                    </a:cubicBezTo>
                    <a:cubicBezTo>
                      <a:pt x="47" y="36"/>
                      <a:pt x="48" y="37"/>
                      <a:pt x="48" y="39"/>
                    </a:cubicBezTo>
                    <a:cubicBezTo>
                      <a:pt x="49" y="49"/>
                      <a:pt x="45" y="57"/>
                      <a:pt x="36" y="64"/>
                    </a:cubicBezTo>
                    <a:cubicBezTo>
                      <a:pt x="34" y="65"/>
                      <a:pt x="32" y="66"/>
                      <a:pt x="30" y="66"/>
                    </a:cubicBezTo>
                    <a:cubicBezTo>
                      <a:pt x="30" y="70"/>
                      <a:pt x="30" y="70"/>
                      <a:pt x="30" y="70"/>
                    </a:cubicBezTo>
                    <a:cubicBezTo>
                      <a:pt x="44" y="70"/>
                      <a:pt x="44" y="70"/>
                      <a:pt x="44" y="70"/>
                    </a:cubicBezTo>
                    <a:cubicBezTo>
                      <a:pt x="47" y="70"/>
                      <a:pt x="49" y="71"/>
                      <a:pt x="49" y="73"/>
                    </a:cubicBezTo>
                    <a:cubicBezTo>
                      <a:pt x="49" y="76"/>
                      <a:pt x="47" y="77"/>
                      <a:pt x="43" y="77"/>
                    </a:cubicBezTo>
                    <a:cubicBezTo>
                      <a:pt x="37" y="77"/>
                      <a:pt x="33" y="77"/>
                      <a:pt x="30" y="78"/>
                    </a:cubicBezTo>
                    <a:cubicBezTo>
                      <a:pt x="30" y="80"/>
                      <a:pt x="30" y="82"/>
                      <a:pt x="30" y="84"/>
                    </a:cubicBezTo>
                    <a:cubicBezTo>
                      <a:pt x="34" y="84"/>
                      <a:pt x="37" y="87"/>
                      <a:pt x="40" y="91"/>
                    </a:cubicBezTo>
                    <a:cubicBezTo>
                      <a:pt x="44" y="96"/>
                      <a:pt x="46" y="103"/>
                      <a:pt x="48" y="111"/>
                    </a:cubicBezTo>
                    <a:cubicBezTo>
                      <a:pt x="49" y="116"/>
                      <a:pt x="49" y="120"/>
                      <a:pt x="48" y="124"/>
                    </a:cubicBezTo>
                    <a:cubicBezTo>
                      <a:pt x="47" y="125"/>
                      <a:pt x="46" y="125"/>
                      <a:pt x="45" y="125"/>
                    </a:cubicBezTo>
                    <a:cubicBezTo>
                      <a:pt x="44" y="125"/>
                      <a:pt x="43" y="125"/>
                      <a:pt x="42" y="124"/>
                    </a:cubicBezTo>
                    <a:cubicBezTo>
                      <a:pt x="42" y="123"/>
                      <a:pt x="42" y="121"/>
                      <a:pt x="42" y="118"/>
                    </a:cubicBezTo>
                    <a:cubicBezTo>
                      <a:pt x="41" y="116"/>
                      <a:pt x="41" y="114"/>
                      <a:pt x="41" y="113"/>
                    </a:cubicBezTo>
                    <a:cubicBezTo>
                      <a:pt x="40" y="104"/>
                      <a:pt x="37" y="97"/>
                      <a:pt x="33" y="93"/>
                    </a:cubicBezTo>
                    <a:cubicBezTo>
                      <a:pt x="33" y="92"/>
                      <a:pt x="32" y="91"/>
                      <a:pt x="30" y="91"/>
                    </a:cubicBezTo>
                    <a:cubicBezTo>
                      <a:pt x="31" y="97"/>
                      <a:pt x="31" y="101"/>
                      <a:pt x="31" y="105"/>
                    </a:cubicBezTo>
                    <a:cubicBezTo>
                      <a:pt x="31" y="107"/>
                      <a:pt x="31" y="111"/>
                      <a:pt x="30" y="116"/>
                    </a:cubicBezTo>
                    <a:cubicBezTo>
                      <a:pt x="30" y="124"/>
                      <a:pt x="30" y="129"/>
                      <a:pt x="29" y="133"/>
                    </a:cubicBezTo>
                    <a:cubicBezTo>
                      <a:pt x="29" y="136"/>
                      <a:pt x="28" y="137"/>
                      <a:pt x="27" y="137"/>
                    </a:cubicBezTo>
                    <a:cubicBezTo>
                      <a:pt x="26" y="137"/>
                      <a:pt x="25" y="136"/>
                      <a:pt x="24" y="133"/>
                    </a:cubicBezTo>
                    <a:cubicBezTo>
                      <a:pt x="24" y="120"/>
                      <a:pt x="24" y="111"/>
                      <a:pt x="24" y="105"/>
                    </a:cubicBezTo>
                    <a:cubicBezTo>
                      <a:pt x="24" y="100"/>
                      <a:pt x="24" y="95"/>
                      <a:pt x="24" y="90"/>
                    </a:cubicBezTo>
                    <a:cubicBezTo>
                      <a:pt x="22" y="91"/>
                      <a:pt x="21" y="92"/>
                      <a:pt x="20" y="93"/>
                    </a:cubicBezTo>
                    <a:cubicBezTo>
                      <a:pt x="18" y="94"/>
                      <a:pt x="16" y="98"/>
                      <a:pt x="14" y="102"/>
                    </a:cubicBezTo>
                    <a:cubicBezTo>
                      <a:pt x="13" y="104"/>
                      <a:pt x="13" y="104"/>
                      <a:pt x="13" y="104"/>
                    </a:cubicBezTo>
                    <a:cubicBezTo>
                      <a:pt x="12" y="108"/>
                      <a:pt x="11" y="114"/>
                      <a:pt x="11" y="122"/>
                    </a:cubicBezTo>
                    <a:cubicBezTo>
                      <a:pt x="10" y="124"/>
                      <a:pt x="9" y="125"/>
                      <a:pt x="7" y="125"/>
                    </a:cubicBezTo>
                    <a:cubicBezTo>
                      <a:pt x="6" y="125"/>
                      <a:pt x="5" y="124"/>
                      <a:pt x="5" y="122"/>
                    </a:cubicBezTo>
                    <a:cubicBezTo>
                      <a:pt x="6" y="115"/>
                      <a:pt x="7" y="108"/>
                      <a:pt x="8" y="102"/>
                    </a:cubicBezTo>
                    <a:cubicBezTo>
                      <a:pt x="9" y="97"/>
                      <a:pt x="11" y="92"/>
                      <a:pt x="14" y="89"/>
                    </a:cubicBezTo>
                    <a:cubicBezTo>
                      <a:pt x="17" y="86"/>
                      <a:pt x="20" y="84"/>
                      <a:pt x="24" y="84"/>
                    </a:cubicBezTo>
                    <a:cubicBezTo>
                      <a:pt x="24" y="81"/>
                      <a:pt x="24" y="81"/>
                      <a:pt x="24" y="81"/>
                    </a:cubicBezTo>
                    <a:cubicBezTo>
                      <a:pt x="24" y="80"/>
                      <a:pt x="24" y="79"/>
                      <a:pt x="24" y="78"/>
                    </a:cubicBezTo>
                    <a:cubicBezTo>
                      <a:pt x="14" y="78"/>
                      <a:pt x="9" y="78"/>
                      <a:pt x="9" y="78"/>
                    </a:cubicBezTo>
                    <a:cubicBezTo>
                      <a:pt x="6" y="79"/>
                      <a:pt x="4" y="79"/>
                      <a:pt x="3" y="77"/>
                    </a:cubicBezTo>
                    <a:cubicBezTo>
                      <a:pt x="2" y="76"/>
                      <a:pt x="2" y="74"/>
                      <a:pt x="3" y="72"/>
                    </a:cubicBezTo>
                    <a:cubicBezTo>
                      <a:pt x="3" y="70"/>
                      <a:pt x="4" y="70"/>
                      <a:pt x="7" y="70"/>
                    </a:cubicBezTo>
                    <a:cubicBezTo>
                      <a:pt x="8" y="70"/>
                      <a:pt x="10" y="70"/>
                      <a:pt x="14" y="70"/>
                    </a:cubicBezTo>
                    <a:cubicBezTo>
                      <a:pt x="24" y="70"/>
                      <a:pt x="24" y="70"/>
                      <a:pt x="24" y="70"/>
                    </a:cubicBezTo>
                    <a:cubicBezTo>
                      <a:pt x="24" y="66"/>
                      <a:pt x="24" y="66"/>
                      <a:pt x="24" y="66"/>
                    </a:cubicBezTo>
                    <a:cubicBezTo>
                      <a:pt x="22" y="66"/>
                      <a:pt x="21" y="66"/>
                      <a:pt x="20" y="65"/>
                    </a:cubicBezTo>
                    <a:cubicBezTo>
                      <a:pt x="12" y="62"/>
                      <a:pt x="6" y="56"/>
                      <a:pt x="2" y="46"/>
                    </a:cubicBezTo>
                    <a:cubicBezTo>
                      <a:pt x="2" y="46"/>
                      <a:pt x="2" y="43"/>
                      <a:pt x="2" y="40"/>
                    </a:cubicBezTo>
                    <a:cubicBezTo>
                      <a:pt x="2" y="39"/>
                      <a:pt x="2" y="38"/>
                      <a:pt x="2" y="37"/>
                    </a:cubicBezTo>
                    <a:close/>
                    <a:moveTo>
                      <a:pt x="9" y="3"/>
                    </a:moveTo>
                    <a:cubicBezTo>
                      <a:pt x="11" y="3"/>
                      <a:pt x="15" y="3"/>
                      <a:pt x="19" y="3"/>
                    </a:cubicBezTo>
                    <a:cubicBezTo>
                      <a:pt x="40" y="3"/>
                      <a:pt x="40" y="3"/>
                      <a:pt x="40" y="3"/>
                    </a:cubicBezTo>
                    <a:cubicBezTo>
                      <a:pt x="43" y="3"/>
                      <a:pt x="44" y="5"/>
                      <a:pt x="44" y="7"/>
                    </a:cubicBezTo>
                    <a:cubicBezTo>
                      <a:pt x="44" y="9"/>
                      <a:pt x="42" y="10"/>
                      <a:pt x="39" y="10"/>
                    </a:cubicBezTo>
                    <a:cubicBezTo>
                      <a:pt x="34" y="10"/>
                      <a:pt x="25" y="10"/>
                      <a:pt x="14" y="11"/>
                    </a:cubicBezTo>
                    <a:cubicBezTo>
                      <a:pt x="13" y="11"/>
                      <a:pt x="12" y="11"/>
                      <a:pt x="11" y="11"/>
                    </a:cubicBezTo>
                    <a:cubicBezTo>
                      <a:pt x="7" y="11"/>
                      <a:pt x="5" y="11"/>
                      <a:pt x="5" y="9"/>
                    </a:cubicBezTo>
                    <a:cubicBezTo>
                      <a:pt x="5" y="9"/>
                      <a:pt x="4" y="8"/>
                      <a:pt x="5" y="6"/>
                    </a:cubicBezTo>
                    <a:cubicBezTo>
                      <a:pt x="5" y="5"/>
                      <a:pt x="5" y="5"/>
                      <a:pt x="5" y="5"/>
                    </a:cubicBezTo>
                    <a:cubicBezTo>
                      <a:pt x="5" y="3"/>
                      <a:pt x="6" y="3"/>
                      <a:pt x="9" y="3"/>
                    </a:cubicBezTo>
                    <a:close/>
                    <a:moveTo>
                      <a:pt x="33" y="26"/>
                    </a:moveTo>
                    <a:cubicBezTo>
                      <a:pt x="28" y="26"/>
                      <a:pt x="23" y="26"/>
                      <a:pt x="17" y="26"/>
                    </a:cubicBezTo>
                    <a:cubicBezTo>
                      <a:pt x="18" y="32"/>
                      <a:pt x="20" y="38"/>
                      <a:pt x="24" y="42"/>
                    </a:cubicBezTo>
                    <a:cubicBezTo>
                      <a:pt x="25" y="44"/>
                      <a:pt x="26" y="45"/>
                      <a:pt x="27" y="45"/>
                    </a:cubicBezTo>
                    <a:cubicBezTo>
                      <a:pt x="28" y="45"/>
                      <a:pt x="29" y="44"/>
                      <a:pt x="29" y="42"/>
                    </a:cubicBezTo>
                    <a:cubicBezTo>
                      <a:pt x="32" y="38"/>
                      <a:pt x="33" y="33"/>
                      <a:pt x="33" y="26"/>
                    </a:cubicBezTo>
                    <a:close/>
                    <a:moveTo>
                      <a:pt x="54" y="2"/>
                    </a:moveTo>
                    <a:cubicBezTo>
                      <a:pt x="55" y="0"/>
                      <a:pt x="57" y="0"/>
                      <a:pt x="58" y="1"/>
                    </a:cubicBezTo>
                    <a:cubicBezTo>
                      <a:pt x="59" y="2"/>
                      <a:pt x="60" y="4"/>
                      <a:pt x="59" y="6"/>
                    </a:cubicBezTo>
                    <a:cubicBezTo>
                      <a:pt x="57" y="8"/>
                      <a:pt x="57" y="9"/>
                      <a:pt x="58" y="10"/>
                    </a:cubicBezTo>
                    <a:cubicBezTo>
                      <a:pt x="59" y="11"/>
                      <a:pt x="61" y="12"/>
                      <a:pt x="63" y="11"/>
                    </a:cubicBezTo>
                    <a:cubicBezTo>
                      <a:pt x="67" y="9"/>
                      <a:pt x="73" y="9"/>
                      <a:pt x="80" y="11"/>
                    </a:cubicBezTo>
                    <a:cubicBezTo>
                      <a:pt x="84" y="13"/>
                      <a:pt x="87" y="16"/>
                      <a:pt x="88" y="22"/>
                    </a:cubicBezTo>
                    <a:cubicBezTo>
                      <a:pt x="89" y="27"/>
                      <a:pt x="88" y="32"/>
                      <a:pt x="85" y="35"/>
                    </a:cubicBezTo>
                    <a:cubicBezTo>
                      <a:pt x="84" y="38"/>
                      <a:pt x="81" y="39"/>
                      <a:pt x="75" y="37"/>
                    </a:cubicBezTo>
                    <a:cubicBezTo>
                      <a:pt x="75" y="37"/>
                      <a:pt x="74" y="37"/>
                      <a:pt x="74" y="37"/>
                    </a:cubicBezTo>
                    <a:cubicBezTo>
                      <a:pt x="69" y="37"/>
                      <a:pt x="66" y="37"/>
                      <a:pt x="63" y="38"/>
                    </a:cubicBezTo>
                    <a:cubicBezTo>
                      <a:pt x="62" y="38"/>
                      <a:pt x="61" y="40"/>
                      <a:pt x="61" y="43"/>
                    </a:cubicBezTo>
                    <a:cubicBezTo>
                      <a:pt x="62" y="48"/>
                      <a:pt x="62" y="56"/>
                      <a:pt x="62" y="66"/>
                    </a:cubicBezTo>
                    <a:cubicBezTo>
                      <a:pt x="62" y="70"/>
                      <a:pt x="61" y="76"/>
                      <a:pt x="61" y="84"/>
                    </a:cubicBezTo>
                    <a:cubicBezTo>
                      <a:pt x="59" y="99"/>
                      <a:pt x="58" y="110"/>
                      <a:pt x="57" y="116"/>
                    </a:cubicBezTo>
                    <a:cubicBezTo>
                      <a:pt x="57" y="122"/>
                      <a:pt x="55" y="128"/>
                      <a:pt x="53" y="136"/>
                    </a:cubicBezTo>
                    <a:cubicBezTo>
                      <a:pt x="52" y="137"/>
                      <a:pt x="51" y="138"/>
                      <a:pt x="50" y="138"/>
                    </a:cubicBezTo>
                    <a:cubicBezTo>
                      <a:pt x="48" y="138"/>
                      <a:pt x="48" y="137"/>
                      <a:pt x="48" y="136"/>
                    </a:cubicBezTo>
                    <a:cubicBezTo>
                      <a:pt x="48" y="135"/>
                      <a:pt x="48" y="133"/>
                      <a:pt x="48" y="130"/>
                    </a:cubicBezTo>
                    <a:cubicBezTo>
                      <a:pt x="49" y="127"/>
                      <a:pt x="49" y="126"/>
                      <a:pt x="49" y="125"/>
                    </a:cubicBezTo>
                    <a:cubicBezTo>
                      <a:pt x="53" y="104"/>
                      <a:pt x="55" y="85"/>
                      <a:pt x="55" y="68"/>
                    </a:cubicBezTo>
                    <a:cubicBezTo>
                      <a:pt x="56" y="60"/>
                      <a:pt x="56" y="54"/>
                      <a:pt x="55" y="48"/>
                    </a:cubicBezTo>
                    <a:cubicBezTo>
                      <a:pt x="54" y="45"/>
                      <a:pt x="53" y="42"/>
                      <a:pt x="52" y="40"/>
                    </a:cubicBezTo>
                    <a:cubicBezTo>
                      <a:pt x="50" y="38"/>
                      <a:pt x="51" y="36"/>
                      <a:pt x="54" y="34"/>
                    </a:cubicBezTo>
                    <a:cubicBezTo>
                      <a:pt x="58" y="30"/>
                      <a:pt x="66" y="29"/>
                      <a:pt x="76" y="31"/>
                    </a:cubicBezTo>
                    <a:cubicBezTo>
                      <a:pt x="81" y="32"/>
                      <a:pt x="83" y="30"/>
                      <a:pt x="83" y="25"/>
                    </a:cubicBezTo>
                    <a:cubicBezTo>
                      <a:pt x="83" y="21"/>
                      <a:pt x="81" y="18"/>
                      <a:pt x="77" y="18"/>
                    </a:cubicBezTo>
                    <a:cubicBezTo>
                      <a:pt x="70" y="17"/>
                      <a:pt x="66" y="17"/>
                      <a:pt x="65" y="18"/>
                    </a:cubicBezTo>
                    <a:cubicBezTo>
                      <a:pt x="63" y="19"/>
                      <a:pt x="60" y="19"/>
                      <a:pt x="57" y="19"/>
                    </a:cubicBezTo>
                    <a:cubicBezTo>
                      <a:pt x="57" y="18"/>
                      <a:pt x="55" y="17"/>
                      <a:pt x="53" y="15"/>
                    </a:cubicBezTo>
                    <a:cubicBezTo>
                      <a:pt x="53" y="14"/>
                      <a:pt x="52" y="14"/>
                      <a:pt x="52" y="13"/>
                    </a:cubicBezTo>
                    <a:cubicBezTo>
                      <a:pt x="50" y="10"/>
                      <a:pt x="51" y="6"/>
                      <a:pt x="54" y="2"/>
                    </a:cubicBezTo>
                    <a:close/>
                    <a:moveTo>
                      <a:pt x="95" y="70"/>
                    </a:moveTo>
                    <a:cubicBezTo>
                      <a:pt x="96" y="72"/>
                      <a:pt x="95" y="73"/>
                      <a:pt x="94" y="74"/>
                    </a:cubicBezTo>
                    <a:cubicBezTo>
                      <a:pt x="92" y="74"/>
                      <a:pt x="91" y="74"/>
                      <a:pt x="90" y="72"/>
                    </a:cubicBezTo>
                    <a:cubicBezTo>
                      <a:pt x="88" y="67"/>
                      <a:pt x="84" y="62"/>
                      <a:pt x="78" y="56"/>
                    </a:cubicBezTo>
                    <a:cubicBezTo>
                      <a:pt x="77" y="55"/>
                      <a:pt x="76" y="54"/>
                      <a:pt x="76" y="54"/>
                    </a:cubicBezTo>
                    <a:cubicBezTo>
                      <a:pt x="75" y="56"/>
                      <a:pt x="75" y="56"/>
                      <a:pt x="75" y="56"/>
                    </a:cubicBezTo>
                    <a:cubicBezTo>
                      <a:pt x="75" y="61"/>
                      <a:pt x="75" y="73"/>
                      <a:pt x="77" y="93"/>
                    </a:cubicBezTo>
                    <a:cubicBezTo>
                      <a:pt x="78" y="99"/>
                      <a:pt x="80" y="107"/>
                      <a:pt x="83" y="119"/>
                    </a:cubicBezTo>
                    <a:cubicBezTo>
                      <a:pt x="84" y="122"/>
                      <a:pt x="85" y="124"/>
                      <a:pt x="85" y="124"/>
                    </a:cubicBezTo>
                    <a:cubicBezTo>
                      <a:pt x="86" y="126"/>
                      <a:pt x="86" y="128"/>
                      <a:pt x="87" y="131"/>
                    </a:cubicBezTo>
                    <a:cubicBezTo>
                      <a:pt x="88" y="132"/>
                      <a:pt x="88" y="133"/>
                      <a:pt x="88" y="133"/>
                    </a:cubicBezTo>
                    <a:cubicBezTo>
                      <a:pt x="88" y="135"/>
                      <a:pt x="88" y="136"/>
                      <a:pt x="86" y="136"/>
                    </a:cubicBezTo>
                    <a:cubicBezTo>
                      <a:pt x="84" y="136"/>
                      <a:pt x="83" y="135"/>
                      <a:pt x="82" y="133"/>
                    </a:cubicBezTo>
                    <a:cubicBezTo>
                      <a:pt x="77" y="123"/>
                      <a:pt x="73" y="110"/>
                      <a:pt x="70" y="93"/>
                    </a:cubicBezTo>
                    <a:cubicBezTo>
                      <a:pt x="69" y="79"/>
                      <a:pt x="68" y="68"/>
                      <a:pt x="68" y="58"/>
                    </a:cubicBezTo>
                    <a:cubicBezTo>
                      <a:pt x="68" y="51"/>
                      <a:pt x="68" y="46"/>
                      <a:pt x="68" y="44"/>
                    </a:cubicBezTo>
                    <a:cubicBezTo>
                      <a:pt x="68" y="43"/>
                      <a:pt x="69" y="42"/>
                      <a:pt x="70" y="42"/>
                    </a:cubicBezTo>
                    <a:cubicBezTo>
                      <a:pt x="71" y="41"/>
                      <a:pt x="71" y="41"/>
                      <a:pt x="72" y="42"/>
                    </a:cubicBezTo>
                    <a:cubicBezTo>
                      <a:pt x="76" y="45"/>
                      <a:pt x="78" y="48"/>
                      <a:pt x="80" y="49"/>
                    </a:cubicBezTo>
                    <a:cubicBezTo>
                      <a:pt x="86" y="54"/>
                      <a:pt x="91" y="61"/>
                      <a:pt x="95" y="7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29" name="íṣ1ïḑe"/>
              <p:cNvSpPr/>
              <p:nvPr/>
            </p:nvSpPr>
            <p:spPr bwMode="auto">
              <a:xfrm>
                <a:off x="1750909" y="4905965"/>
                <a:ext cx="93663" cy="87313"/>
              </a:xfrm>
              <a:custGeom>
                <a:avLst/>
                <a:gdLst>
                  <a:gd name="T0" fmla="*/ 51 w 51"/>
                  <a:gd name="T1" fmla="*/ 17 h 47"/>
                  <a:gd name="T2" fmla="*/ 46 w 51"/>
                  <a:gd name="T3" fmla="*/ 25 h 47"/>
                  <a:gd name="T4" fmla="*/ 26 w 51"/>
                  <a:gd name="T5" fmla="*/ 13 h 47"/>
                  <a:gd name="T6" fmla="*/ 20 w 51"/>
                  <a:gd name="T7" fmla="*/ 9 h 47"/>
                  <a:gd name="T8" fmla="*/ 14 w 51"/>
                  <a:gd name="T9" fmla="*/ 9 h 47"/>
                  <a:gd name="T10" fmla="*/ 10 w 51"/>
                  <a:gd name="T11" fmla="*/ 13 h 47"/>
                  <a:gd name="T12" fmla="*/ 8 w 51"/>
                  <a:gd name="T13" fmla="*/ 19 h 47"/>
                  <a:gd name="T14" fmla="*/ 10 w 51"/>
                  <a:gd name="T15" fmla="*/ 23 h 47"/>
                  <a:gd name="T16" fmla="*/ 17 w 51"/>
                  <a:gd name="T17" fmla="*/ 27 h 47"/>
                  <a:gd name="T18" fmla="*/ 37 w 51"/>
                  <a:gd name="T19" fmla="*/ 40 h 47"/>
                  <a:gd name="T20" fmla="*/ 33 w 51"/>
                  <a:gd name="T21" fmla="*/ 47 h 47"/>
                  <a:gd name="T22" fmla="*/ 13 w 51"/>
                  <a:gd name="T23" fmla="*/ 35 h 47"/>
                  <a:gd name="T24" fmla="*/ 4 w 51"/>
                  <a:gd name="T25" fmla="*/ 29 h 47"/>
                  <a:gd name="T26" fmla="*/ 1 w 51"/>
                  <a:gd name="T27" fmla="*/ 24 h 47"/>
                  <a:gd name="T28" fmla="*/ 0 w 51"/>
                  <a:gd name="T29" fmla="*/ 18 h 47"/>
                  <a:gd name="T30" fmla="*/ 3 w 51"/>
                  <a:gd name="T31" fmla="*/ 10 h 47"/>
                  <a:gd name="T32" fmla="*/ 10 w 51"/>
                  <a:gd name="T33" fmla="*/ 2 h 47"/>
                  <a:gd name="T34" fmla="*/ 15 w 51"/>
                  <a:gd name="T35" fmla="*/ 0 h 47"/>
                  <a:gd name="T36" fmla="*/ 21 w 51"/>
                  <a:gd name="T37" fmla="*/ 0 h 47"/>
                  <a:gd name="T38" fmla="*/ 31 w 51"/>
                  <a:gd name="T39" fmla="*/ 5 h 47"/>
                  <a:gd name="T40" fmla="*/ 51 w 51"/>
                  <a:gd name="T41" fmla="*/ 17 h 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51" h="47">
                    <a:moveTo>
                      <a:pt x="51" y="17"/>
                    </a:moveTo>
                    <a:cubicBezTo>
                      <a:pt x="46" y="25"/>
                      <a:pt x="46" y="25"/>
                      <a:pt x="46" y="25"/>
                    </a:cubicBezTo>
                    <a:cubicBezTo>
                      <a:pt x="26" y="13"/>
                      <a:pt x="26" y="13"/>
                      <a:pt x="26" y="13"/>
                    </a:cubicBezTo>
                    <a:cubicBezTo>
                      <a:pt x="23" y="11"/>
                      <a:pt x="21" y="10"/>
                      <a:pt x="20" y="9"/>
                    </a:cubicBezTo>
                    <a:cubicBezTo>
                      <a:pt x="18" y="9"/>
                      <a:pt x="16" y="9"/>
                      <a:pt x="14" y="9"/>
                    </a:cubicBezTo>
                    <a:cubicBezTo>
                      <a:pt x="13" y="10"/>
                      <a:pt x="11" y="11"/>
                      <a:pt x="10" y="13"/>
                    </a:cubicBezTo>
                    <a:cubicBezTo>
                      <a:pt x="9" y="16"/>
                      <a:pt x="8" y="17"/>
                      <a:pt x="8" y="19"/>
                    </a:cubicBezTo>
                    <a:cubicBezTo>
                      <a:pt x="9" y="21"/>
                      <a:pt x="9" y="22"/>
                      <a:pt x="10" y="23"/>
                    </a:cubicBezTo>
                    <a:cubicBezTo>
                      <a:pt x="12" y="24"/>
                      <a:pt x="14" y="25"/>
                      <a:pt x="17" y="27"/>
                    </a:cubicBezTo>
                    <a:cubicBezTo>
                      <a:pt x="37" y="40"/>
                      <a:pt x="37" y="40"/>
                      <a:pt x="37" y="40"/>
                    </a:cubicBezTo>
                    <a:cubicBezTo>
                      <a:pt x="33" y="47"/>
                      <a:pt x="33" y="47"/>
                      <a:pt x="33" y="47"/>
                    </a:cubicBezTo>
                    <a:cubicBezTo>
                      <a:pt x="13" y="35"/>
                      <a:pt x="13" y="35"/>
                      <a:pt x="13" y="35"/>
                    </a:cubicBezTo>
                    <a:cubicBezTo>
                      <a:pt x="9" y="33"/>
                      <a:pt x="6" y="31"/>
                      <a:pt x="4" y="29"/>
                    </a:cubicBezTo>
                    <a:cubicBezTo>
                      <a:pt x="2" y="28"/>
                      <a:pt x="1" y="26"/>
                      <a:pt x="1" y="24"/>
                    </a:cubicBezTo>
                    <a:cubicBezTo>
                      <a:pt x="0" y="22"/>
                      <a:pt x="0" y="20"/>
                      <a:pt x="0" y="18"/>
                    </a:cubicBezTo>
                    <a:cubicBezTo>
                      <a:pt x="0" y="15"/>
                      <a:pt x="2" y="13"/>
                      <a:pt x="3" y="10"/>
                    </a:cubicBezTo>
                    <a:cubicBezTo>
                      <a:pt x="6" y="6"/>
                      <a:pt x="8" y="4"/>
                      <a:pt x="10" y="2"/>
                    </a:cubicBezTo>
                    <a:cubicBezTo>
                      <a:pt x="11" y="1"/>
                      <a:pt x="13" y="0"/>
                      <a:pt x="15" y="0"/>
                    </a:cubicBezTo>
                    <a:cubicBezTo>
                      <a:pt x="17" y="0"/>
                      <a:pt x="19" y="0"/>
                      <a:pt x="21" y="0"/>
                    </a:cubicBezTo>
                    <a:cubicBezTo>
                      <a:pt x="23" y="1"/>
                      <a:pt x="27" y="3"/>
                      <a:pt x="31" y="5"/>
                    </a:cubicBezTo>
                    <a:lnTo>
                      <a:pt x="51" y="1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30" name="íṧḷîde"/>
              <p:cNvSpPr/>
              <p:nvPr/>
            </p:nvSpPr>
            <p:spPr bwMode="auto">
              <a:xfrm>
                <a:off x="1704872" y="4971053"/>
                <a:ext cx="100013" cy="92075"/>
              </a:xfrm>
              <a:custGeom>
                <a:avLst/>
                <a:gdLst>
                  <a:gd name="T0" fmla="*/ 17 w 63"/>
                  <a:gd name="T1" fmla="*/ 0 h 58"/>
                  <a:gd name="T2" fmla="*/ 63 w 63"/>
                  <a:gd name="T3" fmla="*/ 21 h 58"/>
                  <a:gd name="T4" fmla="*/ 59 w 63"/>
                  <a:gd name="T5" fmla="*/ 30 h 58"/>
                  <a:gd name="T6" fmla="*/ 19 w 63"/>
                  <a:gd name="T7" fmla="*/ 35 h 58"/>
                  <a:gd name="T8" fmla="*/ 50 w 63"/>
                  <a:gd name="T9" fmla="*/ 50 h 58"/>
                  <a:gd name="T10" fmla="*/ 46 w 63"/>
                  <a:gd name="T11" fmla="*/ 58 h 58"/>
                  <a:gd name="T12" fmla="*/ 0 w 63"/>
                  <a:gd name="T13" fmla="*/ 37 h 58"/>
                  <a:gd name="T14" fmla="*/ 4 w 63"/>
                  <a:gd name="T15" fmla="*/ 26 h 58"/>
                  <a:gd name="T16" fmla="*/ 43 w 63"/>
                  <a:gd name="T17" fmla="*/ 22 h 58"/>
                  <a:gd name="T18" fmla="*/ 12 w 63"/>
                  <a:gd name="T19" fmla="*/ 8 h 58"/>
                  <a:gd name="T20" fmla="*/ 17 w 63"/>
                  <a:gd name="T21" fmla="*/ 0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63" h="58">
                    <a:moveTo>
                      <a:pt x="17" y="0"/>
                    </a:moveTo>
                    <a:lnTo>
                      <a:pt x="63" y="21"/>
                    </a:lnTo>
                    <a:lnTo>
                      <a:pt x="59" y="30"/>
                    </a:lnTo>
                    <a:lnTo>
                      <a:pt x="19" y="35"/>
                    </a:lnTo>
                    <a:lnTo>
                      <a:pt x="50" y="50"/>
                    </a:lnTo>
                    <a:lnTo>
                      <a:pt x="46" y="58"/>
                    </a:lnTo>
                    <a:lnTo>
                      <a:pt x="0" y="37"/>
                    </a:lnTo>
                    <a:lnTo>
                      <a:pt x="4" y="26"/>
                    </a:lnTo>
                    <a:lnTo>
                      <a:pt x="43" y="22"/>
                    </a:lnTo>
                    <a:lnTo>
                      <a:pt x="12" y="8"/>
                    </a:lnTo>
                    <a:lnTo>
                      <a:pt x="17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31" name="íS1îḍé"/>
              <p:cNvSpPr/>
              <p:nvPr/>
            </p:nvSpPr>
            <p:spPr bwMode="auto">
              <a:xfrm>
                <a:off x="1690584" y="5045665"/>
                <a:ext cx="84138" cy="44450"/>
              </a:xfrm>
              <a:custGeom>
                <a:avLst/>
                <a:gdLst>
                  <a:gd name="T0" fmla="*/ 5 w 53"/>
                  <a:gd name="T1" fmla="*/ 0 h 28"/>
                  <a:gd name="T2" fmla="*/ 53 w 53"/>
                  <a:gd name="T3" fmla="*/ 19 h 28"/>
                  <a:gd name="T4" fmla="*/ 49 w 53"/>
                  <a:gd name="T5" fmla="*/ 28 h 28"/>
                  <a:gd name="T6" fmla="*/ 0 w 53"/>
                  <a:gd name="T7" fmla="*/ 10 h 28"/>
                  <a:gd name="T8" fmla="*/ 5 w 53"/>
                  <a:gd name="T9" fmla="*/ 0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3" h="28">
                    <a:moveTo>
                      <a:pt x="5" y="0"/>
                    </a:moveTo>
                    <a:lnTo>
                      <a:pt x="53" y="19"/>
                    </a:lnTo>
                    <a:lnTo>
                      <a:pt x="49" y="28"/>
                    </a:lnTo>
                    <a:lnTo>
                      <a:pt x="0" y="10"/>
                    </a:lnTo>
                    <a:lnTo>
                      <a:pt x="5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32" name="íṧļïḋè"/>
              <p:cNvSpPr/>
              <p:nvPr/>
            </p:nvSpPr>
            <p:spPr bwMode="auto">
              <a:xfrm>
                <a:off x="1674709" y="5091703"/>
                <a:ext cx="92075" cy="73025"/>
              </a:xfrm>
              <a:custGeom>
                <a:avLst/>
                <a:gdLst>
                  <a:gd name="T0" fmla="*/ 4 w 58"/>
                  <a:gd name="T1" fmla="*/ 3 h 46"/>
                  <a:gd name="T2" fmla="*/ 58 w 58"/>
                  <a:gd name="T3" fmla="*/ 0 h 46"/>
                  <a:gd name="T4" fmla="*/ 55 w 58"/>
                  <a:gd name="T5" fmla="*/ 11 h 46"/>
                  <a:gd name="T6" fmla="*/ 14 w 58"/>
                  <a:gd name="T7" fmla="*/ 13 h 46"/>
                  <a:gd name="T8" fmla="*/ 46 w 58"/>
                  <a:gd name="T9" fmla="*/ 35 h 46"/>
                  <a:gd name="T10" fmla="*/ 44 w 58"/>
                  <a:gd name="T11" fmla="*/ 46 h 46"/>
                  <a:gd name="T12" fmla="*/ 0 w 58"/>
                  <a:gd name="T13" fmla="*/ 14 h 46"/>
                  <a:gd name="T14" fmla="*/ 4 w 58"/>
                  <a:gd name="T15" fmla="*/ 3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58" h="46">
                    <a:moveTo>
                      <a:pt x="4" y="3"/>
                    </a:moveTo>
                    <a:lnTo>
                      <a:pt x="58" y="0"/>
                    </a:lnTo>
                    <a:lnTo>
                      <a:pt x="55" y="11"/>
                    </a:lnTo>
                    <a:lnTo>
                      <a:pt x="14" y="13"/>
                    </a:lnTo>
                    <a:lnTo>
                      <a:pt x="46" y="35"/>
                    </a:lnTo>
                    <a:lnTo>
                      <a:pt x="44" y="46"/>
                    </a:lnTo>
                    <a:lnTo>
                      <a:pt x="0" y="14"/>
                    </a:lnTo>
                    <a:lnTo>
                      <a:pt x="4" y="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33" name="ïṡḷiḋé"/>
              <p:cNvSpPr/>
              <p:nvPr/>
            </p:nvSpPr>
            <p:spPr bwMode="auto">
              <a:xfrm>
                <a:off x="1652484" y="5153615"/>
                <a:ext cx="90488" cy="73025"/>
              </a:xfrm>
              <a:custGeom>
                <a:avLst/>
                <a:gdLst>
                  <a:gd name="T0" fmla="*/ 7 w 57"/>
                  <a:gd name="T1" fmla="*/ 0 h 46"/>
                  <a:gd name="T2" fmla="*/ 57 w 57"/>
                  <a:gd name="T3" fmla="*/ 10 h 46"/>
                  <a:gd name="T4" fmla="*/ 50 w 57"/>
                  <a:gd name="T5" fmla="*/ 46 h 46"/>
                  <a:gd name="T6" fmla="*/ 42 w 57"/>
                  <a:gd name="T7" fmla="*/ 45 h 46"/>
                  <a:gd name="T8" fmla="*/ 47 w 57"/>
                  <a:gd name="T9" fmla="*/ 18 h 46"/>
                  <a:gd name="T10" fmla="*/ 36 w 57"/>
                  <a:gd name="T11" fmla="*/ 16 h 46"/>
                  <a:gd name="T12" fmla="*/ 30 w 57"/>
                  <a:gd name="T13" fmla="*/ 40 h 46"/>
                  <a:gd name="T14" fmla="*/ 22 w 57"/>
                  <a:gd name="T15" fmla="*/ 39 h 46"/>
                  <a:gd name="T16" fmla="*/ 27 w 57"/>
                  <a:gd name="T17" fmla="*/ 14 h 46"/>
                  <a:gd name="T18" fmla="*/ 14 w 57"/>
                  <a:gd name="T19" fmla="*/ 11 h 46"/>
                  <a:gd name="T20" fmla="*/ 8 w 57"/>
                  <a:gd name="T21" fmla="*/ 39 h 46"/>
                  <a:gd name="T22" fmla="*/ 0 w 57"/>
                  <a:gd name="T23" fmla="*/ 38 h 46"/>
                  <a:gd name="T24" fmla="*/ 7 w 57"/>
                  <a:gd name="T25" fmla="*/ 0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57" h="46">
                    <a:moveTo>
                      <a:pt x="7" y="0"/>
                    </a:moveTo>
                    <a:lnTo>
                      <a:pt x="57" y="10"/>
                    </a:lnTo>
                    <a:lnTo>
                      <a:pt x="50" y="46"/>
                    </a:lnTo>
                    <a:lnTo>
                      <a:pt x="42" y="45"/>
                    </a:lnTo>
                    <a:lnTo>
                      <a:pt x="47" y="18"/>
                    </a:lnTo>
                    <a:lnTo>
                      <a:pt x="36" y="16"/>
                    </a:lnTo>
                    <a:lnTo>
                      <a:pt x="30" y="40"/>
                    </a:lnTo>
                    <a:lnTo>
                      <a:pt x="22" y="39"/>
                    </a:lnTo>
                    <a:lnTo>
                      <a:pt x="27" y="14"/>
                    </a:lnTo>
                    <a:lnTo>
                      <a:pt x="14" y="11"/>
                    </a:lnTo>
                    <a:lnTo>
                      <a:pt x="8" y="39"/>
                    </a:lnTo>
                    <a:lnTo>
                      <a:pt x="0" y="38"/>
                    </a:lnTo>
                    <a:lnTo>
                      <a:pt x="7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34" name="ïşļiḋe"/>
              <p:cNvSpPr/>
              <p:nvPr/>
            </p:nvSpPr>
            <p:spPr bwMode="auto">
              <a:xfrm>
                <a:off x="1641372" y="5231403"/>
                <a:ext cx="88900" cy="71438"/>
              </a:xfrm>
              <a:custGeom>
                <a:avLst/>
                <a:gdLst>
                  <a:gd name="T0" fmla="*/ 4 w 48"/>
                  <a:gd name="T1" fmla="*/ 0 h 39"/>
                  <a:gd name="T2" fmla="*/ 48 w 48"/>
                  <a:gd name="T3" fmla="*/ 4 h 39"/>
                  <a:gd name="T4" fmla="*/ 46 w 48"/>
                  <a:gd name="T5" fmla="*/ 23 h 39"/>
                  <a:gd name="T6" fmla="*/ 44 w 48"/>
                  <a:gd name="T7" fmla="*/ 33 h 39"/>
                  <a:gd name="T8" fmla="*/ 39 w 48"/>
                  <a:gd name="T9" fmla="*/ 38 h 39"/>
                  <a:gd name="T10" fmla="*/ 32 w 48"/>
                  <a:gd name="T11" fmla="*/ 39 h 39"/>
                  <a:gd name="T12" fmla="*/ 24 w 48"/>
                  <a:gd name="T13" fmla="*/ 35 h 39"/>
                  <a:gd name="T14" fmla="*/ 21 w 48"/>
                  <a:gd name="T15" fmla="*/ 26 h 39"/>
                  <a:gd name="T16" fmla="*/ 17 w 48"/>
                  <a:gd name="T17" fmla="*/ 30 h 39"/>
                  <a:gd name="T18" fmla="*/ 9 w 48"/>
                  <a:gd name="T19" fmla="*/ 35 h 39"/>
                  <a:gd name="T20" fmla="*/ 0 w 48"/>
                  <a:gd name="T21" fmla="*/ 39 h 39"/>
                  <a:gd name="T22" fmla="*/ 1 w 48"/>
                  <a:gd name="T23" fmla="*/ 29 h 39"/>
                  <a:gd name="T24" fmla="*/ 12 w 48"/>
                  <a:gd name="T25" fmla="*/ 23 h 39"/>
                  <a:gd name="T26" fmla="*/ 18 w 48"/>
                  <a:gd name="T27" fmla="*/ 19 h 39"/>
                  <a:gd name="T28" fmla="*/ 20 w 48"/>
                  <a:gd name="T29" fmla="*/ 17 h 39"/>
                  <a:gd name="T30" fmla="*/ 21 w 48"/>
                  <a:gd name="T31" fmla="*/ 12 h 39"/>
                  <a:gd name="T32" fmla="*/ 22 w 48"/>
                  <a:gd name="T33" fmla="*/ 11 h 39"/>
                  <a:gd name="T34" fmla="*/ 3 w 48"/>
                  <a:gd name="T35" fmla="*/ 9 h 39"/>
                  <a:gd name="T36" fmla="*/ 4 w 48"/>
                  <a:gd name="T37" fmla="*/ 0 h 39"/>
                  <a:gd name="T38" fmla="*/ 29 w 48"/>
                  <a:gd name="T39" fmla="*/ 11 h 39"/>
                  <a:gd name="T40" fmla="*/ 28 w 48"/>
                  <a:gd name="T41" fmla="*/ 18 h 39"/>
                  <a:gd name="T42" fmla="*/ 28 w 48"/>
                  <a:gd name="T43" fmla="*/ 26 h 39"/>
                  <a:gd name="T44" fmla="*/ 29 w 48"/>
                  <a:gd name="T45" fmla="*/ 28 h 39"/>
                  <a:gd name="T46" fmla="*/ 32 w 48"/>
                  <a:gd name="T47" fmla="*/ 30 h 39"/>
                  <a:gd name="T48" fmla="*/ 36 w 48"/>
                  <a:gd name="T49" fmla="*/ 29 h 39"/>
                  <a:gd name="T50" fmla="*/ 38 w 48"/>
                  <a:gd name="T51" fmla="*/ 26 h 39"/>
                  <a:gd name="T52" fmla="*/ 39 w 48"/>
                  <a:gd name="T53" fmla="*/ 19 h 39"/>
                  <a:gd name="T54" fmla="*/ 40 w 48"/>
                  <a:gd name="T55" fmla="*/ 12 h 39"/>
                  <a:gd name="T56" fmla="*/ 29 w 48"/>
                  <a:gd name="T57" fmla="*/ 11 h 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48" h="39">
                    <a:moveTo>
                      <a:pt x="4" y="0"/>
                    </a:moveTo>
                    <a:cubicBezTo>
                      <a:pt x="48" y="4"/>
                      <a:pt x="48" y="4"/>
                      <a:pt x="48" y="4"/>
                    </a:cubicBezTo>
                    <a:cubicBezTo>
                      <a:pt x="46" y="23"/>
                      <a:pt x="46" y="23"/>
                      <a:pt x="46" y="23"/>
                    </a:cubicBezTo>
                    <a:cubicBezTo>
                      <a:pt x="46" y="27"/>
                      <a:pt x="45" y="31"/>
                      <a:pt x="44" y="33"/>
                    </a:cubicBezTo>
                    <a:cubicBezTo>
                      <a:pt x="43" y="35"/>
                      <a:pt x="41" y="36"/>
                      <a:pt x="39" y="38"/>
                    </a:cubicBezTo>
                    <a:cubicBezTo>
                      <a:pt x="37" y="39"/>
                      <a:pt x="35" y="39"/>
                      <a:pt x="32" y="39"/>
                    </a:cubicBezTo>
                    <a:cubicBezTo>
                      <a:pt x="29" y="38"/>
                      <a:pt x="26" y="37"/>
                      <a:pt x="24" y="35"/>
                    </a:cubicBezTo>
                    <a:cubicBezTo>
                      <a:pt x="22" y="33"/>
                      <a:pt x="21" y="30"/>
                      <a:pt x="21" y="26"/>
                    </a:cubicBezTo>
                    <a:cubicBezTo>
                      <a:pt x="20" y="28"/>
                      <a:pt x="18" y="29"/>
                      <a:pt x="17" y="30"/>
                    </a:cubicBezTo>
                    <a:cubicBezTo>
                      <a:pt x="16" y="32"/>
                      <a:pt x="13" y="33"/>
                      <a:pt x="9" y="35"/>
                    </a:cubicBezTo>
                    <a:cubicBezTo>
                      <a:pt x="0" y="39"/>
                      <a:pt x="0" y="39"/>
                      <a:pt x="0" y="39"/>
                    </a:cubicBezTo>
                    <a:cubicBezTo>
                      <a:pt x="1" y="29"/>
                      <a:pt x="1" y="29"/>
                      <a:pt x="1" y="29"/>
                    </a:cubicBezTo>
                    <a:cubicBezTo>
                      <a:pt x="12" y="23"/>
                      <a:pt x="12" y="23"/>
                      <a:pt x="12" y="23"/>
                    </a:cubicBezTo>
                    <a:cubicBezTo>
                      <a:pt x="15" y="21"/>
                      <a:pt x="17" y="20"/>
                      <a:pt x="18" y="19"/>
                    </a:cubicBezTo>
                    <a:cubicBezTo>
                      <a:pt x="19" y="18"/>
                      <a:pt x="20" y="18"/>
                      <a:pt x="20" y="17"/>
                    </a:cubicBezTo>
                    <a:cubicBezTo>
                      <a:pt x="21" y="16"/>
                      <a:pt x="21" y="14"/>
                      <a:pt x="21" y="12"/>
                    </a:cubicBezTo>
                    <a:cubicBezTo>
                      <a:pt x="22" y="11"/>
                      <a:pt x="22" y="11"/>
                      <a:pt x="22" y="11"/>
                    </a:cubicBezTo>
                    <a:cubicBezTo>
                      <a:pt x="3" y="9"/>
                      <a:pt x="3" y="9"/>
                      <a:pt x="3" y="9"/>
                    </a:cubicBezTo>
                    <a:lnTo>
                      <a:pt x="4" y="0"/>
                    </a:lnTo>
                    <a:close/>
                    <a:moveTo>
                      <a:pt x="29" y="11"/>
                    </a:moveTo>
                    <a:cubicBezTo>
                      <a:pt x="28" y="18"/>
                      <a:pt x="28" y="18"/>
                      <a:pt x="28" y="18"/>
                    </a:cubicBezTo>
                    <a:cubicBezTo>
                      <a:pt x="28" y="22"/>
                      <a:pt x="27" y="25"/>
                      <a:pt x="28" y="26"/>
                    </a:cubicBezTo>
                    <a:cubicBezTo>
                      <a:pt x="28" y="27"/>
                      <a:pt x="28" y="28"/>
                      <a:pt x="29" y="28"/>
                    </a:cubicBezTo>
                    <a:cubicBezTo>
                      <a:pt x="30" y="29"/>
                      <a:pt x="31" y="30"/>
                      <a:pt x="32" y="30"/>
                    </a:cubicBezTo>
                    <a:cubicBezTo>
                      <a:pt x="34" y="30"/>
                      <a:pt x="35" y="30"/>
                      <a:pt x="36" y="29"/>
                    </a:cubicBezTo>
                    <a:cubicBezTo>
                      <a:pt x="37" y="28"/>
                      <a:pt x="38" y="27"/>
                      <a:pt x="38" y="26"/>
                    </a:cubicBezTo>
                    <a:cubicBezTo>
                      <a:pt x="38" y="25"/>
                      <a:pt x="39" y="23"/>
                      <a:pt x="39" y="19"/>
                    </a:cubicBezTo>
                    <a:cubicBezTo>
                      <a:pt x="40" y="12"/>
                      <a:pt x="40" y="12"/>
                      <a:pt x="40" y="12"/>
                    </a:cubicBezTo>
                    <a:lnTo>
                      <a:pt x="29" y="1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35" name="îś1iḓê"/>
              <p:cNvSpPr/>
              <p:nvPr/>
            </p:nvSpPr>
            <p:spPr bwMode="auto">
              <a:xfrm>
                <a:off x="1641372" y="5312365"/>
                <a:ext cx="82550" cy="66675"/>
              </a:xfrm>
              <a:custGeom>
                <a:avLst/>
                <a:gdLst>
                  <a:gd name="T0" fmla="*/ 15 w 45"/>
                  <a:gd name="T1" fmla="*/ 0 h 36"/>
                  <a:gd name="T2" fmla="*/ 16 w 45"/>
                  <a:gd name="T3" fmla="*/ 8 h 36"/>
                  <a:gd name="T4" fmla="*/ 9 w 45"/>
                  <a:gd name="T5" fmla="*/ 12 h 36"/>
                  <a:gd name="T6" fmla="*/ 7 w 45"/>
                  <a:gd name="T7" fmla="*/ 18 h 36"/>
                  <a:gd name="T8" fmla="*/ 9 w 45"/>
                  <a:gd name="T9" fmla="*/ 25 h 36"/>
                  <a:gd name="T10" fmla="*/ 13 w 45"/>
                  <a:gd name="T11" fmla="*/ 27 h 36"/>
                  <a:gd name="T12" fmla="*/ 16 w 45"/>
                  <a:gd name="T13" fmla="*/ 26 h 36"/>
                  <a:gd name="T14" fmla="*/ 18 w 45"/>
                  <a:gd name="T15" fmla="*/ 23 h 36"/>
                  <a:gd name="T16" fmla="*/ 20 w 45"/>
                  <a:gd name="T17" fmla="*/ 15 h 36"/>
                  <a:gd name="T18" fmla="*/ 24 w 45"/>
                  <a:gd name="T19" fmla="*/ 5 h 36"/>
                  <a:gd name="T20" fmla="*/ 33 w 45"/>
                  <a:gd name="T21" fmla="*/ 1 h 36"/>
                  <a:gd name="T22" fmla="*/ 39 w 45"/>
                  <a:gd name="T23" fmla="*/ 3 h 36"/>
                  <a:gd name="T24" fmla="*/ 44 w 45"/>
                  <a:gd name="T25" fmla="*/ 9 h 36"/>
                  <a:gd name="T26" fmla="*/ 45 w 45"/>
                  <a:gd name="T27" fmla="*/ 17 h 36"/>
                  <a:gd name="T28" fmla="*/ 42 w 45"/>
                  <a:gd name="T29" fmla="*/ 30 h 36"/>
                  <a:gd name="T30" fmla="*/ 32 w 45"/>
                  <a:gd name="T31" fmla="*/ 34 h 36"/>
                  <a:gd name="T32" fmla="*/ 31 w 45"/>
                  <a:gd name="T33" fmla="*/ 25 h 36"/>
                  <a:gd name="T34" fmla="*/ 36 w 45"/>
                  <a:gd name="T35" fmla="*/ 23 h 36"/>
                  <a:gd name="T36" fmla="*/ 38 w 45"/>
                  <a:gd name="T37" fmla="*/ 17 h 36"/>
                  <a:gd name="T38" fmla="*/ 36 w 45"/>
                  <a:gd name="T39" fmla="*/ 11 h 36"/>
                  <a:gd name="T40" fmla="*/ 33 w 45"/>
                  <a:gd name="T41" fmla="*/ 10 h 36"/>
                  <a:gd name="T42" fmla="*/ 31 w 45"/>
                  <a:gd name="T43" fmla="*/ 11 h 36"/>
                  <a:gd name="T44" fmla="*/ 28 w 45"/>
                  <a:gd name="T45" fmla="*/ 19 h 36"/>
                  <a:gd name="T46" fmla="*/ 25 w 45"/>
                  <a:gd name="T47" fmla="*/ 29 h 36"/>
                  <a:gd name="T48" fmla="*/ 20 w 45"/>
                  <a:gd name="T49" fmla="*/ 34 h 36"/>
                  <a:gd name="T50" fmla="*/ 13 w 45"/>
                  <a:gd name="T51" fmla="*/ 36 h 36"/>
                  <a:gd name="T52" fmla="*/ 6 w 45"/>
                  <a:gd name="T53" fmla="*/ 33 h 36"/>
                  <a:gd name="T54" fmla="*/ 1 w 45"/>
                  <a:gd name="T55" fmla="*/ 28 h 36"/>
                  <a:gd name="T56" fmla="*/ 0 w 45"/>
                  <a:gd name="T57" fmla="*/ 18 h 36"/>
                  <a:gd name="T58" fmla="*/ 3 w 45"/>
                  <a:gd name="T59" fmla="*/ 5 h 36"/>
                  <a:gd name="T60" fmla="*/ 15 w 45"/>
                  <a:gd name="T61" fmla="*/ 0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45" h="36">
                    <a:moveTo>
                      <a:pt x="15" y="0"/>
                    </a:moveTo>
                    <a:cubicBezTo>
                      <a:pt x="16" y="8"/>
                      <a:pt x="16" y="8"/>
                      <a:pt x="16" y="8"/>
                    </a:cubicBezTo>
                    <a:cubicBezTo>
                      <a:pt x="13" y="9"/>
                      <a:pt x="10" y="10"/>
                      <a:pt x="9" y="12"/>
                    </a:cubicBezTo>
                    <a:cubicBezTo>
                      <a:pt x="8" y="13"/>
                      <a:pt x="7" y="15"/>
                      <a:pt x="7" y="18"/>
                    </a:cubicBezTo>
                    <a:cubicBezTo>
                      <a:pt x="7" y="21"/>
                      <a:pt x="8" y="23"/>
                      <a:pt x="9" y="25"/>
                    </a:cubicBezTo>
                    <a:cubicBezTo>
                      <a:pt x="10" y="26"/>
                      <a:pt x="12" y="27"/>
                      <a:pt x="13" y="27"/>
                    </a:cubicBezTo>
                    <a:cubicBezTo>
                      <a:pt x="14" y="27"/>
                      <a:pt x="15" y="26"/>
                      <a:pt x="16" y="26"/>
                    </a:cubicBezTo>
                    <a:cubicBezTo>
                      <a:pt x="17" y="25"/>
                      <a:pt x="17" y="24"/>
                      <a:pt x="18" y="23"/>
                    </a:cubicBezTo>
                    <a:cubicBezTo>
                      <a:pt x="18" y="22"/>
                      <a:pt x="19" y="19"/>
                      <a:pt x="20" y="15"/>
                    </a:cubicBezTo>
                    <a:cubicBezTo>
                      <a:pt x="21" y="11"/>
                      <a:pt x="22" y="7"/>
                      <a:pt x="24" y="5"/>
                    </a:cubicBezTo>
                    <a:cubicBezTo>
                      <a:pt x="26" y="3"/>
                      <a:pt x="29" y="1"/>
                      <a:pt x="33" y="1"/>
                    </a:cubicBezTo>
                    <a:cubicBezTo>
                      <a:pt x="35" y="1"/>
                      <a:pt x="37" y="2"/>
                      <a:pt x="39" y="3"/>
                    </a:cubicBezTo>
                    <a:cubicBezTo>
                      <a:pt x="41" y="4"/>
                      <a:pt x="43" y="6"/>
                      <a:pt x="44" y="9"/>
                    </a:cubicBezTo>
                    <a:cubicBezTo>
                      <a:pt x="45" y="11"/>
                      <a:pt x="45" y="14"/>
                      <a:pt x="45" y="17"/>
                    </a:cubicBezTo>
                    <a:cubicBezTo>
                      <a:pt x="45" y="23"/>
                      <a:pt x="44" y="27"/>
                      <a:pt x="42" y="30"/>
                    </a:cubicBezTo>
                    <a:cubicBezTo>
                      <a:pt x="39" y="33"/>
                      <a:pt x="36" y="34"/>
                      <a:pt x="32" y="34"/>
                    </a:cubicBezTo>
                    <a:cubicBezTo>
                      <a:pt x="31" y="25"/>
                      <a:pt x="31" y="25"/>
                      <a:pt x="31" y="25"/>
                    </a:cubicBezTo>
                    <a:cubicBezTo>
                      <a:pt x="34" y="25"/>
                      <a:pt x="35" y="24"/>
                      <a:pt x="36" y="23"/>
                    </a:cubicBezTo>
                    <a:cubicBezTo>
                      <a:pt x="37" y="22"/>
                      <a:pt x="38" y="20"/>
                      <a:pt x="38" y="17"/>
                    </a:cubicBezTo>
                    <a:cubicBezTo>
                      <a:pt x="38" y="15"/>
                      <a:pt x="37" y="13"/>
                      <a:pt x="36" y="11"/>
                    </a:cubicBezTo>
                    <a:cubicBezTo>
                      <a:pt x="35" y="10"/>
                      <a:pt x="35" y="10"/>
                      <a:pt x="33" y="10"/>
                    </a:cubicBezTo>
                    <a:cubicBezTo>
                      <a:pt x="32" y="10"/>
                      <a:pt x="31" y="10"/>
                      <a:pt x="31" y="11"/>
                    </a:cubicBezTo>
                    <a:cubicBezTo>
                      <a:pt x="30" y="12"/>
                      <a:pt x="29" y="15"/>
                      <a:pt x="28" y="19"/>
                    </a:cubicBezTo>
                    <a:cubicBezTo>
                      <a:pt x="27" y="24"/>
                      <a:pt x="26" y="27"/>
                      <a:pt x="25" y="29"/>
                    </a:cubicBezTo>
                    <a:cubicBezTo>
                      <a:pt x="24" y="31"/>
                      <a:pt x="22" y="33"/>
                      <a:pt x="20" y="34"/>
                    </a:cubicBezTo>
                    <a:cubicBezTo>
                      <a:pt x="18" y="35"/>
                      <a:pt x="16" y="36"/>
                      <a:pt x="13" y="36"/>
                    </a:cubicBezTo>
                    <a:cubicBezTo>
                      <a:pt x="11" y="36"/>
                      <a:pt x="8" y="35"/>
                      <a:pt x="6" y="33"/>
                    </a:cubicBezTo>
                    <a:cubicBezTo>
                      <a:pt x="4" y="32"/>
                      <a:pt x="2" y="30"/>
                      <a:pt x="1" y="28"/>
                    </a:cubicBezTo>
                    <a:cubicBezTo>
                      <a:pt x="0" y="25"/>
                      <a:pt x="0" y="22"/>
                      <a:pt x="0" y="18"/>
                    </a:cubicBezTo>
                    <a:cubicBezTo>
                      <a:pt x="0" y="12"/>
                      <a:pt x="1" y="8"/>
                      <a:pt x="3" y="5"/>
                    </a:cubicBezTo>
                    <a:cubicBezTo>
                      <a:pt x="6" y="2"/>
                      <a:pt x="10" y="0"/>
                      <a:pt x="15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36" name="íş1ïḓe"/>
              <p:cNvSpPr/>
              <p:nvPr/>
            </p:nvSpPr>
            <p:spPr bwMode="auto">
              <a:xfrm>
                <a:off x="1642959" y="5385390"/>
                <a:ext cx="84138" cy="22225"/>
              </a:xfrm>
              <a:custGeom>
                <a:avLst/>
                <a:gdLst>
                  <a:gd name="T0" fmla="*/ 0 w 53"/>
                  <a:gd name="T1" fmla="*/ 5 h 14"/>
                  <a:gd name="T2" fmla="*/ 51 w 53"/>
                  <a:gd name="T3" fmla="*/ 0 h 14"/>
                  <a:gd name="T4" fmla="*/ 53 w 53"/>
                  <a:gd name="T5" fmla="*/ 11 h 14"/>
                  <a:gd name="T6" fmla="*/ 1 w 53"/>
                  <a:gd name="T7" fmla="*/ 14 h 14"/>
                  <a:gd name="T8" fmla="*/ 0 w 53"/>
                  <a:gd name="T9" fmla="*/ 5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3" h="14">
                    <a:moveTo>
                      <a:pt x="0" y="5"/>
                    </a:moveTo>
                    <a:lnTo>
                      <a:pt x="51" y="0"/>
                    </a:lnTo>
                    <a:lnTo>
                      <a:pt x="53" y="11"/>
                    </a:lnTo>
                    <a:lnTo>
                      <a:pt x="1" y="14"/>
                    </a:lnTo>
                    <a:lnTo>
                      <a:pt x="0" y="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37" name="ïṩlîḋè"/>
              <p:cNvSpPr/>
              <p:nvPr/>
            </p:nvSpPr>
            <p:spPr bwMode="auto">
              <a:xfrm>
                <a:off x="1649309" y="5407615"/>
                <a:ext cx="84138" cy="66675"/>
              </a:xfrm>
              <a:custGeom>
                <a:avLst/>
                <a:gdLst>
                  <a:gd name="T0" fmla="*/ 0 w 53"/>
                  <a:gd name="T1" fmla="*/ 22 h 42"/>
                  <a:gd name="T2" fmla="*/ 42 w 53"/>
                  <a:gd name="T3" fmla="*/ 17 h 42"/>
                  <a:gd name="T4" fmla="*/ 39 w 53"/>
                  <a:gd name="T5" fmla="*/ 1 h 42"/>
                  <a:gd name="T6" fmla="*/ 49 w 53"/>
                  <a:gd name="T7" fmla="*/ 0 h 42"/>
                  <a:gd name="T8" fmla="*/ 53 w 53"/>
                  <a:gd name="T9" fmla="*/ 41 h 42"/>
                  <a:gd name="T10" fmla="*/ 45 w 53"/>
                  <a:gd name="T11" fmla="*/ 42 h 42"/>
                  <a:gd name="T12" fmla="*/ 43 w 53"/>
                  <a:gd name="T13" fmla="*/ 27 h 42"/>
                  <a:gd name="T14" fmla="*/ 1 w 53"/>
                  <a:gd name="T15" fmla="*/ 33 h 42"/>
                  <a:gd name="T16" fmla="*/ 0 w 53"/>
                  <a:gd name="T17" fmla="*/ 22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3" h="42">
                    <a:moveTo>
                      <a:pt x="0" y="22"/>
                    </a:moveTo>
                    <a:lnTo>
                      <a:pt x="42" y="17"/>
                    </a:lnTo>
                    <a:lnTo>
                      <a:pt x="39" y="1"/>
                    </a:lnTo>
                    <a:lnTo>
                      <a:pt x="49" y="0"/>
                    </a:lnTo>
                    <a:lnTo>
                      <a:pt x="53" y="41"/>
                    </a:lnTo>
                    <a:lnTo>
                      <a:pt x="45" y="42"/>
                    </a:lnTo>
                    <a:lnTo>
                      <a:pt x="43" y="27"/>
                    </a:lnTo>
                    <a:lnTo>
                      <a:pt x="1" y="33"/>
                    </a:lnTo>
                    <a:lnTo>
                      <a:pt x="0" y="2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38" name="ïṣľîďe"/>
              <p:cNvSpPr/>
              <p:nvPr/>
            </p:nvSpPr>
            <p:spPr bwMode="auto">
              <a:xfrm>
                <a:off x="1662009" y="5471115"/>
                <a:ext cx="90488" cy="73025"/>
              </a:xfrm>
              <a:custGeom>
                <a:avLst/>
                <a:gdLst>
                  <a:gd name="T0" fmla="*/ 0 w 57"/>
                  <a:gd name="T1" fmla="*/ 29 h 46"/>
                  <a:gd name="T2" fmla="*/ 21 w 57"/>
                  <a:gd name="T3" fmla="*/ 24 h 46"/>
                  <a:gd name="T4" fmla="*/ 45 w 57"/>
                  <a:gd name="T5" fmla="*/ 0 h 46"/>
                  <a:gd name="T6" fmla="*/ 49 w 57"/>
                  <a:gd name="T7" fmla="*/ 11 h 46"/>
                  <a:gd name="T8" fmla="*/ 31 w 57"/>
                  <a:gd name="T9" fmla="*/ 28 h 46"/>
                  <a:gd name="T10" fmla="*/ 53 w 57"/>
                  <a:gd name="T11" fmla="*/ 35 h 46"/>
                  <a:gd name="T12" fmla="*/ 57 w 57"/>
                  <a:gd name="T13" fmla="*/ 46 h 46"/>
                  <a:gd name="T14" fmla="*/ 23 w 57"/>
                  <a:gd name="T15" fmla="*/ 35 h 46"/>
                  <a:gd name="T16" fmla="*/ 2 w 57"/>
                  <a:gd name="T17" fmla="*/ 39 h 46"/>
                  <a:gd name="T18" fmla="*/ 0 w 57"/>
                  <a:gd name="T19" fmla="*/ 29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57" h="46">
                    <a:moveTo>
                      <a:pt x="0" y="29"/>
                    </a:moveTo>
                    <a:lnTo>
                      <a:pt x="21" y="24"/>
                    </a:lnTo>
                    <a:lnTo>
                      <a:pt x="45" y="0"/>
                    </a:lnTo>
                    <a:lnTo>
                      <a:pt x="49" y="11"/>
                    </a:lnTo>
                    <a:lnTo>
                      <a:pt x="31" y="28"/>
                    </a:lnTo>
                    <a:lnTo>
                      <a:pt x="53" y="35"/>
                    </a:lnTo>
                    <a:lnTo>
                      <a:pt x="57" y="46"/>
                    </a:lnTo>
                    <a:lnTo>
                      <a:pt x="23" y="35"/>
                    </a:lnTo>
                    <a:lnTo>
                      <a:pt x="2" y="39"/>
                    </a:lnTo>
                    <a:lnTo>
                      <a:pt x="0" y="2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39" name="íśļiḓe"/>
              <p:cNvSpPr/>
              <p:nvPr/>
            </p:nvSpPr>
            <p:spPr bwMode="auto">
              <a:xfrm>
                <a:off x="1704872" y="5609228"/>
                <a:ext cx="85725" cy="80963"/>
              </a:xfrm>
              <a:custGeom>
                <a:avLst/>
                <a:gdLst>
                  <a:gd name="T0" fmla="*/ 15 w 47"/>
                  <a:gd name="T1" fmla="*/ 2 h 44"/>
                  <a:gd name="T2" fmla="*/ 26 w 47"/>
                  <a:gd name="T3" fmla="*/ 0 h 44"/>
                  <a:gd name="T4" fmla="*/ 33 w 47"/>
                  <a:gd name="T5" fmla="*/ 1 h 44"/>
                  <a:gd name="T6" fmla="*/ 39 w 47"/>
                  <a:gd name="T7" fmla="*/ 4 h 44"/>
                  <a:gd name="T8" fmla="*/ 44 w 47"/>
                  <a:gd name="T9" fmla="*/ 12 h 44"/>
                  <a:gd name="T10" fmla="*/ 45 w 47"/>
                  <a:gd name="T11" fmla="*/ 29 h 44"/>
                  <a:gd name="T12" fmla="*/ 32 w 47"/>
                  <a:gd name="T13" fmla="*/ 41 h 44"/>
                  <a:gd name="T14" fmla="*/ 15 w 47"/>
                  <a:gd name="T15" fmla="*/ 43 h 44"/>
                  <a:gd name="T16" fmla="*/ 3 w 47"/>
                  <a:gd name="T17" fmla="*/ 31 h 44"/>
                  <a:gd name="T18" fmla="*/ 2 w 47"/>
                  <a:gd name="T19" fmla="*/ 14 h 44"/>
                  <a:gd name="T20" fmla="*/ 15 w 47"/>
                  <a:gd name="T21" fmla="*/ 2 h 44"/>
                  <a:gd name="T22" fmla="*/ 19 w 47"/>
                  <a:gd name="T23" fmla="*/ 10 h 44"/>
                  <a:gd name="T24" fmla="*/ 10 w 47"/>
                  <a:gd name="T25" fmla="*/ 18 h 44"/>
                  <a:gd name="T26" fmla="*/ 10 w 47"/>
                  <a:gd name="T27" fmla="*/ 28 h 44"/>
                  <a:gd name="T28" fmla="*/ 17 w 47"/>
                  <a:gd name="T29" fmla="*/ 34 h 44"/>
                  <a:gd name="T30" fmla="*/ 29 w 47"/>
                  <a:gd name="T31" fmla="*/ 33 h 44"/>
                  <a:gd name="T32" fmla="*/ 38 w 47"/>
                  <a:gd name="T33" fmla="*/ 25 h 44"/>
                  <a:gd name="T34" fmla="*/ 37 w 47"/>
                  <a:gd name="T35" fmla="*/ 16 h 44"/>
                  <a:gd name="T36" fmla="*/ 30 w 47"/>
                  <a:gd name="T37" fmla="*/ 9 h 44"/>
                  <a:gd name="T38" fmla="*/ 19 w 47"/>
                  <a:gd name="T39" fmla="*/ 10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47" h="44">
                    <a:moveTo>
                      <a:pt x="15" y="2"/>
                    </a:moveTo>
                    <a:cubicBezTo>
                      <a:pt x="19" y="0"/>
                      <a:pt x="23" y="0"/>
                      <a:pt x="26" y="0"/>
                    </a:cubicBezTo>
                    <a:cubicBezTo>
                      <a:pt x="28" y="0"/>
                      <a:pt x="31" y="0"/>
                      <a:pt x="33" y="1"/>
                    </a:cubicBezTo>
                    <a:cubicBezTo>
                      <a:pt x="35" y="2"/>
                      <a:pt x="37" y="3"/>
                      <a:pt x="39" y="4"/>
                    </a:cubicBezTo>
                    <a:cubicBezTo>
                      <a:pt x="41" y="6"/>
                      <a:pt x="43" y="9"/>
                      <a:pt x="44" y="12"/>
                    </a:cubicBezTo>
                    <a:cubicBezTo>
                      <a:pt x="47" y="18"/>
                      <a:pt x="47" y="24"/>
                      <a:pt x="45" y="29"/>
                    </a:cubicBezTo>
                    <a:cubicBezTo>
                      <a:pt x="43" y="34"/>
                      <a:pt x="39" y="38"/>
                      <a:pt x="32" y="41"/>
                    </a:cubicBezTo>
                    <a:cubicBezTo>
                      <a:pt x="26" y="44"/>
                      <a:pt x="20" y="44"/>
                      <a:pt x="15" y="43"/>
                    </a:cubicBezTo>
                    <a:cubicBezTo>
                      <a:pt x="9" y="41"/>
                      <a:pt x="5" y="37"/>
                      <a:pt x="3" y="31"/>
                    </a:cubicBezTo>
                    <a:cubicBezTo>
                      <a:pt x="0" y="25"/>
                      <a:pt x="0" y="19"/>
                      <a:pt x="2" y="14"/>
                    </a:cubicBezTo>
                    <a:cubicBezTo>
                      <a:pt x="4" y="9"/>
                      <a:pt x="8" y="5"/>
                      <a:pt x="15" y="2"/>
                    </a:cubicBezTo>
                    <a:close/>
                    <a:moveTo>
                      <a:pt x="19" y="10"/>
                    </a:moveTo>
                    <a:cubicBezTo>
                      <a:pt x="14" y="12"/>
                      <a:pt x="11" y="15"/>
                      <a:pt x="10" y="18"/>
                    </a:cubicBezTo>
                    <a:cubicBezTo>
                      <a:pt x="8" y="21"/>
                      <a:pt x="8" y="24"/>
                      <a:pt x="10" y="28"/>
                    </a:cubicBezTo>
                    <a:cubicBezTo>
                      <a:pt x="11" y="31"/>
                      <a:pt x="13" y="33"/>
                      <a:pt x="17" y="34"/>
                    </a:cubicBezTo>
                    <a:cubicBezTo>
                      <a:pt x="20" y="35"/>
                      <a:pt x="24" y="35"/>
                      <a:pt x="29" y="33"/>
                    </a:cubicBezTo>
                    <a:cubicBezTo>
                      <a:pt x="33" y="31"/>
                      <a:pt x="36" y="28"/>
                      <a:pt x="38" y="25"/>
                    </a:cubicBezTo>
                    <a:cubicBezTo>
                      <a:pt x="39" y="22"/>
                      <a:pt x="39" y="19"/>
                      <a:pt x="37" y="16"/>
                    </a:cubicBezTo>
                    <a:cubicBezTo>
                      <a:pt x="36" y="12"/>
                      <a:pt x="34" y="10"/>
                      <a:pt x="30" y="9"/>
                    </a:cubicBezTo>
                    <a:cubicBezTo>
                      <a:pt x="27" y="8"/>
                      <a:pt x="23" y="8"/>
                      <a:pt x="19" y="1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40" name="î$ḷïďe"/>
              <p:cNvSpPr/>
              <p:nvPr/>
            </p:nvSpPr>
            <p:spPr bwMode="auto">
              <a:xfrm>
                <a:off x="1733447" y="5675903"/>
                <a:ext cx="98425" cy="66675"/>
              </a:xfrm>
              <a:custGeom>
                <a:avLst/>
                <a:gdLst>
                  <a:gd name="T0" fmla="*/ 0 w 62"/>
                  <a:gd name="T1" fmla="*/ 26 h 42"/>
                  <a:gd name="T2" fmla="*/ 45 w 62"/>
                  <a:gd name="T3" fmla="*/ 0 h 42"/>
                  <a:gd name="T4" fmla="*/ 62 w 62"/>
                  <a:gd name="T5" fmla="*/ 30 h 42"/>
                  <a:gd name="T6" fmla="*/ 55 w 62"/>
                  <a:gd name="T7" fmla="*/ 35 h 42"/>
                  <a:gd name="T8" fmla="*/ 43 w 62"/>
                  <a:gd name="T9" fmla="*/ 14 h 42"/>
                  <a:gd name="T10" fmla="*/ 32 w 62"/>
                  <a:gd name="T11" fmla="*/ 20 h 42"/>
                  <a:gd name="T12" fmla="*/ 43 w 62"/>
                  <a:gd name="T13" fmla="*/ 38 h 42"/>
                  <a:gd name="T14" fmla="*/ 35 w 62"/>
                  <a:gd name="T15" fmla="*/ 42 h 42"/>
                  <a:gd name="T16" fmla="*/ 25 w 62"/>
                  <a:gd name="T17" fmla="*/ 23 h 42"/>
                  <a:gd name="T18" fmla="*/ 6 w 62"/>
                  <a:gd name="T19" fmla="*/ 35 h 42"/>
                  <a:gd name="T20" fmla="*/ 0 w 62"/>
                  <a:gd name="T21" fmla="*/ 26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62" h="42">
                    <a:moveTo>
                      <a:pt x="0" y="26"/>
                    </a:moveTo>
                    <a:lnTo>
                      <a:pt x="45" y="0"/>
                    </a:lnTo>
                    <a:lnTo>
                      <a:pt x="62" y="30"/>
                    </a:lnTo>
                    <a:lnTo>
                      <a:pt x="55" y="35"/>
                    </a:lnTo>
                    <a:lnTo>
                      <a:pt x="43" y="14"/>
                    </a:lnTo>
                    <a:lnTo>
                      <a:pt x="32" y="20"/>
                    </a:lnTo>
                    <a:lnTo>
                      <a:pt x="43" y="38"/>
                    </a:lnTo>
                    <a:lnTo>
                      <a:pt x="35" y="42"/>
                    </a:lnTo>
                    <a:lnTo>
                      <a:pt x="25" y="23"/>
                    </a:lnTo>
                    <a:lnTo>
                      <a:pt x="6" y="35"/>
                    </a:lnTo>
                    <a:lnTo>
                      <a:pt x="0" y="26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41" name="îśḻîḍe"/>
              <p:cNvSpPr/>
              <p:nvPr/>
            </p:nvSpPr>
            <p:spPr bwMode="auto">
              <a:xfrm>
                <a:off x="1812822" y="5785440"/>
                <a:ext cx="85725" cy="82550"/>
              </a:xfrm>
              <a:custGeom>
                <a:avLst/>
                <a:gdLst>
                  <a:gd name="T0" fmla="*/ 6 w 46"/>
                  <a:gd name="T1" fmla="*/ 13 h 45"/>
                  <a:gd name="T2" fmla="*/ 12 w 46"/>
                  <a:gd name="T3" fmla="*/ 19 h 45"/>
                  <a:gd name="T4" fmla="*/ 9 w 46"/>
                  <a:gd name="T5" fmla="*/ 26 h 45"/>
                  <a:gd name="T6" fmla="*/ 11 w 46"/>
                  <a:gd name="T7" fmla="*/ 32 h 45"/>
                  <a:gd name="T8" fmla="*/ 17 w 46"/>
                  <a:gd name="T9" fmla="*/ 36 h 45"/>
                  <a:gd name="T10" fmla="*/ 22 w 46"/>
                  <a:gd name="T11" fmla="*/ 35 h 45"/>
                  <a:gd name="T12" fmla="*/ 23 w 46"/>
                  <a:gd name="T13" fmla="*/ 32 h 45"/>
                  <a:gd name="T14" fmla="*/ 22 w 46"/>
                  <a:gd name="T15" fmla="*/ 29 h 45"/>
                  <a:gd name="T16" fmla="*/ 19 w 46"/>
                  <a:gd name="T17" fmla="*/ 22 h 45"/>
                  <a:gd name="T18" fmla="*/ 16 w 46"/>
                  <a:gd name="T19" fmla="*/ 12 h 45"/>
                  <a:gd name="T20" fmla="*/ 21 w 46"/>
                  <a:gd name="T21" fmla="*/ 3 h 45"/>
                  <a:gd name="T22" fmla="*/ 27 w 46"/>
                  <a:gd name="T23" fmla="*/ 0 h 45"/>
                  <a:gd name="T24" fmla="*/ 34 w 46"/>
                  <a:gd name="T25" fmla="*/ 2 h 45"/>
                  <a:gd name="T26" fmla="*/ 40 w 46"/>
                  <a:gd name="T27" fmla="*/ 8 h 45"/>
                  <a:gd name="T28" fmla="*/ 45 w 46"/>
                  <a:gd name="T29" fmla="*/ 19 h 45"/>
                  <a:gd name="T30" fmla="*/ 41 w 46"/>
                  <a:gd name="T31" fmla="*/ 29 h 45"/>
                  <a:gd name="T32" fmla="*/ 35 w 46"/>
                  <a:gd name="T33" fmla="*/ 22 h 45"/>
                  <a:gd name="T34" fmla="*/ 37 w 46"/>
                  <a:gd name="T35" fmla="*/ 17 h 45"/>
                  <a:gd name="T36" fmla="*/ 35 w 46"/>
                  <a:gd name="T37" fmla="*/ 12 h 45"/>
                  <a:gd name="T38" fmla="*/ 30 w 46"/>
                  <a:gd name="T39" fmla="*/ 8 h 45"/>
                  <a:gd name="T40" fmla="*/ 27 w 46"/>
                  <a:gd name="T41" fmla="*/ 9 h 45"/>
                  <a:gd name="T42" fmla="*/ 25 w 46"/>
                  <a:gd name="T43" fmla="*/ 12 h 45"/>
                  <a:gd name="T44" fmla="*/ 28 w 46"/>
                  <a:gd name="T45" fmla="*/ 20 h 45"/>
                  <a:gd name="T46" fmla="*/ 32 w 46"/>
                  <a:gd name="T47" fmla="*/ 29 h 45"/>
                  <a:gd name="T48" fmla="*/ 31 w 46"/>
                  <a:gd name="T49" fmla="*/ 36 h 45"/>
                  <a:gd name="T50" fmla="*/ 27 w 46"/>
                  <a:gd name="T51" fmla="*/ 42 h 45"/>
                  <a:gd name="T52" fmla="*/ 20 w 46"/>
                  <a:gd name="T53" fmla="*/ 45 h 45"/>
                  <a:gd name="T54" fmla="*/ 13 w 46"/>
                  <a:gd name="T55" fmla="*/ 43 h 45"/>
                  <a:gd name="T56" fmla="*/ 6 w 46"/>
                  <a:gd name="T57" fmla="*/ 37 h 45"/>
                  <a:gd name="T58" fmla="*/ 0 w 46"/>
                  <a:gd name="T59" fmla="*/ 24 h 45"/>
                  <a:gd name="T60" fmla="*/ 6 w 46"/>
                  <a:gd name="T61" fmla="*/ 13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46" h="45">
                    <a:moveTo>
                      <a:pt x="6" y="13"/>
                    </a:moveTo>
                    <a:cubicBezTo>
                      <a:pt x="12" y="19"/>
                      <a:pt x="12" y="19"/>
                      <a:pt x="12" y="19"/>
                    </a:cubicBezTo>
                    <a:cubicBezTo>
                      <a:pt x="10" y="21"/>
                      <a:pt x="9" y="24"/>
                      <a:pt x="9" y="26"/>
                    </a:cubicBezTo>
                    <a:cubicBezTo>
                      <a:pt x="9" y="28"/>
                      <a:pt x="10" y="30"/>
                      <a:pt x="11" y="32"/>
                    </a:cubicBezTo>
                    <a:cubicBezTo>
                      <a:pt x="13" y="34"/>
                      <a:pt x="15" y="35"/>
                      <a:pt x="17" y="36"/>
                    </a:cubicBezTo>
                    <a:cubicBezTo>
                      <a:pt x="19" y="36"/>
                      <a:pt x="20" y="36"/>
                      <a:pt x="22" y="35"/>
                    </a:cubicBezTo>
                    <a:cubicBezTo>
                      <a:pt x="22" y="34"/>
                      <a:pt x="23" y="33"/>
                      <a:pt x="23" y="32"/>
                    </a:cubicBezTo>
                    <a:cubicBezTo>
                      <a:pt x="23" y="32"/>
                      <a:pt x="23" y="30"/>
                      <a:pt x="22" y="29"/>
                    </a:cubicBezTo>
                    <a:cubicBezTo>
                      <a:pt x="22" y="28"/>
                      <a:pt x="21" y="26"/>
                      <a:pt x="19" y="22"/>
                    </a:cubicBezTo>
                    <a:cubicBezTo>
                      <a:pt x="17" y="18"/>
                      <a:pt x="16" y="14"/>
                      <a:pt x="16" y="12"/>
                    </a:cubicBezTo>
                    <a:cubicBezTo>
                      <a:pt x="17" y="8"/>
                      <a:pt x="18" y="5"/>
                      <a:pt x="21" y="3"/>
                    </a:cubicBezTo>
                    <a:cubicBezTo>
                      <a:pt x="23" y="1"/>
                      <a:pt x="25" y="1"/>
                      <a:pt x="27" y="0"/>
                    </a:cubicBezTo>
                    <a:cubicBezTo>
                      <a:pt x="29" y="0"/>
                      <a:pt x="31" y="1"/>
                      <a:pt x="34" y="2"/>
                    </a:cubicBezTo>
                    <a:cubicBezTo>
                      <a:pt x="36" y="3"/>
                      <a:pt x="38" y="5"/>
                      <a:pt x="40" y="8"/>
                    </a:cubicBezTo>
                    <a:cubicBezTo>
                      <a:pt x="44" y="12"/>
                      <a:pt x="46" y="16"/>
                      <a:pt x="45" y="19"/>
                    </a:cubicBezTo>
                    <a:cubicBezTo>
                      <a:pt x="45" y="23"/>
                      <a:pt x="44" y="26"/>
                      <a:pt x="41" y="29"/>
                    </a:cubicBezTo>
                    <a:cubicBezTo>
                      <a:pt x="35" y="22"/>
                      <a:pt x="35" y="22"/>
                      <a:pt x="35" y="22"/>
                    </a:cubicBezTo>
                    <a:cubicBezTo>
                      <a:pt x="36" y="21"/>
                      <a:pt x="37" y="19"/>
                      <a:pt x="37" y="17"/>
                    </a:cubicBezTo>
                    <a:cubicBezTo>
                      <a:pt x="37" y="16"/>
                      <a:pt x="36" y="14"/>
                      <a:pt x="35" y="12"/>
                    </a:cubicBezTo>
                    <a:cubicBezTo>
                      <a:pt x="33" y="10"/>
                      <a:pt x="31" y="9"/>
                      <a:pt x="30" y="8"/>
                    </a:cubicBezTo>
                    <a:cubicBezTo>
                      <a:pt x="28" y="8"/>
                      <a:pt x="27" y="8"/>
                      <a:pt x="27" y="9"/>
                    </a:cubicBezTo>
                    <a:cubicBezTo>
                      <a:pt x="26" y="10"/>
                      <a:pt x="25" y="11"/>
                      <a:pt x="25" y="12"/>
                    </a:cubicBezTo>
                    <a:cubicBezTo>
                      <a:pt x="25" y="13"/>
                      <a:pt x="26" y="16"/>
                      <a:pt x="28" y="20"/>
                    </a:cubicBezTo>
                    <a:cubicBezTo>
                      <a:pt x="30" y="24"/>
                      <a:pt x="31" y="27"/>
                      <a:pt x="32" y="29"/>
                    </a:cubicBezTo>
                    <a:cubicBezTo>
                      <a:pt x="32" y="32"/>
                      <a:pt x="32" y="34"/>
                      <a:pt x="31" y="36"/>
                    </a:cubicBezTo>
                    <a:cubicBezTo>
                      <a:pt x="31" y="38"/>
                      <a:pt x="29" y="40"/>
                      <a:pt x="27" y="42"/>
                    </a:cubicBezTo>
                    <a:cubicBezTo>
                      <a:pt x="25" y="43"/>
                      <a:pt x="23" y="44"/>
                      <a:pt x="20" y="45"/>
                    </a:cubicBezTo>
                    <a:cubicBezTo>
                      <a:pt x="18" y="45"/>
                      <a:pt x="15" y="44"/>
                      <a:pt x="13" y="43"/>
                    </a:cubicBezTo>
                    <a:cubicBezTo>
                      <a:pt x="10" y="42"/>
                      <a:pt x="8" y="40"/>
                      <a:pt x="6" y="37"/>
                    </a:cubicBezTo>
                    <a:cubicBezTo>
                      <a:pt x="2" y="32"/>
                      <a:pt x="0" y="28"/>
                      <a:pt x="0" y="24"/>
                    </a:cubicBezTo>
                    <a:cubicBezTo>
                      <a:pt x="1" y="20"/>
                      <a:pt x="2" y="17"/>
                      <a:pt x="6" y="1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42" name="í$ļîḋê"/>
              <p:cNvSpPr/>
              <p:nvPr/>
            </p:nvSpPr>
            <p:spPr bwMode="auto">
              <a:xfrm>
                <a:off x="1868384" y="5844178"/>
                <a:ext cx="82550" cy="82550"/>
              </a:xfrm>
              <a:custGeom>
                <a:avLst/>
                <a:gdLst>
                  <a:gd name="T0" fmla="*/ 25 w 45"/>
                  <a:gd name="T1" fmla="*/ 33 h 45"/>
                  <a:gd name="T2" fmla="*/ 29 w 45"/>
                  <a:gd name="T3" fmla="*/ 41 h 45"/>
                  <a:gd name="T4" fmla="*/ 17 w 45"/>
                  <a:gd name="T5" fmla="*/ 44 h 45"/>
                  <a:gd name="T6" fmla="*/ 6 w 45"/>
                  <a:gd name="T7" fmla="*/ 38 h 45"/>
                  <a:gd name="T8" fmla="*/ 0 w 45"/>
                  <a:gd name="T9" fmla="*/ 24 h 45"/>
                  <a:gd name="T10" fmla="*/ 8 w 45"/>
                  <a:gd name="T11" fmla="*/ 8 h 45"/>
                  <a:gd name="T12" fmla="*/ 24 w 45"/>
                  <a:gd name="T13" fmla="*/ 0 h 45"/>
                  <a:gd name="T14" fmla="*/ 39 w 45"/>
                  <a:gd name="T15" fmla="*/ 7 h 45"/>
                  <a:gd name="T16" fmla="*/ 45 w 45"/>
                  <a:gd name="T17" fmla="*/ 19 h 45"/>
                  <a:gd name="T18" fmla="*/ 42 w 45"/>
                  <a:gd name="T19" fmla="*/ 28 h 45"/>
                  <a:gd name="T20" fmla="*/ 34 w 45"/>
                  <a:gd name="T21" fmla="*/ 23 h 45"/>
                  <a:gd name="T22" fmla="*/ 36 w 45"/>
                  <a:gd name="T23" fmla="*/ 17 h 45"/>
                  <a:gd name="T24" fmla="*/ 33 w 45"/>
                  <a:gd name="T25" fmla="*/ 12 h 45"/>
                  <a:gd name="T26" fmla="*/ 25 w 45"/>
                  <a:gd name="T27" fmla="*/ 9 h 45"/>
                  <a:gd name="T28" fmla="*/ 15 w 45"/>
                  <a:gd name="T29" fmla="*/ 14 h 45"/>
                  <a:gd name="T30" fmla="*/ 8 w 45"/>
                  <a:gd name="T31" fmla="*/ 25 h 45"/>
                  <a:gd name="T32" fmla="*/ 11 w 45"/>
                  <a:gd name="T33" fmla="*/ 33 h 45"/>
                  <a:gd name="T34" fmla="*/ 17 w 45"/>
                  <a:gd name="T35" fmla="*/ 36 h 45"/>
                  <a:gd name="T36" fmla="*/ 25 w 45"/>
                  <a:gd name="T37" fmla="*/ 33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45" h="45">
                    <a:moveTo>
                      <a:pt x="25" y="33"/>
                    </a:moveTo>
                    <a:cubicBezTo>
                      <a:pt x="29" y="41"/>
                      <a:pt x="29" y="41"/>
                      <a:pt x="29" y="41"/>
                    </a:cubicBezTo>
                    <a:cubicBezTo>
                      <a:pt x="25" y="44"/>
                      <a:pt x="21" y="45"/>
                      <a:pt x="17" y="44"/>
                    </a:cubicBezTo>
                    <a:cubicBezTo>
                      <a:pt x="13" y="44"/>
                      <a:pt x="9" y="42"/>
                      <a:pt x="6" y="38"/>
                    </a:cubicBezTo>
                    <a:cubicBezTo>
                      <a:pt x="2" y="34"/>
                      <a:pt x="0" y="29"/>
                      <a:pt x="0" y="24"/>
                    </a:cubicBezTo>
                    <a:cubicBezTo>
                      <a:pt x="0" y="19"/>
                      <a:pt x="3" y="13"/>
                      <a:pt x="8" y="8"/>
                    </a:cubicBezTo>
                    <a:cubicBezTo>
                      <a:pt x="13" y="3"/>
                      <a:pt x="18" y="1"/>
                      <a:pt x="24" y="0"/>
                    </a:cubicBezTo>
                    <a:cubicBezTo>
                      <a:pt x="29" y="0"/>
                      <a:pt x="34" y="2"/>
                      <a:pt x="39" y="7"/>
                    </a:cubicBezTo>
                    <a:cubicBezTo>
                      <a:pt x="42" y="10"/>
                      <a:pt x="44" y="15"/>
                      <a:pt x="45" y="19"/>
                    </a:cubicBezTo>
                    <a:cubicBezTo>
                      <a:pt x="45" y="22"/>
                      <a:pt x="44" y="25"/>
                      <a:pt x="42" y="28"/>
                    </a:cubicBezTo>
                    <a:cubicBezTo>
                      <a:pt x="34" y="23"/>
                      <a:pt x="34" y="23"/>
                      <a:pt x="34" y="23"/>
                    </a:cubicBezTo>
                    <a:cubicBezTo>
                      <a:pt x="36" y="21"/>
                      <a:pt x="36" y="19"/>
                      <a:pt x="36" y="17"/>
                    </a:cubicBezTo>
                    <a:cubicBezTo>
                      <a:pt x="36" y="15"/>
                      <a:pt x="35" y="13"/>
                      <a:pt x="33" y="12"/>
                    </a:cubicBezTo>
                    <a:cubicBezTo>
                      <a:pt x="31" y="9"/>
                      <a:pt x="28" y="8"/>
                      <a:pt x="25" y="9"/>
                    </a:cubicBezTo>
                    <a:cubicBezTo>
                      <a:pt x="22" y="9"/>
                      <a:pt x="18" y="11"/>
                      <a:pt x="15" y="14"/>
                    </a:cubicBezTo>
                    <a:cubicBezTo>
                      <a:pt x="11" y="18"/>
                      <a:pt x="9" y="22"/>
                      <a:pt x="8" y="25"/>
                    </a:cubicBezTo>
                    <a:cubicBezTo>
                      <a:pt x="8" y="28"/>
                      <a:pt x="9" y="31"/>
                      <a:pt x="11" y="33"/>
                    </a:cubicBezTo>
                    <a:cubicBezTo>
                      <a:pt x="13" y="35"/>
                      <a:pt x="15" y="36"/>
                      <a:pt x="17" y="36"/>
                    </a:cubicBezTo>
                    <a:cubicBezTo>
                      <a:pt x="20" y="36"/>
                      <a:pt x="22" y="35"/>
                      <a:pt x="25" y="3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43" name="íṩḷiḋé"/>
              <p:cNvSpPr/>
              <p:nvPr/>
            </p:nvSpPr>
            <p:spPr bwMode="auto">
              <a:xfrm>
                <a:off x="1916009" y="5887040"/>
                <a:ext cx="65088" cy="71438"/>
              </a:xfrm>
              <a:custGeom>
                <a:avLst/>
                <a:gdLst>
                  <a:gd name="T0" fmla="*/ 0 w 41"/>
                  <a:gd name="T1" fmla="*/ 38 h 45"/>
                  <a:gd name="T2" fmla="*/ 34 w 41"/>
                  <a:gd name="T3" fmla="*/ 0 h 45"/>
                  <a:gd name="T4" fmla="*/ 41 w 41"/>
                  <a:gd name="T5" fmla="*/ 6 h 45"/>
                  <a:gd name="T6" fmla="*/ 8 w 41"/>
                  <a:gd name="T7" fmla="*/ 45 h 45"/>
                  <a:gd name="T8" fmla="*/ 0 w 41"/>
                  <a:gd name="T9" fmla="*/ 38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1" h="45">
                    <a:moveTo>
                      <a:pt x="0" y="38"/>
                    </a:moveTo>
                    <a:lnTo>
                      <a:pt x="34" y="0"/>
                    </a:lnTo>
                    <a:lnTo>
                      <a:pt x="41" y="6"/>
                    </a:lnTo>
                    <a:lnTo>
                      <a:pt x="8" y="45"/>
                    </a:lnTo>
                    <a:lnTo>
                      <a:pt x="0" y="3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44" name="îsľïďé"/>
              <p:cNvSpPr/>
              <p:nvPr/>
            </p:nvSpPr>
            <p:spPr bwMode="auto">
              <a:xfrm>
                <a:off x="1941409" y="5904503"/>
                <a:ext cx="96838" cy="101600"/>
              </a:xfrm>
              <a:custGeom>
                <a:avLst/>
                <a:gdLst>
                  <a:gd name="T0" fmla="*/ 0 w 61"/>
                  <a:gd name="T1" fmla="*/ 41 h 64"/>
                  <a:gd name="T2" fmla="*/ 31 w 61"/>
                  <a:gd name="T3" fmla="*/ 0 h 64"/>
                  <a:gd name="T4" fmla="*/ 61 w 61"/>
                  <a:gd name="T5" fmla="*/ 22 h 64"/>
                  <a:gd name="T6" fmla="*/ 56 w 61"/>
                  <a:gd name="T7" fmla="*/ 29 h 64"/>
                  <a:gd name="T8" fmla="*/ 34 w 61"/>
                  <a:gd name="T9" fmla="*/ 13 h 64"/>
                  <a:gd name="T10" fmla="*/ 27 w 61"/>
                  <a:gd name="T11" fmla="*/ 22 h 64"/>
                  <a:gd name="T12" fmla="*/ 47 w 61"/>
                  <a:gd name="T13" fmla="*/ 37 h 64"/>
                  <a:gd name="T14" fmla="*/ 42 w 61"/>
                  <a:gd name="T15" fmla="*/ 44 h 64"/>
                  <a:gd name="T16" fmla="*/ 21 w 61"/>
                  <a:gd name="T17" fmla="*/ 29 h 64"/>
                  <a:gd name="T18" fmla="*/ 13 w 61"/>
                  <a:gd name="T19" fmla="*/ 40 h 64"/>
                  <a:gd name="T20" fmla="*/ 36 w 61"/>
                  <a:gd name="T21" fmla="*/ 57 h 64"/>
                  <a:gd name="T22" fmla="*/ 31 w 61"/>
                  <a:gd name="T23" fmla="*/ 64 h 64"/>
                  <a:gd name="T24" fmla="*/ 0 w 61"/>
                  <a:gd name="T25" fmla="*/ 41 h 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1" h="64">
                    <a:moveTo>
                      <a:pt x="0" y="41"/>
                    </a:moveTo>
                    <a:lnTo>
                      <a:pt x="31" y="0"/>
                    </a:lnTo>
                    <a:lnTo>
                      <a:pt x="61" y="22"/>
                    </a:lnTo>
                    <a:lnTo>
                      <a:pt x="56" y="29"/>
                    </a:lnTo>
                    <a:lnTo>
                      <a:pt x="34" y="13"/>
                    </a:lnTo>
                    <a:lnTo>
                      <a:pt x="27" y="22"/>
                    </a:lnTo>
                    <a:lnTo>
                      <a:pt x="47" y="37"/>
                    </a:lnTo>
                    <a:lnTo>
                      <a:pt x="42" y="44"/>
                    </a:lnTo>
                    <a:lnTo>
                      <a:pt x="21" y="29"/>
                    </a:lnTo>
                    <a:lnTo>
                      <a:pt x="13" y="40"/>
                    </a:lnTo>
                    <a:lnTo>
                      <a:pt x="36" y="57"/>
                    </a:lnTo>
                    <a:lnTo>
                      <a:pt x="31" y="64"/>
                    </a:lnTo>
                    <a:lnTo>
                      <a:pt x="0" y="4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45" name="íśliḋé"/>
              <p:cNvSpPr/>
              <p:nvPr/>
            </p:nvSpPr>
            <p:spPr bwMode="auto">
              <a:xfrm>
                <a:off x="2004909" y="5947365"/>
                <a:ext cx="96838" cy="101600"/>
              </a:xfrm>
              <a:custGeom>
                <a:avLst/>
                <a:gdLst>
                  <a:gd name="T0" fmla="*/ 0 w 61"/>
                  <a:gd name="T1" fmla="*/ 43 h 64"/>
                  <a:gd name="T2" fmla="*/ 27 w 61"/>
                  <a:gd name="T3" fmla="*/ 0 h 64"/>
                  <a:gd name="T4" fmla="*/ 35 w 61"/>
                  <a:gd name="T5" fmla="*/ 5 h 64"/>
                  <a:gd name="T6" fmla="*/ 36 w 61"/>
                  <a:gd name="T7" fmla="*/ 45 h 64"/>
                  <a:gd name="T8" fmla="*/ 53 w 61"/>
                  <a:gd name="T9" fmla="*/ 15 h 64"/>
                  <a:gd name="T10" fmla="*/ 61 w 61"/>
                  <a:gd name="T11" fmla="*/ 21 h 64"/>
                  <a:gd name="T12" fmla="*/ 35 w 61"/>
                  <a:gd name="T13" fmla="*/ 64 h 64"/>
                  <a:gd name="T14" fmla="*/ 27 w 61"/>
                  <a:gd name="T15" fmla="*/ 59 h 64"/>
                  <a:gd name="T16" fmla="*/ 25 w 61"/>
                  <a:gd name="T17" fmla="*/ 20 h 64"/>
                  <a:gd name="T18" fmla="*/ 8 w 61"/>
                  <a:gd name="T19" fmla="*/ 49 h 64"/>
                  <a:gd name="T20" fmla="*/ 0 w 61"/>
                  <a:gd name="T21" fmla="*/ 43 h 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61" h="64">
                    <a:moveTo>
                      <a:pt x="0" y="43"/>
                    </a:moveTo>
                    <a:lnTo>
                      <a:pt x="27" y="0"/>
                    </a:lnTo>
                    <a:lnTo>
                      <a:pt x="35" y="5"/>
                    </a:lnTo>
                    <a:lnTo>
                      <a:pt x="36" y="45"/>
                    </a:lnTo>
                    <a:lnTo>
                      <a:pt x="53" y="15"/>
                    </a:lnTo>
                    <a:lnTo>
                      <a:pt x="61" y="21"/>
                    </a:lnTo>
                    <a:lnTo>
                      <a:pt x="35" y="64"/>
                    </a:lnTo>
                    <a:lnTo>
                      <a:pt x="27" y="59"/>
                    </a:lnTo>
                    <a:lnTo>
                      <a:pt x="25" y="20"/>
                    </a:lnTo>
                    <a:lnTo>
                      <a:pt x="8" y="49"/>
                    </a:lnTo>
                    <a:lnTo>
                      <a:pt x="0" y="4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46" name="iSļiďê"/>
              <p:cNvSpPr/>
              <p:nvPr/>
            </p:nvSpPr>
            <p:spPr bwMode="auto">
              <a:xfrm>
                <a:off x="2087459" y="5993403"/>
                <a:ext cx="79375" cy="87313"/>
              </a:xfrm>
              <a:custGeom>
                <a:avLst/>
                <a:gdLst>
                  <a:gd name="T0" fmla="*/ 28 w 43"/>
                  <a:gd name="T1" fmla="*/ 33 h 47"/>
                  <a:gd name="T2" fmla="*/ 34 w 43"/>
                  <a:gd name="T3" fmla="*/ 39 h 47"/>
                  <a:gd name="T4" fmla="*/ 24 w 43"/>
                  <a:gd name="T5" fmla="*/ 46 h 47"/>
                  <a:gd name="T6" fmla="*/ 12 w 43"/>
                  <a:gd name="T7" fmla="*/ 44 h 47"/>
                  <a:gd name="T8" fmla="*/ 1 w 43"/>
                  <a:gd name="T9" fmla="*/ 33 h 47"/>
                  <a:gd name="T10" fmla="*/ 3 w 43"/>
                  <a:gd name="T11" fmla="*/ 15 h 47"/>
                  <a:gd name="T12" fmla="*/ 15 w 43"/>
                  <a:gd name="T13" fmla="*/ 2 h 47"/>
                  <a:gd name="T14" fmla="*/ 32 w 43"/>
                  <a:gd name="T15" fmla="*/ 3 h 47"/>
                  <a:gd name="T16" fmla="*/ 41 w 43"/>
                  <a:gd name="T17" fmla="*/ 13 h 47"/>
                  <a:gd name="T18" fmla="*/ 42 w 43"/>
                  <a:gd name="T19" fmla="*/ 22 h 47"/>
                  <a:gd name="T20" fmla="*/ 33 w 43"/>
                  <a:gd name="T21" fmla="*/ 20 h 47"/>
                  <a:gd name="T22" fmla="*/ 33 w 43"/>
                  <a:gd name="T23" fmla="*/ 14 h 47"/>
                  <a:gd name="T24" fmla="*/ 28 w 43"/>
                  <a:gd name="T25" fmla="*/ 10 h 47"/>
                  <a:gd name="T26" fmla="*/ 19 w 43"/>
                  <a:gd name="T27" fmla="*/ 10 h 47"/>
                  <a:gd name="T28" fmla="*/ 12 w 43"/>
                  <a:gd name="T29" fmla="*/ 19 h 47"/>
                  <a:gd name="T30" fmla="*/ 9 w 43"/>
                  <a:gd name="T31" fmla="*/ 31 h 47"/>
                  <a:gd name="T32" fmla="*/ 15 w 43"/>
                  <a:gd name="T33" fmla="*/ 37 h 47"/>
                  <a:gd name="T34" fmla="*/ 22 w 43"/>
                  <a:gd name="T35" fmla="*/ 38 h 47"/>
                  <a:gd name="T36" fmla="*/ 28 w 43"/>
                  <a:gd name="T37" fmla="*/ 33 h 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43" h="47">
                    <a:moveTo>
                      <a:pt x="28" y="33"/>
                    </a:moveTo>
                    <a:cubicBezTo>
                      <a:pt x="34" y="39"/>
                      <a:pt x="34" y="39"/>
                      <a:pt x="34" y="39"/>
                    </a:cubicBezTo>
                    <a:cubicBezTo>
                      <a:pt x="31" y="43"/>
                      <a:pt x="28" y="45"/>
                      <a:pt x="24" y="46"/>
                    </a:cubicBezTo>
                    <a:cubicBezTo>
                      <a:pt x="20" y="47"/>
                      <a:pt x="16" y="46"/>
                      <a:pt x="12" y="44"/>
                    </a:cubicBezTo>
                    <a:cubicBezTo>
                      <a:pt x="7" y="42"/>
                      <a:pt x="3" y="38"/>
                      <a:pt x="1" y="33"/>
                    </a:cubicBezTo>
                    <a:cubicBezTo>
                      <a:pt x="0" y="27"/>
                      <a:pt x="0" y="22"/>
                      <a:pt x="3" y="15"/>
                    </a:cubicBezTo>
                    <a:cubicBezTo>
                      <a:pt x="6" y="9"/>
                      <a:pt x="10" y="4"/>
                      <a:pt x="15" y="2"/>
                    </a:cubicBezTo>
                    <a:cubicBezTo>
                      <a:pt x="21" y="0"/>
                      <a:pt x="26" y="1"/>
                      <a:pt x="32" y="3"/>
                    </a:cubicBezTo>
                    <a:cubicBezTo>
                      <a:pt x="36" y="5"/>
                      <a:pt x="40" y="9"/>
                      <a:pt x="41" y="13"/>
                    </a:cubicBezTo>
                    <a:cubicBezTo>
                      <a:pt x="42" y="16"/>
                      <a:pt x="43" y="19"/>
                      <a:pt x="42" y="22"/>
                    </a:cubicBezTo>
                    <a:cubicBezTo>
                      <a:pt x="33" y="20"/>
                      <a:pt x="33" y="20"/>
                      <a:pt x="33" y="20"/>
                    </a:cubicBezTo>
                    <a:cubicBezTo>
                      <a:pt x="34" y="18"/>
                      <a:pt x="34" y="16"/>
                      <a:pt x="33" y="14"/>
                    </a:cubicBezTo>
                    <a:cubicBezTo>
                      <a:pt x="32" y="12"/>
                      <a:pt x="30" y="11"/>
                      <a:pt x="28" y="10"/>
                    </a:cubicBezTo>
                    <a:cubicBezTo>
                      <a:pt x="25" y="8"/>
                      <a:pt x="22" y="8"/>
                      <a:pt x="19" y="10"/>
                    </a:cubicBezTo>
                    <a:cubicBezTo>
                      <a:pt x="16" y="11"/>
                      <a:pt x="14" y="14"/>
                      <a:pt x="12" y="19"/>
                    </a:cubicBezTo>
                    <a:cubicBezTo>
                      <a:pt x="9" y="24"/>
                      <a:pt x="9" y="28"/>
                      <a:pt x="9" y="31"/>
                    </a:cubicBezTo>
                    <a:cubicBezTo>
                      <a:pt x="10" y="34"/>
                      <a:pt x="12" y="36"/>
                      <a:pt x="15" y="37"/>
                    </a:cubicBezTo>
                    <a:cubicBezTo>
                      <a:pt x="17" y="38"/>
                      <a:pt x="19" y="38"/>
                      <a:pt x="22" y="38"/>
                    </a:cubicBezTo>
                    <a:cubicBezTo>
                      <a:pt x="24" y="37"/>
                      <a:pt x="26" y="35"/>
                      <a:pt x="28" y="3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47" name="íSliḋé"/>
              <p:cNvSpPr/>
              <p:nvPr/>
            </p:nvSpPr>
            <p:spPr bwMode="auto">
              <a:xfrm>
                <a:off x="2157309" y="6017215"/>
                <a:ext cx="82550" cy="96838"/>
              </a:xfrm>
              <a:custGeom>
                <a:avLst/>
                <a:gdLst>
                  <a:gd name="T0" fmla="*/ 0 w 52"/>
                  <a:gd name="T1" fmla="*/ 49 h 61"/>
                  <a:gd name="T2" fmla="*/ 16 w 52"/>
                  <a:gd name="T3" fmla="*/ 0 h 61"/>
                  <a:gd name="T4" fmla="*/ 52 w 52"/>
                  <a:gd name="T5" fmla="*/ 13 h 61"/>
                  <a:gd name="T6" fmla="*/ 50 w 52"/>
                  <a:gd name="T7" fmla="*/ 21 h 61"/>
                  <a:gd name="T8" fmla="*/ 23 w 52"/>
                  <a:gd name="T9" fmla="*/ 12 h 61"/>
                  <a:gd name="T10" fmla="*/ 20 w 52"/>
                  <a:gd name="T11" fmla="*/ 22 h 61"/>
                  <a:gd name="T12" fmla="*/ 44 w 52"/>
                  <a:gd name="T13" fmla="*/ 30 h 61"/>
                  <a:gd name="T14" fmla="*/ 41 w 52"/>
                  <a:gd name="T15" fmla="*/ 38 h 61"/>
                  <a:gd name="T16" fmla="*/ 18 w 52"/>
                  <a:gd name="T17" fmla="*/ 30 h 61"/>
                  <a:gd name="T18" fmla="*/ 13 w 52"/>
                  <a:gd name="T19" fmla="*/ 43 h 61"/>
                  <a:gd name="T20" fmla="*/ 40 w 52"/>
                  <a:gd name="T21" fmla="*/ 52 h 61"/>
                  <a:gd name="T22" fmla="*/ 36 w 52"/>
                  <a:gd name="T23" fmla="*/ 61 h 61"/>
                  <a:gd name="T24" fmla="*/ 0 w 52"/>
                  <a:gd name="T25" fmla="*/ 49 h 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52" h="61">
                    <a:moveTo>
                      <a:pt x="0" y="49"/>
                    </a:moveTo>
                    <a:lnTo>
                      <a:pt x="16" y="0"/>
                    </a:lnTo>
                    <a:lnTo>
                      <a:pt x="52" y="13"/>
                    </a:lnTo>
                    <a:lnTo>
                      <a:pt x="50" y="21"/>
                    </a:lnTo>
                    <a:lnTo>
                      <a:pt x="23" y="12"/>
                    </a:lnTo>
                    <a:lnTo>
                      <a:pt x="20" y="22"/>
                    </a:lnTo>
                    <a:lnTo>
                      <a:pt x="44" y="30"/>
                    </a:lnTo>
                    <a:lnTo>
                      <a:pt x="41" y="38"/>
                    </a:lnTo>
                    <a:lnTo>
                      <a:pt x="18" y="30"/>
                    </a:lnTo>
                    <a:lnTo>
                      <a:pt x="13" y="43"/>
                    </a:lnTo>
                    <a:lnTo>
                      <a:pt x="40" y="52"/>
                    </a:lnTo>
                    <a:lnTo>
                      <a:pt x="36" y="61"/>
                    </a:lnTo>
                    <a:lnTo>
                      <a:pt x="0" y="4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48" name="îŝ1îḑè"/>
              <p:cNvSpPr/>
              <p:nvPr/>
            </p:nvSpPr>
            <p:spPr bwMode="auto">
              <a:xfrm>
                <a:off x="2663722" y="6026740"/>
                <a:ext cx="77788" cy="92075"/>
              </a:xfrm>
              <a:custGeom>
                <a:avLst/>
                <a:gdLst>
                  <a:gd name="T0" fmla="*/ 49 w 49"/>
                  <a:gd name="T1" fmla="*/ 42 h 58"/>
                  <a:gd name="T2" fmla="*/ 39 w 49"/>
                  <a:gd name="T3" fmla="*/ 45 h 58"/>
                  <a:gd name="T4" fmla="*/ 31 w 49"/>
                  <a:gd name="T5" fmla="*/ 36 h 58"/>
                  <a:gd name="T6" fmla="*/ 11 w 49"/>
                  <a:gd name="T7" fmla="*/ 43 h 58"/>
                  <a:gd name="T8" fmla="*/ 11 w 49"/>
                  <a:gd name="T9" fmla="*/ 55 h 58"/>
                  <a:gd name="T10" fmla="*/ 0 w 49"/>
                  <a:gd name="T11" fmla="*/ 58 h 58"/>
                  <a:gd name="T12" fmla="*/ 3 w 49"/>
                  <a:gd name="T13" fmla="*/ 3 h 58"/>
                  <a:gd name="T14" fmla="*/ 13 w 49"/>
                  <a:gd name="T15" fmla="*/ 0 h 58"/>
                  <a:gd name="T16" fmla="*/ 49 w 49"/>
                  <a:gd name="T17" fmla="*/ 42 h 58"/>
                  <a:gd name="T18" fmla="*/ 25 w 49"/>
                  <a:gd name="T19" fmla="*/ 29 h 58"/>
                  <a:gd name="T20" fmla="*/ 12 w 49"/>
                  <a:gd name="T21" fmla="*/ 14 h 58"/>
                  <a:gd name="T22" fmla="*/ 11 w 49"/>
                  <a:gd name="T23" fmla="*/ 34 h 58"/>
                  <a:gd name="T24" fmla="*/ 25 w 49"/>
                  <a:gd name="T25" fmla="*/ 29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49" h="58">
                    <a:moveTo>
                      <a:pt x="49" y="42"/>
                    </a:moveTo>
                    <a:lnTo>
                      <a:pt x="39" y="45"/>
                    </a:lnTo>
                    <a:lnTo>
                      <a:pt x="31" y="36"/>
                    </a:lnTo>
                    <a:lnTo>
                      <a:pt x="11" y="43"/>
                    </a:lnTo>
                    <a:lnTo>
                      <a:pt x="11" y="55"/>
                    </a:lnTo>
                    <a:lnTo>
                      <a:pt x="0" y="58"/>
                    </a:lnTo>
                    <a:lnTo>
                      <a:pt x="3" y="3"/>
                    </a:lnTo>
                    <a:lnTo>
                      <a:pt x="13" y="0"/>
                    </a:lnTo>
                    <a:lnTo>
                      <a:pt x="49" y="42"/>
                    </a:lnTo>
                    <a:close/>
                    <a:moveTo>
                      <a:pt x="25" y="29"/>
                    </a:moveTo>
                    <a:lnTo>
                      <a:pt x="12" y="14"/>
                    </a:lnTo>
                    <a:lnTo>
                      <a:pt x="11" y="34"/>
                    </a:lnTo>
                    <a:lnTo>
                      <a:pt x="25" y="2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49" name="íṩḻiḋê"/>
              <p:cNvSpPr/>
              <p:nvPr/>
            </p:nvSpPr>
            <p:spPr bwMode="auto">
              <a:xfrm>
                <a:off x="2714522" y="5990228"/>
                <a:ext cx="92075" cy="101600"/>
              </a:xfrm>
              <a:custGeom>
                <a:avLst/>
                <a:gdLst>
                  <a:gd name="T0" fmla="*/ 21 w 58"/>
                  <a:gd name="T1" fmla="*/ 64 h 64"/>
                  <a:gd name="T2" fmla="*/ 0 w 58"/>
                  <a:gd name="T3" fmla="*/ 17 h 64"/>
                  <a:gd name="T4" fmla="*/ 9 w 58"/>
                  <a:gd name="T5" fmla="*/ 12 h 64"/>
                  <a:gd name="T6" fmla="*/ 43 w 58"/>
                  <a:gd name="T7" fmla="*/ 36 h 64"/>
                  <a:gd name="T8" fmla="*/ 29 w 58"/>
                  <a:gd name="T9" fmla="*/ 4 h 64"/>
                  <a:gd name="T10" fmla="*/ 37 w 58"/>
                  <a:gd name="T11" fmla="*/ 0 h 64"/>
                  <a:gd name="T12" fmla="*/ 58 w 58"/>
                  <a:gd name="T13" fmla="*/ 46 h 64"/>
                  <a:gd name="T14" fmla="*/ 49 w 58"/>
                  <a:gd name="T15" fmla="*/ 51 h 64"/>
                  <a:gd name="T16" fmla="*/ 16 w 58"/>
                  <a:gd name="T17" fmla="*/ 29 h 64"/>
                  <a:gd name="T18" fmla="*/ 30 w 58"/>
                  <a:gd name="T19" fmla="*/ 59 h 64"/>
                  <a:gd name="T20" fmla="*/ 21 w 58"/>
                  <a:gd name="T21" fmla="*/ 64 h 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58" h="64">
                    <a:moveTo>
                      <a:pt x="21" y="64"/>
                    </a:moveTo>
                    <a:lnTo>
                      <a:pt x="0" y="17"/>
                    </a:lnTo>
                    <a:lnTo>
                      <a:pt x="9" y="12"/>
                    </a:lnTo>
                    <a:lnTo>
                      <a:pt x="43" y="36"/>
                    </a:lnTo>
                    <a:lnTo>
                      <a:pt x="29" y="4"/>
                    </a:lnTo>
                    <a:lnTo>
                      <a:pt x="37" y="0"/>
                    </a:lnTo>
                    <a:lnTo>
                      <a:pt x="58" y="46"/>
                    </a:lnTo>
                    <a:lnTo>
                      <a:pt x="49" y="51"/>
                    </a:lnTo>
                    <a:lnTo>
                      <a:pt x="16" y="29"/>
                    </a:lnTo>
                    <a:lnTo>
                      <a:pt x="30" y="59"/>
                    </a:lnTo>
                    <a:lnTo>
                      <a:pt x="21" y="6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50" name="îṧľíḍe"/>
              <p:cNvSpPr/>
              <p:nvPr/>
            </p:nvSpPr>
            <p:spPr bwMode="auto">
              <a:xfrm>
                <a:off x="2781197" y="5963240"/>
                <a:ext cx="85725" cy="95250"/>
              </a:xfrm>
              <a:custGeom>
                <a:avLst/>
                <a:gdLst>
                  <a:gd name="T0" fmla="*/ 0 w 47"/>
                  <a:gd name="T1" fmla="*/ 13 h 51"/>
                  <a:gd name="T2" fmla="*/ 14 w 47"/>
                  <a:gd name="T3" fmla="*/ 4 h 51"/>
                  <a:gd name="T4" fmla="*/ 22 w 47"/>
                  <a:gd name="T5" fmla="*/ 1 h 51"/>
                  <a:gd name="T6" fmla="*/ 29 w 47"/>
                  <a:gd name="T7" fmla="*/ 1 h 51"/>
                  <a:gd name="T8" fmla="*/ 37 w 47"/>
                  <a:gd name="T9" fmla="*/ 5 h 51"/>
                  <a:gd name="T10" fmla="*/ 43 w 47"/>
                  <a:gd name="T11" fmla="*/ 14 h 51"/>
                  <a:gd name="T12" fmla="*/ 47 w 47"/>
                  <a:gd name="T13" fmla="*/ 22 h 51"/>
                  <a:gd name="T14" fmla="*/ 46 w 47"/>
                  <a:gd name="T15" fmla="*/ 31 h 51"/>
                  <a:gd name="T16" fmla="*/ 43 w 47"/>
                  <a:gd name="T17" fmla="*/ 38 h 51"/>
                  <a:gd name="T18" fmla="*/ 36 w 47"/>
                  <a:gd name="T19" fmla="*/ 42 h 51"/>
                  <a:gd name="T20" fmla="*/ 22 w 47"/>
                  <a:gd name="T21" fmla="*/ 51 h 51"/>
                  <a:gd name="T22" fmla="*/ 0 w 47"/>
                  <a:gd name="T23" fmla="*/ 13 h 51"/>
                  <a:gd name="T24" fmla="*/ 11 w 47"/>
                  <a:gd name="T25" fmla="*/ 15 h 51"/>
                  <a:gd name="T26" fmla="*/ 26 w 47"/>
                  <a:gd name="T27" fmla="*/ 40 h 51"/>
                  <a:gd name="T28" fmla="*/ 32 w 47"/>
                  <a:gd name="T29" fmla="*/ 37 h 51"/>
                  <a:gd name="T30" fmla="*/ 36 w 47"/>
                  <a:gd name="T31" fmla="*/ 33 h 51"/>
                  <a:gd name="T32" fmla="*/ 38 w 47"/>
                  <a:gd name="T33" fmla="*/ 30 h 51"/>
                  <a:gd name="T34" fmla="*/ 38 w 47"/>
                  <a:gd name="T35" fmla="*/ 25 h 51"/>
                  <a:gd name="T36" fmla="*/ 35 w 47"/>
                  <a:gd name="T37" fmla="*/ 18 h 51"/>
                  <a:gd name="T38" fmla="*/ 30 w 47"/>
                  <a:gd name="T39" fmla="*/ 11 h 51"/>
                  <a:gd name="T40" fmla="*/ 26 w 47"/>
                  <a:gd name="T41" fmla="*/ 9 h 51"/>
                  <a:gd name="T42" fmla="*/ 21 w 47"/>
                  <a:gd name="T43" fmla="*/ 9 h 51"/>
                  <a:gd name="T44" fmla="*/ 15 w 47"/>
                  <a:gd name="T45" fmla="*/ 13 h 51"/>
                  <a:gd name="T46" fmla="*/ 11 w 47"/>
                  <a:gd name="T47" fmla="*/ 15 h 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47" h="51">
                    <a:moveTo>
                      <a:pt x="0" y="13"/>
                    </a:moveTo>
                    <a:cubicBezTo>
                      <a:pt x="14" y="4"/>
                      <a:pt x="14" y="4"/>
                      <a:pt x="14" y="4"/>
                    </a:cubicBezTo>
                    <a:cubicBezTo>
                      <a:pt x="17" y="3"/>
                      <a:pt x="20" y="1"/>
                      <a:pt x="22" y="1"/>
                    </a:cubicBezTo>
                    <a:cubicBezTo>
                      <a:pt x="24" y="0"/>
                      <a:pt x="27" y="0"/>
                      <a:pt x="29" y="1"/>
                    </a:cubicBezTo>
                    <a:cubicBezTo>
                      <a:pt x="32" y="2"/>
                      <a:pt x="34" y="3"/>
                      <a:pt x="37" y="5"/>
                    </a:cubicBezTo>
                    <a:cubicBezTo>
                      <a:pt x="39" y="7"/>
                      <a:pt x="41" y="10"/>
                      <a:pt x="43" y="14"/>
                    </a:cubicBezTo>
                    <a:cubicBezTo>
                      <a:pt x="45" y="17"/>
                      <a:pt x="46" y="20"/>
                      <a:pt x="47" y="22"/>
                    </a:cubicBezTo>
                    <a:cubicBezTo>
                      <a:pt x="47" y="26"/>
                      <a:pt x="47" y="29"/>
                      <a:pt x="46" y="31"/>
                    </a:cubicBezTo>
                    <a:cubicBezTo>
                      <a:pt x="46" y="34"/>
                      <a:pt x="45" y="36"/>
                      <a:pt x="43" y="38"/>
                    </a:cubicBezTo>
                    <a:cubicBezTo>
                      <a:pt x="41" y="39"/>
                      <a:pt x="39" y="41"/>
                      <a:pt x="36" y="42"/>
                    </a:cubicBezTo>
                    <a:cubicBezTo>
                      <a:pt x="22" y="51"/>
                      <a:pt x="22" y="51"/>
                      <a:pt x="22" y="51"/>
                    </a:cubicBezTo>
                    <a:lnTo>
                      <a:pt x="0" y="13"/>
                    </a:lnTo>
                    <a:close/>
                    <a:moveTo>
                      <a:pt x="11" y="15"/>
                    </a:moveTo>
                    <a:cubicBezTo>
                      <a:pt x="26" y="40"/>
                      <a:pt x="26" y="40"/>
                      <a:pt x="26" y="40"/>
                    </a:cubicBezTo>
                    <a:cubicBezTo>
                      <a:pt x="32" y="37"/>
                      <a:pt x="32" y="37"/>
                      <a:pt x="32" y="37"/>
                    </a:cubicBezTo>
                    <a:cubicBezTo>
                      <a:pt x="34" y="35"/>
                      <a:pt x="35" y="34"/>
                      <a:pt x="36" y="33"/>
                    </a:cubicBezTo>
                    <a:cubicBezTo>
                      <a:pt x="37" y="32"/>
                      <a:pt x="38" y="31"/>
                      <a:pt x="38" y="30"/>
                    </a:cubicBezTo>
                    <a:cubicBezTo>
                      <a:pt x="39" y="29"/>
                      <a:pt x="39" y="27"/>
                      <a:pt x="38" y="25"/>
                    </a:cubicBezTo>
                    <a:cubicBezTo>
                      <a:pt x="38" y="23"/>
                      <a:pt x="37" y="21"/>
                      <a:pt x="35" y="18"/>
                    </a:cubicBezTo>
                    <a:cubicBezTo>
                      <a:pt x="33" y="15"/>
                      <a:pt x="32" y="13"/>
                      <a:pt x="30" y="11"/>
                    </a:cubicBezTo>
                    <a:cubicBezTo>
                      <a:pt x="29" y="10"/>
                      <a:pt x="27" y="9"/>
                      <a:pt x="26" y="9"/>
                    </a:cubicBezTo>
                    <a:cubicBezTo>
                      <a:pt x="25" y="9"/>
                      <a:pt x="23" y="9"/>
                      <a:pt x="21" y="9"/>
                    </a:cubicBezTo>
                    <a:cubicBezTo>
                      <a:pt x="20" y="10"/>
                      <a:pt x="18" y="11"/>
                      <a:pt x="15" y="13"/>
                    </a:cubicBezTo>
                    <a:lnTo>
                      <a:pt x="11" y="1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51" name="ïṩḻiḍe"/>
              <p:cNvSpPr/>
              <p:nvPr/>
            </p:nvSpPr>
            <p:spPr bwMode="auto">
              <a:xfrm>
                <a:off x="2876447" y="5888628"/>
                <a:ext cx="80963" cy="88900"/>
              </a:xfrm>
              <a:custGeom>
                <a:avLst/>
                <a:gdLst>
                  <a:gd name="T0" fmla="*/ 43 w 51"/>
                  <a:gd name="T1" fmla="*/ 56 h 56"/>
                  <a:gd name="T2" fmla="*/ 16 w 51"/>
                  <a:gd name="T3" fmla="*/ 22 h 56"/>
                  <a:gd name="T4" fmla="*/ 5 w 51"/>
                  <a:gd name="T5" fmla="*/ 31 h 56"/>
                  <a:gd name="T6" fmla="*/ 0 w 51"/>
                  <a:gd name="T7" fmla="*/ 25 h 56"/>
                  <a:gd name="T8" fmla="*/ 31 w 51"/>
                  <a:gd name="T9" fmla="*/ 0 h 56"/>
                  <a:gd name="T10" fmla="*/ 37 w 51"/>
                  <a:gd name="T11" fmla="*/ 7 h 56"/>
                  <a:gd name="T12" fmla="*/ 24 w 51"/>
                  <a:gd name="T13" fmla="*/ 16 h 56"/>
                  <a:gd name="T14" fmla="*/ 51 w 51"/>
                  <a:gd name="T15" fmla="*/ 49 h 56"/>
                  <a:gd name="T16" fmla="*/ 43 w 51"/>
                  <a:gd name="T17" fmla="*/ 56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1" h="56">
                    <a:moveTo>
                      <a:pt x="43" y="56"/>
                    </a:moveTo>
                    <a:lnTo>
                      <a:pt x="16" y="22"/>
                    </a:lnTo>
                    <a:lnTo>
                      <a:pt x="5" y="31"/>
                    </a:lnTo>
                    <a:lnTo>
                      <a:pt x="0" y="25"/>
                    </a:lnTo>
                    <a:lnTo>
                      <a:pt x="31" y="0"/>
                    </a:lnTo>
                    <a:lnTo>
                      <a:pt x="37" y="7"/>
                    </a:lnTo>
                    <a:lnTo>
                      <a:pt x="24" y="16"/>
                    </a:lnTo>
                    <a:lnTo>
                      <a:pt x="51" y="49"/>
                    </a:lnTo>
                    <a:lnTo>
                      <a:pt x="43" y="56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52" name="íśļïḓè"/>
              <p:cNvSpPr/>
              <p:nvPr/>
            </p:nvSpPr>
            <p:spPr bwMode="auto">
              <a:xfrm>
                <a:off x="2925659" y="5845765"/>
                <a:ext cx="101600" cy="100013"/>
              </a:xfrm>
              <a:custGeom>
                <a:avLst/>
                <a:gdLst>
                  <a:gd name="T0" fmla="*/ 36 w 64"/>
                  <a:gd name="T1" fmla="*/ 63 h 63"/>
                  <a:gd name="T2" fmla="*/ 0 w 64"/>
                  <a:gd name="T3" fmla="*/ 26 h 63"/>
                  <a:gd name="T4" fmla="*/ 28 w 64"/>
                  <a:gd name="T5" fmla="*/ 0 h 63"/>
                  <a:gd name="T6" fmla="*/ 34 w 64"/>
                  <a:gd name="T7" fmla="*/ 6 h 63"/>
                  <a:gd name="T8" fmla="*/ 14 w 64"/>
                  <a:gd name="T9" fmla="*/ 26 h 63"/>
                  <a:gd name="T10" fmla="*/ 22 w 64"/>
                  <a:gd name="T11" fmla="*/ 34 h 63"/>
                  <a:gd name="T12" fmla="*/ 41 w 64"/>
                  <a:gd name="T13" fmla="*/ 16 h 63"/>
                  <a:gd name="T14" fmla="*/ 47 w 64"/>
                  <a:gd name="T15" fmla="*/ 22 h 63"/>
                  <a:gd name="T16" fmla="*/ 28 w 64"/>
                  <a:gd name="T17" fmla="*/ 39 h 63"/>
                  <a:gd name="T18" fmla="*/ 38 w 64"/>
                  <a:gd name="T19" fmla="*/ 50 h 63"/>
                  <a:gd name="T20" fmla="*/ 58 w 64"/>
                  <a:gd name="T21" fmla="*/ 30 h 63"/>
                  <a:gd name="T22" fmla="*/ 64 w 64"/>
                  <a:gd name="T23" fmla="*/ 36 h 63"/>
                  <a:gd name="T24" fmla="*/ 36 w 64"/>
                  <a:gd name="T25" fmla="*/ 63 h 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4" h="63">
                    <a:moveTo>
                      <a:pt x="36" y="63"/>
                    </a:moveTo>
                    <a:lnTo>
                      <a:pt x="0" y="26"/>
                    </a:lnTo>
                    <a:lnTo>
                      <a:pt x="28" y="0"/>
                    </a:lnTo>
                    <a:lnTo>
                      <a:pt x="34" y="6"/>
                    </a:lnTo>
                    <a:lnTo>
                      <a:pt x="14" y="26"/>
                    </a:lnTo>
                    <a:lnTo>
                      <a:pt x="22" y="34"/>
                    </a:lnTo>
                    <a:lnTo>
                      <a:pt x="41" y="16"/>
                    </a:lnTo>
                    <a:lnTo>
                      <a:pt x="47" y="22"/>
                    </a:lnTo>
                    <a:lnTo>
                      <a:pt x="28" y="39"/>
                    </a:lnTo>
                    <a:lnTo>
                      <a:pt x="38" y="50"/>
                    </a:lnTo>
                    <a:lnTo>
                      <a:pt x="58" y="30"/>
                    </a:lnTo>
                    <a:lnTo>
                      <a:pt x="64" y="36"/>
                    </a:lnTo>
                    <a:lnTo>
                      <a:pt x="36" y="6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53" name="íṩḻîde"/>
              <p:cNvSpPr/>
              <p:nvPr/>
            </p:nvSpPr>
            <p:spPr bwMode="auto">
              <a:xfrm>
                <a:off x="2985984" y="5801315"/>
                <a:ext cx="82550" cy="80963"/>
              </a:xfrm>
              <a:custGeom>
                <a:avLst/>
                <a:gdLst>
                  <a:gd name="T0" fmla="*/ 34 w 45"/>
                  <a:gd name="T1" fmla="*/ 19 h 44"/>
                  <a:gd name="T2" fmla="*/ 41 w 45"/>
                  <a:gd name="T3" fmla="*/ 14 h 44"/>
                  <a:gd name="T4" fmla="*/ 45 w 45"/>
                  <a:gd name="T5" fmla="*/ 26 h 44"/>
                  <a:gd name="T6" fmla="*/ 40 w 45"/>
                  <a:gd name="T7" fmla="*/ 37 h 44"/>
                  <a:gd name="T8" fmla="*/ 26 w 45"/>
                  <a:gd name="T9" fmla="*/ 44 h 44"/>
                  <a:gd name="T10" fmla="*/ 10 w 45"/>
                  <a:gd name="T11" fmla="*/ 38 h 44"/>
                  <a:gd name="T12" fmla="*/ 1 w 45"/>
                  <a:gd name="T13" fmla="*/ 22 h 44"/>
                  <a:gd name="T14" fmla="*/ 6 w 45"/>
                  <a:gd name="T15" fmla="*/ 7 h 44"/>
                  <a:gd name="T16" fmla="*/ 18 w 45"/>
                  <a:gd name="T17" fmla="*/ 0 h 44"/>
                  <a:gd name="T18" fmla="*/ 27 w 45"/>
                  <a:gd name="T19" fmla="*/ 2 h 44"/>
                  <a:gd name="T20" fmla="*/ 23 w 45"/>
                  <a:gd name="T21" fmla="*/ 10 h 44"/>
                  <a:gd name="T22" fmla="*/ 17 w 45"/>
                  <a:gd name="T23" fmla="*/ 9 h 44"/>
                  <a:gd name="T24" fmla="*/ 11 w 45"/>
                  <a:gd name="T25" fmla="*/ 12 h 44"/>
                  <a:gd name="T26" fmla="*/ 9 w 45"/>
                  <a:gd name="T27" fmla="*/ 21 h 44"/>
                  <a:gd name="T28" fmla="*/ 15 w 45"/>
                  <a:gd name="T29" fmla="*/ 30 h 44"/>
                  <a:gd name="T30" fmla="*/ 26 w 45"/>
                  <a:gd name="T31" fmla="*/ 36 h 44"/>
                  <a:gd name="T32" fmla="*/ 34 w 45"/>
                  <a:gd name="T33" fmla="*/ 32 h 44"/>
                  <a:gd name="T34" fmla="*/ 36 w 45"/>
                  <a:gd name="T35" fmla="*/ 26 h 44"/>
                  <a:gd name="T36" fmla="*/ 34 w 45"/>
                  <a:gd name="T37" fmla="*/ 19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45" h="44">
                    <a:moveTo>
                      <a:pt x="34" y="19"/>
                    </a:moveTo>
                    <a:cubicBezTo>
                      <a:pt x="41" y="14"/>
                      <a:pt x="41" y="14"/>
                      <a:pt x="41" y="14"/>
                    </a:cubicBezTo>
                    <a:cubicBezTo>
                      <a:pt x="44" y="18"/>
                      <a:pt x="45" y="22"/>
                      <a:pt x="45" y="26"/>
                    </a:cubicBezTo>
                    <a:cubicBezTo>
                      <a:pt x="45" y="30"/>
                      <a:pt x="43" y="34"/>
                      <a:pt x="40" y="37"/>
                    </a:cubicBezTo>
                    <a:cubicBezTo>
                      <a:pt x="36" y="42"/>
                      <a:pt x="31" y="44"/>
                      <a:pt x="26" y="44"/>
                    </a:cubicBezTo>
                    <a:cubicBezTo>
                      <a:pt x="21" y="44"/>
                      <a:pt x="15" y="42"/>
                      <a:pt x="10" y="38"/>
                    </a:cubicBezTo>
                    <a:cubicBezTo>
                      <a:pt x="4" y="33"/>
                      <a:pt x="1" y="28"/>
                      <a:pt x="1" y="22"/>
                    </a:cubicBezTo>
                    <a:cubicBezTo>
                      <a:pt x="0" y="17"/>
                      <a:pt x="2" y="12"/>
                      <a:pt x="6" y="7"/>
                    </a:cubicBezTo>
                    <a:cubicBezTo>
                      <a:pt x="10" y="3"/>
                      <a:pt x="14" y="1"/>
                      <a:pt x="18" y="0"/>
                    </a:cubicBezTo>
                    <a:cubicBezTo>
                      <a:pt x="21" y="0"/>
                      <a:pt x="24" y="1"/>
                      <a:pt x="27" y="2"/>
                    </a:cubicBezTo>
                    <a:cubicBezTo>
                      <a:pt x="23" y="10"/>
                      <a:pt x="23" y="10"/>
                      <a:pt x="23" y="10"/>
                    </a:cubicBezTo>
                    <a:cubicBezTo>
                      <a:pt x="21" y="9"/>
                      <a:pt x="19" y="9"/>
                      <a:pt x="17" y="9"/>
                    </a:cubicBezTo>
                    <a:cubicBezTo>
                      <a:pt x="15" y="9"/>
                      <a:pt x="13" y="11"/>
                      <a:pt x="11" y="12"/>
                    </a:cubicBezTo>
                    <a:cubicBezTo>
                      <a:pt x="9" y="15"/>
                      <a:pt x="8" y="18"/>
                      <a:pt x="9" y="21"/>
                    </a:cubicBezTo>
                    <a:cubicBezTo>
                      <a:pt x="9" y="24"/>
                      <a:pt x="12" y="27"/>
                      <a:pt x="15" y="30"/>
                    </a:cubicBezTo>
                    <a:cubicBezTo>
                      <a:pt x="20" y="34"/>
                      <a:pt x="23" y="36"/>
                      <a:pt x="26" y="36"/>
                    </a:cubicBezTo>
                    <a:cubicBezTo>
                      <a:pt x="29" y="36"/>
                      <a:pt x="32" y="35"/>
                      <a:pt x="34" y="32"/>
                    </a:cubicBezTo>
                    <a:cubicBezTo>
                      <a:pt x="36" y="31"/>
                      <a:pt x="36" y="29"/>
                      <a:pt x="36" y="26"/>
                    </a:cubicBezTo>
                    <a:cubicBezTo>
                      <a:pt x="36" y="24"/>
                      <a:pt x="35" y="22"/>
                      <a:pt x="34" y="1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54" name="îŝḷïḓê"/>
              <p:cNvSpPr/>
              <p:nvPr/>
            </p:nvSpPr>
            <p:spPr bwMode="auto">
              <a:xfrm>
                <a:off x="3022497" y="5733053"/>
                <a:ext cx="103188" cy="101600"/>
              </a:xfrm>
              <a:custGeom>
                <a:avLst/>
                <a:gdLst>
                  <a:gd name="T0" fmla="*/ 42 w 65"/>
                  <a:gd name="T1" fmla="*/ 64 h 64"/>
                  <a:gd name="T2" fmla="*/ 0 w 65"/>
                  <a:gd name="T3" fmla="*/ 34 h 64"/>
                  <a:gd name="T4" fmla="*/ 6 w 65"/>
                  <a:gd name="T5" fmla="*/ 26 h 64"/>
                  <a:gd name="T6" fmla="*/ 22 w 65"/>
                  <a:gd name="T7" fmla="*/ 37 h 64"/>
                  <a:gd name="T8" fmla="*/ 33 w 65"/>
                  <a:gd name="T9" fmla="*/ 21 h 64"/>
                  <a:gd name="T10" fmla="*/ 17 w 65"/>
                  <a:gd name="T11" fmla="*/ 9 h 64"/>
                  <a:gd name="T12" fmla="*/ 23 w 65"/>
                  <a:gd name="T13" fmla="*/ 0 h 64"/>
                  <a:gd name="T14" fmla="*/ 65 w 65"/>
                  <a:gd name="T15" fmla="*/ 30 h 64"/>
                  <a:gd name="T16" fmla="*/ 59 w 65"/>
                  <a:gd name="T17" fmla="*/ 38 h 64"/>
                  <a:gd name="T18" fmla="*/ 40 w 65"/>
                  <a:gd name="T19" fmla="*/ 26 h 64"/>
                  <a:gd name="T20" fmla="*/ 29 w 65"/>
                  <a:gd name="T21" fmla="*/ 42 h 64"/>
                  <a:gd name="T22" fmla="*/ 47 w 65"/>
                  <a:gd name="T23" fmla="*/ 55 h 64"/>
                  <a:gd name="T24" fmla="*/ 42 w 65"/>
                  <a:gd name="T25" fmla="*/ 64 h 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5" h="64">
                    <a:moveTo>
                      <a:pt x="42" y="64"/>
                    </a:moveTo>
                    <a:lnTo>
                      <a:pt x="0" y="34"/>
                    </a:lnTo>
                    <a:lnTo>
                      <a:pt x="6" y="26"/>
                    </a:lnTo>
                    <a:lnTo>
                      <a:pt x="22" y="37"/>
                    </a:lnTo>
                    <a:lnTo>
                      <a:pt x="33" y="21"/>
                    </a:lnTo>
                    <a:lnTo>
                      <a:pt x="17" y="9"/>
                    </a:lnTo>
                    <a:lnTo>
                      <a:pt x="23" y="0"/>
                    </a:lnTo>
                    <a:lnTo>
                      <a:pt x="65" y="30"/>
                    </a:lnTo>
                    <a:lnTo>
                      <a:pt x="59" y="38"/>
                    </a:lnTo>
                    <a:lnTo>
                      <a:pt x="40" y="26"/>
                    </a:lnTo>
                    <a:lnTo>
                      <a:pt x="29" y="42"/>
                    </a:lnTo>
                    <a:lnTo>
                      <a:pt x="47" y="55"/>
                    </a:lnTo>
                    <a:lnTo>
                      <a:pt x="42" y="6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55" name="îşḷîḑe"/>
              <p:cNvSpPr/>
              <p:nvPr/>
            </p:nvSpPr>
            <p:spPr bwMode="auto">
              <a:xfrm>
                <a:off x="3062184" y="5672728"/>
                <a:ext cx="103188" cy="95250"/>
              </a:xfrm>
              <a:custGeom>
                <a:avLst/>
                <a:gdLst>
                  <a:gd name="T0" fmla="*/ 44 w 65"/>
                  <a:gd name="T1" fmla="*/ 60 h 60"/>
                  <a:gd name="T2" fmla="*/ 0 w 65"/>
                  <a:gd name="T3" fmla="*/ 34 h 60"/>
                  <a:gd name="T4" fmla="*/ 5 w 65"/>
                  <a:gd name="T5" fmla="*/ 26 h 60"/>
                  <a:gd name="T6" fmla="*/ 46 w 65"/>
                  <a:gd name="T7" fmla="*/ 24 h 60"/>
                  <a:gd name="T8" fmla="*/ 15 w 65"/>
                  <a:gd name="T9" fmla="*/ 8 h 60"/>
                  <a:gd name="T10" fmla="*/ 20 w 65"/>
                  <a:gd name="T11" fmla="*/ 0 h 60"/>
                  <a:gd name="T12" fmla="*/ 65 w 65"/>
                  <a:gd name="T13" fmla="*/ 24 h 60"/>
                  <a:gd name="T14" fmla="*/ 59 w 65"/>
                  <a:gd name="T15" fmla="*/ 33 h 60"/>
                  <a:gd name="T16" fmla="*/ 20 w 65"/>
                  <a:gd name="T17" fmla="*/ 34 h 60"/>
                  <a:gd name="T18" fmla="*/ 49 w 65"/>
                  <a:gd name="T19" fmla="*/ 52 h 60"/>
                  <a:gd name="T20" fmla="*/ 44 w 65"/>
                  <a:gd name="T21" fmla="*/ 60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65" h="60">
                    <a:moveTo>
                      <a:pt x="44" y="60"/>
                    </a:moveTo>
                    <a:lnTo>
                      <a:pt x="0" y="34"/>
                    </a:lnTo>
                    <a:lnTo>
                      <a:pt x="5" y="26"/>
                    </a:lnTo>
                    <a:lnTo>
                      <a:pt x="46" y="24"/>
                    </a:lnTo>
                    <a:lnTo>
                      <a:pt x="15" y="8"/>
                    </a:lnTo>
                    <a:lnTo>
                      <a:pt x="20" y="0"/>
                    </a:lnTo>
                    <a:lnTo>
                      <a:pt x="65" y="24"/>
                    </a:lnTo>
                    <a:lnTo>
                      <a:pt x="59" y="33"/>
                    </a:lnTo>
                    <a:lnTo>
                      <a:pt x="20" y="34"/>
                    </a:lnTo>
                    <a:lnTo>
                      <a:pt x="49" y="52"/>
                    </a:lnTo>
                    <a:lnTo>
                      <a:pt x="44" y="6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56" name="îşḷïḋê"/>
              <p:cNvSpPr/>
              <p:nvPr/>
            </p:nvSpPr>
            <p:spPr bwMode="auto">
              <a:xfrm>
                <a:off x="3106634" y="5606053"/>
                <a:ext cx="87313" cy="84138"/>
              </a:xfrm>
              <a:custGeom>
                <a:avLst/>
                <a:gdLst>
                  <a:gd name="T0" fmla="*/ 15 w 47"/>
                  <a:gd name="T1" fmla="*/ 43 h 46"/>
                  <a:gd name="T2" fmla="*/ 5 w 47"/>
                  <a:gd name="T3" fmla="*/ 36 h 46"/>
                  <a:gd name="T4" fmla="*/ 2 w 47"/>
                  <a:gd name="T5" fmla="*/ 30 h 46"/>
                  <a:gd name="T6" fmla="*/ 0 w 47"/>
                  <a:gd name="T7" fmla="*/ 23 h 46"/>
                  <a:gd name="T8" fmla="*/ 2 w 47"/>
                  <a:gd name="T9" fmla="*/ 14 h 46"/>
                  <a:gd name="T10" fmla="*/ 14 w 47"/>
                  <a:gd name="T11" fmla="*/ 2 h 46"/>
                  <a:gd name="T12" fmla="*/ 32 w 47"/>
                  <a:gd name="T13" fmla="*/ 3 h 46"/>
                  <a:gd name="T14" fmla="*/ 45 w 47"/>
                  <a:gd name="T15" fmla="*/ 15 h 46"/>
                  <a:gd name="T16" fmla="*/ 44 w 47"/>
                  <a:gd name="T17" fmla="*/ 32 h 46"/>
                  <a:gd name="T18" fmla="*/ 32 w 47"/>
                  <a:gd name="T19" fmla="*/ 44 h 46"/>
                  <a:gd name="T20" fmla="*/ 15 w 47"/>
                  <a:gd name="T21" fmla="*/ 43 h 46"/>
                  <a:gd name="T22" fmla="*/ 18 w 47"/>
                  <a:gd name="T23" fmla="*/ 34 h 46"/>
                  <a:gd name="T24" fmla="*/ 30 w 47"/>
                  <a:gd name="T25" fmla="*/ 35 h 46"/>
                  <a:gd name="T26" fmla="*/ 37 w 47"/>
                  <a:gd name="T27" fmla="*/ 29 h 46"/>
                  <a:gd name="T28" fmla="*/ 37 w 47"/>
                  <a:gd name="T29" fmla="*/ 19 h 46"/>
                  <a:gd name="T30" fmla="*/ 28 w 47"/>
                  <a:gd name="T31" fmla="*/ 12 h 46"/>
                  <a:gd name="T32" fmla="*/ 16 w 47"/>
                  <a:gd name="T33" fmla="*/ 10 h 46"/>
                  <a:gd name="T34" fmla="*/ 9 w 47"/>
                  <a:gd name="T35" fmla="*/ 17 h 46"/>
                  <a:gd name="T36" fmla="*/ 9 w 47"/>
                  <a:gd name="T37" fmla="*/ 27 h 46"/>
                  <a:gd name="T38" fmla="*/ 18 w 47"/>
                  <a:gd name="T39" fmla="*/ 34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47" h="46">
                    <a:moveTo>
                      <a:pt x="15" y="43"/>
                    </a:moveTo>
                    <a:cubicBezTo>
                      <a:pt x="11" y="41"/>
                      <a:pt x="8" y="39"/>
                      <a:pt x="5" y="36"/>
                    </a:cubicBezTo>
                    <a:cubicBezTo>
                      <a:pt x="4" y="34"/>
                      <a:pt x="2" y="32"/>
                      <a:pt x="2" y="30"/>
                    </a:cubicBezTo>
                    <a:cubicBezTo>
                      <a:pt x="1" y="28"/>
                      <a:pt x="0" y="26"/>
                      <a:pt x="0" y="23"/>
                    </a:cubicBezTo>
                    <a:cubicBezTo>
                      <a:pt x="0" y="20"/>
                      <a:pt x="1" y="17"/>
                      <a:pt x="2" y="14"/>
                    </a:cubicBezTo>
                    <a:cubicBezTo>
                      <a:pt x="5" y="8"/>
                      <a:pt x="9" y="4"/>
                      <a:pt x="14" y="2"/>
                    </a:cubicBezTo>
                    <a:cubicBezTo>
                      <a:pt x="19" y="0"/>
                      <a:pt x="25" y="1"/>
                      <a:pt x="32" y="3"/>
                    </a:cubicBezTo>
                    <a:cubicBezTo>
                      <a:pt x="38" y="6"/>
                      <a:pt x="43" y="10"/>
                      <a:pt x="45" y="15"/>
                    </a:cubicBezTo>
                    <a:cubicBezTo>
                      <a:pt x="47" y="21"/>
                      <a:pt x="47" y="26"/>
                      <a:pt x="44" y="32"/>
                    </a:cubicBezTo>
                    <a:cubicBezTo>
                      <a:pt x="41" y="38"/>
                      <a:pt x="38" y="42"/>
                      <a:pt x="32" y="44"/>
                    </a:cubicBezTo>
                    <a:cubicBezTo>
                      <a:pt x="27" y="46"/>
                      <a:pt x="21" y="45"/>
                      <a:pt x="15" y="43"/>
                    </a:cubicBezTo>
                    <a:close/>
                    <a:moveTo>
                      <a:pt x="18" y="34"/>
                    </a:moveTo>
                    <a:cubicBezTo>
                      <a:pt x="23" y="36"/>
                      <a:pt x="27" y="37"/>
                      <a:pt x="30" y="35"/>
                    </a:cubicBezTo>
                    <a:cubicBezTo>
                      <a:pt x="33" y="34"/>
                      <a:pt x="36" y="32"/>
                      <a:pt x="37" y="29"/>
                    </a:cubicBezTo>
                    <a:cubicBezTo>
                      <a:pt x="39" y="26"/>
                      <a:pt x="39" y="23"/>
                      <a:pt x="37" y="19"/>
                    </a:cubicBezTo>
                    <a:cubicBezTo>
                      <a:pt x="36" y="16"/>
                      <a:pt x="33" y="14"/>
                      <a:pt x="28" y="12"/>
                    </a:cubicBezTo>
                    <a:cubicBezTo>
                      <a:pt x="23" y="10"/>
                      <a:pt x="19" y="9"/>
                      <a:pt x="16" y="10"/>
                    </a:cubicBezTo>
                    <a:cubicBezTo>
                      <a:pt x="13" y="11"/>
                      <a:pt x="11" y="14"/>
                      <a:pt x="9" y="17"/>
                    </a:cubicBezTo>
                    <a:cubicBezTo>
                      <a:pt x="8" y="20"/>
                      <a:pt x="8" y="23"/>
                      <a:pt x="9" y="27"/>
                    </a:cubicBezTo>
                    <a:cubicBezTo>
                      <a:pt x="11" y="30"/>
                      <a:pt x="14" y="32"/>
                      <a:pt x="18" y="3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57" name="îṣlïḍè"/>
              <p:cNvSpPr/>
              <p:nvPr/>
            </p:nvSpPr>
            <p:spPr bwMode="auto">
              <a:xfrm>
                <a:off x="3128859" y="5560015"/>
                <a:ext cx="93663" cy="57150"/>
              </a:xfrm>
              <a:custGeom>
                <a:avLst/>
                <a:gdLst>
                  <a:gd name="T0" fmla="*/ 49 w 59"/>
                  <a:gd name="T1" fmla="*/ 36 h 36"/>
                  <a:gd name="T2" fmla="*/ 0 w 59"/>
                  <a:gd name="T3" fmla="*/ 21 h 36"/>
                  <a:gd name="T4" fmla="*/ 4 w 59"/>
                  <a:gd name="T5" fmla="*/ 10 h 36"/>
                  <a:gd name="T6" fmla="*/ 43 w 59"/>
                  <a:gd name="T7" fmla="*/ 24 h 36"/>
                  <a:gd name="T8" fmla="*/ 51 w 59"/>
                  <a:gd name="T9" fmla="*/ 0 h 36"/>
                  <a:gd name="T10" fmla="*/ 59 w 59"/>
                  <a:gd name="T11" fmla="*/ 2 h 36"/>
                  <a:gd name="T12" fmla="*/ 49 w 59"/>
                  <a:gd name="T13" fmla="*/ 36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59" h="36">
                    <a:moveTo>
                      <a:pt x="49" y="36"/>
                    </a:moveTo>
                    <a:lnTo>
                      <a:pt x="0" y="21"/>
                    </a:lnTo>
                    <a:lnTo>
                      <a:pt x="4" y="10"/>
                    </a:lnTo>
                    <a:lnTo>
                      <a:pt x="43" y="24"/>
                    </a:lnTo>
                    <a:lnTo>
                      <a:pt x="51" y="0"/>
                    </a:lnTo>
                    <a:lnTo>
                      <a:pt x="59" y="2"/>
                    </a:lnTo>
                    <a:lnTo>
                      <a:pt x="49" y="36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58" name="ïṩḷîḓê"/>
              <p:cNvSpPr/>
              <p:nvPr/>
            </p:nvSpPr>
            <p:spPr bwMode="auto">
              <a:xfrm>
                <a:off x="3152672" y="5469528"/>
                <a:ext cx="85725" cy="80963"/>
              </a:xfrm>
              <a:custGeom>
                <a:avLst/>
                <a:gdLst>
                  <a:gd name="T0" fmla="*/ 18 w 46"/>
                  <a:gd name="T1" fmla="*/ 43 h 44"/>
                  <a:gd name="T2" fmla="*/ 8 w 46"/>
                  <a:gd name="T3" fmla="*/ 38 h 44"/>
                  <a:gd name="T4" fmla="*/ 3 w 46"/>
                  <a:gd name="T5" fmla="*/ 33 h 44"/>
                  <a:gd name="T6" fmla="*/ 0 w 46"/>
                  <a:gd name="T7" fmla="*/ 27 h 44"/>
                  <a:gd name="T8" fmla="*/ 1 w 46"/>
                  <a:gd name="T9" fmla="*/ 17 h 44"/>
                  <a:gd name="T10" fmla="*/ 10 w 46"/>
                  <a:gd name="T11" fmla="*/ 3 h 44"/>
                  <a:gd name="T12" fmla="*/ 28 w 46"/>
                  <a:gd name="T13" fmla="*/ 1 h 44"/>
                  <a:gd name="T14" fmla="*/ 43 w 46"/>
                  <a:gd name="T15" fmla="*/ 11 h 44"/>
                  <a:gd name="T16" fmla="*/ 45 w 46"/>
                  <a:gd name="T17" fmla="*/ 27 h 44"/>
                  <a:gd name="T18" fmla="*/ 36 w 46"/>
                  <a:gd name="T19" fmla="*/ 41 h 44"/>
                  <a:gd name="T20" fmla="*/ 18 w 46"/>
                  <a:gd name="T21" fmla="*/ 43 h 44"/>
                  <a:gd name="T22" fmla="*/ 20 w 46"/>
                  <a:gd name="T23" fmla="*/ 34 h 44"/>
                  <a:gd name="T24" fmla="*/ 32 w 46"/>
                  <a:gd name="T25" fmla="*/ 33 h 44"/>
                  <a:gd name="T26" fmla="*/ 38 w 46"/>
                  <a:gd name="T27" fmla="*/ 25 h 44"/>
                  <a:gd name="T28" fmla="*/ 36 w 46"/>
                  <a:gd name="T29" fmla="*/ 16 h 44"/>
                  <a:gd name="T30" fmla="*/ 25 w 46"/>
                  <a:gd name="T31" fmla="*/ 10 h 44"/>
                  <a:gd name="T32" fmla="*/ 14 w 46"/>
                  <a:gd name="T33" fmla="*/ 11 h 44"/>
                  <a:gd name="T34" fmla="*/ 8 w 46"/>
                  <a:gd name="T35" fmla="*/ 19 h 44"/>
                  <a:gd name="T36" fmla="*/ 10 w 46"/>
                  <a:gd name="T37" fmla="*/ 28 h 44"/>
                  <a:gd name="T38" fmla="*/ 20 w 46"/>
                  <a:gd name="T39" fmla="*/ 34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46" h="44">
                    <a:moveTo>
                      <a:pt x="18" y="43"/>
                    </a:moveTo>
                    <a:cubicBezTo>
                      <a:pt x="14" y="42"/>
                      <a:pt x="10" y="40"/>
                      <a:pt x="8" y="38"/>
                    </a:cubicBezTo>
                    <a:cubicBezTo>
                      <a:pt x="6" y="37"/>
                      <a:pt x="4" y="35"/>
                      <a:pt x="3" y="33"/>
                    </a:cubicBezTo>
                    <a:cubicBezTo>
                      <a:pt x="1" y="31"/>
                      <a:pt x="1" y="29"/>
                      <a:pt x="0" y="27"/>
                    </a:cubicBezTo>
                    <a:cubicBezTo>
                      <a:pt x="0" y="24"/>
                      <a:pt x="0" y="21"/>
                      <a:pt x="1" y="17"/>
                    </a:cubicBezTo>
                    <a:cubicBezTo>
                      <a:pt x="2" y="11"/>
                      <a:pt x="5" y="6"/>
                      <a:pt x="10" y="3"/>
                    </a:cubicBezTo>
                    <a:cubicBezTo>
                      <a:pt x="15" y="0"/>
                      <a:pt x="21" y="0"/>
                      <a:pt x="28" y="1"/>
                    </a:cubicBezTo>
                    <a:cubicBezTo>
                      <a:pt x="34" y="3"/>
                      <a:pt x="39" y="6"/>
                      <a:pt x="43" y="11"/>
                    </a:cubicBezTo>
                    <a:cubicBezTo>
                      <a:pt x="46" y="15"/>
                      <a:pt x="46" y="21"/>
                      <a:pt x="45" y="27"/>
                    </a:cubicBezTo>
                    <a:cubicBezTo>
                      <a:pt x="44" y="33"/>
                      <a:pt x="40" y="38"/>
                      <a:pt x="36" y="41"/>
                    </a:cubicBezTo>
                    <a:cubicBezTo>
                      <a:pt x="31" y="44"/>
                      <a:pt x="25" y="44"/>
                      <a:pt x="18" y="43"/>
                    </a:cubicBezTo>
                    <a:close/>
                    <a:moveTo>
                      <a:pt x="20" y="34"/>
                    </a:moveTo>
                    <a:cubicBezTo>
                      <a:pt x="25" y="35"/>
                      <a:pt x="29" y="35"/>
                      <a:pt x="32" y="33"/>
                    </a:cubicBezTo>
                    <a:cubicBezTo>
                      <a:pt x="35" y="31"/>
                      <a:pt x="37" y="29"/>
                      <a:pt x="38" y="25"/>
                    </a:cubicBezTo>
                    <a:cubicBezTo>
                      <a:pt x="38" y="22"/>
                      <a:pt x="38" y="19"/>
                      <a:pt x="36" y="16"/>
                    </a:cubicBezTo>
                    <a:cubicBezTo>
                      <a:pt x="34" y="13"/>
                      <a:pt x="30" y="11"/>
                      <a:pt x="25" y="10"/>
                    </a:cubicBezTo>
                    <a:cubicBezTo>
                      <a:pt x="20" y="9"/>
                      <a:pt x="16" y="9"/>
                      <a:pt x="14" y="11"/>
                    </a:cubicBezTo>
                    <a:cubicBezTo>
                      <a:pt x="11" y="13"/>
                      <a:pt x="9" y="15"/>
                      <a:pt x="8" y="19"/>
                    </a:cubicBezTo>
                    <a:cubicBezTo>
                      <a:pt x="7" y="22"/>
                      <a:pt x="8" y="25"/>
                      <a:pt x="10" y="28"/>
                    </a:cubicBezTo>
                    <a:cubicBezTo>
                      <a:pt x="12" y="31"/>
                      <a:pt x="15" y="33"/>
                      <a:pt x="20" y="3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59" name="ïSļiďé"/>
              <p:cNvSpPr/>
              <p:nvPr/>
            </p:nvSpPr>
            <p:spPr bwMode="auto">
              <a:xfrm>
                <a:off x="3165372" y="5390153"/>
                <a:ext cx="85725" cy="77788"/>
              </a:xfrm>
              <a:custGeom>
                <a:avLst/>
                <a:gdLst>
                  <a:gd name="T0" fmla="*/ 29 w 46"/>
                  <a:gd name="T1" fmla="*/ 21 h 42"/>
                  <a:gd name="T2" fmla="*/ 22 w 46"/>
                  <a:gd name="T3" fmla="*/ 20 h 42"/>
                  <a:gd name="T4" fmla="*/ 24 w 46"/>
                  <a:gd name="T5" fmla="*/ 1 h 42"/>
                  <a:gd name="T6" fmla="*/ 41 w 46"/>
                  <a:gd name="T7" fmla="*/ 3 h 42"/>
                  <a:gd name="T8" fmla="*/ 45 w 46"/>
                  <a:gd name="T9" fmla="*/ 11 h 42"/>
                  <a:gd name="T10" fmla="*/ 46 w 46"/>
                  <a:gd name="T11" fmla="*/ 22 h 42"/>
                  <a:gd name="T12" fmla="*/ 42 w 46"/>
                  <a:gd name="T13" fmla="*/ 34 h 42"/>
                  <a:gd name="T14" fmla="*/ 33 w 46"/>
                  <a:gd name="T15" fmla="*/ 41 h 42"/>
                  <a:gd name="T16" fmla="*/ 21 w 46"/>
                  <a:gd name="T17" fmla="*/ 42 h 42"/>
                  <a:gd name="T18" fmla="*/ 9 w 46"/>
                  <a:gd name="T19" fmla="*/ 38 h 42"/>
                  <a:gd name="T20" fmla="*/ 2 w 46"/>
                  <a:gd name="T21" fmla="*/ 28 h 42"/>
                  <a:gd name="T22" fmla="*/ 1 w 46"/>
                  <a:gd name="T23" fmla="*/ 18 h 42"/>
                  <a:gd name="T24" fmla="*/ 6 w 46"/>
                  <a:gd name="T25" fmla="*/ 5 h 42"/>
                  <a:gd name="T26" fmla="*/ 16 w 46"/>
                  <a:gd name="T27" fmla="*/ 0 h 42"/>
                  <a:gd name="T28" fmla="*/ 16 w 46"/>
                  <a:gd name="T29" fmla="*/ 9 h 42"/>
                  <a:gd name="T30" fmla="*/ 11 w 46"/>
                  <a:gd name="T31" fmla="*/ 12 h 42"/>
                  <a:gd name="T32" fmla="*/ 8 w 46"/>
                  <a:gd name="T33" fmla="*/ 18 h 42"/>
                  <a:gd name="T34" fmla="*/ 11 w 46"/>
                  <a:gd name="T35" fmla="*/ 28 h 42"/>
                  <a:gd name="T36" fmla="*/ 21 w 46"/>
                  <a:gd name="T37" fmla="*/ 33 h 42"/>
                  <a:gd name="T38" fmla="*/ 34 w 46"/>
                  <a:gd name="T39" fmla="*/ 31 h 42"/>
                  <a:gd name="T40" fmla="*/ 38 w 46"/>
                  <a:gd name="T41" fmla="*/ 22 h 42"/>
                  <a:gd name="T42" fmla="*/ 38 w 46"/>
                  <a:gd name="T43" fmla="*/ 16 h 42"/>
                  <a:gd name="T44" fmla="*/ 36 w 46"/>
                  <a:gd name="T45" fmla="*/ 11 h 42"/>
                  <a:gd name="T46" fmla="*/ 30 w 46"/>
                  <a:gd name="T47" fmla="*/ 11 h 42"/>
                  <a:gd name="T48" fmla="*/ 29 w 46"/>
                  <a:gd name="T49" fmla="*/ 21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46" h="42">
                    <a:moveTo>
                      <a:pt x="29" y="21"/>
                    </a:moveTo>
                    <a:cubicBezTo>
                      <a:pt x="22" y="20"/>
                      <a:pt x="22" y="20"/>
                      <a:pt x="22" y="20"/>
                    </a:cubicBezTo>
                    <a:cubicBezTo>
                      <a:pt x="24" y="1"/>
                      <a:pt x="24" y="1"/>
                      <a:pt x="24" y="1"/>
                    </a:cubicBezTo>
                    <a:cubicBezTo>
                      <a:pt x="41" y="3"/>
                      <a:pt x="41" y="3"/>
                      <a:pt x="41" y="3"/>
                    </a:cubicBezTo>
                    <a:cubicBezTo>
                      <a:pt x="43" y="5"/>
                      <a:pt x="44" y="8"/>
                      <a:pt x="45" y="11"/>
                    </a:cubicBezTo>
                    <a:cubicBezTo>
                      <a:pt x="46" y="15"/>
                      <a:pt x="46" y="19"/>
                      <a:pt x="46" y="22"/>
                    </a:cubicBezTo>
                    <a:cubicBezTo>
                      <a:pt x="46" y="27"/>
                      <a:pt x="44" y="31"/>
                      <a:pt x="42" y="34"/>
                    </a:cubicBezTo>
                    <a:cubicBezTo>
                      <a:pt x="39" y="37"/>
                      <a:pt x="36" y="39"/>
                      <a:pt x="33" y="41"/>
                    </a:cubicBezTo>
                    <a:cubicBezTo>
                      <a:pt x="29" y="42"/>
                      <a:pt x="25" y="42"/>
                      <a:pt x="21" y="42"/>
                    </a:cubicBezTo>
                    <a:cubicBezTo>
                      <a:pt x="16" y="41"/>
                      <a:pt x="12" y="40"/>
                      <a:pt x="9" y="38"/>
                    </a:cubicBezTo>
                    <a:cubicBezTo>
                      <a:pt x="6" y="35"/>
                      <a:pt x="3" y="32"/>
                      <a:pt x="2" y="28"/>
                    </a:cubicBezTo>
                    <a:cubicBezTo>
                      <a:pt x="1" y="25"/>
                      <a:pt x="0" y="22"/>
                      <a:pt x="1" y="18"/>
                    </a:cubicBezTo>
                    <a:cubicBezTo>
                      <a:pt x="1" y="12"/>
                      <a:pt x="3" y="8"/>
                      <a:pt x="6" y="5"/>
                    </a:cubicBezTo>
                    <a:cubicBezTo>
                      <a:pt x="8" y="2"/>
                      <a:pt x="12" y="1"/>
                      <a:pt x="16" y="0"/>
                    </a:cubicBezTo>
                    <a:cubicBezTo>
                      <a:pt x="16" y="9"/>
                      <a:pt x="16" y="9"/>
                      <a:pt x="16" y="9"/>
                    </a:cubicBezTo>
                    <a:cubicBezTo>
                      <a:pt x="14" y="10"/>
                      <a:pt x="12" y="11"/>
                      <a:pt x="11" y="12"/>
                    </a:cubicBezTo>
                    <a:cubicBezTo>
                      <a:pt x="10" y="14"/>
                      <a:pt x="9" y="16"/>
                      <a:pt x="8" y="18"/>
                    </a:cubicBezTo>
                    <a:cubicBezTo>
                      <a:pt x="8" y="22"/>
                      <a:pt x="9" y="25"/>
                      <a:pt x="11" y="28"/>
                    </a:cubicBezTo>
                    <a:cubicBezTo>
                      <a:pt x="13" y="31"/>
                      <a:pt x="17" y="32"/>
                      <a:pt x="21" y="33"/>
                    </a:cubicBezTo>
                    <a:cubicBezTo>
                      <a:pt x="27" y="33"/>
                      <a:pt x="31" y="33"/>
                      <a:pt x="34" y="31"/>
                    </a:cubicBezTo>
                    <a:cubicBezTo>
                      <a:pt x="36" y="29"/>
                      <a:pt x="38" y="26"/>
                      <a:pt x="38" y="22"/>
                    </a:cubicBezTo>
                    <a:cubicBezTo>
                      <a:pt x="39" y="20"/>
                      <a:pt x="39" y="18"/>
                      <a:pt x="38" y="16"/>
                    </a:cubicBezTo>
                    <a:cubicBezTo>
                      <a:pt x="37" y="14"/>
                      <a:pt x="37" y="13"/>
                      <a:pt x="36" y="11"/>
                    </a:cubicBezTo>
                    <a:cubicBezTo>
                      <a:pt x="30" y="11"/>
                      <a:pt x="30" y="11"/>
                      <a:pt x="30" y="11"/>
                    </a:cubicBezTo>
                    <a:lnTo>
                      <a:pt x="29" y="2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60" name="îSḷiḋè"/>
              <p:cNvSpPr/>
              <p:nvPr/>
            </p:nvSpPr>
            <p:spPr bwMode="auto">
              <a:xfrm>
                <a:off x="3173309" y="5313953"/>
                <a:ext cx="80963" cy="76200"/>
              </a:xfrm>
              <a:custGeom>
                <a:avLst/>
                <a:gdLst>
                  <a:gd name="T0" fmla="*/ 51 w 51"/>
                  <a:gd name="T1" fmla="*/ 30 h 48"/>
                  <a:gd name="T2" fmla="*/ 29 w 51"/>
                  <a:gd name="T3" fmla="*/ 29 h 48"/>
                  <a:gd name="T4" fmla="*/ 0 w 51"/>
                  <a:gd name="T5" fmla="*/ 48 h 48"/>
                  <a:gd name="T6" fmla="*/ 0 w 51"/>
                  <a:gd name="T7" fmla="*/ 36 h 48"/>
                  <a:gd name="T8" fmla="*/ 20 w 51"/>
                  <a:gd name="T9" fmla="*/ 24 h 48"/>
                  <a:gd name="T10" fmla="*/ 0 w 51"/>
                  <a:gd name="T11" fmla="*/ 12 h 48"/>
                  <a:gd name="T12" fmla="*/ 0 w 51"/>
                  <a:gd name="T13" fmla="*/ 0 h 48"/>
                  <a:gd name="T14" fmla="*/ 30 w 51"/>
                  <a:gd name="T15" fmla="*/ 20 h 48"/>
                  <a:gd name="T16" fmla="*/ 51 w 51"/>
                  <a:gd name="T17" fmla="*/ 20 h 48"/>
                  <a:gd name="T18" fmla="*/ 51 w 51"/>
                  <a:gd name="T19" fmla="*/ 30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51" h="48">
                    <a:moveTo>
                      <a:pt x="51" y="30"/>
                    </a:moveTo>
                    <a:lnTo>
                      <a:pt x="29" y="29"/>
                    </a:lnTo>
                    <a:lnTo>
                      <a:pt x="0" y="48"/>
                    </a:lnTo>
                    <a:lnTo>
                      <a:pt x="0" y="36"/>
                    </a:lnTo>
                    <a:lnTo>
                      <a:pt x="20" y="24"/>
                    </a:lnTo>
                    <a:lnTo>
                      <a:pt x="0" y="12"/>
                    </a:lnTo>
                    <a:lnTo>
                      <a:pt x="0" y="0"/>
                    </a:lnTo>
                    <a:lnTo>
                      <a:pt x="30" y="20"/>
                    </a:lnTo>
                    <a:lnTo>
                      <a:pt x="51" y="20"/>
                    </a:lnTo>
                    <a:lnTo>
                      <a:pt x="51" y="3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61" name="îṣḷíḋé"/>
              <p:cNvSpPr/>
              <p:nvPr/>
            </p:nvSpPr>
            <p:spPr bwMode="auto">
              <a:xfrm>
                <a:off x="3163784" y="5193303"/>
                <a:ext cx="87313" cy="76200"/>
              </a:xfrm>
              <a:custGeom>
                <a:avLst/>
                <a:gdLst>
                  <a:gd name="T0" fmla="*/ 4 w 47"/>
                  <a:gd name="T1" fmla="*/ 41 h 41"/>
                  <a:gd name="T2" fmla="*/ 1 w 47"/>
                  <a:gd name="T3" fmla="*/ 24 h 41"/>
                  <a:gd name="T4" fmla="*/ 0 w 47"/>
                  <a:gd name="T5" fmla="*/ 16 h 41"/>
                  <a:gd name="T6" fmla="*/ 2 w 47"/>
                  <a:gd name="T7" fmla="*/ 11 h 41"/>
                  <a:gd name="T8" fmla="*/ 5 w 47"/>
                  <a:gd name="T9" fmla="*/ 7 h 41"/>
                  <a:gd name="T10" fmla="*/ 10 w 47"/>
                  <a:gd name="T11" fmla="*/ 5 h 41"/>
                  <a:gd name="T12" fmla="*/ 16 w 47"/>
                  <a:gd name="T13" fmla="*/ 6 h 41"/>
                  <a:gd name="T14" fmla="*/ 20 w 47"/>
                  <a:gd name="T15" fmla="*/ 10 h 41"/>
                  <a:gd name="T16" fmla="*/ 23 w 47"/>
                  <a:gd name="T17" fmla="*/ 3 h 41"/>
                  <a:gd name="T18" fmla="*/ 29 w 47"/>
                  <a:gd name="T19" fmla="*/ 0 h 41"/>
                  <a:gd name="T20" fmla="*/ 35 w 47"/>
                  <a:gd name="T21" fmla="*/ 1 h 41"/>
                  <a:gd name="T22" fmla="*/ 40 w 47"/>
                  <a:gd name="T23" fmla="*/ 4 h 41"/>
                  <a:gd name="T24" fmla="*/ 43 w 47"/>
                  <a:gd name="T25" fmla="*/ 10 h 41"/>
                  <a:gd name="T26" fmla="*/ 45 w 47"/>
                  <a:gd name="T27" fmla="*/ 20 h 41"/>
                  <a:gd name="T28" fmla="*/ 47 w 47"/>
                  <a:gd name="T29" fmla="*/ 35 h 41"/>
                  <a:gd name="T30" fmla="*/ 4 w 47"/>
                  <a:gd name="T31" fmla="*/ 41 h 41"/>
                  <a:gd name="T32" fmla="*/ 10 w 47"/>
                  <a:gd name="T33" fmla="*/ 31 h 41"/>
                  <a:gd name="T34" fmla="*/ 20 w 47"/>
                  <a:gd name="T35" fmla="*/ 30 h 41"/>
                  <a:gd name="T36" fmla="*/ 19 w 47"/>
                  <a:gd name="T37" fmla="*/ 24 h 41"/>
                  <a:gd name="T38" fmla="*/ 18 w 47"/>
                  <a:gd name="T39" fmla="*/ 18 h 41"/>
                  <a:gd name="T40" fmla="*/ 16 w 47"/>
                  <a:gd name="T41" fmla="*/ 15 h 41"/>
                  <a:gd name="T42" fmla="*/ 12 w 47"/>
                  <a:gd name="T43" fmla="*/ 14 h 41"/>
                  <a:gd name="T44" fmla="*/ 9 w 47"/>
                  <a:gd name="T45" fmla="*/ 15 h 41"/>
                  <a:gd name="T46" fmla="*/ 8 w 47"/>
                  <a:gd name="T47" fmla="*/ 19 h 41"/>
                  <a:gd name="T48" fmla="*/ 9 w 47"/>
                  <a:gd name="T49" fmla="*/ 26 h 41"/>
                  <a:gd name="T50" fmla="*/ 10 w 47"/>
                  <a:gd name="T51" fmla="*/ 31 h 41"/>
                  <a:gd name="T52" fmla="*/ 27 w 47"/>
                  <a:gd name="T53" fmla="*/ 29 h 41"/>
                  <a:gd name="T54" fmla="*/ 39 w 47"/>
                  <a:gd name="T55" fmla="*/ 27 h 41"/>
                  <a:gd name="T56" fmla="*/ 37 w 47"/>
                  <a:gd name="T57" fmla="*/ 19 h 41"/>
                  <a:gd name="T58" fmla="*/ 36 w 47"/>
                  <a:gd name="T59" fmla="*/ 13 h 41"/>
                  <a:gd name="T60" fmla="*/ 34 w 47"/>
                  <a:gd name="T61" fmla="*/ 10 h 41"/>
                  <a:gd name="T62" fmla="*/ 30 w 47"/>
                  <a:gd name="T63" fmla="*/ 10 h 41"/>
                  <a:gd name="T64" fmla="*/ 27 w 47"/>
                  <a:gd name="T65" fmla="*/ 11 h 41"/>
                  <a:gd name="T66" fmla="*/ 25 w 47"/>
                  <a:gd name="T67" fmla="*/ 14 h 41"/>
                  <a:gd name="T68" fmla="*/ 26 w 47"/>
                  <a:gd name="T69" fmla="*/ 22 h 41"/>
                  <a:gd name="T70" fmla="*/ 27 w 47"/>
                  <a:gd name="T71" fmla="*/ 29 h 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47" h="41">
                    <a:moveTo>
                      <a:pt x="4" y="41"/>
                    </a:moveTo>
                    <a:cubicBezTo>
                      <a:pt x="1" y="24"/>
                      <a:pt x="1" y="24"/>
                      <a:pt x="1" y="24"/>
                    </a:cubicBezTo>
                    <a:cubicBezTo>
                      <a:pt x="1" y="20"/>
                      <a:pt x="0" y="18"/>
                      <a:pt x="0" y="16"/>
                    </a:cubicBezTo>
                    <a:cubicBezTo>
                      <a:pt x="1" y="14"/>
                      <a:pt x="1" y="13"/>
                      <a:pt x="2" y="11"/>
                    </a:cubicBezTo>
                    <a:cubicBezTo>
                      <a:pt x="2" y="10"/>
                      <a:pt x="3" y="9"/>
                      <a:pt x="5" y="7"/>
                    </a:cubicBezTo>
                    <a:cubicBezTo>
                      <a:pt x="6" y="6"/>
                      <a:pt x="8" y="6"/>
                      <a:pt x="10" y="5"/>
                    </a:cubicBezTo>
                    <a:cubicBezTo>
                      <a:pt x="12" y="5"/>
                      <a:pt x="14" y="5"/>
                      <a:pt x="16" y="6"/>
                    </a:cubicBezTo>
                    <a:cubicBezTo>
                      <a:pt x="17" y="7"/>
                      <a:pt x="19" y="8"/>
                      <a:pt x="20" y="10"/>
                    </a:cubicBezTo>
                    <a:cubicBezTo>
                      <a:pt x="20" y="7"/>
                      <a:pt x="21" y="5"/>
                      <a:pt x="23" y="3"/>
                    </a:cubicBezTo>
                    <a:cubicBezTo>
                      <a:pt x="25" y="2"/>
                      <a:pt x="27" y="1"/>
                      <a:pt x="29" y="0"/>
                    </a:cubicBezTo>
                    <a:cubicBezTo>
                      <a:pt x="31" y="0"/>
                      <a:pt x="33" y="0"/>
                      <a:pt x="35" y="1"/>
                    </a:cubicBezTo>
                    <a:cubicBezTo>
                      <a:pt x="37" y="2"/>
                      <a:pt x="39" y="3"/>
                      <a:pt x="40" y="4"/>
                    </a:cubicBezTo>
                    <a:cubicBezTo>
                      <a:pt x="42" y="5"/>
                      <a:pt x="43" y="7"/>
                      <a:pt x="43" y="10"/>
                    </a:cubicBezTo>
                    <a:cubicBezTo>
                      <a:pt x="44" y="11"/>
                      <a:pt x="44" y="15"/>
                      <a:pt x="45" y="20"/>
                    </a:cubicBezTo>
                    <a:cubicBezTo>
                      <a:pt x="47" y="35"/>
                      <a:pt x="47" y="35"/>
                      <a:pt x="47" y="35"/>
                    </a:cubicBezTo>
                    <a:lnTo>
                      <a:pt x="4" y="41"/>
                    </a:lnTo>
                    <a:close/>
                    <a:moveTo>
                      <a:pt x="10" y="31"/>
                    </a:moveTo>
                    <a:cubicBezTo>
                      <a:pt x="20" y="30"/>
                      <a:pt x="20" y="30"/>
                      <a:pt x="20" y="30"/>
                    </a:cubicBezTo>
                    <a:cubicBezTo>
                      <a:pt x="19" y="24"/>
                      <a:pt x="19" y="24"/>
                      <a:pt x="19" y="24"/>
                    </a:cubicBezTo>
                    <a:cubicBezTo>
                      <a:pt x="18" y="21"/>
                      <a:pt x="18" y="19"/>
                      <a:pt x="18" y="18"/>
                    </a:cubicBezTo>
                    <a:cubicBezTo>
                      <a:pt x="17" y="16"/>
                      <a:pt x="17" y="15"/>
                      <a:pt x="16" y="15"/>
                    </a:cubicBezTo>
                    <a:cubicBezTo>
                      <a:pt x="15" y="14"/>
                      <a:pt x="14" y="14"/>
                      <a:pt x="12" y="14"/>
                    </a:cubicBezTo>
                    <a:cubicBezTo>
                      <a:pt x="11" y="14"/>
                      <a:pt x="10" y="14"/>
                      <a:pt x="9" y="15"/>
                    </a:cubicBezTo>
                    <a:cubicBezTo>
                      <a:pt x="8" y="16"/>
                      <a:pt x="8" y="17"/>
                      <a:pt x="8" y="19"/>
                    </a:cubicBezTo>
                    <a:cubicBezTo>
                      <a:pt x="8" y="20"/>
                      <a:pt x="8" y="22"/>
                      <a:pt x="9" y="26"/>
                    </a:cubicBezTo>
                    <a:lnTo>
                      <a:pt x="10" y="31"/>
                    </a:lnTo>
                    <a:close/>
                    <a:moveTo>
                      <a:pt x="27" y="29"/>
                    </a:moveTo>
                    <a:cubicBezTo>
                      <a:pt x="39" y="27"/>
                      <a:pt x="39" y="27"/>
                      <a:pt x="39" y="27"/>
                    </a:cubicBezTo>
                    <a:cubicBezTo>
                      <a:pt x="37" y="19"/>
                      <a:pt x="37" y="19"/>
                      <a:pt x="37" y="19"/>
                    </a:cubicBezTo>
                    <a:cubicBezTo>
                      <a:pt x="37" y="16"/>
                      <a:pt x="37" y="14"/>
                      <a:pt x="36" y="13"/>
                    </a:cubicBezTo>
                    <a:cubicBezTo>
                      <a:pt x="36" y="12"/>
                      <a:pt x="35" y="11"/>
                      <a:pt x="34" y="10"/>
                    </a:cubicBezTo>
                    <a:cubicBezTo>
                      <a:pt x="33" y="10"/>
                      <a:pt x="32" y="9"/>
                      <a:pt x="30" y="10"/>
                    </a:cubicBezTo>
                    <a:cubicBezTo>
                      <a:pt x="29" y="10"/>
                      <a:pt x="28" y="10"/>
                      <a:pt x="27" y="11"/>
                    </a:cubicBezTo>
                    <a:cubicBezTo>
                      <a:pt x="26" y="12"/>
                      <a:pt x="26" y="13"/>
                      <a:pt x="25" y="14"/>
                    </a:cubicBezTo>
                    <a:cubicBezTo>
                      <a:pt x="25" y="15"/>
                      <a:pt x="25" y="18"/>
                      <a:pt x="26" y="22"/>
                    </a:cubicBezTo>
                    <a:lnTo>
                      <a:pt x="27" y="2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62" name="îṩliďè"/>
              <p:cNvSpPr/>
              <p:nvPr/>
            </p:nvSpPr>
            <p:spPr bwMode="auto">
              <a:xfrm>
                <a:off x="3146322" y="5120278"/>
                <a:ext cx="93663" cy="79375"/>
              </a:xfrm>
              <a:custGeom>
                <a:avLst/>
                <a:gdLst>
                  <a:gd name="T0" fmla="*/ 59 w 59"/>
                  <a:gd name="T1" fmla="*/ 37 h 50"/>
                  <a:gd name="T2" fmla="*/ 9 w 59"/>
                  <a:gd name="T3" fmla="*/ 50 h 50"/>
                  <a:gd name="T4" fmla="*/ 0 w 59"/>
                  <a:gd name="T5" fmla="*/ 13 h 50"/>
                  <a:gd name="T6" fmla="*/ 8 w 59"/>
                  <a:gd name="T7" fmla="*/ 10 h 50"/>
                  <a:gd name="T8" fmla="*/ 15 w 59"/>
                  <a:gd name="T9" fmla="*/ 37 h 50"/>
                  <a:gd name="T10" fmla="*/ 25 w 59"/>
                  <a:gd name="T11" fmla="*/ 35 h 50"/>
                  <a:gd name="T12" fmla="*/ 19 w 59"/>
                  <a:gd name="T13" fmla="*/ 9 h 50"/>
                  <a:gd name="T14" fmla="*/ 27 w 59"/>
                  <a:gd name="T15" fmla="*/ 8 h 50"/>
                  <a:gd name="T16" fmla="*/ 34 w 59"/>
                  <a:gd name="T17" fmla="*/ 32 h 50"/>
                  <a:gd name="T18" fmla="*/ 47 w 59"/>
                  <a:gd name="T19" fmla="*/ 29 h 50"/>
                  <a:gd name="T20" fmla="*/ 40 w 59"/>
                  <a:gd name="T21" fmla="*/ 1 h 50"/>
                  <a:gd name="T22" fmla="*/ 49 w 59"/>
                  <a:gd name="T23" fmla="*/ 0 h 50"/>
                  <a:gd name="T24" fmla="*/ 59 w 59"/>
                  <a:gd name="T25" fmla="*/ 37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59" h="50">
                    <a:moveTo>
                      <a:pt x="59" y="37"/>
                    </a:moveTo>
                    <a:lnTo>
                      <a:pt x="9" y="50"/>
                    </a:lnTo>
                    <a:lnTo>
                      <a:pt x="0" y="13"/>
                    </a:lnTo>
                    <a:lnTo>
                      <a:pt x="8" y="10"/>
                    </a:lnTo>
                    <a:lnTo>
                      <a:pt x="15" y="37"/>
                    </a:lnTo>
                    <a:lnTo>
                      <a:pt x="25" y="35"/>
                    </a:lnTo>
                    <a:lnTo>
                      <a:pt x="19" y="9"/>
                    </a:lnTo>
                    <a:lnTo>
                      <a:pt x="27" y="8"/>
                    </a:lnTo>
                    <a:lnTo>
                      <a:pt x="34" y="32"/>
                    </a:lnTo>
                    <a:lnTo>
                      <a:pt x="47" y="29"/>
                    </a:lnTo>
                    <a:lnTo>
                      <a:pt x="40" y="1"/>
                    </a:lnTo>
                    <a:lnTo>
                      <a:pt x="49" y="0"/>
                    </a:lnTo>
                    <a:lnTo>
                      <a:pt x="59" y="3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63" name="iṧlíḋè"/>
              <p:cNvSpPr/>
              <p:nvPr/>
            </p:nvSpPr>
            <p:spPr bwMode="auto">
              <a:xfrm>
                <a:off x="3138384" y="5096465"/>
                <a:ext cx="82550" cy="38100"/>
              </a:xfrm>
              <a:custGeom>
                <a:avLst/>
                <a:gdLst>
                  <a:gd name="T0" fmla="*/ 52 w 52"/>
                  <a:gd name="T1" fmla="*/ 9 h 24"/>
                  <a:gd name="T2" fmla="*/ 3 w 52"/>
                  <a:gd name="T3" fmla="*/ 24 h 24"/>
                  <a:gd name="T4" fmla="*/ 0 w 52"/>
                  <a:gd name="T5" fmla="*/ 15 h 24"/>
                  <a:gd name="T6" fmla="*/ 49 w 52"/>
                  <a:gd name="T7" fmla="*/ 0 h 24"/>
                  <a:gd name="T8" fmla="*/ 52 w 52"/>
                  <a:gd name="T9" fmla="*/ 9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2" h="24">
                    <a:moveTo>
                      <a:pt x="52" y="9"/>
                    </a:moveTo>
                    <a:lnTo>
                      <a:pt x="3" y="24"/>
                    </a:lnTo>
                    <a:lnTo>
                      <a:pt x="0" y="15"/>
                    </a:lnTo>
                    <a:lnTo>
                      <a:pt x="49" y="0"/>
                    </a:lnTo>
                    <a:lnTo>
                      <a:pt x="52" y="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64" name="islïḓè"/>
              <p:cNvSpPr/>
              <p:nvPr/>
            </p:nvSpPr>
            <p:spPr bwMode="auto">
              <a:xfrm>
                <a:off x="3120922" y="5047253"/>
                <a:ext cx="88900" cy="52388"/>
              </a:xfrm>
              <a:custGeom>
                <a:avLst/>
                <a:gdLst>
                  <a:gd name="T0" fmla="*/ 3 w 48"/>
                  <a:gd name="T1" fmla="*/ 20 h 28"/>
                  <a:gd name="T2" fmla="*/ 0 w 48"/>
                  <a:gd name="T3" fmla="*/ 12 h 28"/>
                  <a:gd name="T4" fmla="*/ 26 w 48"/>
                  <a:gd name="T5" fmla="*/ 2 h 28"/>
                  <a:gd name="T6" fmla="*/ 34 w 48"/>
                  <a:gd name="T7" fmla="*/ 0 h 28"/>
                  <a:gd name="T8" fmla="*/ 42 w 48"/>
                  <a:gd name="T9" fmla="*/ 3 h 28"/>
                  <a:gd name="T10" fmla="*/ 47 w 48"/>
                  <a:gd name="T11" fmla="*/ 10 h 28"/>
                  <a:gd name="T12" fmla="*/ 47 w 48"/>
                  <a:gd name="T13" fmla="*/ 21 h 28"/>
                  <a:gd name="T14" fmla="*/ 38 w 48"/>
                  <a:gd name="T15" fmla="*/ 28 h 28"/>
                  <a:gd name="T16" fmla="*/ 34 w 48"/>
                  <a:gd name="T17" fmla="*/ 20 h 28"/>
                  <a:gd name="T18" fmla="*/ 39 w 48"/>
                  <a:gd name="T19" fmla="*/ 17 h 28"/>
                  <a:gd name="T20" fmla="*/ 40 w 48"/>
                  <a:gd name="T21" fmla="*/ 13 h 28"/>
                  <a:gd name="T22" fmla="*/ 37 w 48"/>
                  <a:gd name="T23" fmla="*/ 9 h 28"/>
                  <a:gd name="T24" fmla="*/ 30 w 48"/>
                  <a:gd name="T25" fmla="*/ 10 h 28"/>
                  <a:gd name="T26" fmla="*/ 3 w 48"/>
                  <a:gd name="T27" fmla="*/ 20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48" h="28">
                    <a:moveTo>
                      <a:pt x="3" y="20"/>
                    </a:moveTo>
                    <a:cubicBezTo>
                      <a:pt x="0" y="12"/>
                      <a:pt x="0" y="12"/>
                      <a:pt x="0" y="12"/>
                    </a:cubicBezTo>
                    <a:cubicBezTo>
                      <a:pt x="26" y="2"/>
                      <a:pt x="26" y="2"/>
                      <a:pt x="26" y="2"/>
                    </a:cubicBezTo>
                    <a:cubicBezTo>
                      <a:pt x="29" y="1"/>
                      <a:pt x="32" y="0"/>
                      <a:pt x="34" y="0"/>
                    </a:cubicBezTo>
                    <a:cubicBezTo>
                      <a:pt x="37" y="0"/>
                      <a:pt x="39" y="1"/>
                      <a:pt x="42" y="3"/>
                    </a:cubicBezTo>
                    <a:cubicBezTo>
                      <a:pt x="44" y="4"/>
                      <a:pt x="46" y="7"/>
                      <a:pt x="47" y="10"/>
                    </a:cubicBezTo>
                    <a:cubicBezTo>
                      <a:pt x="48" y="14"/>
                      <a:pt x="48" y="18"/>
                      <a:pt x="47" y="21"/>
                    </a:cubicBezTo>
                    <a:cubicBezTo>
                      <a:pt x="45" y="24"/>
                      <a:pt x="42" y="26"/>
                      <a:pt x="38" y="28"/>
                    </a:cubicBezTo>
                    <a:cubicBezTo>
                      <a:pt x="34" y="20"/>
                      <a:pt x="34" y="20"/>
                      <a:pt x="34" y="20"/>
                    </a:cubicBezTo>
                    <a:cubicBezTo>
                      <a:pt x="37" y="19"/>
                      <a:pt x="38" y="18"/>
                      <a:pt x="39" y="17"/>
                    </a:cubicBezTo>
                    <a:cubicBezTo>
                      <a:pt x="40" y="16"/>
                      <a:pt x="40" y="14"/>
                      <a:pt x="40" y="13"/>
                    </a:cubicBezTo>
                    <a:cubicBezTo>
                      <a:pt x="39" y="11"/>
                      <a:pt x="38" y="10"/>
                      <a:pt x="37" y="9"/>
                    </a:cubicBezTo>
                    <a:cubicBezTo>
                      <a:pt x="35" y="9"/>
                      <a:pt x="33" y="9"/>
                      <a:pt x="30" y="10"/>
                    </a:cubicBezTo>
                    <a:lnTo>
                      <a:pt x="3" y="2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65" name="íṥ1iḍe"/>
              <p:cNvSpPr/>
              <p:nvPr/>
            </p:nvSpPr>
            <p:spPr bwMode="auto">
              <a:xfrm>
                <a:off x="3112984" y="5017090"/>
                <a:ext cx="80963" cy="46038"/>
              </a:xfrm>
              <a:custGeom>
                <a:avLst/>
                <a:gdLst>
                  <a:gd name="T0" fmla="*/ 51 w 51"/>
                  <a:gd name="T1" fmla="*/ 9 h 29"/>
                  <a:gd name="T2" fmla="*/ 3 w 51"/>
                  <a:gd name="T3" fmla="*/ 29 h 29"/>
                  <a:gd name="T4" fmla="*/ 0 w 51"/>
                  <a:gd name="T5" fmla="*/ 19 h 29"/>
                  <a:gd name="T6" fmla="*/ 46 w 51"/>
                  <a:gd name="T7" fmla="*/ 0 h 29"/>
                  <a:gd name="T8" fmla="*/ 51 w 51"/>
                  <a:gd name="T9" fmla="*/ 9 h 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1" h="29">
                    <a:moveTo>
                      <a:pt x="51" y="9"/>
                    </a:moveTo>
                    <a:lnTo>
                      <a:pt x="3" y="29"/>
                    </a:lnTo>
                    <a:lnTo>
                      <a:pt x="0" y="19"/>
                    </a:lnTo>
                    <a:lnTo>
                      <a:pt x="46" y="0"/>
                    </a:lnTo>
                    <a:lnTo>
                      <a:pt x="51" y="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66" name="iṥľîḋé"/>
              <p:cNvSpPr/>
              <p:nvPr/>
            </p:nvSpPr>
            <p:spPr bwMode="auto">
              <a:xfrm>
                <a:off x="3081234" y="4948828"/>
                <a:ext cx="101600" cy="93663"/>
              </a:xfrm>
              <a:custGeom>
                <a:avLst/>
                <a:gdLst>
                  <a:gd name="T0" fmla="*/ 64 w 64"/>
                  <a:gd name="T1" fmla="*/ 36 h 59"/>
                  <a:gd name="T2" fmla="*/ 18 w 64"/>
                  <a:gd name="T3" fmla="*/ 59 h 59"/>
                  <a:gd name="T4" fmla="*/ 14 w 64"/>
                  <a:gd name="T5" fmla="*/ 50 h 59"/>
                  <a:gd name="T6" fmla="*/ 35 w 64"/>
                  <a:gd name="T7" fmla="*/ 16 h 59"/>
                  <a:gd name="T8" fmla="*/ 3 w 64"/>
                  <a:gd name="T9" fmla="*/ 31 h 59"/>
                  <a:gd name="T10" fmla="*/ 0 w 64"/>
                  <a:gd name="T11" fmla="*/ 22 h 59"/>
                  <a:gd name="T12" fmla="*/ 45 w 64"/>
                  <a:gd name="T13" fmla="*/ 0 h 59"/>
                  <a:gd name="T14" fmla="*/ 50 w 64"/>
                  <a:gd name="T15" fmla="*/ 8 h 59"/>
                  <a:gd name="T16" fmla="*/ 29 w 64"/>
                  <a:gd name="T17" fmla="*/ 42 h 59"/>
                  <a:gd name="T18" fmla="*/ 59 w 64"/>
                  <a:gd name="T19" fmla="*/ 26 h 59"/>
                  <a:gd name="T20" fmla="*/ 64 w 64"/>
                  <a:gd name="T21" fmla="*/ 36 h 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64" h="59">
                    <a:moveTo>
                      <a:pt x="64" y="36"/>
                    </a:moveTo>
                    <a:lnTo>
                      <a:pt x="18" y="59"/>
                    </a:lnTo>
                    <a:lnTo>
                      <a:pt x="14" y="50"/>
                    </a:lnTo>
                    <a:lnTo>
                      <a:pt x="35" y="16"/>
                    </a:lnTo>
                    <a:lnTo>
                      <a:pt x="3" y="31"/>
                    </a:lnTo>
                    <a:lnTo>
                      <a:pt x="0" y="22"/>
                    </a:lnTo>
                    <a:lnTo>
                      <a:pt x="45" y="0"/>
                    </a:lnTo>
                    <a:lnTo>
                      <a:pt x="50" y="8"/>
                    </a:lnTo>
                    <a:lnTo>
                      <a:pt x="29" y="42"/>
                    </a:lnTo>
                    <a:lnTo>
                      <a:pt x="59" y="26"/>
                    </a:lnTo>
                    <a:lnTo>
                      <a:pt x="64" y="36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67" name="îślidè"/>
              <p:cNvSpPr/>
              <p:nvPr/>
            </p:nvSpPr>
            <p:spPr bwMode="auto">
              <a:xfrm>
                <a:off x="3047897" y="4877390"/>
                <a:ext cx="84138" cy="88900"/>
              </a:xfrm>
              <a:custGeom>
                <a:avLst/>
                <a:gdLst>
                  <a:gd name="T0" fmla="*/ 28 w 46"/>
                  <a:gd name="T1" fmla="*/ 21 h 48"/>
                  <a:gd name="T2" fmla="*/ 22 w 46"/>
                  <a:gd name="T3" fmla="*/ 25 h 48"/>
                  <a:gd name="T4" fmla="*/ 11 w 46"/>
                  <a:gd name="T5" fmla="*/ 9 h 48"/>
                  <a:gd name="T6" fmla="*/ 26 w 46"/>
                  <a:gd name="T7" fmla="*/ 0 h 48"/>
                  <a:gd name="T8" fmla="*/ 35 w 46"/>
                  <a:gd name="T9" fmla="*/ 4 h 48"/>
                  <a:gd name="T10" fmla="*/ 42 w 46"/>
                  <a:gd name="T11" fmla="*/ 12 h 48"/>
                  <a:gd name="T12" fmla="*/ 46 w 46"/>
                  <a:gd name="T13" fmla="*/ 24 h 48"/>
                  <a:gd name="T14" fmla="*/ 43 w 46"/>
                  <a:gd name="T15" fmla="*/ 35 h 48"/>
                  <a:gd name="T16" fmla="*/ 35 w 46"/>
                  <a:gd name="T17" fmla="*/ 43 h 48"/>
                  <a:gd name="T18" fmla="*/ 23 w 46"/>
                  <a:gd name="T19" fmla="*/ 47 h 48"/>
                  <a:gd name="T20" fmla="*/ 12 w 46"/>
                  <a:gd name="T21" fmla="*/ 45 h 48"/>
                  <a:gd name="T22" fmla="*/ 4 w 46"/>
                  <a:gd name="T23" fmla="*/ 37 h 48"/>
                  <a:gd name="T24" fmla="*/ 0 w 46"/>
                  <a:gd name="T25" fmla="*/ 24 h 48"/>
                  <a:gd name="T26" fmla="*/ 5 w 46"/>
                  <a:gd name="T27" fmla="*/ 14 h 48"/>
                  <a:gd name="T28" fmla="*/ 11 w 46"/>
                  <a:gd name="T29" fmla="*/ 21 h 48"/>
                  <a:gd name="T30" fmla="*/ 9 w 46"/>
                  <a:gd name="T31" fmla="*/ 27 h 48"/>
                  <a:gd name="T32" fmla="*/ 11 w 46"/>
                  <a:gd name="T33" fmla="*/ 33 h 48"/>
                  <a:gd name="T34" fmla="*/ 19 w 46"/>
                  <a:gd name="T35" fmla="*/ 39 h 48"/>
                  <a:gd name="T36" fmla="*/ 30 w 46"/>
                  <a:gd name="T37" fmla="*/ 36 h 48"/>
                  <a:gd name="T38" fmla="*/ 38 w 46"/>
                  <a:gd name="T39" fmla="*/ 26 h 48"/>
                  <a:gd name="T40" fmla="*/ 36 w 46"/>
                  <a:gd name="T41" fmla="*/ 17 h 48"/>
                  <a:gd name="T42" fmla="*/ 32 w 46"/>
                  <a:gd name="T43" fmla="*/ 13 h 48"/>
                  <a:gd name="T44" fmla="*/ 27 w 46"/>
                  <a:gd name="T45" fmla="*/ 10 h 48"/>
                  <a:gd name="T46" fmla="*/ 23 w 46"/>
                  <a:gd name="T47" fmla="*/ 13 h 48"/>
                  <a:gd name="T48" fmla="*/ 28 w 46"/>
                  <a:gd name="T49" fmla="*/ 21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46" h="48">
                    <a:moveTo>
                      <a:pt x="28" y="21"/>
                    </a:moveTo>
                    <a:cubicBezTo>
                      <a:pt x="22" y="25"/>
                      <a:pt x="22" y="25"/>
                      <a:pt x="22" y="25"/>
                    </a:cubicBezTo>
                    <a:cubicBezTo>
                      <a:pt x="11" y="9"/>
                      <a:pt x="11" y="9"/>
                      <a:pt x="11" y="9"/>
                    </a:cubicBezTo>
                    <a:cubicBezTo>
                      <a:pt x="26" y="0"/>
                      <a:pt x="26" y="0"/>
                      <a:pt x="26" y="0"/>
                    </a:cubicBezTo>
                    <a:cubicBezTo>
                      <a:pt x="29" y="1"/>
                      <a:pt x="31" y="2"/>
                      <a:pt x="35" y="4"/>
                    </a:cubicBezTo>
                    <a:cubicBezTo>
                      <a:pt x="38" y="6"/>
                      <a:pt x="40" y="9"/>
                      <a:pt x="42" y="12"/>
                    </a:cubicBezTo>
                    <a:cubicBezTo>
                      <a:pt x="45" y="16"/>
                      <a:pt x="46" y="20"/>
                      <a:pt x="46" y="24"/>
                    </a:cubicBezTo>
                    <a:cubicBezTo>
                      <a:pt x="46" y="28"/>
                      <a:pt x="45" y="31"/>
                      <a:pt x="43" y="35"/>
                    </a:cubicBezTo>
                    <a:cubicBezTo>
                      <a:pt x="41" y="38"/>
                      <a:pt x="38" y="41"/>
                      <a:pt x="35" y="43"/>
                    </a:cubicBezTo>
                    <a:cubicBezTo>
                      <a:pt x="31" y="46"/>
                      <a:pt x="27" y="47"/>
                      <a:pt x="23" y="47"/>
                    </a:cubicBezTo>
                    <a:cubicBezTo>
                      <a:pt x="19" y="48"/>
                      <a:pt x="15" y="47"/>
                      <a:pt x="12" y="45"/>
                    </a:cubicBezTo>
                    <a:cubicBezTo>
                      <a:pt x="9" y="43"/>
                      <a:pt x="6" y="41"/>
                      <a:pt x="4" y="37"/>
                    </a:cubicBezTo>
                    <a:cubicBezTo>
                      <a:pt x="1" y="32"/>
                      <a:pt x="0" y="28"/>
                      <a:pt x="0" y="24"/>
                    </a:cubicBezTo>
                    <a:cubicBezTo>
                      <a:pt x="0" y="21"/>
                      <a:pt x="2" y="17"/>
                      <a:pt x="5" y="14"/>
                    </a:cubicBezTo>
                    <a:cubicBezTo>
                      <a:pt x="11" y="21"/>
                      <a:pt x="11" y="21"/>
                      <a:pt x="11" y="21"/>
                    </a:cubicBezTo>
                    <a:cubicBezTo>
                      <a:pt x="10" y="23"/>
                      <a:pt x="9" y="24"/>
                      <a:pt x="9" y="27"/>
                    </a:cubicBezTo>
                    <a:cubicBezTo>
                      <a:pt x="8" y="29"/>
                      <a:pt x="9" y="31"/>
                      <a:pt x="11" y="33"/>
                    </a:cubicBezTo>
                    <a:cubicBezTo>
                      <a:pt x="13" y="36"/>
                      <a:pt x="15" y="38"/>
                      <a:pt x="19" y="39"/>
                    </a:cubicBezTo>
                    <a:cubicBezTo>
                      <a:pt x="22" y="39"/>
                      <a:pt x="26" y="38"/>
                      <a:pt x="30" y="36"/>
                    </a:cubicBezTo>
                    <a:cubicBezTo>
                      <a:pt x="34" y="33"/>
                      <a:pt x="37" y="30"/>
                      <a:pt x="38" y="26"/>
                    </a:cubicBezTo>
                    <a:cubicBezTo>
                      <a:pt x="39" y="23"/>
                      <a:pt x="38" y="20"/>
                      <a:pt x="36" y="17"/>
                    </a:cubicBezTo>
                    <a:cubicBezTo>
                      <a:pt x="35" y="15"/>
                      <a:pt x="34" y="14"/>
                      <a:pt x="32" y="13"/>
                    </a:cubicBezTo>
                    <a:cubicBezTo>
                      <a:pt x="30" y="11"/>
                      <a:pt x="29" y="10"/>
                      <a:pt x="27" y="10"/>
                    </a:cubicBezTo>
                    <a:cubicBezTo>
                      <a:pt x="23" y="13"/>
                      <a:pt x="23" y="13"/>
                      <a:pt x="23" y="13"/>
                    </a:cubicBezTo>
                    <a:lnTo>
                      <a:pt x="28" y="2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68" name="îŝ1ide"/>
              <p:cNvSpPr/>
              <p:nvPr/>
            </p:nvSpPr>
            <p:spPr bwMode="auto">
              <a:xfrm>
                <a:off x="1981097" y="4907553"/>
                <a:ext cx="931863" cy="969963"/>
              </a:xfrm>
              <a:custGeom>
                <a:avLst/>
                <a:gdLst>
                  <a:gd name="T0" fmla="*/ 488 w 506"/>
                  <a:gd name="T1" fmla="*/ 144 h 525"/>
                  <a:gd name="T2" fmla="*/ 449 w 506"/>
                  <a:gd name="T3" fmla="*/ 161 h 525"/>
                  <a:gd name="T4" fmla="*/ 473 w 506"/>
                  <a:gd name="T5" fmla="*/ 361 h 525"/>
                  <a:gd name="T6" fmla="*/ 434 w 506"/>
                  <a:gd name="T7" fmla="*/ 382 h 525"/>
                  <a:gd name="T8" fmla="*/ 463 w 506"/>
                  <a:gd name="T9" fmla="*/ 392 h 525"/>
                  <a:gd name="T10" fmla="*/ 434 w 506"/>
                  <a:gd name="T11" fmla="*/ 455 h 525"/>
                  <a:gd name="T12" fmla="*/ 418 w 506"/>
                  <a:gd name="T13" fmla="*/ 525 h 525"/>
                  <a:gd name="T14" fmla="*/ 328 w 506"/>
                  <a:gd name="T15" fmla="*/ 392 h 525"/>
                  <a:gd name="T16" fmla="*/ 200 w 506"/>
                  <a:gd name="T17" fmla="*/ 376 h 525"/>
                  <a:gd name="T18" fmla="*/ 179 w 506"/>
                  <a:gd name="T19" fmla="*/ 525 h 525"/>
                  <a:gd name="T20" fmla="*/ 72 w 506"/>
                  <a:gd name="T21" fmla="*/ 510 h 525"/>
                  <a:gd name="T22" fmla="*/ 44 w 506"/>
                  <a:gd name="T23" fmla="*/ 439 h 525"/>
                  <a:gd name="T24" fmla="*/ 72 w 506"/>
                  <a:gd name="T25" fmla="*/ 392 h 525"/>
                  <a:gd name="T26" fmla="*/ 57 w 506"/>
                  <a:gd name="T27" fmla="*/ 382 h 525"/>
                  <a:gd name="T28" fmla="*/ 18 w 506"/>
                  <a:gd name="T29" fmla="*/ 161 h 525"/>
                  <a:gd name="T30" fmla="*/ 56 w 506"/>
                  <a:gd name="T31" fmla="*/ 144 h 525"/>
                  <a:gd name="T32" fmla="*/ 0 w 506"/>
                  <a:gd name="T33" fmla="*/ 21 h 525"/>
                  <a:gd name="T34" fmla="*/ 92 w 506"/>
                  <a:gd name="T35" fmla="*/ 21 h 525"/>
                  <a:gd name="T36" fmla="*/ 403 w 506"/>
                  <a:gd name="T37" fmla="*/ 82 h 525"/>
                  <a:gd name="T38" fmla="*/ 457 w 506"/>
                  <a:gd name="T39" fmla="*/ 0 h 525"/>
                  <a:gd name="T40" fmla="*/ 461 w 506"/>
                  <a:gd name="T41" fmla="*/ 82 h 525"/>
                  <a:gd name="T42" fmla="*/ 455 w 506"/>
                  <a:gd name="T43" fmla="*/ 24 h 525"/>
                  <a:gd name="T44" fmla="*/ 435 w 506"/>
                  <a:gd name="T45" fmla="*/ 82 h 525"/>
                  <a:gd name="T46" fmla="*/ 454 w 506"/>
                  <a:gd name="T47" fmla="*/ 127 h 525"/>
                  <a:gd name="T48" fmla="*/ 49 w 506"/>
                  <a:gd name="T49" fmla="*/ 112 h 525"/>
                  <a:gd name="T50" fmla="*/ 78 w 506"/>
                  <a:gd name="T51" fmla="*/ 127 h 525"/>
                  <a:gd name="T52" fmla="*/ 81 w 506"/>
                  <a:gd name="T53" fmla="*/ 161 h 525"/>
                  <a:gd name="T54" fmla="*/ 426 w 506"/>
                  <a:gd name="T55" fmla="*/ 145 h 525"/>
                  <a:gd name="T56" fmla="*/ 454 w 506"/>
                  <a:gd name="T57" fmla="*/ 127 h 525"/>
                  <a:gd name="T58" fmla="*/ 450 w 506"/>
                  <a:gd name="T59" fmla="*/ 178 h 525"/>
                  <a:gd name="T60" fmla="*/ 65 w 506"/>
                  <a:gd name="T61" fmla="*/ 335 h 525"/>
                  <a:gd name="T62" fmla="*/ 421 w 506"/>
                  <a:gd name="T63" fmla="*/ 349 h 525"/>
                  <a:gd name="T64" fmla="*/ 398 w 506"/>
                  <a:gd name="T65" fmla="*/ 490 h 525"/>
                  <a:gd name="T66" fmla="*/ 356 w 506"/>
                  <a:gd name="T67" fmla="*/ 371 h 525"/>
                  <a:gd name="T68" fmla="*/ 389 w 506"/>
                  <a:gd name="T69" fmla="*/ 496 h 525"/>
                  <a:gd name="T70" fmla="*/ 150 w 506"/>
                  <a:gd name="T71" fmla="*/ 496 h 525"/>
                  <a:gd name="T72" fmla="*/ 108 w 506"/>
                  <a:gd name="T73" fmla="*/ 371 h 525"/>
                  <a:gd name="T74" fmla="*/ 117 w 506"/>
                  <a:gd name="T75" fmla="*/ 496 h 525"/>
                  <a:gd name="T76" fmla="*/ 71 w 506"/>
                  <a:gd name="T77" fmla="*/ 82 h 525"/>
                  <a:gd name="T78" fmla="*/ 51 w 506"/>
                  <a:gd name="T79" fmla="*/ 24 h 525"/>
                  <a:gd name="T80" fmla="*/ 45 w 506"/>
                  <a:gd name="T81" fmla="*/ 82 h 5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506" h="525">
                    <a:moveTo>
                      <a:pt x="506" y="21"/>
                    </a:moveTo>
                    <a:cubicBezTo>
                      <a:pt x="488" y="144"/>
                      <a:pt x="488" y="144"/>
                      <a:pt x="488" y="144"/>
                    </a:cubicBezTo>
                    <a:cubicBezTo>
                      <a:pt x="450" y="144"/>
                      <a:pt x="450" y="144"/>
                      <a:pt x="450" y="144"/>
                    </a:cubicBezTo>
                    <a:cubicBezTo>
                      <a:pt x="449" y="161"/>
                      <a:pt x="449" y="161"/>
                      <a:pt x="449" y="161"/>
                    </a:cubicBezTo>
                    <a:cubicBezTo>
                      <a:pt x="488" y="161"/>
                      <a:pt x="488" y="161"/>
                      <a:pt x="488" y="161"/>
                    </a:cubicBezTo>
                    <a:cubicBezTo>
                      <a:pt x="473" y="361"/>
                      <a:pt x="473" y="361"/>
                      <a:pt x="473" y="361"/>
                    </a:cubicBezTo>
                    <a:cubicBezTo>
                      <a:pt x="473" y="372"/>
                      <a:pt x="462" y="382"/>
                      <a:pt x="450" y="382"/>
                    </a:cubicBezTo>
                    <a:cubicBezTo>
                      <a:pt x="434" y="382"/>
                      <a:pt x="434" y="382"/>
                      <a:pt x="434" y="382"/>
                    </a:cubicBezTo>
                    <a:cubicBezTo>
                      <a:pt x="434" y="392"/>
                      <a:pt x="434" y="392"/>
                      <a:pt x="434" y="392"/>
                    </a:cubicBezTo>
                    <a:cubicBezTo>
                      <a:pt x="463" y="392"/>
                      <a:pt x="463" y="392"/>
                      <a:pt x="463" y="392"/>
                    </a:cubicBezTo>
                    <a:cubicBezTo>
                      <a:pt x="463" y="439"/>
                      <a:pt x="463" y="439"/>
                      <a:pt x="463" y="439"/>
                    </a:cubicBezTo>
                    <a:cubicBezTo>
                      <a:pt x="463" y="448"/>
                      <a:pt x="450" y="455"/>
                      <a:pt x="434" y="455"/>
                    </a:cubicBezTo>
                    <a:cubicBezTo>
                      <a:pt x="434" y="510"/>
                      <a:pt x="434" y="510"/>
                      <a:pt x="434" y="510"/>
                    </a:cubicBezTo>
                    <a:cubicBezTo>
                      <a:pt x="434" y="518"/>
                      <a:pt x="427" y="525"/>
                      <a:pt x="418" y="525"/>
                    </a:cubicBezTo>
                    <a:cubicBezTo>
                      <a:pt x="328" y="525"/>
                      <a:pt x="328" y="525"/>
                      <a:pt x="328" y="525"/>
                    </a:cubicBezTo>
                    <a:cubicBezTo>
                      <a:pt x="328" y="392"/>
                      <a:pt x="328" y="392"/>
                      <a:pt x="328" y="392"/>
                    </a:cubicBezTo>
                    <a:cubicBezTo>
                      <a:pt x="328" y="383"/>
                      <a:pt x="318" y="376"/>
                      <a:pt x="307" y="376"/>
                    </a:cubicBezTo>
                    <a:cubicBezTo>
                      <a:pt x="200" y="376"/>
                      <a:pt x="200" y="376"/>
                      <a:pt x="200" y="376"/>
                    </a:cubicBezTo>
                    <a:cubicBezTo>
                      <a:pt x="188" y="376"/>
                      <a:pt x="179" y="383"/>
                      <a:pt x="179" y="392"/>
                    </a:cubicBezTo>
                    <a:cubicBezTo>
                      <a:pt x="179" y="525"/>
                      <a:pt x="179" y="525"/>
                      <a:pt x="179" y="525"/>
                    </a:cubicBezTo>
                    <a:cubicBezTo>
                      <a:pt x="89" y="525"/>
                      <a:pt x="89" y="525"/>
                      <a:pt x="89" y="525"/>
                    </a:cubicBezTo>
                    <a:cubicBezTo>
                      <a:pt x="80" y="525"/>
                      <a:pt x="72" y="518"/>
                      <a:pt x="72" y="510"/>
                    </a:cubicBezTo>
                    <a:cubicBezTo>
                      <a:pt x="72" y="455"/>
                      <a:pt x="72" y="455"/>
                      <a:pt x="72" y="455"/>
                    </a:cubicBezTo>
                    <a:cubicBezTo>
                      <a:pt x="56" y="455"/>
                      <a:pt x="44" y="448"/>
                      <a:pt x="44" y="439"/>
                    </a:cubicBezTo>
                    <a:cubicBezTo>
                      <a:pt x="44" y="392"/>
                      <a:pt x="44" y="392"/>
                      <a:pt x="44" y="392"/>
                    </a:cubicBezTo>
                    <a:cubicBezTo>
                      <a:pt x="72" y="392"/>
                      <a:pt x="72" y="392"/>
                      <a:pt x="72" y="392"/>
                    </a:cubicBezTo>
                    <a:cubicBezTo>
                      <a:pt x="72" y="382"/>
                      <a:pt x="72" y="382"/>
                      <a:pt x="72" y="382"/>
                    </a:cubicBezTo>
                    <a:cubicBezTo>
                      <a:pt x="57" y="382"/>
                      <a:pt x="57" y="382"/>
                      <a:pt x="57" y="382"/>
                    </a:cubicBezTo>
                    <a:cubicBezTo>
                      <a:pt x="44" y="382"/>
                      <a:pt x="34" y="372"/>
                      <a:pt x="34" y="361"/>
                    </a:cubicBezTo>
                    <a:cubicBezTo>
                      <a:pt x="18" y="161"/>
                      <a:pt x="18" y="161"/>
                      <a:pt x="18" y="161"/>
                    </a:cubicBezTo>
                    <a:cubicBezTo>
                      <a:pt x="58" y="161"/>
                      <a:pt x="58" y="161"/>
                      <a:pt x="58" y="161"/>
                    </a:cubicBezTo>
                    <a:cubicBezTo>
                      <a:pt x="56" y="144"/>
                      <a:pt x="56" y="144"/>
                      <a:pt x="56" y="144"/>
                    </a:cubicBezTo>
                    <a:cubicBezTo>
                      <a:pt x="18" y="144"/>
                      <a:pt x="18" y="144"/>
                      <a:pt x="18" y="144"/>
                    </a:cubicBezTo>
                    <a:cubicBezTo>
                      <a:pt x="0" y="21"/>
                      <a:pt x="0" y="21"/>
                      <a:pt x="0" y="21"/>
                    </a:cubicBezTo>
                    <a:cubicBezTo>
                      <a:pt x="2" y="7"/>
                      <a:pt x="31" y="0"/>
                      <a:pt x="49" y="0"/>
                    </a:cubicBezTo>
                    <a:cubicBezTo>
                      <a:pt x="73" y="0"/>
                      <a:pt x="80" y="3"/>
                      <a:pt x="92" y="21"/>
                    </a:cubicBezTo>
                    <a:cubicBezTo>
                      <a:pt x="103" y="82"/>
                      <a:pt x="103" y="82"/>
                      <a:pt x="103" y="82"/>
                    </a:cubicBezTo>
                    <a:cubicBezTo>
                      <a:pt x="403" y="82"/>
                      <a:pt x="403" y="82"/>
                      <a:pt x="403" y="82"/>
                    </a:cubicBezTo>
                    <a:cubicBezTo>
                      <a:pt x="415" y="21"/>
                      <a:pt x="415" y="21"/>
                      <a:pt x="415" y="21"/>
                    </a:cubicBezTo>
                    <a:cubicBezTo>
                      <a:pt x="426" y="3"/>
                      <a:pt x="433" y="0"/>
                      <a:pt x="457" y="0"/>
                    </a:cubicBezTo>
                    <a:cubicBezTo>
                      <a:pt x="475" y="0"/>
                      <a:pt x="504" y="7"/>
                      <a:pt x="506" y="21"/>
                    </a:cubicBezTo>
                    <a:close/>
                    <a:moveTo>
                      <a:pt x="461" y="82"/>
                    </a:moveTo>
                    <a:cubicBezTo>
                      <a:pt x="469" y="32"/>
                      <a:pt x="469" y="32"/>
                      <a:pt x="469" y="32"/>
                    </a:cubicBezTo>
                    <a:cubicBezTo>
                      <a:pt x="469" y="24"/>
                      <a:pt x="463" y="24"/>
                      <a:pt x="455" y="24"/>
                    </a:cubicBezTo>
                    <a:cubicBezTo>
                      <a:pt x="450" y="24"/>
                      <a:pt x="447" y="26"/>
                      <a:pt x="445" y="32"/>
                    </a:cubicBezTo>
                    <a:cubicBezTo>
                      <a:pt x="435" y="82"/>
                      <a:pt x="435" y="82"/>
                      <a:pt x="435" y="82"/>
                    </a:cubicBezTo>
                    <a:lnTo>
                      <a:pt x="461" y="82"/>
                    </a:lnTo>
                    <a:close/>
                    <a:moveTo>
                      <a:pt x="454" y="127"/>
                    </a:moveTo>
                    <a:cubicBezTo>
                      <a:pt x="457" y="112"/>
                      <a:pt x="457" y="112"/>
                      <a:pt x="457" y="112"/>
                    </a:cubicBezTo>
                    <a:cubicBezTo>
                      <a:pt x="49" y="112"/>
                      <a:pt x="49" y="112"/>
                      <a:pt x="49" y="112"/>
                    </a:cubicBezTo>
                    <a:cubicBezTo>
                      <a:pt x="52" y="127"/>
                      <a:pt x="52" y="127"/>
                      <a:pt x="52" y="127"/>
                    </a:cubicBezTo>
                    <a:cubicBezTo>
                      <a:pt x="78" y="127"/>
                      <a:pt x="78" y="127"/>
                      <a:pt x="78" y="127"/>
                    </a:cubicBezTo>
                    <a:cubicBezTo>
                      <a:pt x="80" y="145"/>
                      <a:pt x="80" y="145"/>
                      <a:pt x="80" y="145"/>
                    </a:cubicBezTo>
                    <a:cubicBezTo>
                      <a:pt x="81" y="161"/>
                      <a:pt x="81" y="161"/>
                      <a:pt x="81" y="161"/>
                    </a:cubicBezTo>
                    <a:cubicBezTo>
                      <a:pt x="425" y="161"/>
                      <a:pt x="425" y="161"/>
                      <a:pt x="425" y="161"/>
                    </a:cubicBezTo>
                    <a:cubicBezTo>
                      <a:pt x="426" y="145"/>
                      <a:pt x="426" y="145"/>
                      <a:pt x="426" y="145"/>
                    </a:cubicBezTo>
                    <a:cubicBezTo>
                      <a:pt x="428" y="127"/>
                      <a:pt x="428" y="127"/>
                      <a:pt x="428" y="127"/>
                    </a:cubicBezTo>
                    <a:lnTo>
                      <a:pt x="454" y="127"/>
                    </a:lnTo>
                    <a:close/>
                    <a:moveTo>
                      <a:pt x="441" y="335"/>
                    </a:moveTo>
                    <a:cubicBezTo>
                      <a:pt x="450" y="178"/>
                      <a:pt x="450" y="178"/>
                      <a:pt x="450" y="178"/>
                    </a:cubicBezTo>
                    <a:cubicBezTo>
                      <a:pt x="56" y="178"/>
                      <a:pt x="56" y="178"/>
                      <a:pt x="56" y="178"/>
                    </a:cubicBezTo>
                    <a:cubicBezTo>
                      <a:pt x="65" y="335"/>
                      <a:pt x="65" y="335"/>
                      <a:pt x="65" y="335"/>
                    </a:cubicBezTo>
                    <a:cubicBezTo>
                      <a:pt x="65" y="343"/>
                      <a:pt x="74" y="349"/>
                      <a:pt x="85" y="349"/>
                    </a:cubicBezTo>
                    <a:cubicBezTo>
                      <a:pt x="421" y="349"/>
                      <a:pt x="421" y="349"/>
                      <a:pt x="421" y="349"/>
                    </a:cubicBezTo>
                    <a:cubicBezTo>
                      <a:pt x="432" y="349"/>
                      <a:pt x="441" y="343"/>
                      <a:pt x="441" y="335"/>
                    </a:cubicBezTo>
                    <a:close/>
                    <a:moveTo>
                      <a:pt x="398" y="490"/>
                    </a:moveTo>
                    <a:cubicBezTo>
                      <a:pt x="398" y="371"/>
                      <a:pt x="398" y="371"/>
                      <a:pt x="398" y="371"/>
                    </a:cubicBezTo>
                    <a:cubicBezTo>
                      <a:pt x="356" y="371"/>
                      <a:pt x="356" y="371"/>
                      <a:pt x="356" y="371"/>
                    </a:cubicBezTo>
                    <a:cubicBezTo>
                      <a:pt x="356" y="496"/>
                      <a:pt x="356" y="496"/>
                      <a:pt x="356" y="496"/>
                    </a:cubicBezTo>
                    <a:cubicBezTo>
                      <a:pt x="389" y="496"/>
                      <a:pt x="389" y="496"/>
                      <a:pt x="389" y="496"/>
                    </a:cubicBezTo>
                    <a:cubicBezTo>
                      <a:pt x="394" y="496"/>
                      <a:pt x="398" y="496"/>
                      <a:pt x="398" y="490"/>
                    </a:cubicBezTo>
                    <a:close/>
                    <a:moveTo>
                      <a:pt x="150" y="496"/>
                    </a:moveTo>
                    <a:cubicBezTo>
                      <a:pt x="150" y="371"/>
                      <a:pt x="150" y="371"/>
                      <a:pt x="150" y="371"/>
                    </a:cubicBezTo>
                    <a:cubicBezTo>
                      <a:pt x="108" y="371"/>
                      <a:pt x="108" y="371"/>
                      <a:pt x="108" y="371"/>
                    </a:cubicBezTo>
                    <a:cubicBezTo>
                      <a:pt x="108" y="490"/>
                      <a:pt x="108" y="490"/>
                      <a:pt x="108" y="490"/>
                    </a:cubicBezTo>
                    <a:cubicBezTo>
                      <a:pt x="108" y="496"/>
                      <a:pt x="112" y="496"/>
                      <a:pt x="117" y="496"/>
                    </a:cubicBezTo>
                    <a:lnTo>
                      <a:pt x="150" y="496"/>
                    </a:lnTo>
                    <a:close/>
                    <a:moveTo>
                      <a:pt x="71" y="82"/>
                    </a:moveTo>
                    <a:cubicBezTo>
                      <a:pt x="61" y="32"/>
                      <a:pt x="61" y="32"/>
                      <a:pt x="61" y="32"/>
                    </a:cubicBezTo>
                    <a:cubicBezTo>
                      <a:pt x="60" y="26"/>
                      <a:pt x="57" y="24"/>
                      <a:pt x="51" y="24"/>
                    </a:cubicBezTo>
                    <a:cubicBezTo>
                      <a:pt x="43" y="24"/>
                      <a:pt x="37" y="24"/>
                      <a:pt x="37" y="32"/>
                    </a:cubicBezTo>
                    <a:cubicBezTo>
                      <a:pt x="45" y="82"/>
                      <a:pt x="45" y="82"/>
                      <a:pt x="45" y="82"/>
                    </a:cubicBezTo>
                    <a:lnTo>
                      <a:pt x="71" y="8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69" name="í$ḻíde"/>
              <p:cNvSpPr/>
              <p:nvPr/>
            </p:nvSpPr>
            <p:spPr bwMode="auto">
              <a:xfrm>
                <a:off x="2144609" y="5142503"/>
                <a:ext cx="604838" cy="31750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</p:grpSp>
      </p:grpSp>
    </p:spTree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图片 3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2913" b="35065"/>
          <a:stretch>
            <a:fillRect/>
          </a:stretch>
        </p:blipFill>
        <p:spPr>
          <a:xfrm>
            <a:off x="0" y="1"/>
            <a:ext cx="9144000" cy="3415569"/>
          </a:xfrm>
          <a:prstGeom prst="rect">
            <a:avLst/>
          </a:prstGeom>
        </p:spPr>
      </p:pic>
      <p:sp>
        <p:nvSpPr>
          <p:cNvPr id="72" name="矩形 71"/>
          <p:cNvSpPr/>
          <p:nvPr userDrawn="1"/>
        </p:nvSpPr>
        <p:spPr>
          <a:xfrm>
            <a:off x="1" y="0"/>
            <a:ext cx="9144000" cy="3427664"/>
          </a:xfrm>
          <a:prstGeom prst="rect">
            <a:avLst/>
          </a:prstGeom>
          <a:gradFill flip="none" rotWithShape="1">
            <a:gsLst>
              <a:gs pos="0">
                <a:srgbClr val="A22B17">
                  <a:lumMod val="94000"/>
                  <a:lumOff val="6000"/>
                </a:srgbClr>
              </a:gs>
              <a:gs pos="100000">
                <a:srgbClr val="A22B17">
                  <a:alpha val="72000"/>
                  <a:lumMod val="85000"/>
                  <a:lumOff val="15000"/>
                </a:srgb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zh-CN" altLang="en-US" sz="1350" dirty="0"/>
          </a:p>
        </p:txBody>
      </p:sp>
    </p:spTree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图片 4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6458" b="3779"/>
          <a:stretch>
            <a:fillRect/>
          </a:stretch>
        </p:blipFill>
        <p:spPr>
          <a:xfrm>
            <a:off x="0" y="1"/>
            <a:ext cx="9144000" cy="3415569"/>
          </a:xfrm>
          <a:prstGeom prst="rect">
            <a:avLst/>
          </a:prstGeom>
        </p:spPr>
      </p:pic>
      <p:sp>
        <p:nvSpPr>
          <p:cNvPr id="72" name="矩形 71"/>
          <p:cNvSpPr/>
          <p:nvPr userDrawn="1"/>
        </p:nvSpPr>
        <p:spPr>
          <a:xfrm>
            <a:off x="1" y="0"/>
            <a:ext cx="9144000" cy="3427664"/>
          </a:xfrm>
          <a:prstGeom prst="rect">
            <a:avLst/>
          </a:prstGeom>
          <a:gradFill flip="none" rotWithShape="1">
            <a:gsLst>
              <a:gs pos="0">
                <a:srgbClr val="A22B17">
                  <a:lumMod val="94000"/>
                  <a:lumOff val="6000"/>
                </a:srgbClr>
              </a:gs>
              <a:gs pos="100000">
                <a:srgbClr val="A22B17">
                  <a:alpha val="72000"/>
                  <a:lumMod val="85000"/>
                  <a:lumOff val="15000"/>
                </a:srgb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zh-CN" altLang="en-US" sz="1350" dirty="0"/>
          </a:p>
        </p:txBody>
      </p:sp>
    </p:spTree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图片 4"/>
          <p:cNvPicPr>
            <a:picLocks noChangeAspect="1"/>
          </p:cNvPicPr>
          <p:nvPr userDrawn="1"/>
        </p:nvPicPr>
        <p:blipFill rotWithShape="1"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colorTemperature colorTemp="72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51604" b="6374"/>
          <a:stretch>
            <a:fillRect/>
          </a:stretch>
        </p:blipFill>
        <p:spPr>
          <a:xfrm>
            <a:off x="0" y="1"/>
            <a:ext cx="9144000" cy="3415569"/>
          </a:xfrm>
          <a:prstGeom prst="rect">
            <a:avLst/>
          </a:prstGeom>
        </p:spPr>
      </p:pic>
      <p:sp>
        <p:nvSpPr>
          <p:cNvPr id="72" name="矩形 71"/>
          <p:cNvSpPr/>
          <p:nvPr userDrawn="1"/>
        </p:nvSpPr>
        <p:spPr>
          <a:xfrm>
            <a:off x="1" y="0"/>
            <a:ext cx="9144000" cy="3427664"/>
          </a:xfrm>
          <a:prstGeom prst="rect">
            <a:avLst/>
          </a:prstGeom>
          <a:gradFill flip="none" rotWithShape="1">
            <a:gsLst>
              <a:gs pos="0">
                <a:srgbClr val="A22B17">
                  <a:lumMod val="94000"/>
                  <a:lumOff val="6000"/>
                </a:srgbClr>
              </a:gs>
              <a:gs pos="100000">
                <a:srgbClr val="A22B17">
                  <a:alpha val="72000"/>
                  <a:lumMod val="85000"/>
                  <a:lumOff val="15000"/>
                </a:srgb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zh-CN" altLang="en-US" sz="1350" dirty="0"/>
          </a:p>
        </p:txBody>
      </p:sp>
    </p:spTree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图片 3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6930" b="26878"/>
          <a:stretch>
            <a:fillRect/>
          </a:stretch>
        </p:blipFill>
        <p:spPr>
          <a:xfrm>
            <a:off x="0" y="1"/>
            <a:ext cx="9144000" cy="3415569"/>
          </a:xfrm>
          <a:prstGeom prst="rect">
            <a:avLst/>
          </a:prstGeom>
        </p:spPr>
      </p:pic>
      <p:sp>
        <p:nvSpPr>
          <p:cNvPr id="72" name="矩形 71"/>
          <p:cNvSpPr/>
          <p:nvPr userDrawn="1"/>
        </p:nvSpPr>
        <p:spPr>
          <a:xfrm>
            <a:off x="1" y="0"/>
            <a:ext cx="9144000" cy="3427664"/>
          </a:xfrm>
          <a:prstGeom prst="rect">
            <a:avLst/>
          </a:prstGeom>
          <a:gradFill flip="none" rotWithShape="1">
            <a:gsLst>
              <a:gs pos="0">
                <a:srgbClr val="A22B17">
                  <a:lumMod val="94000"/>
                  <a:lumOff val="6000"/>
                </a:srgbClr>
              </a:gs>
              <a:gs pos="100000">
                <a:srgbClr val="A22B17">
                  <a:alpha val="72000"/>
                  <a:lumMod val="85000"/>
                  <a:lumOff val="15000"/>
                </a:srgb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zh-CN" altLang="en-US" sz="1350" dirty="0"/>
          </a:p>
        </p:txBody>
      </p:sp>
    </p:spTree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97B5FA-0921-464F-AAE1-844C04324D75}" type="datetimeFigureOut">
              <a:rPr lang="zh-CN" altLang="en-US" smtClean="0"/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5CE74E-AB26-4998-AD42-012C4C1AD076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97B5FA-0921-464F-AAE1-844C04324D75}" type="datetimeFigureOut">
              <a:rPr lang="zh-CN" altLang="en-US" smtClean="0"/>
            </a:fld>
            <a:endParaRPr lang="zh-CN" altLang="en-US"/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5CE74E-AB26-4998-AD42-012C4C1AD076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29842" y="457200"/>
            <a:ext cx="2949178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3887391" y="987426"/>
            <a:ext cx="462915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zh-CN" altLang="en-US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629842" y="2057400"/>
            <a:ext cx="2949178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97B5FA-0921-464F-AAE1-844C04324D75}" type="datetimeFigureOut">
              <a:rPr lang="zh-CN" altLang="en-US" smtClean="0"/>
            </a:fld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5CE74E-AB26-4998-AD42-012C4C1AD076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29842" y="457200"/>
            <a:ext cx="2949178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3" name="图片占位符 2"/>
          <p:cNvSpPr>
            <a:spLocks noGrp="1"/>
          </p:cNvSpPr>
          <p:nvPr>
            <p:ph type="pic" idx="1"/>
          </p:nvPr>
        </p:nvSpPr>
        <p:spPr>
          <a:xfrm>
            <a:off x="3887391" y="987426"/>
            <a:ext cx="462915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zh-CN" altLang="en-US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629842" y="2057400"/>
            <a:ext cx="2949178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97B5FA-0921-464F-AAE1-844C04324D75}" type="datetimeFigureOut">
              <a:rPr lang="zh-CN" altLang="en-US" smtClean="0"/>
            </a:fld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5CE74E-AB26-4998-AD42-012C4C1AD076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97B5FA-0921-464F-AAE1-844C04324D75}" type="datetimeFigureOut">
              <a:rPr lang="zh-CN" altLang="en-US" smtClean="0"/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5CE74E-AB26-4998-AD42-012C4C1AD076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垂直排列标题与&#10;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/>
          <p:cNvSpPr>
            <a:spLocks noGrp="1"/>
          </p:cNvSpPr>
          <p:nvPr>
            <p:ph type="title" orient="vert"/>
          </p:nvPr>
        </p:nvSpPr>
        <p:spPr>
          <a:xfrm>
            <a:off x="6543675" y="365125"/>
            <a:ext cx="1971675" cy="5811838"/>
          </a:xfrm>
        </p:spPr>
        <p:txBody>
          <a:bodyPr vert="eaVert"/>
          <a:lstStyle/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628650" y="365125"/>
            <a:ext cx="5800725" cy="5811838"/>
          </a:xfrm>
        </p:spPr>
        <p:txBody>
          <a:bodyPr vert="eaVert"/>
          <a:lstStyle/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97B5FA-0921-464F-AAE1-844C04324D75}" type="datetimeFigureOut">
              <a:rPr lang="zh-CN" altLang="en-US" smtClean="0"/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5CE74E-AB26-4998-AD42-012C4C1AD076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竖排标题与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图片 2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3103" b="14858"/>
          <a:stretch>
            <a:fillRect/>
          </a:stretch>
        </p:blipFill>
        <p:spPr>
          <a:xfrm>
            <a:off x="0" y="1721216"/>
            <a:ext cx="9144000" cy="3415569"/>
          </a:xfrm>
          <a:prstGeom prst="rect">
            <a:avLst/>
          </a:prstGeom>
        </p:spPr>
      </p:pic>
      <p:sp>
        <p:nvSpPr>
          <p:cNvPr id="8" name="矩形 7"/>
          <p:cNvSpPr/>
          <p:nvPr userDrawn="1"/>
        </p:nvSpPr>
        <p:spPr>
          <a:xfrm>
            <a:off x="1" y="1715168"/>
            <a:ext cx="9144000" cy="3427664"/>
          </a:xfrm>
          <a:prstGeom prst="rect">
            <a:avLst/>
          </a:prstGeom>
          <a:gradFill flip="none" rotWithShape="1">
            <a:gsLst>
              <a:gs pos="0">
                <a:srgbClr val="A22B17">
                  <a:lumMod val="94000"/>
                  <a:lumOff val="6000"/>
                </a:srgbClr>
              </a:gs>
              <a:gs pos="100000">
                <a:srgbClr val="A22B17">
                  <a:alpha val="72000"/>
                  <a:lumMod val="85000"/>
                  <a:lumOff val="15000"/>
                </a:srgb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zh-CN" altLang="en-US" sz="1350" dirty="0"/>
          </a:p>
        </p:txBody>
      </p:sp>
      <p:grpSp>
        <p:nvGrpSpPr>
          <p:cNvPr id="10" name="组合 9"/>
          <p:cNvGrpSpPr/>
          <p:nvPr userDrawn="1"/>
        </p:nvGrpSpPr>
        <p:grpSpPr>
          <a:xfrm>
            <a:off x="2230940" y="304800"/>
            <a:ext cx="4682120" cy="6248400"/>
            <a:chOff x="2514433" y="-155765"/>
            <a:chExt cx="7163134" cy="7169530"/>
          </a:xfrm>
        </p:grpSpPr>
        <p:grpSp>
          <p:nvGrpSpPr>
            <p:cNvPr id="11" name="组合 10"/>
            <p:cNvGrpSpPr/>
            <p:nvPr/>
          </p:nvGrpSpPr>
          <p:grpSpPr>
            <a:xfrm>
              <a:off x="2514433" y="-155765"/>
              <a:ext cx="7163134" cy="7169530"/>
              <a:chOff x="1560409" y="2069897"/>
              <a:chExt cx="1776413" cy="1778000"/>
            </a:xfrm>
          </p:grpSpPr>
          <p:sp>
            <p:nvSpPr>
              <p:cNvPr id="70" name="îS1îḋé"/>
              <p:cNvSpPr/>
              <p:nvPr/>
            </p:nvSpPr>
            <p:spPr bwMode="auto">
              <a:xfrm>
                <a:off x="1560409" y="2069897"/>
                <a:ext cx="1776413" cy="1778000"/>
              </a:xfrm>
              <a:prstGeom prst="ellipse">
                <a:avLst/>
              </a:prstGeom>
              <a:noFill/>
              <a:ln w="98425" cap="flat">
                <a:solidFill>
                  <a:schemeClr val="bg1">
                    <a:alpha val="7000"/>
                  </a:schemeClr>
                </a:solidFill>
                <a:prstDash val="solid"/>
                <a:miter lim="800000"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71" name="îṣḷïďé"/>
              <p:cNvSpPr/>
              <p:nvPr/>
            </p:nvSpPr>
            <p:spPr bwMode="auto">
              <a:xfrm>
                <a:off x="1779484" y="2288972"/>
                <a:ext cx="1336675" cy="1338263"/>
              </a:xfrm>
              <a:prstGeom prst="ellipse">
                <a:avLst/>
              </a:prstGeom>
              <a:noFill/>
              <a:ln w="19050" cap="flat">
                <a:solidFill>
                  <a:schemeClr val="bg1">
                    <a:alpha val="7000"/>
                  </a:schemeClr>
                </a:solidFill>
                <a:prstDash val="solid"/>
                <a:miter lim="800000"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</p:grpSp>
        <p:grpSp>
          <p:nvGrpSpPr>
            <p:cNvPr id="12" name="组合 11"/>
            <p:cNvGrpSpPr/>
            <p:nvPr/>
          </p:nvGrpSpPr>
          <p:grpSpPr>
            <a:xfrm>
              <a:off x="2844102" y="77886"/>
              <a:ext cx="6503791" cy="6702232"/>
              <a:chOff x="1641372" y="4491628"/>
              <a:chExt cx="1612900" cy="1662113"/>
            </a:xfrm>
            <a:solidFill>
              <a:schemeClr val="bg1">
                <a:alpha val="7000"/>
              </a:schemeClr>
            </a:solidFill>
          </p:grpSpPr>
          <p:sp>
            <p:nvSpPr>
              <p:cNvPr id="13" name="ïś1íďê"/>
              <p:cNvSpPr/>
              <p:nvPr/>
            </p:nvSpPr>
            <p:spPr bwMode="auto">
              <a:xfrm>
                <a:off x="2889147" y="4701178"/>
                <a:ext cx="153988" cy="138113"/>
              </a:xfrm>
              <a:custGeom>
                <a:avLst/>
                <a:gdLst>
                  <a:gd name="T0" fmla="*/ 62 w 83"/>
                  <a:gd name="T1" fmla="*/ 8 h 75"/>
                  <a:gd name="T2" fmla="*/ 53 w 83"/>
                  <a:gd name="T3" fmla="*/ 10 h 75"/>
                  <a:gd name="T4" fmla="*/ 57 w 83"/>
                  <a:gd name="T5" fmla="*/ 0 h 75"/>
                  <a:gd name="T6" fmla="*/ 44 w 83"/>
                  <a:gd name="T7" fmla="*/ 21 h 75"/>
                  <a:gd name="T8" fmla="*/ 58 w 83"/>
                  <a:gd name="T9" fmla="*/ 11 h 75"/>
                  <a:gd name="T10" fmla="*/ 54 w 83"/>
                  <a:gd name="T11" fmla="*/ 18 h 75"/>
                  <a:gd name="T12" fmla="*/ 28 w 83"/>
                  <a:gd name="T13" fmla="*/ 18 h 75"/>
                  <a:gd name="T14" fmla="*/ 19 w 83"/>
                  <a:gd name="T15" fmla="*/ 17 h 75"/>
                  <a:gd name="T16" fmla="*/ 25 w 83"/>
                  <a:gd name="T17" fmla="*/ 12 h 75"/>
                  <a:gd name="T18" fmla="*/ 1 w 83"/>
                  <a:gd name="T19" fmla="*/ 30 h 75"/>
                  <a:gd name="T20" fmla="*/ 13 w 83"/>
                  <a:gd name="T21" fmla="*/ 24 h 75"/>
                  <a:gd name="T22" fmla="*/ 36 w 83"/>
                  <a:gd name="T23" fmla="*/ 28 h 75"/>
                  <a:gd name="T24" fmla="*/ 22 w 83"/>
                  <a:gd name="T25" fmla="*/ 35 h 75"/>
                  <a:gd name="T26" fmla="*/ 45 w 83"/>
                  <a:gd name="T27" fmla="*/ 41 h 75"/>
                  <a:gd name="T28" fmla="*/ 42 w 83"/>
                  <a:gd name="T29" fmla="*/ 41 h 75"/>
                  <a:gd name="T30" fmla="*/ 35 w 83"/>
                  <a:gd name="T31" fmla="*/ 40 h 75"/>
                  <a:gd name="T32" fmla="*/ 37 w 83"/>
                  <a:gd name="T33" fmla="*/ 45 h 75"/>
                  <a:gd name="T34" fmla="*/ 12 w 83"/>
                  <a:gd name="T35" fmla="*/ 34 h 75"/>
                  <a:gd name="T36" fmla="*/ 9 w 83"/>
                  <a:gd name="T37" fmla="*/ 35 h 75"/>
                  <a:gd name="T38" fmla="*/ 20 w 83"/>
                  <a:gd name="T39" fmla="*/ 64 h 75"/>
                  <a:gd name="T40" fmla="*/ 0 w 83"/>
                  <a:gd name="T41" fmla="*/ 57 h 75"/>
                  <a:gd name="T42" fmla="*/ 35 w 83"/>
                  <a:gd name="T43" fmla="*/ 58 h 75"/>
                  <a:gd name="T44" fmla="*/ 46 w 83"/>
                  <a:gd name="T45" fmla="*/ 57 h 75"/>
                  <a:gd name="T46" fmla="*/ 42 w 83"/>
                  <a:gd name="T47" fmla="*/ 48 h 75"/>
                  <a:gd name="T48" fmla="*/ 62 w 83"/>
                  <a:gd name="T49" fmla="*/ 57 h 75"/>
                  <a:gd name="T50" fmla="*/ 61 w 83"/>
                  <a:gd name="T51" fmla="*/ 35 h 75"/>
                  <a:gd name="T52" fmla="*/ 62 w 83"/>
                  <a:gd name="T53" fmla="*/ 34 h 75"/>
                  <a:gd name="T54" fmla="*/ 66 w 83"/>
                  <a:gd name="T55" fmla="*/ 16 h 75"/>
                  <a:gd name="T56" fmla="*/ 63 w 83"/>
                  <a:gd name="T57" fmla="*/ 44 h 75"/>
                  <a:gd name="T58" fmla="*/ 54 w 83"/>
                  <a:gd name="T59" fmla="*/ 32 h 75"/>
                  <a:gd name="T60" fmla="*/ 60 w 83"/>
                  <a:gd name="T61" fmla="*/ 27 h 75"/>
                  <a:gd name="T62" fmla="*/ 67 w 83"/>
                  <a:gd name="T63" fmla="*/ 18 h 75"/>
                  <a:gd name="T64" fmla="*/ 77 w 83"/>
                  <a:gd name="T65" fmla="*/ 23 h 75"/>
                  <a:gd name="T66" fmla="*/ 60 w 83"/>
                  <a:gd name="T67" fmla="*/ 27 h 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83" h="75">
                    <a:moveTo>
                      <a:pt x="66" y="16"/>
                    </a:moveTo>
                    <a:cubicBezTo>
                      <a:pt x="65" y="13"/>
                      <a:pt x="63" y="11"/>
                      <a:pt x="62" y="8"/>
                    </a:cubicBezTo>
                    <a:cubicBezTo>
                      <a:pt x="59" y="9"/>
                      <a:pt x="57" y="9"/>
                      <a:pt x="54" y="10"/>
                    </a:cubicBezTo>
                    <a:cubicBezTo>
                      <a:pt x="54" y="10"/>
                      <a:pt x="53" y="10"/>
                      <a:pt x="53" y="10"/>
                    </a:cubicBezTo>
                    <a:cubicBezTo>
                      <a:pt x="54" y="7"/>
                      <a:pt x="57" y="6"/>
                      <a:pt x="59" y="3"/>
                    </a:cubicBezTo>
                    <a:cubicBezTo>
                      <a:pt x="58" y="2"/>
                      <a:pt x="58" y="1"/>
                      <a:pt x="57" y="0"/>
                    </a:cubicBezTo>
                    <a:cubicBezTo>
                      <a:pt x="48" y="1"/>
                      <a:pt x="37" y="9"/>
                      <a:pt x="42" y="19"/>
                    </a:cubicBezTo>
                    <a:cubicBezTo>
                      <a:pt x="42" y="19"/>
                      <a:pt x="43" y="20"/>
                      <a:pt x="44" y="21"/>
                    </a:cubicBezTo>
                    <a:cubicBezTo>
                      <a:pt x="47" y="19"/>
                      <a:pt x="48" y="15"/>
                      <a:pt x="51" y="14"/>
                    </a:cubicBezTo>
                    <a:cubicBezTo>
                      <a:pt x="53" y="13"/>
                      <a:pt x="55" y="13"/>
                      <a:pt x="58" y="11"/>
                    </a:cubicBezTo>
                    <a:cubicBezTo>
                      <a:pt x="58" y="11"/>
                      <a:pt x="59" y="11"/>
                      <a:pt x="59" y="11"/>
                    </a:cubicBezTo>
                    <a:cubicBezTo>
                      <a:pt x="57" y="14"/>
                      <a:pt x="56" y="16"/>
                      <a:pt x="54" y="18"/>
                    </a:cubicBezTo>
                    <a:cubicBezTo>
                      <a:pt x="54" y="21"/>
                      <a:pt x="55" y="24"/>
                      <a:pt x="54" y="27"/>
                    </a:cubicBezTo>
                    <a:cubicBezTo>
                      <a:pt x="54" y="27"/>
                      <a:pt x="30" y="18"/>
                      <a:pt x="28" y="18"/>
                    </a:cubicBezTo>
                    <a:cubicBezTo>
                      <a:pt x="25" y="17"/>
                      <a:pt x="22" y="17"/>
                      <a:pt x="20" y="17"/>
                    </a:cubicBezTo>
                    <a:cubicBezTo>
                      <a:pt x="19" y="17"/>
                      <a:pt x="19" y="17"/>
                      <a:pt x="19" y="17"/>
                    </a:cubicBezTo>
                    <a:cubicBezTo>
                      <a:pt x="22" y="15"/>
                      <a:pt x="23" y="15"/>
                      <a:pt x="25" y="13"/>
                    </a:cubicBezTo>
                    <a:cubicBezTo>
                      <a:pt x="25" y="12"/>
                      <a:pt x="25" y="12"/>
                      <a:pt x="25" y="12"/>
                    </a:cubicBezTo>
                    <a:cubicBezTo>
                      <a:pt x="18" y="12"/>
                      <a:pt x="11" y="16"/>
                      <a:pt x="4" y="18"/>
                    </a:cubicBezTo>
                    <a:cubicBezTo>
                      <a:pt x="0" y="22"/>
                      <a:pt x="0" y="25"/>
                      <a:pt x="1" y="30"/>
                    </a:cubicBezTo>
                    <a:cubicBezTo>
                      <a:pt x="3" y="31"/>
                      <a:pt x="3" y="31"/>
                      <a:pt x="3" y="31"/>
                    </a:cubicBezTo>
                    <a:cubicBezTo>
                      <a:pt x="6" y="29"/>
                      <a:pt x="9" y="26"/>
                      <a:pt x="13" y="24"/>
                    </a:cubicBezTo>
                    <a:cubicBezTo>
                      <a:pt x="19" y="20"/>
                      <a:pt x="30" y="22"/>
                      <a:pt x="37" y="27"/>
                    </a:cubicBezTo>
                    <a:cubicBezTo>
                      <a:pt x="37" y="28"/>
                      <a:pt x="36" y="28"/>
                      <a:pt x="36" y="28"/>
                    </a:cubicBezTo>
                    <a:cubicBezTo>
                      <a:pt x="31" y="29"/>
                      <a:pt x="28" y="28"/>
                      <a:pt x="22" y="32"/>
                    </a:cubicBezTo>
                    <a:cubicBezTo>
                      <a:pt x="22" y="33"/>
                      <a:pt x="22" y="34"/>
                      <a:pt x="22" y="35"/>
                    </a:cubicBezTo>
                    <a:cubicBezTo>
                      <a:pt x="22" y="37"/>
                      <a:pt x="22" y="37"/>
                      <a:pt x="24" y="39"/>
                    </a:cubicBezTo>
                    <a:cubicBezTo>
                      <a:pt x="31" y="37"/>
                      <a:pt x="37" y="36"/>
                      <a:pt x="45" y="41"/>
                    </a:cubicBezTo>
                    <a:cubicBezTo>
                      <a:pt x="44" y="41"/>
                      <a:pt x="44" y="41"/>
                      <a:pt x="44" y="41"/>
                    </a:cubicBezTo>
                    <a:cubicBezTo>
                      <a:pt x="43" y="41"/>
                      <a:pt x="42" y="41"/>
                      <a:pt x="42" y="41"/>
                    </a:cubicBezTo>
                    <a:cubicBezTo>
                      <a:pt x="41" y="40"/>
                      <a:pt x="40" y="39"/>
                      <a:pt x="39" y="39"/>
                    </a:cubicBezTo>
                    <a:cubicBezTo>
                      <a:pt x="37" y="41"/>
                      <a:pt x="37" y="41"/>
                      <a:pt x="35" y="40"/>
                    </a:cubicBezTo>
                    <a:cubicBezTo>
                      <a:pt x="35" y="40"/>
                      <a:pt x="34" y="41"/>
                      <a:pt x="34" y="41"/>
                    </a:cubicBezTo>
                    <a:cubicBezTo>
                      <a:pt x="35" y="43"/>
                      <a:pt x="35" y="43"/>
                      <a:pt x="37" y="45"/>
                    </a:cubicBezTo>
                    <a:cubicBezTo>
                      <a:pt x="36" y="46"/>
                      <a:pt x="36" y="47"/>
                      <a:pt x="35" y="48"/>
                    </a:cubicBezTo>
                    <a:cubicBezTo>
                      <a:pt x="27" y="44"/>
                      <a:pt x="20" y="40"/>
                      <a:pt x="12" y="34"/>
                    </a:cubicBezTo>
                    <a:cubicBezTo>
                      <a:pt x="11" y="34"/>
                      <a:pt x="11" y="34"/>
                      <a:pt x="10" y="34"/>
                    </a:cubicBezTo>
                    <a:cubicBezTo>
                      <a:pt x="9" y="34"/>
                      <a:pt x="9" y="35"/>
                      <a:pt x="9" y="35"/>
                    </a:cubicBezTo>
                    <a:cubicBezTo>
                      <a:pt x="11" y="55"/>
                      <a:pt x="20" y="44"/>
                      <a:pt x="31" y="54"/>
                    </a:cubicBezTo>
                    <a:cubicBezTo>
                      <a:pt x="27" y="58"/>
                      <a:pt x="23" y="61"/>
                      <a:pt x="20" y="64"/>
                    </a:cubicBezTo>
                    <a:cubicBezTo>
                      <a:pt x="15" y="63"/>
                      <a:pt x="6" y="55"/>
                      <a:pt x="1" y="56"/>
                    </a:cubicBezTo>
                    <a:cubicBezTo>
                      <a:pt x="1" y="56"/>
                      <a:pt x="1" y="56"/>
                      <a:pt x="0" y="57"/>
                    </a:cubicBezTo>
                    <a:cubicBezTo>
                      <a:pt x="2" y="62"/>
                      <a:pt x="7" y="67"/>
                      <a:pt x="9" y="72"/>
                    </a:cubicBezTo>
                    <a:cubicBezTo>
                      <a:pt x="17" y="75"/>
                      <a:pt x="26" y="66"/>
                      <a:pt x="35" y="58"/>
                    </a:cubicBezTo>
                    <a:cubicBezTo>
                      <a:pt x="37" y="60"/>
                      <a:pt x="39" y="63"/>
                      <a:pt x="42" y="65"/>
                    </a:cubicBezTo>
                    <a:cubicBezTo>
                      <a:pt x="46" y="63"/>
                      <a:pt x="46" y="60"/>
                      <a:pt x="46" y="57"/>
                    </a:cubicBezTo>
                    <a:cubicBezTo>
                      <a:pt x="45" y="54"/>
                      <a:pt x="43" y="53"/>
                      <a:pt x="40" y="50"/>
                    </a:cubicBezTo>
                    <a:cubicBezTo>
                      <a:pt x="41" y="49"/>
                      <a:pt x="42" y="48"/>
                      <a:pt x="42" y="48"/>
                    </a:cubicBezTo>
                    <a:cubicBezTo>
                      <a:pt x="46" y="48"/>
                      <a:pt x="49" y="48"/>
                      <a:pt x="53" y="46"/>
                    </a:cubicBezTo>
                    <a:cubicBezTo>
                      <a:pt x="56" y="49"/>
                      <a:pt x="59" y="53"/>
                      <a:pt x="62" y="57"/>
                    </a:cubicBezTo>
                    <a:cubicBezTo>
                      <a:pt x="65" y="56"/>
                      <a:pt x="68" y="55"/>
                      <a:pt x="70" y="52"/>
                    </a:cubicBezTo>
                    <a:cubicBezTo>
                      <a:pt x="72" y="47"/>
                      <a:pt x="66" y="40"/>
                      <a:pt x="61" y="35"/>
                    </a:cubicBezTo>
                    <a:cubicBezTo>
                      <a:pt x="61" y="35"/>
                      <a:pt x="61" y="35"/>
                      <a:pt x="61" y="35"/>
                    </a:cubicBezTo>
                    <a:cubicBezTo>
                      <a:pt x="62" y="34"/>
                      <a:pt x="62" y="34"/>
                      <a:pt x="62" y="34"/>
                    </a:cubicBezTo>
                    <a:cubicBezTo>
                      <a:pt x="69" y="34"/>
                      <a:pt x="72" y="37"/>
                      <a:pt x="79" y="32"/>
                    </a:cubicBezTo>
                    <a:cubicBezTo>
                      <a:pt x="83" y="17"/>
                      <a:pt x="74" y="21"/>
                      <a:pt x="66" y="16"/>
                    </a:cubicBezTo>
                    <a:close/>
                    <a:moveTo>
                      <a:pt x="63" y="44"/>
                    </a:moveTo>
                    <a:cubicBezTo>
                      <a:pt x="63" y="44"/>
                      <a:pt x="63" y="44"/>
                      <a:pt x="63" y="44"/>
                    </a:cubicBezTo>
                    <a:cubicBezTo>
                      <a:pt x="55" y="42"/>
                      <a:pt x="46" y="34"/>
                      <a:pt x="38" y="32"/>
                    </a:cubicBezTo>
                    <a:cubicBezTo>
                      <a:pt x="43" y="28"/>
                      <a:pt x="48" y="31"/>
                      <a:pt x="54" y="32"/>
                    </a:cubicBezTo>
                    <a:cubicBezTo>
                      <a:pt x="57" y="36"/>
                      <a:pt x="60" y="40"/>
                      <a:pt x="63" y="44"/>
                    </a:cubicBezTo>
                    <a:close/>
                    <a:moveTo>
                      <a:pt x="60" y="27"/>
                    </a:moveTo>
                    <a:cubicBezTo>
                      <a:pt x="60" y="27"/>
                      <a:pt x="60" y="26"/>
                      <a:pt x="59" y="26"/>
                    </a:cubicBezTo>
                    <a:cubicBezTo>
                      <a:pt x="61" y="23"/>
                      <a:pt x="63" y="20"/>
                      <a:pt x="67" y="18"/>
                    </a:cubicBezTo>
                    <a:cubicBezTo>
                      <a:pt x="69" y="19"/>
                      <a:pt x="71" y="19"/>
                      <a:pt x="74" y="20"/>
                    </a:cubicBezTo>
                    <a:cubicBezTo>
                      <a:pt x="75" y="21"/>
                      <a:pt x="76" y="22"/>
                      <a:pt x="77" y="23"/>
                    </a:cubicBezTo>
                    <a:cubicBezTo>
                      <a:pt x="77" y="24"/>
                      <a:pt x="77" y="24"/>
                      <a:pt x="77" y="25"/>
                    </a:cubicBezTo>
                    <a:cubicBezTo>
                      <a:pt x="72" y="29"/>
                      <a:pt x="66" y="27"/>
                      <a:pt x="60" y="2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14" name="ïṩḻîḓé"/>
              <p:cNvSpPr/>
              <p:nvPr/>
            </p:nvSpPr>
            <p:spPr bwMode="auto">
              <a:xfrm>
                <a:off x="2728809" y="4582115"/>
                <a:ext cx="101600" cy="147638"/>
              </a:xfrm>
              <a:custGeom>
                <a:avLst/>
                <a:gdLst>
                  <a:gd name="T0" fmla="*/ 47 w 55"/>
                  <a:gd name="T1" fmla="*/ 0 h 80"/>
                  <a:gd name="T2" fmla="*/ 49 w 55"/>
                  <a:gd name="T3" fmla="*/ 20 h 80"/>
                  <a:gd name="T4" fmla="*/ 51 w 55"/>
                  <a:gd name="T5" fmla="*/ 34 h 80"/>
                  <a:gd name="T6" fmla="*/ 28 w 55"/>
                  <a:gd name="T7" fmla="*/ 38 h 80"/>
                  <a:gd name="T8" fmla="*/ 41 w 55"/>
                  <a:gd name="T9" fmla="*/ 68 h 80"/>
                  <a:gd name="T10" fmla="*/ 25 w 55"/>
                  <a:gd name="T11" fmla="*/ 74 h 80"/>
                  <a:gd name="T12" fmla="*/ 26 w 55"/>
                  <a:gd name="T13" fmla="*/ 39 h 80"/>
                  <a:gd name="T14" fmla="*/ 23 w 55"/>
                  <a:gd name="T15" fmla="*/ 40 h 80"/>
                  <a:gd name="T16" fmla="*/ 7 w 55"/>
                  <a:gd name="T17" fmla="*/ 54 h 80"/>
                  <a:gd name="T18" fmla="*/ 0 w 55"/>
                  <a:gd name="T19" fmla="*/ 43 h 80"/>
                  <a:gd name="T20" fmla="*/ 14 w 55"/>
                  <a:gd name="T21" fmla="*/ 28 h 80"/>
                  <a:gd name="T22" fmla="*/ 6 w 55"/>
                  <a:gd name="T23" fmla="*/ 15 h 80"/>
                  <a:gd name="T24" fmla="*/ 7 w 55"/>
                  <a:gd name="T25" fmla="*/ 15 h 80"/>
                  <a:gd name="T26" fmla="*/ 26 w 55"/>
                  <a:gd name="T27" fmla="*/ 18 h 80"/>
                  <a:gd name="T28" fmla="*/ 47 w 55"/>
                  <a:gd name="T29" fmla="*/ 0 h 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55" h="80">
                    <a:moveTo>
                      <a:pt x="47" y="0"/>
                    </a:moveTo>
                    <a:cubicBezTo>
                      <a:pt x="55" y="7"/>
                      <a:pt x="49" y="11"/>
                      <a:pt x="49" y="20"/>
                    </a:cubicBezTo>
                    <a:cubicBezTo>
                      <a:pt x="49" y="25"/>
                      <a:pt x="55" y="25"/>
                      <a:pt x="51" y="34"/>
                    </a:cubicBezTo>
                    <a:cubicBezTo>
                      <a:pt x="44" y="37"/>
                      <a:pt x="34" y="32"/>
                      <a:pt x="28" y="38"/>
                    </a:cubicBezTo>
                    <a:cubicBezTo>
                      <a:pt x="38" y="44"/>
                      <a:pt x="45" y="59"/>
                      <a:pt x="41" y="68"/>
                    </a:cubicBezTo>
                    <a:cubicBezTo>
                      <a:pt x="39" y="74"/>
                      <a:pt x="28" y="80"/>
                      <a:pt x="25" y="74"/>
                    </a:cubicBezTo>
                    <a:cubicBezTo>
                      <a:pt x="19" y="62"/>
                      <a:pt x="39" y="55"/>
                      <a:pt x="26" y="39"/>
                    </a:cubicBezTo>
                    <a:cubicBezTo>
                      <a:pt x="25" y="39"/>
                      <a:pt x="25" y="39"/>
                      <a:pt x="23" y="40"/>
                    </a:cubicBezTo>
                    <a:cubicBezTo>
                      <a:pt x="17" y="44"/>
                      <a:pt x="14" y="52"/>
                      <a:pt x="7" y="54"/>
                    </a:cubicBezTo>
                    <a:cubicBezTo>
                      <a:pt x="2" y="51"/>
                      <a:pt x="2" y="48"/>
                      <a:pt x="0" y="43"/>
                    </a:cubicBezTo>
                    <a:cubicBezTo>
                      <a:pt x="3" y="39"/>
                      <a:pt x="14" y="30"/>
                      <a:pt x="14" y="28"/>
                    </a:cubicBezTo>
                    <a:cubicBezTo>
                      <a:pt x="14" y="25"/>
                      <a:pt x="7" y="19"/>
                      <a:pt x="6" y="15"/>
                    </a:cubicBezTo>
                    <a:cubicBezTo>
                      <a:pt x="6" y="15"/>
                      <a:pt x="7" y="15"/>
                      <a:pt x="7" y="15"/>
                    </a:cubicBezTo>
                    <a:cubicBezTo>
                      <a:pt x="13" y="15"/>
                      <a:pt x="20" y="18"/>
                      <a:pt x="26" y="18"/>
                    </a:cubicBezTo>
                    <a:cubicBezTo>
                      <a:pt x="34" y="17"/>
                      <a:pt x="41" y="5"/>
                      <a:pt x="47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15" name="išḷïḓe"/>
              <p:cNvSpPr/>
              <p:nvPr/>
            </p:nvSpPr>
            <p:spPr bwMode="auto">
              <a:xfrm>
                <a:off x="2490684" y="4510678"/>
                <a:ext cx="144463" cy="160338"/>
              </a:xfrm>
              <a:custGeom>
                <a:avLst/>
                <a:gdLst>
                  <a:gd name="T0" fmla="*/ 55 w 78"/>
                  <a:gd name="T1" fmla="*/ 64 h 87"/>
                  <a:gd name="T2" fmla="*/ 62 w 78"/>
                  <a:gd name="T3" fmla="*/ 50 h 87"/>
                  <a:gd name="T4" fmla="*/ 54 w 78"/>
                  <a:gd name="T5" fmla="*/ 43 h 87"/>
                  <a:gd name="T6" fmla="*/ 69 w 78"/>
                  <a:gd name="T7" fmla="*/ 29 h 87"/>
                  <a:gd name="T8" fmla="*/ 67 w 78"/>
                  <a:gd name="T9" fmla="*/ 21 h 87"/>
                  <a:gd name="T10" fmla="*/ 70 w 78"/>
                  <a:gd name="T11" fmla="*/ 11 h 87"/>
                  <a:gd name="T12" fmla="*/ 69 w 78"/>
                  <a:gd name="T13" fmla="*/ 3 h 87"/>
                  <a:gd name="T14" fmla="*/ 64 w 78"/>
                  <a:gd name="T15" fmla="*/ 0 h 87"/>
                  <a:gd name="T16" fmla="*/ 63 w 78"/>
                  <a:gd name="T17" fmla="*/ 0 h 87"/>
                  <a:gd name="T18" fmla="*/ 63 w 78"/>
                  <a:gd name="T19" fmla="*/ 12 h 87"/>
                  <a:gd name="T20" fmla="*/ 42 w 78"/>
                  <a:gd name="T21" fmla="*/ 25 h 87"/>
                  <a:gd name="T22" fmla="*/ 42 w 78"/>
                  <a:gd name="T23" fmla="*/ 33 h 87"/>
                  <a:gd name="T24" fmla="*/ 33 w 78"/>
                  <a:gd name="T25" fmla="*/ 36 h 87"/>
                  <a:gd name="T26" fmla="*/ 39 w 78"/>
                  <a:gd name="T27" fmla="*/ 33 h 87"/>
                  <a:gd name="T28" fmla="*/ 39 w 78"/>
                  <a:gd name="T29" fmla="*/ 23 h 87"/>
                  <a:gd name="T30" fmla="*/ 36 w 78"/>
                  <a:gd name="T31" fmla="*/ 0 h 87"/>
                  <a:gd name="T32" fmla="*/ 36 w 78"/>
                  <a:gd name="T33" fmla="*/ 0 h 87"/>
                  <a:gd name="T34" fmla="*/ 36 w 78"/>
                  <a:gd name="T35" fmla="*/ 8 h 87"/>
                  <a:gd name="T36" fmla="*/ 30 w 78"/>
                  <a:gd name="T37" fmla="*/ 24 h 87"/>
                  <a:gd name="T38" fmla="*/ 1 w 78"/>
                  <a:gd name="T39" fmla="*/ 29 h 87"/>
                  <a:gd name="T40" fmla="*/ 0 w 78"/>
                  <a:gd name="T41" fmla="*/ 31 h 87"/>
                  <a:gd name="T42" fmla="*/ 18 w 78"/>
                  <a:gd name="T43" fmla="*/ 39 h 87"/>
                  <a:gd name="T44" fmla="*/ 25 w 78"/>
                  <a:gd name="T45" fmla="*/ 36 h 87"/>
                  <a:gd name="T46" fmla="*/ 25 w 78"/>
                  <a:gd name="T47" fmla="*/ 36 h 87"/>
                  <a:gd name="T48" fmla="*/ 3 w 78"/>
                  <a:gd name="T49" fmla="*/ 62 h 87"/>
                  <a:gd name="T50" fmla="*/ 5 w 78"/>
                  <a:gd name="T51" fmla="*/ 67 h 87"/>
                  <a:gd name="T52" fmla="*/ 12 w 78"/>
                  <a:gd name="T53" fmla="*/ 66 h 87"/>
                  <a:gd name="T54" fmla="*/ 22 w 78"/>
                  <a:gd name="T55" fmla="*/ 74 h 87"/>
                  <a:gd name="T56" fmla="*/ 25 w 78"/>
                  <a:gd name="T57" fmla="*/ 61 h 87"/>
                  <a:gd name="T58" fmla="*/ 30 w 78"/>
                  <a:gd name="T59" fmla="*/ 49 h 87"/>
                  <a:gd name="T60" fmla="*/ 48 w 78"/>
                  <a:gd name="T61" fmla="*/ 63 h 87"/>
                  <a:gd name="T62" fmla="*/ 24 w 78"/>
                  <a:gd name="T63" fmla="*/ 71 h 87"/>
                  <a:gd name="T64" fmla="*/ 48 w 78"/>
                  <a:gd name="T65" fmla="*/ 71 h 87"/>
                  <a:gd name="T66" fmla="*/ 51 w 78"/>
                  <a:gd name="T67" fmla="*/ 69 h 87"/>
                  <a:gd name="T68" fmla="*/ 77 w 78"/>
                  <a:gd name="T69" fmla="*/ 87 h 87"/>
                  <a:gd name="T70" fmla="*/ 78 w 78"/>
                  <a:gd name="T71" fmla="*/ 86 h 87"/>
                  <a:gd name="T72" fmla="*/ 55 w 78"/>
                  <a:gd name="T73" fmla="*/ 64 h 87"/>
                  <a:gd name="T74" fmla="*/ 15 w 78"/>
                  <a:gd name="T75" fmla="*/ 64 h 87"/>
                  <a:gd name="T76" fmla="*/ 15 w 78"/>
                  <a:gd name="T77" fmla="*/ 65 h 87"/>
                  <a:gd name="T78" fmla="*/ 11 w 78"/>
                  <a:gd name="T79" fmla="*/ 63 h 87"/>
                  <a:gd name="T80" fmla="*/ 12 w 78"/>
                  <a:gd name="T81" fmla="*/ 60 h 87"/>
                  <a:gd name="T82" fmla="*/ 15 w 78"/>
                  <a:gd name="T83" fmla="*/ 57 h 87"/>
                  <a:gd name="T84" fmla="*/ 17 w 78"/>
                  <a:gd name="T85" fmla="*/ 58 h 87"/>
                  <a:gd name="T86" fmla="*/ 15 w 78"/>
                  <a:gd name="T87" fmla="*/ 64 h 87"/>
                  <a:gd name="T88" fmla="*/ 32 w 78"/>
                  <a:gd name="T89" fmla="*/ 46 h 87"/>
                  <a:gd name="T90" fmla="*/ 44 w 78"/>
                  <a:gd name="T91" fmla="*/ 34 h 87"/>
                  <a:gd name="T92" fmla="*/ 52 w 78"/>
                  <a:gd name="T93" fmla="*/ 35 h 87"/>
                  <a:gd name="T94" fmla="*/ 46 w 78"/>
                  <a:gd name="T95" fmla="*/ 50 h 87"/>
                  <a:gd name="T96" fmla="*/ 48 w 78"/>
                  <a:gd name="T97" fmla="*/ 52 h 87"/>
                  <a:gd name="T98" fmla="*/ 56 w 78"/>
                  <a:gd name="T99" fmla="*/ 50 h 87"/>
                  <a:gd name="T100" fmla="*/ 52 w 78"/>
                  <a:gd name="T101" fmla="*/ 61 h 87"/>
                  <a:gd name="T102" fmla="*/ 32 w 78"/>
                  <a:gd name="T103" fmla="*/ 46 h 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78" h="87">
                    <a:moveTo>
                      <a:pt x="55" y="64"/>
                    </a:moveTo>
                    <a:cubicBezTo>
                      <a:pt x="58" y="60"/>
                      <a:pt x="60" y="55"/>
                      <a:pt x="62" y="50"/>
                    </a:cubicBezTo>
                    <a:cubicBezTo>
                      <a:pt x="61" y="47"/>
                      <a:pt x="58" y="44"/>
                      <a:pt x="54" y="43"/>
                    </a:cubicBezTo>
                    <a:cubicBezTo>
                      <a:pt x="57" y="36"/>
                      <a:pt x="64" y="33"/>
                      <a:pt x="69" y="29"/>
                    </a:cubicBezTo>
                    <a:cubicBezTo>
                      <a:pt x="69" y="25"/>
                      <a:pt x="67" y="24"/>
                      <a:pt x="67" y="21"/>
                    </a:cubicBezTo>
                    <a:cubicBezTo>
                      <a:pt x="68" y="18"/>
                      <a:pt x="69" y="15"/>
                      <a:pt x="70" y="11"/>
                    </a:cubicBezTo>
                    <a:cubicBezTo>
                      <a:pt x="70" y="9"/>
                      <a:pt x="69" y="6"/>
                      <a:pt x="69" y="3"/>
                    </a:cubicBezTo>
                    <a:cubicBezTo>
                      <a:pt x="68" y="2"/>
                      <a:pt x="67" y="1"/>
                      <a:pt x="64" y="0"/>
                    </a:cubicBezTo>
                    <a:cubicBezTo>
                      <a:pt x="64" y="0"/>
                      <a:pt x="63" y="0"/>
                      <a:pt x="63" y="0"/>
                    </a:cubicBezTo>
                    <a:cubicBezTo>
                      <a:pt x="61" y="5"/>
                      <a:pt x="63" y="8"/>
                      <a:pt x="63" y="12"/>
                    </a:cubicBezTo>
                    <a:cubicBezTo>
                      <a:pt x="63" y="24"/>
                      <a:pt x="52" y="26"/>
                      <a:pt x="42" y="25"/>
                    </a:cubicBezTo>
                    <a:cubicBezTo>
                      <a:pt x="41" y="28"/>
                      <a:pt x="41" y="31"/>
                      <a:pt x="42" y="33"/>
                    </a:cubicBezTo>
                    <a:cubicBezTo>
                      <a:pt x="39" y="34"/>
                      <a:pt x="36" y="35"/>
                      <a:pt x="33" y="36"/>
                    </a:cubicBezTo>
                    <a:cubicBezTo>
                      <a:pt x="34" y="32"/>
                      <a:pt x="36" y="32"/>
                      <a:pt x="39" y="33"/>
                    </a:cubicBezTo>
                    <a:cubicBezTo>
                      <a:pt x="41" y="29"/>
                      <a:pt x="38" y="27"/>
                      <a:pt x="39" y="23"/>
                    </a:cubicBezTo>
                    <a:cubicBezTo>
                      <a:pt x="39" y="14"/>
                      <a:pt x="53" y="6"/>
                      <a:pt x="36" y="0"/>
                    </a:cubicBezTo>
                    <a:cubicBezTo>
                      <a:pt x="36" y="0"/>
                      <a:pt x="36" y="0"/>
                      <a:pt x="36" y="0"/>
                    </a:cubicBezTo>
                    <a:cubicBezTo>
                      <a:pt x="35" y="3"/>
                      <a:pt x="36" y="5"/>
                      <a:pt x="36" y="8"/>
                    </a:cubicBezTo>
                    <a:cubicBezTo>
                      <a:pt x="34" y="14"/>
                      <a:pt x="32" y="19"/>
                      <a:pt x="30" y="24"/>
                    </a:cubicBezTo>
                    <a:cubicBezTo>
                      <a:pt x="22" y="26"/>
                      <a:pt x="9" y="26"/>
                      <a:pt x="1" y="29"/>
                    </a:cubicBezTo>
                    <a:cubicBezTo>
                      <a:pt x="1" y="30"/>
                      <a:pt x="1" y="30"/>
                      <a:pt x="0" y="31"/>
                    </a:cubicBezTo>
                    <a:cubicBezTo>
                      <a:pt x="1" y="35"/>
                      <a:pt x="12" y="39"/>
                      <a:pt x="18" y="39"/>
                    </a:cubicBezTo>
                    <a:cubicBezTo>
                      <a:pt x="20" y="38"/>
                      <a:pt x="22" y="37"/>
                      <a:pt x="25" y="36"/>
                    </a:cubicBezTo>
                    <a:cubicBezTo>
                      <a:pt x="25" y="36"/>
                      <a:pt x="25" y="36"/>
                      <a:pt x="25" y="36"/>
                    </a:cubicBezTo>
                    <a:cubicBezTo>
                      <a:pt x="21" y="52"/>
                      <a:pt x="9" y="50"/>
                      <a:pt x="3" y="62"/>
                    </a:cubicBezTo>
                    <a:cubicBezTo>
                      <a:pt x="4" y="63"/>
                      <a:pt x="4" y="65"/>
                      <a:pt x="5" y="67"/>
                    </a:cubicBezTo>
                    <a:cubicBezTo>
                      <a:pt x="7" y="67"/>
                      <a:pt x="10" y="67"/>
                      <a:pt x="12" y="66"/>
                    </a:cubicBezTo>
                    <a:cubicBezTo>
                      <a:pt x="17" y="68"/>
                      <a:pt x="17" y="72"/>
                      <a:pt x="22" y="74"/>
                    </a:cubicBezTo>
                    <a:cubicBezTo>
                      <a:pt x="25" y="71"/>
                      <a:pt x="24" y="66"/>
                      <a:pt x="25" y="61"/>
                    </a:cubicBezTo>
                    <a:cubicBezTo>
                      <a:pt x="25" y="56"/>
                      <a:pt x="28" y="52"/>
                      <a:pt x="30" y="49"/>
                    </a:cubicBezTo>
                    <a:cubicBezTo>
                      <a:pt x="40" y="53"/>
                      <a:pt x="42" y="58"/>
                      <a:pt x="48" y="63"/>
                    </a:cubicBezTo>
                    <a:cubicBezTo>
                      <a:pt x="44" y="74"/>
                      <a:pt x="29" y="63"/>
                      <a:pt x="24" y="71"/>
                    </a:cubicBezTo>
                    <a:cubicBezTo>
                      <a:pt x="39" y="78"/>
                      <a:pt x="36" y="74"/>
                      <a:pt x="48" y="71"/>
                    </a:cubicBezTo>
                    <a:cubicBezTo>
                      <a:pt x="49" y="70"/>
                      <a:pt x="50" y="70"/>
                      <a:pt x="51" y="69"/>
                    </a:cubicBezTo>
                    <a:cubicBezTo>
                      <a:pt x="58" y="79"/>
                      <a:pt x="58" y="87"/>
                      <a:pt x="77" y="87"/>
                    </a:cubicBezTo>
                    <a:cubicBezTo>
                      <a:pt x="77" y="87"/>
                      <a:pt x="78" y="86"/>
                      <a:pt x="78" y="86"/>
                    </a:cubicBezTo>
                    <a:cubicBezTo>
                      <a:pt x="74" y="76"/>
                      <a:pt x="60" y="73"/>
                      <a:pt x="55" y="64"/>
                    </a:cubicBezTo>
                    <a:close/>
                    <a:moveTo>
                      <a:pt x="15" y="64"/>
                    </a:moveTo>
                    <a:cubicBezTo>
                      <a:pt x="15" y="65"/>
                      <a:pt x="15" y="65"/>
                      <a:pt x="15" y="65"/>
                    </a:cubicBezTo>
                    <a:cubicBezTo>
                      <a:pt x="14" y="64"/>
                      <a:pt x="13" y="64"/>
                      <a:pt x="11" y="63"/>
                    </a:cubicBezTo>
                    <a:cubicBezTo>
                      <a:pt x="11" y="62"/>
                      <a:pt x="12" y="61"/>
                      <a:pt x="12" y="60"/>
                    </a:cubicBezTo>
                    <a:cubicBezTo>
                      <a:pt x="13" y="59"/>
                      <a:pt x="14" y="58"/>
                      <a:pt x="15" y="57"/>
                    </a:cubicBezTo>
                    <a:cubicBezTo>
                      <a:pt x="16" y="57"/>
                      <a:pt x="16" y="58"/>
                      <a:pt x="17" y="58"/>
                    </a:cubicBezTo>
                    <a:cubicBezTo>
                      <a:pt x="16" y="60"/>
                      <a:pt x="16" y="62"/>
                      <a:pt x="15" y="64"/>
                    </a:cubicBezTo>
                    <a:close/>
                    <a:moveTo>
                      <a:pt x="32" y="46"/>
                    </a:moveTo>
                    <a:cubicBezTo>
                      <a:pt x="35" y="43"/>
                      <a:pt x="44" y="37"/>
                      <a:pt x="44" y="34"/>
                    </a:cubicBezTo>
                    <a:cubicBezTo>
                      <a:pt x="47" y="34"/>
                      <a:pt x="49" y="35"/>
                      <a:pt x="52" y="35"/>
                    </a:cubicBezTo>
                    <a:cubicBezTo>
                      <a:pt x="50" y="40"/>
                      <a:pt x="45" y="44"/>
                      <a:pt x="46" y="50"/>
                    </a:cubicBezTo>
                    <a:cubicBezTo>
                      <a:pt x="46" y="51"/>
                      <a:pt x="47" y="51"/>
                      <a:pt x="48" y="52"/>
                    </a:cubicBezTo>
                    <a:cubicBezTo>
                      <a:pt x="50" y="51"/>
                      <a:pt x="53" y="49"/>
                      <a:pt x="56" y="50"/>
                    </a:cubicBezTo>
                    <a:cubicBezTo>
                      <a:pt x="55" y="54"/>
                      <a:pt x="53" y="57"/>
                      <a:pt x="52" y="61"/>
                    </a:cubicBezTo>
                    <a:cubicBezTo>
                      <a:pt x="45" y="56"/>
                      <a:pt x="44" y="49"/>
                      <a:pt x="32" y="4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16" name="ï$ľíḍe"/>
              <p:cNvSpPr/>
              <p:nvPr/>
            </p:nvSpPr>
            <p:spPr bwMode="auto">
              <a:xfrm>
                <a:off x="2255734" y="4491628"/>
                <a:ext cx="136525" cy="174625"/>
              </a:xfrm>
              <a:custGeom>
                <a:avLst/>
                <a:gdLst>
                  <a:gd name="T0" fmla="*/ 74 w 74"/>
                  <a:gd name="T1" fmla="*/ 41 h 94"/>
                  <a:gd name="T2" fmla="*/ 64 w 74"/>
                  <a:gd name="T3" fmla="*/ 35 h 94"/>
                  <a:gd name="T4" fmla="*/ 51 w 74"/>
                  <a:gd name="T5" fmla="*/ 5 h 94"/>
                  <a:gd name="T6" fmla="*/ 58 w 74"/>
                  <a:gd name="T7" fmla="*/ 39 h 94"/>
                  <a:gd name="T8" fmla="*/ 47 w 74"/>
                  <a:gd name="T9" fmla="*/ 47 h 94"/>
                  <a:gd name="T10" fmla="*/ 55 w 74"/>
                  <a:gd name="T11" fmla="*/ 34 h 94"/>
                  <a:gd name="T12" fmla="*/ 47 w 74"/>
                  <a:gd name="T13" fmla="*/ 29 h 94"/>
                  <a:gd name="T14" fmla="*/ 54 w 74"/>
                  <a:gd name="T15" fmla="*/ 22 h 94"/>
                  <a:gd name="T16" fmla="*/ 54 w 74"/>
                  <a:gd name="T17" fmla="*/ 20 h 94"/>
                  <a:gd name="T18" fmla="*/ 54 w 74"/>
                  <a:gd name="T19" fmla="*/ 19 h 94"/>
                  <a:gd name="T20" fmla="*/ 41 w 74"/>
                  <a:gd name="T21" fmla="*/ 19 h 94"/>
                  <a:gd name="T22" fmla="*/ 44 w 74"/>
                  <a:gd name="T23" fmla="*/ 22 h 94"/>
                  <a:gd name="T24" fmla="*/ 44 w 74"/>
                  <a:gd name="T25" fmla="*/ 32 h 94"/>
                  <a:gd name="T26" fmla="*/ 48 w 74"/>
                  <a:gd name="T27" fmla="*/ 37 h 94"/>
                  <a:gd name="T28" fmla="*/ 40 w 74"/>
                  <a:gd name="T29" fmla="*/ 58 h 94"/>
                  <a:gd name="T30" fmla="*/ 44 w 74"/>
                  <a:gd name="T31" fmla="*/ 61 h 94"/>
                  <a:gd name="T32" fmla="*/ 59 w 74"/>
                  <a:gd name="T33" fmla="*/ 46 h 94"/>
                  <a:gd name="T34" fmla="*/ 59 w 74"/>
                  <a:gd name="T35" fmla="*/ 46 h 94"/>
                  <a:gd name="T36" fmla="*/ 66 w 74"/>
                  <a:gd name="T37" fmla="*/ 93 h 94"/>
                  <a:gd name="T38" fmla="*/ 68 w 74"/>
                  <a:gd name="T39" fmla="*/ 93 h 94"/>
                  <a:gd name="T40" fmla="*/ 65 w 74"/>
                  <a:gd name="T41" fmla="*/ 42 h 94"/>
                  <a:gd name="T42" fmla="*/ 73 w 74"/>
                  <a:gd name="T43" fmla="*/ 41 h 94"/>
                  <a:gd name="T44" fmla="*/ 74 w 74"/>
                  <a:gd name="T45" fmla="*/ 41 h 94"/>
                  <a:gd name="T46" fmla="*/ 43 w 74"/>
                  <a:gd name="T47" fmla="*/ 42 h 94"/>
                  <a:gd name="T48" fmla="*/ 35 w 74"/>
                  <a:gd name="T49" fmla="*/ 48 h 94"/>
                  <a:gd name="T50" fmla="*/ 39 w 74"/>
                  <a:gd name="T51" fmla="*/ 38 h 94"/>
                  <a:gd name="T52" fmla="*/ 37 w 74"/>
                  <a:gd name="T53" fmla="*/ 29 h 94"/>
                  <a:gd name="T54" fmla="*/ 40 w 74"/>
                  <a:gd name="T55" fmla="*/ 27 h 94"/>
                  <a:gd name="T56" fmla="*/ 34 w 74"/>
                  <a:gd name="T57" fmla="*/ 16 h 94"/>
                  <a:gd name="T58" fmla="*/ 32 w 74"/>
                  <a:gd name="T59" fmla="*/ 15 h 94"/>
                  <a:gd name="T60" fmla="*/ 4 w 74"/>
                  <a:gd name="T61" fmla="*/ 46 h 94"/>
                  <a:gd name="T62" fmla="*/ 30 w 74"/>
                  <a:gd name="T63" fmla="*/ 29 h 94"/>
                  <a:gd name="T64" fmla="*/ 8 w 74"/>
                  <a:gd name="T65" fmla="*/ 52 h 94"/>
                  <a:gd name="T66" fmla="*/ 0 w 74"/>
                  <a:gd name="T67" fmla="*/ 56 h 94"/>
                  <a:gd name="T68" fmla="*/ 3 w 74"/>
                  <a:gd name="T69" fmla="*/ 61 h 94"/>
                  <a:gd name="T70" fmla="*/ 23 w 74"/>
                  <a:gd name="T71" fmla="*/ 54 h 94"/>
                  <a:gd name="T72" fmla="*/ 25 w 74"/>
                  <a:gd name="T73" fmla="*/ 53 h 94"/>
                  <a:gd name="T74" fmla="*/ 25 w 74"/>
                  <a:gd name="T75" fmla="*/ 53 h 94"/>
                  <a:gd name="T76" fmla="*/ 20 w 74"/>
                  <a:gd name="T77" fmla="*/ 72 h 94"/>
                  <a:gd name="T78" fmla="*/ 25 w 74"/>
                  <a:gd name="T79" fmla="*/ 76 h 94"/>
                  <a:gd name="T80" fmla="*/ 26 w 74"/>
                  <a:gd name="T81" fmla="*/ 76 h 94"/>
                  <a:gd name="T82" fmla="*/ 30 w 74"/>
                  <a:gd name="T83" fmla="*/ 67 h 94"/>
                  <a:gd name="T84" fmla="*/ 31 w 74"/>
                  <a:gd name="T85" fmla="*/ 66 h 94"/>
                  <a:gd name="T86" fmla="*/ 32 w 74"/>
                  <a:gd name="T87" fmla="*/ 75 h 94"/>
                  <a:gd name="T88" fmla="*/ 35 w 74"/>
                  <a:gd name="T89" fmla="*/ 76 h 94"/>
                  <a:gd name="T90" fmla="*/ 38 w 74"/>
                  <a:gd name="T91" fmla="*/ 76 h 94"/>
                  <a:gd name="T92" fmla="*/ 35 w 74"/>
                  <a:gd name="T93" fmla="*/ 61 h 94"/>
                  <a:gd name="T94" fmla="*/ 43 w 74"/>
                  <a:gd name="T95" fmla="*/ 42 h 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74" h="94">
                    <a:moveTo>
                      <a:pt x="74" y="41"/>
                    </a:moveTo>
                    <a:cubicBezTo>
                      <a:pt x="73" y="36"/>
                      <a:pt x="70" y="34"/>
                      <a:pt x="64" y="35"/>
                    </a:cubicBezTo>
                    <a:cubicBezTo>
                      <a:pt x="63" y="24"/>
                      <a:pt x="67" y="0"/>
                      <a:pt x="51" y="5"/>
                    </a:cubicBezTo>
                    <a:cubicBezTo>
                      <a:pt x="50" y="9"/>
                      <a:pt x="61" y="31"/>
                      <a:pt x="58" y="39"/>
                    </a:cubicBezTo>
                    <a:cubicBezTo>
                      <a:pt x="58" y="39"/>
                      <a:pt x="47" y="47"/>
                      <a:pt x="47" y="47"/>
                    </a:cubicBezTo>
                    <a:cubicBezTo>
                      <a:pt x="48" y="41"/>
                      <a:pt x="53" y="39"/>
                      <a:pt x="55" y="34"/>
                    </a:cubicBezTo>
                    <a:cubicBezTo>
                      <a:pt x="56" y="30"/>
                      <a:pt x="49" y="31"/>
                      <a:pt x="47" y="29"/>
                    </a:cubicBezTo>
                    <a:cubicBezTo>
                      <a:pt x="48" y="26"/>
                      <a:pt x="51" y="23"/>
                      <a:pt x="54" y="22"/>
                    </a:cubicBezTo>
                    <a:cubicBezTo>
                      <a:pt x="54" y="21"/>
                      <a:pt x="54" y="21"/>
                      <a:pt x="54" y="20"/>
                    </a:cubicBezTo>
                    <a:cubicBezTo>
                      <a:pt x="54" y="20"/>
                      <a:pt x="54" y="19"/>
                      <a:pt x="54" y="19"/>
                    </a:cubicBezTo>
                    <a:cubicBezTo>
                      <a:pt x="50" y="17"/>
                      <a:pt x="45" y="17"/>
                      <a:pt x="41" y="19"/>
                    </a:cubicBezTo>
                    <a:cubicBezTo>
                      <a:pt x="41" y="22"/>
                      <a:pt x="42" y="22"/>
                      <a:pt x="44" y="22"/>
                    </a:cubicBezTo>
                    <a:cubicBezTo>
                      <a:pt x="44" y="26"/>
                      <a:pt x="44" y="29"/>
                      <a:pt x="44" y="32"/>
                    </a:cubicBezTo>
                    <a:cubicBezTo>
                      <a:pt x="45" y="34"/>
                      <a:pt x="47" y="35"/>
                      <a:pt x="48" y="37"/>
                    </a:cubicBezTo>
                    <a:cubicBezTo>
                      <a:pt x="46" y="41"/>
                      <a:pt x="35" y="51"/>
                      <a:pt x="40" y="58"/>
                    </a:cubicBezTo>
                    <a:cubicBezTo>
                      <a:pt x="41" y="60"/>
                      <a:pt x="42" y="60"/>
                      <a:pt x="44" y="61"/>
                    </a:cubicBezTo>
                    <a:cubicBezTo>
                      <a:pt x="49" y="55"/>
                      <a:pt x="51" y="50"/>
                      <a:pt x="59" y="46"/>
                    </a:cubicBezTo>
                    <a:cubicBezTo>
                      <a:pt x="59" y="46"/>
                      <a:pt x="59" y="46"/>
                      <a:pt x="59" y="46"/>
                    </a:cubicBezTo>
                    <a:cubicBezTo>
                      <a:pt x="61" y="60"/>
                      <a:pt x="59" y="83"/>
                      <a:pt x="66" y="93"/>
                    </a:cubicBezTo>
                    <a:cubicBezTo>
                      <a:pt x="67" y="94"/>
                      <a:pt x="67" y="93"/>
                      <a:pt x="68" y="93"/>
                    </a:cubicBezTo>
                    <a:cubicBezTo>
                      <a:pt x="68" y="78"/>
                      <a:pt x="67" y="60"/>
                      <a:pt x="65" y="42"/>
                    </a:cubicBezTo>
                    <a:cubicBezTo>
                      <a:pt x="68" y="42"/>
                      <a:pt x="72" y="42"/>
                      <a:pt x="73" y="41"/>
                    </a:cubicBezTo>
                    <a:cubicBezTo>
                      <a:pt x="74" y="41"/>
                      <a:pt x="74" y="41"/>
                      <a:pt x="74" y="41"/>
                    </a:cubicBezTo>
                    <a:close/>
                    <a:moveTo>
                      <a:pt x="43" y="42"/>
                    </a:moveTo>
                    <a:cubicBezTo>
                      <a:pt x="39" y="44"/>
                      <a:pt x="38" y="46"/>
                      <a:pt x="35" y="48"/>
                    </a:cubicBezTo>
                    <a:cubicBezTo>
                      <a:pt x="35" y="42"/>
                      <a:pt x="39" y="42"/>
                      <a:pt x="39" y="38"/>
                    </a:cubicBezTo>
                    <a:cubicBezTo>
                      <a:pt x="40" y="35"/>
                      <a:pt x="37" y="33"/>
                      <a:pt x="37" y="29"/>
                    </a:cubicBezTo>
                    <a:cubicBezTo>
                      <a:pt x="38" y="28"/>
                      <a:pt x="39" y="28"/>
                      <a:pt x="40" y="27"/>
                    </a:cubicBezTo>
                    <a:cubicBezTo>
                      <a:pt x="41" y="24"/>
                      <a:pt x="36" y="16"/>
                      <a:pt x="34" y="16"/>
                    </a:cubicBezTo>
                    <a:cubicBezTo>
                      <a:pt x="33" y="16"/>
                      <a:pt x="32" y="15"/>
                      <a:pt x="32" y="15"/>
                    </a:cubicBezTo>
                    <a:cubicBezTo>
                      <a:pt x="22" y="28"/>
                      <a:pt x="10" y="30"/>
                      <a:pt x="4" y="46"/>
                    </a:cubicBezTo>
                    <a:cubicBezTo>
                      <a:pt x="13" y="41"/>
                      <a:pt x="17" y="31"/>
                      <a:pt x="30" y="29"/>
                    </a:cubicBezTo>
                    <a:cubicBezTo>
                      <a:pt x="29" y="39"/>
                      <a:pt x="16" y="48"/>
                      <a:pt x="8" y="52"/>
                    </a:cubicBezTo>
                    <a:cubicBezTo>
                      <a:pt x="4" y="54"/>
                      <a:pt x="2" y="52"/>
                      <a:pt x="0" y="56"/>
                    </a:cubicBezTo>
                    <a:cubicBezTo>
                      <a:pt x="0" y="59"/>
                      <a:pt x="1" y="60"/>
                      <a:pt x="3" y="61"/>
                    </a:cubicBezTo>
                    <a:cubicBezTo>
                      <a:pt x="10" y="63"/>
                      <a:pt x="22" y="58"/>
                      <a:pt x="23" y="54"/>
                    </a:cubicBezTo>
                    <a:cubicBezTo>
                      <a:pt x="24" y="54"/>
                      <a:pt x="24" y="53"/>
                      <a:pt x="25" y="53"/>
                    </a:cubicBezTo>
                    <a:cubicBezTo>
                      <a:pt x="25" y="53"/>
                      <a:pt x="25" y="53"/>
                      <a:pt x="25" y="53"/>
                    </a:cubicBezTo>
                    <a:cubicBezTo>
                      <a:pt x="23" y="59"/>
                      <a:pt x="22" y="66"/>
                      <a:pt x="20" y="72"/>
                    </a:cubicBezTo>
                    <a:cubicBezTo>
                      <a:pt x="21" y="74"/>
                      <a:pt x="23" y="75"/>
                      <a:pt x="25" y="76"/>
                    </a:cubicBezTo>
                    <a:cubicBezTo>
                      <a:pt x="25" y="76"/>
                      <a:pt x="26" y="76"/>
                      <a:pt x="26" y="76"/>
                    </a:cubicBezTo>
                    <a:cubicBezTo>
                      <a:pt x="28" y="73"/>
                      <a:pt x="29" y="70"/>
                      <a:pt x="30" y="67"/>
                    </a:cubicBezTo>
                    <a:cubicBezTo>
                      <a:pt x="31" y="67"/>
                      <a:pt x="31" y="67"/>
                      <a:pt x="31" y="66"/>
                    </a:cubicBezTo>
                    <a:cubicBezTo>
                      <a:pt x="32" y="69"/>
                      <a:pt x="32" y="72"/>
                      <a:pt x="32" y="75"/>
                    </a:cubicBezTo>
                    <a:cubicBezTo>
                      <a:pt x="33" y="75"/>
                      <a:pt x="34" y="76"/>
                      <a:pt x="35" y="76"/>
                    </a:cubicBezTo>
                    <a:cubicBezTo>
                      <a:pt x="36" y="76"/>
                      <a:pt x="37" y="76"/>
                      <a:pt x="38" y="76"/>
                    </a:cubicBezTo>
                    <a:cubicBezTo>
                      <a:pt x="37" y="71"/>
                      <a:pt x="36" y="66"/>
                      <a:pt x="35" y="61"/>
                    </a:cubicBezTo>
                    <a:cubicBezTo>
                      <a:pt x="38" y="54"/>
                      <a:pt x="40" y="48"/>
                      <a:pt x="43" y="4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17" name="î$ḻîḑe"/>
              <p:cNvSpPr/>
              <p:nvPr/>
            </p:nvSpPr>
            <p:spPr bwMode="auto">
              <a:xfrm>
                <a:off x="2055709" y="4566240"/>
                <a:ext cx="136525" cy="150813"/>
              </a:xfrm>
              <a:custGeom>
                <a:avLst/>
                <a:gdLst>
                  <a:gd name="T0" fmla="*/ 55 w 74"/>
                  <a:gd name="T1" fmla="*/ 53 h 82"/>
                  <a:gd name="T2" fmla="*/ 54 w 74"/>
                  <a:gd name="T3" fmla="*/ 51 h 82"/>
                  <a:gd name="T4" fmla="*/ 57 w 74"/>
                  <a:gd name="T5" fmla="*/ 49 h 82"/>
                  <a:gd name="T6" fmla="*/ 56 w 74"/>
                  <a:gd name="T7" fmla="*/ 45 h 82"/>
                  <a:gd name="T8" fmla="*/ 52 w 74"/>
                  <a:gd name="T9" fmla="*/ 45 h 82"/>
                  <a:gd name="T10" fmla="*/ 51 w 74"/>
                  <a:gd name="T11" fmla="*/ 44 h 82"/>
                  <a:gd name="T12" fmla="*/ 60 w 74"/>
                  <a:gd name="T13" fmla="*/ 32 h 82"/>
                  <a:gd name="T14" fmla="*/ 60 w 74"/>
                  <a:gd name="T15" fmla="*/ 30 h 82"/>
                  <a:gd name="T16" fmla="*/ 34 w 74"/>
                  <a:gd name="T17" fmla="*/ 38 h 82"/>
                  <a:gd name="T18" fmla="*/ 33 w 74"/>
                  <a:gd name="T19" fmla="*/ 38 h 82"/>
                  <a:gd name="T20" fmla="*/ 60 w 74"/>
                  <a:gd name="T21" fmla="*/ 16 h 82"/>
                  <a:gd name="T22" fmla="*/ 61 w 74"/>
                  <a:gd name="T23" fmla="*/ 10 h 82"/>
                  <a:gd name="T24" fmla="*/ 42 w 74"/>
                  <a:gd name="T25" fmla="*/ 11 h 82"/>
                  <a:gd name="T26" fmla="*/ 27 w 74"/>
                  <a:gd name="T27" fmla="*/ 0 h 82"/>
                  <a:gd name="T28" fmla="*/ 24 w 74"/>
                  <a:gd name="T29" fmla="*/ 0 h 82"/>
                  <a:gd name="T30" fmla="*/ 29 w 74"/>
                  <a:gd name="T31" fmla="*/ 21 h 82"/>
                  <a:gd name="T32" fmla="*/ 11 w 74"/>
                  <a:gd name="T33" fmla="*/ 39 h 82"/>
                  <a:gd name="T34" fmla="*/ 1 w 74"/>
                  <a:gd name="T35" fmla="*/ 44 h 82"/>
                  <a:gd name="T36" fmla="*/ 0 w 74"/>
                  <a:gd name="T37" fmla="*/ 47 h 82"/>
                  <a:gd name="T38" fmla="*/ 35 w 74"/>
                  <a:gd name="T39" fmla="*/ 26 h 82"/>
                  <a:gd name="T40" fmla="*/ 35 w 74"/>
                  <a:gd name="T41" fmla="*/ 26 h 82"/>
                  <a:gd name="T42" fmla="*/ 30 w 74"/>
                  <a:gd name="T43" fmla="*/ 48 h 82"/>
                  <a:gd name="T44" fmla="*/ 40 w 74"/>
                  <a:gd name="T45" fmla="*/ 57 h 82"/>
                  <a:gd name="T46" fmla="*/ 35 w 74"/>
                  <a:gd name="T47" fmla="*/ 78 h 82"/>
                  <a:gd name="T48" fmla="*/ 45 w 74"/>
                  <a:gd name="T49" fmla="*/ 82 h 82"/>
                  <a:gd name="T50" fmla="*/ 47 w 74"/>
                  <a:gd name="T51" fmla="*/ 80 h 82"/>
                  <a:gd name="T52" fmla="*/ 46 w 74"/>
                  <a:gd name="T53" fmla="*/ 67 h 82"/>
                  <a:gd name="T54" fmla="*/ 47 w 74"/>
                  <a:gd name="T55" fmla="*/ 66 h 82"/>
                  <a:gd name="T56" fmla="*/ 50 w 74"/>
                  <a:gd name="T57" fmla="*/ 73 h 82"/>
                  <a:gd name="T58" fmla="*/ 58 w 74"/>
                  <a:gd name="T59" fmla="*/ 79 h 82"/>
                  <a:gd name="T60" fmla="*/ 59 w 74"/>
                  <a:gd name="T61" fmla="*/ 79 h 82"/>
                  <a:gd name="T62" fmla="*/ 53 w 74"/>
                  <a:gd name="T63" fmla="*/ 57 h 82"/>
                  <a:gd name="T64" fmla="*/ 56 w 74"/>
                  <a:gd name="T65" fmla="*/ 55 h 82"/>
                  <a:gd name="T66" fmla="*/ 56 w 74"/>
                  <a:gd name="T67" fmla="*/ 55 h 82"/>
                  <a:gd name="T68" fmla="*/ 69 w 74"/>
                  <a:gd name="T69" fmla="*/ 69 h 82"/>
                  <a:gd name="T70" fmla="*/ 74 w 74"/>
                  <a:gd name="T71" fmla="*/ 64 h 82"/>
                  <a:gd name="T72" fmla="*/ 55 w 74"/>
                  <a:gd name="T73" fmla="*/ 53 h 82"/>
                  <a:gd name="T74" fmla="*/ 40 w 74"/>
                  <a:gd name="T75" fmla="*/ 46 h 82"/>
                  <a:gd name="T76" fmla="*/ 39 w 74"/>
                  <a:gd name="T77" fmla="*/ 46 h 82"/>
                  <a:gd name="T78" fmla="*/ 38 w 74"/>
                  <a:gd name="T79" fmla="*/ 46 h 82"/>
                  <a:gd name="T80" fmla="*/ 37 w 74"/>
                  <a:gd name="T81" fmla="*/ 44 h 82"/>
                  <a:gd name="T82" fmla="*/ 44 w 74"/>
                  <a:gd name="T83" fmla="*/ 36 h 82"/>
                  <a:gd name="T84" fmla="*/ 46 w 74"/>
                  <a:gd name="T85" fmla="*/ 35 h 82"/>
                  <a:gd name="T86" fmla="*/ 46 w 74"/>
                  <a:gd name="T87" fmla="*/ 35 h 82"/>
                  <a:gd name="T88" fmla="*/ 40 w 74"/>
                  <a:gd name="T89" fmla="*/ 46 h 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74" h="82">
                    <a:moveTo>
                      <a:pt x="55" y="53"/>
                    </a:moveTo>
                    <a:cubicBezTo>
                      <a:pt x="55" y="53"/>
                      <a:pt x="54" y="52"/>
                      <a:pt x="54" y="51"/>
                    </a:cubicBezTo>
                    <a:cubicBezTo>
                      <a:pt x="55" y="51"/>
                      <a:pt x="56" y="50"/>
                      <a:pt x="57" y="49"/>
                    </a:cubicBezTo>
                    <a:cubicBezTo>
                      <a:pt x="57" y="48"/>
                      <a:pt x="56" y="47"/>
                      <a:pt x="56" y="45"/>
                    </a:cubicBezTo>
                    <a:cubicBezTo>
                      <a:pt x="54" y="45"/>
                      <a:pt x="53" y="45"/>
                      <a:pt x="52" y="45"/>
                    </a:cubicBezTo>
                    <a:cubicBezTo>
                      <a:pt x="51" y="45"/>
                      <a:pt x="51" y="44"/>
                      <a:pt x="51" y="44"/>
                    </a:cubicBezTo>
                    <a:cubicBezTo>
                      <a:pt x="53" y="40"/>
                      <a:pt x="59" y="36"/>
                      <a:pt x="60" y="32"/>
                    </a:cubicBezTo>
                    <a:cubicBezTo>
                      <a:pt x="60" y="31"/>
                      <a:pt x="60" y="31"/>
                      <a:pt x="60" y="30"/>
                    </a:cubicBezTo>
                    <a:cubicBezTo>
                      <a:pt x="50" y="21"/>
                      <a:pt x="41" y="31"/>
                      <a:pt x="34" y="38"/>
                    </a:cubicBezTo>
                    <a:cubicBezTo>
                      <a:pt x="33" y="38"/>
                      <a:pt x="33" y="38"/>
                      <a:pt x="33" y="38"/>
                    </a:cubicBezTo>
                    <a:cubicBezTo>
                      <a:pt x="34" y="30"/>
                      <a:pt x="48" y="16"/>
                      <a:pt x="60" y="16"/>
                    </a:cubicBezTo>
                    <a:cubicBezTo>
                      <a:pt x="61" y="14"/>
                      <a:pt x="61" y="12"/>
                      <a:pt x="61" y="10"/>
                    </a:cubicBezTo>
                    <a:cubicBezTo>
                      <a:pt x="50" y="3"/>
                      <a:pt x="52" y="11"/>
                      <a:pt x="42" y="11"/>
                    </a:cubicBezTo>
                    <a:cubicBezTo>
                      <a:pt x="38" y="10"/>
                      <a:pt x="32" y="1"/>
                      <a:pt x="27" y="0"/>
                    </a:cubicBezTo>
                    <a:cubicBezTo>
                      <a:pt x="26" y="0"/>
                      <a:pt x="25" y="0"/>
                      <a:pt x="24" y="0"/>
                    </a:cubicBezTo>
                    <a:cubicBezTo>
                      <a:pt x="21" y="5"/>
                      <a:pt x="30" y="14"/>
                      <a:pt x="29" y="21"/>
                    </a:cubicBezTo>
                    <a:cubicBezTo>
                      <a:pt x="19" y="27"/>
                      <a:pt x="17" y="33"/>
                      <a:pt x="11" y="39"/>
                    </a:cubicBezTo>
                    <a:cubicBezTo>
                      <a:pt x="8" y="42"/>
                      <a:pt x="4" y="42"/>
                      <a:pt x="1" y="44"/>
                    </a:cubicBezTo>
                    <a:cubicBezTo>
                      <a:pt x="1" y="45"/>
                      <a:pt x="0" y="46"/>
                      <a:pt x="0" y="47"/>
                    </a:cubicBezTo>
                    <a:cubicBezTo>
                      <a:pt x="11" y="69"/>
                      <a:pt x="23" y="30"/>
                      <a:pt x="35" y="26"/>
                    </a:cubicBezTo>
                    <a:cubicBezTo>
                      <a:pt x="35" y="26"/>
                      <a:pt x="35" y="26"/>
                      <a:pt x="35" y="26"/>
                    </a:cubicBezTo>
                    <a:cubicBezTo>
                      <a:pt x="33" y="33"/>
                      <a:pt x="28" y="39"/>
                      <a:pt x="30" y="48"/>
                    </a:cubicBezTo>
                    <a:cubicBezTo>
                      <a:pt x="30" y="51"/>
                      <a:pt x="37" y="56"/>
                      <a:pt x="40" y="57"/>
                    </a:cubicBezTo>
                    <a:cubicBezTo>
                      <a:pt x="37" y="64"/>
                      <a:pt x="32" y="69"/>
                      <a:pt x="35" y="78"/>
                    </a:cubicBezTo>
                    <a:cubicBezTo>
                      <a:pt x="39" y="79"/>
                      <a:pt x="42" y="80"/>
                      <a:pt x="45" y="82"/>
                    </a:cubicBezTo>
                    <a:cubicBezTo>
                      <a:pt x="46" y="81"/>
                      <a:pt x="46" y="81"/>
                      <a:pt x="47" y="80"/>
                    </a:cubicBezTo>
                    <a:cubicBezTo>
                      <a:pt x="49" y="77"/>
                      <a:pt x="45" y="70"/>
                      <a:pt x="46" y="67"/>
                    </a:cubicBezTo>
                    <a:cubicBezTo>
                      <a:pt x="46" y="66"/>
                      <a:pt x="46" y="66"/>
                      <a:pt x="47" y="66"/>
                    </a:cubicBezTo>
                    <a:cubicBezTo>
                      <a:pt x="48" y="67"/>
                      <a:pt x="49" y="71"/>
                      <a:pt x="50" y="73"/>
                    </a:cubicBezTo>
                    <a:cubicBezTo>
                      <a:pt x="52" y="76"/>
                      <a:pt x="55" y="77"/>
                      <a:pt x="58" y="79"/>
                    </a:cubicBezTo>
                    <a:cubicBezTo>
                      <a:pt x="58" y="79"/>
                      <a:pt x="58" y="79"/>
                      <a:pt x="59" y="79"/>
                    </a:cubicBezTo>
                    <a:cubicBezTo>
                      <a:pt x="60" y="72"/>
                      <a:pt x="53" y="64"/>
                      <a:pt x="53" y="57"/>
                    </a:cubicBezTo>
                    <a:cubicBezTo>
                      <a:pt x="54" y="56"/>
                      <a:pt x="55" y="56"/>
                      <a:pt x="56" y="55"/>
                    </a:cubicBezTo>
                    <a:cubicBezTo>
                      <a:pt x="56" y="55"/>
                      <a:pt x="56" y="55"/>
                      <a:pt x="56" y="55"/>
                    </a:cubicBezTo>
                    <a:cubicBezTo>
                      <a:pt x="63" y="60"/>
                      <a:pt x="59" y="67"/>
                      <a:pt x="69" y="69"/>
                    </a:cubicBezTo>
                    <a:cubicBezTo>
                      <a:pt x="71" y="67"/>
                      <a:pt x="72" y="66"/>
                      <a:pt x="74" y="64"/>
                    </a:cubicBezTo>
                    <a:cubicBezTo>
                      <a:pt x="71" y="56"/>
                      <a:pt x="63" y="51"/>
                      <a:pt x="55" y="53"/>
                    </a:cubicBezTo>
                    <a:close/>
                    <a:moveTo>
                      <a:pt x="40" y="46"/>
                    </a:moveTo>
                    <a:cubicBezTo>
                      <a:pt x="40" y="46"/>
                      <a:pt x="39" y="46"/>
                      <a:pt x="39" y="46"/>
                    </a:cubicBezTo>
                    <a:cubicBezTo>
                      <a:pt x="38" y="46"/>
                      <a:pt x="38" y="46"/>
                      <a:pt x="38" y="46"/>
                    </a:cubicBezTo>
                    <a:cubicBezTo>
                      <a:pt x="38" y="45"/>
                      <a:pt x="37" y="45"/>
                      <a:pt x="37" y="44"/>
                    </a:cubicBezTo>
                    <a:cubicBezTo>
                      <a:pt x="39" y="41"/>
                      <a:pt x="42" y="39"/>
                      <a:pt x="44" y="36"/>
                    </a:cubicBezTo>
                    <a:cubicBezTo>
                      <a:pt x="45" y="36"/>
                      <a:pt x="45" y="35"/>
                      <a:pt x="46" y="35"/>
                    </a:cubicBezTo>
                    <a:cubicBezTo>
                      <a:pt x="46" y="35"/>
                      <a:pt x="46" y="35"/>
                      <a:pt x="46" y="35"/>
                    </a:cubicBezTo>
                    <a:cubicBezTo>
                      <a:pt x="44" y="39"/>
                      <a:pt x="42" y="42"/>
                      <a:pt x="40" y="4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18" name="ïşḻíḍe"/>
              <p:cNvSpPr/>
              <p:nvPr/>
            </p:nvSpPr>
            <p:spPr bwMode="auto">
              <a:xfrm>
                <a:off x="1882672" y="4669428"/>
                <a:ext cx="160338" cy="169863"/>
              </a:xfrm>
              <a:custGeom>
                <a:avLst/>
                <a:gdLst>
                  <a:gd name="T0" fmla="*/ 29 w 87"/>
                  <a:gd name="T1" fmla="*/ 8 h 92"/>
                  <a:gd name="T2" fmla="*/ 52 w 87"/>
                  <a:gd name="T3" fmla="*/ 17 h 92"/>
                  <a:gd name="T4" fmla="*/ 61 w 87"/>
                  <a:gd name="T5" fmla="*/ 16 h 92"/>
                  <a:gd name="T6" fmla="*/ 62 w 87"/>
                  <a:gd name="T7" fmla="*/ 17 h 92"/>
                  <a:gd name="T8" fmla="*/ 69 w 87"/>
                  <a:gd name="T9" fmla="*/ 42 h 92"/>
                  <a:gd name="T10" fmla="*/ 86 w 87"/>
                  <a:gd name="T11" fmla="*/ 35 h 92"/>
                  <a:gd name="T12" fmla="*/ 87 w 87"/>
                  <a:gd name="T13" fmla="*/ 39 h 92"/>
                  <a:gd name="T14" fmla="*/ 76 w 87"/>
                  <a:gd name="T15" fmla="*/ 55 h 92"/>
                  <a:gd name="T16" fmla="*/ 67 w 87"/>
                  <a:gd name="T17" fmla="*/ 76 h 92"/>
                  <a:gd name="T18" fmla="*/ 65 w 87"/>
                  <a:gd name="T19" fmla="*/ 74 h 92"/>
                  <a:gd name="T20" fmla="*/ 69 w 87"/>
                  <a:gd name="T21" fmla="*/ 53 h 92"/>
                  <a:gd name="T22" fmla="*/ 55 w 87"/>
                  <a:gd name="T23" fmla="*/ 40 h 92"/>
                  <a:gd name="T24" fmla="*/ 45 w 87"/>
                  <a:gd name="T25" fmla="*/ 44 h 92"/>
                  <a:gd name="T26" fmla="*/ 46 w 87"/>
                  <a:gd name="T27" fmla="*/ 89 h 92"/>
                  <a:gd name="T28" fmla="*/ 38 w 87"/>
                  <a:gd name="T29" fmla="*/ 92 h 92"/>
                  <a:gd name="T30" fmla="*/ 27 w 87"/>
                  <a:gd name="T31" fmla="*/ 68 h 92"/>
                  <a:gd name="T32" fmla="*/ 14 w 87"/>
                  <a:gd name="T33" fmla="*/ 70 h 92"/>
                  <a:gd name="T34" fmla="*/ 12 w 87"/>
                  <a:gd name="T35" fmla="*/ 65 h 92"/>
                  <a:gd name="T36" fmla="*/ 18 w 87"/>
                  <a:gd name="T37" fmla="*/ 58 h 92"/>
                  <a:gd name="T38" fmla="*/ 0 w 87"/>
                  <a:gd name="T39" fmla="*/ 42 h 92"/>
                  <a:gd name="T40" fmla="*/ 0 w 87"/>
                  <a:gd name="T41" fmla="*/ 42 h 92"/>
                  <a:gd name="T42" fmla="*/ 21 w 87"/>
                  <a:gd name="T43" fmla="*/ 39 h 92"/>
                  <a:gd name="T44" fmla="*/ 27 w 87"/>
                  <a:gd name="T45" fmla="*/ 48 h 92"/>
                  <a:gd name="T46" fmla="*/ 34 w 87"/>
                  <a:gd name="T47" fmla="*/ 52 h 92"/>
                  <a:gd name="T48" fmla="*/ 36 w 87"/>
                  <a:gd name="T49" fmla="*/ 62 h 92"/>
                  <a:gd name="T50" fmla="*/ 39 w 87"/>
                  <a:gd name="T51" fmla="*/ 44 h 92"/>
                  <a:gd name="T52" fmla="*/ 46 w 87"/>
                  <a:gd name="T53" fmla="*/ 28 h 92"/>
                  <a:gd name="T54" fmla="*/ 29 w 87"/>
                  <a:gd name="T55" fmla="*/ 8 h 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87" h="92">
                    <a:moveTo>
                      <a:pt x="29" y="8"/>
                    </a:moveTo>
                    <a:cubicBezTo>
                      <a:pt x="42" y="0"/>
                      <a:pt x="43" y="12"/>
                      <a:pt x="52" y="17"/>
                    </a:cubicBezTo>
                    <a:cubicBezTo>
                      <a:pt x="55" y="15"/>
                      <a:pt x="58" y="15"/>
                      <a:pt x="61" y="16"/>
                    </a:cubicBezTo>
                    <a:cubicBezTo>
                      <a:pt x="61" y="16"/>
                      <a:pt x="62" y="17"/>
                      <a:pt x="62" y="17"/>
                    </a:cubicBezTo>
                    <a:cubicBezTo>
                      <a:pt x="62" y="26"/>
                      <a:pt x="58" y="33"/>
                      <a:pt x="69" y="42"/>
                    </a:cubicBezTo>
                    <a:cubicBezTo>
                      <a:pt x="75" y="35"/>
                      <a:pt x="80" y="33"/>
                      <a:pt x="86" y="35"/>
                    </a:cubicBezTo>
                    <a:cubicBezTo>
                      <a:pt x="87" y="36"/>
                      <a:pt x="87" y="38"/>
                      <a:pt x="87" y="39"/>
                    </a:cubicBezTo>
                    <a:cubicBezTo>
                      <a:pt x="83" y="45"/>
                      <a:pt x="80" y="50"/>
                      <a:pt x="76" y="55"/>
                    </a:cubicBezTo>
                    <a:cubicBezTo>
                      <a:pt x="71" y="62"/>
                      <a:pt x="71" y="70"/>
                      <a:pt x="67" y="76"/>
                    </a:cubicBezTo>
                    <a:cubicBezTo>
                      <a:pt x="66" y="75"/>
                      <a:pt x="66" y="75"/>
                      <a:pt x="65" y="74"/>
                    </a:cubicBezTo>
                    <a:cubicBezTo>
                      <a:pt x="63" y="66"/>
                      <a:pt x="67" y="60"/>
                      <a:pt x="69" y="53"/>
                    </a:cubicBezTo>
                    <a:cubicBezTo>
                      <a:pt x="64" y="51"/>
                      <a:pt x="60" y="46"/>
                      <a:pt x="55" y="40"/>
                    </a:cubicBezTo>
                    <a:cubicBezTo>
                      <a:pt x="52" y="42"/>
                      <a:pt x="49" y="41"/>
                      <a:pt x="45" y="44"/>
                    </a:cubicBezTo>
                    <a:cubicBezTo>
                      <a:pt x="40" y="59"/>
                      <a:pt x="48" y="75"/>
                      <a:pt x="46" y="89"/>
                    </a:cubicBezTo>
                    <a:cubicBezTo>
                      <a:pt x="43" y="92"/>
                      <a:pt x="41" y="91"/>
                      <a:pt x="38" y="92"/>
                    </a:cubicBezTo>
                    <a:cubicBezTo>
                      <a:pt x="31" y="83"/>
                      <a:pt x="33" y="76"/>
                      <a:pt x="27" y="68"/>
                    </a:cubicBezTo>
                    <a:cubicBezTo>
                      <a:pt x="23" y="71"/>
                      <a:pt x="18" y="71"/>
                      <a:pt x="14" y="70"/>
                    </a:cubicBezTo>
                    <a:cubicBezTo>
                      <a:pt x="12" y="68"/>
                      <a:pt x="12" y="67"/>
                      <a:pt x="12" y="65"/>
                    </a:cubicBezTo>
                    <a:cubicBezTo>
                      <a:pt x="14" y="63"/>
                      <a:pt x="16" y="60"/>
                      <a:pt x="18" y="58"/>
                    </a:cubicBezTo>
                    <a:cubicBezTo>
                      <a:pt x="13" y="49"/>
                      <a:pt x="3" y="48"/>
                      <a:pt x="0" y="42"/>
                    </a:cubicBezTo>
                    <a:cubicBezTo>
                      <a:pt x="0" y="42"/>
                      <a:pt x="0" y="42"/>
                      <a:pt x="0" y="42"/>
                    </a:cubicBezTo>
                    <a:cubicBezTo>
                      <a:pt x="6" y="39"/>
                      <a:pt x="15" y="35"/>
                      <a:pt x="21" y="39"/>
                    </a:cubicBezTo>
                    <a:cubicBezTo>
                      <a:pt x="23" y="42"/>
                      <a:pt x="25" y="45"/>
                      <a:pt x="27" y="48"/>
                    </a:cubicBezTo>
                    <a:cubicBezTo>
                      <a:pt x="29" y="50"/>
                      <a:pt x="31" y="51"/>
                      <a:pt x="34" y="52"/>
                    </a:cubicBezTo>
                    <a:cubicBezTo>
                      <a:pt x="34" y="55"/>
                      <a:pt x="35" y="58"/>
                      <a:pt x="36" y="62"/>
                    </a:cubicBezTo>
                    <a:cubicBezTo>
                      <a:pt x="39" y="56"/>
                      <a:pt x="38" y="50"/>
                      <a:pt x="39" y="44"/>
                    </a:cubicBezTo>
                    <a:cubicBezTo>
                      <a:pt x="42" y="39"/>
                      <a:pt x="44" y="34"/>
                      <a:pt x="46" y="28"/>
                    </a:cubicBezTo>
                    <a:cubicBezTo>
                      <a:pt x="42" y="22"/>
                      <a:pt x="31" y="15"/>
                      <a:pt x="29" y="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19" name="íṩľíḑè"/>
              <p:cNvSpPr/>
              <p:nvPr/>
            </p:nvSpPr>
            <p:spPr bwMode="auto">
              <a:xfrm>
                <a:off x="2243034" y="6066428"/>
                <a:ext cx="22225" cy="25400"/>
              </a:xfrm>
              <a:custGeom>
                <a:avLst/>
                <a:gdLst>
                  <a:gd name="T0" fmla="*/ 0 w 14"/>
                  <a:gd name="T1" fmla="*/ 12 h 16"/>
                  <a:gd name="T2" fmla="*/ 2 w 14"/>
                  <a:gd name="T3" fmla="*/ 0 h 16"/>
                  <a:gd name="T4" fmla="*/ 14 w 14"/>
                  <a:gd name="T5" fmla="*/ 4 h 16"/>
                  <a:gd name="T6" fmla="*/ 11 w 14"/>
                  <a:gd name="T7" fmla="*/ 16 h 16"/>
                  <a:gd name="T8" fmla="*/ 0 w 14"/>
                  <a:gd name="T9" fmla="*/ 12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4" h="16">
                    <a:moveTo>
                      <a:pt x="0" y="12"/>
                    </a:moveTo>
                    <a:lnTo>
                      <a:pt x="2" y="0"/>
                    </a:lnTo>
                    <a:lnTo>
                      <a:pt x="14" y="4"/>
                    </a:lnTo>
                    <a:lnTo>
                      <a:pt x="11" y="16"/>
                    </a:lnTo>
                    <a:lnTo>
                      <a:pt x="0" y="1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20" name="îṣḷïḓê"/>
              <p:cNvSpPr/>
              <p:nvPr/>
            </p:nvSpPr>
            <p:spPr bwMode="auto">
              <a:xfrm>
                <a:off x="2292247" y="6042615"/>
                <a:ext cx="49213" cy="100013"/>
              </a:xfrm>
              <a:custGeom>
                <a:avLst/>
                <a:gdLst>
                  <a:gd name="T0" fmla="*/ 17 w 27"/>
                  <a:gd name="T1" fmla="*/ 54 h 54"/>
                  <a:gd name="T2" fmla="*/ 7 w 27"/>
                  <a:gd name="T3" fmla="*/ 52 h 54"/>
                  <a:gd name="T4" fmla="*/ 14 w 27"/>
                  <a:gd name="T5" fmla="*/ 15 h 54"/>
                  <a:gd name="T6" fmla="*/ 0 w 27"/>
                  <a:gd name="T7" fmla="*/ 20 h 54"/>
                  <a:gd name="T8" fmla="*/ 1 w 27"/>
                  <a:gd name="T9" fmla="*/ 11 h 54"/>
                  <a:gd name="T10" fmla="*/ 11 w 27"/>
                  <a:gd name="T11" fmla="*/ 7 h 54"/>
                  <a:gd name="T12" fmla="*/ 18 w 27"/>
                  <a:gd name="T13" fmla="*/ 0 h 54"/>
                  <a:gd name="T14" fmla="*/ 27 w 27"/>
                  <a:gd name="T15" fmla="*/ 2 h 54"/>
                  <a:gd name="T16" fmla="*/ 17 w 27"/>
                  <a:gd name="T17" fmla="*/ 54 h 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7" h="54">
                    <a:moveTo>
                      <a:pt x="17" y="54"/>
                    </a:moveTo>
                    <a:cubicBezTo>
                      <a:pt x="7" y="52"/>
                      <a:pt x="7" y="52"/>
                      <a:pt x="7" y="52"/>
                    </a:cubicBezTo>
                    <a:cubicBezTo>
                      <a:pt x="14" y="15"/>
                      <a:pt x="14" y="15"/>
                      <a:pt x="14" y="15"/>
                    </a:cubicBezTo>
                    <a:cubicBezTo>
                      <a:pt x="10" y="17"/>
                      <a:pt x="5" y="19"/>
                      <a:pt x="0" y="20"/>
                    </a:cubicBezTo>
                    <a:cubicBezTo>
                      <a:pt x="1" y="11"/>
                      <a:pt x="1" y="11"/>
                      <a:pt x="1" y="11"/>
                    </a:cubicBezTo>
                    <a:cubicBezTo>
                      <a:pt x="4" y="10"/>
                      <a:pt x="7" y="9"/>
                      <a:pt x="11" y="7"/>
                    </a:cubicBezTo>
                    <a:cubicBezTo>
                      <a:pt x="14" y="6"/>
                      <a:pt x="17" y="3"/>
                      <a:pt x="18" y="0"/>
                    </a:cubicBezTo>
                    <a:cubicBezTo>
                      <a:pt x="27" y="2"/>
                      <a:pt x="27" y="2"/>
                      <a:pt x="27" y="2"/>
                    </a:cubicBezTo>
                    <a:lnTo>
                      <a:pt x="17" y="5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21" name="i$ḻîḓé"/>
              <p:cNvSpPr/>
              <p:nvPr/>
            </p:nvSpPr>
            <p:spPr bwMode="auto">
              <a:xfrm>
                <a:off x="2363684" y="6052140"/>
                <a:ext cx="66675" cy="100013"/>
              </a:xfrm>
              <a:custGeom>
                <a:avLst/>
                <a:gdLst>
                  <a:gd name="T0" fmla="*/ 0 w 36"/>
                  <a:gd name="T1" fmla="*/ 40 h 54"/>
                  <a:gd name="T2" fmla="*/ 10 w 36"/>
                  <a:gd name="T3" fmla="*/ 39 h 54"/>
                  <a:gd name="T4" fmla="*/ 11 w 36"/>
                  <a:gd name="T5" fmla="*/ 44 h 54"/>
                  <a:gd name="T6" fmla="*/ 15 w 36"/>
                  <a:gd name="T7" fmla="*/ 46 h 54"/>
                  <a:gd name="T8" fmla="*/ 21 w 36"/>
                  <a:gd name="T9" fmla="*/ 43 h 54"/>
                  <a:gd name="T10" fmla="*/ 24 w 36"/>
                  <a:gd name="T11" fmla="*/ 31 h 54"/>
                  <a:gd name="T12" fmla="*/ 15 w 36"/>
                  <a:gd name="T13" fmla="*/ 35 h 54"/>
                  <a:gd name="T14" fmla="*/ 4 w 36"/>
                  <a:gd name="T15" fmla="*/ 30 h 54"/>
                  <a:gd name="T16" fmla="*/ 0 w 36"/>
                  <a:gd name="T17" fmla="*/ 17 h 54"/>
                  <a:gd name="T18" fmla="*/ 6 w 36"/>
                  <a:gd name="T19" fmla="*/ 4 h 54"/>
                  <a:gd name="T20" fmla="*/ 19 w 36"/>
                  <a:gd name="T21" fmla="*/ 0 h 54"/>
                  <a:gd name="T22" fmla="*/ 31 w 36"/>
                  <a:gd name="T23" fmla="*/ 7 h 54"/>
                  <a:gd name="T24" fmla="*/ 35 w 36"/>
                  <a:gd name="T25" fmla="*/ 28 h 54"/>
                  <a:gd name="T26" fmla="*/ 28 w 36"/>
                  <a:gd name="T27" fmla="*/ 49 h 54"/>
                  <a:gd name="T28" fmla="*/ 14 w 36"/>
                  <a:gd name="T29" fmla="*/ 54 h 54"/>
                  <a:gd name="T30" fmla="*/ 4 w 36"/>
                  <a:gd name="T31" fmla="*/ 50 h 54"/>
                  <a:gd name="T32" fmla="*/ 0 w 36"/>
                  <a:gd name="T33" fmla="*/ 40 h 54"/>
                  <a:gd name="T34" fmla="*/ 24 w 36"/>
                  <a:gd name="T35" fmla="*/ 19 h 54"/>
                  <a:gd name="T36" fmla="*/ 23 w 36"/>
                  <a:gd name="T37" fmla="*/ 11 h 54"/>
                  <a:gd name="T38" fmla="*/ 18 w 36"/>
                  <a:gd name="T39" fmla="*/ 8 h 54"/>
                  <a:gd name="T40" fmla="*/ 13 w 36"/>
                  <a:gd name="T41" fmla="*/ 10 h 54"/>
                  <a:gd name="T42" fmla="*/ 10 w 36"/>
                  <a:gd name="T43" fmla="*/ 17 h 54"/>
                  <a:gd name="T44" fmla="*/ 12 w 36"/>
                  <a:gd name="T45" fmla="*/ 25 h 54"/>
                  <a:gd name="T46" fmla="*/ 17 w 36"/>
                  <a:gd name="T47" fmla="*/ 28 h 54"/>
                  <a:gd name="T48" fmla="*/ 22 w 36"/>
                  <a:gd name="T49" fmla="*/ 26 h 54"/>
                  <a:gd name="T50" fmla="*/ 24 w 36"/>
                  <a:gd name="T51" fmla="*/ 19 h 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6" h="54">
                    <a:moveTo>
                      <a:pt x="0" y="40"/>
                    </a:moveTo>
                    <a:cubicBezTo>
                      <a:pt x="10" y="39"/>
                      <a:pt x="10" y="39"/>
                      <a:pt x="10" y="39"/>
                    </a:cubicBezTo>
                    <a:cubicBezTo>
                      <a:pt x="10" y="41"/>
                      <a:pt x="10" y="43"/>
                      <a:pt x="11" y="44"/>
                    </a:cubicBezTo>
                    <a:cubicBezTo>
                      <a:pt x="12" y="45"/>
                      <a:pt x="14" y="46"/>
                      <a:pt x="15" y="46"/>
                    </a:cubicBezTo>
                    <a:cubicBezTo>
                      <a:pt x="17" y="46"/>
                      <a:pt x="19" y="45"/>
                      <a:pt x="21" y="43"/>
                    </a:cubicBezTo>
                    <a:cubicBezTo>
                      <a:pt x="22" y="41"/>
                      <a:pt x="24" y="37"/>
                      <a:pt x="24" y="31"/>
                    </a:cubicBezTo>
                    <a:cubicBezTo>
                      <a:pt x="22" y="34"/>
                      <a:pt x="18" y="35"/>
                      <a:pt x="15" y="35"/>
                    </a:cubicBezTo>
                    <a:cubicBezTo>
                      <a:pt x="10" y="35"/>
                      <a:pt x="7" y="33"/>
                      <a:pt x="4" y="30"/>
                    </a:cubicBezTo>
                    <a:cubicBezTo>
                      <a:pt x="1" y="26"/>
                      <a:pt x="0" y="22"/>
                      <a:pt x="0" y="17"/>
                    </a:cubicBezTo>
                    <a:cubicBezTo>
                      <a:pt x="1" y="11"/>
                      <a:pt x="3" y="7"/>
                      <a:pt x="6" y="4"/>
                    </a:cubicBezTo>
                    <a:cubicBezTo>
                      <a:pt x="10" y="1"/>
                      <a:pt x="14" y="0"/>
                      <a:pt x="19" y="0"/>
                    </a:cubicBezTo>
                    <a:cubicBezTo>
                      <a:pt x="24" y="0"/>
                      <a:pt x="28" y="3"/>
                      <a:pt x="31" y="7"/>
                    </a:cubicBezTo>
                    <a:cubicBezTo>
                      <a:pt x="35" y="12"/>
                      <a:pt x="36" y="19"/>
                      <a:pt x="35" y="28"/>
                    </a:cubicBezTo>
                    <a:cubicBezTo>
                      <a:pt x="34" y="38"/>
                      <a:pt x="32" y="44"/>
                      <a:pt x="28" y="49"/>
                    </a:cubicBezTo>
                    <a:cubicBezTo>
                      <a:pt x="24" y="53"/>
                      <a:pt x="20" y="54"/>
                      <a:pt x="14" y="54"/>
                    </a:cubicBezTo>
                    <a:cubicBezTo>
                      <a:pt x="10" y="54"/>
                      <a:pt x="7" y="52"/>
                      <a:pt x="4" y="50"/>
                    </a:cubicBezTo>
                    <a:cubicBezTo>
                      <a:pt x="2" y="48"/>
                      <a:pt x="0" y="44"/>
                      <a:pt x="0" y="40"/>
                    </a:cubicBezTo>
                    <a:close/>
                    <a:moveTo>
                      <a:pt x="24" y="19"/>
                    </a:moveTo>
                    <a:cubicBezTo>
                      <a:pt x="25" y="16"/>
                      <a:pt x="24" y="13"/>
                      <a:pt x="23" y="11"/>
                    </a:cubicBezTo>
                    <a:cubicBezTo>
                      <a:pt x="21" y="10"/>
                      <a:pt x="20" y="9"/>
                      <a:pt x="18" y="8"/>
                    </a:cubicBezTo>
                    <a:cubicBezTo>
                      <a:pt x="16" y="8"/>
                      <a:pt x="14" y="9"/>
                      <a:pt x="13" y="10"/>
                    </a:cubicBezTo>
                    <a:cubicBezTo>
                      <a:pt x="11" y="12"/>
                      <a:pt x="11" y="14"/>
                      <a:pt x="10" y="17"/>
                    </a:cubicBezTo>
                    <a:cubicBezTo>
                      <a:pt x="10" y="21"/>
                      <a:pt x="11" y="23"/>
                      <a:pt x="12" y="25"/>
                    </a:cubicBezTo>
                    <a:cubicBezTo>
                      <a:pt x="13" y="27"/>
                      <a:pt x="15" y="28"/>
                      <a:pt x="17" y="28"/>
                    </a:cubicBezTo>
                    <a:cubicBezTo>
                      <a:pt x="19" y="28"/>
                      <a:pt x="20" y="27"/>
                      <a:pt x="22" y="26"/>
                    </a:cubicBezTo>
                    <a:cubicBezTo>
                      <a:pt x="23" y="24"/>
                      <a:pt x="24" y="22"/>
                      <a:pt x="24" y="1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22" name="îṧľîḋé"/>
              <p:cNvSpPr/>
              <p:nvPr/>
            </p:nvSpPr>
            <p:spPr bwMode="auto">
              <a:xfrm>
                <a:off x="2446234" y="6053728"/>
                <a:ext cx="66675" cy="100013"/>
              </a:xfrm>
              <a:custGeom>
                <a:avLst/>
                <a:gdLst>
                  <a:gd name="T0" fmla="*/ 0 w 36"/>
                  <a:gd name="T1" fmla="*/ 40 h 54"/>
                  <a:gd name="T2" fmla="*/ 10 w 36"/>
                  <a:gd name="T3" fmla="*/ 39 h 54"/>
                  <a:gd name="T4" fmla="*/ 13 w 36"/>
                  <a:gd name="T5" fmla="*/ 44 h 54"/>
                  <a:gd name="T6" fmla="*/ 18 w 36"/>
                  <a:gd name="T7" fmla="*/ 46 h 54"/>
                  <a:gd name="T8" fmla="*/ 23 w 36"/>
                  <a:gd name="T9" fmla="*/ 43 h 54"/>
                  <a:gd name="T10" fmla="*/ 25 w 36"/>
                  <a:gd name="T11" fmla="*/ 35 h 54"/>
                  <a:gd name="T12" fmla="*/ 23 w 36"/>
                  <a:gd name="T13" fmla="*/ 28 h 54"/>
                  <a:gd name="T14" fmla="*/ 17 w 36"/>
                  <a:gd name="T15" fmla="*/ 26 h 54"/>
                  <a:gd name="T16" fmla="*/ 9 w 36"/>
                  <a:gd name="T17" fmla="*/ 30 h 54"/>
                  <a:gd name="T18" fmla="*/ 1 w 36"/>
                  <a:gd name="T19" fmla="*/ 29 h 54"/>
                  <a:gd name="T20" fmla="*/ 5 w 36"/>
                  <a:gd name="T21" fmla="*/ 1 h 54"/>
                  <a:gd name="T22" fmla="*/ 32 w 36"/>
                  <a:gd name="T23" fmla="*/ 0 h 54"/>
                  <a:gd name="T24" fmla="*/ 32 w 36"/>
                  <a:gd name="T25" fmla="*/ 10 h 54"/>
                  <a:gd name="T26" fmla="*/ 13 w 36"/>
                  <a:gd name="T27" fmla="*/ 10 h 54"/>
                  <a:gd name="T28" fmla="*/ 12 w 36"/>
                  <a:gd name="T29" fmla="*/ 19 h 54"/>
                  <a:gd name="T30" fmla="*/ 19 w 36"/>
                  <a:gd name="T31" fmla="*/ 17 h 54"/>
                  <a:gd name="T32" fmla="*/ 30 w 36"/>
                  <a:gd name="T33" fmla="*/ 22 h 54"/>
                  <a:gd name="T34" fmla="*/ 36 w 36"/>
                  <a:gd name="T35" fmla="*/ 34 h 54"/>
                  <a:gd name="T36" fmla="*/ 32 w 36"/>
                  <a:gd name="T37" fmla="*/ 46 h 54"/>
                  <a:gd name="T38" fmla="*/ 18 w 36"/>
                  <a:gd name="T39" fmla="*/ 54 h 54"/>
                  <a:gd name="T40" fmla="*/ 6 w 36"/>
                  <a:gd name="T41" fmla="*/ 50 h 54"/>
                  <a:gd name="T42" fmla="*/ 0 w 36"/>
                  <a:gd name="T43" fmla="*/ 40 h 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36" h="54">
                    <a:moveTo>
                      <a:pt x="0" y="40"/>
                    </a:moveTo>
                    <a:cubicBezTo>
                      <a:pt x="10" y="39"/>
                      <a:pt x="10" y="39"/>
                      <a:pt x="10" y="39"/>
                    </a:cubicBezTo>
                    <a:cubicBezTo>
                      <a:pt x="11" y="41"/>
                      <a:pt x="11" y="43"/>
                      <a:pt x="13" y="44"/>
                    </a:cubicBezTo>
                    <a:cubicBezTo>
                      <a:pt x="14" y="45"/>
                      <a:pt x="16" y="46"/>
                      <a:pt x="18" y="46"/>
                    </a:cubicBezTo>
                    <a:cubicBezTo>
                      <a:pt x="20" y="46"/>
                      <a:pt x="22" y="45"/>
                      <a:pt x="23" y="43"/>
                    </a:cubicBezTo>
                    <a:cubicBezTo>
                      <a:pt x="25" y="41"/>
                      <a:pt x="25" y="38"/>
                      <a:pt x="25" y="35"/>
                    </a:cubicBezTo>
                    <a:cubicBezTo>
                      <a:pt x="25" y="32"/>
                      <a:pt x="24" y="29"/>
                      <a:pt x="23" y="28"/>
                    </a:cubicBezTo>
                    <a:cubicBezTo>
                      <a:pt x="21" y="26"/>
                      <a:pt x="19" y="25"/>
                      <a:pt x="17" y="26"/>
                    </a:cubicBezTo>
                    <a:cubicBezTo>
                      <a:pt x="14" y="26"/>
                      <a:pt x="11" y="27"/>
                      <a:pt x="9" y="30"/>
                    </a:cubicBezTo>
                    <a:cubicBezTo>
                      <a:pt x="1" y="29"/>
                      <a:pt x="1" y="29"/>
                      <a:pt x="1" y="29"/>
                    </a:cubicBezTo>
                    <a:cubicBezTo>
                      <a:pt x="5" y="1"/>
                      <a:pt x="5" y="1"/>
                      <a:pt x="5" y="1"/>
                    </a:cubicBezTo>
                    <a:cubicBezTo>
                      <a:pt x="32" y="0"/>
                      <a:pt x="32" y="0"/>
                      <a:pt x="32" y="0"/>
                    </a:cubicBezTo>
                    <a:cubicBezTo>
                      <a:pt x="32" y="10"/>
                      <a:pt x="32" y="10"/>
                      <a:pt x="32" y="10"/>
                    </a:cubicBezTo>
                    <a:cubicBezTo>
                      <a:pt x="13" y="10"/>
                      <a:pt x="13" y="10"/>
                      <a:pt x="13" y="10"/>
                    </a:cubicBezTo>
                    <a:cubicBezTo>
                      <a:pt x="12" y="19"/>
                      <a:pt x="12" y="19"/>
                      <a:pt x="12" y="19"/>
                    </a:cubicBezTo>
                    <a:cubicBezTo>
                      <a:pt x="14" y="18"/>
                      <a:pt x="16" y="17"/>
                      <a:pt x="19" y="17"/>
                    </a:cubicBezTo>
                    <a:cubicBezTo>
                      <a:pt x="23" y="17"/>
                      <a:pt x="27" y="19"/>
                      <a:pt x="30" y="22"/>
                    </a:cubicBezTo>
                    <a:cubicBezTo>
                      <a:pt x="34" y="25"/>
                      <a:pt x="35" y="29"/>
                      <a:pt x="36" y="34"/>
                    </a:cubicBezTo>
                    <a:cubicBezTo>
                      <a:pt x="36" y="39"/>
                      <a:pt x="35" y="43"/>
                      <a:pt x="32" y="46"/>
                    </a:cubicBezTo>
                    <a:cubicBezTo>
                      <a:pt x="29" y="51"/>
                      <a:pt x="24" y="54"/>
                      <a:pt x="18" y="54"/>
                    </a:cubicBezTo>
                    <a:cubicBezTo>
                      <a:pt x="13" y="54"/>
                      <a:pt x="9" y="53"/>
                      <a:pt x="6" y="50"/>
                    </a:cubicBezTo>
                    <a:cubicBezTo>
                      <a:pt x="3" y="48"/>
                      <a:pt x="1" y="44"/>
                      <a:pt x="0" y="4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23" name="i$ḻïḑê"/>
              <p:cNvSpPr/>
              <p:nvPr/>
            </p:nvSpPr>
            <p:spPr bwMode="auto">
              <a:xfrm>
                <a:off x="2522434" y="6045790"/>
                <a:ext cx="74613" cy="103188"/>
              </a:xfrm>
              <a:custGeom>
                <a:avLst/>
                <a:gdLst>
                  <a:gd name="T0" fmla="*/ 39 w 40"/>
                  <a:gd name="T1" fmla="*/ 42 h 56"/>
                  <a:gd name="T2" fmla="*/ 40 w 40"/>
                  <a:gd name="T3" fmla="*/ 51 h 56"/>
                  <a:gd name="T4" fmla="*/ 5 w 40"/>
                  <a:gd name="T5" fmla="*/ 56 h 56"/>
                  <a:gd name="T6" fmla="*/ 7 w 40"/>
                  <a:gd name="T7" fmla="*/ 46 h 56"/>
                  <a:gd name="T8" fmla="*/ 16 w 40"/>
                  <a:gd name="T9" fmla="*/ 32 h 56"/>
                  <a:gd name="T10" fmla="*/ 23 w 40"/>
                  <a:gd name="T11" fmla="*/ 22 h 56"/>
                  <a:gd name="T12" fmla="*/ 24 w 40"/>
                  <a:gd name="T13" fmla="*/ 15 h 56"/>
                  <a:gd name="T14" fmla="*/ 22 w 40"/>
                  <a:gd name="T15" fmla="*/ 10 h 56"/>
                  <a:gd name="T16" fmla="*/ 17 w 40"/>
                  <a:gd name="T17" fmla="*/ 9 h 56"/>
                  <a:gd name="T18" fmla="*/ 12 w 40"/>
                  <a:gd name="T19" fmla="*/ 12 h 56"/>
                  <a:gd name="T20" fmla="*/ 11 w 40"/>
                  <a:gd name="T21" fmla="*/ 19 h 56"/>
                  <a:gd name="T22" fmla="*/ 1 w 40"/>
                  <a:gd name="T23" fmla="*/ 19 h 56"/>
                  <a:gd name="T24" fmla="*/ 4 w 40"/>
                  <a:gd name="T25" fmla="*/ 6 h 56"/>
                  <a:gd name="T26" fmla="*/ 16 w 40"/>
                  <a:gd name="T27" fmla="*/ 1 h 56"/>
                  <a:gd name="T28" fmla="*/ 28 w 40"/>
                  <a:gd name="T29" fmla="*/ 3 h 56"/>
                  <a:gd name="T30" fmla="*/ 34 w 40"/>
                  <a:gd name="T31" fmla="*/ 13 h 56"/>
                  <a:gd name="T32" fmla="*/ 34 w 40"/>
                  <a:gd name="T33" fmla="*/ 20 h 56"/>
                  <a:gd name="T34" fmla="*/ 31 w 40"/>
                  <a:gd name="T35" fmla="*/ 27 h 56"/>
                  <a:gd name="T36" fmla="*/ 26 w 40"/>
                  <a:gd name="T37" fmla="*/ 35 h 56"/>
                  <a:gd name="T38" fmla="*/ 20 w 40"/>
                  <a:gd name="T39" fmla="*/ 42 h 56"/>
                  <a:gd name="T40" fmla="*/ 19 w 40"/>
                  <a:gd name="T41" fmla="*/ 45 h 56"/>
                  <a:gd name="T42" fmla="*/ 39 w 40"/>
                  <a:gd name="T43" fmla="*/ 42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40" h="56">
                    <a:moveTo>
                      <a:pt x="39" y="42"/>
                    </a:moveTo>
                    <a:cubicBezTo>
                      <a:pt x="40" y="51"/>
                      <a:pt x="40" y="51"/>
                      <a:pt x="40" y="51"/>
                    </a:cubicBezTo>
                    <a:cubicBezTo>
                      <a:pt x="5" y="56"/>
                      <a:pt x="5" y="56"/>
                      <a:pt x="5" y="56"/>
                    </a:cubicBezTo>
                    <a:cubicBezTo>
                      <a:pt x="5" y="53"/>
                      <a:pt x="5" y="49"/>
                      <a:pt x="7" y="46"/>
                    </a:cubicBezTo>
                    <a:cubicBezTo>
                      <a:pt x="8" y="42"/>
                      <a:pt x="11" y="38"/>
                      <a:pt x="16" y="32"/>
                    </a:cubicBezTo>
                    <a:cubicBezTo>
                      <a:pt x="20" y="27"/>
                      <a:pt x="22" y="23"/>
                      <a:pt x="23" y="22"/>
                    </a:cubicBezTo>
                    <a:cubicBezTo>
                      <a:pt x="24" y="19"/>
                      <a:pt x="25" y="17"/>
                      <a:pt x="24" y="15"/>
                    </a:cubicBezTo>
                    <a:cubicBezTo>
                      <a:pt x="24" y="13"/>
                      <a:pt x="23" y="11"/>
                      <a:pt x="22" y="10"/>
                    </a:cubicBezTo>
                    <a:cubicBezTo>
                      <a:pt x="21" y="9"/>
                      <a:pt x="19" y="9"/>
                      <a:pt x="17" y="9"/>
                    </a:cubicBezTo>
                    <a:cubicBezTo>
                      <a:pt x="15" y="10"/>
                      <a:pt x="13" y="11"/>
                      <a:pt x="12" y="12"/>
                    </a:cubicBezTo>
                    <a:cubicBezTo>
                      <a:pt x="11" y="13"/>
                      <a:pt x="10" y="16"/>
                      <a:pt x="11" y="19"/>
                    </a:cubicBezTo>
                    <a:cubicBezTo>
                      <a:pt x="1" y="19"/>
                      <a:pt x="1" y="19"/>
                      <a:pt x="1" y="19"/>
                    </a:cubicBezTo>
                    <a:cubicBezTo>
                      <a:pt x="0" y="13"/>
                      <a:pt x="2" y="9"/>
                      <a:pt x="4" y="6"/>
                    </a:cubicBezTo>
                    <a:cubicBezTo>
                      <a:pt x="7" y="3"/>
                      <a:pt x="11" y="2"/>
                      <a:pt x="16" y="1"/>
                    </a:cubicBezTo>
                    <a:cubicBezTo>
                      <a:pt x="21" y="0"/>
                      <a:pt x="25" y="1"/>
                      <a:pt x="28" y="3"/>
                    </a:cubicBezTo>
                    <a:cubicBezTo>
                      <a:pt x="32" y="6"/>
                      <a:pt x="34" y="9"/>
                      <a:pt x="34" y="13"/>
                    </a:cubicBezTo>
                    <a:cubicBezTo>
                      <a:pt x="35" y="15"/>
                      <a:pt x="35" y="18"/>
                      <a:pt x="34" y="20"/>
                    </a:cubicBezTo>
                    <a:cubicBezTo>
                      <a:pt x="34" y="22"/>
                      <a:pt x="33" y="25"/>
                      <a:pt x="31" y="27"/>
                    </a:cubicBezTo>
                    <a:cubicBezTo>
                      <a:pt x="30" y="29"/>
                      <a:pt x="28" y="32"/>
                      <a:pt x="26" y="35"/>
                    </a:cubicBezTo>
                    <a:cubicBezTo>
                      <a:pt x="23" y="38"/>
                      <a:pt x="21" y="41"/>
                      <a:pt x="20" y="42"/>
                    </a:cubicBezTo>
                    <a:cubicBezTo>
                      <a:pt x="20" y="43"/>
                      <a:pt x="19" y="44"/>
                      <a:pt x="19" y="45"/>
                    </a:cubicBezTo>
                    <a:lnTo>
                      <a:pt x="39" y="4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24" name="íṧlíḍe"/>
              <p:cNvSpPr/>
              <p:nvPr/>
            </p:nvSpPr>
            <p:spPr bwMode="auto">
              <a:xfrm>
                <a:off x="2611334" y="6072778"/>
                <a:ext cx="22225" cy="23813"/>
              </a:xfrm>
              <a:custGeom>
                <a:avLst/>
                <a:gdLst>
                  <a:gd name="T0" fmla="*/ 3 w 14"/>
                  <a:gd name="T1" fmla="*/ 15 h 15"/>
                  <a:gd name="T2" fmla="*/ 0 w 14"/>
                  <a:gd name="T3" fmla="*/ 3 h 15"/>
                  <a:gd name="T4" fmla="*/ 11 w 14"/>
                  <a:gd name="T5" fmla="*/ 0 h 15"/>
                  <a:gd name="T6" fmla="*/ 14 w 14"/>
                  <a:gd name="T7" fmla="*/ 12 h 15"/>
                  <a:gd name="T8" fmla="*/ 3 w 14"/>
                  <a:gd name="T9" fmla="*/ 15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4" h="15">
                    <a:moveTo>
                      <a:pt x="3" y="15"/>
                    </a:moveTo>
                    <a:lnTo>
                      <a:pt x="0" y="3"/>
                    </a:lnTo>
                    <a:lnTo>
                      <a:pt x="11" y="0"/>
                    </a:lnTo>
                    <a:lnTo>
                      <a:pt x="14" y="12"/>
                    </a:lnTo>
                    <a:lnTo>
                      <a:pt x="3" y="1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25" name="îŝľîḓê"/>
              <p:cNvSpPr/>
              <p:nvPr/>
            </p:nvSpPr>
            <p:spPr bwMode="auto">
              <a:xfrm>
                <a:off x="2108097" y="5261565"/>
                <a:ext cx="141288" cy="257175"/>
              </a:xfrm>
              <a:custGeom>
                <a:avLst/>
                <a:gdLst>
                  <a:gd name="T0" fmla="*/ 12 w 77"/>
                  <a:gd name="T1" fmla="*/ 25 h 139"/>
                  <a:gd name="T2" fmla="*/ 9 w 77"/>
                  <a:gd name="T3" fmla="*/ 21 h 139"/>
                  <a:gd name="T4" fmla="*/ 12 w 77"/>
                  <a:gd name="T5" fmla="*/ 17 h 139"/>
                  <a:gd name="T6" fmla="*/ 39 w 77"/>
                  <a:gd name="T7" fmla="*/ 21 h 139"/>
                  <a:gd name="T8" fmla="*/ 46 w 77"/>
                  <a:gd name="T9" fmla="*/ 36 h 139"/>
                  <a:gd name="T10" fmla="*/ 46 w 77"/>
                  <a:gd name="T11" fmla="*/ 39 h 139"/>
                  <a:gd name="T12" fmla="*/ 61 w 77"/>
                  <a:gd name="T13" fmla="*/ 33 h 139"/>
                  <a:gd name="T14" fmla="*/ 57 w 77"/>
                  <a:gd name="T15" fmla="*/ 16 h 139"/>
                  <a:gd name="T16" fmla="*/ 35 w 77"/>
                  <a:gd name="T17" fmla="*/ 9 h 139"/>
                  <a:gd name="T18" fmla="*/ 27 w 77"/>
                  <a:gd name="T19" fmla="*/ 3 h 139"/>
                  <a:gd name="T20" fmla="*/ 32 w 77"/>
                  <a:gd name="T21" fmla="*/ 0 h 139"/>
                  <a:gd name="T22" fmla="*/ 61 w 77"/>
                  <a:gd name="T23" fmla="*/ 9 h 139"/>
                  <a:gd name="T24" fmla="*/ 72 w 77"/>
                  <a:gd name="T25" fmla="*/ 30 h 139"/>
                  <a:gd name="T26" fmla="*/ 48 w 77"/>
                  <a:gd name="T27" fmla="*/ 45 h 139"/>
                  <a:gd name="T28" fmla="*/ 45 w 77"/>
                  <a:gd name="T29" fmla="*/ 46 h 139"/>
                  <a:gd name="T30" fmla="*/ 45 w 77"/>
                  <a:gd name="T31" fmla="*/ 54 h 139"/>
                  <a:gd name="T32" fmla="*/ 59 w 77"/>
                  <a:gd name="T33" fmla="*/ 61 h 139"/>
                  <a:gd name="T34" fmla="*/ 77 w 77"/>
                  <a:gd name="T35" fmla="*/ 80 h 139"/>
                  <a:gd name="T36" fmla="*/ 75 w 77"/>
                  <a:gd name="T37" fmla="*/ 84 h 139"/>
                  <a:gd name="T38" fmla="*/ 71 w 77"/>
                  <a:gd name="T39" fmla="*/ 83 h 139"/>
                  <a:gd name="T40" fmla="*/ 59 w 77"/>
                  <a:gd name="T41" fmla="*/ 70 h 139"/>
                  <a:gd name="T42" fmla="*/ 45 w 77"/>
                  <a:gd name="T43" fmla="*/ 63 h 139"/>
                  <a:gd name="T44" fmla="*/ 45 w 77"/>
                  <a:gd name="T45" fmla="*/ 77 h 139"/>
                  <a:gd name="T46" fmla="*/ 53 w 77"/>
                  <a:gd name="T47" fmla="*/ 83 h 139"/>
                  <a:gd name="T48" fmla="*/ 66 w 77"/>
                  <a:gd name="T49" fmla="*/ 102 h 139"/>
                  <a:gd name="T50" fmla="*/ 72 w 77"/>
                  <a:gd name="T51" fmla="*/ 121 h 139"/>
                  <a:gd name="T52" fmla="*/ 70 w 77"/>
                  <a:gd name="T53" fmla="*/ 124 h 139"/>
                  <a:gd name="T54" fmla="*/ 67 w 77"/>
                  <a:gd name="T55" fmla="*/ 122 h 139"/>
                  <a:gd name="T56" fmla="*/ 64 w 77"/>
                  <a:gd name="T57" fmla="*/ 115 h 139"/>
                  <a:gd name="T58" fmla="*/ 55 w 77"/>
                  <a:gd name="T59" fmla="*/ 97 h 139"/>
                  <a:gd name="T60" fmla="*/ 45 w 77"/>
                  <a:gd name="T61" fmla="*/ 87 h 139"/>
                  <a:gd name="T62" fmla="*/ 45 w 77"/>
                  <a:gd name="T63" fmla="*/ 102 h 139"/>
                  <a:gd name="T64" fmla="*/ 44 w 77"/>
                  <a:gd name="T65" fmla="*/ 136 h 139"/>
                  <a:gd name="T66" fmla="*/ 41 w 77"/>
                  <a:gd name="T67" fmla="*/ 139 h 139"/>
                  <a:gd name="T68" fmla="*/ 38 w 77"/>
                  <a:gd name="T69" fmla="*/ 137 h 139"/>
                  <a:gd name="T70" fmla="*/ 37 w 77"/>
                  <a:gd name="T71" fmla="*/ 103 h 139"/>
                  <a:gd name="T72" fmla="*/ 37 w 77"/>
                  <a:gd name="T73" fmla="*/ 86 h 139"/>
                  <a:gd name="T74" fmla="*/ 28 w 77"/>
                  <a:gd name="T75" fmla="*/ 92 h 139"/>
                  <a:gd name="T76" fmla="*/ 19 w 77"/>
                  <a:gd name="T77" fmla="*/ 109 h 139"/>
                  <a:gd name="T78" fmla="*/ 12 w 77"/>
                  <a:gd name="T79" fmla="*/ 121 h 139"/>
                  <a:gd name="T80" fmla="*/ 8 w 77"/>
                  <a:gd name="T81" fmla="*/ 122 h 139"/>
                  <a:gd name="T82" fmla="*/ 7 w 77"/>
                  <a:gd name="T83" fmla="*/ 120 h 139"/>
                  <a:gd name="T84" fmla="*/ 8 w 77"/>
                  <a:gd name="T85" fmla="*/ 117 h 139"/>
                  <a:gd name="T86" fmla="*/ 11 w 77"/>
                  <a:gd name="T87" fmla="*/ 106 h 139"/>
                  <a:gd name="T88" fmla="*/ 22 w 77"/>
                  <a:gd name="T89" fmla="*/ 86 h 139"/>
                  <a:gd name="T90" fmla="*/ 37 w 77"/>
                  <a:gd name="T91" fmla="*/ 76 h 139"/>
                  <a:gd name="T92" fmla="*/ 37 w 77"/>
                  <a:gd name="T93" fmla="*/ 68 h 139"/>
                  <a:gd name="T94" fmla="*/ 37 w 77"/>
                  <a:gd name="T95" fmla="*/ 63 h 139"/>
                  <a:gd name="T96" fmla="*/ 24 w 77"/>
                  <a:gd name="T97" fmla="*/ 69 h 139"/>
                  <a:gd name="T98" fmla="*/ 16 w 77"/>
                  <a:gd name="T99" fmla="*/ 77 h 139"/>
                  <a:gd name="T100" fmla="*/ 9 w 77"/>
                  <a:gd name="T101" fmla="*/ 85 h 139"/>
                  <a:gd name="T102" fmla="*/ 6 w 77"/>
                  <a:gd name="T103" fmla="*/ 86 h 139"/>
                  <a:gd name="T104" fmla="*/ 5 w 77"/>
                  <a:gd name="T105" fmla="*/ 82 h 139"/>
                  <a:gd name="T106" fmla="*/ 22 w 77"/>
                  <a:gd name="T107" fmla="*/ 60 h 139"/>
                  <a:gd name="T108" fmla="*/ 37 w 77"/>
                  <a:gd name="T109" fmla="*/ 54 h 139"/>
                  <a:gd name="T110" fmla="*/ 37 w 77"/>
                  <a:gd name="T111" fmla="*/ 47 h 139"/>
                  <a:gd name="T112" fmla="*/ 3 w 77"/>
                  <a:gd name="T113" fmla="*/ 45 h 139"/>
                  <a:gd name="T114" fmla="*/ 0 w 77"/>
                  <a:gd name="T115" fmla="*/ 40 h 139"/>
                  <a:gd name="T116" fmla="*/ 5 w 77"/>
                  <a:gd name="T117" fmla="*/ 38 h 139"/>
                  <a:gd name="T118" fmla="*/ 37 w 77"/>
                  <a:gd name="T119" fmla="*/ 39 h 139"/>
                  <a:gd name="T120" fmla="*/ 37 w 77"/>
                  <a:gd name="T121" fmla="*/ 39 h 139"/>
                  <a:gd name="T122" fmla="*/ 33 w 77"/>
                  <a:gd name="T123" fmla="*/ 28 h 139"/>
                  <a:gd name="T124" fmla="*/ 12 w 77"/>
                  <a:gd name="T125" fmla="*/ 25 h 1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77" h="139">
                    <a:moveTo>
                      <a:pt x="12" y="25"/>
                    </a:moveTo>
                    <a:cubicBezTo>
                      <a:pt x="10" y="25"/>
                      <a:pt x="9" y="24"/>
                      <a:pt x="9" y="21"/>
                    </a:cubicBezTo>
                    <a:cubicBezTo>
                      <a:pt x="9" y="18"/>
                      <a:pt x="10" y="17"/>
                      <a:pt x="12" y="17"/>
                    </a:cubicBezTo>
                    <a:cubicBezTo>
                      <a:pt x="24" y="17"/>
                      <a:pt x="33" y="18"/>
                      <a:pt x="39" y="21"/>
                    </a:cubicBezTo>
                    <a:cubicBezTo>
                      <a:pt x="45" y="24"/>
                      <a:pt x="47" y="28"/>
                      <a:pt x="46" y="36"/>
                    </a:cubicBezTo>
                    <a:cubicBezTo>
                      <a:pt x="46" y="37"/>
                      <a:pt x="46" y="38"/>
                      <a:pt x="46" y="39"/>
                    </a:cubicBezTo>
                    <a:cubicBezTo>
                      <a:pt x="53" y="38"/>
                      <a:pt x="58" y="35"/>
                      <a:pt x="61" y="33"/>
                    </a:cubicBezTo>
                    <a:cubicBezTo>
                      <a:pt x="65" y="27"/>
                      <a:pt x="64" y="22"/>
                      <a:pt x="57" y="16"/>
                    </a:cubicBezTo>
                    <a:cubicBezTo>
                      <a:pt x="52" y="12"/>
                      <a:pt x="44" y="9"/>
                      <a:pt x="35" y="9"/>
                    </a:cubicBezTo>
                    <a:cubicBezTo>
                      <a:pt x="30" y="8"/>
                      <a:pt x="28" y="6"/>
                      <a:pt x="27" y="3"/>
                    </a:cubicBezTo>
                    <a:cubicBezTo>
                      <a:pt x="27" y="1"/>
                      <a:pt x="29" y="0"/>
                      <a:pt x="32" y="0"/>
                    </a:cubicBezTo>
                    <a:cubicBezTo>
                      <a:pt x="44" y="0"/>
                      <a:pt x="53" y="3"/>
                      <a:pt x="61" y="9"/>
                    </a:cubicBezTo>
                    <a:cubicBezTo>
                      <a:pt x="69" y="16"/>
                      <a:pt x="73" y="23"/>
                      <a:pt x="72" y="30"/>
                    </a:cubicBezTo>
                    <a:cubicBezTo>
                      <a:pt x="68" y="37"/>
                      <a:pt x="60" y="43"/>
                      <a:pt x="48" y="45"/>
                    </a:cubicBezTo>
                    <a:cubicBezTo>
                      <a:pt x="47" y="46"/>
                      <a:pt x="46" y="46"/>
                      <a:pt x="45" y="46"/>
                    </a:cubicBezTo>
                    <a:cubicBezTo>
                      <a:pt x="45" y="48"/>
                      <a:pt x="45" y="51"/>
                      <a:pt x="45" y="54"/>
                    </a:cubicBezTo>
                    <a:cubicBezTo>
                      <a:pt x="49" y="54"/>
                      <a:pt x="54" y="57"/>
                      <a:pt x="59" y="61"/>
                    </a:cubicBezTo>
                    <a:cubicBezTo>
                      <a:pt x="66" y="66"/>
                      <a:pt x="72" y="72"/>
                      <a:pt x="77" y="80"/>
                    </a:cubicBezTo>
                    <a:cubicBezTo>
                      <a:pt x="77" y="82"/>
                      <a:pt x="77" y="83"/>
                      <a:pt x="75" y="84"/>
                    </a:cubicBezTo>
                    <a:cubicBezTo>
                      <a:pt x="74" y="85"/>
                      <a:pt x="72" y="85"/>
                      <a:pt x="71" y="83"/>
                    </a:cubicBezTo>
                    <a:cubicBezTo>
                      <a:pt x="69" y="80"/>
                      <a:pt x="65" y="76"/>
                      <a:pt x="59" y="70"/>
                    </a:cubicBezTo>
                    <a:cubicBezTo>
                      <a:pt x="54" y="66"/>
                      <a:pt x="49" y="64"/>
                      <a:pt x="45" y="63"/>
                    </a:cubicBezTo>
                    <a:cubicBezTo>
                      <a:pt x="45" y="77"/>
                      <a:pt x="45" y="77"/>
                      <a:pt x="45" y="77"/>
                    </a:cubicBezTo>
                    <a:cubicBezTo>
                      <a:pt x="48" y="78"/>
                      <a:pt x="51" y="80"/>
                      <a:pt x="53" y="83"/>
                    </a:cubicBezTo>
                    <a:cubicBezTo>
                      <a:pt x="59" y="88"/>
                      <a:pt x="63" y="94"/>
                      <a:pt x="66" y="102"/>
                    </a:cubicBezTo>
                    <a:cubicBezTo>
                      <a:pt x="71" y="109"/>
                      <a:pt x="73" y="116"/>
                      <a:pt x="72" y="121"/>
                    </a:cubicBezTo>
                    <a:cubicBezTo>
                      <a:pt x="72" y="122"/>
                      <a:pt x="72" y="123"/>
                      <a:pt x="70" y="124"/>
                    </a:cubicBezTo>
                    <a:cubicBezTo>
                      <a:pt x="69" y="124"/>
                      <a:pt x="68" y="124"/>
                      <a:pt x="67" y="122"/>
                    </a:cubicBezTo>
                    <a:cubicBezTo>
                      <a:pt x="67" y="121"/>
                      <a:pt x="66" y="118"/>
                      <a:pt x="64" y="115"/>
                    </a:cubicBezTo>
                    <a:cubicBezTo>
                      <a:pt x="60" y="107"/>
                      <a:pt x="57" y="102"/>
                      <a:pt x="55" y="97"/>
                    </a:cubicBezTo>
                    <a:cubicBezTo>
                      <a:pt x="51" y="91"/>
                      <a:pt x="48" y="88"/>
                      <a:pt x="45" y="87"/>
                    </a:cubicBezTo>
                    <a:cubicBezTo>
                      <a:pt x="45" y="102"/>
                      <a:pt x="45" y="102"/>
                      <a:pt x="45" y="102"/>
                    </a:cubicBezTo>
                    <a:cubicBezTo>
                      <a:pt x="45" y="117"/>
                      <a:pt x="45" y="128"/>
                      <a:pt x="44" y="136"/>
                    </a:cubicBezTo>
                    <a:cubicBezTo>
                      <a:pt x="43" y="137"/>
                      <a:pt x="42" y="138"/>
                      <a:pt x="41" y="139"/>
                    </a:cubicBezTo>
                    <a:cubicBezTo>
                      <a:pt x="40" y="139"/>
                      <a:pt x="39" y="139"/>
                      <a:pt x="38" y="137"/>
                    </a:cubicBezTo>
                    <a:cubicBezTo>
                      <a:pt x="37" y="135"/>
                      <a:pt x="37" y="123"/>
                      <a:pt x="37" y="103"/>
                    </a:cubicBezTo>
                    <a:cubicBezTo>
                      <a:pt x="37" y="97"/>
                      <a:pt x="37" y="92"/>
                      <a:pt x="37" y="86"/>
                    </a:cubicBezTo>
                    <a:cubicBezTo>
                      <a:pt x="34" y="87"/>
                      <a:pt x="31" y="89"/>
                      <a:pt x="28" y="92"/>
                    </a:cubicBezTo>
                    <a:cubicBezTo>
                      <a:pt x="24" y="98"/>
                      <a:pt x="21" y="103"/>
                      <a:pt x="19" y="109"/>
                    </a:cubicBezTo>
                    <a:cubicBezTo>
                      <a:pt x="17" y="113"/>
                      <a:pt x="15" y="117"/>
                      <a:pt x="12" y="121"/>
                    </a:cubicBezTo>
                    <a:cubicBezTo>
                      <a:pt x="11" y="122"/>
                      <a:pt x="9" y="122"/>
                      <a:pt x="8" y="122"/>
                    </a:cubicBezTo>
                    <a:cubicBezTo>
                      <a:pt x="7" y="122"/>
                      <a:pt x="7" y="121"/>
                      <a:pt x="7" y="120"/>
                    </a:cubicBezTo>
                    <a:cubicBezTo>
                      <a:pt x="7" y="119"/>
                      <a:pt x="7" y="118"/>
                      <a:pt x="8" y="117"/>
                    </a:cubicBezTo>
                    <a:cubicBezTo>
                      <a:pt x="9" y="112"/>
                      <a:pt x="10" y="108"/>
                      <a:pt x="11" y="106"/>
                    </a:cubicBezTo>
                    <a:cubicBezTo>
                      <a:pt x="13" y="101"/>
                      <a:pt x="17" y="94"/>
                      <a:pt x="22" y="86"/>
                    </a:cubicBezTo>
                    <a:cubicBezTo>
                      <a:pt x="27" y="80"/>
                      <a:pt x="32" y="77"/>
                      <a:pt x="37" y="76"/>
                    </a:cubicBezTo>
                    <a:cubicBezTo>
                      <a:pt x="37" y="68"/>
                      <a:pt x="37" y="68"/>
                      <a:pt x="37" y="68"/>
                    </a:cubicBezTo>
                    <a:cubicBezTo>
                      <a:pt x="37" y="63"/>
                      <a:pt x="37" y="63"/>
                      <a:pt x="37" y="63"/>
                    </a:cubicBezTo>
                    <a:cubicBezTo>
                      <a:pt x="33" y="64"/>
                      <a:pt x="29" y="66"/>
                      <a:pt x="24" y="69"/>
                    </a:cubicBezTo>
                    <a:cubicBezTo>
                      <a:pt x="23" y="70"/>
                      <a:pt x="20" y="72"/>
                      <a:pt x="16" y="77"/>
                    </a:cubicBezTo>
                    <a:cubicBezTo>
                      <a:pt x="13" y="81"/>
                      <a:pt x="11" y="83"/>
                      <a:pt x="9" y="85"/>
                    </a:cubicBezTo>
                    <a:cubicBezTo>
                      <a:pt x="8" y="86"/>
                      <a:pt x="7" y="87"/>
                      <a:pt x="6" y="86"/>
                    </a:cubicBezTo>
                    <a:cubicBezTo>
                      <a:pt x="5" y="86"/>
                      <a:pt x="5" y="84"/>
                      <a:pt x="5" y="82"/>
                    </a:cubicBezTo>
                    <a:cubicBezTo>
                      <a:pt x="10" y="73"/>
                      <a:pt x="15" y="65"/>
                      <a:pt x="22" y="60"/>
                    </a:cubicBezTo>
                    <a:cubicBezTo>
                      <a:pt x="27" y="56"/>
                      <a:pt x="32" y="54"/>
                      <a:pt x="37" y="54"/>
                    </a:cubicBezTo>
                    <a:cubicBezTo>
                      <a:pt x="37" y="47"/>
                      <a:pt x="37" y="47"/>
                      <a:pt x="37" y="47"/>
                    </a:cubicBezTo>
                    <a:cubicBezTo>
                      <a:pt x="22" y="49"/>
                      <a:pt x="10" y="48"/>
                      <a:pt x="3" y="45"/>
                    </a:cubicBezTo>
                    <a:cubicBezTo>
                      <a:pt x="1" y="44"/>
                      <a:pt x="0" y="42"/>
                      <a:pt x="0" y="40"/>
                    </a:cubicBezTo>
                    <a:cubicBezTo>
                      <a:pt x="1" y="38"/>
                      <a:pt x="3" y="38"/>
                      <a:pt x="5" y="38"/>
                    </a:cubicBezTo>
                    <a:cubicBezTo>
                      <a:pt x="12" y="40"/>
                      <a:pt x="22" y="40"/>
                      <a:pt x="37" y="39"/>
                    </a:cubicBezTo>
                    <a:cubicBezTo>
                      <a:pt x="37" y="39"/>
                      <a:pt x="37" y="39"/>
                      <a:pt x="37" y="39"/>
                    </a:cubicBezTo>
                    <a:cubicBezTo>
                      <a:pt x="38" y="32"/>
                      <a:pt x="36" y="29"/>
                      <a:pt x="33" y="28"/>
                    </a:cubicBezTo>
                    <a:cubicBezTo>
                      <a:pt x="26" y="25"/>
                      <a:pt x="19" y="24"/>
                      <a:pt x="12" y="2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26" name="íṣlíḑe"/>
              <p:cNvSpPr/>
              <p:nvPr/>
            </p:nvSpPr>
            <p:spPr bwMode="auto">
              <a:xfrm>
                <a:off x="2273197" y="5255215"/>
                <a:ext cx="163513" cy="263525"/>
              </a:xfrm>
              <a:custGeom>
                <a:avLst/>
                <a:gdLst>
                  <a:gd name="T0" fmla="*/ 47 w 88"/>
                  <a:gd name="T1" fmla="*/ 8 h 143"/>
                  <a:gd name="T2" fmla="*/ 74 w 88"/>
                  <a:gd name="T3" fmla="*/ 14 h 143"/>
                  <a:gd name="T4" fmla="*/ 82 w 88"/>
                  <a:gd name="T5" fmla="*/ 26 h 143"/>
                  <a:gd name="T6" fmla="*/ 79 w 88"/>
                  <a:gd name="T7" fmla="*/ 75 h 143"/>
                  <a:gd name="T8" fmla="*/ 86 w 88"/>
                  <a:gd name="T9" fmla="*/ 136 h 143"/>
                  <a:gd name="T10" fmla="*/ 73 w 88"/>
                  <a:gd name="T11" fmla="*/ 45 h 143"/>
                  <a:gd name="T12" fmla="*/ 67 w 88"/>
                  <a:gd name="T13" fmla="*/ 44 h 143"/>
                  <a:gd name="T14" fmla="*/ 54 w 88"/>
                  <a:gd name="T15" fmla="*/ 58 h 143"/>
                  <a:gd name="T16" fmla="*/ 22 w 88"/>
                  <a:gd name="T17" fmla="*/ 54 h 143"/>
                  <a:gd name="T18" fmla="*/ 15 w 88"/>
                  <a:gd name="T19" fmla="*/ 45 h 143"/>
                  <a:gd name="T20" fmla="*/ 11 w 88"/>
                  <a:gd name="T21" fmla="*/ 91 h 143"/>
                  <a:gd name="T22" fmla="*/ 9 w 88"/>
                  <a:gd name="T23" fmla="*/ 118 h 143"/>
                  <a:gd name="T24" fmla="*/ 2 w 88"/>
                  <a:gd name="T25" fmla="*/ 139 h 143"/>
                  <a:gd name="T26" fmla="*/ 6 w 88"/>
                  <a:gd name="T27" fmla="*/ 80 h 143"/>
                  <a:gd name="T28" fmla="*/ 2 w 88"/>
                  <a:gd name="T29" fmla="*/ 26 h 143"/>
                  <a:gd name="T30" fmla="*/ 32 w 88"/>
                  <a:gd name="T31" fmla="*/ 10 h 143"/>
                  <a:gd name="T32" fmla="*/ 39 w 88"/>
                  <a:gd name="T33" fmla="*/ 0 h 143"/>
                  <a:gd name="T34" fmla="*/ 24 w 88"/>
                  <a:gd name="T35" fmla="*/ 23 h 143"/>
                  <a:gd name="T36" fmla="*/ 66 w 88"/>
                  <a:gd name="T37" fmla="*/ 29 h 143"/>
                  <a:gd name="T38" fmla="*/ 67 w 88"/>
                  <a:gd name="T39" fmla="*/ 37 h 143"/>
                  <a:gd name="T40" fmla="*/ 73 w 88"/>
                  <a:gd name="T41" fmla="*/ 34 h 143"/>
                  <a:gd name="T42" fmla="*/ 66 w 88"/>
                  <a:gd name="T43" fmla="*/ 20 h 143"/>
                  <a:gd name="T44" fmla="*/ 13 w 88"/>
                  <a:gd name="T45" fmla="*/ 21 h 143"/>
                  <a:gd name="T46" fmla="*/ 12 w 88"/>
                  <a:gd name="T47" fmla="*/ 32 h 143"/>
                  <a:gd name="T48" fmla="*/ 17 w 88"/>
                  <a:gd name="T49" fmla="*/ 38 h 143"/>
                  <a:gd name="T50" fmla="*/ 24 w 88"/>
                  <a:gd name="T51" fmla="*/ 23 h 143"/>
                  <a:gd name="T52" fmla="*/ 61 w 88"/>
                  <a:gd name="T53" fmla="*/ 64 h 143"/>
                  <a:gd name="T54" fmla="*/ 66 w 88"/>
                  <a:gd name="T55" fmla="*/ 96 h 143"/>
                  <a:gd name="T56" fmla="*/ 61 w 88"/>
                  <a:gd name="T57" fmla="*/ 136 h 143"/>
                  <a:gd name="T58" fmla="*/ 59 w 88"/>
                  <a:gd name="T59" fmla="*/ 143 h 143"/>
                  <a:gd name="T60" fmla="*/ 46 w 88"/>
                  <a:gd name="T61" fmla="*/ 105 h 143"/>
                  <a:gd name="T62" fmla="*/ 30 w 88"/>
                  <a:gd name="T63" fmla="*/ 140 h 143"/>
                  <a:gd name="T64" fmla="*/ 26 w 88"/>
                  <a:gd name="T65" fmla="*/ 137 h 143"/>
                  <a:gd name="T66" fmla="*/ 32 w 88"/>
                  <a:gd name="T67" fmla="*/ 121 h 143"/>
                  <a:gd name="T68" fmla="*/ 35 w 88"/>
                  <a:gd name="T69" fmla="*/ 105 h 143"/>
                  <a:gd name="T70" fmla="*/ 18 w 88"/>
                  <a:gd name="T71" fmla="*/ 75 h 143"/>
                  <a:gd name="T72" fmla="*/ 24 w 88"/>
                  <a:gd name="T73" fmla="*/ 35 h 143"/>
                  <a:gd name="T74" fmla="*/ 39 w 88"/>
                  <a:gd name="T75" fmla="*/ 37 h 143"/>
                  <a:gd name="T76" fmla="*/ 34 w 88"/>
                  <a:gd name="T77" fmla="*/ 29 h 143"/>
                  <a:gd name="T78" fmla="*/ 24 w 88"/>
                  <a:gd name="T79" fmla="*/ 35 h 143"/>
                  <a:gd name="T80" fmla="*/ 62 w 88"/>
                  <a:gd name="T81" fmla="*/ 84 h 143"/>
                  <a:gd name="T82" fmla="*/ 43 w 88"/>
                  <a:gd name="T83" fmla="*/ 81 h 143"/>
                  <a:gd name="T84" fmla="*/ 25 w 88"/>
                  <a:gd name="T85" fmla="*/ 87 h 143"/>
                  <a:gd name="T86" fmla="*/ 26 w 88"/>
                  <a:gd name="T87" fmla="*/ 48 h 143"/>
                  <a:gd name="T88" fmla="*/ 38 w 88"/>
                  <a:gd name="T89" fmla="*/ 52 h 143"/>
                  <a:gd name="T90" fmla="*/ 25 w 88"/>
                  <a:gd name="T91" fmla="*/ 44 h 143"/>
                  <a:gd name="T92" fmla="*/ 32 w 88"/>
                  <a:gd name="T93" fmla="*/ 69 h 143"/>
                  <a:gd name="T94" fmla="*/ 41 w 88"/>
                  <a:gd name="T95" fmla="*/ 75 h 143"/>
                  <a:gd name="T96" fmla="*/ 57 w 88"/>
                  <a:gd name="T97" fmla="*/ 70 h 143"/>
                  <a:gd name="T98" fmla="*/ 56 w 88"/>
                  <a:gd name="T99" fmla="*/ 98 h 143"/>
                  <a:gd name="T100" fmla="*/ 54 w 88"/>
                  <a:gd name="T101" fmla="*/ 93 h 143"/>
                  <a:gd name="T102" fmla="*/ 36 w 88"/>
                  <a:gd name="T103" fmla="*/ 93 h 143"/>
                  <a:gd name="T104" fmla="*/ 32 w 88"/>
                  <a:gd name="T105" fmla="*/ 98 h 143"/>
                  <a:gd name="T106" fmla="*/ 56 w 88"/>
                  <a:gd name="T107" fmla="*/ 29 h 143"/>
                  <a:gd name="T108" fmla="*/ 46 w 88"/>
                  <a:gd name="T109" fmla="*/ 29 h 143"/>
                  <a:gd name="T110" fmla="*/ 60 w 88"/>
                  <a:gd name="T111" fmla="*/ 37 h 143"/>
                  <a:gd name="T112" fmla="*/ 56 w 88"/>
                  <a:gd name="T113" fmla="*/ 29 h 143"/>
                  <a:gd name="T114" fmla="*/ 60 w 88"/>
                  <a:gd name="T115" fmla="*/ 43 h 143"/>
                  <a:gd name="T116" fmla="*/ 46 w 88"/>
                  <a:gd name="T117" fmla="*/ 52 h 143"/>
                  <a:gd name="T118" fmla="*/ 59 w 88"/>
                  <a:gd name="T119" fmla="*/ 48 h 1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88" h="143">
                    <a:moveTo>
                      <a:pt x="43" y="2"/>
                    </a:moveTo>
                    <a:cubicBezTo>
                      <a:pt x="45" y="3"/>
                      <a:pt x="47" y="6"/>
                      <a:pt x="47" y="8"/>
                    </a:cubicBezTo>
                    <a:cubicBezTo>
                      <a:pt x="47" y="9"/>
                      <a:pt x="48" y="10"/>
                      <a:pt x="49" y="10"/>
                    </a:cubicBezTo>
                    <a:cubicBezTo>
                      <a:pt x="57" y="10"/>
                      <a:pt x="66" y="12"/>
                      <a:pt x="74" y="14"/>
                    </a:cubicBezTo>
                    <a:cubicBezTo>
                      <a:pt x="78" y="16"/>
                      <a:pt x="81" y="18"/>
                      <a:pt x="81" y="19"/>
                    </a:cubicBezTo>
                    <a:cubicBezTo>
                      <a:pt x="82" y="21"/>
                      <a:pt x="82" y="24"/>
                      <a:pt x="82" y="26"/>
                    </a:cubicBezTo>
                    <a:cubicBezTo>
                      <a:pt x="82" y="27"/>
                      <a:pt x="82" y="27"/>
                      <a:pt x="82" y="28"/>
                    </a:cubicBezTo>
                    <a:cubicBezTo>
                      <a:pt x="79" y="39"/>
                      <a:pt x="78" y="55"/>
                      <a:pt x="79" y="75"/>
                    </a:cubicBezTo>
                    <a:cubicBezTo>
                      <a:pt x="80" y="87"/>
                      <a:pt x="83" y="106"/>
                      <a:pt x="87" y="131"/>
                    </a:cubicBezTo>
                    <a:cubicBezTo>
                      <a:pt x="88" y="134"/>
                      <a:pt x="87" y="135"/>
                      <a:pt x="86" y="136"/>
                    </a:cubicBezTo>
                    <a:cubicBezTo>
                      <a:pt x="84" y="137"/>
                      <a:pt x="82" y="136"/>
                      <a:pt x="82" y="133"/>
                    </a:cubicBezTo>
                    <a:cubicBezTo>
                      <a:pt x="74" y="106"/>
                      <a:pt x="71" y="76"/>
                      <a:pt x="73" y="45"/>
                    </a:cubicBezTo>
                    <a:cubicBezTo>
                      <a:pt x="72" y="45"/>
                      <a:pt x="71" y="44"/>
                      <a:pt x="70" y="44"/>
                    </a:cubicBezTo>
                    <a:cubicBezTo>
                      <a:pt x="69" y="44"/>
                      <a:pt x="68" y="44"/>
                      <a:pt x="67" y="44"/>
                    </a:cubicBezTo>
                    <a:cubicBezTo>
                      <a:pt x="67" y="48"/>
                      <a:pt x="66" y="51"/>
                      <a:pt x="64" y="54"/>
                    </a:cubicBezTo>
                    <a:cubicBezTo>
                      <a:pt x="62" y="57"/>
                      <a:pt x="59" y="59"/>
                      <a:pt x="54" y="58"/>
                    </a:cubicBezTo>
                    <a:cubicBezTo>
                      <a:pt x="47" y="58"/>
                      <a:pt x="39" y="58"/>
                      <a:pt x="32" y="58"/>
                    </a:cubicBezTo>
                    <a:cubicBezTo>
                      <a:pt x="28" y="59"/>
                      <a:pt x="25" y="58"/>
                      <a:pt x="22" y="54"/>
                    </a:cubicBezTo>
                    <a:cubicBezTo>
                      <a:pt x="20" y="51"/>
                      <a:pt x="19" y="48"/>
                      <a:pt x="18" y="45"/>
                    </a:cubicBezTo>
                    <a:cubicBezTo>
                      <a:pt x="17" y="45"/>
                      <a:pt x="16" y="45"/>
                      <a:pt x="15" y="45"/>
                    </a:cubicBezTo>
                    <a:cubicBezTo>
                      <a:pt x="14" y="45"/>
                      <a:pt x="13" y="45"/>
                      <a:pt x="13" y="45"/>
                    </a:cubicBezTo>
                    <a:cubicBezTo>
                      <a:pt x="13" y="60"/>
                      <a:pt x="13" y="75"/>
                      <a:pt x="11" y="91"/>
                    </a:cubicBezTo>
                    <a:cubicBezTo>
                      <a:pt x="11" y="95"/>
                      <a:pt x="11" y="102"/>
                      <a:pt x="10" y="111"/>
                    </a:cubicBezTo>
                    <a:cubicBezTo>
                      <a:pt x="10" y="108"/>
                      <a:pt x="10" y="111"/>
                      <a:pt x="9" y="118"/>
                    </a:cubicBezTo>
                    <a:cubicBezTo>
                      <a:pt x="9" y="124"/>
                      <a:pt x="8" y="130"/>
                      <a:pt x="6" y="134"/>
                    </a:cubicBezTo>
                    <a:cubicBezTo>
                      <a:pt x="5" y="138"/>
                      <a:pt x="3" y="139"/>
                      <a:pt x="2" y="139"/>
                    </a:cubicBezTo>
                    <a:cubicBezTo>
                      <a:pt x="0" y="139"/>
                      <a:pt x="0" y="137"/>
                      <a:pt x="0" y="133"/>
                    </a:cubicBezTo>
                    <a:cubicBezTo>
                      <a:pt x="3" y="112"/>
                      <a:pt x="5" y="94"/>
                      <a:pt x="6" y="80"/>
                    </a:cubicBezTo>
                    <a:cubicBezTo>
                      <a:pt x="8" y="64"/>
                      <a:pt x="7" y="51"/>
                      <a:pt x="6" y="38"/>
                    </a:cubicBezTo>
                    <a:cubicBezTo>
                      <a:pt x="5" y="34"/>
                      <a:pt x="4" y="30"/>
                      <a:pt x="2" y="26"/>
                    </a:cubicBezTo>
                    <a:cubicBezTo>
                      <a:pt x="0" y="21"/>
                      <a:pt x="1" y="17"/>
                      <a:pt x="6" y="16"/>
                    </a:cubicBezTo>
                    <a:cubicBezTo>
                      <a:pt x="14" y="12"/>
                      <a:pt x="23" y="11"/>
                      <a:pt x="32" y="10"/>
                    </a:cubicBezTo>
                    <a:cubicBezTo>
                      <a:pt x="36" y="9"/>
                      <a:pt x="38" y="7"/>
                      <a:pt x="38" y="4"/>
                    </a:cubicBezTo>
                    <a:cubicBezTo>
                      <a:pt x="38" y="2"/>
                      <a:pt x="38" y="1"/>
                      <a:pt x="39" y="0"/>
                    </a:cubicBezTo>
                    <a:cubicBezTo>
                      <a:pt x="41" y="0"/>
                      <a:pt x="42" y="0"/>
                      <a:pt x="43" y="2"/>
                    </a:cubicBezTo>
                    <a:close/>
                    <a:moveTo>
                      <a:pt x="24" y="23"/>
                    </a:moveTo>
                    <a:cubicBezTo>
                      <a:pt x="33" y="22"/>
                      <a:pt x="44" y="22"/>
                      <a:pt x="58" y="23"/>
                    </a:cubicBezTo>
                    <a:cubicBezTo>
                      <a:pt x="63" y="24"/>
                      <a:pt x="66" y="26"/>
                      <a:pt x="66" y="29"/>
                    </a:cubicBezTo>
                    <a:cubicBezTo>
                      <a:pt x="66" y="30"/>
                      <a:pt x="66" y="30"/>
                      <a:pt x="67" y="31"/>
                    </a:cubicBezTo>
                    <a:cubicBezTo>
                      <a:pt x="67" y="33"/>
                      <a:pt x="67" y="35"/>
                      <a:pt x="67" y="37"/>
                    </a:cubicBezTo>
                    <a:cubicBezTo>
                      <a:pt x="69" y="38"/>
                      <a:pt x="71" y="38"/>
                      <a:pt x="73" y="38"/>
                    </a:cubicBezTo>
                    <a:cubicBezTo>
                      <a:pt x="73" y="37"/>
                      <a:pt x="73" y="36"/>
                      <a:pt x="73" y="34"/>
                    </a:cubicBezTo>
                    <a:cubicBezTo>
                      <a:pt x="73" y="32"/>
                      <a:pt x="73" y="30"/>
                      <a:pt x="74" y="29"/>
                    </a:cubicBezTo>
                    <a:cubicBezTo>
                      <a:pt x="75" y="25"/>
                      <a:pt x="72" y="21"/>
                      <a:pt x="66" y="20"/>
                    </a:cubicBezTo>
                    <a:cubicBezTo>
                      <a:pt x="58" y="17"/>
                      <a:pt x="50" y="16"/>
                      <a:pt x="40" y="16"/>
                    </a:cubicBezTo>
                    <a:cubicBezTo>
                      <a:pt x="29" y="16"/>
                      <a:pt x="20" y="18"/>
                      <a:pt x="13" y="21"/>
                    </a:cubicBezTo>
                    <a:cubicBezTo>
                      <a:pt x="11" y="22"/>
                      <a:pt x="11" y="24"/>
                      <a:pt x="11" y="26"/>
                    </a:cubicBezTo>
                    <a:cubicBezTo>
                      <a:pt x="11" y="28"/>
                      <a:pt x="12" y="30"/>
                      <a:pt x="12" y="32"/>
                    </a:cubicBezTo>
                    <a:cubicBezTo>
                      <a:pt x="12" y="35"/>
                      <a:pt x="12" y="37"/>
                      <a:pt x="12" y="38"/>
                    </a:cubicBezTo>
                    <a:cubicBezTo>
                      <a:pt x="14" y="38"/>
                      <a:pt x="15" y="38"/>
                      <a:pt x="17" y="38"/>
                    </a:cubicBezTo>
                    <a:cubicBezTo>
                      <a:pt x="17" y="35"/>
                      <a:pt x="17" y="32"/>
                      <a:pt x="17" y="30"/>
                    </a:cubicBezTo>
                    <a:cubicBezTo>
                      <a:pt x="18" y="26"/>
                      <a:pt x="20" y="24"/>
                      <a:pt x="24" y="23"/>
                    </a:cubicBezTo>
                    <a:close/>
                    <a:moveTo>
                      <a:pt x="28" y="64"/>
                    </a:moveTo>
                    <a:cubicBezTo>
                      <a:pt x="39" y="62"/>
                      <a:pt x="50" y="62"/>
                      <a:pt x="61" y="64"/>
                    </a:cubicBezTo>
                    <a:cubicBezTo>
                      <a:pt x="65" y="65"/>
                      <a:pt x="67" y="67"/>
                      <a:pt x="67" y="71"/>
                    </a:cubicBezTo>
                    <a:cubicBezTo>
                      <a:pt x="69" y="79"/>
                      <a:pt x="68" y="88"/>
                      <a:pt x="66" y="96"/>
                    </a:cubicBezTo>
                    <a:cubicBezTo>
                      <a:pt x="65" y="102"/>
                      <a:pt x="61" y="105"/>
                      <a:pt x="54" y="105"/>
                    </a:cubicBezTo>
                    <a:cubicBezTo>
                      <a:pt x="55" y="115"/>
                      <a:pt x="57" y="125"/>
                      <a:pt x="61" y="136"/>
                    </a:cubicBezTo>
                    <a:cubicBezTo>
                      <a:pt x="63" y="138"/>
                      <a:pt x="63" y="140"/>
                      <a:pt x="61" y="142"/>
                    </a:cubicBezTo>
                    <a:cubicBezTo>
                      <a:pt x="60" y="142"/>
                      <a:pt x="59" y="143"/>
                      <a:pt x="59" y="143"/>
                    </a:cubicBezTo>
                    <a:cubicBezTo>
                      <a:pt x="58" y="143"/>
                      <a:pt x="57" y="142"/>
                      <a:pt x="57" y="141"/>
                    </a:cubicBezTo>
                    <a:cubicBezTo>
                      <a:pt x="52" y="131"/>
                      <a:pt x="48" y="120"/>
                      <a:pt x="46" y="105"/>
                    </a:cubicBezTo>
                    <a:cubicBezTo>
                      <a:pt x="41" y="105"/>
                      <a:pt x="41" y="105"/>
                      <a:pt x="41" y="105"/>
                    </a:cubicBezTo>
                    <a:cubicBezTo>
                      <a:pt x="40" y="120"/>
                      <a:pt x="37" y="131"/>
                      <a:pt x="30" y="140"/>
                    </a:cubicBezTo>
                    <a:cubicBezTo>
                      <a:pt x="29" y="141"/>
                      <a:pt x="27" y="142"/>
                      <a:pt x="26" y="142"/>
                    </a:cubicBezTo>
                    <a:cubicBezTo>
                      <a:pt x="25" y="141"/>
                      <a:pt x="25" y="139"/>
                      <a:pt x="26" y="137"/>
                    </a:cubicBezTo>
                    <a:cubicBezTo>
                      <a:pt x="26" y="137"/>
                      <a:pt x="26" y="135"/>
                      <a:pt x="28" y="132"/>
                    </a:cubicBezTo>
                    <a:cubicBezTo>
                      <a:pt x="30" y="127"/>
                      <a:pt x="32" y="123"/>
                      <a:pt x="32" y="121"/>
                    </a:cubicBezTo>
                    <a:cubicBezTo>
                      <a:pt x="33" y="118"/>
                      <a:pt x="34" y="113"/>
                      <a:pt x="35" y="107"/>
                    </a:cubicBezTo>
                    <a:cubicBezTo>
                      <a:pt x="35" y="106"/>
                      <a:pt x="35" y="106"/>
                      <a:pt x="35" y="105"/>
                    </a:cubicBezTo>
                    <a:cubicBezTo>
                      <a:pt x="29" y="105"/>
                      <a:pt x="25" y="103"/>
                      <a:pt x="22" y="98"/>
                    </a:cubicBezTo>
                    <a:cubicBezTo>
                      <a:pt x="19" y="93"/>
                      <a:pt x="17" y="85"/>
                      <a:pt x="18" y="75"/>
                    </a:cubicBezTo>
                    <a:cubicBezTo>
                      <a:pt x="19" y="68"/>
                      <a:pt x="22" y="65"/>
                      <a:pt x="28" y="64"/>
                    </a:cubicBezTo>
                    <a:close/>
                    <a:moveTo>
                      <a:pt x="24" y="35"/>
                    </a:moveTo>
                    <a:cubicBezTo>
                      <a:pt x="24" y="36"/>
                      <a:pt x="24" y="36"/>
                      <a:pt x="24" y="37"/>
                    </a:cubicBezTo>
                    <a:cubicBezTo>
                      <a:pt x="29" y="37"/>
                      <a:pt x="34" y="37"/>
                      <a:pt x="39" y="37"/>
                    </a:cubicBezTo>
                    <a:cubicBezTo>
                      <a:pt x="39" y="34"/>
                      <a:pt x="38" y="31"/>
                      <a:pt x="38" y="29"/>
                    </a:cubicBezTo>
                    <a:cubicBezTo>
                      <a:pt x="37" y="29"/>
                      <a:pt x="36" y="29"/>
                      <a:pt x="34" y="29"/>
                    </a:cubicBezTo>
                    <a:cubicBezTo>
                      <a:pt x="31" y="29"/>
                      <a:pt x="30" y="29"/>
                      <a:pt x="28" y="29"/>
                    </a:cubicBezTo>
                    <a:cubicBezTo>
                      <a:pt x="25" y="31"/>
                      <a:pt x="24" y="32"/>
                      <a:pt x="24" y="35"/>
                    </a:cubicBezTo>
                    <a:close/>
                    <a:moveTo>
                      <a:pt x="61" y="87"/>
                    </a:moveTo>
                    <a:cubicBezTo>
                      <a:pt x="61" y="86"/>
                      <a:pt x="62" y="85"/>
                      <a:pt x="62" y="84"/>
                    </a:cubicBezTo>
                    <a:cubicBezTo>
                      <a:pt x="62" y="83"/>
                      <a:pt x="62" y="82"/>
                      <a:pt x="62" y="82"/>
                    </a:cubicBezTo>
                    <a:cubicBezTo>
                      <a:pt x="56" y="81"/>
                      <a:pt x="50" y="80"/>
                      <a:pt x="43" y="81"/>
                    </a:cubicBezTo>
                    <a:cubicBezTo>
                      <a:pt x="37" y="81"/>
                      <a:pt x="31" y="82"/>
                      <a:pt x="24" y="83"/>
                    </a:cubicBezTo>
                    <a:cubicBezTo>
                      <a:pt x="25" y="87"/>
                      <a:pt x="25" y="87"/>
                      <a:pt x="25" y="87"/>
                    </a:cubicBezTo>
                    <a:cubicBezTo>
                      <a:pt x="35" y="86"/>
                      <a:pt x="48" y="86"/>
                      <a:pt x="61" y="87"/>
                    </a:cubicBezTo>
                    <a:close/>
                    <a:moveTo>
                      <a:pt x="26" y="48"/>
                    </a:moveTo>
                    <a:cubicBezTo>
                      <a:pt x="28" y="51"/>
                      <a:pt x="30" y="52"/>
                      <a:pt x="35" y="52"/>
                    </a:cubicBezTo>
                    <a:cubicBezTo>
                      <a:pt x="38" y="52"/>
                      <a:pt x="38" y="52"/>
                      <a:pt x="38" y="52"/>
                    </a:cubicBezTo>
                    <a:cubicBezTo>
                      <a:pt x="38" y="49"/>
                      <a:pt x="39" y="46"/>
                      <a:pt x="39" y="44"/>
                    </a:cubicBezTo>
                    <a:cubicBezTo>
                      <a:pt x="34" y="44"/>
                      <a:pt x="30" y="44"/>
                      <a:pt x="25" y="44"/>
                    </a:cubicBezTo>
                    <a:cubicBezTo>
                      <a:pt x="25" y="46"/>
                      <a:pt x="25" y="47"/>
                      <a:pt x="26" y="48"/>
                    </a:cubicBezTo>
                    <a:close/>
                    <a:moveTo>
                      <a:pt x="32" y="69"/>
                    </a:moveTo>
                    <a:cubicBezTo>
                      <a:pt x="28" y="70"/>
                      <a:pt x="25" y="72"/>
                      <a:pt x="25" y="76"/>
                    </a:cubicBezTo>
                    <a:cubicBezTo>
                      <a:pt x="30" y="75"/>
                      <a:pt x="35" y="75"/>
                      <a:pt x="41" y="75"/>
                    </a:cubicBezTo>
                    <a:cubicBezTo>
                      <a:pt x="46" y="74"/>
                      <a:pt x="53" y="74"/>
                      <a:pt x="61" y="75"/>
                    </a:cubicBezTo>
                    <a:cubicBezTo>
                      <a:pt x="61" y="72"/>
                      <a:pt x="59" y="71"/>
                      <a:pt x="57" y="70"/>
                    </a:cubicBezTo>
                    <a:cubicBezTo>
                      <a:pt x="49" y="68"/>
                      <a:pt x="40" y="68"/>
                      <a:pt x="32" y="69"/>
                    </a:cubicBezTo>
                    <a:close/>
                    <a:moveTo>
                      <a:pt x="56" y="98"/>
                    </a:moveTo>
                    <a:cubicBezTo>
                      <a:pt x="59" y="97"/>
                      <a:pt x="60" y="96"/>
                      <a:pt x="61" y="93"/>
                    </a:cubicBezTo>
                    <a:cubicBezTo>
                      <a:pt x="60" y="93"/>
                      <a:pt x="57" y="93"/>
                      <a:pt x="54" y="93"/>
                    </a:cubicBezTo>
                    <a:cubicBezTo>
                      <a:pt x="48" y="92"/>
                      <a:pt x="44" y="92"/>
                      <a:pt x="41" y="92"/>
                    </a:cubicBezTo>
                    <a:cubicBezTo>
                      <a:pt x="40" y="92"/>
                      <a:pt x="38" y="92"/>
                      <a:pt x="36" y="93"/>
                    </a:cubicBezTo>
                    <a:cubicBezTo>
                      <a:pt x="31" y="93"/>
                      <a:pt x="28" y="94"/>
                      <a:pt x="26" y="94"/>
                    </a:cubicBezTo>
                    <a:cubicBezTo>
                      <a:pt x="27" y="96"/>
                      <a:pt x="29" y="98"/>
                      <a:pt x="32" y="98"/>
                    </a:cubicBezTo>
                    <a:cubicBezTo>
                      <a:pt x="39" y="99"/>
                      <a:pt x="47" y="99"/>
                      <a:pt x="56" y="98"/>
                    </a:cubicBezTo>
                    <a:close/>
                    <a:moveTo>
                      <a:pt x="56" y="29"/>
                    </a:moveTo>
                    <a:cubicBezTo>
                      <a:pt x="55" y="29"/>
                      <a:pt x="53" y="29"/>
                      <a:pt x="51" y="29"/>
                    </a:cubicBezTo>
                    <a:cubicBezTo>
                      <a:pt x="49" y="29"/>
                      <a:pt x="47" y="29"/>
                      <a:pt x="46" y="29"/>
                    </a:cubicBezTo>
                    <a:cubicBezTo>
                      <a:pt x="46" y="31"/>
                      <a:pt x="46" y="34"/>
                      <a:pt x="46" y="37"/>
                    </a:cubicBezTo>
                    <a:cubicBezTo>
                      <a:pt x="50" y="37"/>
                      <a:pt x="55" y="37"/>
                      <a:pt x="60" y="37"/>
                    </a:cubicBezTo>
                    <a:cubicBezTo>
                      <a:pt x="60" y="35"/>
                      <a:pt x="60" y="35"/>
                      <a:pt x="60" y="35"/>
                    </a:cubicBezTo>
                    <a:cubicBezTo>
                      <a:pt x="60" y="32"/>
                      <a:pt x="58" y="30"/>
                      <a:pt x="56" y="29"/>
                    </a:cubicBezTo>
                    <a:close/>
                    <a:moveTo>
                      <a:pt x="59" y="48"/>
                    </a:moveTo>
                    <a:cubicBezTo>
                      <a:pt x="59" y="47"/>
                      <a:pt x="59" y="45"/>
                      <a:pt x="60" y="43"/>
                    </a:cubicBezTo>
                    <a:cubicBezTo>
                      <a:pt x="55" y="43"/>
                      <a:pt x="51" y="43"/>
                      <a:pt x="46" y="43"/>
                    </a:cubicBezTo>
                    <a:cubicBezTo>
                      <a:pt x="46" y="52"/>
                      <a:pt x="46" y="52"/>
                      <a:pt x="46" y="52"/>
                    </a:cubicBezTo>
                    <a:cubicBezTo>
                      <a:pt x="48" y="52"/>
                      <a:pt x="51" y="52"/>
                      <a:pt x="54" y="52"/>
                    </a:cubicBezTo>
                    <a:cubicBezTo>
                      <a:pt x="57" y="51"/>
                      <a:pt x="59" y="49"/>
                      <a:pt x="59" y="4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27" name="îSḻide"/>
              <p:cNvSpPr/>
              <p:nvPr/>
            </p:nvSpPr>
            <p:spPr bwMode="auto">
              <a:xfrm>
                <a:off x="2449409" y="5256803"/>
                <a:ext cx="139700" cy="265113"/>
              </a:xfrm>
              <a:custGeom>
                <a:avLst/>
                <a:gdLst>
                  <a:gd name="T0" fmla="*/ 56 w 76"/>
                  <a:gd name="T1" fmla="*/ 3 h 144"/>
                  <a:gd name="T2" fmla="*/ 61 w 76"/>
                  <a:gd name="T3" fmla="*/ 45 h 144"/>
                  <a:gd name="T4" fmla="*/ 50 w 76"/>
                  <a:gd name="T5" fmla="*/ 74 h 144"/>
                  <a:gd name="T6" fmla="*/ 68 w 76"/>
                  <a:gd name="T7" fmla="*/ 65 h 144"/>
                  <a:gd name="T8" fmla="*/ 70 w 76"/>
                  <a:gd name="T9" fmla="*/ 31 h 144"/>
                  <a:gd name="T10" fmla="*/ 74 w 76"/>
                  <a:gd name="T11" fmla="*/ 31 h 144"/>
                  <a:gd name="T12" fmla="*/ 74 w 76"/>
                  <a:gd name="T13" fmla="*/ 64 h 144"/>
                  <a:gd name="T14" fmla="*/ 50 w 76"/>
                  <a:gd name="T15" fmla="*/ 81 h 144"/>
                  <a:gd name="T16" fmla="*/ 69 w 76"/>
                  <a:gd name="T17" fmla="*/ 103 h 144"/>
                  <a:gd name="T18" fmla="*/ 74 w 76"/>
                  <a:gd name="T19" fmla="*/ 140 h 144"/>
                  <a:gd name="T20" fmla="*/ 63 w 76"/>
                  <a:gd name="T21" fmla="*/ 105 h 144"/>
                  <a:gd name="T22" fmla="*/ 52 w 76"/>
                  <a:gd name="T23" fmla="*/ 138 h 144"/>
                  <a:gd name="T24" fmla="*/ 46 w 76"/>
                  <a:gd name="T25" fmla="*/ 139 h 144"/>
                  <a:gd name="T26" fmla="*/ 42 w 76"/>
                  <a:gd name="T27" fmla="*/ 57 h 144"/>
                  <a:gd name="T28" fmla="*/ 35 w 76"/>
                  <a:gd name="T29" fmla="*/ 132 h 144"/>
                  <a:gd name="T30" fmla="*/ 27 w 76"/>
                  <a:gd name="T31" fmla="*/ 136 h 144"/>
                  <a:gd name="T32" fmla="*/ 29 w 76"/>
                  <a:gd name="T33" fmla="*/ 95 h 144"/>
                  <a:gd name="T34" fmla="*/ 5 w 76"/>
                  <a:gd name="T35" fmla="*/ 135 h 144"/>
                  <a:gd name="T36" fmla="*/ 0 w 76"/>
                  <a:gd name="T37" fmla="*/ 135 h 144"/>
                  <a:gd name="T38" fmla="*/ 30 w 76"/>
                  <a:gd name="T39" fmla="*/ 86 h 144"/>
                  <a:gd name="T40" fmla="*/ 26 w 76"/>
                  <a:gd name="T41" fmla="*/ 80 h 144"/>
                  <a:gd name="T42" fmla="*/ 5 w 76"/>
                  <a:gd name="T43" fmla="*/ 66 h 144"/>
                  <a:gd name="T44" fmla="*/ 3 w 76"/>
                  <a:gd name="T45" fmla="*/ 29 h 144"/>
                  <a:gd name="T46" fmla="*/ 9 w 76"/>
                  <a:gd name="T47" fmla="*/ 59 h 144"/>
                  <a:gd name="T48" fmla="*/ 31 w 76"/>
                  <a:gd name="T49" fmla="*/ 74 h 144"/>
                  <a:gd name="T50" fmla="*/ 32 w 76"/>
                  <a:gd name="T51" fmla="*/ 57 h 144"/>
                  <a:gd name="T52" fmla="*/ 16 w 76"/>
                  <a:gd name="T53" fmla="*/ 14 h 144"/>
                  <a:gd name="T54" fmla="*/ 22 w 76"/>
                  <a:gd name="T55" fmla="*/ 19 h 144"/>
                  <a:gd name="T56" fmla="*/ 57 w 76"/>
                  <a:gd name="T57" fmla="*/ 19 h 144"/>
                  <a:gd name="T58" fmla="*/ 50 w 76"/>
                  <a:gd name="T59" fmla="*/ 9 h 144"/>
                  <a:gd name="T60" fmla="*/ 22 w 76"/>
                  <a:gd name="T61" fmla="*/ 19 h 144"/>
                  <a:gd name="T62" fmla="*/ 23 w 76"/>
                  <a:gd name="T63" fmla="*/ 31 h 144"/>
                  <a:gd name="T64" fmla="*/ 57 w 76"/>
                  <a:gd name="T65" fmla="*/ 34 h 144"/>
                  <a:gd name="T66" fmla="*/ 22 w 76"/>
                  <a:gd name="T67" fmla="*/ 27 h 144"/>
                  <a:gd name="T68" fmla="*/ 48 w 76"/>
                  <a:gd name="T69" fmla="*/ 50 h 144"/>
                  <a:gd name="T70" fmla="*/ 57 w 76"/>
                  <a:gd name="T71" fmla="*/ 41 h 144"/>
                  <a:gd name="T72" fmla="*/ 25 w 76"/>
                  <a:gd name="T73" fmla="*/ 44 h 1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76" h="144">
                    <a:moveTo>
                      <a:pt x="27" y="2"/>
                    </a:moveTo>
                    <a:cubicBezTo>
                      <a:pt x="37" y="0"/>
                      <a:pt x="47" y="0"/>
                      <a:pt x="56" y="3"/>
                    </a:cubicBezTo>
                    <a:cubicBezTo>
                      <a:pt x="60" y="3"/>
                      <a:pt x="62" y="7"/>
                      <a:pt x="63" y="15"/>
                    </a:cubicBezTo>
                    <a:cubicBezTo>
                      <a:pt x="65" y="25"/>
                      <a:pt x="64" y="35"/>
                      <a:pt x="61" y="45"/>
                    </a:cubicBezTo>
                    <a:cubicBezTo>
                      <a:pt x="60" y="53"/>
                      <a:pt x="55" y="56"/>
                      <a:pt x="49" y="57"/>
                    </a:cubicBezTo>
                    <a:cubicBezTo>
                      <a:pt x="49" y="62"/>
                      <a:pt x="50" y="68"/>
                      <a:pt x="50" y="74"/>
                    </a:cubicBezTo>
                    <a:cubicBezTo>
                      <a:pt x="53" y="74"/>
                      <a:pt x="56" y="74"/>
                      <a:pt x="58" y="74"/>
                    </a:cubicBezTo>
                    <a:cubicBezTo>
                      <a:pt x="62" y="75"/>
                      <a:pt x="66" y="72"/>
                      <a:pt x="68" y="65"/>
                    </a:cubicBezTo>
                    <a:cubicBezTo>
                      <a:pt x="69" y="62"/>
                      <a:pt x="70" y="53"/>
                      <a:pt x="70" y="39"/>
                    </a:cubicBezTo>
                    <a:cubicBezTo>
                      <a:pt x="70" y="35"/>
                      <a:pt x="70" y="32"/>
                      <a:pt x="70" y="31"/>
                    </a:cubicBezTo>
                    <a:cubicBezTo>
                      <a:pt x="71" y="31"/>
                      <a:pt x="71" y="30"/>
                      <a:pt x="72" y="30"/>
                    </a:cubicBezTo>
                    <a:cubicBezTo>
                      <a:pt x="73" y="30"/>
                      <a:pt x="74" y="30"/>
                      <a:pt x="74" y="31"/>
                    </a:cubicBezTo>
                    <a:cubicBezTo>
                      <a:pt x="75" y="33"/>
                      <a:pt x="76" y="36"/>
                      <a:pt x="76" y="41"/>
                    </a:cubicBezTo>
                    <a:cubicBezTo>
                      <a:pt x="76" y="49"/>
                      <a:pt x="75" y="56"/>
                      <a:pt x="74" y="64"/>
                    </a:cubicBezTo>
                    <a:cubicBezTo>
                      <a:pt x="72" y="75"/>
                      <a:pt x="67" y="81"/>
                      <a:pt x="58" y="81"/>
                    </a:cubicBezTo>
                    <a:cubicBezTo>
                      <a:pt x="50" y="81"/>
                      <a:pt x="50" y="81"/>
                      <a:pt x="50" y="81"/>
                    </a:cubicBezTo>
                    <a:cubicBezTo>
                      <a:pt x="50" y="87"/>
                      <a:pt x="50" y="87"/>
                      <a:pt x="50" y="87"/>
                    </a:cubicBezTo>
                    <a:cubicBezTo>
                      <a:pt x="60" y="87"/>
                      <a:pt x="66" y="92"/>
                      <a:pt x="69" y="103"/>
                    </a:cubicBezTo>
                    <a:cubicBezTo>
                      <a:pt x="72" y="112"/>
                      <a:pt x="74" y="122"/>
                      <a:pt x="76" y="134"/>
                    </a:cubicBezTo>
                    <a:cubicBezTo>
                      <a:pt x="76" y="138"/>
                      <a:pt x="75" y="140"/>
                      <a:pt x="74" y="140"/>
                    </a:cubicBezTo>
                    <a:cubicBezTo>
                      <a:pt x="72" y="141"/>
                      <a:pt x="71" y="139"/>
                      <a:pt x="70" y="136"/>
                    </a:cubicBezTo>
                    <a:cubicBezTo>
                      <a:pt x="68" y="126"/>
                      <a:pt x="66" y="116"/>
                      <a:pt x="63" y="105"/>
                    </a:cubicBezTo>
                    <a:cubicBezTo>
                      <a:pt x="61" y="98"/>
                      <a:pt x="57" y="95"/>
                      <a:pt x="50" y="95"/>
                    </a:cubicBezTo>
                    <a:cubicBezTo>
                      <a:pt x="50" y="109"/>
                      <a:pt x="51" y="123"/>
                      <a:pt x="52" y="138"/>
                    </a:cubicBezTo>
                    <a:cubicBezTo>
                      <a:pt x="52" y="141"/>
                      <a:pt x="51" y="143"/>
                      <a:pt x="49" y="144"/>
                    </a:cubicBezTo>
                    <a:cubicBezTo>
                      <a:pt x="47" y="144"/>
                      <a:pt x="46" y="142"/>
                      <a:pt x="46" y="139"/>
                    </a:cubicBezTo>
                    <a:cubicBezTo>
                      <a:pt x="44" y="134"/>
                      <a:pt x="43" y="118"/>
                      <a:pt x="43" y="92"/>
                    </a:cubicBezTo>
                    <a:cubicBezTo>
                      <a:pt x="43" y="76"/>
                      <a:pt x="43" y="64"/>
                      <a:pt x="42" y="57"/>
                    </a:cubicBezTo>
                    <a:cubicBezTo>
                      <a:pt x="38" y="57"/>
                      <a:pt x="38" y="57"/>
                      <a:pt x="38" y="57"/>
                    </a:cubicBezTo>
                    <a:cubicBezTo>
                      <a:pt x="36" y="88"/>
                      <a:pt x="35" y="113"/>
                      <a:pt x="35" y="132"/>
                    </a:cubicBezTo>
                    <a:cubicBezTo>
                      <a:pt x="35" y="138"/>
                      <a:pt x="33" y="142"/>
                      <a:pt x="31" y="142"/>
                    </a:cubicBezTo>
                    <a:cubicBezTo>
                      <a:pt x="29" y="142"/>
                      <a:pt x="27" y="140"/>
                      <a:pt x="27" y="136"/>
                    </a:cubicBezTo>
                    <a:cubicBezTo>
                      <a:pt x="27" y="136"/>
                      <a:pt x="27" y="134"/>
                      <a:pt x="27" y="132"/>
                    </a:cubicBezTo>
                    <a:cubicBezTo>
                      <a:pt x="28" y="118"/>
                      <a:pt x="29" y="105"/>
                      <a:pt x="29" y="95"/>
                    </a:cubicBezTo>
                    <a:cubicBezTo>
                      <a:pt x="19" y="95"/>
                      <a:pt x="14" y="98"/>
                      <a:pt x="13" y="105"/>
                    </a:cubicBezTo>
                    <a:cubicBezTo>
                      <a:pt x="10" y="114"/>
                      <a:pt x="7" y="124"/>
                      <a:pt x="5" y="135"/>
                    </a:cubicBezTo>
                    <a:cubicBezTo>
                      <a:pt x="4" y="137"/>
                      <a:pt x="3" y="139"/>
                      <a:pt x="2" y="139"/>
                    </a:cubicBezTo>
                    <a:cubicBezTo>
                      <a:pt x="1" y="140"/>
                      <a:pt x="0" y="138"/>
                      <a:pt x="0" y="135"/>
                    </a:cubicBezTo>
                    <a:cubicBezTo>
                      <a:pt x="0" y="125"/>
                      <a:pt x="2" y="115"/>
                      <a:pt x="7" y="104"/>
                    </a:cubicBezTo>
                    <a:cubicBezTo>
                      <a:pt x="11" y="92"/>
                      <a:pt x="18" y="86"/>
                      <a:pt x="30" y="86"/>
                    </a:cubicBezTo>
                    <a:cubicBezTo>
                      <a:pt x="30" y="85"/>
                      <a:pt x="30" y="83"/>
                      <a:pt x="31" y="80"/>
                    </a:cubicBezTo>
                    <a:cubicBezTo>
                      <a:pt x="29" y="81"/>
                      <a:pt x="28" y="81"/>
                      <a:pt x="26" y="80"/>
                    </a:cubicBezTo>
                    <a:cubicBezTo>
                      <a:pt x="24" y="80"/>
                      <a:pt x="23" y="80"/>
                      <a:pt x="22" y="80"/>
                    </a:cubicBezTo>
                    <a:cubicBezTo>
                      <a:pt x="14" y="81"/>
                      <a:pt x="8" y="76"/>
                      <a:pt x="5" y="66"/>
                    </a:cubicBezTo>
                    <a:cubicBezTo>
                      <a:pt x="2" y="59"/>
                      <a:pt x="0" y="49"/>
                      <a:pt x="0" y="37"/>
                    </a:cubicBezTo>
                    <a:cubicBezTo>
                      <a:pt x="0" y="32"/>
                      <a:pt x="1" y="29"/>
                      <a:pt x="3" y="29"/>
                    </a:cubicBezTo>
                    <a:cubicBezTo>
                      <a:pt x="6" y="31"/>
                      <a:pt x="8" y="35"/>
                      <a:pt x="8" y="39"/>
                    </a:cubicBezTo>
                    <a:cubicBezTo>
                      <a:pt x="7" y="45"/>
                      <a:pt x="7" y="52"/>
                      <a:pt x="9" y="59"/>
                    </a:cubicBezTo>
                    <a:cubicBezTo>
                      <a:pt x="10" y="68"/>
                      <a:pt x="16" y="73"/>
                      <a:pt x="24" y="74"/>
                    </a:cubicBezTo>
                    <a:cubicBezTo>
                      <a:pt x="26" y="74"/>
                      <a:pt x="29" y="74"/>
                      <a:pt x="31" y="74"/>
                    </a:cubicBezTo>
                    <a:cubicBezTo>
                      <a:pt x="31" y="72"/>
                      <a:pt x="31" y="69"/>
                      <a:pt x="31" y="65"/>
                    </a:cubicBezTo>
                    <a:cubicBezTo>
                      <a:pt x="31" y="61"/>
                      <a:pt x="32" y="58"/>
                      <a:pt x="32" y="57"/>
                    </a:cubicBezTo>
                    <a:cubicBezTo>
                      <a:pt x="25" y="56"/>
                      <a:pt x="20" y="53"/>
                      <a:pt x="19" y="48"/>
                    </a:cubicBezTo>
                    <a:cubicBezTo>
                      <a:pt x="15" y="36"/>
                      <a:pt x="14" y="25"/>
                      <a:pt x="16" y="14"/>
                    </a:cubicBezTo>
                    <a:cubicBezTo>
                      <a:pt x="17" y="6"/>
                      <a:pt x="21" y="2"/>
                      <a:pt x="27" y="2"/>
                    </a:cubicBezTo>
                    <a:close/>
                    <a:moveTo>
                      <a:pt x="22" y="19"/>
                    </a:moveTo>
                    <a:cubicBezTo>
                      <a:pt x="22" y="20"/>
                      <a:pt x="22" y="20"/>
                      <a:pt x="22" y="20"/>
                    </a:cubicBezTo>
                    <a:cubicBezTo>
                      <a:pt x="30" y="20"/>
                      <a:pt x="42" y="19"/>
                      <a:pt x="57" y="19"/>
                    </a:cubicBezTo>
                    <a:cubicBezTo>
                      <a:pt x="57" y="18"/>
                      <a:pt x="57" y="17"/>
                      <a:pt x="57" y="16"/>
                    </a:cubicBezTo>
                    <a:cubicBezTo>
                      <a:pt x="56" y="13"/>
                      <a:pt x="54" y="10"/>
                      <a:pt x="50" y="9"/>
                    </a:cubicBezTo>
                    <a:cubicBezTo>
                      <a:pt x="44" y="8"/>
                      <a:pt x="37" y="7"/>
                      <a:pt x="31" y="9"/>
                    </a:cubicBezTo>
                    <a:cubicBezTo>
                      <a:pt x="25" y="11"/>
                      <a:pt x="22" y="14"/>
                      <a:pt x="22" y="19"/>
                    </a:cubicBezTo>
                    <a:close/>
                    <a:moveTo>
                      <a:pt x="22" y="27"/>
                    </a:moveTo>
                    <a:cubicBezTo>
                      <a:pt x="22" y="28"/>
                      <a:pt x="22" y="29"/>
                      <a:pt x="23" y="31"/>
                    </a:cubicBezTo>
                    <a:cubicBezTo>
                      <a:pt x="23" y="32"/>
                      <a:pt x="23" y="33"/>
                      <a:pt x="23" y="34"/>
                    </a:cubicBezTo>
                    <a:cubicBezTo>
                      <a:pt x="57" y="34"/>
                      <a:pt x="57" y="34"/>
                      <a:pt x="57" y="34"/>
                    </a:cubicBezTo>
                    <a:cubicBezTo>
                      <a:pt x="57" y="27"/>
                      <a:pt x="57" y="27"/>
                      <a:pt x="57" y="27"/>
                    </a:cubicBezTo>
                    <a:cubicBezTo>
                      <a:pt x="45" y="26"/>
                      <a:pt x="33" y="26"/>
                      <a:pt x="22" y="27"/>
                    </a:cubicBezTo>
                    <a:close/>
                    <a:moveTo>
                      <a:pt x="35" y="50"/>
                    </a:moveTo>
                    <a:cubicBezTo>
                      <a:pt x="48" y="50"/>
                      <a:pt x="48" y="50"/>
                      <a:pt x="48" y="50"/>
                    </a:cubicBezTo>
                    <a:cubicBezTo>
                      <a:pt x="53" y="50"/>
                      <a:pt x="55" y="47"/>
                      <a:pt x="57" y="42"/>
                    </a:cubicBezTo>
                    <a:cubicBezTo>
                      <a:pt x="57" y="41"/>
                      <a:pt x="57" y="41"/>
                      <a:pt x="57" y="41"/>
                    </a:cubicBezTo>
                    <a:cubicBezTo>
                      <a:pt x="43" y="41"/>
                      <a:pt x="32" y="41"/>
                      <a:pt x="24" y="42"/>
                    </a:cubicBezTo>
                    <a:cubicBezTo>
                      <a:pt x="24" y="43"/>
                      <a:pt x="24" y="43"/>
                      <a:pt x="25" y="44"/>
                    </a:cubicBezTo>
                    <a:cubicBezTo>
                      <a:pt x="27" y="48"/>
                      <a:pt x="30" y="50"/>
                      <a:pt x="35" y="5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28" name="iṣlîḋè"/>
              <p:cNvSpPr/>
              <p:nvPr/>
            </p:nvSpPr>
            <p:spPr bwMode="auto">
              <a:xfrm>
                <a:off x="2604984" y="5259978"/>
                <a:ext cx="177800" cy="255588"/>
              </a:xfrm>
              <a:custGeom>
                <a:avLst/>
                <a:gdLst>
                  <a:gd name="T0" fmla="*/ 5 w 96"/>
                  <a:gd name="T1" fmla="*/ 37 h 138"/>
                  <a:gd name="T2" fmla="*/ 24 w 96"/>
                  <a:gd name="T3" fmla="*/ 49 h 138"/>
                  <a:gd name="T4" fmla="*/ 7 w 96"/>
                  <a:gd name="T5" fmla="*/ 26 h 138"/>
                  <a:gd name="T6" fmla="*/ 0 w 96"/>
                  <a:gd name="T7" fmla="*/ 22 h 138"/>
                  <a:gd name="T8" fmla="*/ 44 w 96"/>
                  <a:gd name="T9" fmla="*/ 19 h 138"/>
                  <a:gd name="T10" fmla="*/ 40 w 96"/>
                  <a:gd name="T11" fmla="*/ 26 h 138"/>
                  <a:gd name="T12" fmla="*/ 29 w 96"/>
                  <a:gd name="T13" fmla="*/ 49 h 138"/>
                  <a:gd name="T14" fmla="*/ 42 w 96"/>
                  <a:gd name="T15" fmla="*/ 39 h 138"/>
                  <a:gd name="T16" fmla="*/ 36 w 96"/>
                  <a:gd name="T17" fmla="*/ 64 h 138"/>
                  <a:gd name="T18" fmla="*/ 44 w 96"/>
                  <a:gd name="T19" fmla="*/ 70 h 138"/>
                  <a:gd name="T20" fmla="*/ 30 w 96"/>
                  <a:gd name="T21" fmla="*/ 78 h 138"/>
                  <a:gd name="T22" fmla="*/ 48 w 96"/>
                  <a:gd name="T23" fmla="*/ 111 h 138"/>
                  <a:gd name="T24" fmla="*/ 42 w 96"/>
                  <a:gd name="T25" fmla="*/ 124 h 138"/>
                  <a:gd name="T26" fmla="*/ 33 w 96"/>
                  <a:gd name="T27" fmla="*/ 93 h 138"/>
                  <a:gd name="T28" fmla="*/ 30 w 96"/>
                  <a:gd name="T29" fmla="*/ 116 h 138"/>
                  <a:gd name="T30" fmla="*/ 24 w 96"/>
                  <a:gd name="T31" fmla="*/ 133 h 138"/>
                  <a:gd name="T32" fmla="*/ 20 w 96"/>
                  <a:gd name="T33" fmla="*/ 93 h 138"/>
                  <a:gd name="T34" fmla="*/ 11 w 96"/>
                  <a:gd name="T35" fmla="*/ 122 h 138"/>
                  <a:gd name="T36" fmla="*/ 8 w 96"/>
                  <a:gd name="T37" fmla="*/ 102 h 138"/>
                  <a:gd name="T38" fmla="*/ 24 w 96"/>
                  <a:gd name="T39" fmla="*/ 81 h 138"/>
                  <a:gd name="T40" fmla="*/ 3 w 96"/>
                  <a:gd name="T41" fmla="*/ 77 h 138"/>
                  <a:gd name="T42" fmla="*/ 14 w 96"/>
                  <a:gd name="T43" fmla="*/ 70 h 138"/>
                  <a:gd name="T44" fmla="*/ 20 w 96"/>
                  <a:gd name="T45" fmla="*/ 65 h 138"/>
                  <a:gd name="T46" fmla="*/ 2 w 96"/>
                  <a:gd name="T47" fmla="*/ 37 h 138"/>
                  <a:gd name="T48" fmla="*/ 40 w 96"/>
                  <a:gd name="T49" fmla="*/ 3 h 138"/>
                  <a:gd name="T50" fmla="*/ 14 w 96"/>
                  <a:gd name="T51" fmla="*/ 11 h 138"/>
                  <a:gd name="T52" fmla="*/ 5 w 96"/>
                  <a:gd name="T53" fmla="*/ 6 h 138"/>
                  <a:gd name="T54" fmla="*/ 33 w 96"/>
                  <a:gd name="T55" fmla="*/ 26 h 138"/>
                  <a:gd name="T56" fmla="*/ 27 w 96"/>
                  <a:gd name="T57" fmla="*/ 45 h 138"/>
                  <a:gd name="T58" fmla="*/ 54 w 96"/>
                  <a:gd name="T59" fmla="*/ 2 h 138"/>
                  <a:gd name="T60" fmla="*/ 58 w 96"/>
                  <a:gd name="T61" fmla="*/ 10 h 138"/>
                  <a:gd name="T62" fmla="*/ 88 w 96"/>
                  <a:gd name="T63" fmla="*/ 22 h 138"/>
                  <a:gd name="T64" fmla="*/ 74 w 96"/>
                  <a:gd name="T65" fmla="*/ 37 h 138"/>
                  <a:gd name="T66" fmla="*/ 62 w 96"/>
                  <a:gd name="T67" fmla="*/ 66 h 138"/>
                  <a:gd name="T68" fmla="*/ 53 w 96"/>
                  <a:gd name="T69" fmla="*/ 136 h 138"/>
                  <a:gd name="T70" fmla="*/ 48 w 96"/>
                  <a:gd name="T71" fmla="*/ 130 h 138"/>
                  <a:gd name="T72" fmla="*/ 55 w 96"/>
                  <a:gd name="T73" fmla="*/ 48 h 138"/>
                  <a:gd name="T74" fmla="*/ 76 w 96"/>
                  <a:gd name="T75" fmla="*/ 31 h 138"/>
                  <a:gd name="T76" fmla="*/ 65 w 96"/>
                  <a:gd name="T77" fmla="*/ 18 h 138"/>
                  <a:gd name="T78" fmla="*/ 52 w 96"/>
                  <a:gd name="T79" fmla="*/ 13 h 138"/>
                  <a:gd name="T80" fmla="*/ 94 w 96"/>
                  <a:gd name="T81" fmla="*/ 74 h 138"/>
                  <a:gd name="T82" fmla="*/ 76 w 96"/>
                  <a:gd name="T83" fmla="*/ 54 h 138"/>
                  <a:gd name="T84" fmla="*/ 83 w 96"/>
                  <a:gd name="T85" fmla="*/ 119 h 138"/>
                  <a:gd name="T86" fmla="*/ 88 w 96"/>
                  <a:gd name="T87" fmla="*/ 133 h 138"/>
                  <a:gd name="T88" fmla="*/ 70 w 96"/>
                  <a:gd name="T89" fmla="*/ 93 h 138"/>
                  <a:gd name="T90" fmla="*/ 70 w 96"/>
                  <a:gd name="T91" fmla="*/ 42 h 138"/>
                  <a:gd name="T92" fmla="*/ 95 w 96"/>
                  <a:gd name="T93" fmla="*/ 70 h 1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96" h="138">
                    <a:moveTo>
                      <a:pt x="2" y="37"/>
                    </a:moveTo>
                    <a:cubicBezTo>
                      <a:pt x="2" y="36"/>
                      <a:pt x="2" y="35"/>
                      <a:pt x="3" y="35"/>
                    </a:cubicBezTo>
                    <a:cubicBezTo>
                      <a:pt x="4" y="35"/>
                      <a:pt x="5" y="36"/>
                      <a:pt x="5" y="37"/>
                    </a:cubicBezTo>
                    <a:cubicBezTo>
                      <a:pt x="9" y="49"/>
                      <a:pt x="14" y="56"/>
                      <a:pt x="21" y="59"/>
                    </a:cubicBezTo>
                    <a:cubicBezTo>
                      <a:pt x="21" y="59"/>
                      <a:pt x="22" y="60"/>
                      <a:pt x="24" y="60"/>
                    </a:cubicBezTo>
                    <a:cubicBezTo>
                      <a:pt x="24" y="56"/>
                      <a:pt x="24" y="53"/>
                      <a:pt x="24" y="49"/>
                    </a:cubicBezTo>
                    <a:cubicBezTo>
                      <a:pt x="21" y="48"/>
                      <a:pt x="18" y="46"/>
                      <a:pt x="16" y="42"/>
                    </a:cubicBezTo>
                    <a:cubicBezTo>
                      <a:pt x="13" y="38"/>
                      <a:pt x="12" y="33"/>
                      <a:pt x="12" y="26"/>
                    </a:cubicBezTo>
                    <a:cubicBezTo>
                      <a:pt x="9" y="26"/>
                      <a:pt x="8" y="26"/>
                      <a:pt x="7" y="26"/>
                    </a:cubicBezTo>
                    <a:cubicBezTo>
                      <a:pt x="4" y="27"/>
                      <a:pt x="2" y="27"/>
                      <a:pt x="1" y="25"/>
                    </a:cubicBezTo>
                    <a:cubicBezTo>
                      <a:pt x="0" y="24"/>
                      <a:pt x="0" y="23"/>
                      <a:pt x="0" y="22"/>
                    </a:cubicBezTo>
                    <a:cubicBezTo>
                      <a:pt x="0" y="22"/>
                      <a:pt x="0" y="22"/>
                      <a:pt x="0" y="22"/>
                    </a:cubicBezTo>
                    <a:cubicBezTo>
                      <a:pt x="1" y="19"/>
                      <a:pt x="2" y="18"/>
                      <a:pt x="4" y="19"/>
                    </a:cubicBezTo>
                    <a:cubicBezTo>
                      <a:pt x="6" y="19"/>
                      <a:pt x="8" y="19"/>
                      <a:pt x="11" y="19"/>
                    </a:cubicBezTo>
                    <a:cubicBezTo>
                      <a:pt x="44" y="19"/>
                      <a:pt x="44" y="19"/>
                      <a:pt x="44" y="19"/>
                    </a:cubicBezTo>
                    <a:cubicBezTo>
                      <a:pt x="46" y="19"/>
                      <a:pt x="48" y="20"/>
                      <a:pt x="48" y="23"/>
                    </a:cubicBezTo>
                    <a:cubicBezTo>
                      <a:pt x="47" y="25"/>
                      <a:pt x="45" y="26"/>
                      <a:pt x="42" y="26"/>
                    </a:cubicBezTo>
                    <a:cubicBezTo>
                      <a:pt x="42" y="26"/>
                      <a:pt x="41" y="26"/>
                      <a:pt x="40" y="26"/>
                    </a:cubicBezTo>
                    <a:cubicBezTo>
                      <a:pt x="40" y="26"/>
                      <a:pt x="40" y="26"/>
                      <a:pt x="40" y="26"/>
                    </a:cubicBezTo>
                    <a:cubicBezTo>
                      <a:pt x="39" y="34"/>
                      <a:pt x="38" y="39"/>
                      <a:pt x="37" y="42"/>
                    </a:cubicBezTo>
                    <a:cubicBezTo>
                      <a:pt x="34" y="46"/>
                      <a:pt x="32" y="49"/>
                      <a:pt x="29" y="49"/>
                    </a:cubicBezTo>
                    <a:cubicBezTo>
                      <a:pt x="30" y="53"/>
                      <a:pt x="30" y="56"/>
                      <a:pt x="30" y="60"/>
                    </a:cubicBezTo>
                    <a:cubicBezTo>
                      <a:pt x="31" y="60"/>
                      <a:pt x="32" y="59"/>
                      <a:pt x="33" y="58"/>
                    </a:cubicBezTo>
                    <a:cubicBezTo>
                      <a:pt x="39" y="56"/>
                      <a:pt x="42" y="49"/>
                      <a:pt x="42" y="39"/>
                    </a:cubicBezTo>
                    <a:cubicBezTo>
                      <a:pt x="43" y="37"/>
                      <a:pt x="44" y="36"/>
                      <a:pt x="46" y="36"/>
                    </a:cubicBezTo>
                    <a:cubicBezTo>
                      <a:pt x="47" y="36"/>
                      <a:pt x="48" y="37"/>
                      <a:pt x="48" y="39"/>
                    </a:cubicBezTo>
                    <a:cubicBezTo>
                      <a:pt x="49" y="49"/>
                      <a:pt x="45" y="57"/>
                      <a:pt x="36" y="64"/>
                    </a:cubicBezTo>
                    <a:cubicBezTo>
                      <a:pt x="34" y="65"/>
                      <a:pt x="32" y="66"/>
                      <a:pt x="30" y="66"/>
                    </a:cubicBezTo>
                    <a:cubicBezTo>
                      <a:pt x="30" y="70"/>
                      <a:pt x="30" y="70"/>
                      <a:pt x="30" y="70"/>
                    </a:cubicBezTo>
                    <a:cubicBezTo>
                      <a:pt x="44" y="70"/>
                      <a:pt x="44" y="70"/>
                      <a:pt x="44" y="70"/>
                    </a:cubicBezTo>
                    <a:cubicBezTo>
                      <a:pt x="47" y="70"/>
                      <a:pt x="49" y="71"/>
                      <a:pt x="49" y="73"/>
                    </a:cubicBezTo>
                    <a:cubicBezTo>
                      <a:pt x="49" y="76"/>
                      <a:pt x="47" y="77"/>
                      <a:pt x="43" y="77"/>
                    </a:cubicBezTo>
                    <a:cubicBezTo>
                      <a:pt x="37" y="77"/>
                      <a:pt x="33" y="77"/>
                      <a:pt x="30" y="78"/>
                    </a:cubicBezTo>
                    <a:cubicBezTo>
                      <a:pt x="30" y="80"/>
                      <a:pt x="30" y="82"/>
                      <a:pt x="30" y="84"/>
                    </a:cubicBezTo>
                    <a:cubicBezTo>
                      <a:pt x="34" y="84"/>
                      <a:pt x="37" y="87"/>
                      <a:pt x="40" y="91"/>
                    </a:cubicBezTo>
                    <a:cubicBezTo>
                      <a:pt x="44" y="96"/>
                      <a:pt x="46" y="103"/>
                      <a:pt x="48" y="111"/>
                    </a:cubicBezTo>
                    <a:cubicBezTo>
                      <a:pt x="49" y="116"/>
                      <a:pt x="49" y="120"/>
                      <a:pt x="48" y="124"/>
                    </a:cubicBezTo>
                    <a:cubicBezTo>
                      <a:pt x="47" y="125"/>
                      <a:pt x="46" y="125"/>
                      <a:pt x="45" y="125"/>
                    </a:cubicBezTo>
                    <a:cubicBezTo>
                      <a:pt x="44" y="125"/>
                      <a:pt x="43" y="125"/>
                      <a:pt x="42" y="124"/>
                    </a:cubicBezTo>
                    <a:cubicBezTo>
                      <a:pt x="42" y="123"/>
                      <a:pt x="42" y="121"/>
                      <a:pt x="42" y="118"/>
                    </a:cubicBezTo>
                    <a:cubicBezTo>
                      <a:pt x="41" y="116"/>
                      <a:pt x="41" y="114"/>
                      <a:pt x="41" y="113"/>
                    </a:cubicBezTo>
                    <a:cubicBezTo>
                      <a:pt x="40" y="104"/>
                      <a:pt x="37" y="97"/>
                      <a:pt x="33" y="93"/>
                    </a:cubicBezTo>
                    <a:cubicBezTo>
                      <a:pt x="33" y="92"/>
                      <a:pt x="32" y="91"/>
                      <a:pt x="30" y="91"/>
                    </a:cubicBezTo>
                    <a:cubicBezTo>
                      <a:pt x="31" y="97"/>
                      <a:pt x="31" y="101"/>
                      <a:pt x="31" y="105"/>
                    </a:cubicBezTo>
                    <a:cubicBezTo>
                      <a:pt x="31" y="107"/>
                      <a:pt x="31" y="111"/>
                      <a:pt x="30" y="116"/>
                    </a:cubicBezTo>
                    <a:cubicBezTo>
                      <a:pt x="30" y="124"/>
                      <a:pt x="30" y="129"/>
                      <a:pt x="29" y="133"/>
                    </a:cubicBezTo>
                    <a:cubicBezTo>
                      <a:pt x="29" y="136"/>
                      <a:pt x="28" y="137"/>
                      <a:pt x="27" y="137"/>
                    </a:cubicBezTo>
                    <a:cubicBezTo>
                      <a:pt x="26" y="137"/>
                      <a:pt x="25" y="136"/>
                      <a:pt x="24" y="133"/>
                    </a:cubicBezTo>
                    <a:cubicBezTo>
                      <a:pt x="24" y="120"/>
                      <a:pt x="24" y="111"/>
                      <a:pt x="24" y="105"/>
                    </a:cubicBezTo>
                    <a:cubicBezTo>
                      <a:pt x="24" y="100"/>
                      <a:pt x="24" y="95"/>
                      <a:pt x="24" y="90"/>
                    </a:cubicBezTo>
                    <a:cubicBezTo>
                      <a:pt x="22" y="91"/>
                      <a:pt x="21" y="92"/>
                      <a:pt x="20" y="93"/>
                    </a:cubicBezTo>
                    <a:cubicBezTo>
                      <a:pt x="18" y="94"/>
                      <a:pt x="16" y="98"/>
                      <a:pt x="14" y="102"/>
                    </a:cubicBezTo>
                    <a:cubicBezTo>
                      <a:pt x="13" y="104"/>
                      <a:pt x="13" y="104"/>
                      <a:pt x="13" y="104"/>
                    </a:cubicBezTo>
                    <a:cubicBezTo>
                      <a:pt x="12" y="108"/>
                      <a:pt x="11" y="114"/>
                      <a:pt x="11" y="122"/>
                    </a:cubicBezTo>
                    <a:cubicBezTo>
                      <a:pt x="10" y="124"/>
                      <a:pt x="9" y="125"/>
                      <a:pt x="7" y="125"/>
                    </a:cubicBezTo>
                    <a:cubicBezTo>
                      <a:pt x="6" y="125"/>
                      <a:pt x="5" y="124"/>
                      <a:pt x="5" y="122"/>
                    </a:cubicBezTo>
                    <a:cubicBezTo>
                      <a:pt x="6" y="115"/>
                      <a:pt x="7" y="108"/>
                      <a:pt x="8" y="102"/>
                    </a:cubicBezTo>
                    <a:cubicBezTo>
                      <a:pt x="9" y="97"/>
                      <a:pt x="11" y="92"/>
                      <a:pt x="14" y="89"/>
                    </a:cubicBezTo>
                    <a:cubicBezTo>
                      <a:pt x="17" y="86"/>
                      <a:pt x="20" y="84"/>
                      <a:pt x="24" y="84"/>
                    </a:cubicBezTo>
                    <a:cubicBezTo>
                      <a:pt x="24" y="81"/>
                      <a:pt x="24" y="81"/>
                      <a:pt x="24" y="81"/>
                    </a:cubicBezTo>
                    <a:cubicBezTo>
                      <a:pt x="24" y="80"/>
                      <a:pt x="24" y="79"/>
                      <a:pt x="24" y="78"/>
                    </a:cubicBezTo>
                    <a:cubicBezTo>
                      <a:pt x="14" y="78"/>
                      <a:pt x="9" y="78"/>
                      <a:pt x="9" y="78"/>
                    </a:cubicBezTo>
                    <a:cubicBezTo>
                      <a:pt x="6" y="79"/>
                      <a:pt x="4" y="79"/>
                      <a:pt x="3" y="77"/>
                    </a:cubicBezTo>
                    <a:cubicBezTo>
                      <a:pt x="2" y="76"/>
                      <a:pt x="2" y="74"/>
                      <a:pt x="3" y="72"/>
                    </a:cubicBezTo>
                    <a:cubicBezTo>
                      <a:pt x="3" y="70"/>
                      <a:pt x="4" y="70"/>
                      <a:pt x="7" y="70"/>
                    </a:cubicBezTo>
                    <a:cubicBezTo>
                      <a:pt x="8" y="70"/>
                      <a:pt x="10" y="70"/>
                      <a:pt x="14" y="70"/>
                    </a:cubicBezTo>
                    <a:cubicBezTo>
                      <a:pt x="24" y="70"/>
                      <a:pt x="24" y="70"/>
                      <a:pt x="24" y="70"/>
                    </a:cubicBezTo>
                    <a:cubicBezTo>
                      <a:pt x="24" y="66"/>
                      <a:pt x="24" y="66"/>
                      <a:pt x="24" y="66"/>
                    </a:cubicBezTo>
                    <a:cubicBezTo>
                      <a:pt x="22" y="66"/>
                      <a:pt x="21" y="66"/>
                      <a:pt x="20" y="65"/>
                    </a:cubicBezTo>
                    <a:cubicBezTo>
                      <a:pt x="12" y="62"/>
                      <a:pt x="6" y="56"/>
                      <a:pt x="2" y="46"/>
                    </a:cubicBezTo>
                    <a:cubicBezTo>
                      <a:pt x="2" y="46"/>
                      <a:pt x="2" y="43"/>
                      <a:pt x="2" y="40"/>
                    </a:cubicBezTo>
                    <a:cubicBezTo>
                      <a:pt x="2" y="39"/>
                      <a:pt x="2" y="38"/>
                      <a:pt x="2" y="37"/>
                    </a:cubicBezTo>
                    <a:close/>
                    <a:moveTo>
                      <a:pt x="9" y="3"/>
                    </a:moveTo>
                    <a:cubicBezTo>
                      <a:pt x="11" y="3"/>
                      <a:pt x="15" y="3"/>
                      <a:pt x="19" y="3"/>
                    </a:cubicBezTo>
                    <a:cubicBezTo>
                      <a:pt x="40" y="3"/>
                      <a:pt x="40" y="3"/>
                      <a:pt x="40" y="3"/>
                    </a:cubicBezTo>
                    <a:cubicBezTo>
                      <a:pt x="43" y="3"/>
                      <a:pt x="44" y="5"/>
                      <a:pt x="44" y="7"/>
                    </a:cubicBezTo>
                    <a:cubicBezTo>
                      <a:pt x="44" y="9"/>
                      <a:pt x="42" y="10"/>
                      <a:pt x="39" y="10"/>
                    </a:cubicBezTo>
                    <a:cubicBezTo>
                      <a:pt x="34" y="10"/>
                      <a:pt x="25" y="10"/>
                      <a:pt x="14" y="11"/>
                    </a:cubicBezTo>
                    <a:cubicBezTo>
                      <a:pt x="13" y="11"/>
                      <a:pt x="12" y="11"/>
                      <a:pt x="11" y="11"/>
                    </a:cubicBezTo>
                    <a:cubicBezTo>
                      <a:pt x="7" y="11"/>
                      <a:pt x="5" y="11"/>
                      <a:pt x="5" y="9"/>
                    </a:cubicBezTo>
                    <a:cubicBezTo>
                      <a:pt x="5" y="9"/>
                      <a:pt x="4" y="8"/>
                      <a:pt x="5" y="6"/>
                    </a:cubicBezTo>
                    <a:cubicBezTo>
                      <a:pt x="5" y="5"/>
                      <a:pt x="5" y="5"/>
                      <a:pt x="5" y="5"/>
                    </a:cubicBezTo>
                    <a:cubicBezTo>
                      <a:pt x="5" y="3"/>
                      <a:pt x="6" y="3"/>
                      <a:pt x="9" y="3"/>
                    </a:cubicBezTo>
                    <a:close/>
                    <a:moveTo>
                      <a:pt x="33" y="26"/>
                    </a:moveTo>
                    <a:cubicBezTo>
                      <a:pt x="28" y="26"/>
                      <a:pt x="23" y="26"/>
                      <a:pt x="17" y="26"/>
                    </a:cubicBezTo>
                    <a:cubicBezTo>
                      <a:pt x="18" y="32"/>
                      <a:pt x="20" y="38"/>
                      <a:pt x="24" y="42"/>
                    </a:cubicBezTo>
                    <a:cubicBezTo>
                      <a:pt x="25" y="44"/>
                      <a:pt x="26" y="45"/>
                      <a:pt x="27" y="45"/>
                    </a:cubicBezTo>
                    <a:cubicBezTo>
                      <a:pt x="28" y="45"/>
                      <a:pt x="29" y="44"/>
                      <a:pt x="29" y="42"/>
                    </a:cubicBezTo>
                    <a:cubicBezTo>
                      <a:pt x="32" y="38"/>
                      <a:pt x="33" y="33"/>
                      <a:pt x="33" y="26"/>
                    </a:cubicBezTo>
                    <a:close/>
                    <a:moveTo>
                      <a:pt x="54" y="2"/>
                    </a:moveTo>
                    <a:cubicBezTo>
                      <a:pt x="55" y="0"/>
                      <a:pt x="57" y="0"/>
                      <a:pt x="58" y="1"/>
                    </a:cubicBezTo>
                    <a:cubicBezTo>
                      <a:pt x="59" y="2"/>
                      <a:pt x="60" y="4"/>
                      <a:pt x="59" y="6"/>
                    </a:cubicBezTo>
                    <a:cubicBezTo>
                      <a:pt x="57" y="8"/>
                      <a:pt x="57" y="9"/>
                      <a:pt x="58" y="10"/>
                    </a:cubicBezTo>
                    <a:cubicBezTo>
                      <a:pt x="59" y="11"/>
                      <a:pt x="61" y="12"/>
                      <a:pt x="63" y="11"/>
                    </a:cubicBezTo>
                    <a:cubicBezTo>
                      <a:pt x="67" y="9"/>
                      <a:pt x="73" y="9"/>
                      <a:pt x="80" y="11"/>
                    </a:cubicBezTo>
                    <a:cubicBezTo>
                      <a:pt x="84" y="13"/>
                      <a:pt x="87" y="16"/>
                      <a:pt x="88" y="22"/>
                    </a:cubicBezTo>
                    <a:cubicBezTo>
                      <a:pt x="89" y="27"/>
                      <a:pt x="88" y="32"/>
                      <a:pt x="85" y="35"/>
                    </a:cubicBezTo>
                    <a:cubicBezTo>
                      <a:pt x="84" y="38"/>
                      <a:pt x="81" y="39"/>
                      <a:pt x="75" y="37"/>
                    </a:cubicBezTo>
                    <a:cubicBezTo>
                      <a:pt x="75" y="37"/>
                      <a:pt x="74" y="37"/>
                      <a:pt x="74" y="37"/>
                    </a:cubicBezTo>
                    <a:cubicBezTo>
                      <a:pt x="69" y="37"/>
                      <a:pt x="66" y="37"/>
                      <a:pt x="63" y="38"/>
                    </a:cubicBezTo>
                    <a:cubicBezTo>
                      <a:pt x="62" y="38"/>
                      <a:pt x="61" y="40"/>
                      <a:pt x="61" y="43"/>
                    </a:cubicBezTo>
                    <a:cubicBezTo>
                      <a:pt x="62" y="48"/>
                      <a:pt x="62" y="56"/>
                      <a:pt x="62" y="66"/>
                    </a:cubicBezTo>
                    <a:cubicBezTo>
                      <a:pt x="62" y="70"/>
                      <a:pt x="61" y="76"/>
                      <a:pt x="61" y="84"/>
                    </a:cubicBezTo>
                    <a:cubicBezTo>
                      <a:pt x="59" y="99"/>
                      <a:pt x="58" y="110"/>
                      <a:pt x="57" y="116"/>
                    </a:cubicBezTo>
                    <a:cubicBezTo>
                      <a:pt x="57" y="122"/>
                      <a:pt x="55" y="128"/>
                      <a:pt x="53" y="136"/>
                    </a:cubicBezTo>
                    <a:cubicBezTo>
                      <a:pt x="52" y="137"/>
                      <a:pt x="51" y="138"/>
                      <a:pt x="50" y="138"/>
                    </a:cubicBezTo>
                    <a:cubicBezTo>
                      <a:pt x="48" y="138"/>
                      <a:pt x="48" y="137"/>
                      <a:pt x="48" y="136"/>
                    </a:cubicBezTo>
                    <a:cubicBezTo>
                      <a:pt x="48" y="135"/>
                      <a:pt x="48" y="133"/>
                      <a:pt x="48" y="130"/>
                    </a:cubicBezTo>
                    <a:cubicBezTo>
                      <a:pt x="49" y="127"/>
                      <a:pt x="49" y="126"/>
                      <a:pt x="49" y="125"/>
                    </a:cubicBezTo>
                    <a:cubicBezTo>
                      <a:pt x="53" y="104"/>
                      <a:pt x="55" y="85"/>
                      <a:pt x="55" y="68"/>
                    </a:cubicBezTo>
                    <a:cubicBezTo>
                      <a:pt x="56" y="60"/>
                      <a:pt x="56" y="54"/>
                      <a:pt x="55" y="48"/>
                    </a:cubicBezTo>
                    <a:cubicBezTo>
                      <a:pt x="54" y="45"/>
                      <a:pt x="53" y="42"/>
                      <a:pt x="52" y="40"/>
                    </a:cubicBezTo>
                    <a:cubicBezTo>
                      <a:pt x="50" y="38"/>
                      <a:pt x="51" y="36"/>
                      <a:pt x="54" y="34"/>
                    </a:cubicBezTo>
                    <a:cubicBezTo>
                      <a:pt x="58" y="30"/>
                      <a:pt x="66" y="29"/>
                      <a:pt x="76" y="31"/>
                    </a:cubicBezTo>
                    <a:cubicBezTo>
                      <a:pt x="81" y="32"/>
                      <a:pt x="83" y="30"/>
                      <a:pt x="83" y="25"/>
                    </a:cubicBezTo>
                    <a:cubicBezTo>
                      <a:pt x="83" y="21"/>
                      <a:pt x="81" y="18"/>
                      <a:pt x="77" y="18"/>
                    </a:cubicBezTo>
                    <a:cubicBezTo>
                      <a:pt x="70" y="17"/>
                      <a:pt x="66" y="17"/>
                      <a:pt x="65" y="18"/>
                    </a:cubicBezTo>
                    <a:cubicBezTo>
                      <a:pt x="63" y="19"/>
                      <a:pt x="60" y="19"/>
                      <a:pt x="57" y="19"/>
                    </a:cubicBezTo>
                    <a:cubicBezTo>
                      <a:pt x="57" y="18"/>
                      <a:pt x="55" y="17"/>
                      <a:pt x="53" y="15"/>
                    </a:cubicBezTo>
                    <a:cubicBezTo>
                      <a:pt x="53" y="14"/>
                      <a:pt x="52" y="14"/>
                      <a:pt x="52" y="13"/>
                    </a:cubicBezTo>
                    <a:cubicBezTo>
                      <a:pt x="50" y="10"/>
                      <a:pt x="51" y="6"/>
                      <a:pt x="54" y="2"/>
                    </a:cubicBezTo>
                    <a:close/>
                    <a:moveTo>
                      <a:pt x="95" y="70"/>
                    </a:moveTo>
                    <a:cubicBezTo>
                      <a:pt x="96" y="72"/>
                      <a:pt x="95" y="73"/>
                      <a:pt x="94" y="74"/>
                    </a:cubicBezTo>
                    <a:cubicBezTo>
                      <a:pt x="92" y="74"/>
                      <a:pt x="91" y="74"/>
                      <a:pt x="90" y="72"/>
                    </a:cubicBezTo>
                    <a:cubicBezTo>
                      <a:pt x="88" y="67"/>
                      <a:pt x="84" y="62"/>
                      <a:pt x="78" y="56"/>
                    </a:cubicBezTo>
                    <a:cubicBezTo>
                      <a:pt x="77" y="55"/>
                      <a:pt x="76" y="54"/>
                      <a:pt x="76" y="54"/>
                    </a:cubicBezTo>
                    <a:cubicBezTo>
                      <a:pt x="75" y="56"/>
                      <a:pt x="75" y="56"/>
                      <a:pt x="75" y="56"/>
                    </a:cubicBezTo>
                    <a:cubicBezTo>
                      <a:pt x="75" y="61"/>
                      <a:pt x="75" y="73"/>
                      <a:pt x="77" y="93"/>
                    </a:cubicBezTo>
                    <a:cubicBezTo>
                      <a:pt x="78" y="99"/>
                      <a:pt x="80" y="107"/>
                      <a:pt x="83" y="119"/>
                    </a:cubicBezTo>
                    <a:cubicBezTo>
                      <a:pt x="84" y="122"/>
                      <a:pt x="85" y="124"/>
                      <a:pt x="85" y="124"/>
                    </a:cubicBezTo>
                    <a:cubicBezTo>
                      <a:pt x="86" y="126"/>
                      <a:pt x="86" y="128"/>
                      <a:pt x="87" y="131"/>
                    </a:cubicBezTo>
                    <a:cubicBezTo>
                      <a:pt x="88" y="132"/>
                      <a:pt x="88" y="133"/>
                      <a:pt x="88" y="133"/>
                    </a:cubicBezTo>
                    <a:cubicBezTo>
                      <a:pt x="88" y="135"/>
                      <a:pt x="88" y="136"/>
                      <a:pt x="86" y="136"/>
                    </a:cubicBezTo>
                    <a:cubicBezTo>
                      <a:pt x="84" y="136"/>
                      <a:pt x="83" y="135"/>
                      <a:pt x="82" y="133"/>
                    </a:cubicBezTo>
                    <a:cubicBezTo>
                      <a:pt x="77" y="123"/>
                      <a:pt x="73" y="110"/>
                      <a:pt x="70" y="93"/>
                    </a:cubicBezTo>
                    <a:cubicBezTo>
                      <a:pt x="69" y="79"/>
                      <a:pt x="68" y="68"/>
                      <a:pt x="68" y="58"/>
                    </a:cubicBezTo>
                    <a:cubicBezTo>
                      <a:pt x="68" y="51"/>
                      <a:pt x="68" y="46"/>
                      <a:pt x="68" y="44"/>
                    </a:cubicBezTo>
                    <a:cubicBezTo>
                      <a:pt x="68" y="43"/>
                      <a:pt x="69" y="42"/>
                      <a:pt x="70" y="42"/>
                    </a:cubicBezTo>
                    <a:cubicBezTo>
                      <a:pt x="71" y="41"/>
                      <a:pt x="71" y="41"/>
                      <a:pt x="72" y="42"/>
                    </a:cubicBezTo>
                    <a:cubicBezTo>
                      <a:pt x="76" y="45"/>
                      <a:pt x="78" y="48"/>
                      <a:pt x="80" y="49"/>
                    </a:cubicBezTo>
                    <a:cubicBezTo>
                      <a:pt x="86" y="54"/>
                      <a:pt x="91" y="61"/>
                      <a:pt x="95" y="7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29" name="íṣ1ïḑe"/>
              <p:cNvSpPr/>
              <p:nvPr/>
            </p:nvSpPr>
            <p:spPr bwMode="auto">
              <a:xfrm>
                <a:off x="1750909" y="4905965"/>
                <a:ext cx="93663" cy="87313"/>
              </a:xfrm>
              <a:custGeom>
                <a:avLst/>
                <a:gdLst>
                  <a:gd name="T0" fmla="*/ 51 w 51"/>
                  <a:gd name="T1" fmla="*/ 17 h 47"/>
                  <a:gd name="T2" fmla="*/ 46 w 51"/>
                  <a:gd name="T3" fmla="*/ 25 h 47"/>
                  <a:gd name="T4" fmla="*/ 26 w 51"/>
                  <a:gd name="T5" fmla="*/ 13 h 47"/>
                  <a:gd name="T6" fmla="*/ 20 w 51"/>
                  <a:gd name="T7" fmla="*/ 9 h 47"/>
                  <a:gd name="T8" fmla="*/ 14 w 51"/>
                  <a:gd name="T9" fmla="*/ 9 h 47"/>
                  <a:gd name="T10" fmla="*/ 10 w 51"/>
                  <a:gd name="T11" fmla="*/ 13 h 47"/>
                  <a:gd name="T12" fmla="*/ 8 w 51"/>
                  <a:gd name="T13" fmla="*/ 19 h 47"/>
                  <a:gd name="T14" fmla="*/ 10 w 51"/>
                  <a:gd name="T15" fmla="*/ 23 h 47"/>
                  <a:gd name="T16" fmla="*/ 17 w 51"/>
                  <a:gd name="T17" fmla="*/ 27 h 47"/>
                  <a:gd name="T18" fmla="*/ 37 w 51"/>
                  <a:gd name="T19" fmla="*/ 40 h 47"/>
                  <a:gd name="T20" fmla="*/ 33 w 51"/>
                  <a:gd name="T21" fmla="*/ 47 h 47"/>
                  <a:gd name="T22" fmla="*/ 13 w 51"/>
                  <a:gd name="T23" fmla="*/ 35 h 47"/>
                  <a:gd name="T24" fmla="*/ 4 w 51"/>
                  <a:gd name="T25" fmla="*/ 29 h 47"/>
                  <a:gd name="T26" fmla="*/ 1 w 51"/>
                  <a:gd name="T27" fmla="*/ 24 h 47"/>
                  <a:gd name="T28" fmla="*/ 0 w 51"/>
                  <a:gd name="T29" fmla="*/ 18 h 47"/>
                  <a:gd name="T30" fmla="*/ 3 w 51"/>
                  <a:gd name="T31" fmla="*/ 10 h 47"/>
                  <a:gd name="T32" fmla="*/ 10 w 51"/>
                  <a:gd name="T33" fmla="*/ 2 h 47"/>
                  <a:gd name="T34" fmla="*/ 15 w 51"/>
                  <a:gd name="T35" fmla="*/ 0 h 47"/>
                  <a:gd name="T36" fmla="*/ 21 w 51"/>
                  <a:gd name="T37" fmla="*/ 0 h 47"/>
                  <a:gd name="T38" fmla="*/ 31 w 51"/>
                  <a:gd name="T39" fmla="*/ 5 h 47"/>
                  <a:gd name="T40" fmla="*/ 51 w 51"/>
                  <a:gd name="T41" fmla="*/ 17 h 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51" h="47">
                    <a:moveTo>
                      <a:pt x="51" y="17"/>
                    </a:moveTo>
                    <a:cubicBezTo>
                      <a:pt x="46" y="25"/>
                      <a:pt x="46" y="25"/>
                      <a:pt x="46" y="25"/>
                    </a:cubicBezTo>
                    <a:cubicBezTo>
                      <a:pt x="26" y="13"/>
                      <a:pt x="26" y="13"/>
                      <a:pt x="26" y="13"/>
                    </a:cubicBezTo>
                    <a:cubicBezTo>
                      <a:pt x="23" y="11"/>
                      <a:pt x="21" y="10"/>
                      <a:pt x="20" y="9"/>
                    </a:cubicBezTo>
                    <a:cubicBezTo>
                      <a:pt x="18" y="9"/>
                      <a:pt x="16" y="9"/>
                      <a:pt x="14" y="9"/>
                    </a:cubicBezTo>
                    <a:cubicBezTo>
                      <a:pt x="13" y="10"/>
                      <a:pt x="11" y="11"/>
                      <a:pt x="10" y="13"/>
                    </a:cubicBezTo>
                    <a:cubicBezTo>
                      <a:pt x="9" y="16"/>
                      <a:pt x="8" y="17"/>
                      <a:pt x="8" y="19"/>
                    </a:cubicBezTo>
                    <a:cubicBezTo>
                      <a:pt x="9" y="21"/>
                      <a:pt x="9" y="22"/>
                      <a:pt x="10" y="23"/>
                    </a:cubicBezTo>
                    <a:cubicBezTo>
                      <a:pt x="12" y="24"/>
                      <a:pt x="14" y="25"/>
                      <a:pt x="17" y="27"/>
                    </a:cubicBezTo>
                    <a:cubicBezTo>
                      <a:pt x="37" y="40"/>
                      <a:pt x="37" y="40"/>
                      <a:pt x="37" y="40"/>
                    </a:cubicBezTo>
                    <a:cubicBezTo>
                      <a:pt x="33" y="47"/>
                      <a:pt x="33" y="47"/>
                      <a:pt x="33" y="47"/>
                    </a:cubicBezTo>
                    <a:cubicBezTo>
                      <a:pt x="13" y="35"/>
                      <a:pt x="13" y="35"/>
                      <a:pt x="13" y="35"/>
                    </a:cubicBezTo>
                    <a:cubicBezTo>
                      <a:pt x="9" y="33"/>
                      <a:pt x="6" y="31"/>
                      <a:pt x="4" y="29"/>
                    </a:cubicBezTo>
                    <a:cubicBezTo>
                      <a:pt x="2" y="28"/>
                      <a:pt x="1" y="26"/>
                      <a:pt x="1" y="24"/>
                    </a:cubicBezTo>
                    <a:cubicBezTo>
                      <a:pt x="0" y="22"/>
                      <a:pt x="0" y="20"/>
                      <a:pt x="0" y="18"/>
                    </a:cubicBezTo>
                    <a:cubicBezTo>
                      <a:pt x="0" y="15"/>
                      <a:pt x="2" y="13"/>
                      <a:pt x="3" y="10"/>
                    </a:cubicBezTo>
                    <a:cubicBezTo>
                      <a:pt x="6" y="6"/>
                      <a:pt x="8" y="4"/>
                      <a:pt x="10" y="2"/>
                    </a:cubicBezTo>
                    <a:cubicBezTo>
                      <a:pt x="11" y="1"/>
                      <a:pt x="13" y="0"/>
                      <a:pt x="15" y="0"/>
                    </a:cubicBezTo>
                    <a:cubicBezTo>
                      <a:pt x="17" y="0"/>
                      <a:pt x="19" y="0"/>
                      <a:pt x="21" y="0"/>
                    </a:cubicBezTo>
                    <a:cubicBezTo>
                      <a:pt x="23" y="1"/>
                      <a:pt x="27" y="3"/>
                      <a:pt x="31" y="5"/>
                    </a:cubicBezTo>
                    <a:lnTo>
                      <a:pt x="51" y="1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30" name="íṧḷîde"/>
              <p:cNvSpPr/>
              <p:nvPr/>
            </p:nvSpPr>
            <p:spPr bwMode="auto">
              <a:xfrm>
                <a:off x="1704872" y="4971053"/>
                <a:ext cx="100013" cy="92075"/>
              </a:xfrm>
              <a:custGeom>
                <a:avLst/>
                <a:gdLst>
                  <a:gd name="T0" fmla="*/ 17 w 63"/>
                  <a:gd name="T1" fmla="*/ 0 h 58"/>
                  <a:gd name="T2" fmla="*/ 63 w 63"/>
                  <a:gd name="T3" fmla="*/ 21 h 58"/>
                  <a:gd name="T4" fmla="*/ 59 w 63"/>
                  <a:gd name="T5" fmla="*/ 30 h 58"/>
                  <a:gd name="T6" fmla="*/ 19 w 63"/>
                  <a:gd name="T7" fmla="*/ 35 h 58"/>
                  <a:gd name="T8" fmla="*/ 50 w 63"/>
                  <a:gd name="T9" fmla="*/ 50 h 58"/>
                  <a:gd name="T10" fmla="*/ 46 w 63"/>
                  <a:gd name="T11" fmla="*/ 58 h 58"/>
                  <a:gd name="T12" fmla="*/ 0 w 63"/>
                  <a:gd name="T13" fmla="*/ 37 h 58"/>
                  <a:gd name="T14" fmla="*/ 4 w 63"/>
                  <a:gd name="T15" fmla="*/ 26 h 58"/>
                  <a:gd name="T16" fmla="*/ 43 w 63"/>
                  <a:gd name="T17" fmla="*/ 22 h 58"/>
                  <a:gd name="T18" fmla="*/ 12 w 63"/>
                  <a:gd name="T19" fmla="*/ 8 h 58"/>
                  <a:gd name="T20" fmla="*/ 17 w 63"/>
                  <a:gd name="T21" fmla="*/ 0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63" h="58">
                    <a:moveTo>
                      <a:pt x="17" y="0"/>
                    </a:moveTo>
                    <a:lnTo>
                      <a:pt x="63" y="21"/>
                    </a:lnTo>
                    <a:lnTo>
                      <a:pt x="59" y="30"/>
                    </a:lnTo>
                    <a:lnTo>
                      <a:pt x="19" y="35"/>
                    </a:lnTo>
                    <a:lnTo>
                      <a:pt x="50" y="50"/>
                    </a:lnTo>
                    <a:lnTo>
                      <a:pt x="46" y="58"/>
                    </a:lnTo>
                    <a:lnTo>
                      <a:pt x="0" y="37"/>
                    </a:lnTo>
                    <a:lnTo>
                      <a:pt x="4" y="26"/>
                    </a:lnTo>
                    <a:lnTo>
                      <a:pt x="43" y="22"/>
                    </a:lnTo>
                    <a:lnTo>
                      <a:pt x="12" y="8"/>
                    </a:lnTo>
                    <a:lnTo>
                      <a:pt x="17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31" name="íS1îḍé"/>
              <p:cNvSpPr/>
              <p:nvPr/>
            </p:nvSpPr>
            <p:spPr bwMode="auto">
              <a:xfrm>
                <a:off x="1690584" y="5045665"/>
                <a:ext cx="84138" cy="44450"/>
              </a:xfrm>
              <a:custGeom>
                <a:avLst/>
                <a:gdLst>
                  <a:gd name="T0" fmla="*/ 5 w 53"/>
                  <a:gd name="T1" fmla="*/ 0 h 28"/>
                  <a:gd name="T2" fmla="*/ 53 w 53"/>
                  <a:gd name="T3" fmla="*/ 19 h 28"/>
                  <a:gd name="T4" fmla="*/ 49 w 53"/>
                  <a:gd name="T5" fmla="*/ 28 h 28"/>
                  <a:gd name="T6" fmla="*/ 0 w 53"/>
                  <a:gd name="T7" fmla="*/ 10 h 28"/>
                  <a:gd name="T8" fmla="*/ 5 w 53"/>
                  <a:gd name="T9" fmla="*/ 0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3" h="28">
                    <a:moveTo>
                      <a:pt x="5" y="0"/>
                    </a:moveTo>
                    <a:lnTo>
                      <a:pt x="53" y="19"/>
                    </a:lnTo>
                    <a:lnTo>
                      <a:pt x="49" y="28"/>
                    </a:lnTo>
                    <a:lnTo>
                      <a:pt x="0" y="10"/>
                    </a:lnTo>
                    <a:lnTo>
                      <a:pt x="5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32" name="íṧļïḋè"/>
              <p:cNvSpPr/>
              <p:nvPr/>
            </p:nvSpPr>
            <p:spPr bwMode="auto">
              <a:xfrm>
                <a:off x="1674709" y="5091703"/>
                <a:ext cx="92075" cy="73025"/>
              </a:xfrm>
              <a:custGeom>
                <a:avLst/>
                <a:gdLst>
                  <a:gd name="T0" fmla="*/ 4 w 58"/>
                  <a:gd name="T1" fmla="*/ 3 h 46"/>
                  <a:gd name="T2" fmla="*/ 58 w 58"/>
                  <a:gd name="T3" fmla="*/ 0 h 46"/>
                  <a:gd name="T4" fmla="*/ 55 w 58"/>
                  <a:gd name="T5" fmla="*/ 11 h 46"/>
                  <a:gd name="T6" fmla="*/ 14 w 58"/>
                  <a:gd name="T7" fmla="*/ 13 h 46"/>
                  <a:gd name="T8" fmla="*/ 46 w 58"/>
                  <a:gd name="T9" fmla="*/ 35 h 46"/>
                  <a:gd name="T10" fmla="*/ 44 w 58"/>
                  <a:gd name="T11" fmla="*/ 46 h 46"/>
                  <a:gd name="T12" fmla="*/ 0 w 58"/>
                  <a:gd name="T13" fmla="*/ 14 h 46"/>
                  <a:gd name="T14" fmla="*/ 4 w 58"/>
                  <a:gd name="T15" fmla="*/ 3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58" h="46">
                    <a:moveTo>
                      <a:pt x="4" y="3"/>
                    </a:moveTo>
                    <a:lnTo>
                      <a:pt x="58" y="0"/>
                    </a:lnTo>
                    <a:lnTo>
                      <a:pt x="55" y="11"/>
                    </a:lnTo>
                    <a:lnTo>
                      <a:pt x="14" y="13"/>
                    </a:lnTo>
                    <a:lnTo>
                      <a:pt x="46" y="35"/>
                    </a:lnTo>
                    <a:lnTo>
                      <a:pt x="44" y="46"/>
                    </a:lnTo>
                    <a:lnTo>
                      <a:pt x="0" y="14"/>
                    </a:lnTo>
                    <a:lnTo>
                      <a:pt x="4" y="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33" name="ïṡḷiḋé"/>
              <p:cNvSpPr/>
              <p:nvPr/>
            </p:nvSpPr>
            <p:spPr bwMode="auto">
              <a:xfrm>
                <a:off x="1652484" y="5153615"/>
                <a:ext cx="90488" cy="73025"/>
              </a:xfrm>
              <a:custGeom>
                <a:avLst/>
                <a:gdLst>
                  <a:gd name="T0" fmla="*/ 7 w 57"/>
                  <a:gd name="T1" fmla="*/ 0 h 46"/>
                  <a:gd name="T2" fmla="*/ 57 w 57"/>
                  <a:gd name="T3" fmla="*/ 10 h 46"/>
                  <a:gd name="T4" fmla="*/ 50 w 57"/>
                  <a:gd name="T5" fmla="*/ 46 h 46"/>
                  <a:gd name="T6" fmla="*/ 42 w 57"/>
                  <a:gd name="T7" fmla="*/ 45 h 46"/>
                  <a:gd name="T8" fmla="*/ 47 w 57"/>
                  <a:gd name="T9" fmla="*/ 18 h 46"/>
                  <a:gd name="T10" fmla="*/ 36 w 57"/>
                  <a:gd name="T11" fmla="*/ 16 h 46"/>
                  <a:gd name="T12" fmla="*/ 30 w 57"/>
                  <a:gd name="T13" fmla="*/ 40 h 46"/>
                  <a:gd name="T14" fmla="*/ 22 w 57"/>
                  <a:gd name="T15" fmla="*/ 39 h 46"/>
                  <a:gd name="T16" fmla="*/ 27 w 57"/>
                  <a:gd name="T17" fmla="*/ 14 h 46"/>
                  <a:gd name="T18" fmla="*/ 14 w 57"/>
                  <a:gd name="T19" fmla="*/ 11 h 46"/>
                  <a:gd name="T20" fmla="*/ 8 w 57"/>
                  <a:gd name="T21" fmla="*/ 39 h 46"/>
                  <a:gd name="T22" fmla="*/ 0 w 57"/>
                  <a:gd name="T23" fmla="*/ 38 h 46"/>
                  <a:gd name="T24" fmla="*/ 7 w 57"/>
                  <a:gd name="T25" fmla="*/ 0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57" h="46">
                    <a:moveTo>
                      <a:pt x="7" y="0"/>
                    </a:moveTo>
                    <a:lnTo>
                      <a:pt x="57" y="10"/>
                    </a:lnTo>
                    <a:lnTo>
                      <a:pt x="50" y="46"/>
                    </a:lnTo>
                    <a:lnTo>
                      <a:pt x="42" y="45"/>
                    </a:lnTo>
                    <a:lnTo>
                      <a:pt x="47" y="18"/>
                    </a:lnTo>
                    <a:lnTo>
                      <a:pt x="36" y="16"/>
                    </a:lnTo>
                    <a:lnTo>
                      <a:pt x="30" y="40"/>
                    </a:lnTo>
                    <a:lnTo>
                      <a:pt x="22" y="39"/>
                    </a:lnTo>
                    <a:lnTo>
                      <a:pt x="27" y="14"/>
                    </a:lnTo>
                    <a:lnTo>
                      <a:pt x="14" y="11"/>
                    </a:lnTo>
                    <a:lnTo>
                      <a:pt x="8" y="39"/>
                    </a:lnTo>
                    <a:lnTo>
                      <a:pt x="0" y="38"/>
                    </a:lnTo>
                    <a:lnTo>
                      <a:pt x="7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34" name="ïşļiḋe"/>
              <p:cNvSpPr/>
              <p:nvPr/>
            </p:nvSpPr>
            <p:spPr bwMode="auto">
              <a:xfrm>
                <a:off x="1641372" y="5231403"/>
                <a:ext cx="88900" cy="71438"/>
              </a:xfrm>
              <a:custGeom>
                <a:avLst/>
                <a:gdLst>
                  <a:gd name="T0" fmla="*/ 4 w 48"/>
                  <a:gd name="T1" fmla="*/ 0 h 39"/>
                  <a:gd name="T2" fmla="*/ 48 w 48"/>
                  <a:gd name="T3" fmla="*/ 4 h 39"/>
                  <a:gd name="T4" fmla="*/ 46 w 48"/>
                  <a:gd name="T5" fmla="*/ 23 h 39"/>
                  <a:gd name="T6" fmla="*/ 44 w 48"/>
                  <a:gd name="T7" fmla="*/ 33 h 39"/>
                  <a:gd name="T8" fmla="*/ 39 w 48"/>
                  <a:gd name="T9" fmla="*/ 38 h 39"/>
                  <a:gd name="T10" fmla="*/ 32 w 48"/>
                  <a:gd name="T11" fmla="*/ 39 h 39"/>
                  <a:gd name="T12" fmla="*/ 24 w 48"/>
                  <a:gd name="T13" fmla="*/ 35 h 39"/>
                  <a:gd name="T14" fmla="*/ 21 w 48"/>
                  <a:gd name="T15" fmla="*/ 26 h 39"/>
                  <a:gd name="T16" fmla="*/ 17 w 48"/>
                  <a:gd name="T17" fmla="*/ 30 h 39"/>
                  <a:gd name="T18" fmla="*/ 9 w 48"/>
                  <a:gd name="T19" fmla="*/ 35 h 39"/>
                  <a:gd name="T20" fmla="*/ 0 w 48"/>
                  <a:gd name="T21" fmla="*/ 39 h 39"/>
                  <a:gd name="T22" fmla="*/ 1 w 48"/>
                  <a:gd name="T23" fmla="*/ 29 h 39"/>
                  <a:gd name="T24" fmla="*/ 12 w 48"/>
                  <a:gd name="T25" fmla="*/ 23 h 39"/>
                  <a:gd name="T26" fmla="*/ 18 w 48"/>
                  <a:gd name="T27" fmla="*/ 19 h 39"/>
                  <a:gd name="T28" fmla="*/ 20 w 48"/>
                  <a:gd name="T29" fmla="*/ 17 h 39"/>
                  <a:gd name="T30" fmla="*/ 21 w 48"/>
                  <a:gd name="T31" fmla="*/ 12 h 39"/>
                  <a:gd name="T32" fmla="*/ 22 w 48"/>
                  <a:gd name="T33" fmla="*/ 11 h 39"/>
                  <a:gd name="T34" fmla="*/ 3 w 48"/>
                  <a:gd name="T35" fmla="*/ 9 h 39"/>
                  <a:gd name="T36" fmla="*/ 4 w 48"/>
                  <a:gd name="T37" fmla="*/ 0 h 39"/>
                  <a:gd name="T38" fmla="*/ 29 w 48"/>
                  <a:gd name="T39" fmla="*/ 11 h 39"/>
                  <a:gd name="T40" fmla="*/ 28 w 48"/>
                  <a:gd name="T41" fmla="*/ 18 h 39"/>
                  <a:gd name="T42" fmla="*/ 28 w 48"/>
                  <a:gd name="T43" fmla="*/ 26 h 39"/>
                  <a:gd name="T44" fmla="*/ 29 w 48"/>
                  <a:gd name="T45" fmla="*/ 28 h 39"/>
                  <a:gd name="T46" fmla="*/ 32 w 48"/>
                  <a:gd name="T47" fmla="*/ 30 h 39"/>
                  <a:gd name="T48" fmla="*/ 36 w 48"/>
                  <a:gd name="T49" fmla="*/ 29 h 39"/>
                  <a:gd name="T50" fmla="*/ 38 w 48"/>
                  <a:gd name="T51" fmla="*/ 26 h 39"/>
                  <a:gd name="T52" fmla="*/ 39 w 48"/>
                  <a:gd name="T53" fmla="*/ 19 h 39"/>
                  <a:gd name="T54" fmla="*/ 40 w 48"/>
                  <a:gd name="T55" fmla="*/ 12 h 39"/>
                  <a:gd name="T56" fmla="*/ 29 w 48"/>
                  <a:gd name="T57" fmla="*/ 11 h 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48" h="39">
                    <a:moveTo>
                      <a:pt x="4" y="0"/>
                    </a:moveTo>
                    <a:cubicBezTo>
                      <a:pt x="48" y="4"/>
                      <a:pt x="48" y="4"/>
                      <a:pt x="48" y="4"/>
                    </a:cubicBezTo>
                    <a:cubicBezTo>
                      <a:pt x="46" y="23"/>
                      <a:pt x="46" y="23"/>
                      <a:pt x="46" y="23"/>
                    </a:cubicBezTo>
                    <a:cubicBezTo>
                      <a:pt x="46" y="27"/>
                      <a:pt x="45" y="31"/>
                      <a:pt x="44" y="33"/>
                    </a:cubicBezTo>
                    <a:cubicBezTo>
                      <a:pt x="43" y="35"/>
                      <a:pt x="41" y="36"/>
                      <a:pt x="39" y="38"/>
                    </a:cubicBezTo>
                    <a:cubicBezTo>
                      <a:pt x="37" y="39"/>
                      <a:pt x="35" y="39"/>
                      <a:pt x="32" y="39"/>
                    </a:cubicBezTo>
                    <a:cubicBezTo>
                      <a:pt x="29" y="38"/>
                      <a:pt x="26" y="37"/>
                      <a:pt x="24" y="35"/>
                    </a:cubicBezTo>
                    <a:cubicBezTo>
                      <a:pt x="22" y="33"/>
                      <a:pt x="21" y="30"/>
                      <a:pt x="21" y="26"/>
                    </a:cubicBezTo>
                    <a:cubicBezTo>
                      <a:pt x="20" y="28"/>
                      <a:pt x="18" y="29"/>
                      <a:pt x="17" y="30"/>
                    </a:cubicBezTo>
                    <a:cubicBezTo>
                      <a:pt x="16" y="32"/>
                      <a:pt x="13" y="33"/>
                      <a:pt x="9" y="35"/>
                    </a:cubicBezTo>
                    <a:cubicBezTo>
                      <a:pt x="0" y="39"/>
                      <a:pt x="0" y="39"/>
                      <a:pt x="0" y="39"/>
                    </a:cubicBezTo>
                    <a:cubicBezTo>
                      <a:pt x="1" y="29"/>
                      <a:pt x="1" y="29"/>
                      <a:pt x="1" y="29"/>
                    </a:cubicBezTo>
                    <a:cubicBezTo>
                      <a:pt x="12" y="23"/>
                      <a:pt x="12" y="23"/>
                      <a:pt x="12" y="23"/>
                    </a:cubicBezTo>
                    <a:cubicBezTo>
                      <a:pt x="15" y="21"/>
                      <a:pt x="17" y="20"/>
                      <a:pt x="18" y="19"/>
                    </a:cubicBezTo>
                    <a:cubicBezTo>
                      <a:pt x="19" y="18"/>
                      <a:pt x="20" y="18"/>
                      <a:pt x="20" y="17"/>
                    </a:cubicBezTo>
                    <a:cubicBezTo>
                      <a:pt x="21" y="16"/>
                      <a:pt x="21" y="14"/>
                      <a:pt x="21" y="12"/>
                    </a:cubicBezTo>
                    <a:cubicBezTo>
                      <a:pt x="22" y="11"/>
                      <a:pt x="22" y="11"/>
                      <a:pt x="22" y="11"/>
                    </a:cubicBezTo>
                    <a:cubicBezTo>
                      <a:pt x="3" y="9"/>
                      <a:pt x="3" y="9"/>
                      <a:pt x="3" y="9"/>
                    </a:cubicBezTo>
                    <a:lnTo>
                      <a:pt x="4" y="0"/>
                    </a:lnTo>
                    <a:close/>
                    <a:moveTo>
                      <a:pt x="29" y="11"/>
                    </a:moveTo>
                    <a:cubicBezTo>
                      <a:pt x="28" y="18"/>
                      <a:pt x="28" y="18"/>
                      <a:pt x="28" y="18"/>
                    </a:cubicBezTo>
                    <a:cubicBezTo>
                      <a:pt x="28" y="22"/>
                      <a:pt x="27" y="25"/>
                      <a:pt x="28" y="26"/>
                    </a:cubicBezTo>
                    <a:cubicBezTo>
                      <a:pt x="28" y="27"/>
                      <a:pt x="28" y="28"/>
                      <a:pt x="29" y="28"/>
                    </a:cubicBezTo>
                    <a:cubicBezTo>
                      <a:pt x="30" y="29"/>
                      <a:pt x="31" y="30"/>
                      <a:pt x="32" y="30"/>
                    </a:cubicBezTo>
                    <a:cubicBezTo>
                      <a:pt x="34" y="30"/>
                      <a:pt x="35" y="30"/>
                      <a:pt x="36" y="29"/>
                    </a:cubicBezTo>
                    <a:cubicBezTo>
                      <a:pt x="37" y="28"/>
                      <a:pt x="38" y="27"/>
                      <a:pt x="38" y="26"/>
                    </a:cubicBezTo>
                    <a:cubicBezTo>
                      <a:pt x="38" y="25"/>
                      <a:pt x="39" y="23"/>
                      <a:pt x="39" y="19"/>
                    </a:cubicBezTo>
                    <a:cubicBezTo>
                      <a:pt x="40" y="12"/>
                      <a:pt x="40" y="12"/>
                      <a:pt x="40" y="12"/>
                    </a:cubicBezTo>
                    <a:lnTo>
                      <a:pt x="29" y="1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35" name="îś1iḓê"/>
              <p:cNvSpPr/>
              <p:nvPr/>
            </p:nvSpPr>
            <p:spPr bwMode="auto">
              <a:xfrm>
                <a:off x="1641372" y="5312365"/>
                <a:ext cx="82550" cy="66675"/>
              </a:xfrm>
              <a:custGeom>
                <a:avLst/>
                <a:gdLst>
                  <a:gd name="T0" fmla="*/ 15 w 45"/>
                  <a:gd name="T1" fmla="*/ 0 h 36"/>
                  <a:gd name="T2" fmla="*/ 16 w 45"/>
                  <a:gd name="T3" fmla="*/ 8 h 36"/>
                  <a:gd name="T4" fmla="*/ 9 w 45"/>
                  <a:gd name="T5" fmla="*/ 12 h 36"/>
                  <a:gd name="T6" fmla="*/ 7 w 45"/>
                  <a:gd name="T7" fmla="*/ 18 h 36"/>
                  <a:gd name="T8" fmla="*/ 9 w 45"/>
                  <a:gd name="T9" fmla="*/ 25 h 36"/>
                  <a:gd name="T10" fmla="*/ 13 w 45"/>
                  <a:gd name="T11" fmla="*/ 27 h 36"/>
                  <a:gd name="T12" fmla="*/ 16 w 45"/>
                  <a:gd name="T13" fmla="*/ 26 h 36"/>
                  <a:gd name="T14" fmla="*/ 18 w 45"/>
                  <a:gd name="T15" fmla="*/ 23 h 36"/>
                  <a:gd name="T16" fmla="*/ 20 w 45"/>
                  <a:gd name="T17" fmla="*/ 15 h 36"/>
                  <a:gd name="T18" fmla="*/ 24 w 45"/>
                  <a:gd name="T19" fmla="*/ 5 h 36"/>
                  <a:gd name="T20" fmla="*/ 33 w 45"/>
                  <a:gd name="T21" fmla="*/ 1 h 36"/>
                  <a:gd name="T22" fmla="*/ 39 w 45"/>
                  <a:gd name="T23" fmla="*/ 3 h 36"/>
                  <a:gd name="T24" fmla="*/ 44 w 45"/>
                  <a:gd name="T25" fmla="*/ 9 h 36"/>
                  <a:gd name="T26" fmla="*/ 45 w 45"/>
                  <a:gd name="T27" fmla="*/ 17 h 36"/>
                  <a:gd name="T28" fmla="*/ 42 w 45"/>
                  <a:gd name="T29" fmla="*/ 30 h 36"/>
                  <a:gd name="T30" fmla="*/ 32 w 45"/>
                  <a:gd name="T31" fmla="*/ 34 h 36"/>
                  <a:gd name="T32" fmla="*/ 31 w 45"/>
                  <a:gd name="T33" fmla="*/ 25 h 36"/>
                  <a:gd name="T34" fmla="*/ 36 w 45"/>
                  <a:gd name="T35" fmla="*/ 23 h 36"/>
                  <a:gd name="T36" fmla="*/ 38 w 45"/>
                  <a:gd name="T37" fmla="*/ 17 h 36"/>
                  <a:gd name="T38" fmla="*/ 36 w 45"/>
                  <a:gd name="T39" fmla="*/ 11 h 36"/>
                  <a:gd name="T40" fmla="*/ 33 w 45"/>
                  <a:gd name="T41" fmla="*/ 10 h 36"/>
                  <a:gd name="T42" fmla="*/ 31 w 45"/>
                  <a:gd name="T43" fmla="*/ 11 h 36"/>
                  <a:gd name="T44" fmla="*/ 28 w 45"/>
                  <a:gd name="T45" fmla="*/ 19 h 36"/>
                  <a:gd name="T46" fmla="*/ 25 w 45"/>
                  <a:gd name="T47" fmla="*/ 29 h 36"/>
                  <a:gd name="T48" fmla="*/ 20 w 45"/>
                  <a:gd name="T49" fmla="*/ 34 h 36"/>
                  <a:gd name="T50" fmla="*/ 13 w 45"/>
                  <a:gd name="T51" fmla="*/ 36 h 36"/>
                  <a:gd name="T52" fmla="*/ 6 w 45"/>
                  <a:gd name="T53" fmla="*/ 33 h 36"/>
                  <a:gd name="T54" fmla="*/ 1 w 45"/>
                  <a:gd name="T55" fmla="*/ 28 h 36"/>
                  <a:gd name="T56" fmla="*/ 0 w 45"/>
                  <a:gd name="T57" fmla="*/ 18 h 36"/>
                  <a:gd name="T58" fmla="*/ 3 w 45"/>
                  <a:gd name="T59" fmla="*/ 5 h 36"/>
                  <a:gd name="T60" fmla="*/ 15 w 45"/>
                  <a:gd name="T61" fmla="*/ 0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45" h="36">
                    <a:moveTo>
                      <a:pt x="15" y="0"/>
                    </a:moveTo>
                    <a:cubicBezTo>
                      <a:pt x="16" y="8"/>
                      <a:pt x="16" y="8"/>
                      <a:pt x="16" y="8"/>
                    </a:cubicBezTo>
                    <a:cubicBezTo>
                      <a:pt x="13" y="9"/>
                      <a:pt x="10" y="10"/>
                      <a:pt x="9" y="12"/>
                    </a:cubicBezTo>
                    <a:cubicBezTo>
                      <a:pt x="8" y="13"/>
                      <a:pt x="7" y="15"/>
                      <a:pt x="7" y="18"/>
                    </a:cubicBezTo>
                    <a:cubicBezTo>
                      <a:pt x="7" y="21"/>
                      <a:pt x="8" y="23"/>
                      <a:pt x="9" y="25"/>
                    </a:cubicBezTo>
                    <a:cubicBezTo>
                      <a:pt x="10" y="26"/>
                      <a:pt x="12" y="27"/>
                      <a:pt x="13" y="27"/>
                    </a:cubicBezTo>
                    <a:cubicBezTo>
                      <a:pt x="14" y="27"/>
                      <a:pt x="15" y="26"/>
                      <a:pt x="16" y="26"/>
                    </a:cubicBezTo>
                    <a:cubicBezTo>
                      <a:pt x="17" y="25"/>
                      <a:pt x="17" y="24"/>
                      <a:pt x="18" y="23"/>
                    </a:cubicBezTo>
                    <a:cubicBezTo>
                      <a:pt x="18" y="22"/>
                      <a:pt x="19" y="19"/>
                      <a:pt x="20" y="15"/>
                    </a:cubicBezTo>
                    <a:cubicBezTo>
                      <a:pt x="21" y="11"/>
                      <a:pt x="22" y="7"/>
                      <a:pt x="24" y="5"/>
                    </a:cubicBezTo>
                    <a:cubicBezTo>
                      <a:pt x="26" y="3"/>
                      <a:pt x="29" y="1"/>
                      <a:pt x="33" y="1"/>
                    </a:cubicBezTo>
                    <a:cubicBezTo>
                      <a:pt x="35" y="1"/>
                      <a:pt x="37" y="2"/>
                      <a:pt x="39" y="3"/>
                    </a:cubicBezTo>
                    <a:cubicBezTo>
                      <a:pt x="41" y="4"/>
                      <a:pt x="43" y="6"/>
                      <a:pt x="44" y="9"/>
                    </a:cubicBezTo>
                    <a:cubicBezTo>
                      <a:pt x="45" y="11"/>
                      <a:pt x="45" y="14"/>
                      <a:pt x="45" y="17"/>
                    </a:cubicBezTo>
                    <a:cubicBezTo>
                      <a:pt x="45" y="23"/>
                      <a:pt x="44" y="27"/>
                      <a:pt x="42" y="30"/>
                    </a:cubicBezTo>
                    <a:cubicBezTo>
                      <a:pt x="39" y="33"/>
                      <a:pt x="36" y="34"/>
                      <a:pt x="32" y="34"/>
                    </a:cubicBezTo>
                    <a:cubicBezTo>
                      <a:pt x="31" y="25"/>
                      <a:pt x="31" y="25"/>
                      <a:pt x="31" y="25"/>
                    </a:cubicBezTo>
                    <a:cubicBezTo>
                      <a:pt x="34" y="25"/>
                      <a:pt x="35" y="24"/>
                      <a:pt x="36" y="23"/>
                    </a:cubicBezTo>
                    <a:cubicBezTo>
                      <a:pt x="37" y="22"/>
                      <a:pt x="38" y="20"/>
                      <a:pt x="38" y="17"/>
                    </a:cubicBezTo>
                    <a:cubicBezTo>
                      <a:pt x="38" y="15"/>
                      <a:pt x="37" y="13"/>
                      <a:pt x="36" y="11"/>
                    </a:cubicBezTo>
                    <a:cubicBezTo>
                      <a:pt x="35" y="10"/>
                      <a:pt x="35" y="10"/>
                      <a:pt x="33" y="10"/>
                    </a:cubicBezTo>
                    <a:cubicBezTo>
                      <a:pt x="32" y="10"/>
                      <a:pt x="31" y="10"/>
                      <a:pt x="31" y="11"/>
                    </a:cubicBezTo>
                    <a:cubicBezTo>
                      <a:pt x="30" y="12"/>
                      <a:pt x="29" y="15"/>
                      <a:pt x="28" y="19"/>
                    </a:cubicBezTo>
                    <a:cubicBezTo>
                      <a:pt x="27" y="24"/>
                      <a:pt x="26" y="27"/>
                      <a:pt x="25" y="29"/>
                    </a:cubicBezTo>
                    <a:cubicBezTo>
                      <a:pt x="24" y="31"/>
                      <a:pt x="22" y="33"/>
                      <a:pt x="20" y="34"/>
                    </a:cubicBezTo>
                    <a:cubicBezTo>
                      <a:pt x="18" y="35"/>
                      <a:pt x="16" y="36"/>
                      <a:pt x="13" y="36"/>
                    </a:cubicBezTo>
                    <a:cubicBezTo>
                      <a:pt x="11" y="36"/>
                      <a:pt x="8" y="35"/>
                      <a:pt x="6" y="33"/>
                    </a:cubicBezTo>
                    <a:cubicBezTo>
                      <a:pt x="4" y="32"/>
                      <a:pt x="2" y="30"/>
                      <a:pt x="1" y="28"/>
                    </a:cubicBezTo>
                    <a:cubicBezTo>
                      <a:pt x="0" y="25"/>
                      <a:pt x="0" y="22"/>
                      <a:pt x="0" y="18"/>
                    </a:cubicBezTo>
                    <a:cubicBezTo>
                      <a:pt x="0" y="12"/>
                      <a:pt x="1" y="8"/>
                      <a:pt x="3" y="5"/>
                    </a:cubicBezTo>
                    <a:cubicBezTo>
                      <a:pt x="6" y="2"/>
                      <a:pt x="10" y="0"/>
                      <a:pt x="15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36" name="íş1ïḓe"/>
              <p:cNvSpPr/>
              <p:nvPr/>
            </p:nvSpPr>
            <p:spPr bwMode="auto">
              <a:xfrm>
                <a:off x="1642959" y="5385390"/>
                <a:ext cx="84138" cy="22225"/>
              </a:xfrm>
              <a:custGeom>
                <a:avLst/>
                <a:gdLst>
                  <a:gd name="T0" fmla="*/ 0 w 53"/>
                  <a:gd name="T1" fmla="*/ 5 h 14"/>
                  <a:gd name="T2" fmla="*/ 51 w 53"/>
                  <a:gd name="T3" fmla="*/ 0 h 14"/>
                  <a:gd name="T4" fmla="*/ 53 w 53"/>
                  <a:gd name="T5" fmla="*/ 11 h 14"/>
                  <a:gd name="T6" fmla="*/ 1 w 53"/>
                  <a:gd name="T7" fmla="*/ 14 h 14"/>
                  <a:gd name="T8" fmla="*/ 0 w 53"/>
                  <a:gd name="T9" fmla="*/ 5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3" h="14">
                    <a:moveTo>
                      <a:pt x="0" y="5"/>
                    </a:moveTo>
                    <a:lnTo>
                      <a:pt x="51" y="0"/>
                    </a:lnTo>
                    <a:lnTo>
                      <a:pt x="53" y="11"/>
                    </a:lnTo>
                    <a:lnTo>
                      <a:pt x="1" y="14"/>
                    </a:lnTo>
                    <a:lnTo>
                      <a:pt x="0" y="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37" name="ïṩlîḋè"/>
              <p:cNvSpPr/>
              <p:nvPr/>
            </p:nvSpPr>
            <p:spPr bwMode="auto">
              <a:xfrm>
                <a:off x="1649309" y="5407615"/>
                <a:ext cx="84138" cy="66675"/>
              </a:xfrm>
              <a:custGeom>
                <a:avLst/>
                <a:gdLst>
                  <a:gd name="T0" fmla="*/ 0 w 53"/>
                  <a:gd name="T1" fmla="*/ 22 h 42"/>
                  <a:gd name="T2" fmla="*/ 42 w 53"/>
                  <a:gd name="T3" fmla="*/ 17 h 42"/>
                  <a:gd name="T4" fmla="*/ 39 w 53"/>
                  <a:gd name="T5" fmla="*/ 1 h 42"/>
                  <a:gd name="T6" fmla="*/ 49 w 53"/>
                  <a:gd name="T7" fmla="*/ 0 h 42"/>
                  <a:gd name="T8" fmla="*/ 53 w 53"/>
                  <a:gd name="T9" fmla="*/ 41 h 42"/>
                  <a:gd name="T10" fmla="*/ 45 w 53"/>
                  <a:gd name="T11" fmla="*/ 42 h 42"/>
                  <a:gd name="T12" fmla="*/ 43 w 53"/>
                  <a:gd name="T13" fmla="*/ 27 h 42"/>
                  <a:gd name="T14" fmla="*/ 1 w 53"/>
                  <a:gd name="T15" fmla="*/ 33 h 42"/>
                  <a:gd name="T16" fmla="*/ 0 w 53"/>
                  <a:gd name="T17" fmla="*/ 22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3" h="42">
                    <a:moveTo>
                      <a:pt x="0" y="22"/>
                    </a:moveTo>
                    <a:lnTo>
                      <a:pt x="42" y="17"/>
                    </a:lnTo>
                    <a:lnTo>
                      <a:pt x="39" y="1"/>
                    </a:lnTo>
                    <a:lnTo>
                      <a:pt x="49" y="0"/>
                    </a:lnTo>
                    <a:lnTo>
                      <a:pt x="53" y="41"/>
                    </a:lnTo>
                    <a:lnTo>
                      <a:pt x="45" y="42"/>
                    </a:lnTo>
                    <a:lnTo>
                      <a:pt x="43" y="27"/>
                    </a:lnTo>
                    <a:lnTo>
                      <a:pt x="1" y="33"/>
                    </a:lnTo>
                    <a:lnTo>
                      <a:pt x="0" y="2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38" name="ïṣľîďe"/>
              <p:cNvSpPr/>
              <p:nvPr/>
            </p:nvSpPr>
            <p:spPr bwMode="auto">
              <a:xfrm>
                <a:off x="1662009" y="5471115"/>
                <a:ext cx="90488" cy="73025"/>
              </a:xfrm>
              <a:custGeom>
                <a:avLst/>
                <a:gdLst>
                  <a:gd name="T0" fmla="*/ 0 w 57"/>
                  <a:gd name="T1" fmla="*/ 29 h 46"/>
                  <a:gd name="T2" fmla="*/ 21 w 57"/>
                  <a:gd name="T3" fmla="*/ 24 h 46"/>
                  <a:gd name="T4" fmla="*/ 45 w 57"/>
                  <a:gd name="T5" fmla="*/ 0 h 46"/>
                  <a:gd name="T6" fmla="*/ 49 w 57"/>
                  <a:gd name="T7" fmla="*/ 11 h 46"/>
                  <a:gd name="T8" fmla="*/ 31 w 57"/>
                  <a:gd name="T9" fmla="*/ 28 h 46"/>
                  <a:gd name="T10" fmla="*/ 53 w 57"/>
                  <a:gd name="T11" fmla="*/ 35 h 46"/>
                  <a:gd name="T12" fmla="*/ 57 w 57"/>
                  <a:gd name="T13" fmla="*/ 46 h 46"/>
                  <a:gd name="T14" fmla="*/ 23 w 57"/>
                  <a:gd name="T15" fmla="*/ 35 h 46"/>
                  <a:gd name="T16" fmla="*/ 2 w 57"/>
                  <a:gd name="T17" fmla="*/ 39 h 46"/>
                  <a:gd name="T18" fmla="*/ 0 w 57"/>
                  <a:gd name="T19" fmla="*/ 29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57" h="46">
                    <a:moveTo>
                      <a:pt x="0" y="29"/>
                    </a:moveTo>
                    <a:lnTo>
                      <a:pt x="21" y="24"/>
                    </a:lnTo>
                    <a:lnTo>
                      <a:pt x="45" y="0"/>
                    </a:lnTo>
                    <a:lnTo>
                      <a:pt x="49" y="11"/>
                    </a:lnTo>
                    <a:lnTo>
                      <a:pt x="31" y="28"/>
                    </a:lnTo>
                    <a:lnTo>
                      <a:pt x="53" y="35"/>
                    </a:lnTo>
                    <a:lnTo>
                      <a:pt x="57" y="46"/>
                    </a:lnTo>
                    <a:lnTo>
                      <a:pt x="23" y="35"/>
                    </a:lnTo>
                    <a:lnTo>
                      <a:pt x="2" y="39"/>
                    </a:lnTo>
                    <a:lnTo>
                      <a:pt x="0" y="2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39" name="íśļiḓe"/>
              <p:cNvSpPr/>
              <p:nvPr/>
            </p:nvSpPr>
            <p:spPr bwMode="auto">
              <a:xfrm>
                <a:off x="1704872" y="5609228"/>
                <a:ext cx="85725" cy="80963"/>
              </a:xfrm>
              <a:custGeom>
                <a:avLst/>
                <a:gdLst>
                  <a:gd name="T0" fmla="*/ 15 w 47"/>
                  <a:gd name="T1" fmla="*/ 2 h 44"/>
                  <a:gd name="T2" fmla="*/ 26 w 47"/>
                  <a:gd name="T3" fmla="*/ 0 h 44"/>
                  <a:gd name="T4" fmla="*/ 33 w 47"/>
                  <a:gd name="T5" fmla="*/ 1 h 44"/>
                  <a:gd name="T6" fmla="*/ 39 w 47"/>
                  <a:gd name="T7" fmla="*/ 4 h 44"/>
                  <a:gd name="T8" fmla="*/ 44 w 47"/>
                  <a:gd name="T9" fmla="*/ 12 h 44"/>
                  <a:gd name="T10" fmla="*/ 45 w 47"/>
                  <a:gd name="T11" fmla="*/ 29 h 44"/>
                  <a:gd name="T12" fmla="*/ 32 w 47"/>
                  <a:gd name="T13" fmla="*/ 41 h 44"/>
                  <a:gd name="T14" fmla="*/ 15 w 47"/>
                  <a:gd name="T15" fmla="*/ 43 h 44"/>
                  <a:gd name="T16" fmla="*/ 3 w 47"/>
                  <a:gd name="T17" fmla="*/ 31 h 44"/>
                  <a:gd name="T18" fmla="*/ 2 w 47"/>
                  <a:gd name="T19" fmla="*/ 14 h 44"/>
                  <a:gd name="T20" fmla="*/ 15 w 47"/>
                  <a:gd name="T21" fmla="*/ 2 h 44"/>
                  <a:gd name="T22" fmla="*/ 19 w 47"/>
                  <a:gd name="T23" fmla="*/ 10 h 44"/>
                  <a:gd name="T24" fmla="*/ 10 w 47"/>
                  <a:gd name="T25" fmla="*/ 18 h 44"/>
                  <a:gd name="T26" fmla="*/ 10 w 47"/>
                  <a:gd name="T27" fmla="*/ 28 h 44"/>
                  <a:gd name="T28" fmla="*/ 17 w 47"/>
                  <a:gd name="T29" fmla="*/ 34 h 44"/>
                  <a:gd name="T30" fmla="*/ 29 w 47"/>
                  <a:gd name="T31" fmla="*/ 33 h 44"/>
                  <a:gd name="T32" fmla="*/ 38 w 47"/>
                  <a:gd name="T33" fmla="*/ 25 h 44"/>
                  <a:gd name="T34" fmla="*/ 37 w 47"/>
                  <a:gd name="T35" fmla="*/ 16 h 44"/>
                  <a:gd name="T36" fmla="*/ 30 w 47"/>
                  <a:gd name="T37" fmla="*/ 9 h 44"/>
                  <a:gd name="T38" fmla="*/ 19 w 47"/>
                  <a:gd name="T39" fmla="*/ 10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47" h="44">
                    <a:moveTo>
                      <a:pt x="15" y="2"/>
                    </a:moveTo>
                    <a:cubicBezTo>
                      <a:pt x="19" y="0"/>
                      <a:pt x="23" y="0"/>
                      <a:pt x="26" y="0"/>
                    </a:cubicBezTo>
                    <a:cubicBezTo>
                      <a:pt x="28" y="0"/>
                      <a:pt x="31" y="0"/>
                      <a:pt x="33" y="1"/>
                    </a:cubicBezTo>
                    <a:cubicBezTo>
                      <a:pt x="35" y="2"/>
                      <a:pt x="37" y="3"/>
                      <a:pt x="39" y="4"/>
                    </a:cubicBezTo>
                    <a:cubicBezTo>
                      <a:pt x="41" y="6"/>
                      <a:pt x="43" y="9"/>
                      <a:pt x="44" y="12"/>
                    </a:cubicBezTo>
                    <a:cubicBezTo>
                      <a:pt x="47" y="18"/>
                      <a:pt x="47" y="24"/>
                      <a:pt x="45" y="29"/>
                    </a:cubicBezTo>
                    <a:cubicBezTo>
                      <a:pt x="43" y="34"/>
                      <a:pt x="39" y="38"/>
                      <a:pt x="32" y="41"/>
                    </a:cubicBezTo>
                    <a:cubicBezTo>
                      <a:pt x="26" y="44"/>
                      <a:pt x="20" y="44"/>
                      <a:pt x="15" y="43"/>
                    </a:cubicBezTo>
                    <a:cubicBezTo>
                      <a:pt x="9" y="41"/>
                      <a:pt x="5" y="37"/>
                      <a:pt x="3" y="31"/>
                    </a:cubicBezTo>
                    <a:cubicBezTo>
                      <a:pt x="0" y="25"/>
                      <a:pt x="0" y="19"/>
                      <a:pt x="2" y="14"/>
                    </a:cubicBezTo>
                    <a:cubicBezTo>
                      <a:pt x="4" y="9"/>
                      <a:pt x="8" y="5"/>
                      <a:pt x="15" y="2"/>
                    </a:cubicBezTo>
                    <a:close/>
                    <a:moveTo>
                      <a:pt x="19" y="10"/>
                    </a:moveTo>
                    <a:cubicBezTo>
                      <a:pt x="14" y="12"/>
                      <a:pt x="11" y="15"/>
                      <a:pt x="10" y="18"/>
                    </a:cubicBezTo>
                    <a:cubicBezTo>
                      <a:pt x="8" y="21"/>
                      <a:pt x="8" y="24"/>
                      <a:pt x="10" y="28"/>
                    </a:cubicBezTo>
                    <a:cubicBezTo>
                      <a:pt x="11" y="31"/>
                      <a:pt x="13" y="33"/>
                      <a:pt x="17" y="34"/>
                    </a:cubicBezTo>
                    <a:cubicBezTo>
                      <a:pt x="20" y="35"/>
                      <a:pt x="24" y="35"/>
                      <a:pt x="29" y="33"/>
                    </a:cubicBezTo>
                    <a:cubicBezTo>
                      <a:pt x="33" y="31"/>
                      <a:pt x="36" y="28"/>
                      <a:pt x="38" y="25"/>
                    </a:cubicBezTo>
                    <a:cubicBezTo>
                      <a:pt x="39" y="22"/>
                      <a:pt x="39" y="19"/>
                      <a:pt x="37" y="16"/>
                    </a:cubicBezTo>
                    <a:cubicBezTo>
                      <a:pt x="36" y="12"/>
                      <a:pt x="34" y="10"/>
                      <a:pt x="30" y="9"/>
                    </a:cubicBezTo>
                    <a:cubicBezTo>
                      <a:pt x="27" y="8"/>
                      <a:pt x="23" y="8"/>
                      <a:pt x="19" y="1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40" name="î$ḷïďe"/>
              <p:cNvSpPr/>
              <p:nvPr/>
            </p:nvSpPr>
            <p:spPr bwMode="auto">
              <a:xfrm>
                <a:off x="1733447" y="5675903"/>
                <a:ext cx="98425" cy="66675"/>
              </a:xfrm>
              <a:custGeom>
                <a:avLst/>
                <a:gdLst>
                  <a:gd name="T0" fmla="*/ 0 w 62"/>
                  <a:gd name="T1" fmla="*/ 26 h 42"/>
                  <a:gd name="T2" fmla="*/ 45 w 62"/>
                  <a:gd name="T3" fmla="*/ 0 h 42"/>
                  <a:gd name="T4" fmla="*/ 62 w 62"/>
                  <a:gd name="T5" fmla="*/ 30 h 42"/>
                  <a:gd name="T6" fmla="*/ 55 w 62"/>
                  <a:gd name="T7" fmla="*/ 35 h 42"/>
                  <a:gd name="T8" fmla="*/ 43 w 62"/>
                  <a:gd name="T9" fmla="*/ 14 h 42"/>
                  <a:gd name="T10" fmla="*/ 32 w 62"/>
                  <a:gd name="T11" fmla="*/ 20 h 42"/>
                  <a:gd name="T12" fmla="*/ 43 w 62"/>
                  <a:gd name="T13" fmla="*/ 38 h 42"/>
                  <a:gd name="T14" fmla="*/ 35 w 62"/>
                  <a:gd name="T15" fmla="*/ 42 h 42"/>
                  <a:gd name="T16" fmla="*/ 25 w 62"/>
                  <a:gd name="T17" fmla="*/ 23 h 42"/>
                  <a:gd name="T18" fmla="*/ 6 w 62"/>
                  <a:gd name="T19" fmla="*/ 35 h 42"/>
                  <a:gd name="T20" fmla="*/ 0 w 62"/>
                  <a:gd name="T21" fmla="*/ 26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62" h="42">
                    <a:moveTo>
                      <a:pt x="0" y="26"/>
                    </a:moveTo>
                    <a:lnTo>
                      <a:pt x="45" y="0"/>
                    </a:lnTo>
                    <a:lnTo>
                      <a:pt x="62" y="30"/>
                    </a:lnTo>
                    <a:lnTo>
                      <a:pt x="55" y="35"/>
                    </a:lnTo>
                    <a:lnTo>
                      <a:pt x="43" y="14"/>
                    </a:lnTo>
                    <a:lnTo>
                      <a:pt x="32" y="20"/>
                    </a:lnTo>
                    <a:lnTo>
                      <a:pt x="43" y="38"/>
                    </a:lnTo>
                    <a:lnTo>
                      <a:pt x="35" y="42"/>
                    </a:lnTo>
                    <a:lnTo>
                      <a:pt x="25" y="23"/>
                    </a:lnTo>
                    <a:lnTo>
                      <a:pt x="6" y="35"/>
                    </a:lnTo>
                    <a:lnTo>
                      <a:pt x="0" y="26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41" name="îśḻîḍe"/>
              <p:cNvSpPr/>
              <p:nvPr/>
            </p:nvSpPr>
            <p:spPr bwMode="auto">
              <a:xfrm>
                <a:off x="1812822" y="5785440"/>
                <a:ext cx="85725" cy="82550"/>
              </a:xfrm>
              <a:custGeom>
                <a:avLst/>
                <a:gdLst>
                  <a:gd name="T0" fmla="*/ 6 w 46"/>
                  <a:gd name="T1" fmla="*/ 13 h 45"/>
                  <a:gd name="T2" fmla="*/ 12 w 46"/>
                  <a:gd name="T3" fmla="*/ 19 h 45"/>
                  <a:gd name="T4" fmla="*/ 9 w 46"/>
                  <a:gd name="T5" fmla="*/ 26 h 45"/>
                  <a:gd name="T6" fmla="*/ 11 w 46"/>
                  <a:gd name="T7" fmla="*/ 32 h 45"/>
                  <a:gd name="T8" fmla="*/ 17 w 46"/>
                  <a:gd name="T9" fmla="*/ 36 h 45"/>
                  <a:gd name="T10" fmla="*/ 22 w 46"/>
                  <a:gd name="T11" fmla="*/ 35 h 45"/>
                  <a:gd name="T12" fmla="*/ 23 w 46"/>
                  <a:gd name="T13" fmla="*/ 32 h 45"/>
                  <a:gd name="T14" fmla="*/ 22 w 46"/>
                  <a:gd name="T15" fmla="*/ 29 h 45"/>
                  <a:gd name="T16" fmla="*/ 19 w 46"/>
                  <a:gd name="T17" fmla="*/ 22 h 45"/>
                  <a:gd name="T18" fmla="*/ 16 w 46"/>
                  <a:gd name="T19" fmla="*/ 12 h 45"/>
                  <a:gd name="T20" fmla="*/ 21 w 46"/>
                  <a:gd name="T21" fmla="*/ 3 h 45"/>
                  <a:gd name="T22" fmla="*/ 27 w 46"/>
                  <a:gd name="T23" fmla="*/ 0 h 45"/>
                  <a:gd name="T24" fmla="*/ 34 w 46"/>
                  <a:gd name="T25" fmla="*/ 2 h 45"/>
                  <a:gd name="T26" fmla="*/ 40 w 46"/>
                  <a:gd name="T27" fmla="*/ 8 h 45"/>
                  <a:gd name="T28" fmla="*/ 45 w 46"/>
                  <a:gd name="T29" fmla="*/ 19 h 45"/>
                  <a:gd name="T30" fmla="*/ 41 w 46"/>
                  <a:gd name="T31" fmla="*/ 29 h 45"/>
                  <a:gd name="T32" fmla="*/ 35 w 46"/>
                  <a:gd name="T33" fmla="*/ 22 h 45"/>
                  <a:gd name="T34" fmla="*/ 37 w 46"/>
                  <a:gd name="T35" fmla="*/ 17 h 45"/>
                  <a:gd name="T36" fmla="*/ 35 w 46"/>
                  <a:gd name="T37" fmla="*/ 12 h 45"/>
                  <a:gd name="T38" fmla="*/ 30 w 46"/>
                  <a:gd name="T39" fmla="*/ 8 h 45"/>
                  <a:gd name="T40" fmla="*/ 27 w 46"/>
                  <a:gd name="T41" fmla="*/ 9 h 45"/>
                  <a:gd name="T42" fmla="*/ 25 w 46"/>
                  <a:gd name="T43" fmla="*/ 12 h 45"/>
                  <a:gd name="T44" fmla="*/ 28 w 46"/>
                  <a:gd name="T45" fmla="*/ 20 h 45"/>
                  <a:gd name="T46" fmla="*/ 32 w 46"/>
                  <a:gd name="T47" fmla="*/ 29 h 45"/>
                  <a:gd name="T48" fmla="*/ 31 w 46"/>
                  <a:gd name="T49" fmla="*/ 36 h 45"/>
                  <a:gd name="T50" fmla="*/ 27 w 46"/>
                  <a:gd name="T51" fmla="*/ 42 h 45"/>
                  <a:gd name="T52" fmla="*/ 20 w 46"/>
                  <a:gd name="T53" fmla="*/ 45 h 45"/>
                  <a:gd name="T54" fmla="*/ 13 w 46"/>
                  <a:gd name="T55" fmla="*/ 43 h 45"/>
                  <a:gd name="T56" fmla="*/ 6 w 46"/>
                  <a:gd name="T57" fmla="*/ 37 h 45"/>
                  <a:gd name="T58" fmla="*/ 0 w 46"/>
                  <a:gd name="T59" fmla="*/ 24 h 45"/>
                  <a:gd name="T60" fmla="*/ 6 w 46"/>
                  <a:gd name="T61" fmla="*/ 13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46" h="45">
                    <a:moveTo>
                      <a:pt x="6" y="13"/>
                    </a:moveTo>
                    <a:cubicBezTo>
                      <a:pt x="12" y="19"/>
                      <a:pt x="12" y="19"/>
                      <a:pt x="12" y="19"/>
                    </a:cubicBezTo>
                    <a:cubicBezTo>
                      <a:pt x="10" y="21"/>
                      <a:pt x="9" y="24"/>
                      <a:pt x="9" y="26"/>
                    </a:cubicBezTo>
                    <a:cubicBezTo>
                      <a:pt x="9" y="28"/>
                      <a:pt x="10" y="30"/>
                      <a:pt x="11" y="32"/>
                    </a:cubicBezTo>
                    <a:cubicBezTo>
                      <a:pt x="13" y="34"/>
                      <a:pt x="15" y="35"/>
                      <a:pt x="17" y="36"/>
                    </a:cubicBezTo>
                    <a:cubicBezTo>
                      <a:pt x="19" y="36"/>
                      <a:pt x="20" y="36"/>
                      <a:pt x="22" y="35"/>
                    </a:cubicBezTo>
                    <a:cubicBezTo>
                      <a:pt x="22" y="34"/>
                      <a:pt x="23" y="33"/>
                      <a:pt x="23" y="32"/>
                    </a:cubicBezTo>
                    <a:cubicBezTo>
                      <a:pt x="23" y="32"/>
                      <a:pt x="23" y="30"/>
                      <a:pt x="22" y="29"/>
                    </a:cubicBezTo>
                    <a:cubicBezTo>
                      <a:pt x="22" y="28"/>
                      <a:pt x="21" y="26"/>
                      <a:pt x="19" y="22"/>
                    </a:cubicBezTo>
                    <a:cubicBezTo>
                      <a:pt x="17" y="18"/>
                      <a:pt x="16" y="14"/>
                      <a:pt x="16" y="12"/>
                    </a:cubicBezTo>
                    <a:cubicBezTo>
                      <a:pt x="17" y="8"/>
                      <a:pt x="18" y="5"/>
                      <a:pt x="21" y="3"/>
                    </a:cubicBezTo>
                    <a:cubicBezTo>
                      <a:pt x="23" y="1"/>
                      <a:pt x="25" y="1"/>
                      <a:pt x="27" y="0"/>
                    </a:cubicBezTo>
                    <a:cubicBezTo>
                      <a:pt x="29" y="0"/>
                      <a:pt x="31" y="1"/>
                      <a:pt x="34" y="2"/>
                    </a:cubicBezTo>
                    <a:cubicBezTo>
                      <a:pt x="36" y="3"/>
                      <a:pt x="38" y="5"/>
                      <a:pt x="40" y="8"/>
                    </a:cubicBezTo>
                    <a:cubicBezTo>
                      <a:pt x="44" y="12"/>
                      <a:pt x="46" y="16"/>
                      <a:pt x="45" y="19"/>
                    </a:cubicBezTo>
                    <a:cubicBezTo>
                      <a:pt x="45" y="23"/>
                      <a:pt x="44" y="26"/>
                      <a:pt x="41" y="29"/>
                    </a:cubicBezTo>
                    <a:cubicBezTo>
                      <a:pt x="35" y="22"/>
                      <a:pt x="35" y="22"/>
                      <a:pt x="35" y="22"/>
                    </a:cubicBezTo>
                    <a:cubicBezTo>
                      <a:pt x="36" y="21"/>
                      <a:pt x="37" y="19"/>
                      <a:pt x="37" y="17"/>
                    </a:cubicBezTo>
                    <a:cubicBezTo>
                      <a:pt x="37" y="16"/>
                      <a:pt x="36" y="14"/>
                      <a:pt x="35" y="12"/>
                    </a:cubicBezTo>
                    <a:cubicBezTo>
                      <a:pt x="33" y="10"/>
                      <a:pt x="31" y="9"/>
                      <a:pt x="30" y="8"/>
                    </a:cubicBezTo>
                    <a:cubicBezTo>
                      <a:pt x="28" y="8"/>
                      <a:pt x="27" y="8"/>
                      <a:pt x="27" y="9"/>
                    </a:cubicBezTo>
                    <a:cubicBezTo>
                      <a:pt x="26" y="10"/>
                      <a:pt x="25" y="11"/>
                      <a:pt x="25" y="12"/>
                    </a:cubicBezTo>
                    <a:cubicBezTo>
                      <a:pt x="25" y="13"/>
                      <a:pt x="26" y="16"/>
                      <a:pt x="28" y="20"/>
                    </a:cubicBezTo>
                    <a:cubicBezTo>
                      <a:pt x="30" y="24"/>
                      <a:pt x="31" y="27"/>
                      <a:pt x="32" y="29"/>
                    </a:cubicBezTo>
                    <a:cubicBezTo>
                      <a:pt x="32" y="32"/>
                      <a:pt x="32" y="34"/>
                      <a:pt x="31" y="36"/>
                    </a:cubicBezTo>
                    <a:cubicBezTo>
                      <a:pt x="31" y="38"/>
                      <a:pt x="29" y="40"/>
                      <a:pt x="27" y="42"/>
                    </a:cubicBezTo>
                    <a:cubicBezTo>
                      <a:pt x="25" y="43"/>
                      <a:pt x="23" y="44"/>
                      <a:pt x="20" y="45"/>
                    </a:cubicBezTo>
                    <a:cubicBezTo>
                      <a:pt x="18" y="45"/>
                      <a:pt x="15" y="44"/>
                      <a:pt x="13" y="43"/>
                    </a:cubicBezTo>
                    <a:cubicBezTo>
                      <a:pt x="10" y="42"/>
                      <a:pt x="8" y="40"/>
                      <a:pt x="6" y="37"/>
                    </a:cubicBezTo>
                    <a:cubicBezTo>
                      <a:pt x="2" y="32"/>
                      <a:pt x="0" y="28"/>
                      <a:pt x="0" y="24"/>
                    </a:cubicBezTo>
                    <a:cubicBezTo>
                      <a:pt x="1" y="20"/>
                      <a:pt x="2" y="17"/>
                      <a:pt x="6" y="1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42" name="í$ļîḋê"/>
              <p:cNvSpPr/>
              <p:nvPr/>
            </p:nvSpPr>
            <p:spPr bwMode="auto">
              <a:xfrm>
                <a:off x="1868384" y="5844178"/>
                <a:ext cx="82550" cy="82550"/>
              </a:xfrm>
              <a:custGeom>
                <a:avLst/>
                <a:gdLst>
                  <a:gd name="T0" fmla="*/ 25 w 45"/>
                  <a:gd name="T1" fmla="*/ 33 h 45"/>
                  <a:gd name="T2" fmla="*/ 29 w 45"/>
                  <a:gd name="T3" fmla="*/ 41 h 45"/>
                  <a:gd name="T4" fmla="*/ 17 w 45"/>
                  <a:gd name="T5" fmla="*/ 44 h 45"/>
                  <a:gd name="T6" fmla="*/ 6 w 45"/>
                  <a:gd name="T7" fmla="*/ 38 h 45"/>
                  <a:gd name="T8" fmla="*/ 0 w 45"/>
                  <a:gd name="T9" fmla="*/ 24 h 45"/>
                  <a:gd name="T10" fmla="*/ 8 w 45"/>
                  <a:gd name="T11" fmla="*/ 8 h 45"/>
                  <a:gd name="T12" fmla="*/ 24 w 45"/>
                  <a:gd name="T13" fmla="*/ 0 h 45"/>
                  <a:gd name="T14" fmla="*/ 39 w 45"/>
                  <a:gd name="T15" fmla="*/ 7 h 45"/>
                  <a:gd name="T16" fmla="*/ 45 w 45"/>
                  <a:gd name="T17" fmla="*/ 19 h 45"/>
                  <a:gd name="T18" fmla="*/ 42 w 45"/>
                  <a:gd name="T19" fmla="*/ 28 h 45"/>
                  <a:gd name="T20" fmla="*/ 34 w 45"/>
                  <a:gd name="T21" fmla="*/ 23 h 45"/>
                  <a:gd name="T22" fmla="*/ 36 w 45"/>
                  <a:gd name="T23" fmla="*/ 17 h 45"/>
                  <a:gd name="T24" fmla="*/ 33 w 45"/>
                  <a:gd name="T25" fmla="*/ 12 h 45"/>
                  <a:gd name="T26" fmla="*/ 25 w 45"/>
                  <a:gd name="T27" fmla="*/ 9 h 45"/>
                  <a:gd name="T28" fmla="*/ 15 w 45"/>
                  <a:gd name="T29" fmla="*/ 14 h 45"/>
                  <a:gd name="T30" fmla="*/ 8 w 45"/>
                  <a:gd name="T31" fmla="*/ 25 h 45"/>
                  <a:gd name="T32" fmla="*/ 11 w 45"/>
                  <a:gd name="T33" fmla="*/ 33 h 45"/>
                  <a:gd name="T34" fmla="*/ 17 w 45"/>
                  <a:gd name="T35" fmla="*/ 36 h 45"/>
                  <a:gd name="T36" fmla="*/ 25 w 45"/>
                  <a:gd name="T37" fmla="*/ 33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45" h="45">
                    <a:moveTo>
                      <a:pt x="25" y="33"/>
                    </a:moveTo>
                    <a:cubicBezTo>
                      <a:pt x="29" y="41"/>
                      <a:pt x="29" y="41"/>
                      <a:pt x="29" y="41"/>
                    </a:cubicBezTo>
                    <a:cubicBezTo>
                      <a:pt x="25" y="44"/>
                      <a:pt x="21" y="45"/>
                      <a:pt x="17" y="44"/>
                    </a:cubicBezTo>
                    <a:cubicBezTo>
                      <a:pt x="13" y="44"/>
                      <a:pt x="9" y="42"/>
                      <a:pt x="6" y="38"/>
                    </a:cubicBezTo>
                    <a:cubicBezTo>
                      <a:pt x="2" y="34"/>
                      <a:pt x="0" y="29"/>
                      <a:pt x="0" y="24"/>
                    </a:cubicBezTo>
                    <a:cubicBezTo>
                      <a:pt x="0" y="19"/>
                      <a:pt x="3" y="13"/>
                      <a:pt x="8" y="8"/>
                    </a:cubicBezTo>
                    <a:cubicBezTo>
                      <a:pt x="13" y="3"/>
                      <a:pt x="18" y="1"/>
                      <a:pt x="24" y="0"/>
                    </a:cubicBezTo>
                    <a:cubicBezTo>
                      <a:pt x="29" y="0"/>
                      <a:pt x="34" y="2"/>
                      <a:pt x="39" y="7"/>
                    </a:cubicBezTo>
                    <a:cubicBezTo>
                      <a:pt x="42" y="10"/>
                      <a:pt x="44" y="15"/>
                      <a:pt x="45" y="19"/>
                    </a:cubicBezTo>
                    <a:cubicBezTo>
                      <a:pt x="45" y="22"/>
                      <a:pt x="44" y="25"/>
                      <a:pt x="42" y="28"/>
                    </a:cubicBezTo>
                    <a:cubicBezTo>
                      <a:pt x="34" y="23"/>
                      <a:pt x="34" y="23"/>
                      <a:pt x="34" y="23"/>
                    </a:cubicBezTo>
                    <a:cubicBezTo>
                      <a:pt x="36" y="21"/>
                      <a:pt x="36" y="19"/>
                      <a:pt x="36" y="17"/>
                    </a:cubicBezTo>
                    <a:cubicBezTo>
                      <a:pt x="36" y="15"/>
                      <a:pt x="35" y="13"/>
                      <a:pt x="33" y="12"/>
                    </a:cubicBezTo>
                    <a:cubicBezTo>
                      <a:pt x="31" y="9"/>
                      <a:pt x="28" y="8"/>
                      <a:pt x="25" y="9"/>
                    </a:cubicBezTo>
                    <a:cubicBezTo>
                      <a:pt x="22" y="9"/>
                      <a:pt x="18" y="11"/>
                      <a:pt x="15" y="14"/>
                    </a:cubicBezTo>
                    <a:cubicBezTo>
                      <a:pt x="11" y="18"/>
                      <a:pt x="9" y="22"/>
                      <a:pt x="8" y="25"/>
                    </a:cubicBezTo>
                    <a:cubicBezTo>
                      <a:pt x="8" y="28"/>
                      <a:pt x="9" y="31"/>
                      <a:pt x="11" y="33"/>
                    </a:cubicBezTo>
                    <a:cubicBezTo>
                      <a:pt x="13" y="35"/>
                      <a:pt x="15" y="36"/>
                      <a:pt x="17" y="36"/>
                    </a:cubicBezTo>
                    <a:cubicBezTo>
                      <a:pt x="20" y="36"/>
                      <a:pt x="22" y="35"/>
                      <a:pt x="25" y="3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43" name="íṩḷiḋé"/>
              <p:cNvSpPr/>
              <p:nvPr/>
            </p:nvSpPr>
            <p:spPr bwMode="auto">
              <a:xfrm>
                <a:off x="1916009" y="5887040"/>
                <a:ext cx="65088" cy="71438"/>
              </a:xfrm>
              <a:custGeom>
                <a:avLst/>
                <a:gdLst>
                  <a:gd name="T0" fmla="*/ 0 w 41"/>
                  <a:gd name="T1" fmla="*/ 38 h 45"/>
                  <a:gd name="T2" fmla="*/ 34 w 41"/>
                  <a:gd name="T3" fmla="*/ 0 h 45"/>
                  <a:gd name="T4" fmla="*/ 41 w 41"/>
                  <a:gd name="T5" fmla="*/ 6 h 45"/>
                  <a:gd name="T6" fmla="*/ 8 w 41"/>
                  <a:gd name="T7" fmla="*/ 45 h 45"/>
                  <a:gd name="T8" fmla="*/ 0 w 41"/>
                  <a:gd name="T9" fmla="*/ 38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1" h="45">
                    <a:moveTo>
                      <a:pt x="0" y="38"/>
                    </a:moveTo>
                    <a:lnTo>
                      <a:pt x="34" y="0"/>
                    </a:lnTo>
                    <a:lnTo>
                      <a:pt x="41" y="6"/>
                    </a:lnTo>
                    <a:lnTo>
                      <a:pt x="8" y="45"/>
                    </a:lnTo>
                    <a:lnTo>
                      <a:pt x="0" y="3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44" name="îsľïďé"/>
              <p:cNvSpPr/>
              <p:nvPr/>
            </p:nvSpPr>
            <p:spPr bwMode="auto">
              <a:xfrm>
                <a:off x="1941409" y="5904503"/>
                <a:ext cx="96838" cy="101600"/>
              </a:xfrm>
              <a:custGeom>
                <a:avLst/>
                <a:gdLst>
                  <a:gd name="T0" fmla="*/ 0 w 61"/>
                  <a:gd name="T1" fmla="*/ 41 h 64"/>
                  <a:gd name="T2" fmla="*/ 31 w 61"/>
                  <a:gd name="T3" fmla="*/ 0 h 64"/>
                  <a:gd name="T4" fmla="*/ 61 w 61"/>
                  <a:gd name="T5" fmla="*/ 22 h 64"/>
                  <a:gd name="T6" fmla="*/ 56 w 61"/>
                  <a:gd name="T7" fmla="*/ 29 h 64"/>
                  <a:gd name="T8" fmla="*/ 34 w 61"/>
                  <a:gd name="T9" fmla="*/ 13 h 64"/>
                  <a:gd name="T10" fmla="*/ 27 w 61"/>
                  <a:gd name="T11" fmla="*/ 22 h 64"/>
                  <a:gd name="T12" fmla="*/ 47 w 61"/>
                  <a:gd name="T13" fmla="*/ 37 h 64"/>
                  <a:gd name="T14" fmla="*/ 42 w 61"/>
                  <a:gd name="T15" fmla="*/ 44 h 64"/>
                  <a:gd name="T16" fmla="*/ 21 w 61"/>
                  <a:gd name="T17" fmla="*/ 29 h 64"/>
                  <a:gd name="T18" fmla="*/ 13 w 61"/>
                  <a:gd name="T19" fmla="*/ 40 h 64"/>
                  <a:gd name="T20" fmla="*/ 36 w 61"/>
                  <a:gd name="T21" fmla="*/ 57 h 64"/>
                  <a:gd name="T22" fmla="*/ 31 w 61"/>
                  <a:gd name="T23" fmla="*/ 64 h 64"/>
                  <a:gd name="T24" fmla="*/ 0 w 61"/>
                  <a:gd name="T25" fmla="*/ 41 h 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1" h="64">
                    <a:moveTo>
                      <a:pt x="0" y="41"/>
                    </a:moveTo>
                    <a:lnTo>
                      <a:pt x="31" y="0"/>
                    </a:lnTo>
                    <a:lnTo>
                      <a:pt x="61" y="22"/>
                    </a:lnTo>
                    <a:lnTo>
                      <a:pt x="56" y="29"/>
                    </a:lnTo>
                    <a:lnTo>
                      <a:pt x="34" y="13"/>
                    </a:lnTo>
                    <a:lnTo>
                      <a:pt x="27" y="22"/>
                    </a:lnTo>
                    <a:lnTo>
                      <a:pt x="47" y="37"/>
                    </a:lnTo>
                    <a:lnTo>
                      <a:pt x="42" y="44"/>
                    </a:lnTo>
                    <a:lnTo>
                      <a:pt x="21" y="29"/>
                    </a:lnTo>
                    <a:lnTo>
                      <a:pt x="13" y="40"/>
                    </a:lnTo>
                    <a:lnTo>
                      <a:pt x="36" y="57"/>
                    </a:lnTo>
                    <a:lnTo>
                      <a:pt x="31" y="64"/>
                    </a:lnTo>
                    <a:lnTo>
                      <a:pt x="0" y="4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45" name="íśliḋé"/>
              <p:cNvSpPr/>
              <p:nvPr/>
            </p:nvSpPr>
            <p:spPr bwMode="auto">
              <a:xfrm>
                <a:off x="2004909" y="5947365"/>
                <a:ext cx="96838" cy="101600"/>
              </a:xfrm>
              <a:custGeom>
                <a:avLst/>
                <a:gdLst>
                  <a:gd name="T0" fmla="*/ 0 w 61"/>
                  <a:gd name="T1" fmla="*/ 43 h 64"/>
                  <a:gd name="T2" fmla="*/ 27 w 61"/>
                  <a:gd name="T3" fmla="*/ 0 h 64"/>
                  <a:gd name="T4" fmla="*/ 35 w 61"/>
                  <a:gd name="T5" fmla="*/ 5 h 64"/>
                  <a:gd name="T6" fmla="*/ 36 w 61"/>
                  <a:gd name="T7" fmla="*/ 45 h 64"/>
                  <a:gd name="T8" fmla="*/ 53 w 61"/>
                  <a:gd name="T9" fmla="*/ 15 h 64"/>
                  <a:gd name="T10" fmla="*/ 61 w 61"/>
                  <a:gd name="T11" fmla="*/ 21 h 64"/>
                  <a:gd name="T12" fmla="*/ 35 w 61"/>
                  <a:gd name="T13" fmla="*/ 64 h 64"/>
                  <a:gd name="T14" fmla="*/ 27 w 61"/>
                  <a:gd name="T15" fmla="*/ 59 h 64"/>
                  <a:gd name="T16" fmla="*/ 25 w 61"/>
                  <a:gd name="T17" fmla="*/ 20 h 64"/>
                  <a:gd name="T18" fmla="*/ 8 w 61"/>
                  <a:gd name="T19" fmla="*/ 49 h 64"/>
                  <a:gd name="T20" fmla="*/ 0 w 61"/>
                  <a:gd name="T21" fmla="*/ 43 h 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61" h="64">
                    <a:moveTo>
                      <a:pt x="0" y="43"/>
                    </a:moveTo>
                    <a:lnTo>
                      <a:pt x="27" y="0"/>
                    </a:lnTo>
                    <a:lnTo>
                      <a:pt x="35" y="5"/>
                    </a:lnTo>
                    <a:lnTo>
                      <a:pt x="36" y="45"/>
                    </a:lnTo>
                    <a:lnTo>
                      <a:pt x="53" y="15"/>
                    </a:lnTo>
                    <a:lnTo>
                      <a:pt x="61" y="21"/>
                    </a:lnTo>
                    <a:lnTo>
                      <a:pt x="35" y="64"/>
                    </a:lnTo>
                    <a:lnTo>
                      <a:pt x="27" y="59"/>
                    </a:lnTo>
                    <a:lnTo>
                      <a:pt x="25" y="20"/>
                    </a:lnTo>
                    <a:lnTo>
                      <a:pt x="8" y="49"/>
                    </a:lnTo>
                    <a:lnTo>
                      <a:pt x="0" y="4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46" name="iSļiďê"/>
              <p:cNvSpPr/>
              <p:nvPr/>
            </p:nvSpPr>
            <p:spPr bwMode="auto">
              <a:xfrm>
                <a:off x="2087459" y="5993403"/>
                <a:ext cx="79375" cy="87313"/>
              </a:xfrm>
              <a:custGeom>
                <a:avLst/>
                <a:gdLst>
                  <a:gd name="T0" fmla="*/ 28 w 43"/>
                  <a:gd name="T1" fmla="*/ 33 h 47"/>
                  <a:gd name="T2" fmla="*/ 34 w 43"/>
                  <a:gd name="T3" fmla="*/ 39 h 47"/>
                  <a:gd name="T4" fmla="*/ 24 w 43"/>
                  <a:gd name="T5" fmla="*/ 46 h 47"/>
                  <a:gd name="T6" fmla="*/ 12 w 43"/>
                  <a:gd name="T7" fmla="*/ 44 h 47"/>
                  <a:gd name="T8" fmla="*/ 1 w 43"/>
                  <a:gd name="T9" fmla="*/ 33 h 47"/>
                  <a:gd name="T10" fmla="*/ 3 w 43"/>
                  <a:gd name="T11" fmla="*/ 15 h 47"/>
                  <a:gd name="T12" fmla="*/ 15 w 43"/>
                  <a:gd name="T13" fmla="*/ 2 h 47"/>
                  <a:gd name="T14" fmla="*/ 32 w 43"/>
                  <a:gd name="T15" fmla="*/ 3 h 47"/>
                  <a:gd name="T16" fmla="*/ 41 w 43"/>
                  <a:gd name="T17" fmla="*/ 13 h 47"/>
                  <a:gd name="T18" fmla="*/ 42 w 43"/>
                  <a:gd name="T19" fmla="*/ 22 h 47"/>
                  <a:gd name="T20" fmla="*/ 33 w 43"/>
                  <a:gd name="T21" fmla="*/ 20 h 47"/>
                  <a:gd name="T22" fmla="*/ 33 w 43"/>
                  <a:gd name="T23" fmla="*/ 14 h 47"/>
                  <a:gd name="T24" fmla="*/ 28 w 43"/>
                  <a:gd name="T25" fmla="*/ 10 h 47"/>
                  <a:gd name="T26" fmla="*/ 19 w 43"/>
                  <a:gd name="T27" fmla="*/ 10 h 47"/>
                  <a:gd name="T28" fmla="*/ 12 w 43"/>
                  <a:gd name="T29" fmla="*/ 19 h 47"/>
                  <a:gd name="T30" fmla="*/ 9 w 43"/>
                  <a:gd name="T31" fmla="*/ 31 h 47"/>
                  <a:gd name="T32" fmla="*/ 15 w 43"/>
                  <a:gd name="T33" fmla="*/ 37 h 47"/>
                  <a:gd name="T34" fmla="*/ 22 w 43"/>
                  <a:gd name="T35" fmla="*/ 38 h 47"/>
                  <a:gd name="T36" fmla="*/ 28 w 43"/>
                  <a:gd name="T37" fmla="*/ 33 h 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43" h="47">
                    <a:moveTo>
                      <a:pt x="28" y="33"/>
                    </a:moveTo>
                    <a:cubicBezTo>
                      <a:pt x="34" y="39"/>
                      <a:pt x="34" y="39"/>
                      <a:pt x="34" y="39"/>
                    </a:cubicBezTo>
                    <a:cubicBezTo>
                      <a:pt x="31" y="43"/>
                      <a:pt x="28" y="45"/>
                      <a:pt x="24" y="46"/>
                    </a:cubicBezTo>
                    <a:cubicBezTo>
                      <a:pt x="20" y="47"/>
                      <a:pt x="16" y="46"/>
                      <a:pt x="12" y="44"/>
                    </a:cubicBezTo>
                    <a:cubicBezTo>
                      <a:pt x="7" y="42"/>
                      <a:pt x="3" y="38"/>
                      <a:pt x="1" y="33"/>
                    </a:cubicBezTo>
                    <a:cubicBezTo>
                      <a:pt x="0" y="27"/>
                      <a:pt x="0" y="22"/>
                      <a:pt x="3" y="15"/>
                    </a:cubicBezTo>
                    <a:cubicBezTo>
                      <a:pt x="6" y="9"/>
                      <a:pt x="10" y="4"/>
                      <a:pt x="15" y="2"/>
                    </a:cubicBezTo>
                    <a:cubicBezTo>
                      <a:pt x="21" y="0"/>
                      <a:pt x="26" y="1"/>
                      <a:pt x="32" y="3"/>
                    </a:cubicBezTo>
                    <a:cubicBezTo>
                      <a:pt x="36" y="5"/>
                      <a:pt x="40" y="9"/>
                      <a:pt x="41" y="13"/>
                    </a:cubicBezTo>
                    <a:cubicBezTo>
                      <a:pt x="42" y="16"/>
                      <a:pt x="43" y="19"/>
                      <a:pt x="42" y="22"/>
                    </a:cubicBezTo>
                    <a:cubicBezTo>
                      <a:pt x="33" y="20"/>
                      <a:pt x="33" y="20"/>
                      <a:pt x="33" y="20"/>
                    </a:cubicBezTo>
                    <a:cubicBezTo>
                      <a:pt x="34" y="18"/>
                      <a:pt x="34" y="16"/>
                      <a:pt x="33" y="14"/>
                    </a:cubicBezTo>
                    <a:cubicBezTo>
                      <a:pt x="32" y="12"/>
                      <a:pt x="30" y="11"/>
                      <a:pt x="28" y="10"/>
                    </a:cubicBezTo>
                    <a:cubicBezTo>
                      <a:pt x="25" y="8"/>
                      <a:pt x="22" y="8"/>
                      <a:pt x="19" y="10"/>
                    </a:cubicBezTo>
                    <a:cubicBezTo>
                      <a:pt x="16" y="11"/>
                      <a:pt x="14" y="14"/>
                      <a:pt x="12" y="19"/>
                    </a:cubicBezTo>
                    <a:cubicBezTo>
                      <a:pt x="9" y="24"/>
                      <a:pt x="9" y="28"/>
                      <a:pt x="9" y="31"/>
                    </a:cubicBezTo>
                    <a:cubicBezTo>
                      <a:pt x="10" y="34"/>
                      <a:pt x="12" y="36"/>
                      <a:pt x="15" y="37"/>
                    </a:cubicBezTo>
                    <a:cubicBezTo>
                      <a:pt x="17" y="38"/>
                      <a:pt x="19" y="38"/>
                      <a:pt x="22" y="38"/>
                    </a:cubicBezTo>
                    <a:cubicBezTo>
                      <a:pt x="24" y="37"/>
                      <a:pt x="26" y="35"/>
                      <a:pt x="28" y="3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47" name="íSliḋé"/>
              <p:cNvSpPr/>
              <p:nvPr/>
            </p:nvSpPr>
            <p:spPr bwMode="auto">
              <a:xfrm>
                <a:off x="2157309" y="6017215"/>
                <a:ext cx="82550" cy="96838"/>
              </a:xfrm>
              <a:custGeom>
                <a:avLst/>
                <a:gdLst>
                  <a:gd name="T0" fmla="*/ 0 w 52"/>
                  <a:gd name="T1" fmla="*/ 49 h 61"/>
                  <a:gd name="T2" fmla="*/ 16 w 52"/>
                  <a:gd name="T3" fmla="*/ 0 h 61"/>
                  <a:gd name="T4" fmla="*/ 52 w 52"/>
                  <a:gd name="T5" fmla="*/ 13 h 61"/>
                  <a:gd name="T6" fmla="*/ 50 w 52"/>
                  <a:gd name="T7" fmla="*/ 21 h 61"/>
                  <a:gd name="T8" fmla="*/ 23 w 52"/>
                  <a:gd name="T9" fmla="*/ 12 h 61"/>
                  <a:gd name="T10" fmla="*/ 20 w 52"/>
                  <a:gd name="T11" fmla="*/ 22 h 61"/>
                  <a:gd name="T12" fmla="*/ 44 w 52"/>
                  <a:gd name="T13" fmla="*/ 30 h 61"/>
                  <a:gd name="T14" fmla="*/ 41 w 52"/>
                  <a:gd name="T15" fmla="*/ 38 h 61"/>
                  <a:gd name="T16" fmla="*/ 18 w 52"/>
                  <a:gd name="T17" fmla="*/ 30 h 61"/>
                  <a:gd name="T18" fmla="*/ 13 w 52"/>
                  <a:gd name="T19" fmla="*/ 43 h 61"/>
                  <a:gd name="T20" fmla="*/ 40 w 52"/>
                  <a:gd name="T21" fmla="*/ 52 h 61"/>
                  <a:gd name="T22" fmla="*/ 36 w 52"/>
                  <a:gd name="T23" fmla="*/ 61 h 61"/>
                  <a:gd name="T24" fmla="*/ 0 w 52"/>
                  <a:gd name="T25" fmla="*/ 49 h 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52" h="61">
                    <a:moveTo>
                      <a:pt x="0" y="49"/>
                    </a:moveTo>
                    <a:lnTo>
                      <a:pt x="16" y="0"/>
                    </a:lnTo>
                    <a:lnTo>
                      <a:pt x="52" y="13"/>
                    </a:lnTo>
                    <a:lnTo>
                      <a:pt x="50" y="21"/>
                    </a:lnTo>
                    <a:lnTo>
                      <a:pt x="23" y="12"/>
                    </a:lnTo>
                    <a:lnTo>
                      <a:pt x="20" y="22"/>
                    </a:lnTo>
                    <a:lnTo>
                      <a:pt x="44" y="30"/>
                    </a:lnTo>
                    <a:lnTo>
                      <a:pt x="41" y="38"/>
                    </a:lnTo>
                    <a:lnTo>
                      <a:pt x="18" y="30"/>
                    </a:lnTo>
                    <a:lnTo>
                      <a:pt x="13" y="43"/>
                    </a:lnTo>
                    <a:lnTo>
                      <a:pt x="40" y="52"/>
                    </a:lnTo>
                    <a:lnTo>
                      <a:pt x="36" y="61"/>
                    </a:lnTo>
                    <a:lnTo>
                      <a:pt x="0" y="4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48" name="îŝ1îḑè"/>
              <p:cNvSpPr/>
              <p:nvPr/>
            </p:nvSpPr>
            <p:spPr bwMode="auto">
              <a:xfrm>
                <a:off x="2663722" y="6026740"/>
                <a:ext cx="77788" cy="92075"/>
              </a:xfrm>
              <a:custGeom>
                <a:avLst/>
                <a:gdLst>
                  <a:gd name="T0" fmla="*/ 49 w 49"/>
                  <a:gd name="T1" fmla="*/ 42 h 58"/>
                  <a:gd name="T2" fmla="*/ 39 w 49"/>
                  <a:gd name="T3" fmla="*/ 45 h 58"/>
                  <a:gd name="T4" fmla="*/ 31 w 49"/>
                  <a:gd name="T5" fmla="*/ 36 h 58"/>
                  <a:gd name="T6" fmla="*/ 11 w 49"/>
                  <a:gd name="T7" fmla="*/ 43 h 58"/>
                  <a:gd name="T8" fmla="*/ 11 w 49"/>
                  <a:gd name="T9" fmla="*/ 55 h 58"/>
                  <a:gd name="T10" fmla="*/ 0 w 49"/>
                  <a:gd name="T11" fmla="*/ 58 h 58"/>
                  <a:gd name="T12" fmla="*/ 3 w 49"/>
                  <a:gd name="T13" fmla="*/ 3 h 58"/>
                  <a:gd name="T14" fmla="*/ 13 w 49"/>
                  <a:gd name="T15" fmla="*/ 0 h 58"/>
                  <a:gd name="T16" fmla="*/ 49 w 49"/>
                  <a:gd name="T17" fmla="*/ 42 h 58"/>
                  <a:gd name="T18" fmla="*/ 25 w 49"/>
                  <a:gd name="T19" fmla="*/ 29 h 58"/>
                  <a:gd name="T20" fmla="*/ 12 w 49"/>
                  <a:gd name="T21" fmla="*/ 14 h 58"/>
                  <a:gd name="T22" fmla="*/ 11 w 49"/>
                  <a:gd name="T23" fmla="*/ 34 h 58"/>
                  <a:gd name="T24" fmla="*/ 25 w 49"/>
                  <a:gd name="T25" fmla="*/ 29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49" h="58">
                    <a:moveTo>
                      <a:pt x="49" y="42"/>
                    </a:moveTo>
                    <a:lnTo>
                      <a:pt x="39" y="45"/>
                    </a:lnTo>
                    <a:lnTo>
                      <a:pt x="31" y="36"/>
                    </a:lnTo>
                    <a:lnTo>
                      <a:pt x="11" y="43"/>
                    </a:lnTo>
                    <a:lnTo>
                      <a:pt x="11" y="55"/>
                    </a:lnTo>
                    <a:lnTo>
                      <a:pt x="0" y="58"/>
                    </a:lnTo>
                    <a:lnTo>
                      <a:pt x="3" y="3"/>
                    </a:lnTo>
                    <a:lnTo>
                      <a:pt x="13" y="0"/>
                    </a:lnTo>
                    <a:lnTo>
                      <a:pt x="49" y="42"/>
                    </a:lnTo>
                    <a:close/>
                    <a:moveTo>
                      <a:pt x="25" y="29"/>
                    </a:moveTo>
                    <a:lnTo>
                      <a:pt x="12" y="14"/>
                    </a:lnTo>
                    <a:lnTo>
                      <a:pt x="11" y="34"/>
                    </a:lnTo>
                    <a:lnTo>
                      <a:pt x="25" y="2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49" name="íṩḻiḋê"/>
              <p:cNvSpPr/>
              <p:nvPr/>
            </p:nvSpPr>
            <p:spPr bwMode="auto">
              <a:xfrm>
                <a:off x="2714522" y="5990228"/>
                <a:ext cx="92075" cy="101600"/>
              </a:xfrm>
              <a:custGeom>
                <a:avLst/>
                <a:gdLst>
                  <a:gd name="T0" fmla="*/ 21 w 58"/>
                  <a:gd name="T1" fmla="*/ 64 h 64"/>
                  <a:gd name="T2" fmla="*/ 0 w 58"/>
                  <a:gd name="T3" fmla="*/ 17 h 64"/>
                  <a:gd name="T4" fmla="*/ 9 w 58"/>
                  <a:gd name="T5" fmla="*/ 12 h 64"/>
                  <a:gd name="T6" fmla="*/ 43 w 58"/>
                  <a:gd name="T7" fmla="*/ 36 h 64"/>
                  <a:gd name="T8" fmla="*/ 29 w 58"/>
                  <a:gd name="T9" fmla="*/ 4 h 64"/>
                  <a:gd name="T10" fmla="*/ 37 w 58"/>
                  <a:gd name="T11" fmla="*/ 0 h 64"/>
                  <a:gd name="T12" fmla="*/ 58 w 58"/>
                  <a:gd name="T13" fmla="*/ 46 h 64"/>
                  <a:gd name="T14" fmla="*/ 49 w 58"/>
                  <a:gd name="T15" fmla="*/ 51 h 64"/>
                  <a:gd name="T16" fmla="*/ 16 w 58"/>
                  <a:gd name="T17" fmla="*/ 29 h 64"/>
                  <a:gd name="T18" fmla="*/ 30 w 58"/>
                  <a:gd name="T19" fmla="*/ 59 h 64"/>
                  <a:gd name="T20" fmla="*/ 21 w 58"/>
                  <a:gd name="T21" fmla="*/ 64 h 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58" h="64">
                    <a:moveTo>
                      <a:pt x="21" y="64"/>
                    </a:moveTo>
                    <a:lnTo>
                      <a:pt x="0" y="17"/>
                    </a:lnTo>
                    <a:lnTo>
                      <a:pt x="9" y="12"/>
                    </a:lnTo>
                    <a:lnTo>
                      <a:pt x="43" y="36"/>
                    </a:lnTo>
                    <a:lnTo>
                      <a:pt x="29" y="4"/>
                    </a:lnTo>
                    <a:lnTo>
                      <a:pt x="37" y="0"/>
                    </a:lnTo>
                    <a:lnTo>
                      <a:pt x="58" y="46"/>
                    </a:lnTo>
                    <a:lnTo>
                      <a:pt x="49" y="51"/>
                    </a:lnTo>
                    <a:lnTo>
                      <a:pt x="16" y="29"/>
                    </a:lnTo>
                    <a:lnTo>
                      <a:pt x="30" y="59"/>
                    </a:lnTo>
                    <a:lnTo>
                      <a:pt x="21" y="6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50" name="îṧľíḍe"/>
              <p:cNvSpPr/>
              <p:nvPr/>
            </p:nvSpPr>
            <p:spPr bwMode="auto">
              <a:xfrm>
                <a:off x="2781197" y="5963240"/>
                <a:ext cx="85725" cy="95250"/>
              </a:xfrm>
              <a:custGeom>
                <a:avLst/>
                <a:gdLst>
                  <a:gd name="T0" fmla="*/ 0 w 47"/>
                  <a:gd name="T1" fmla="*/ 13 h 51"/>
                  <a:gd name="T2" fmla="*/ 14 w 47"/>
                  <a:gd name="T3" fmla="*/ 4 h 51"/>
                  <a:gd name="T4" fmla="*/ 22 w 47"/>
                  <a:gd name="T5" fmla="*/ 1 h 51"/>
                  <a:gd name="T6" fmla="*/ 29 w 47"/>
                  <a:gd name="T7" fmla="*/ 1 h 51"/>
                  <a:gd name="T8" fmla="*/ 37 w 47"/>
                  <a:gd name="T9" fmla="*/ 5 h 51"/>
                  <a:gd name="T10" fmla="*/ 43 w 47"/>
                  <a:gd name="T11" fmla="*/ 14 h 51"/>
                  <a:gd name="T12" fmla="*/ 47 w 47"/>
                  <a:gd name="T13" fmla="*/ 22 h 51"/>
                  <a:gd name="T14" fmla="*/ 46 w 47"/>
                  <a:gd name="T15" fmla="*/ 31 h 51"/>
                  <a:gd name="T16" fmla="*/ 43 w 47"/>
                  <a:gd name="T17" fmla="*/ 38 h 51"/>
                  <a:gd name="T18" fmla="*/ 36 w 47"/>
                  <a:gd name="T19" fmla="*/ 42 h 51"/>
                  <a:gd name="T20" fmla="*/ 22 w 47"/>
                  <a:gd name="T21" fmla="*/ 51 h 51"/>
                  <a:gd name="T22" fmla="*/ 0 w 47"/>
                  <a:gd name="T23" fmla="*/ 13 h 51"/>
                  <a:gd name="T24" fmla="*/ 11 w 47"/>
                  <a:gd name="T25" fmla="*/ 15 h 51"/>
                  <a:gd name="T26" fmla="*/ 26 w 47"/>
                  <a:gd name="T27" fmla="*/ 40 h 51"/>
                  <a:gd name="T28" fmla="*/ 32 w 47"/>
                  <a:gd name="T29" fmla="*/ 37 h 51"/>
                  <a:gd name="T30" fmla="*/ 36 w 47"/>
                  <a:gd name="T31" fmla="*/ 33 h 51"/>
                  <a:gd name="T32" fmla="*/ 38 w 47"/>
                  <a:gd name="T33" fmla="*/ 30 h 51"/>
                  <a:gd name="T34" fmla="*/ 38 w 47"/>
                  <a:gd name="T35" fmla="*/ 25 h 51"/>
                  <a:gd name="T36" fmla="*/ 35 w 47"/>
                  <a:gd name="T37" fmla="*/ 18 h 51"/>
                  <a:gd name="T38" fmla="*/ 30 w 47"/>
                  <a:gd name="T39" fmla="*/ 11 h 51"/>
                  <a:gd name="T40" fmla="*/ 26 w 47"/>
                  <a:gd name="T41" fmla="*/ 9 h 51"/>
                  <a:gd name="T42" fmla="*/ 21 w 47"/>
                  <a:gd name="T43" fmla="*/ 9 h 51"/>
                  <a:gd name="T44" fmla="*/ 15 w 47"/>
                  <a:gd name="T45" fmla="*/ 13 h 51"/>
                  <a:gd name="T46" fmla="*/ 11 w 47"/>
                  <a:gd name="T47" fmla="*/ 15 h 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47" h="51">
                    <a:moveTo>
                      <a:pt x="0" y="13"/>
                    </a:moveTo>
                    <a:cubicBezTo>
                      <a:pt x="14" y="4"/>
                      <a:pt x="14" y="4"/>
                      <a:pt x="14" y="4"/>
                    </a:cubicBezTo>
                    <a:cubicBezTo>
                      <a:pt x="17" y="3"/>
                      <a:pt x="20" y="1"/>
                      <a:pt x="22" y="1"/>
                    </a:cubicBezTo>
                    <a:cubicBezTo>
                      <a:pt x="24" y="0"/>
                      <a:pt x="27" y="0"/>
                      <a:pt x="29" y="1"/>
                    </a:cubicBezTo>
                    <a:cubicBezTo>
                      <a:pt x="32" y="2"/>
                      <a:pt x="34" y="3"/>
                      <a:pt x="37" y="5"/>
                    </a:cubicBezTo>
                    <a:cubicBezTo>
                      <a:pt x="39" y="7"/>
                      <a:pt x="41" y="10"/>
                      <a:pt x="43" y="14"/>
                    </a:cubicBezTo>
                    <a:cubicBezTo>
                      <a:pt x="45" y="17"/>
                      <a:pt x="46" y="20"/>
                      <a:pt x="47" y="22"/>
                    </a:cubicBezTo>
                    <a:cubicBezTo>
                      <a:pt x="47" y="26"/>
                      <a:pt x="47" y="29"/>
                      <a:pt x="46" y="31"/>
                    </a:cubicBezTo>
                    <a:cubicBezTo>
                      <a:pt x="46" y="34"/>
                      <a:pt x="45" y="36"/>
                      <a:pt x="43" y="38"/>
                    </a:cubicBezTo>
                    <a:cubicBezTo>
                      <a:pt x="41" y="39"/>
                      <a:pt x="39" y="41"/>
                      <a:pt x="36" y="42"/>
                    </a:cubicBezTo>
                    <a:cubicBezTo>
                      <a:pt x="22" y="51"/>
                      <a:pt x="22" y="51"/>
                      <a:pt x="22" y="51"/>
                    </a:cubicBezTo>
                    <a:lnTo>
                      <a:pt x="0" y="13"/>
                    </a:lnTo>
                    <a:close/>
                    <a:moveTo>
                      <a:pt x="11" y="15"/>
                    </a:moveTo>
                    <a:cubicBezTo>
                      <a:pt x="26" y="40"/>
                      <a:pt x="26" y="40"/>
                      <a:pt x="26" y="40"/>
                    </a:cubicBezTo>
                    <a:cubicBezTo>
                      <a:pt x="32" y="37"/>
                      <a:pt x="32" y="37"/>
                      <a:pt x="32" y="37"/>
                    </a:cubicBezTo>
                    <a:cubicBezTo>
                      <a:pt x="34" y="35"/>
                      <a:pt x="35" y="34"/>
                      <a:pt x="36" y="33"/>
                    </a:cubicBezTo>
                    <a:cubicBezTo>
                      <a:pt x="37" y="32"/>
                      <a:pt x="38" y="31"/>
                      <a:pt x="38" y="30"/>
                    </a:cubicBezTo>
                    <a:cubicBezTo>
                      <a:pt x="39" y="29"/>
                      <a:pt x="39" y="27"/>
                      <a:pt x="38" y="25"/>
                    </a:cubicBezTo>
                    <a:cubicBezTo>
                      <a:pt x="38" y="23"/>
                      <a:pt x="37" y="21"/>
                      <a:pt x="35" y="18"/>
                    </a:cubicBezTo>
                    <a:cubicBezTo>
                      <a:pt x="33" y="15"/>
                      <a:pt x="32" y="13"/>
                      <a:pt x="30" y="11"/>
                    </a:cubicBezTo>
                    <a:cubicBezTo>
                      <a:pt x="29" y="10"/>
                      <a:pt x="27" y="9"/>
                      <a:pt x="26" y="9"/>
                    </a:cubicBezTo>
                    <a:cubicBezTo>
                      <a:pt x="25" y="9"/>
                      <a:pt x="23" y="9"/>
                      <a:pt x="21" y="9"/>
                    </a:cubicBezTo>
                    <a:cubicBezTo>
                      <a:pt x="20" y="10"/>
                      <a:pt x="18" y="11"/>
                      <a:pt x="15" y="13"/>
                    </a:cubicBezTo>
                    <a:lnTo>
                      <a:pt x="11" y="1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51" name="ïṩḻiḍe"/>
              <p:cNvSpPr/>
              <p:nvPr/>
            </p:nvSpPr>
            <p:spPr bwMode="auto">
              <a:xfrm>
                <a:off x="2876447" y="5888628"/>
                <a:ext cx="80963" cy="88900"/>
              </a:xfrm>
              <a:custGeom>
                <a:avLst/>
                <a:gdLst>
                  <a:gd name="T0" fmla="*/ 43 w 51"/>
                  <a:gd name="T1" fmla="*/ 56 h 56"/>
                  <a:gd name="T2" fmla="*/ 16 w 51"/>
                  <a:gd name="T3" fmla="*/ 22 h 56"/>
                  <a:gd name="T4" fmla="*/ 5 w 51"/>
                  <a:gd name="T5" fmla="*/ 31 h 56"/>
                  <a:gd name="T6" fmla="*/ 0 w 51"/>
                  <a:gd name="T7" fmla="*/ 25 h 56"/>
                  <a:gd name="T8" fmla="*/ 31 w 51"/>
                  <a:gd name="T9" fmla="*/ 0 h 56"/>
                  <a:gd name="T10" fmla="*/ 37 w 51"/>
                  <a:gd name="T11" fmla="*/ 7 h 56"/>
                  <a:gd name="T12" fmla="*/ 24 w 51"/>
                  <a:gd name="T13" fmla="*/ 16 h 56"/>
                  <a:gd name="T14" fmla="*/ 51 w 51"/>
                  <a:gd name="T15" fmla="*/ 49 h 56"/>
                  <a:gd name="T16" fmla="*/ 43 w 51"/>
                  <a:gd name="T17" fmla="*/ 56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1" h="56">
                    <a:moveTo>
                      <a:pt x="43" y="56"/>
                    </a:moveTo>
                    <a:lnTo>
                      <a:pt x="16" y="22"/>
                    </a:lnTo>
                    <a:lnTo>
                      <a:pt x="5" y="31"/>
                    </a:lnTo>
                    <a:lnTo>
                      <a:pt x="0" y="25"/>
                    </a:lnTo>
                    <a:lnTo>
                      <a:pt x="31" y="0"/>
                    </a:lnTo>
                    <a:lnTo>
                      <a:pt x="37" y="7"/>
                    </a:lnTo>
                    <a:lnTo>
                      <a:pt x="24" y="16"/>
                    </a:lnTo>
                    <a:lnTo>
                      <a:pt x="51" y="49"/>
                    </a:lnTo>
                    <a:lnTo>
                      <a:pt x="43" y="56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52" name="íśļïḓè"/>
              <p:cNvSpPr/>
              <p:nvPr/>
            </p:nvSpPr>
            <p:spPr bwMode="auto">
              <a:xfrm>
                <a:off x="2925659" y="5845765"/>
                <a:ext cx="101600" cy="100013"/>
              </a:xfrm>
              <a:custGeom>
                <a:avLst/>
                <a:gdLst>
                  <a:gd name="T0" fmla="*/ 36 w 64"/>
                  <a:gd name="T1" fmla="*/ 63 h 63"/>
                  <a:gd name="T2" fmla="*/ 0 w 64"/>
                  <a:gd name="T3" fmla="*/ 26 h 63"/>
                  <a:gd name="T4" fmla="*/ 28 w 64"/>
                  <a:gd name="T5" fmla="*/ 0 h 63"/>
                  <a:gd name="T6" fmla="*/ 34 w 64"/>
                  <a:gd name="T7" fmla="*/ 6 h 63"/>
                  <a:gd name="T8" fmla="*/ 14 w 64"/>
                  <a:gd name="T9" fmla="*/ 26 h 63"/>
                  <a:gd name="T10" fmla="*/ 22 w 64"/>
                  <a:gd name="T11" fmla="*/ 34 h 63"/>
                  <a:gd name="T12" fmla="*/ 41 w 64"/>
                  <a:gd name="T13" fmla="*/ 16 h 63"/>
                  <a:gd name="T14" fmla="*/ 47 w 64"/>
                  <a:gd name="T15" fmla="*/ 22 h 63"/>
                  <a:gd name="T16" fmla="*/ 28 w 64"/>
                  <a:gd name="T17" fmla="*/ 39 h 63"/>
                  <a:gd name="T18" fmla="*/ 38 w 64"/>
                  <a:gd name="T19" fmla="*/ 50 h 63"/>
                  <a:gd name="T20" fmla="*/ 58 w 64"/>
                  <a:gd name="T21" fmla="*/ 30 h 63"/>
                  <a:gd name="T22" fmla="*/ 64 w 64"/>
                  <a:gd name="T23" fmla="*/ 36 h 63"/>
                  <a:gd name="T24" fmla="*/ 36 w 64"/>
                  <a:gd name="T25" fmla="*/ 63 h 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4" h="63">
                    <a:moveTo>
                      <a:pt x="36" y="63"/>
                    </a:moveTo>
                    <a:lnTo>
                      <a:pt x="0" y="26"/>
                    </a:lnTo>
                    <a:lnTo>
                      <a:pt x="28" y="0"/>
                    </a:lnTo>
                    <a:lnTo>
                      <a:pt x="34" y="6"/>
                    </a:lnTo>
                    <a:lnTo>
                      <a:pt x="14" y="26"/>
                    </a:lnTo>
                    <a:lnTo>
                      <a:pt x="22" y="34"/>
                    </a:lnTo>
                    <a:lnTo>
                      <a:pt x="41" y="16"/>
                    </a:lnTo>
                    <a:lnTo>
                      <a:pt x="47" y="22"/>
                    </a:lnTo>
                    <a:lnTo>
                      <a:pt x="28" y="39"/>
                    </a:lnTo>
                    <a:lnTo>
                      <a:pt x="38" y="50"/>
                    </a:lnTo>
                    <a:lnTo>
                      <a:pt x="58" y="30"/>
                    </a:lnTo>
                    <a:lnTo>
                      <a:pt x="64" y="36"/>
                    </a:lnTo>
                    <a:lnTo>
                      <a:pt x="36" y="6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53" name="íṩḻîde"/>
              <p:cNvSpPr/>
              <p:nvPr/>
            </p:nvSpPr>
            <p:spPr bwMode="auto">
              <a:xfrm>
                <a:off x="2985984" y="5801315"/>
                <a:ext cx="82550" cy="80963"/>
              </a:xfrm>
              <a:custGeom>
                <a:avLst/>
                <a:gdLst>
                  <a:gd name="T0" fmla="*/ 34 w 45"/>
                  <a:gd name="T1" fmla="*/ 19 h 44"/>
                  <a:gd name="T2" fmla="*/ 41 w 45"/>
                  <a:gd name="T3" fmla="*/ 14 h 44"/>
                  <a:gd name="T4" fmla="*/ 45 w 45"/>
                  <a:gd name="T5" fmla="*/ 26 h 44"/>
                  <a:gd name="T6" fmla="*/ 40 w 45"/>
                  <a:gd name="T7" fmla="*/ 37 h 44"/>
                  <a:gd name="T8" fmla="*/ 26 w 45"/>
                  <a:gd name="T9" fmla="*/ 44 h 44"/>
                  <a:gd name="T10" fmla="*/ 10 w 45"/>
                  <a:gd name="T11" fmla="*/ 38 h 44"/>
                  <a:gd name="T12" fmla="*/ 1 w 45"/>
                  <a:gd name="T13" fmla="*/ 22 h 44"/>
                  <a:gd name="T14" fmla="*/ 6 w 45"/>
                  <a:gd name="T15" fmla="*/ 7 h 44"/>
                  <a:gd name="T16" fmla="*/ 18 w 45"/>
                  <a:gd name="T17" fmla="*/ 0 h 44"/>
                  <a:gd name="T18" fmla="*/ 27 w 45"/>
                  <a:gd name="T19" fmla="*/ 2 h 44"/>
                  <a:gd name="T20" fmla="*/ 23 w 45"/>
                  <a:gd name="T21" fmla="*/ 10 h 44"/>
                  <a:gd name="T22" fmla="*/ 17 w 45"/>
                  <a:gd name="T23" fmla="*/ 9 h 44"/>
                  <a:gd name="T24" fmla="*/ 11 w 45"/>
                  <a:gd name="T25" fmla="*/ 12 h 44"/>
                  <a:gd name="T26" fmla="*/ 9 w 45"/>
                  <a:gd name="T27" fmla="*/ 21 h 44"/>
                  <a:gd name="T28" fmla="*/ 15 w 45"/>
                  <a:gd name="T29" fmla="*/ 30 h 44"/>
                  <a:gd name="T30" fmla="*/ 26 w 45"/>
                  <a:gd name="T31" fmla="*/ 36 h 44"/>
                  <a:gd name="T32" fmla="*/ 34 w 45"/>
                  <a:gd name="T33" fmla="*/ 32 h 44"/>
                  <a:gd name="T34" fmla="*/ 36 w 45"/>
                  <a:gd name="T35" fmla="*/ 26 h 44"/>
                  <a:gd name="T36" fmla="*/ 34 w 45"/>
                  <a:gd name="T37" fmla="*/ 19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45" h="44">
                    <a:moveTo>
                      <a:pt x="34" y="19"/>
                    </a:moveTo>
                    <a:cubicBezTo>
                      <a:pt x="41" y="14"/>
                      <a:pt x="41" y="14"/>
                      <a:pt x="41" y="14"/>
                    </a:cubicBezTo>
                    <a:cubicBezTo>
                      <a:pt x="44" y="18"/>
                      <a:pt x="45" y="22"/>
                      <a:pt x="45" y="26"/>
                    </a:cubicBezTo>
                    <a:cubicBezTo>
                      <a:pt x="45" y="30"/>
                      <a:pt x="43" y="34"/>
                      <a:pt x="40" y="37"/>
                    </a:cubicBezTo>
                    <a:cubicBezTo>
                      <a:pt x="36" y="42"/>
                      <a:pt x="31" y="44"/>
                      <a:pt x="26" y="44"/>
                    </a:cubicBezTo>
                    <a:cubicBezTo>
                      <a:pt x="21" y="44"/>
                      <a:pt x="15" y="42"/>
                      <a:pt x="10" y="38"/>
                    </a:cubicBezTo>
                    <a:cubicBezTo>
                      <a:pt x="4" y="33"/>
                      <a:pt x="1" y="28"/>
                      <a:pt x="1" y="22"/>
                    </a:cubicBezTo>
                    <a:cubicBezTo>
                      <a:pt x="0" y="17"/>
                      <a:pt x="2" y="12"/>
                      <a:pt x="6" y="7"/>
                    </a:cubicBezTo>
                    <a:cubicBezTo>
                      <a:pt x="10" y="3"/>
                      <a:pt x="14" y="1"/>
                      <a:pt x="18" y="0"/>
                    </a:cubicBezTo>
                    <a:cubicBezTo>
                      <a:pt x="21" y="0"/>
                      <a:pt x="24" y="1"/>
                      <a:pt x="27" y="2"/>
                    </a:cubicBezTo>
                    <a:cubicBezTo>
                      <a:pt x="23" y="10"/>
                      <a:pt x="23" y="10"/>
                      <a:pt x="23" y="10"/>
                    </a:cubicBezTo>
                    <a:cubicBezTo>
                      <a:pt x="21" y="9"/>
                      <a:pt x="19" y="9"/>
                      <a:pt x="17" y="9"/>
                    </a:cubicBezTo>
                    <a:cubicBezTo>
                      <a:pt x="15" y="9"/>
                      <a:pt x="13" y="11"/>
                      <a:pt x="11" y="12"/>
                    </a:cubicBezTo>
                    <a:cubicBezTo>
                      <a:pt x="9" y="15"/>
                      <a:pt x="8" y="18"/>
                      <a:pt x="9" y="21"/>
                    </a:cubicBezTo>
                    <a:cubicBezTo>
                      <a:pt x="9" y="24"/>
                      <a:pt x="12" y="27"/>
                      <a:pt x="15" y="30"/>
                    </a:cubicBezTo>
                    <a:cubicBezTo>
                      <a:pt x="20" y="34"/>
                      <a:pt x="23" y="36"/>
                      <a:pt x="26" y="36"/>
                    </a:cubicBezTo>
                    <a:cubicBezTo>
                      <a:pt x="29" y="36"/>
                      <a:pt x="32" y="35"/>
                      <a:pt x="34" y="32"/>
                    </a:cubicBezTo>
                    <a:cubicBezTo>
                      <a:pt x="36" y="31"/>
                      <a:pt x="36" y="29"/>
                      <a:pt x="36" y="26"/>
                    </a:cubicBezTo>
                    <a:cubicBezTo>
                      <a:pt x="36" y="24"/>
                      <a:pt x="35" y="22"/>
                      <a:pt x="34" y="1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54" name="îŝḷïḓê"/>
              <p:cNvSpPr/>
              <p:nvPr/>
            </p:nvSpPr>
            <p:spPr bwMode="auto">
              <a:xfrm>
                <a:off x="3022497" y="5733053"/>
                <a:ext cx="103188" cy="101600"/>
              </a:xfrm>
              <a:custGeom>
                <a:avLst/>
                <a:gdLst>
                  <a:gd name="T0" fmla="*/ 42 w 65"/>
                  <a:gd name="T1" fmla="*/ 64 h 64"/>
                  <a:gd name="T2" fmla="*/ 0 w 65"/>
                  <a:gd name="T3" fmla="*/ 34 h 64"/>
                  <a:gd name="T4" fmla="*/ 6 w 65"/>
                  <a:gd name="T5" fmla="*/ 26 h 64"/>
                  <a:gd name="T6" fmla="*/ 22 w 65"/>
                  <a:gd name="T7" fmla="*/ 37 h 64"/>
                  <a:gd name="T8" fmla="*/ 33 w 65"/>
                  <a:gd name="T9" fmla="*/ 21 h 64"/>
                  <a:gd name="T10" fmla="*/ 17 w 65"/>
                  <a:gd name="T11" fmla="*/ 9 h 64"/>
                  <a:gd name="T12" fmla="*/ 23 w 65"/>
                  <a:gd name="T13" fmla="*/ 0 h 64"/>
                  <a:gd name="T14" fmla="*/ 65 w 65"/>
                  <a:gd name="T15" fmla="*/ 30 h 64"/>
                  <a:gd name="T16" fmla="*/ 59 w 65"/>
                  <a:gd name="T17" fmla="*/ 38 h 64"/>
                  <a:gd name="T18" fmla="*/ 40 w 65"/>
                  <a:gd name="T19" fmla="*/ 26 h 64"/>
                  <a:gd name="T20" fmla="*/ 29 w 65"/>
                  <a:gd name="T21" fmla="*/ 42 h 64"/>
                  <a:gd name="T22" fmla="*/ 47 w 65"/>
                  <a:gd name="T23" fmla="*/ 55 h 64"/>
                  <a:gd name="T24" fmla="*/ 42 w 65"/>
                  <a:gd name="T25" fmla="*/ 64 h 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5" h="64">
                    <a:moveTo>
                      <a:pt x="42" y="64"/>
                    </a:moveTo>
                    <a:lnTo>
                      <a:pt x="0" y="34"/>
                    </a:lnTo>
                    <a:lnTo>
                      <a:pt x="6" y="26"/>
                    </a:lnTo>
                    <a:lnTo>
                      <a:pt x="22" y="37"/>
                    </a:lnTo>
                    <a:lnTo>
                      <a:pt x="33" y="21"/>
                    </a:lnTo>
                    <a:lnTo>
                      <a:pt x="17" y="9"/>
                    </a:lnTo>
                    <a:lnTo>
                      <a:pt x="23" y="0"/>
                    </a:lnTo>
                    <a:lnTo>
                      <a:pt x="65" y="30"/>
                    </a:lnTo>
                    <a:lnTo>
                      <a:pt x="59" y="38"/>
                    </a:lnTo>
                    <a:lnTo>
                      <a:pt x="40" y="26"/>
                    </a:lnTo>
                    <a:lnTo>
                      <a:pt x="29" y="42"/>
                    </a:lnTo>
                    <a:lnTo>
                      <a:pt x="47" y="55"/>
                    </a:lnTo>
                    <a:lnTo>
                      <a:pt x="42" y="6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55" name="îşḷîḑe"/>
              <p:cNvSpPr/>
              <p:nvPr/>
            </p:nvSpPr>
            <p:spPr bwMode="auto">
              <a:xfrm>
                <a:off x="3062184" y="5672728"/>
                <a:ext cx="103188" cy="95250"/>
              </a:xfrm>
              <a:custGeom>
                <a:avLst/>
                <a:gdLst>
                  <a:gd name="T0" fmla="*/ 44 w 65"/>
                  <a:gd name="T1" fmla="*/ 60 h 60"/>
                  <a:gd name="T2" fmla="*/ 0 w 65"/>
                  <a:gd name="T3" fmla="*/ 34 h 60"/>
                  <a:gd name="T4" fmla="*/ 5 w 65"/>
                  <a:gd name="T5" fmla="*/ 26 h 60"/>
                  <a:gd name="T6" fmla="*/ 46 w 65"/>
                  <a:gd name="T7" fmla="*/ 24 h 60"/>
                  <a:gd name="T8" fmla="*/ 15 w 65"/>
                  <a:gd name="T9" fmla="*/ 8 h 60"/>
                  <a:gd name="T10" fmla="*/ 20 w 65"/>
                  <a:gd name="T11" fmla="*/ 0 h 60"/>
                  <a:gd name="T12" fmla="*/ 65 w 65"/>
                  <a:gd name="T13" fmla="*/ 24 h 60"/>
                  <a:gd name="T14" fmla="*/ 59 w 65"/>
                  <a:gd name="T15" fmla="*/ 33 h 60"/>
                  <a:gd name="T16" fmla="*/ 20 w 65"/>
                  <a:gd name="T17" fmla="*/ 34 h 60"/>
                  <a:gd name="T18" fmla="*/ 49 w 65"/>
                  <a:gd name="T19" fmla="*/ 52 h 60"/>
                  <a:gd name="T20" fmla="*/ 44 w 65"/>
                  <a:gd name="T21" fmla="*/ 60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65" h="60">
                    <a:moveTo>
                      <a:pt x="44" y="60"/>
                    </a:moveTo>
                    <a:lnTo>
                      <a:pt x="0" y="34"/>
                    </a:lnTo>
                    <a:lnTo>
                      <a:pt x="5" y="26"/>
                    </a:lnTo>
                    <a:lnTo>
                      <a:pt x="46" y="24"/>
                    </a:lnTo>
                    <a:lnTo>
                      <a:pt x="15" y="8"/>
                    </a:lnTo>
                    <a:lnTo>
                      <a:pt x="20" y="0"/>
                    </a:lnTo>
                    <a:lnTo>
                      <a:pt x="65" y="24"/>
                    </a:lnTo>
                    <a:lnTo>
                      <a:pt x="59" y="33"/>
                    </a:lnTo>
                    <a:lnTo>
                      <a:pt x="20" y="34"/>
                    </a:lnTo>
                    <a:lnTo>
                      <a:pt x="49" y="52"/>
                    </a:lnTo>
                    <a:lnTo>
                      <a:pt x="44" y="6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56" name="îşḷïḋê"/>
              <p:cNvSpPr/>
              <p:nvPr/>
            </p:nvSpPr>
            <p:spPr bwMode="auto">
              <a:xfrm>
                <a:off x="3106634" y="5606053"/>
                <a:ext cx="87313" cy="84138"/>
              </a:xfrm>
              <a:custGeom>
                <a:avLst/>
                <a:gdLst>
                  <a:gd name="T0" fmla="*/ 15 w 47"/>
                  <a:gd name="T1" fmla="*/ 43 h 46"/>
                  <a:gd name="T2" fmla="*/ 5 w 47"/>
                  <a:gd name="T3" fmla="*/ 36 h 46"/>
                  <a:gd name="T4" fmla="*/ 2 w 47"/>
                  <a:gd name="T5" fmla="*/ 30 h 46"/>
                  <a:gd name="T6" fmla="*/ 0 w 47"/>
                  <a:gd name="T7" fmla="*/ 23 h 46"/>
                  <a:gd name="T8" fmla="*/ 2 w 47"/>
                  <a:gd name="T9" fmla="*/ 14 h 46"/>
                  <a:gd name="T10" fmla="*/ 14 w 47"/>
                  <a:gd name="T11" fmla="*/ 2 h 46"/>
                  <a:gd name="T12" fmla="*/ 32 w 47"/>
                  <a:gd name="T13" fmla="*/ 3 h 46"/>
                  <a:gd name="T14" fmla="*/ 45 w 47"/>
                  <a:gd name="T15" fmla="*/ 15 h 46"/>
                  <a:gd name="T16" fmla="*/ 44 w 47"/>
                  <a:gd name="T17" fmla="*/ 32 h 46"/>
                  <a:gd name="T18" fmla="*/ 32 w 47"/>
                  <a:gd name="T19" fmla="*/ 44 h 46"/>
                  <a:gd name="T20" fmla="*/ 15 w 47"/>
                  <a:gd name="T21" fmla="*/ 43 h 46"/>
                  <a:gd name="T22" fmla="*/ 18 w 47"/>
                  <a:gd name="T23" fmla="*/ 34 h 46"/>
                  <a:gd name="T24" fmla="*/ 30 w 47"/>
                  <a:gd name="T25" fmla="*/ 35 h 46"/>
                  <a:gd name="T26" fmla="*/ 37 w 47"/>
                  <a:gd name="T27" fmla="*/ 29 h 46"/>
                  <a:gd name="T28" fmla="*/ 37 w 47"/>
                  <a:gd name="T29" fmla="*/ 19 h 46"/>
                  <a:gd name="T30" fmla="*/ 28 w 47"/>
                  <a:gd name="T31" fmla="*/ 12 h 46"/>
                  <a:gd name="T32" fmla="*/ 16 w 47"/>
                  <a:gd name="T33" fmla="*/ 10 h 46"/>
                  <a:gd name="T34" fmla="*/ 9 w 47"/>
                  <a:gd name="T35" fmla="*/ 17 h 46"/>
                  <a:gd name="T36" fmla="*/ 9 w 47"/>
                  <a:gd name="T37" fmla="*/ 27 h 46"/>
                  <a:gd name="T38" fmla="*/ 18 w 47"/>
                  <a:gd name="T39" fmla="*/ 34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47" h="46">
                    <a:moveTo>
                      <a:pt x="15" y="43"/>
                    </a:moveTo>
                    <a:cubicBezTo>
                      <a:pt x="11" y="41"/>
                      <a:pt x="8" y="39"/>
                      <a:pt x="5" y="36"/>
                    </a:cubicBezTo>
                    <a:cubicBezTo>
                      <a:pt x="4" y="34"/>
                      <a:pt x="2" y="32"/>
                      <a:pt x="2" y="30"/>
                    </a:cubicBezTo>
                    <a:cubicBezTo>
                      <a:pt x="1" y="28"/>
                      <a:pt x="0" y="26"/>
                      <a:pt x="0" y="23"/>
                    </a:cubicBezTo>
                    <a:cubicBezTo>
                      <a:pt x="0" y="20"/>
                      <a:pt x="1" y="17"/>
                      <a:pt x="2" y="14"/>
                    </a:cubicBezTo>
                    <a:cubicBezTo>
                      <a:pt x="5" y="8"/>
                      <a:pt x="9" y="4"/>
                      <a:pt x="14" y="2"/>
                    </a:cubicBezTo>
                    <a:cubicBezTo>
                      <a:pt x="19" y="0"/>
                      <a:pt x="25" y="1"/>
                      <a:pt x="32" y="3"/>
                    </a:cubicBezTo>
                    <a:cubicBezTo>
                      <a:pt x="38" y="6"/>
                      <a:pt x="43" y="10"/>
                      <a:pt x="45" y="15"/>
                    </a:cubicBezTo>
                    <a:cubicBezTo>
                      <a:pt x="47" y="21"/>
                      <a:pt x="47" y="26"/>
                      <a:pt x="44" y="32"/>
                    </a:cubicBezTo>
                    <a:cubicBezTo>
                      <a:pt x="41" y="38"/>
                      <a:pt x="38" y="42"/>
                      <a:pt x="32" y="44"/>
                    </a:cubicBezTo>
                    <a:cubicBezTo>
                      <a:pt x="27" y="46"/>
                      <a:pt x="21" y="45"/>
                      <a:pt x="15" y="43"/>
                    </a:cubicBezTo>
                    <a:close/>
                    <a:moveTo>
                      <a:pt x="18" y="34"/>
                    </a:moveTo>
                    <a:cubicBezTo>
                      <a:pt x="23" y="36"/>
                      <a:pt x="27" y="37"/>
                      <a:pt x="30" y="35"/>
                    </a:cubicBezTo>
                    <a:cubicBezTo>
                      <a:pt x="33" y="34"/>
                      <a:pt x="36" y="32"/>
                      <a:pt x="37" y="29"/>
                    </a:cubicBezTo>
                    <a:cubicBezTo>
                      <a:pt x="39" y="26"/>
                      <a:pt x="39" y="23"/>
                      <a:pt x="37" y="19"/>
                    </a:cubicBezTo>
                    <a:cubicBezTo>
                      <a:pt x="36" y="16"/>
                      <a:pt x="33" y="14"/>
                      <a:pt x="28" y="12"/>
                    </a:cubicBezTo>
                    <a:cubicBezTo>
                      <a:pt x="23" y="10"/>
                      <a:pt x="19" y="9"/>
                      <a:pt x="16" y="10"/>
                    </a:cubicBezTo>
                    <a:cubicBezTo>
                      <a:pt x="13" y="11"/>
                      <a:pt x="11" y="14"/>
                      <a:pt x="9" y="17"/>
                    </a:cubicBezTo>
                    <a:cubicBezTo>
                      <a:pt x="8" y="20"/>
                      <a:pt x="8" y="23"/>
                      <a:pt x="9" y="27"/>
                    </a:cubicBezTo>
                    <a:cubicBezTo>
                      <a:pt x="11" y="30"/>
                      <a:pt x="14" y="32"/>
                      <a:pt x="18" y="3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57" name="îṣlïḍè"/>
              <p:cNvSpPr/>
              <p:nvPr/>
            </p:nvSpPr>
            <p:spPr bwMode="auto">
              <a:xfrm>
                <a:off x="3128859" y="5560015"/>
                <a:ext cx="93663" cy="57150"/>
              </a:xfrm>
              <a:custGeom>
                <a:avLst/>
                <a:gdLst>
                  <a:gd name="T0" fmla="*/ 49 w 59"/>
                  <a:gd name="T1" fmla="*/ 36 h 36"/>
                  <a:gd name="T2" fmla="*/ 0 w 59"/>
                  <a:gd name="T3" fmla="*/ 21 h 36"/>
                  <a:gd name="T4" fmla="*/ 4 w 59"/>
                  <a:gd name="T5" fmla="*/ 10 h 36"/>
                  <a:gd name="T6" fmla="*/ 43 w 59"/>
                  <a:gd name="T7" fmla="*/ 24 h 36"/>
                  <a:gd name="T8" fmla="*/ 51 w 59"/>
                  <a:gd name="T9" fmla="*/ 0 h 36"/>
                  <a:gd name="T10" fmla="*/ 59 w 59"/>
                  <a:gd name="T11" fmla="*/ 2 h 36"/>
                  <a:gd name="T12" fmla="*/ 49 w 59"/>
                  <a:gd name="T13" fmla="*/ 36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59" h="36">
                    <a:moveTo>
                      <a:pt x="49" y="36"/>
                    </a:moveTo>
                    <a:lnTo>
                      <a:pt x="0" y="21"/>
                    </a:lnTo>
                    <a:lnTo>
                      <a:pt x="4" y="10"/>
                    </a:lnTo>
                    <a:lnTo>
                      <a:pt x="43" y="24"/>
                    </a:lnTo>
                    <a:lnTo>
                      <a:pt x="51" y="0"/>
                    </a:lnTo>
                    <a:lnTo>
                      <a:pt x="59" y="2"/>
                    </a:lnTo>
                    <a:lnTo>
                      <a:pt x="49" y="36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58" name="ïṩḷîḓê"/>
              <p:cNvSpPr/>
              <p:nvPr/>
            </p:nvSpPr>
            <p:spPr bwMode="auto">
              <a:xfrm>
                <a:off x="3152672" y="5469528"/>
                <a:ext cx="85725" cy="80963"/>
              </a:xfrm>
              <a:custGeom>
                <a:avLst/>
                <a:gdLst>
                  <a:gd name="T0" fmla="*/ 18 w 46"/>
                  <a:gd name="T1" fmla="*/ 43 h 44"/>
                  <a:gd name="T2" fmla="*/ 8 w 46"/>
                  <a:gd name="T3" fmla="*/ 38 h 44"/>
                  <a:gd name="T4" fmla="*/ 3 w 46"/>
                  <a:gd name="T5" fmla="*/ 33 h 44"/>
                  <a:gd name="T6" fmla="*/ 0 w 46"/>
                  <a:gd name="T7" fmla="*/ 27 h 44"/>
                  <a:gd name="T8" fmla="*/ 1 w 46"/>
                  <a:gd name="T9" fmla="*/ 17 h 44"/>
                  <a:gd name="T10" fmla="*/ 10 w 46"/>
                  <a:gd name="T11" fmla="*/ 3 h 44"/>
                  <a:gd name="T12" fmla="*/ 28 w 46"/>
                  <a:gd name="T13" fmla="*/ 1 h 44"/>
                  <a:gd name="T14" fmla="*/ 43 w 46"/>
                  <a:gd name="T15" fmla="*/ 11 h 44"/>
                  <a:gd name="T16" fmla="*/ 45 w 46"/>
                  <a:gd name="T17" fmla="*/ 27 h 44"/>
                  <a:gd name="T18" fmla="*/ 36 w 46"/>
                  <a:gd name="T19" fmla="*/ 41 h 44"/>
                  <a:gd name="T20" fmla="*/ 18 w 46"/>
                  <a:gd name="T21" fmla="*/ 43 h 44"/>
                  <a:gd name="T22" fmla="*/ 20 w 46"/>
                  <a:gd name="T23" fmla="*/ 34 h 44"/>
                  <a:gd name="T24" fmla="*/ 32 w 46"/>
                  <a:gd name="T25" fmla="*/ 33 h 44"/>
                  <a:gd name="T26" fmla="*/ 38 w 46"/>
                  <a:gd name="T27" fmla="*/ 25 h 44"/>
                  <a:gd name="T28" fmla="*/ 36 w 46"/>
                  <a:gd name="T29" fmla="*/ 16 h 44"/>
                  <a:gd name="T30" fmla="*/ 25 w 46"/>
                  <a:gd name="T31" fmla="*/ 10 h 44"/>
                  <a:gd name="T32" fmla="*/ 14 w 46"/>
                  <a:gd name="T33" fmla="*/ 11 h 44"/>
                  <a:gd name="T34" fmla="*/ 8 w 46"/>
                  <a:gd name="T35" fmla="*/ 19 h 44"/>
                  <a:gd name="T36" fmla="*/ 10 w 46"/>
                  <a:gd name="T37" fmla="*/ 28 h 44"/>
                  <a:gd name="T38" fmla="*/ 20 w 46"/>
                  <a:gd name="T39" fmla="*/ 34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46" h="44">
                    <a:moveTo>
                      <a:pt x="18" y="43"/>
                    </a:moveTo>
                    <a:cubicBezTo>
                      <a:pt x="14" y="42"/>
                      <a:pt x="10" y="40"/>
                      <a:pt x="8" y="38"/>
                    </a:cubicBezTo>
                    <a:cubicBezTo>
                      <a:pt x="6" y="37"/>
                      <a:pt x="4" y="35"/>
                      <a:pt x="3" y="33"/>
                    </a:cubicBezTo>
                    <a:cubicBezTo>
                      <a:pt x="1" y="31"/>
                      <a:pt x="1" y="29"/>
                      <a:pt x="0" y="27"/>
                    </a:cubicBezTo>
                    <a:cubicBezTo>
                      <a:pt x="0" y="24"/>
                      <a:pt x="0" y="21"/>
                      <a:pt x="1" y="17"/>
                    </a:cubicBezTo>
                    <a:cubicBezTo>
                      <a:pt x="2" y="11"/>
                      <a:pt x="5" y="6"/>
                      <a:pt x="10" y="3"/>
                    </a:cubicBezTo>
                    <a:cubicBezTo>
                      <a:pt x="15" y="0"/>
                      <a:pt x="21" y="0"/>
                      <a:pt x="28" y="1"/>
                    </a:cubicBezTo>
                    <a:cubicBezTo>
                      <a:pt x="34" y="3"/>
                      <a:pt x="39" y="6"/>
                      <a:pt x="43" y="11"/>
                    </a:cubicBezTo>
                    <a:cubicBezTo>
                      <a:pt x="46" y="15"/>
                      <a:pt x="46" y="21"/>
                      <a:pt x="45" y="27"/>
                    </a:cubicBezTo>
                    <a:cubicBezTo>
                      <a:pt x="44" y="33"/>
                      <a:pt x="40" y="38"/>
                      <a:pt x="36" y="41"/>
                    </a:cubicBezTo>
                    <a:cubicBezTo>
                      <a:pt x="31" y="44"/>
                      <a:pt x="25" y="44"/>
                      <a:pt x="18" y="43"/>
                    </a:cubicBezTo>
                    <a:close/>
                    <a:moveTo>
                      <a:pt x="20" y="34"/>
                    </a:moveTo>
                    <a:cubicBezTo>
                      <a:pt x="25" y="35"/>
                      <a:pt x="29" y="35"/>
                      <a:pt x="32" y="33"/>
                    </a:cubicBezTo>
                    <a:cubicBezTo>
                      <a:pt x="35" y="31"/>
                      <a:pt x="37" y="29"/>
                      <a:pt x="38" y="25"/>
                    </a:cubicBezTo>
                    <a:cubicBezTo>
                      <a:pt x="38" y="22"/>
                      <a:pt x="38" y="19"/>
                      <a:pt x="36" y="16"/>
                    </a:cubicBezTo>
                    <a:cubicBezTo>
                      <a:pt x="34" y="13"/>
                      <a:pt x="30" y="11"/>
                      <a:pt x="25" y="10"/>
                    </a:cubicBezTo>
                    <a:cubicBezTo>
                      <a:pt x="20" y="9"/>
                      <a:pt x="16" y="9"/>
                      <a:pt x="14" y="11"/>
                    </a:cubicBezTo>
                    <a:cubicBezTo>
                      <a:pt x="11" y="13"/>
                      <a:pt x="9" y="15"/>
                      <a:pt x="8" y="19"/>
                    </a:cubicBezTo>
                    <a:cubicBezTo>
                      <a:pt x="7" y="22"/>
                      <a:pt x="8" y="25"/>
                      <a:pt x="10" y="28"/>
                    </a:cubicBezTo>
                    <a:cubicBezTo>
                      <a:pt x="12" y="31"/>
                      <a:pt x="15" y="33"/>
                      <a:pt x="20" y="3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59" name="ïSļiďé"/>
              <p:cNvSpPr/>
              <p:nvPr/>
            </p:nvSpPr>
            <p:spPr bwMode="auto">
              <a:xfrm>
                <a:off x="3165372" y="5390153"/>
                <a:ext cx="85725" cy="77788"/>
              </a:xfrm>
              <a:custGeom>
                <a:avLst/>
                <a:gdLst>
                  <a:gd name="T0" fmla="*/ 29 w 46"/>
                  <a:gd name="T1" fmla="*/ 21 h 42"/>
                  <a:gd name="T2" fmla="*/ 22 w 46"/>
                  <a:gd name="T3" fmla="*/ 20 h 42"/>
                  <a:gd name="T4" fmla="*/ 24 w 46"/>
                  <a:gd name="T5" fmla="*/ 1 h 42"/>
                  <a:gd name="T6" fmla="*/ 41 w 46"/>
                  <a:gd name="T7" fmla="*/ 3 h 42"/>
                  <a:gd name="T8" fmla="*/ 45 w 46"/>
                  <a:gd name="T9" fmla="*/ 11 h 42"/>
                  <a:gd name="T10" fmla="*/ 46 w 46"/>
                  <a:gd name="T11" fmla="*/ 22 h 42"/>
                  <a:gd name="T12" fmla="*/ 42 w 46"/>
                  <a:gd name="T13" fmla="*/ 34 h 42"/>
                  <a:gd name="T14" fmla="*/ 33 w 46"/>
                  <a:gd name="T15" fmla="*/ 41 h 42"/>
                  <a:gd name="T16" fmla="*/ 21 w 46"/>
                  <a:gd name="T17" fmla="*/ 42 h 42"/>
                  <a:gd name="T18" fmla="*/ 9 w 46"/>
                  <a:gd name="T19" fmla="*/ 38 h 42"/>
                  <a:gd name="T20" fmla="*/ 2 w 46"/>
                  <a:gd name="T21" fmla="*/ 28 h 42"/>
                  <a:gd name="T22" fmla="*/ 1 w 46"/>
                  <a:gd name="T23" fmla="*/ 18 h 42"/>
                  <a:gd name="T24" fmla="*/ 6 w 46"/>
                  <a:gd name="T25" fmla="*/ 5 h 42"/>
                  <a:gd name="T26" fmla="*/ 16 w 46"/>
                  <a:gd name="T27" fmla="*/ 0 h 42"/>
                  <a:gd name="T28" fmla="*/ 16 w 46"/>
                  <a:gd name="T29" fmla="*/ 9 h 42"/>
                  <a:gd name="T30" fmla="*/ 11 w 46"/>
                  <a:gd name="T31" fmla="*/ 12 h 42"/>
                  <a:gd name="T32" fmla="*/ 8 w 46"/>
                  <a:gd name="T33" fmla="*/ 18 h 42"/>
                  <a:gd name="T34" fmla="*/ 11 w 46"/>
                  <a:gd name="T35" fmla="*/ 28 h 42"/>
                  <a:gd name="T36" fmla="*/ 21 w 46"/>
                  <a:gd name="T37" fmla="*/ 33 h 42"/>
                  <a:gd name="T38" fmla="*/ 34 w 46"/>
                  <a:gd name="T39" fmla="*/ 31 h 42"/>
                  <a:gd name="T40" fmla="*/ 38 w 46"/>
                  <a:gd name="T41" fmla="*/ 22 h 42"/>
                  <a:gd name="T42" fmla="*/ 38 w 46"/>
                  <a:gd name="T43" fmla="*/ 16 h 42"/>
                  <a:gd name="T44" fmla="*/ 36 w 46"/>
                  <a:gd name="T45" fmla="*/ 11 h 42"/>
                  <a:gd name="T46" fmla="*/ 30 w 46"/>
                  <a:gd name="T47" fmla="*/ 11 h 42"/>
                  <a:gd name="T48" fmla="*/ 29 w 46"/>
                  <a:gd name="T49" fmla="*/ 21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46" h="42">
                    <a:moveTo>
                      <a:pt x="29" y="21"/>
                    </a:moveTo>
                    <a:cubicBezTo>
                      <a:pt x="22" y="20"/>
                      <a:pt x="22" y="20"/>
                      <a:pt x="22" y="20"/>
                    </a:cubicBezTo>
                    <a:cubicBezTo>
                      <a:pt x="24" y="1"/>
                      <a:pt x="24" y="1"/>
                      <a:pt x="24" y="1"/>
                    </a:cubicBezTo>
                    <a:cubicBezTo>
                      <a:pt x="41" y="3"/>
                      <a:pt x="41" y="3"/>
                      <a:pt x="41" y="3"/>
                    </a:cubicBezTo>
                    <a:cubicBezTo>
                      <a:pt x="43" y="5"/>
                      <a:pt x="44" y="8"/>
                      <a:pt x="45" y="11"/>
                    </a:cubicBezTo>
                    <a:cubicBezTo>
                      <a:pt x="46" y="15"/>
                      <a:pt x="46" y="19"/>
                      <a:pt x="46" y="22"/>
                    </a:cubicBezTo>
                    <a:cubicBezTo>
                      <a:pt x="46" y="27"/>
                      <a:pt x="44" y="31"/>
                      <a:pt x="42" y="34"/>
                    </a:cubicBezTo>
                    <a:cubicBezTo>
                      <a:pt x="39" y="37"/>
                      <a:pt x="36" y="39"/>
                      <a:pt x="33" y="41"/>
                    </a:cubicBezTo>
                    <a:cubicBezTo>
                      <a:pt x="29" y="42"/>
                      <a:pt x="25" y="42"/>
                      <a:pt x="21" y="42"/>
                    </a:cubicBezTo>
                    <a:cubicBezTo>
                      <a:pt x="16" y="41"/>
                      <a:pt x="12" y="40"/>
                      <a:pt x="9" y="38"/>
                    </a:cubicBezTo>
                    <a:cubicBezTo>
                      <a:pt x="6" y="35"/>
                      <a:pt x="3" y="32"/>
                      <a:pt x="2" y="28"/>
                    </a:cubicBezTo>
                    <a:cubicBezTo>
                      <a:pt x="1" y="25"/>
                      <a:pt x="0" y="22"/>
                      <a:pt x="1" y="18"/>
                    </a:cubicBezTo>
                    <a:cubicBezTo>
                      <a:pt x="1" y="12"/>
                      <a:pt x="3" y="8"/>
                      <a:pt x="6" y="5"/>
                    </a:cubicBezTo>
                    <a:cubicBezTo>
                      <a:pt x="8" y="2"/>
                      <a:pt x="12" y="1"/>
                      <a:pt x="16" y="0"/>
                    </a:cubicBezTo>
                    <a:cubicBezTo>
                      <a:pt x="16" y="9"/>
                      <a:pt x="16" y="9"/>
                      <a:pt x="16" y="9"/>
                    </a:cubicBezTo>
                    <a:cubicBezTo>
                      <a:pt x="14" y="10"/>
                      <a:pt x="12" y="11"/>
                      <a:pt x="11" y="12"/>
                    </a:cubicBezTo>
                    <a:cubicBezTo>
                      <a:pt x="10" y="14"/>
                      <a:pt x="9" y="16"/>
                      <a:pt x="8" y="18"/>
                    </a:cubicBezTo>
                    <a:cubicBezTo>
                      <a:pt x="8" y="22"/>
                      <a:pt x="9" y="25"/>
                      <a:pt x="11" y="28"/>
                    </a:cubicBezTo>
                    <a:cubicBezTo>
                      <a:pt x="13" y="31"/>
                      <a:pt x="17" y="32"/>
                      <a:pt x="21" y="33"/>
                    </a:cubicBezTo>
                    <a:cubicBezTo>
                      <a:pt x="27" y="33"/>
                      <a:pt x="31" y="33"/>
                      <a:pt x="34" y="31"/>
                    </a:cubicBezTo>
                    <a:cubicBezTo>
                      <a:pt x="36" y="29"/>
                      <a:pt x="38" y="26"/>
                      <a:pt x="38" y="22"/>
                    </a:cubicBezTo>
                    <a:cubicBezTo>
                      <a:pt x="39" y="20"/>
                      <a:pt x="39" y="18"/>
                      <a:pt x="38" y="16"/>
                    </a:cubicBezTo>
                    <a:cubicBezTo>
                      <a:pt x="37" y="14"/>
                      <a:pt x="37" y="13"/>
                      <a:pt x="36" y="11"/>
                    </a:cubicBezTo>
                    <a:cubicBezTo>
                      <a:pt x="30" y="11"/>
                      <a:pt x="30" y="11"/>
                      <a:pt x="30" y="11"/>
                    </a:cubicBezTo>
                    <a:lnTo>
                      <a:pt x="29" y="2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60" name="îSḷiḋè"/>
              <p:cNvSpPr/>
              <p:nvPr/>
            </p:nvSpPr>
            <p:spPr bwMode="auto">
              <a:xfrm>
                <a:off x="3173309" y="5313953"/>
                <a:ext cx="80963" cy="76200"/>
              </a:xfrm>
              <a:custGeom>
                <a:avLst/>
                <a:gdLst>
                  <a:gd name="T0" fmla="*/ 51 w 51"/>
                  <a:gd name="T1" fmla="*/ 30 h 48"/>
                  <a:gd name="T2" fmla="*/ 29 w 51"/>
                  <a:gd name="T3" fmla="*/ 29 h 48"/>
                  <a:gd name="T4" fmla="*/ 0 w 51"/>
                  <a:gd name="T5" fmla="*/ 48 h 48"/>
                  <a:gd name="T6" fmla="*/ 0 w 51"/>
                  <a:gd name="T7" fmla="*/ 36 h 48"/>
                  <a:gd name="T8" fmla="*/ 20 w 51"/>
                  <a:gd name="T9" fmla="*/ 24 h 48"/>
                  <a:gd name="T10" fmla="*/ 0 w 51"/>
                  <a:gd name="T11" fmla="*/ 12 h 48"/>
                  <a:gd name="T12" fmla="*/ 0 w 51"/>
                  <a:gd name="T13" fmla="*/ 0 h 48"/>
                  <a:gd name="T14" fmla="*/ 30 w 51"/>
                  <a:gd name="T15" fmla="*/ 20 h 48"/>
                  <a:gd name="T16" fmla="*/ 51 w 51"/>
                  <a:gd name="T17" fmla="*/ 20 h 48"/>
                  <a:gd name="T18" fmla="*/ 51 w 51"/>
                  <a:gd name="T19" fmla="*/ 30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51" h="48">
                    <a:moveTo>
                      <a:pt x="51" y="30"/>
                    </a:moveTo>
                    <a:lnTo>
                      <a:pt x="29" y="29"/>
                    </a:lnTo>
                    <a:lnTo>
                      <a:pt x="0" y="48"/>
                    </a:lnTo>
                    <a:lnTo>
                      <a:pt x="0" y="36"/>
                    </a:lnTo>
                    <a:lnTo>
                      <a:pt x="20" y="24"/>
                    </a:lnTo>
                    <a:lnTo>
                      <a:pt x="0" y="12"/>
                    </a:lnTo>
                    <a:lnTo>
                      <a:pt x="0" y="0"/>
                    </a:lnTo>
                    <a:lnTo>
                      <a:pt x="30" y="20"/>
                    </a:lnTo>
                    <a:lnTo>
                      <a:pt x="51" y="20"/>
                    </a:lnTo>
                    <a:lnTo>
                      <a:pt x="51" y="3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61" name="îṣḷíḋé"/>
              <p:cNvSpPr/>
              <p:nvPr/>
            </p:nvSpPr>
            <p:spPr bwMode="auto">
              <a:xfrm>
                <a:off x="3163784" y="5193303"/>
                <a:ext cx="87313" cy="76200"/>
              </a:xfrm>
              <a:custGeom>
                <a:avLst/>
                <a:gdLst>
                  <a:gd name="T0" fmla="*/ 4 w 47"/>
                  <a:gd name="T1" fmla="*/ 41 h 41"/>
                  <a:gd name="T2" fmla="*/ 1 w 47"/>
                  <a:gd name="T3" fmla="*/ 24 h 41"/>
                  <a:gd name="T4" fmla="*/ 0 w 47"/>
                  <a:gd name="T5" fmla="*/ 16 h 41"/>
                  <a:gd name="T6" fmla="*/ 2 w 47"/>
                  <a:gd name="T7" fmla="*/ 11 h 41"/>
                  <a:gd name="T8" fmla="*/ 5 w 47"/>
                  <a:gd name="T9" fmla="*/ 7 h 41"/>
                  <a:gd name="T10" fmla="*/ 10 w 47"/>
                  <a:gd name="T11" fmla="*/ 5 h 41"/>
                  <a:gd name="T12" fmla="*/ 16 w 47"/>
                  <a:gd name="T13" fmla="*/ 6 h 41"/>
                  <a:gd name="T14" fmla="*/ 20 w 47"/>
                  <a:gd name="T15" fmla="*/ 10 h 41"/>
                  <a:gd name="T16" fmla="*/ 23 w 47"/>
                  <a:gd name="T17" fmla="*/ 3 h 41"/>
                  <a:gd name="T18" fmla="*/ 29 w 47"/>
                  <a:gd name="T19" fmla="*/ 0 h 41"/>
                  <a:gd name="T20" fmla="*/ 35 w 47"/>
                  <a:gd name="T21" fmla="*/ 1 h 41"/>
                  <a:gd name="T22" fmla="*/ 40 w 47"/>
                  <a:gd name="T23" fmla="*/ 4 h 41"/>
                  <a:gd name="T24" fmla="*/ 43 w 47"/>
                  <a:gd name="T25" fmla="*/ 10 h 41"/>
                  <a:gd name="T26" fmla="*/ 45 w 47"/>
                  <a:gd name="T27" fmla="*/ 20 h 41"/>
                  <a:gd name="T28" fmla="*/ 47 w 47"/>
                  <a:gd name="T29" fmla="*/ 35 h 41"/>
                  <a:gd name="T30" fmla="*/ 4 w 47"/>
                  <a:gd name="T31" fmla="*/ 41 h 41"/>
                  <a:gd name="T32" fmla="*/ 10 w 47"/>
                  <a:gd name="T33" fmla="*/ 31 h 41"/>
                  <a:gd name="T34" fmla="*/ 20 w 47"/>
                  <a:gd name="T35" fmla="*/ 30 h 41"/>
                  <a:gd name="T36" fmla="*/ 19 w 47"/>
                  <a:gd name="T37" fmla="*/ 24 h 41"/>
                  <a:gd name="T38" fmla="*/ 18 w 47"/>
                  <a:gd name="T39" fmla="*/ 18 h 41"/>
                  <a:gd name="T40" fmla="*/ 16 w 47"/>
                  <a:gd name="T41" fmla="*/ 15 h 41"/>
                  <a:gd name="T42" fmla="*/ 12 w 47"/>
                  <a:gd name="T43" fmla="*/ 14 h 41"/>
                  <a:gd name="T44" fmla="*/ 9 w 47"/>
                  <a:gd name="T45" fmla="*/ 15 h 41"/>
                  <a:gd name="T46" fmla="*/ 8 w 47"/>
                  <a:gd name="T47" fmla="*/ 19 h 41"/>
                  <a:gd name="T48" fmla="*/ 9 w 47"/>
                  <a:gd name="T49" fmla="*/ 26 h 41"/>
                  <a:gd name="T50" fmla="*/ 10 w 47"/>
                  <a:gd name="T51" fmla="*/ 31 h 41"/>
                  <a:gd name="T52" fmla="*/ 27 w 47"/>
                  <a:gd name="T53" fmla="*/ 29 h 41"/>
                  <a:gd name="T54" fmla="*/ 39 w 47"/>
                  <a:gd name="T55" fmla="*/ 27 h 41"/>
                  <a:gd name="T56" fmla="*/ 37 w 47"/>
                  <a:gd name="T57" fmla="*/ 19 h 41"/>
                  <a:gd name="T58" fmla="*/ 36 w 47"/>
                  <a:gd name="T59" fmla="*/ 13 h 41"/>
                  <a:gd name="T60" fmla="*/ 34 w 47"/>
                  <a:gd name="T61" fmla="*/ 10 h 41"/>
                  <a:gd name="T62" fmla="*/ 30 w 47"/>
                  <a:gd name="T63" fmla="*/ 10 h 41"/>
                  <a:gd name="T64" fmla="*/ 27 w 47"/>
                  <a:gd name="T65" fmla="*/ 11 h 41"/>
                  <a:gd name="T66" fmla="*/ 25 w 47"/>
                  <a:gd name="T67" fmla="*/ 14 h 41"/>
                  <a:gd name="T68" fmla="*/ 26 w 47"/>
                  <a:gd name="T69" fmla="*/ 22 h 41"/>
                  <a:gd name="T70" fmla="*/ 27 w 47"/>
                  <a:gd name="T71" fmla="*/ 29 h 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47" h="41">
                    <a:moveTo>
                      <a:pt x="4" y="41"/>
                    </a:moveTo>
                    <a:cubicBezTo>
                      <a:pt x="1" y="24"/>
                      <a:pt x="1" y="24"/>
                      <a:pt x="1" y="24"/>
                    </a:cubicBezTo>
                    <a:cubicBezTo>
                      <a:pt x="1" y="20"/>
                      <a:pt x="0" y="18"/>
                      <a:pt x="0" y="16"/>
                    </a:cubicBezTo>
                    <a:cubicBezTo>
                      <a:pt x="1" y="14"/>
                      <a:pt x="1" y="13"/>
                      <a:pt x="2" y="11"/>
                    </a:cubicBezTo>
                    <a:cubicBezTo>
                      <a:pt x="2" y="10"/>
                      <a:pt x="3" y="9"/>
                      <a:pt x="5" y="7"/>
                    </a:cubicBezTo>
                    <a:cubicBezTo>
                      <a:pt x="6" y="6"/>
                      <a:pt x="8" y="6"/>
                      <a:pt x="10" y="5"/>
                    </a:cubicBezTo>
                    <a:cubicBezTo>
                      <a:pt x="12" y="5"/>
                      <a:pt x="14" y="5"/>
                      <a:pt x="16" y="6"/>
                    </a:cubicBezTo>
                    <a:cubicBezTo>
                      <a:pt x="17" y="7"/>
                      <a:pt x="19" y="8"/>
                      <a:pt x="20" y="10"/>
                    </a:cubicBezTo>
                    <a:cubicBezTo>
                      <a:pt x="20" y="7"/>
                      <a:pt x="21" y="5"/>
                      <a:pt x="23" y="3"/>
                    </a:cubicBezTo>
                    <a:cubicBezTo>
                      <a:pt x="25" y="2"/>
                      <a:pt x="27" y="1"/>
                      <a:pt x="29" y="0"/>
                    </a:cubicBezTo>
                    <a:cubicBezTo>
                      <a:pt x="31" y="0"/>
                      <a:pt x="33" y="0"/>
                      <a:pt x="35" y="1"/>
                    </a:cubicBezTo>
                    <a:cubicBezTo>
                      <a:pt x="37" y="2"/>
                      <a:pt x="39" y="3"/>
                      <a:pt x="40" y="4"/>
                    </a:cubicBezTo>
                    <a:cubicBezTo>
                      <a:pt x="42" y="5"/>
                      <a:pt x="43" y="7"/>
                      <a:pt x="43" y="10"/>
                    </a:cubicBezTo>
                    <a:cubicBezTo>
                      <a:pt x="44" y="11"/>
                      <a:pt x="44" y="15"/>
                      <a:pt x="45" y="20"/>
                    </a:cubicBezTo>
                    <a:cubicBezTo>
                      <a:pt x="47" y="35"/>
                      <a:pt x="47" y="35"/>
                      <a:pt x="47" y="35"/>
                    </a:cubicBezTo>
                    <a:lnTo>
                      <a:pt x="4" y="41"/>
                    </a:lnTo>
                    <a:close/>
                    <a:moveTo>
                      <a:pt x="10" y="31"/>
                    </a:moveTo>
                    <a:cubicBezTo>
                      <a:pt x="20" y="30"/>
                      <a:pt x="20" y="30"/>
                      <a:pt x="20" y="30"/>
                    </a:cubicBezTo>
                    <a:cubicBezTo>
                      <a:pt x="19" y="24"/>
                      <a:pt x="19" y="24"/>
                      <a:pt x="19" y="24"/>
                    </a:cubicBezTo>
                    <a:cubicBezTo>
                      <a:pt x="18" y="21"/>
                      <a:pt x="18" y="19"/>
                      <a:pt x="18" y="18"/>
                    </a:cubicBezTo>
                    <a:cubicBezTo>
                      <a:pt x="17" y="16"/>
                      <a:pt x="17" y="15"/>
                      <a:pt x="16" y="15"/>
                    </a:cubicBezTo>
                    <a:cubicBezTo>
                      <a:pt x="15" y="14"/>
                      <a:pt x="14" y="14"/>
                      <a:pt x="12" y="14"/>
                    </a:cubicBezTo>
                    <a:cubicBezTo>
                      <a:pt x="11" y="14"/>
                      <a:pt x="10" y="14"/>
                      <a:pt x="9" y="15"/>
                    </a:cubicBezTo>
                    <a:cubicBezTo>
                      <a:pt x="8" y="16"/>
                      <a:pt x="8" y="17"/>
                      <a:pt x="8" y="19"/>
                    </a:cubicBezTo>
                    <a:cubicBezTo>
                      <a:pt x="8" y="20"/>
                      <a:pt x="8" y="22"/>
                      <a:pt x="9" y="26"/>
                    </a:cubicBezTo>
                    <a:lnTo>
                      <a:pt x="10" y="31"/>
                    </a:lnTo>
                    <a:close/>
                    <a:moveTo>
                      <a:pt x="27" y="29"/>
                    </a:moveTo>
                    <a:cubicBezTo>
                      <a:pt x="39" y="27"/>
                      <a:pt x="39" y="27"/>
                      <a:pt x="39" y="27"/>
                    </a:cubicBezTo>
                    <a:cubicBezTo>
                      <a:pt x="37" y="19"/>
                      <a:pt x="37" y="19"/>
                      <a:pt x="37" y="19"/>
                    </a:cubicBezTo>
                    <a:cubicBezTo>
                      <a:pt x="37" y="16"/>
                      <a:pt x="37" y="14"/>
                      <a:pt x="36" y="13"/>
                    </a:cubicBezTo>
                    <a:cubicBezTo>
                      <a:pt x="36" y="12"/>
                      <a:pt x="35" y="11"/>
                      <a:pt x="34" y="10"/>
                    </a:cubicBezTo>
                    <a:cubicBezTo>
                      <a:pt x="33" y="10"/>
                      <a:pt x="32" y="9"/>
                      <a:pt x="30" y="10"/>
                    </a:cubicBezTo>
                    <a:cubicBezTo>
                      <a:pt x="29" y="10"/>
                      <a:pt x="28" y="10"/>
                      <a:pt x="27" y="11"/>
                    </a:cubicBezTo>
                    <a:cubicBezTo>
                      <a:pt x="26" y="12"/>
                      <a:pt x="26" y="13"/>
                      <a:pt x="25" y="14"/>
                    </a:cubicBezTo>
                    <a:cubicBezTo>
                      <a:pt x="25" y="15"/>
                      <a:pt x="25" y="18"/>
                      <a:pt x="26" y="22"/>
                    </a:cubicBezTo>
                    <a:lnTo>
                      <a:pt x="27" y="2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62" name="îṩliďè"/>
              <p:cNvSpPr/>
              <p:nvPr/>
            </p:nvSpPr>
            <p:spPr bwMode="auto">
              <a:xfrm>
                <a:off x="3146322" y="5120278"/>
                <a:ext cx="93663" cy="79375"/>
              </a:xfrm>
              <a:custGeom>
                <a:avLst/>
                <a:gdLst>
                  <a:gd name="T0" fmla="*/ 59 w 59"/>
                  <a:gd name="T1" fmla="*/ 37 h 50"/>
                  <a:gd name="T2" fmla="*/ 9 w 59"/>
                  <a:gd name="T3" fmla="*/ 50 h 50"/>
                  <a:gd name="T4" fmla="*/ 0 w 59"/>
                  <a:gd name="T5" fmla="*/ 13 h 50"/>
                  <a:gd name="T6" fmla="*/ 8 w 59"/>
                  <a:gd name="T7" fmla="*/ 10 h 50"/>
                  <a:gd name="T8" fmla="*/ 15 w 59"/>
                  <a:gd name="T9" fmla="*/ 37 h 50"/>
                  <a:gd name="T10" fmla="*/ 25 w 59"/>
                  <a:gd name="T11" fmla="*/ 35 h 50"/>
                  <a:gd name="T12" fmla="*/ 19 w 59"/>
                  <a:gd name="T13" fmla="*/ 9 h 50"/>
                  <a:gd name="T14" fmla="*/ 27 w 59"/>
                  <a:gd name="T15" fmla="*/ 8 h 50"/>
                  <a:gd name="T16" fmla="*/ 34 w 59"/>
                  <a:gd name="T17" fmla="*/ 32 h 50"/>
                  <a:gd name="T18" fmla="*/ 47 w 59"/>
                  <a:gd name="T19" fmla="*/ 29 h 50"/>
                  <a:gd name="T20" fmla="*/ 40 w 59"/>
                  <a:gd name="T21" fmla="*/ 1 h 50"/>
                  <a:gd name="T22" fmla="*/ 49 w 59"/>
                  <a:gd name="T23" fmla="*/ 0 h 50"/>
                  <a:gd name="T24" fmla="*/ 59 w 59"/>
                  <a:gd name="T25" fmla="*/ 37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59" h="50">
                    <a:moveTo>
                      <a:pt x="59" y="37"/>
                    </a:moveTo>
                    <a:lnTo>
                      <a:pt x="9" y="50"/>
                    </a:lnTo>
                    <a:lnTo>
                      <a:pt x="0" y="13"/>
                    </a:lnTo>
                    <a:lnTo>
                      <a:pt x="8" y="10"/>
                    </a:lnTo>
                    <a:lnTo>
                      <a:pt x="15" y="37"/>
                    </a:lnTo>
                    <a:lnTo>
                      <a:pt x="25" y="35"/>
                    </a:lnTo>
                    <a:lnTo>
                      <a:pt x="19" y="9"/>
                    </a:lnTo>
                    <a:lnTo>
                      <a:pt x="27" y="8"/>
                    </a:lnTo>
                    <a:lnTo>
                      <a:pt x="34" y="32"/>
                    </a:lnTo>
                    <a:lnTo>
                      <a:pt x="47" y="29"/>
                    </a:lnTo>
                    <a:lnTo>
                      <a:pt x="40" y="1"/>
                    </a:lnTo>
                    <a:lnTo>
                      <a:pt x="49" y="0"/>
                    </a:lnTo>
                    <a:lnTo>
                      <a:pt x="59" y="3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63" name="iṧlíḋè"/>
              <p:cNvSpPr/>
              <p:nvPr/>
            </p:nvSpPr>
            <p:spPr bwMode="auto">
              <a:xfrm>
                <a:off x="3138384" y="5096465"/>
                <a:ext cx="82550" cy="38100"/>
              </a:xfrm>
              <a:custGeom>
                <a:avLst/>
                <a:gdLst>
                  <a:gd name="T0" fmla="*/ 52 w 52"/>
                  <a:gd name="T1" fmla="*/ 9 h 24"/>
                  <a:gd name="T2" fmla="*/ 3 w 52"/>
                  <a:gd name="T3" fmla="*/ 24 h 24"/>
                  <a:gd name="T4" fmla="*/ 0 w 52"/>
                  <a:gd name="T5" fmla="*/ 15 h 24"/>
                  <a:gd name="T6" fmla="*/ 49 w 52"/>
                  <a:gd name="T7" fmla="*/ 0 h 24"/>
                  <a:gd name="T8" fmla="*/ 52 w 52"/>
                  <a:gd name="T9" fmla="*/ 9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2" h="24">
                    <a:moveTo>
                      <a:pt x="52" y="9"/>
                    </a:moveTo>
                    <a:lnTo>
                      <a:pt x="3" y="24"/>
                    </a:lnTo>
                    <a:lnTo>
                      <a:pt x="0" y="15"/>
                    </a:lnTo>
                    <a:lnTo>
                      <a:pt x="49" y="0"/>
                    </a:lnTo>
                    <a:lnTo>
                      <a:pt x="52" y="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64" name="islïḓè"/>
              <p:cNvSpPr/>
              <p:nvPr/>
            </p:nvSpPr>
            <p:spPr bwMode="auto">
              <a:xfrm>
                <a:off x="3120922" y="5047253"/>
                <a:ext cx="88900" cy="52388"/>
              </a:xfrm>
              <a:custGeom>
                <a:avLst/>
                <a:gdLst>
                  <a:gd name="T0" fmla="*/ 3 w 48"/>
                  <a:gd name="T1" fmla="*/ 20 h 28"/>
                  <a:gd name="T2" fmla="*/ 0 w 48"/>
                  <a:gd name="T3" fmla="*/ 12 h 28"/>
                  <a:gd name="T4" fmla="*/ 26 w 48"/>
                  <a:gd name="T5" fmla="*/ 2 h 28"/>
                  <a:gd name="T6" fmla="*/ 34 w 48"/>
                  <a:gd name="T7" fmla="*/ 0 h 28"/>
                  <a:gd name="T8" fmla="*/ 42 w 48"/>
                  <a:gd name="T9" fmla="*/ 3 h 28"/>
                  <a:gd name="T10" fmla="*/ 47 w 48"/>
                  <a:gd name="T11" fmla="*/ 10 h 28"/>
                  <a:gd name="T12" fmla="*/ 47 w 48"/>
                  <a:gd name="T13" fmla="*/ 21 h 28"/>
                  <a:gd name="T14" fmla="*/ 38 w 48"/>
                  <a:gd name="T15" fmla="*/ 28 h 28"/>
                  <a:gd name="T16" fmla="*/ 34 w 48"/>
                  <a:gd name="T17" fmla="*/ 20 h 28"/>
                  <a:gd name="T18" fmla="*/ 39 w 48"/>
                  <a:gd name="T19" fmla="*/ 17 h 28"/>
                  <a:gd name="T20" fmla="*/ 40 w 48"/>
                  <a:gd name="T21" fmla="*/ 13 h 28"/>
                  <a:gd name="T22" fmla="*/ 37 w 48"/>
                  <a:gd name="T23" fmla="*/ 9 h 28"/>
                  <a:gd name="T24" fmla="*/ 30 w 48"/>
                  <a:gd name="T25" fmla="*/ 10 h 28"/>
                  <a:gd name="T26" fmla="*/ 3 w 48"/>
                  <a:gd name="T27" fmla="*/ 20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48" h="28">
                    <a:moveTo>
                      <a:pt x="3" y="20"/>
                    </a:moveTo>
                    <a:cubicBezTo>
                      <a:pt x="0" y="12"/>
                      <a:pt x="0" y="12"/>
                      <a:pt x="0" y="12"/>
                    </a:cubicBezTo>
                    <a:cubicBezTo>
                      <a:pt x="26" y="2"/>
                      <a:pt x="26" y="2"/>
                      <a:pt x="26" y="2"/>
                    </a:cubicBezTo>
                    <a:cubicBezTo>
                      <a:pt x="29" y="1"/>
                      <a:pt x="32" y="0"/>
                      <a:pt x="34" y="0"/>
                    </a:cubicBezTo>
                    <a:cubicBezTo>
                      <a:pt x="37" y="0"/>
                      <a:pt x="39" y="1"/>
                      <a:pt x="42" y="3"/>
                    </a:cubicBezTo>
                    <a:cubicBezTo>
                      <a:pt x="44" y="4"/>
                      <a:pt x="46" y="7"/>
                      <a:pt x="47" y="10"/>
                    </a:cubicBezTo>
                    <a:cubicBezTo>
                      <a:pt x="48" y="14"/>
                      <a:pt x="48" y="18"/>
                      <a:pt x="47" y="21"/>
                    </a:cubicBezTo>
                    <a:cubicBezTo>
                      <a:pt x="45" y="24"/>
                      <a:pt x="42" y="26"/>
                      <a:pt x="38" y="28"/>
                    </a:cubicBezTo>
                    <a:cubicBezTo>
                      <a:pt x="34" y="20"/>
                      <a:pt x="34" y="20"/>
                      <a:pt x="34" y="20"/>
                    </a:cubicBezTo>
                    <a:cubicBezTo>
                      <a:pt x="37" y="19"/>
                      <a:pt x="38" y="18"/>
                      <a:pt x="39" y="17"/>
                    </a:cubicBezTo>
                    <a:cubicBezTo>
                      <a:pt x="40" y="16"/>
                      <a:pt x="40" y="14"/>
                      <a:pt x="40" y="13"/>
                    </a:cubicBezTo>
                    <a:cubicBezTo>
                      <a:pt x="39" y="11"/>
                      <a:pt x="38" y="10"/>
                      <a:pt x="37" y="9"/>
                    </a:cubicBezTo>
                    <a:cubicBezTo>
                      <a:pt x="35" y="9"/>
                      <a:pt x="33" y="9"/>
                      <a:pt x="30" y="10"/>
                    </a:cubicBezTo>
                    <a:lnTo>
                      <a:pt x="3" y="2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65" name="íṥ1iḍe"/>
              <p:cNvSpPr/>
              <p:nvPr/>
            </p:nvSpPr>
            <p:spPr bwMode="auto">
              <a:xfrm>
                <a:off x="3112984" y="5017090"/>
                <a:ext cx="80963" cy="46038"/>
              </a:xfrm>
              <a:custGeom>
                <a:avLst/>
                <a:gdLst>
                  <a:gd name="T0" fmla="*/ 51 w 51"/>
                  <a:gd name="T1" fmla="*/ 9 h 29"/>
                  <a:gd name="T2" fmla="*/ 3 w 51"/>
                  <a:gd name="T3" fmla="*/ 29 h 29"/>
                  <a:gd name="T4" fmla="*/ 0 w 51"/>
                  <a:gd name="T5" fmla="*/ 19 h 29"/>
                  <a:gd name="T6" fmla="*/ 46 w 51"/>
                  <a:gd name="T7" fmla="*/ 0 h 29"/>
                  <a:gd name="T8" fmla="*/ 51 w 51"/>
                  <a:gd name="T9" fmla="*/ 9 h 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1" h="29">
                    <a:moveTo>
                      <a:pt x="51" y="9"/>
                    </a:moveTo>
                    <a:lnTo>
                      <a:pt x="3" y="29"/>
                    </a:lnTo>
                    <a:lnTo>
                      <a:pt x="0" y="19"/>
                    </a:lnTo>
                    <a:lnTo>
                      <a:pt x="46" y="0"/>
                    </a:lnTo>
                    <a:lnTo>
                      <a:pt x="51" y="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66" name="iṥľîḋé"/>
              <p:cNvSpPr/>
              <p:nvPr/>
            </p:nvSpPr>
            <p:spPr bwMode="auto">
              <a:xfrm>
                <a:off x="3081234" y="4948828"/>
                <a:ext cx="101600" cy="93663"/>
              </a:xfrm>
              <a:custGeom>
                <a:avLst/>
                <a:gdLst>
                  <a:gd name="T0" fmla="*/ 64 w 64"/>
                  <a:gd name="T1" fmla="*/ 36 h 59"/>
                  <a:gd name="T2" fmla="*/ 18 w 64"/>
                  <a:gd name="T3" fmla="*/ 59 h 59"/>
                  <a:gd name="T4" fmla="*/ 14 w 64"/>
                  <a:gd name="T5" fmla="*/ 50 h 59"/>
                  <a:gd name="T6" fmla="*/ 35 w 64"/>
                  <a:gd name="T7" fmla="*/ 16 h 59"/>
                  <a:gd name="T8" fmla="*/ 3 w 64"/>
                  <a:gd name="T9" fmla="*/ 31 h 59"/>
                  <a:gd name="T10" fmla="*/ 0 w 64"/>
                  <a:gd name="T11" fmla="*/ 22 h 59"/>
                  <a:gd name="T12" fmla="*/ 45 w 64"/>
                  <a:gd name="T13" fmla="*/ 0 h 59"/>
                  <a:gd name="T14" fmla="*/ 50 w 64"/>
                  <a:gd name="T15" fmla="*/ 8 h 59"/>
                  <a:gd name="T16" fmla="*/ 29 w 64"/>
                  <a:gd name="T17" fmla="*/ 42 h 59"/>
                  <a:gd name="T18" fmla="*/ 59 w 64"/>
                  <a:gd name="T19" fmla="*/ 26 h 59"/>
                  <a:gd name="T20" fmla="*/ 64 w 64"/>
                  <a:gd name="T21" fmla="*/ 36 h 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64" h="59">
                    <a:moveTo>
                      <a:pt x="64" y="36"/>
                    </a:moveTo>
                    <a:lnTo>
                      <a:pt x="18" y="59"/>
                    </a:lnTo>
                    <a:lnTo>
                      <a:pt x="14" y="50"/>
                    </a:lnTo>
                    <a:lnTo>
                      <a:pt x="35" y="16"/>
                    </a:lnTo>
                    <a:lnTo>
                      <a:pt x="3" y="31"/>
                    </a:lnTo>
                    <a:lnTo>
                      <a:pt x="0" y="22"/>
                    </a:lnTo>
                    <a:lnTo>
                      <a:pt x="45" y="0"/>
                    </a:lnTo>
                    <a:lnTo>
                      <a:pt x="50" y="8"/>
                    </a:lnTo>
                    <a:lnTo>
                      <a:pt x="29" y="42"/>
                    </a:lnTo>
                    <a:lnTo>
                      <a:pt x="59" y="26"/>
                    </a:lnTo>
                    <a:lnTo>
                      <a:pt x="64" y="36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67" name="îślidè"/>
              <p:cNvSpPr/>
              <p:nvPr/>
            </p:nvSpPr>
            <p:spPr bwMode="auto">
              <a:xfrm>
                <a:off x="3047897" y="4877390"/>
                <a:ext cx="84138" cy="88900"/>
              </a:xfrm>
              <a:custGeom>
                <a:avLst/>
                <a:gdLst>
                  <a:gd name="T0" fmla="*/ 28 w 46"/>
                  <a:gd name="T1" fmla="*/ 21 h 48"/>
                  <a:gd name="T2" fmla="*/ 22 w 46"/>
                  <a:gd name="T3" fmla="*/ 25 h 48"/>
                  <a:gd name="T4" fmla="*/ 11 w 46"/>
                  <a:gd name="T5" fmla="*/ 9 h 48"/>
                  <a:gd name="T6" fmla="*/ 26 w 46"/>
                  <a:gd name="T7" fmla="*/ 0 h 48"/>
                  <a:gd name="T8" fmla="*/ 35 w 46"/>
                  <a:gd name="T9" fmla="*/ 4 h 48"/>
                  <a:gd name="T10" fmla="*/ 42 w 46"/>
                  <a:gd name="T11" fmla="*/ 12 h 48"/>
                  <a:gd name="T12" fmla="*/ 46 w 46"/>
                  <a:gd name="T13" fmla="*/ 24 h 48"/>
                  <a:gd name="T14" fmla="*/ 43 w 46"/>
                  <a:gd name="T15" fmla="*/ 35 h 48"/>
                  <a:gd name="T16" fmla="*/ 35 w 46"/>
                  <a:gd name="T17" fmla="*/ 43 h 48"/>
                  <a:gd name="T18" fmla="*/ 23 w 46"/>
                  <a:gd name="T19" fmla="*/ 47 h 48"/>
                  <a:gd name="T20" fmla="*/ 12 w 46"/>
                  <a:gd name="T21" fmla="*/ 45 h 48"/>
                  <a:gd name="T22" fmla="*/ 4 w 46"/>
                  <a:gd name="T23" fmla="*/ 37 h 48"/>
                  <a:gd name="T24" fmla="*/ 0 w 46"/>
                  <a:gd name="T25" fmla="*/ 24 h 48"/>
                  <a:gd name="T26" fmla="*/ 5 w 46"/>
                  <a:gd name="T27" fmla="*/ 14 h 48"/>
                  <a:gd name="T28" fmla="*/ 11 w 46"/>
                  <a:gd name="T29" fmla="*/ 21 h 48"/>
                  <a:gd name="T30" fmla="*/ 9 w 46"/>
                  <a:gd name="T31" fmla="*/ 27 h 48"/>
                  <a:gd name="T32" fmla="*/ 11 w 46"/>
                  <a:gd name="T33" fmla="*/ 33 h 48"/>
                  <a:gd name="T34" fmla="*/ 19 w 46"/>
                  <a:gd name="T35" fmla="*/ 39 h 48"/>
                  <a:gd name="T36" fmla="*/ 30 w 46"/>
                  <a:gd name="T37" fmla="*/ 36 h 48"/>
                  <a:gd name="T38" fmla="*/ 38 w 46"/>
                  <a:gd name="T39" fmla="*/ 26 h 48"/>
                  <a:gd name="T40" fmla="*/ 36 w 46"/>
                  <a:gd name="T41" fmla="*/ 17 h 48"/>
                  <a:gd name="T42" fmla="*/ 32 w 46"/>
                  <a:gd name="T43" fmla="*/ 13 h 48"/>
                  <a:gd name="T44" fmla="*/ 27 w 46"/>
                  <a:gd name="T45" fmla="*/ 10 h 48"/>
                  <a:gd name="T46" fmla="*/ 23 w 46"/>
                  <a:gd name="T47" fmla="*/ 13 h 48"/>
                  <a:gd name="T48" fmla="*/ 28 w 46"/>
                  <a:gd name="T49" fmla="*/ 21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46" h="48">
                    <a:moveTo>
                      <a:pt x="28" y="21"/>
                    </a:moveTo>
                    <a:cubicBezTo>
                      <a:pt x="22" y="25"/>
                      <a:pt x="22" y="25"/>
                      <a:pt x="22" y="25"/>
                    </a:cubicBezTo>
                    <a:cubicBezTo>
                      <a:pt x="11" y="9"/>
                      <a:pt x="11" y="9"/>
                      <a:pt x="11" y="9"/>
                    </a:cubicBezTo>
                    <a:cubicBezTo>
                      <a:pt x="26" y="0"/>
                      <a:pt x="26" y="0"/>
                      <a:pt x="26" y="0"/>
                    </a:cubicBezTo>
                    <a:cubicBezTo>
                      <a:pt x="29" y="1"/>
                      <a:pt x="31" y="2"/>
                      <a:pt x="35" y="4"/>
                    </a:cubicBezTo>
                    <a:cubicBezTo>
                      <a:pt x="38" y="6"/>
                      <a:pt x="40" y="9"/>
                      <a:pt x="42" y="12"/>
                    </a:cubicBezTo>
                    <a:cubicBezTo>
                      <a:pt x="45" y="16"/>
                      <a:pt x="46" y="20"/>
                      <a:pt x="46" y="24"/>
                    </a:cubicBezTo>
                    <a:cubicBezTo>
                      <a:pt x="46" y="28"/>
                      <a:pt x="45" y="31"/>
                      <a:pt x="43" y="35"/>
                    </a:cubicBezTo>
                    <a:cubicBezTo>
                      <a:pt x="41" y="38"/>
                      <a:pt x="38" y="41"/>
                      <a:pt x="35" y="43"/>
                    </a:cubicBezTo>
                    <a:cubicBezTo>
                      <a:pt x="31" y="46"/>
                      <a:pt x="27" y="47"/>
                      <a:pt x="23" y="47"/>
                    </a:cubicBezTo>
                    <a:cubicBezTo>
                      <a:pt x="19" y="48"/>
                      <a:pt x="15" y="47"/>
                      <a:pt x="12" y="45"/>
                    </a:cubicBezTo>
                    <a:cubicBezTo>
                      <a:pt x="9" y="43"/>
                      <a:pt x="6" y="41"/>
                      <a:pt x="4" y="37"/>
                    </a:cubicBezTo>
                    <a:cubicBezTo>
                      <a:pt x="1" y="32"/>
                      <a:pt x="0" y="28"/>
                      <a:pt x="0" y="24"/>
                    </a:cubicBezTo>
                    <a:cubicBezTo>
                      <a:pt x="0" y="21"/>
                      <a:pt x="2" y="17"/>
                      <a:pt x="5" y="14"/>
                    </a:cubicBezTo>
                    <a:cubicBezTo>
                      <a:pt x="11" y="21"/>
                      <a:pt x="11" y="21"/>
                      <a:pt x="11" y="21"/>
                    </a:cubicBezTo>
                    <a:cubicBezTo>
                      <a:pt x="10" y="23"/>
                      <a:pt x="9" y="24"/>
                      <a:pt x="9" y="27"/>
                    </a:cubicBezTo>
                    <a:cubicBezTo>
                      <a:pt x="8" y="29"/>
                      <a:pt x="9" y="31"/>
                      <a:pt x="11" y="33"/>
                    </a:cubicBezTo>
                    <a:cubicBezTo>
                      <a:pt x="13" y="36"/>
                      <a:pt x="15" y="38"/>
                      <a:pt x="19" y="39"/>
                    </a:cubicBezTo>
                    <a:cubicBezTo>
                      <a:pt x="22" y="39"/>
                      <a:pt x="26" y="38"/>
                      <a:pt x="30" y="36"/>
                    </a:cubicBezTo>
                    <a:cubicBezTo>
                      <a:pt x="34" y="33"/>
                      <a:pt x="37" y="30"/>
                      <a:pt x="38" y="26"/>
                    </a:cubicBezTo>
                    <a:cubicBezTo>
                      <a:pt x="39" y="23"/>
                      <a:pt x="38" y="20"/>
                      <a:pt x="36" y="17"/>
                    </a:cubicBezTo>
                    <a:cubicBezTo>
                      <a:pt x="35" y="15"/>
                      <a:pt x="34" y="14"/>
                      <a:pt x="32" y="13"/>
                    </a:cubicBezTo>
                    <a:cubicBezTo>
                      <a:pt x="30" y="11"/>
                      <a:pt x="29" y="10"/>
                      <a:pt x="27" y="10"/>
                    </a:cubicBezTo>
                    <a:cubicBezTo>
                      <a:pt x="23" y="13"/>
                      <a:pt x="23" y="13"/>
                      <a:pt x="23" y="13"/>
                    </a:cubicBezTo>
                    <a:lnTo>
                      <a:pt x="28" y="2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68" name="îŝ1ide"/>
              <p:cNvSpPr/>
              <p:nvPr/>
            </p:nvSpPr>
            <p:spPr bwMode="auto">
              <a:xfrm>
                <a:off x="1981097" y="4907553"/>
                <a:ext cx="931863" cy="969963"/>
              </a:xfrm>
              <a:custGeom>
                <a:avLst/>
                <a:gdLst>
                  <a:gd name="T0" fmla="*/ 488 w 506"/>
                  <a:gd name="T1" fmla="*/ 144 h 525"/>
                  <a:gd name="T2" fmla="*/ 449 w 506"/>
                  <a:gd name="T3" fmla="*/ 161 h 525"/>
                  <a:gd name="T4" fmla="*/ 473 w 506"/>
                  <a:gd name="T5" fmla="*/ 361 h 525"/>
                  <a:gd name="T6" fmla="*/ 434 w 506"/>
                  <a:gd name="T7" fmla="*/ 382 h 525"/>
                  <a:gd name="T8" fmla="*/ 463 w 506"/>
                  <a:gd name="T9" fmla="*/ 392 h 525"/>
                  <a:gd name="T10" fmla="*/ 434 w 506"/>
                  <a:gd name="T11" fmla="*/ 455 h 525"/>
                  <a:gd name="T12" fmla="*/ 418 w 506"/>
                  <a:gd name="T13" fmla="*/ 525 h 525"/>
                  <a:gd name="T14" fmla="*/ 328 w 506"/>
                  <a:gd name="T15" fmla="*/ 392 h 525"/>
                  <a:gd name="T16" fmla="*/ 200 w 506"/>
                  <a:gd name="T17" fmla="*/ 376 h 525"/>
                  <a:gd name="T18" fmla="*/ 179 w 506"/>
                  <a:gd name="T19" fmla="*/ 525 h 525"/>
                  <a:gd name="T20" fmla="*/ 72 w 506"/>
                  <a:gd name="T21" fmla="*/ 510 h 525"/>
                  <a:gd name="T22" fmla="*/ 44 w 506"/>
                  <a:gd name="T23" fmla="*/ 439 h 525"/>
                  <a:gd name="T24" fmla="*/ 72 w 506"/>
                  <a:gd name="T25" fmla="*/ 392 h 525"/>
                  <a:gd name="T26" fmla="*/ 57 w 506"/>
                  <a:gd name="T27" fmla="*/ 382 h 525"/>
                  <a:gd name="T28" fmla="*/ 18 w 506"/>
                  <a:gd name="T29" fmla="*/ 161 h 525"/>
                  <a:gd name="T30" fmla="*/ 56 w 506"/>
                  <a:gd name="T31" fmla="*/ 144 h 525"/>
                  <a:gd name="T32" fmla="*/ 0 w 506"/>
                  <a:gd name="T33" fmla="*/ 21 h 525"/>
                  <a:gd name="T34" fmla="*/ 92 w 506"/>
                  <a:gd name="T35" fmla="*/ 21 h 525"/>
                  <a:gd name="T36" fmla="*/ 403 w 506"/>
                  <a:gd name="T37" fmla="*/ 82 h 525"/>
                  <a:gd name="T38" fmla="*/ 457 w 506"/>
                  <a:gd name="T39" fmla="*/ 0 h 525"/>
                  <a:gd name="T40" fmla="*/ 461 w 506"/>
                  <a:gd name="T41" fmla="*/ 82 h 525"/>
                  <a:gd name="T42" fmla="*/ 455 w 506"/>
                  <a:gd name="T43" fmla="*/ 24 h 525"/>
                  <a:gd name="T44" fmla="*/ 435 w 506"/>
                  <a:gd name="T45" fmla="*/ 82 h 525"/>
                  <a:gd name="T46" fmla="*/ 454 w 506"/>
                  <a:gd name="T47" fmla="*/ 127 h 525"/>
                  <a:gd name="T48" fmla="*/ 49 w 506"/>
                  <a:gd name="T49" fmla="*/ 112 h 525"/>
                  <a:gd name="T50" fmla="*/ 78 w 506"/>
                  <a:gd name="T51" fmla="*/ 127 h 525"/>
                  <a:gd name="T52" fmla="*/ 81 w 506"/>
                  <a:gd name="T53" fmla="*/ 161 h 525"/>
                  <a:gd name="T54" fmla="*/ 426 w 506"/>
                  <a:gd name="T55" fmla="*/ 145 h 525"/>
                  <a:gd name="T56" fmla="*/ 454 w 506"/>
                  <a:gd name="T57" fmla="*/ 127 h 525"/>
                  <a:gd name="T58" fmla="*/ 450 w 506"/>
                  <a:gd name="T59" fmla="*/ 178 h 525"/>
                  <a:gd name="T60" fmla="*/ 65 w 506"/>
                  <a:gd name="T61" fmla="*/ 335 h 525"/>
                  <a:gd name="T62" fmla="*/ 421 w 506"/>
                  <a:gd name="T63" fmla="*/ 349 h 525"/>
                  <a:gd name="T64" fmla="*/ 398 w 506"/>
                  <a:gd name="T65" fmla="*/ 490 h 525"/>
                  <a:gd name="T66" fmla="*/ 356 w 506"/>
                  <a:gd name="T67" fmla="*/ 371 h 525"/>
                  <a:gd name="T68" fmla="*/ 389 w 506"/>
                  <a:gd name="T69" fmla="*/ 496 h 525"/>
                  <a:gd name="T70" fmla="*/ 150 w 506"/>
                  <a:gd name="T71" fmla="*/ 496 h 525"/>
                  <a:gd name="T72" fmla="*/ 108 w 506"/>
                  <a:gd name="T73" fmla="*/ 371 h 525"/>
                  <a:gd name="T74" fmla="*/ 117 w 506"/>
                  <a:gd name="T75" fmla="*/ 496 h 525"/>
                  <a:gd name="T76" fmla="*/ 71 w 506"/>
                  <a:gd name="T77" fmla="*/ 82 h 525"/>
                  <a:gd name="T78" fmla="*/ 51 w 506"/>
                  <a:gd name="T79" fmla="*/ 24 h 525"/>
                  <a:gd name="T80" fmla="*/ 45 w 506"/>
                  <a:gd name="T81" fmla="*/ 82 h 5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506" h="525">
                    <a:moveTo>
                      <a:pt x="506" y="21"/>
                    </a:moveTo>
                    <a:cubicBezTo>
                      <a:pt x="488" y="144"/>
                      <a:pt x="488" y="144"/>
                      <a:pt x="488" y="144"/>
                    </a:cubicBezTo>
                    <a:cubicBezTo>
                      <a:pt x="450" y="144"/>
                      <a:pt x="450" y="144"/>
                      <a:pt x="450" y="144"/>
                    </a:cubicBezTo>
                    <a:cubicBezTo>
                      <a:pt x="449" y="161"/>
                      <a:pt x="449" y="161"/>
                      <a:pt x="449" y="161"/>
                    </a:cubicBezTo>
                    <a:cubicBezTo>
                      <a:pt x="488" y="161"/>
                      <a:pt x="488" y="161"/>
                      <a:pt x="488" y="161"/>
                    </a:cubicBezTo>
                    <a:cubicBezTo>
                      <a:pt x="473" y="361"/>
                      <a:pt x="473" y="361"/>
                      <a:pt x="473" y="361"/>
                    </a:cubicBezTo>
                    <a:cubicBezTo>
                      <a:pt x="473" y="372"/>
                      <a:pt x="462" y="382"/>
                      <a:pt x="450" y="382"/>
                    </a:cubicBezTo>
                    <a:cubicBezTo>
                      <a:pt x="434" y="382"/>
                      <a:pt x="434" y="382"/>
                      <a:pt x="434" y="382"/>
                    </a:cubicBezTo>
                    <a:cubicBezTo>
                      <a:pt x="434" y="392"/>
                      <a:pt x="434" y="392"/>
                      <a:pt x="434" y="392"/>
                    </a:cubicBezTo>
                    <a:cubicBezTo>
                      <a:pt x="463" y="392"/>
                      <a:pt x="463" y="392"/>
                      <a:pt x="463" y="392"/>
                    </a:cubicBezTo>
                    <a:cubicBezTo>
                      <a:pt x="463" y="439"/>
                      <a:pt x="463" y="439"/>
                      <a:pt x="463" y="439"/>
                    </a:cubicBezTo>
                    <a:cubicBezTo>
                      <a:pt x="463" y="448"/>
                      <a:pt x="450" y="455"/>
                      <a:pt x="434" y="455"/>
                    </a:cubicBezTo>
                    <a:cubicBezTo>
                      <a:pt x="434" y="510"/>
                      <a:pt x="434" y="510"/>
                      <a:pt x="434" y="510"/>
                    </a:cubicBezTo>
                    <a:cubicBezTo>
                      <a:pt x="434" y="518"/>
                      <a:pt x="427" y="525"/>
                      <a:pt x="418" y="525"/>
                    </a:cubicBezTo>
                    <a:cubicBezTo>
                      <a:pt x="328" y="525"/>
                      <a:pt x="328" y="525"/>
                      <a:pt x="328" y="525"/>
                    </a:cubicBezTo>
                    <a:cubicBezTo>
                      <a:pt x="328" y="392"/>
                      <a:pt x="328" y="392"/>
                      <a:pt x="328" y="392"/>
                    </a:cubicBezTo>
                    <a:cubicBezTo>
                      <a:pt x="328" y="383"/>
                      <a:pt x="318" y="376"/>
                      <a:pt x="307" y="376"/>
                    </a:cubicBezTo>
                    <a:cubicBezTo>
                      <a:pt x="200" y="376"/>
                      <a:pt x="200" y="376"/>
                      <a:pt x="200" y="376"/>
                    </a:cubicBezTo>
                    <a:cubicBezTo>
                      <a:pt x="188" y="376"/>
                      <a:pt x="179" y="383"/>
                      <a:pt x="179" y="392"/>
                    </a:cubicBezTo>
                    <a:cubicBezTo>
                      <a:pt x="179" y="525"/>
                      <a:pt x="179" y="525"/>
                      <a:pt x="179" y="525"/>
                    </a:cubicBezTo>
                    <a:cubicBezTo>
                      <a:pt x="89" y="525"/>
                      <a:pt x="89" y="525"/>
                      <a:pt x="89" y="525"/>
                    </a:cubicBezTo>
                    <a:cubicBezTo>
                      <a:pt x="80" y="525"/>
                      <a:pt x="72" y="518"/>
                      <a:pt x="72" y="510"/>
                    </a:cubicBezTo>
                    <a:cubicBezTo>
                      <a:pt x="72" y="455"/>
                      <a:pt x="72" y="455"/>
                      <a:pt x="72" y="455"/>
                    </a:cubicBezTo>
                    <a:cubicBezTo>
                      <a:pt x="56" y="455"/>
                      <a:pt x="44" y="448"/>
                      <a:pt x="44" y="439"/>
                    </a:cubicBezTo>
                    <a:cubicBezTo>
                      <a:pt x="44" y="392"/>
                      <a:pt x="44" y="392"/>
                      <a:pt x="44" y="392"/>
                    </a:cubicBezTo>
                    <a:cubicBezTo>
                      <a:pt x="72" y="392"/>
                      <a:pt x="72" y="392"/>
                      <a:pt x="72" y="392"/>
                    </a:cubicBezTo>
                    <a:cubicBezTo>
                      <a:pt x="72" y="382"/>
                      <a:pt x="72" y="382"/>
                      <a:pt x="72" y="382"/>
                    </a:cubicBezTo>
                    <a:cubicBezTo>
                      <a:pt x="57" y="382"/>
                      <a:pt x="57" y="382"/>
                      <a:pt x="57" y="382"/>
                    </a:cubicBezTo>
                    <a:cubicBezTo>
                      <a:pt x="44" y="382"/>
                      <a:pt x="34" y="372"/>
                      <a:pt x="34" y="361"/>
                    </a:cubicBezTo>
                    <a:cubicBezTo>
                      <a:pt x="18" y="161"/>
                      <a:pt x="18" y="161"/>
                      <a:pt x="18" y="161"/>
                    </a:cubicBezTo>
                    <a:cubicBezTo>
                      <a:pt x="58" y="161"/>
                      <a:pt x="58" y="161"/>
                      <a:pt x="58" y="161"/>
                    </a:cubicBezTo>
                    <a:cubicBezTo>
                      <a:pt x="56" y="144"/>
                      <a:pt x="56" y="144"/>
                      <a:pt x="56" y="144"/>
                    </a:cubicBezTo>
                    <a:cubicBezTo>
                      <a:pt x="18" y="144"/>
                      <a:pt x="18" y="144"/>
                      <a:pt x="18" y="144"/>
                    </a:cubicBezTo>
                    <a:cubicBezTo>
                      <a:pt x="0" y="21"/>
                      <a:pt x="0" y="21"/>
                      <a:pt x="0" y="21"/>
                    </a:cubicBezTo>
                    <a:cubicBezTo>
                      <a:pt x="2" y="7"/>
                      <a:pt x="31" y="0"/>
                      <a:pt x="49" y="0"/>
                    </a:cubicBezTo>
                    <a:cubicBezTo>
                      <a:pt x="73" y="0"/>
                      <a:pt x="80" y="3"/>
                      <a:pt x="92" y="21"/>
                    </a:cubicBezTo>
                    <a:cubicBezTo>
                      <a:pt x="103" y="82"/>
                      <a:pt x="103" y="82"/>
                      <a:pt x="103" y="82"/>
                    </a:cubicBezTo>
                    <a:cubicBezTo>
                      <a:pt x="403" y="82"/>
                      <a:pt x="403" y="82"/>
                      <a:pt x="403" y="82"/>
                    </a:cubicBezTo>
                    <a:cubicBezTo>
                      <a:pt x="415" y="21"/>
                      <a:pt x="415" y="21"/>
                      <a:pt x="415" y="21"/>
                    </a:cubicBezTo>
                    <a:cubicBezTo>
                      <a:pt x="426" y="3"/>
                      <a:pt x="433" y="0"/>
                      <a:pt x="457" y="0"/>
                    </a:cubicBezTo>
                    <a:cubicBezTo>
                      <a:pt x="475" y="0"/>
                      <a:pt x="504" y="7"/>
                      <a:pt x="506" y="21"/>
                    </a:cubicBezTo>
                    <a:close/>
                    <a:moveTo>
                      <a:pt x="461" y="82"/>
                    </a:moveTo>
                    <a:cubicBezTo>
                      <a:pt x="469" y="32"/>
                      <a:pt x="469" y="32"/>
                      <a:pt x="469" y="32"/>
                    </a:cubicBezTo>
                    <a:cubicBezTo>
                      <a:pt x="469" y="24"/>
                      <a:pt x="463" y="24"/>
                      <a:pt x="455" y="24"/>
                    </a:cubicBezTo>
                    <a:cubicBezTo>
                      <a:pt x="450" y="24"/>
                      <a:pt x="447" y="26"/>
                      <a:pt x="445" y="32"/>
                    </a:cubicBezTo>
                    <a:cubicBezTo>
                      <a:pt x="435" y="82"/>
                      <a:pt x="435" y="82"/>
                      <a:pt x="435" y="82"/>
                    </a:cubicBezTo>
                    <a:lnTo>
                      <a:pt x="461" y="82"/>
                    </a:lnTo>
                    <a:close/>
                    <a:moveTo>
                      <a:pt x="454" y="127"/>
                    </a:moveTo>
                    <a:cubicBezTo>
                      <a:pt x="457" y="112"/>
                      <a:pt x="457" y="112"/>
                      <a:pt x="457" y="112"/>
                    </a:cubicBezTo>
                    <a:cubicBezTo>
                      <a:pt x="49" y="112"/>
                      <a:pt x="49" y="112"/>
                      <a:pt x="49" y="112"/>
                    </a:cubicBezTo>
                    <a:cubicBezTo>
                      <a:pt x="52" y="127"/>
                      <a:pt x="52" y="127"/>
                      <a:pt x="52" y="127"/>
                    </a:cubicBezTo>
                    <a:cubicBezTo>
                      <a:pt x="78" y="127"/>
                      <a:pt x="78" y="127"/>
                      <a:pt x="78" y="127"/>
                    </a:cubicBezTo>
                    <a:cubicBezTo>
                      <a:pt x="80" y="145"/>
                      <a:pt x="80" y="145"/>
                      <a:pt x="80" y="145"/>
                    </a:cubicBezTo>
                    <a:cubicBezTo>
                      <a:pt x="81" y="161"/>
                      <a:pt x="81" y="161"/>
                      <a:pt x="81" y="161"/>
                    </a:cubicBezTo>
                    <a:cubicBezTo>
                      <a:pt x="425" y="161"/>
                      <a:pt x="425" y="161"/>
                      <a:pt x="425" y="161"/>
                    </a:cubicBezTo>
                    <a:cubicBezTo>
                      <a:pt x="426" y="145"/>
                      <a:pt x="426" y="145"/>
                      <a:pt x="426" y="145"/>
                    </a:cubicBezTo>
                    <a:cubicBezTo>
                      <a:pt x="428" y="127"/>
                      <a:pt x="428" y="127"/>
                      <a:pt x="428" y="127"/>
                    </a:cubicBezTo>
                    <a:lnTo>
                      <a:pt x="454" y="127"/>
                    </a:lnTo>
                    <a:close/>
                    <a:moveTo>
                      <a:pt x="441" y="335"/>
                    </a:moveTo>
                    <a:cubicBezTo>
                      <a:pt x="450" y="178"/>
                      <a:pt x="450" y="178"/>
                      <a:pt x="450" y="178"/>
                    </a:cubicBezTo>
                    <a:cubicBezTo>
                      <a:pt x="56" y="178"/>
                      <a:pt x="56" y="178"/>
                      <a:pt x="56" y="178"/>
                    </a:cubicBezTo>
                    <a:cubicBezTo>
                      <a:pt x="65" y="335"/>
                      <a:pt x="65" y="335"/>
                      <a:pt x="65" y="335"/>
                    </a:cubicBezTo>
                    <a:cubicBezTo>
                      <a:pt x="65" y="343"/>
                      <a:pt x="74" y="349"/>
                      <a:pt x="85" y="349"/>
                    </a:cubicBezTo>
                    <a:cubicBezTo>
                      <a:pt x="421" y="349"/>
                      <a:pt x="421" y="349"/>
                      <a:pt x="421" y="349"/>
                    </a:cubicBezTo>
                    <a:cubicBezTo>
                      <a:pt x="432" y="349"/>
                      <a:pt x="441" y="343"/>
                      <a:pt x="441" y="335"/>
                    </a:cubicBezTo>
                    <a:close/>
                    <a:moveTo>
                      <a:pt x="398" y="490"/>
                    </a:moveTo>
                    <a:cubicBezTo>
                      <a:pt x="398" y="371"/>
                      <a:pt x="398" y="371"/>
                      <a:pt x="398" y="371"/>
                    </a:cubicBezTo>
                    <a:cubicBezTo>
                      <a:pt x="356" y="371"/>
                      <a:pt x="356" y="371"/>
                      <a:pt x="356" y="371"/>
                    </a:cubicBezTo>
                    <a:cubicBezTo>
                      <a:pt x="356" y="496"/>
                      <a:pt x="356" y="496"/>
                      <a:pt x="356" y="496"/>
                    </a:cubicBezTo>
                    <a:cubicBezTo>
                      <a:pt x="389" y="496"/>
                      <a:pt x="389" y="496"/>
                      <a:pt x="389" y="496"/>
                    </a:cubicBezTo>
                    <a:cubicBezTo>
                      <a:pt x="394" y="496"/>
                      <a:pt x="398" y="496"/>
                      <a:pt x="398" y="490"/>
                    </a:cubicBezTo>
                    <a:close/>
                    <a:moveTo>
                      <a:pt x="150" y="496"/>
                    </a:moveTo>
                    <a:cubicBezTo>
                      <a:pt x="150" y="371"/>
                      <a:pt x="150" y="371"/>
                      <a:pt x="150" y="371"/>
                    </a:cubicBezTo>
                    <a:cubicBezTo>
                      <a:pt x="108" y="371"/>
                      <a:pt x="108" y="371"/>
                      <a:pt x="108" y="371"/>
                    </a:cubicBezTo>
                    <a:cubicBezTo>
                      <a:pt x="108" y="490"/>
                      <a:pt x="108" y="490"/>
                      <a:pt x="108" y="490"/>
                    </a:cubicBezTo>
                    <a:cubicBezTo>
                      <a:pt x="108" y="496"/>
                      <a:pt x="112" y="496"/>
                      <a:pt x="117" y="496"/>
                    </a:cubicBezTo>
                    <a:lnTo>
                      <a:pt x="150" y="496"/>
                    </a:lnTo>
                    <a:close/>
                    <a:moveTo>
                      <a:pt x="71" y="82"/>
                    </a:moveTo>
                    <a:cubicBezTo>
                      <a:pt x="61" y="32"/>
                      <a:pt x="61" y="32"/>
                      <a:pt x="61" y="32"/>
                    </a:cubicBezTo>
                    <a:cubicBezTo>
                      <a:pt x="60" y="26"/>
                      <a:pt x="57" y="24"/>
                      <a:pt x="51" y="24"/>
                    </a:cubicBezTo>
                    <a:cubicBezTo>
                      <a:pt x="43" y="24"/>
                      <a:pt x="37" y="24"/>
                      <a:pt x="37" y="32"/>
                    </a:cubicBezTo>
                    <a:cubicBezTo>
                      <a:pt x="45" y="82"/>
                      <a:pt x="45" y="82"/>
                      <a:pt x="45" y="82"/>
                    </a:cubicBezTo>
                    <a:lnTo>
                      <a:pt x="71" y="8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69" name="í$ḻíde"/>
              <p:cNvSpPr/>
              <p:nvPr/>
            </p:nvSpPr>
            <p:spPr bwMode="auto">
              <a:xfrm>
                <a:off x="2144609" y="5142503"/>
                <a:ext cx="604838" cy="31750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</p:grpSp>
      </p:grpSp>
    </p:spTree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图片 16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796" b="7796"/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18" name="矩形 17"/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bg1">
              <a:alpha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350" dirty="0"/>
          </a:p>
        </p:txBody>
      </p:sp>
      <p:sp>
        <p:nvSpPr>
          <p:cNvPr id="127" name="矩形 126"/>
          <p:cNvSpPr/>
          <p:nvPr userDrawn="1"/>
        </p:nvSpPr>
        <p:spPr>
          <a:xfrm>
            <a:off x="9064520" y="319741"/>
            <a:ext cx="89822" cy="274912"/>
          </a:xfrm>
          <a:prstGeom prst="rect">
            <a:avLst/>
          </a:prstGeom>
          <a:gradFill flip="none" rotWithShape="1">
            <a:gsLst>
              <a:gs pos="0">
                <a:srgbClr val="A22B17">
                  <a:lumMod val="91000"/>
                </a:srgbClr>
              </a:gs>
              <a:gs pos="100000">
                <a:srgbClr val="A22B17">
                  <a:alpha val="72000"/>
                  <a:lumMod val="92000"/>
                  <a:lumOff val="8000"/>
                </a:srgb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zh-CN" altLang="en-US" sz="1350"/>
          </a:p>
        </p:txBody>
      </p:sp>
      <p:grpSp>
        <p:nvGrpSpPr>
          <p:cNvPr id="138" name="组合 137"/>
          <p:cNvGrpSpPr/>
          <p:nvPr userDrawn="1"/>
        </p:nvGrpSpPr>
        <p:grpSpPr>
          <a:xfrm>
            <a:off x="488124" y="-46297"/>
            <a:ext cx="533439" cy="937548"/>
            <a:chOff x="313666" y="-185194"/>
            <a:chExt cx="921996" cy="1215342"/>
          </a:xfrm>
        </p:grpSpPr>
        <p:pic>
          <p:nvPicPr>
            <p:cNvPr id="136" name="图片 135"/>
            <p:cNvPicPr>
              <a:picLocks noChangeAspect="1"/>
            </p:cNvPicPr>
            <p:nvPr userDrawn="1"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4698" r="24746"/>
            <a:stretch>
              <a:fillRect/>
            </a:stretch>
          </p:blipFill>
          <p:spPr>
            <a:xfrm>
              <a:off x="313666" y="-185194"/>
              <a:ext cx="921996" cy="1215342"/>
            </a:xfrm>
            <a:prstGeom prst="rect">
              <a:avLst/>
            </a:prstGeom>
          </p:spPr>
        </p:pic>
        <p:sp>
          <p:nvSpPr>
            <p:cNvPr id="7" name="矩形: 圆角 6"/>
            <p:cNvSpPr/>
            <p:nvPr userDrawn="1"/>
          </p:nvSpPr>
          <p:spPr>
            <a:xfrm>
              <a:off x="313666" y="-185194"/>
              <a:ext cx="921996" cy="1215342"/>
            </a:xfrm>
            <a:prstGeom prst="roundRect">
              <a:avLst>
                <a:gd name="adj" fmla="val 0"/>
              </a:avLst>
            </a:prstGeom>
            <a:gradFill flip="none" rotWithShape="1">
              <a:gsLst>
                <a:gs pos="0">
                  <a:srgbClr val="A22B17">
                    <a:lumMod val="94000"/>
                    <a:lumOff val="6000"/>
                  </a:srgbClr>
                </a:gs>
                <a:gs pos="100000">
                  <a:srgbClr val="A22B17">
                    <a:alpha val="72000"/>
                    <a:lumMod val="85000"/>
                    <a:lumOff val="15000"/>
                  </a:srgb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zh-CN" altLang="en-US" sz="1350" dirty="0"/>
            </a:p>
          </p:txBody>
        </p:sp>
      </p:grpSp>
      <p:sp>
        <p:nvSpPr>
          <p:cNvPr id="2" name="矩形 1"/>
          <p:cNvSpPr/>
          <p:nvPr userDrawn="1"/>
        </p:nvSpPr>
        <p:spPr>
          <a:xfrm>
            <a:off x="9064520" y="319741"/>
            <a:ext cx="89822" cy="274912"/>
          </a:xfrm>
          <a:prstGeom prst="rect">
            <a:avLst/>
          </a:prstGeom>
          <a:gradFill flip="none" rotWithShape="1">
            <a:gsLst>
              <a:gs pos="0">
                <a:srgbClr val="A22B17">
                  <a:lumMod val="91000"/>
                </a:srgbClr>
              </a:gs>
              <a:gs pos="100000">
                <a:srgbClr val="A22B17">
                  <a:alpha val="72000"/>
                  <a:lumMod val="92000"/>
                  <a:lumOff val="8000"/>
                </a:srgb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zh-CN" altLang="en-US" sz="1350"/>
          </a:p>
        </p:txBody>
      </p:sp>
      <p:grpSp>
        <p:nvGrpSpPr>
          <p:cNvPr id="3" name="组合 2"/>
          <p:cNvGrpSpPr/>
          <p:nvPr userDrawn="1"/>
        </p:nvGrpSpPr>
        <p:grpSpPr>
          <a:xfrm>
            <a:off x="6686550" y="225425"/>
            <a:ext cx="2231390" cy="453390"/>
            <a:chOff x="9721458" y="225521"/>
            <a:chExt cx="2169381" cy="453584"/>
          </a:xfrm>
        </p:grpSpPr>
        <p:sp>
          <p:nvSpPr>
            <p:cNvPr id="4" name="îS1îḋé"/>
            <p:cNvSpPr/>
            <p:nvPr/>
          </p:nvSpPr>
          <p:spPr bwMode="auto">
            <a:xfrm>
              <a:off x="9721458" y="225521"/>
              <a:ext cx="453179" cy="453584"/>
            </a:xfrm>
            <a:prstGeom prst="ellipse">
              <a:avLst/>
            </a:prstGeom>
            <a:noFill/>
            <a:ln w="15875" cap="flat">
              <a:solidFill>
                <a:srgbClr val="CA351C"/>
              </a:solidFill>
              <a:prstDash val="solid"/>
              <a:miter lim="800000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anchor="ctr"/>
            <a:lstStyle/>
            <a:p>
              <a:pPr algn="r"/>
              <a:endParaRPr sz="1350"/>
            </a:p>
          </p:txBody>
        </p:sp>
        <p:sp>
          <p:nvSpPr>
            <p:cNvPr id="5" name="îṣḷïďé"/>
            <p:cNvSpPr/>
            <p:nvPr/>
          </p:nvSpPr>
          <p:spPr bwMode="auto">
            <a:xfrm>
              <a:off x="9777346" y="281409"/>
              <a:ext cx="340998" cy="341403"/>
            </a:xfrm>
            <a:prstGeom prst="ellipse">
              <a:avLst/>
            </a:prstGeom>
            <a:noFill/>
            <a:ln w="9525" cap="flat">
              <a:solidFill>
                <a:srgbClr val="B8311A"/>
              </a:solidFill>
              <a:prstDash val="solid"/>
              <a:miter lim="800000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anchor="ctr"/>
            <a:lstStyle/>
            <a:p>
              <a:pPr algn="r"/>
              <a:endParaRPr sz="1350"/>
            </a:p>
          </p:txBody>
        </p:sp>
        <p:grpSp>
          <p:nvGrpSpPr>
            <p:cNvPr id="6" name="组合 5"/>
            <p:cNvGrpSpPr/>
            <p:nvPr userDrawn="1"/>
          </p:nvGrpSpPr>
          <p:grpSpPr>
            <a:xfrm>
              <a:off x="9742315" y="240303"/>
              <a:ext cx="411466" cy="424020"/>
              <a:chOff x="1641372" y="4491628"/>
              <a:chExt cx="1612900" cy="1662113"/>
            </a:xfrm>
            <a:solidFill>
              <a:srgbClr val="CA351C"/>
            </a:solidFill>
          </p:grpSpPr>
          <p:sp>
            <p:nvSpPr>
              <p:cNvPr id="62" name="ïś1íďê"/>
              <p:cNvSpPr/>
              <p:nvPr/>
            </p:nvSpPr>
            <p:spPr bwMode="auto">
              <a:xfrm>
                <a:off x="2889147" y="4701178"/>
                <a:ext cx="153988" cy="138113"/>
              </a:xfrm>
              <a:custGeom>
                <a:avLst/>
                <a:gdLst>
                  <a:gd name="T0" fmla="*/ 62 w 83"/>
                  <a:gd name="T1" fmla="*/ 8 h 75"/>
                  <a:gd name="T2" fmla="*/ 53 w 83"/>
                  <a:gd name="T3" fmla="*/ 10 h 75"/>
                  <a:gd name="T4" fmla="*/ 57 w 83"/>
                  <a:gd name="T5" fmla="*/ 0 h 75"/>
                  <a:gd name="T6" fmla="*/ 44 w 83"/>
                  <a:gd name="T7" fmla="*/ 21 h 75"/>
                  <a:gd name="T8" fmla="*/ 58 w 83"/>
                  <a:gd name="T9" fmla="*/ 11 h 75"/>
                  <a:gd name="T10" fmla="*/ 54 w 83"/>
                  <a:gd name="T11" fmla="*/ 18 h 75"/>
                  <a:gd name="T12" fmla="*/ 28 w 83"/>
                  <a:gd name="T13" fmla="*/ 18 h 75"/>
                  <a:gd name="T14" fmla="*/ 19 w 83"/>
                  <a:gd name="T15" fmla="*/ 17 h 75"/>
                  <a:gd name="T16" fmla="*/ 25 w 83"/>
                  <a:gd name="T17" fmla="*/ 12 h 75"/>
                  <a:gd name="T18" fmla="*/ 1 w 83"/>
                  <a:gd name="T19" fmla="*/ 30 h 75"/>
                  <a:gd name="T20" fmla="*/ 13 w 83"/>
                  <a:gd name="T21" fmla="*/ 24 h 75"/>
                  <a:gd name="T22" fmla="*/ 36 w 83"/>
                  <a:gd name="T23" fmla="*/ 28 h 75"/>
                  <a:gd name="T24" fmla="*/ 22 w 83"/>
                  <a:gd name="T25" fmla="*/ 35 h 75"/>
                  <a:gd name="T26" fmla="*/ 45 w 83"/>
                  <a:gd name="T27" fmla="*/ 41 h 75"/>
                  <a:gd name="T28" fmla="*/ 42 w 83"/>
                  <a:gd name="T29" fmla="*/ 41 h 75"/>
                  <a:gd name="T30" fmla="*/ 35 w 83"/>
                  <a:gd name="T31" fmla="*/ 40 h 75"/>
                  <a:gd name="T32" fmla="*/ 37 w 83"/>
                  <a:gd name="T33" fmla="*/ 45 h 75"/>
                  <a:gd name="T34" fmla="*/ 12 w 83"/>
                  <a:gd name="T35" fmla="*/ 34 h 75"/>
                  <a:gd name="T36" fmla="*/ 9 w 83"/>
                  <a:gd name="T37" fmla="*/ 35 h 75"/>
                  <a:gd name="T38" fmla="*/ 20 w 83"/>
                  <a:gd name="T39" fmla="*/ 64 h 75"/>
                  <a:gd name="T40" fmla="*/ 0 w 83"/>
                  <a:gd name="T41" fmla="*/ 57 h 75"/>
                  <a:gd name="T42" fmla="*/ 35 w 83"/>
                  <a:gd name="T43" fmla="*/ 58 h 75"/>
                  <a:gd name="T44" fmla="*/ 46 w 83"/>
                  <a:gd name="T45" fmla="*/ 57 h 75"/>
                  <a:gd name="T46" fmla="*/ 42 w 83"/>
                  <a:gd name="T47" fmla="*/ 48 h 75"/>
                  <a:gd name="T48" fmla="*/ 62 w 83"/>
                  <a:gd name="T49" fmla="*/ 57 h 75"/>
                  <a:gd name="T50" fmla="*/ 61 w 83"/>
                  <a:gd name="T51" fmla="*/ 35 h 75"/>
                  <a:gd name="T52" fmla="*/ 62 w 83"/>
                  <a:gd name="T53" fmla="*/ 34 h 75"/>
                  <a:gd name="T54" fmla="*/ 66 w 83"/>
                  <a:gd name="T55" fmla="*/ 16 h 75"/>
                  <a:gd name="T56" fmla="*/ 63 w 83"/>
                  <a:gd name="T57" fmla="*/ 44 h 75"/>
                  <a:gd name="T58" fmla="*/ 54 w 83"/>
                  <a:gd name="T59" fmla="*/ 32 h 75"/>
                  <a:gd name="T60" fmla="*/ 60 w 83"/>
                  <a:gd name="T61" fmla="*/ 27 h 75"/>
                  <a:gd name="T62" fmla="*/ 67 w 83"/>
                  <a:gd name="T63" fmla="*/ 18 h 75"/>
                  <a:gd name="T64" fmla="*/ 77 w 83"/>
                  <a:gd name="T65" fmla="*/ 23 h 75"/>
                  <a:gd name="T66" fmla="*/ 60 w 83"/>
                  <a:gd name="T67" fmla="*/ 27 h 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83" h="75">
                    <a:moveTo>
                      <a:pt x="66" y="16"/>
                    </a:moveTo>
                    <a:cubicBezTo>
                      <a:pt x="65" y="13"/>
                      <a:pt x="63" y="11"/>
                      <a:pt x="62" y="8"/>
                    </a:cubicBezTo>
                    <a:cubicBezTo>
                      <a:pt x="59" y="9"/>
                      <a:pt x="57" y="9"/>
                      <a:pt x="54" y="10"/>
                    </a:cubicBezTo>
                    <a:cubicBezTo>
                      <a:pt x="54" y="10"/>
                      <a:pt x="53" y="10"/>
                      <a:pt x="53" y="10"/>
                    </a:cubicBezTo>
                    <a:cubicBezTo>
                      <a:pt x="54" y="7"/>
                      <a:pt x="57" y="6"/>
                      <a:pt x="59" y="3"/>
                    </a:cubicBezTo>
                    <a:cubicBezTo>
                      <a:pt x="58" y="2"/>
                      <a:pt x="58" y="1"/>
                      <a:pt x="57" y="0"/>
                    </a:cubicBezTo>
                    <a:cubicBezTo>
                      <a:pt x="48" y="1"/>
                      <a:pt x="37" y="9"/>
                      <a:pt x="42" y="19"/>
                    </a:cubicBezTo>
                    <a:cubicBezTo>
                      <a:pt x="42" y="19"/>
                      <a:pt x="43" y="20"/>
                      <a:pt x="44" y="21"/>
                    </a:cubicBezTo>
                    <a:cubicBezTo>
                      <a:pt x="47" y="19"/>
                      <a:pt x="48" y="15"/>
                      <a:pt x="51" y="14"/>
                    </a:cubicBezTo>
                    <a:cubicBezTo>
                      <a:pt x="53" y="13"/>
                      <a:pt x="55" y="13"/>
                      <a:pt x="58" y="11"/>
                    </a:cubicBezTo>
                    <a:cubicBezTo>
                      <a:pt x="58" y="11"/>
                      <a:pt x="59" y="11"/>
                      <a:pt x="59" y="11"/>
                    </a:cubicBezTo>
                    <a:cubicBezTo>
                      <a:pt x="57" y="14"/>
                      <a:pt x="56" y="16"/>
                      <a:pt x="54" y="18"/>
                    </a:cubicBezTo>
                    <a:cubicBezTo>
                      <a:pt x="54" y="21"/>
                      <a:pt x="55" y="24"/>
                      <a:pt x="54" y="27"/>
                    </a:cubicBezTo>
                    <a:cubicBezTo>
                      <a:pt x="54" y="27"/>
                      <a:pt x="30" y="18"/>
                      <a:pt x="28" y="18"/>
                    </a:cubicBezTo>
                    <a:cubicBezTo>
                      <a:pt x="25" y="17"/>
                      <a:pt x="22" y="17"/>
                      <a:pt x="20" y="17"/>
                    </a:cubicBezTo>
                    <a:cubicBezTo>
                      <a:pt x="19" y="17"/>
                      <a:pt x="19" y="17"/>
                      <a:pt x="19" y="17"/>
                    </a:cubicBezTo>
                    <a:cubicBezTo>
                      <a:pt x="22" y="15"/>
                      <a:pt x="23" y="15"/>
                      <a:pt x="25" y="13"/>
                    </a:cubicBezTo>
                    <a:cubicBezTo>
                      <a:pt x="25" y="12"/>
                      <a:pt x="25" y="12"/>
                      <a:pt x="25" y="12"/>
                    </a:cubicBezTo>
                    <a:cubicBezTo>
                      <a:pt x="18" y="12"/>
                      <a:pt x="11" y="16"/>
                      <a:pt x="4" y="18"/>
                    </a:cubicBezTo>
                    <a:cubicBezTo>
                      <a:pt x="0" y="22"/>
                      <a:pt x="0" y="25"/>
                      <a:pt x="1" y="30"/>
                    </a:cubicBezTo>
                    <a:cubicBezTo>
                      <a:pt x="3" y="31"/>
                      <a:pt x="3" y="31"/>
                      <a:pt x="3" y="31"/>
                    </a:cubicBezTo>
                    <a:cubicBezTo>
                      <a:pt x="6" y="29"/>
                      <a:pt x="9" y="26"/>
                      <a:pt x="13" y="24"/>
                    </a:cubicBezTo>
                    <a:cubicBezTo>
                      <a:pt x="19" y="20"/>
                      <a:pt x="30" y="22"/>
                      <a:pt x="37" y="27"/>
                    </a:cubicBezTo>
                    <a:cubicBezTo>
                      <a:pt x="37" y="28"/>
                      <a:pt x="36" y="28"/>
                      <a:pt x="36" y="28"/>
                    </a:cubicBezTo>
                    <a:cubicBezTo>
                      <a:pt x="31" y="29"/>
                      <a:pt x="28" y="28"/>
                      <a:pt x="22" y="32"/>
                    </a:cubicBezTo>
                    <a:cubicBezTo>
                      <a:pt x="22" y="33"/>
                      <a:pt x="22" y="34"/>
                      <a:pt x="22" y="35"/>
                    </a:cubicBezTo>
                    <a:cubicBezTo>
                      <a:pt x="22" y="37"/>
                      <a:pt x="22" y="37"/>
                      <a:pt x="24" y="39"/>
                    </a:cubicBezTo>
                    <a:cubicBezTo>
                      <a:pt x="31" y="37"/>
                      <a:pt x="37" y="36"/>
                      <a:pt x="45" y="41"/>
                    </a:cubicBezTo>
                    <a:cubicBezTo>
                      <a:pt x="44" y="41"/>
                      <a:pt x="44" y="41"/>
                      <a:pt x="44" y="41"/>
                    </a:cubicBezTo>
                    <a:cubicBezTo>
                      <a:pt x="43" y="41"/>
                      <a:pt x="42" y="41"/>
                      <a:pt x="42" y="41"/>
                    </a:cubicBezTo>
                    <a:cubicBezTo>
                      <a:pt x="41" y="40"/>
                      <a:pt x="40" y="39"/>
                      <a:pt x="39" y="39"/>
                    </a:cubicBezTo>
                    <a:cubicBezTo>
                      <a:pt x="37" y="41"/>
                      <a:pt x="37" y="41"/>
                      <a:pt x="35" y="40"/>
                    </a:cubicBezTo>
                    <a:cubicBezTo>
                      <a:pt x="35" y="40"/>
                      <a:pt x="34" y="41"/>
                      <a:pt x="34" y="41"/>
                    </a:cubicBezTo>
                    <a:cubicBezTo>
                      <a:pt x="35" y="43"/>
                      <a:pt x="35" y="43"/>
                      <a:pt x="37" y="45"/>
                    </a:cubicBezTo>
                    <a:cubicBezTo>
                      <a:pt x="36" y="46"/>
                      <a:pt x="36" y="47"/>
                      <a:pt x="35" y="48"/>
                    </a:cubicBezTo>
                    <a:cubicBezTo>
                      <a:pt x="27" y="44"/>
                      <a:pt x="20" y="40"/>
                      <a:pt x="12" y="34"/>
                    </a:cubicBezTo>
                    <a:cubicBezTo>
                      <a:pt x="11" y="34"/>
                      <a:pt x="11" y="34"/>
                      <a:pt x="10" y="34"/>
                    </a:cubicBezTo>
                    <a:cubicBezTo>
                      <a:pt x="9" y="34"/>
                      <a:pt x="9" y="35"/>
                      <a:pt x="9" y="35"/>
                    </a:cubicBezTo>
                    <a:cubicBezTo>
                      <a:pt x="11" y="55"/>
                      <a:pt x="20" y="44"/>
                      <a:pt x="31" y="54"/>
                    </a:cubicBezTo>
                    <a:cubicBezTo>
                      <a:pt x="27" y="58"/>
                      <a:pt x="23" y="61"/>
                      <a:pt x="20" y="64"/>
                    </a:cubicBezTo>
                    <a:cubicBezTo>
                      <a:pt x="15" y="63"/>
                      <a:pt x="6" y="55"/>
                      <a:pt x="1" y="56"/>
                    </a:cubicBezTo>
                    <a:cubicBezTo>
                      <a:pt x="1" y="56"/>
                      <a:pt x="1" y="56"/>
                      <a:pt x="0" y="57"/>
                    </a:cubicBezTo>
                    <a:cubicBezTo>
                      <a:pt x="2" y="62"/>
                      <a:pt x="7" y="67"/>
                      <a:pt x="9" y="72"/>
                    </a:cubicBezTo>
                    <a:cubicBezTo>
                      <a:pt x="17" y="75"/>
                      <a:pt x="26" y="66"/>
                      <a:pt x="35" y="58"/>
                    </a:cubicBezTo>
                    <a:cubicBezTo>
                      <a:pt x="37" y="60"/>
                      <a:pt x="39" y="63"/>
                      <a:pt x="42" y="65"/>
                    </a:cubicBezTo>
                    <a:cubicBezTo>
                      <a:pt x="46" y="63"/>
                      <a:pt x="46" y="60"/>
                      <a:pt x="46" y="57"/>
                    </a:cubicBezTo>
                    <a:cubicBezTo>
                      <a:pt x="45" y="54"/>
                      <a:pt x="43" y="53"/>
                      <a:pt x="40" y="50"/>
                    </a:cubicBezTo>
                    <a:cubicBezTo>
                      <a:pt x="41" y="49"/>
                      <a:pt x="42" y="48"/>
                      <a:pt x="42" y="48"/>
                    </a:cubicBezTo>
                    <a:cubicBezTo>
                      <a:pt x="46" y="48"/>
                      <a:pt x="49" y="48"/>
                      <a:pt x="53" y="46"/>
                    </a:cubicBezTo>
                    <a:cubicBezTo>
                      <a:pt x="56" y="49"/>
                      <a:pt x="59" y="53"/>
                      <a:pt x="62" y="57"/>
                    </a:cubicBezTo>
                    <a:cubicBezTo>
                      <a:pt x="65" y="56"/>
                      <a:pt x="68" y="55"/>
                      <a:pt x="70" y="52"/>
                    </a:cubicBezTo>
                    <a:cubicBezTo>
                      <a:pt x="72" y="47"/>
                      <a:pt x="66" y="40"/>
                      <a:pt x="61" y="35"/>
                    </a:cubicBezTo>
                    <a:cubicBezTo>
                      <a:pt x="61" y="35"/>
                      <a:pt x="61" y="35"/>
                      <a:pt x="61" y="35"/>
                    </a:cubicBezTo>
                    <a:cubicBezTo>
                      <a:pt x="62" y="34"/>
                      <a:pt x="62" y="34"/>
                      <a:pt x="62" y="34"/>
                    </a:cubicBezTo>
                    <a:cubicBezTo>
                      <a:pt x="69" y="34"/>
                      <a:pt x="72" y="37"/>
                      <a:pt x="79" y="32"/>
                    </a:cubicBezTo>
                    <a:cubicBezTo>
                      <a:pt x="83" y="17"/>
                      <a:pt x="74" y="21"/>
                      <a:pt x="66" y="16"/>
                    </a:cubicBezTo>
                    <a:close/>
                    <a:moveTo>
                      <a:pt x="63" y="44"/>
                    </a:moveTo>
                    <a:cubicBezTo>
                      <a:pt x="63" y="44"/>
                      <a:pt x="63" y="44"/>
                      <a:pt x="63" y="44"/>
                    </a:cubicBezTo>
                    <a:cubicBezTo>
                      <a:pt x="55" y="42"/>
                      <a:pt x="46" y="34"/>
                      <a:pt x="38" y="32"/>
                    </a:cubicBezTo>
                    <a:cubicBezTo>
                      <a:pt x="43" y="28"/>
                      <a:pt x="48" y="31"/>
                      <a:pt x="54" y="32"/>
                    </a:cubicBezTo>
                    <a:cubicBezTo>
                      <a:pt x="57" y="36"/>
                      <a:pt x="60" y="40"/>
                      <a:pt x="63" y="44"/>
                    </a:cubicBezTo>
                    <a:close/>
                    <a:moveTo>
                      <a:pt x="60" y="27"/>
                    </a:moveTo>
                    <a:cubicBezTo>
                      <a:pt x="60" y="27"/>
                      <a:pt x="60" y="26"/>
                      <a:pt x="59" y="26"/>
                    </a:cubicBezTo>
                    <a:cubicBezTo>
                      <a:pt x="61" y="23"/>
                      <a:pt x="63" y="20"/>
                      <a:pt x="67" y="18"/>
                    </a:cubicBezTo>
                    <a:cubicBezTo>
                      <a:pt x="69" y="19"/>
                      <a:pt x="71" y="19"/>
                      <a:pt x="74" y="20"/>
                    </a:cubicBezTo>
                    <a:cubicBezTo>
                      <a:pt x="75" y="21"/>
                      <a:pt x="76" y="22"/>
                      <a:pt x="77" y="23"/>
                    </a:cubicBezTo>
                    <a:cubicBezTo>
                      <a:pt x="77" y="24"/>
                      <a:pt x="77" y="24"/>
                      <a:pt x="77" y="25"/>
                    </a:cubicBezTo>
                    <a:cubicBezTo>
                      <a:pt x="72" y="29"/>
                      <a:pt x="66" y="27"/>
                      <a:pt x="60" y="2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63" name="ïṩḻîḓé"/>
              <p:cNvSpPr/>
              <p:nvPr/>
            </p:nvSpPr>
            <p:spPr bwMode="auto">
              <a:xfrm>
                <a:off x="2728809" y="4582115"/>
                <a:ext cx="101600" cy="147638"/>
              </a:xfrm>
              <a:custGeom>
                <a:avLst/>
                <a:gdLst>
                  <a:gd name="T0" fmla="*/ 47 w 55"/>
                  <a:gd name="T1" fmla="*/ 0 h 80"/>
                  <a:gd name="T2" fmla="*/ 49 w 55"/>
                  <a:gd name="T3" fmla="*/ 20 h 80"/>
                  <a:gd name="T4" fmla="*/ 51 w 55"/>
                  <a:gd name="T5" fmla="*/ 34 h 80"/>
                  <a:gd name="T6" fmla="*/ 28 w 55"/>
                  <a:gd name="T7" fmla="*/ 38 h 80"/>
                  <a:gd name="T8" fmla="*/ 41 w 55"/>
                  <a:gd name="T9" fmla="*/ 68 h 80"/>
                  <a:gd name="T10" fmla="*/ 25 w 55"/>
                  <a:gd name="T11" fmla="*/ 74 h 80"/>
                  <a:gd name="T12" fmla="*/ 26 w 55"/>
                  <a:gd name="T13" fmla="*/ 39 h 80"/>
                  <a:gd name="T14" fmla="*/ 23 w 55"/>
                  <a:gd name="T15" fmla="*/ 40 h 80"/>
                  <a:gd name="T16" fmla="*/ 7 w 55"/>
                  <a:gd name="T17" fmla="*/ 54 h 80"/>
                  <a:gd name="T18" fmla="*/ 0 w 55"/>
                  <a:gd name="T19" fmla="*/ 43 h 80"/>
                  <a:gd name="T20" fmla="*/ 14 w 55"/>
                  <a:gd name="T21" fmla="*/ 28 h 80"/>
                  <a:gd name="T22" fmla="*/ 6 w 55"/>
                  <a:gd name="T23" fmla="*/ 15 h 80"/>
                  <a:gd name="T24" fmla="*/ 7 w 55"/>
                  <a:gd name="T25" fmla="*/ 15 h 80"/>
                  <a:gd name="T26" fmla="*/ 26 w 55"/>
                  <a:gd name="T27" fmla="*/ 18 h 80"/>
                  <a:gd name="T28" fmla="*/ 47 w 55"/>
                  <a:gd name="T29" fmla="*/ 0 h 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55" h="80">
                    <a:moveTo>
                      <a:pt x="47" y="0"/>
                    </a:moveTo>
                    <a:cubicBezTo>
                      <a:pt x="55" y="7"/>
                      <a:pt x="49" y="11"/>
                      <a:pt x="49" y="20"/>
                    </a:cubicBezTo>
                    <a:cubicBezTo>
                      <a:pt x="49" y="25"/>
                      <a:pt x="55" y="25"/>
                      <a:pt x="51" y="34"/>
                    </a:cubicBezTo>
                    <a:cubicBezTo>
                      <a:pt x="44" y="37"/>
                      <a:pt x="34" y="32"/>
                      <a:pt x="28" y="38"/>
                    </a:cubicBezTo>
                    <a:cubicBezTo>
                      <a:pt x="38" y="44"/>
                      <a:pt x="45" y="59"/>
                      <a:pt x="41" y="68"/>
                    </a:cubicBezTo>
                    <a:cubicBezTo>
                      <a:pt x="39" y="74"/>
                      <a:pt x="28" y="80"/>
                      <a:pt x="25" y="74"/>
                    </a:cubicBezTo>
                    <a:cubicBezTo>
                      <a:pt x="19" y="62"/>
                      <a:pt x="39" y="55"/>
                      <a:pt x="26" y="39"/>
                    </a:cubicBezTo>
                    <a:cubicBezTo>
                      <a:pt x="25" y="39"/>
                      <a:pt x="25" y="39"/>
                      <a:pt x="23" y="40"/>
                    </a:cubicBezTo>
                    <a:cubicBezTo>
                      <a:pt x="17" y="44"/>
                      <a:pt x="14" y="52"/>
                      <a:pt x="7" y="54"/>
                    </a:cubicBezTo>
                    <a:cubicBezTo>
                      <a:pt x="2" y="51"/>
                      <a:pt x="2" y="48"/>
                      <a:pt x="0" y="43"/>
                    </a:cubicBezTo>
                    <a:cubicBezTo>
                      <a:pt x="3" y="39"/>
                      <a:pt x="14" y="30"/>
                      <a:pt x="14" y="28"/>
                    </a:cubicBezTo>
                    <a:cubicBezTo>
                      <a:pt x="14" y="25"/>
                      <a:pt x="7" y="19"/>
                      <a:pt x="6" y="15"/>
                    </a:cubicBezTo>
                    <a:cubicBezTo>
                      <a:pt x="6" y="15"/>
                      <a:pt x="7" y="15"/>
                      <a:pt x="7" y="15"/>
                    </a:cubicBezTo>
                    <a:cubicBezTo>
                      <a:pt x="13" y="15"/>
                      <a:pt x="20" y="18"/>
                      <a:pt x="26" y="18"/>
                    </a:cubicBezTo>
                    <a:cubicBezTo>
                      <a:pt x="34" y="17"/>
                      <a:pt x="41" y="5"/>
                      <a:pt x="47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64" name="išḷïḓe"/>
              <p:cNvSpPr/>
              <p:nvPr/>
            </p:nvSpPr>
            <p:spPr bwMode="auto">
              <a:xfrm>
                <a:off x="2490684" y="4510678"/>
                <a:ext cx="144463" cy="160338"/>
              </a:xfrm>
              <a:custGeom>
                <a:avLst/>
                <a:gdLst>
                  <a:gd name="T0" fmla="*/ 55 w 78"/>
                  <a:gd name="T1" fmla="*/ 64 h 87"/>
                  <a:gd name="T2" fmla="*/ 62 w 78"/>
                  <a:gd name="T3" fmla="*/ 50 h 87"/>
                  <a:gd name="T4" fmla="*/ 54 w 78"/>
                  <a:gd name="T5" fmla="*/ 43 h 87"/>
                  <a:gd name="T6" fmla="*/ 69 w 78"/>
                  <a:gd name="T7" fmla="*/ 29 h 87"/>
                  <a:gd name="T8" fmla="*/ 67 w 78"/>
                  <a:gd name="T9" fmla="*/ 21 h 87"/>
                  <a:gd name="T10" fmla="*/ 70 w 78"/>
                  <a:gd name="T11" fmla="*/ 11 h 87"/>
                  <a:gd name="T12" fmla="*/ 69 w 78"/>
                  <a:gd name="T13" fmla="*/ 3 h 87"/>
                  <a:gd name="T14" fmla="*/ 64 w 78"/>
                  <a:gd name="T15" fmla="*/ 0 h 87"/>
                  <a:gd name="T16" fmla="*/ 63 w 78"/>
                  <a:gd name="T17" fmla="*/ 0 h 87"/>
                  <a:gd name="T18" fmla="*/ 63 w 78"/>
                  <a:gd name="T19" fmla="*/ 12 h 87"/>
                  <a:gd name="T20" fmla="*/ 42 w 78"/>
                  <a:gd name="T21" fmla="*/ 25 h 87"/>
                  <a:gd name="T22" fmla="*/ 42 w 78"/>
                  <a:gd name="T23" fmla="*/ 33 h 87"/>
                  <a:gd name="T24" fmla="*/ 33 w 78"/>
                  <a:gd name="T25" fmla="*/ 36 h 87"/>
                  <a:gd name="T26" fmla="*/ 39 w 78"/>
                  <a:gd name="T27" fmla="*/ 33 h 87"/>
                  <a:gd name="T28" fmla="*/ 39 w 78"/>
                  <a:gd name="T29" fmla="*/ 23 h 87"/>
                  <a:gd name="T30" fmla="*/ 36 w 78"/>
                  <a:gd name="T31" fmla="*/ 0 h 87"/>
                  <a:gd name="T32" fmla="*/ 36 w 78"/>
                  <a:gd name="T33" fmla="*/ 0 h 87"/>
                  <a:gd name="T34" fmla="*/ 36 w 78"/>
                  <a:gd name="T35" fmla="*/ 8 h 87"/>
                  <a:gd name="T36" fmla="*/ 30 w 78"/>
                  <a:gd name="T37" fmla="*/ 24 h 87"/>
                  <a:gd name="T38" fmla="*/ 1 w 78"/>
                  <a:gd name="T39" fmla="*/ 29 h 87"/>
                  <a:gd name="T40" fmla="*/ 0 w 78"/>
                  <a:gd name="T41" fmla="*/ 31 h 87"/>
                  <a:gd name="T42" fmla="*/ 18 w 78"/>
                  <a:gd name="T43" fmla="*/ 39 h 87"/>
                  <a:gd name="T44" fmla="*/ 25 w 78"/>
                  <a:gd name="T45" fmla="*/ 36 h 87"/>
                  <a:gd name="T46" fmla="*/ 25 w 78"/>
                  <a:gd name="T47" fmla="*/ 36 h 87"/>
                  <a:gd name="T48" fmla="*/ 3 w 78"/>
                  <a:gd name="T49" fmla="*/ 62 h 87"/>
                  <a:gd name="T50" fmla="*/ 5 w 78"/>
                  <a:gd name="T51" fmla="*/ 67 h 87"/>
                  <a:gd name="T52" fmla="*/ 12 w 78"/>
                  <a:gd name="T53" fmla="*/ 66 h 87"/>
                  <a:gd name="T54" fmla="*/ 22 w 78"/>
                  <a:gd name="T55" fmla="*/ 74 h 87"/>
                  <a:gd name="T56" fmla="*/ 25 w 78"/>
                  <a:gd name="T57" fmla="*/ 61 h 87"/>
                  <a:gd name="T58" fmla="*/ 30 w 78"/>
                  <a:gd name="T59" fmla="*/ 49 h 87"/>
                  <a:gd name="T60" fmla="*/ 48 w 78"/>
                  <a:gd name="T61" fmla="*/ 63 h 87"/>
                  <a:gd name="T62" fmla="*/ 24 w 78"/>
                  <a:gd name="T63" fmla="*/ 71 h 87"/>
                  <a:gd name="T64" fmla="*/ 48 w 78"/>
                  <a:gd name="T65" fmla="*/ 71 h 87"/>
                  <a:gd name="T66" fmla="*/ 51 w 78"/>
                  <a:gd name="T67" fmla="*/ 69 h 87"/>
                  <a:gd name="T68" fmla="*/ 77 w 78"/>
                  <a:gd name="T69" fmla="*/ 87 h 87"/>
                  <a:gd name="T70" fmla="*/ 78 w 78"/>
                  <a:gd name="T71" fmla="*/ 86 h 87"/>
                  <a:gd name="T72" fmla="*/ 55 w 78"/>
                  <a:gd name="T73" fmla="*/ 64 h 87"/>
                  <a:gd name="T74" fmla="*/ 15 w 78"/>
                  <a:gd name="T75" fmla="*/ 64 h 87"/>
                  <a:gd name="T76" fmla="*/ 15 w 78"/>
                  <a:gd name="T77" fmla="*/ 65 h 87"/>
                  <a:gd name="T78" fmla="*/ 11 w 78"/>
                  <a:gd name="T79" fmla="*/ 63 h 87"/>
                  <a:gd name="T80" fmla="*/ 12 w 78"/>
                  <a:gd name="T81" fmla="*/ 60 h 87"/>
                  <a:gd name="T82" fmla="*/ 15 w 78"/>
                  <a:gd name="T83" fmla="*/ 57 h 87"/>
                  <a:gd name="T84" fmla="*/ 17 w 78"/>
                  <a:gd name="T85" fmla="*/ 58 h 87"/>
                  <a:gd name="T86" fmla="*/ 15 w 78"/>
                  <a:gd name="T87" fmla="*/ 64 h 87"/>
                  <a:gd name="T88" fmla="*/ 32 w 78"/>
                  <a:gd name="T89" fmla="*/ 46 h 87"/>
                  <a:gd name="T90" fmla="*/ 44 w 78"/>
                  <a:gd name="T91" fmla="*/ 34 h 87"/>
                  <a:gd name="T92" fmla="*/ 52 w 78"/>
                  <a:gd name="T93" fmla="*/ 35 h 87"/>
                  <a:gd name="T94" fmla="*/ 46 w 78"/>
                  <a:gd name="T95" fmla="*/ 50 h 87"/>
                  <a:gd name="T96" fmla="*/ 48 w 78"/>
                  <a:gd name="T97" fmla="*/ 52 h 87"/>
                  <a:gd name="T98" fmla="*/ 56 w 78"/>
                  <a:gd name="T99" fmla="*/ 50 h 87"/>
                  <a:gd name="T100" fmla="*/ 52 w 78"/>
                  <a:gd name="T101" fmla="*/ 61 h 87"/>
                  <a:gd name="T102" fmla="*/ 32 w 78"/>
                  <a:gd name="T103" fmla="*/ 46 h 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78" h="87">
                    <a:moveTo>
                      <a:pt x="55" y="64"/>
                    </a:moveTo>
                    <a:cubicBezTo>
                      <a:pt x="58" y="60"/>
                      <a:pt x="60" y="55"/>
                      <a:pt x="62" y="50"/>
                    </a:cubicBezTo>
                    <a:cubicBezTo>
                      <a:pt x="61" y="47"/>
                      <a:pt x="58" y="44"/>
                      <a:pt x="54" y="43"/>
                    </a:cubicBezTo>
                    <a:cubicBezTo>
                      <a:pt x="57" y="36"/>
                      <a:pt x="64" y="33"/>
                      <a:pt x="69" y="29"/>
                    </a:cubicBezTo>
                    <a:cubicBezTo>
                      <a:pt x="69" y="25"/>
                      <a:pt x="67" y="24"/>
                      <a:pt x="67" y="21"/>
                    </a:cubicBezTo>
                    <a:cubicBezTo>
                      <a:pt x="68" y="18"/>
                      <a:pt x="69" y="15"/>
                      <a:pt x="70" y="11"/>
                    </a:cubicBezTo>
                    <a:cubicBezTo>
                      <a:pt x="70" y="9"/>
                      <a:pt x="69" y="6"/>
                      <a:pt x="69" y="3"/>
                    </a:cubicBezTo>
                    <a:cubicBezTo>
                      <a:pt x="68" y="2"/>
                      <a:pt x="67" y="1"/>
                      <a:pt x="64" y="0"/>
                    </a:cubicBezTo>
                    <a:cubicBezTo>
                      <a:pt x="64" y="0"/>
                      <a:pt x="63" y="0"/>
                      <a:pt x="63" y="0"/>
                    </a:cubicBezTo>
                    <a:cubicBezTo>
                      <a:pt x="61" y="5"/>
                      <a:pt x="63" y="8"/>
                      <a:pt x="63" y="12"/>
                    </a:cubicBezTo>
                    <a:cubicBezTo>
                      <a:pt x="63" y="24"/>
                      <a:pt x="52" y="26"/>
                      <a:pt x="42" y="25"/>
                    </a:cubicBezTo>
                    <a:cubicBezTo>
                      <a:pt x="41" y="28"/>
                      <a:pt x="41" y="31"/>
                      <a:pt x="42" y="33"/>
                    </a:cubicBezTo>
                    <a:cubicBezTo>
                      <a:pt x="39" y="34"/>
                      <a:pt x="36" y="35"/>
                      <a:pt x="33" y="36"/>
                    </a:cubicBezTo>
                    <a:cubicBezTo>
                      <a:pt x="34" y="32"/>
                      <a:pt x="36" y="32"/>
                      <a:pt x="39" y="33"/>
                    </a:cubicBezTo>
                    <a:cubicBezTo>
                      <a:pt x="41" y="29"/>
                      <a:pt x="38" y="27"/>
                      <a:pt x="39" y="23"/>
                    </a:cubicBezTo>
                    <a:cubicBezTo>
                      <a:pt x="39" y="14"/>
                      <a:pt x="53" y="6"/>
                      <a:pt x="36" y="0"/>
                    </a:cubicBezTo>
                    <a:cubicBezTo>
                      <a:pt x="36" y="0"/>
                      <a:pt x="36" y="0"/>
                      <a:pt x="36" y="0"/>
                    </a:cubicBezTo>
                    <a:cubicBezTo>
                      <a:pt x="35" y="3"/>
                      <a:pt x="36" y="5"/>
                      <a:pt x="36" y="8"/>
                    </a:cubicBezTo>
                    <a:cubicBezTo>
                      <a:pt x="34" y="14"/>
                      <a:pt x="32" y="19"/>
                      <a:pt x="30" y="24"/>
                    </a:cubicBezTo>
                    <a:cubicBezTo>
                      <a:pt x="22" y="26"/>
                      <a:pt x="9" y="26"/>
                      <a:pt x="1" y="29"/>
                    </a:cubicBezTo>
                    <a:cubicBezTo>
                      <a:pt x="1" y="30"/>
                      <a:pt x="1" y="30"/>
                      <a:pt x="0" y="31"/>
                    </a:cubicBezTo>
                    <a:cubicBezTo>
                      <a:pt x="1" y="35"/>
                      <a:pt x="12" y="39"/>
                      <a:pt x="18" y="39"/>
                    </a:cubicBezTo>
                    <a:cubicBezTo>
                      <a:pt x="20" y="38"/>
                      <a:pt x="22" y="37"/>
                      <a:pt x="25" y="36"/>
                    </a:cubicBezTo>
                    <a:cubicBezTo>
                      <a:pt x="25" y="36"/>
                      <a:pt x="25" y="36"/>
                      <a:pt x="25" y="36"/>
                    </a:cubicBezTo>
                    <a:cubicBezTo>
                      <a:pt x="21" y="52"/>
                      <a:pt x="9" y="50"/>
                      <a:pt x="3" y="62"/>
                    </a:cubicBezTo>
                    <a:cubicBezTo>
                      <a:pt x="4" y="63"/>
                      <a:pt x="4" y="65"/>
                      <a:pt x="5" y="67"/>
                    </a:cubicBezTo>
                    <a:cubicBezTo>
                      <a:pt x="7" y="67"/>
                      <a:pt x="10" y="67"/>
                      <a:pt x="12" y="66"/>
                    </a:cubicBezTo>
                    <a:cubicBezTo>
                      <a:pt x="17" y="68"/>
                      <a:pt x="17" y="72"/>
                      <a:pt x="22" y="74"/>
                    </a:cubicBezTo>
                    <a:cubicBezTo>
                      <a:pt x="25" y="71"/>
                      <a:pt x="24" y="66"/>
                      <a:pt x="25" y="61"/>
                    </a:cubicBezTo>
                    <a:cubicBezTo>
                      <a:pt x="25" y="56"/>
                      <a:pt x="28" y="52"/>
                      <a:pt x="30" y="49"/>
                    </a:cubicBezTo>
                    <a:cubicBezTo>
                      <a:pt x="40" y="53"/>
                      <a:pt x="42" y="58"/>
                      <a:pt x="48" y="63"/>
                    </a:cubicBezTo>
                    <a:cubicBezTo>
                      <a:pt x="44" y="74"/>
                      <a:pt x="29" y="63"/>
                      <a:pt x="24" y="71"/>
                    </a:cubicBezTo>
                    <a:cubicBezTo>
                      <a:pt x="39" y="78"/>
                      <a:pt x="36" y="74"/>
                      <a:pt x="48" y="71"/>
                    </a:cubicBezTo>
                    <a:cubicBezTo>
                      <a:pt x="49" y="70"/>
                      <a:pt x="50" y="70"/>
                      <a:pt x="51" y="69"/>
                    </a:cubicBezTo>
                    <a:cubicBezTo>
                      <a:pt x="58" y="79"/>
                      <a:pt x="58" y="87"/>
                      <a:pt x="77" y="87"/>
                    </a:cubicBezTo>
                    <a:cubicBezTo>
                      <a:pt x="77" y="87"/>
                      <a:pt x="78" y="86"/>
                      <a:pt x="78" y="86"/>
                    </a:cubicBezTo>
                    <a:cubicBezTo>
                      <a:pt x="74" y="76"/>
                      <a:pt x="60" y="73"/>
                      <a:pt x="55" y="64"/>
                    </a:cubicBezTo>
                    <a:close/>
                    <a:moveTo>
                      <a:pt x="15" y="64"/>
                    </a:moveTo>
                    <a:cubicBezTo>
                      <a:pt x="15" y="65"/>
                      <a:pt x="15" y="65"/>
                      <a:pt x="15" y="65"/>
                    </a:cubicBezTo>
                    <a:cubicBezTo>
                      <a:pt x="14" y="64"/>
                      <a:pt x="13" y="64"/>
                      <a:pt x="11" y="63"/>
                    </a:cubicBezTo>
                    <a:cubicBezTo>
                      <a:pt x="11" y="62"/>
                      <a:pt x="12" y="61"/>
                      <a:pt x="12" y="60"/>
                    </a:cubicBezTo>
                    <a:cubicBezTo>
                      <a:pt x="13" y="59"/>
                      <a:pt x="14" y="58"/>
                      <a:pt x="15" y="57"/>
                    </a:cubicBezTo>
                    <a:cubicBezTo>
                      <a:pt x="16" y="57"/>
                      <a:pt x="16" y="58"/>
                      <a:pt x="17" y="58"/>
                    </a:cubicBezTo>
                    <a:cubicBezTo>
                      <a:pt x="16" y="60"/>
                      <a:pt x="16" y="62"/>
                      <a:pt x="15" y="64"/>
                    </a:cubicBezTo>
                    <a:close/>
                    <a:moveTo>
                      <a:pt x="32" y="46"/>
                    </a:moveTo>
                    <a:cubicBezTo>
                      <a:pt x="35" y="43"/>
                      <a:pt x="44" y="37"/>
                      <a:pt x="44" y="34"/>
                    </a:cubicBezTo>
                    <a:cubicBezTo>
                      <a:pt x="47" y="34"/>
                      <a:pt x="49" y="35"/>
                      <a:pt x="52" y="35"/>
                    </a:cubicBezTo>
                    <a:cubicBezTo>
                      <a:pt x="50" y="40"/>
                      <a:pt x="45" y="44"/>
                      <a:pt x="46" y="50"/>
                    </a:cubicBezTo>
                    <a:cubicBezTo>
                      <a:pt x="46" y="51"/>
                      <a:pt x="47" y="51"/>
                      <a:pt x="48" y="52"/>
                    </a:cubicBezTo>
                    <a:cubicBezTo>
                      <a:pt x="50" y="51"/>
                      <a:pt x="53" y="49"/>
                      <a:pt x="56" y="50"/>
                    </a:cubicBezTo>
                    <a:cubicBezTo>
                      <a:pt x="55" y="54"/>
                      <a:pt x="53" y="57"/>
                      <a:pt x="52" y="61"/>
                    </a:cubicBezTo>
                    <a:cubicBezTo>
                      <a:pt x="45" y="56"/>
                      <a:pt x="44" y="49"/>
                      <a:pt x="32" y="4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65" name="ï$ľíḍe"/>
              <p:cNvSpPr/>
              <p:nvPr/>
            </p:nvSpPr>
            <p:spPr bwMode="auto">
              <a:xfrm>
                <a:off x="2255734" y="4491628"/>
                <a:ext cx="136525" cy="174625"/>
              </a:xfrm>
              <a:custGeom>
                <a:avLst/>
                <a:gdLst>
                  <a:gd name="T0" fmla="*/ 74 w 74"/>
                  <a:gd name="T1" fmla="*/ 41 h 94"/>
                  <a:gd name="T2" fmla="*/ 64 w 74"/>
                  <a:gd name="T3" fmla="*/ 35 h 94"/>
                  <a:gd name="T4" fmla="*/ 51 w 74"/>
                  <a:gd name="T5" fmla="*/ 5 h 94"/>
                  <a:gd name="T6" fmla="*/ 58 w 74"/>
                  <a:gd name="T7" fmla="*/ 39 h 94"/>
                  <a:gd name="T8" fmla="*/ 47 w 74"/>
                  <a:gd name="T9" fmla="*/ 47 h 94"/>
                  <a:gd name="T10" fmla="*/ 55 w 74"/>
                  <a:gd name="T11" fmla="*/ 34 h 94"/>
                  <a:gd name="T12" fmla="*/ 47 w 74"/>
                  <a:gd name="T13" fmla="*/ 29 h 94"/>
                  <a:gd name="T14" fmla="*/ 54 w 74"/>
                  <a:gd name="T15" fmla="*/ 22 h 94"/>
                  <a:gd name="T16" fmla="*/ 54 w 74"/>
                  <a:gd name="T17" fmla="*/ 20 h 94"/>
                  <a:gd name="T18" fmla="*/ 54 w 74"/>
                  <a:gd name="T19" fmla="*/ 19 h 94"/>
                  <a:gd name="T20" fmla="*/ 41 w 74"/>
                  <a:gd name="T21" fmla="*/ 19 h 94"/>
                  <a:gd name="T22" fmla="*/ 44 w 74"/>
                  <a:gd name="T23" fmla="*/ 22 h 94"/>
                  <a:gd name="T24" fmla="*/ 44 w 74"/>
                  <a:gd name="T25" fmla="*/ 32 h 94"/>
                  <a:gd name="T26" fmla="*/ 48 w 74"/>
                  <a:gd name="T27" fmla="*/ 37 h 94"/>
                  <a:gd name="T28" fmla="*/ 40 w 74"/>
                  <a:gd name="T29" fmla="*/ 58 h 94"/>
                  <a:gd name="T30" fmla="*/ 44 w 74"/>
                  <a:gd name="T31" fmla="*/ 61 h 94"/>
                  <a:gd name="T32" fmla="*/ 59 w 74"/>
                  <a:gd name="T33" fmla="*/ 46 h 94"/>
                  <a:gd name="T34" fmla="*/ 59 w 74"/>
                  <a:gd name="T35" fmla="*/ 46 h 94"/>
                  <a:gd name="T36" fmla="*/ 66 w 74"/>
                  <a:gd name="T37" fmla="*/ 93 h 94"/>
                  <a:gd name="T38" fmla="*/ 68 w 74"/>
                  <a:gd name="T39" fmla="*/ 93 h 94"/>
                  <a:gd name="T40" fmla="*/ 65 w 74"/>
                  <a:gd name="T41" fmla="*/ 42 h 94"/>
                  <a:gd name="T42" fmla="*/ 73 w 74"/>
                  <a:gd name="T43" fmla="*/ 41 h 94"/>
                  <a:gd name="T44" fmla="*/ 74 w 74"/>
                  <a:gd name="T45" fmla="*/ 41 h 94"/>
                  <a:gd name="T46" fmla="*/ 43 w 74"/>
                  <a:gd name="T47" fmla="*/ 42 h 94"/>
                  <a:gd name="T48" fmla="*/ 35 w 74"/>
                  <a:gd name="T49" fmla="*/ 48 h 94"/>
                  <a:gd name="T50" fmla="*/ 39 w 74"/>
                  <a:gd name="T51" fmla="*/ 38 h 94"/>
                  <a:gd name="T52" fmla="*/ 37 w 74"/>
                  <a:gd name="T53" fmla="*/ 29 h 94"/>
                  <a:gd name="T54" fmla="*/ 40 w 74"/>
                  <a:gd name="T55" fmla="*/ 27 h 94"/>
                  <a:gd name="T56" fmla="*/ 34 w 74"/>
                  <a:gd name="T57" fmla="*/ 16 h 94"/>
                  <a:gd name="T58" fmla="*/ 32 w 74"/>
                  <a:gd name="T59" fmla="*/ 15 h 94"/>
                  <a:gd name="T60" fmla="*/ 4 w 74"/>
                  <a:gd name="T61" fmla="*/ 46 h 94"/>
                  <a:gd name="T62" fmla="*/ 30 w 74"/>
                  <a:gd name="T63" fmla="*/ 29 h 94"/>
                  <a:gd name="T64" fmla="*/ 8 w 74"/>
                  <a:gd name="T65" fmla="*/ 52 h 94"/>
                  <a:gd name="T66" fmla="*/ 0 w 74"/>
                  <a:gd name="T67" fmla="*/ 56 h 94"/>
                  <a:gd name="T68" fmla="*/ 3 w 74"/>
                  <a:gd name="T69" fmla="*/ 61 h 94"/>
                  <a:gd name="T70" fmla="*/ 23 w 74"/>
                  <a:gd name="T71" fmla="*/ 54 h 94"/>
                  <a:gd name="T72" fmla="*/ 25 w 74"/>
                  <a:gd name="T73" fmla="*/ 53 h 94"/>
                  <a:gd name="T74" fmla="*/ 25 w 74"/>
                  <a:gd name="T75" fmla="*/ 53 h 94"/>
                  <a:gd name="T76" fmla="*/ 20 w 74"/>
                  <a:gd name="T77" fmla="*/ 72 h 94"/>
                  <a:gd name="T78" fmla="*/ 25 w 74"/>
                  <a:gd name="T79" fmla="*/ 76 h 94"/>
                  <a:gd name="T80" fmla="*/ 26 w 74"/>
                  <a:gd name="T81" fmla="*/ 76 h 94"/>
                  <a:gd name="T82" fmla="*/ 30 w 74"/>
                  <a:gd name="T83" fmla="*/ 67 h 94"/>
                  <a:gd name="T84" fmla="*/ 31 w 74"/>
                  <a:gd name="T85" fmla="*/ 66 h 94"/>
                  <a:gd name="T86" fmla="*/ 32 w 74"/>
                  <a:gd name="T87" fmla="*/ 75 h 94"/>
                  <a:gd name="T88" fmla="*/ 35 w 74"/>
                  <a:gd name="T89" fmla="*/ 76 h 94"/>
                  <a:gd name="T90" fmla="*/ 38 w 74"/>
                  <a:gd name="T91" fmla="*/ 76 h 94"/>
                  <a:gd name="T92" fmla="*/ 35 w 74"/>
                  <a:gd name="T93" fmla="*/ 61 h 94"/>
                  <a:gd name="T94" fmla="*/ 43 w 74"/>
                  <a:gd name="T95" fmla="*/ 42 h 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74" h="94">
                    <a:moveTo>
                      <a:pt x="74" y="41"/>
                    </a:moveTo>
                    <a:cubicBezTo>
                      <a:pt x="73" y="36"/>
                      <a:pt x="70" y="34"/>
                      <a:pt x="64" y="35"/>
                    </a:cubicBezTo>
                    <a:cubicBezTo>
                      <a:pt x="63" y="24"/>
                      <a:pt x="67" y="0"/>
                      <a:pt x="51" y="5"/>
                    </a:cubicBezTo>
                    <a:cubicBezTo>
                      <a:pt x="50" y="9"/>
                      <a:pt x="61" y="31"/>
                      <a:pt x="58" y="39"/>
                    </a:cubicBezTo>
                    <a:cubicBezTo>
                      <a:pt x="58" y="39"/>
                      <a:pt x="47" y="47"/>
                      <a:pt x="47" y="47"/>
                    </a:cubicBezTo>
                    <a:cubicBezTo>
                      <a:pt x="48" y="41"/>
                      <a:pt x="53" y="39"/>
                      <a:pt x="55" y="34"/>
                    </a:cubicBezTo>
                    <a:cubicBezTo>
                      <a:pt x="56" y="30"/>
                      <a:pt x="49" y="31"/>
                      <a:pt x="47" y="29"/>
                    </a:cubicBezTo>
                    <a:cubicBezTo>
                      <a:pt x="48" y="26"/>
                      <a:pt x="51" y="23"/>
                      <a:pt x="54" y="22"/>
                    </a:cubicBezTo>
                    <a:cubicBezTo>
                      <a:pt x="54" y="21"/>
                      <a:pt x="54" y="21"/>
                      <a:pt x="54" y="20"/>
                    </a:cubicBezTo>
                    <a:cubicBezTo>
                      <a:pt x="54" y="20"/>
                      <a:pt x="54" y="19"/>
                      <a:pt x="54" y="19"/>
                    </a:cubicBezTo>
                    <a:cubicBezTo>
                      <a:pt x="50" y="17"/>
                      <a:pt x="45" y="17"/>
                      <a:pt x="41" y="19"/>
                    </a:cubicBezTo>
                    <a:cubicBezTo>
                      <a:pt x="41" y="22"/>
                      <a:pt x="42" y="22"/>
                      <a:pt x="44" y="22"/>
                    </a:cubicBezTo>
                    <a:cubicBezTo>
                      <a:pt x="44" y="26"/>
                      <a:pt x="44" y="29"/>
                      <a:pt x="44" y="32"/>
                    </a:cubicBezTo>
                    <a:cubicBezTo>
                      <a:pt x="45" y="34"/>
                      <a:pt x="47" y="35"/>
                      <a:pt x="48" y="37"/>
                    </a:cubicBezTo>
                    <a:cubicBezTo>
                      <a:pt x="46" y="41"/>
                      <a:pt x="35" y="51"/>
                      <a:pt x="40" y="58"/>
                    </a:cubicBezTo>
                    <a:cubicBezTo>
                      <a:pt x="41" y="60"/>
                      <a:pt x="42" y="60"/>
                      <a:pt x="44" y="61"/>
                    </a:cubicBezTo>
                    <a:cubicBezTo>
                      <a:pt x="49" y="55"/>
                      <a:pt x="51" y="50"/>
                      <a:pt x="59" y="46"/>
                    </a:cubicBezTo>
                    <a:cubicBezTo>
                      <a:pt x="59" y="46"/>
                      <a:pt x="59" y="46"/>
                      <a:pt x="59" y="46"/>
                    </a:cubicBezTo>
                    <a:cubicBezTo>
                      <a:pt x="61" y="60"/>
                      <a:pt x="59" y="83"/>
                      <a:pt x="66" y="93"/>
                    </a:cubicBezTo>
                    <a:cubicBezTo>
                      <a:pt x="67" y="94"/>
                      <a:pt x="67" y="93"/>
                      <a:pt x="68" y="93"/>
                    </a:cubicBezTo>
                    <a:cubicBezTo>
                      <a:pt x="68" y="78"/>
                      <a:pt x="67" y="60"/>
                      <a:pt x="65" y="42"/>
                    </a:cubicBezTo>
                    <a:cubicBezTo>
                      <a:pt x="68" y="42"/>
                      <a:pt x="72" y="42"/>
                      <a:pt x="73" y="41"/>
                    </a:cubicBezTo>
                    <a:cubicBezTo>
                      <a:pt x="74" y="41"/>
                      <a:pt x="74" y="41"/>
                      <a:pt x="74" y="41"/>
                    </a:cubicBezTo>
                    <a:close/>
                    <a:moveTo>
                      <a:pt x="43" y="42"/>
                    </a:moveTo>
                    <a:cubicBezTo>
                      <a:pt x="39" y="44"/>
                      <a:pt x="38" y="46"/>
                      <a:pt x="35" y="48"/>
                    </a:cubicBezTo>
                    <a:cubicBezTo>
                      <a:pt x="35" y="42"/>
                      <a:pt x="39" y="42"/>
                      <a:pt x="39" y="38"/>
                    </a:cubicBezTo>
                    <a:cubicBezTo>
                      <a:pt x="40" y="35"/>
                      <a:pt x="37" y="33"/>
                      <a:pt x="37" y="29"/>
                    </a:cubicBezTo>
                    <a:cubicBezTo>
                      <a:pt x="38" y="28"/>
                      <a:pt x="39" y="28"/>
                      <a:pt x="40" y="27"/>
                    </a:cubicBezTo>
                    <a:cubicBezTo>
                      <a:pt x="41" y="24"/>
                      <a:pt x="36" y="16"/>
                      <a:pt x="34" y="16"/>
                    </a:cubicBezTo>
                    <a:cubicBezTo>
                      <a:pt x="33" y="16"/>
                      <a:pt x="32" y="15"/>
                      <a:pt x="32" y="15"/>
                    </a:cubicBezTo>
                    <a:cubicBezTo>
                      <a:pt x="22" y="28"/>
                      <a:pt x="10" y="30"/>
                      <a:pt x="4" y="46"/>
                    </a:cubicBezTo>
                    <a:cubicBezTo>
                      <a:pt x="13" y="41"/>
                      <a:pt x="17" y="31"/>
                      <a:pt x="30" y="29"/>
                    </a:cubicBezTo>
                    <a:cubicBezTo>
                      <a:pt x="29" y="39"/>
                      <a:pt x="16" y="48"/>
                      <a:pt x="8" y="52"/>
                    </a:cubicBezTo>
                    <a:cubicBezTo>
                      <a:pt x="4" y="54"/>
                      <a:pt x="2" y="52"/>
                      <a:pt x="0" y="56"/>
                    </a:cubicBezTo>
                    <a:cubicBezTo>
                      <a:pt x="0" y="59"/>
                      <a:pt x="1" y="60"/>
                      <a:pt x="3" y="61"/>
                    </a:cubicBezTo>
                    <a:cubicBezTo>
                      <a:pt x="10" y="63"/>
                      <a:pt x="22" y="58"/>
                      <a:pt x="23" y="54"/>
                    </a:cubicBezTo>
                    <a:cubicBezTo>
                      <a:pt x="24" y="54"/>
                      <a:pt x="24" y="53"/>
                      <a:pt x="25" y="53"/>
                    </a:cubicBezTo>
                    <a:cubicBezTo>
                      <a:pt x="25" y="53"/>
                      <a:pt x="25" y="53"/>
                      <a:pt x="25" y="53"/>
                    </a:cubicBezTo>
                    <a:cubicBezTo>
                      <a:pt x="23" y="59"/>
                      <a:pt x="22" y="66"/>
                      <a:pt x="20" y="72"/>
                    </a:cubicBezTo>
                    <a:cubicBezTo>
                      <a:pt x="21" y="74"/>
                      <a:pt x="23" y="75"/>
                      <a:pt x="25" y="76"/>
                    </a:cubicBezTo>
                    <a:cubicBezTo>
                      <a:pt x="25" y="76"/>
                      <a:pt x="26" y="76"/>
                      <a:pt x="26" y="76"/>
                    </a:cubicBezTo>
                    <a:cubicBezTo>
                      <a:pt x="28" y="73"/>
                      <a:pt x="29" y="70"/>
                      <a:pt x="30" y="67"/>
                    </a:cubicBezTo>
                    <a:cubicBezTo>
                      <a:pt x="31" y="67"/>
                      <a:pt x="31" y="67"/>
                      <a:pt x="31" y="66"/>
                    </a:cubicBezTo>
                    <a:cubicBezTo>
                      <a:pt x="32" y="69"/>
                      <a:pt x="32" y="72"/>
                      <a:pt x="32" y="75"/>
                    </a:cubicBezTo>
                    <a:cubicBezTo>
                      <a:pt x="33" y="75"/>
                      <a:pt x="34" y="76"/>
                      <a:pt x="35" y="76"/>
                    </a:cubicBezTo>
                    <a:cubicBezTo>
                      <a:pt x="36" y="76"/>
                      <a:pt x="37" y="76"/>
                      <a:pt x="38" y="76"/>
                    </a:cubicBezTo>
                    <a:cubicBezTo>
                      <a:pt x="37" y="71"/>
                      <a:pt x="36" y="66"/>
                      <a:pt x="35" y="61"/>
                    </a:cubicBezTo>
                    <a:cubicBezTo>
                      <a:pt x="38" y="54"/>
                      <a:pt x="40" y="48"/>
                      <a:pt x="43" y="4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66" name="î$ḻîḑe"/>
              <p:cNvSpPr/>
              <p:nvPr/>
            </p:nvSpPr>
            <p:spPr bwMode="auto">
              <a:xfrm>
                <a:off x="2055709" y="4566240"/>
                <a:ext cx="136525" cy="150813"/>
              </a:xfrm>
              <a:custGeom>
                <a:avLst/>
                <a:gdLst>
                  <a:gd name="T0" fmla="*/ 55 w 74"/>
                  <a:gd name="T1" fmla="*/ 53 h 82"/>
                  <a:gd name="T2" fmla="*/ 54 w 74"/>
                  <a:gd name="T3" fmla="*/ 51 h 82"/>
                  <a:gd name="T4" fmla="*/ 57 w 74"/>
                  <a:gd name="T5" fmla="*/ 49 h 82"/>
                  <a:gd name="T6" fmla="*/ 56 w 74"/>
                  <a:gd name="T7" fmla="*/ 45 h 82"/>
                  <a:gd name="T8" fmla="*/ 52 w 74"/>
                  <a:gd name="T9" fmla="*/ 45 h 82"/>
                  <a:gd name="T10" fmla="*/ 51 w 74"/>
                  <a:gd name="T11" fmla="*/ 44 h 82"/>
                  <a:gd name="T12" fmla="*/ 60 w 74"/>
                  <a:gd name="T13" fmla="*/ 32 h 82"/>
                  <a:gd name="T14" fmla="*/ 60 w 74"/>
                  <a:gd name="T15" fmla="*/ 30 h 82"/>
                  <a:gd name="T16" fmla="*/ 34 w 74"/>
                  <a:gd name="T17" fmla="*/ 38 h 82"/>
                  <a:gd name="T18" fmla="*/ 33 w 74"/>
                  <a:gd name="T19" fmla="*/ 38 h 82"/>
                  <a:gd name="T20" fmla="*/ 60 w 74"/>
                  <a:gd name="T21" fmla="*/ 16 h 82"/>
                  <a:gd name="T22" fmla="*/ 61 w 74"/>
                  <a:gd name="T23" fmla="*/ 10 h 82"/>
                  <a:gd name="T24" fmla="*/ 42 w 74"/>
                  <a:gd name="T25" fmla="*/ 11 h 82"/>
                  <a:gd name="T26" fmla="*/ 27 w 74"/>
                  <a:gd name="T27" fmla="*/ 0 h 82"/>
                  <a:gd name="T28" fmla="*/ 24 w 74"/>
                  <a:gd name="T29" fmla="*/ 0 h 82"/>
                  <a:gd name="T30" fmla="*/ 29 w 74"/>
                  <a:gd name="T31" fmla="*/ 21 h 82"/>
                  <a:gd name="T32" fmla="*/ 11 w 74"/>
                  <a:gd name="T33" fmla="*/ 39 h 82"/>
                  <a:gd name="T34" fmla="*/ 1 w 74"/>
                  <a:gd name="T35" fmla="*/ 44 h 82"/>
                  <a:gd name="T36" fmla="*/ 0 w 74"/>
                  <a:gd name="T37" fmla="*/ 47 h 82"/>
                  <a:gd name="T38" fmla="*/ 35 w 74"/>
                  <a:gd name="T39" fmla="*/ 26 h 82"/>
                  <a:gd name="T40" fmla="*/ 35 w 74"/>
                  <a:gd name="T41" fmla="*/ 26 h 82"/>
                  <a:gd name="T42" fmla="*/ 30 w 74"/>
                  <a:gd name="T43" fmla="*/ 48 h 82"/>
                  <a:gd name="T44" fmla="*/ 40 w 74"/>
                  <a:gd name="T45" fmla="*/ 57 h 82"/>
                  <a:gd name="T46" fmla="*/ 35 w 74"/>
                  <a:gd name="T47" fmla="*/ 78 h 82"/>
                  <a:gd name="T48" fmla="*/ 45 w 74"/>
                  <a:gd name="T49" fmla="*/ 82 h 82"/>
                  <a:gd name="T50" fmla="*/ 47 w 74"/>
                  <a:gd name="T51" fmla="*/ 80 h 82"/>
                  <a:gd name="T52" fmla="*/ 46 w 74"/>
                  <a:gd name="T53" fmla="*/ 67 h 82"/>
                  <a:gd name="T54" fmla="*/ 47 w 74"/>
                  <a:gd name="T55" fmla="*/ 66 h 82"/>
                  <a:gd name="T56" fmla="*/ 50 w 74"/>
                  <a:gd name="T57" fmla="*/ 73 h 82"/>
                  <a:gd name="T58" fmla="*/ 58 w 74"/>
                  <a:gd name="T59" fmla="*/ 79 h 82"/>
                  <a:gd name="T60" fmla="*/ 59 w 74"/>
                  <a:gd name="T61" fmla="*/ 79 h 82"/>
                  <a:gd name="T62" fmla="*/ 53 w 74"/>
                  <a:gd name="T63" fmla="*/ 57 h 82"/>
                  <a:gd name="T64" fmla="*/ 56 w 74"/>
                  <a:gd name="T65" fmla="*/ 55 h 82"/>
                  <a:gd name="T66" fmla="*/ 56 w 74"/>
                  <a:gd name="T67" fmla="*/ 55 h 82"/>
                  <a:gd name="T68" fmla="*/ 69 w 74"/>
                  <a:gd name="T69" fmla="*/ 69 h 82"/>
                  <a:gd name="T70" fmla="*/ 74 w 74"/>
                  <a:gd name="T71" fmla="*/ 64 h 82"/>
                  <a:gd name="T72" fmla="*/ 55 w 74"/>
                  <a:gd name="T73" fmla="*/ 53 h 82"/>
                  <a:gd name="T74" fmla="*/ 40 w 74"/>
                  <a:gd name="T75" fmla="*/ 46 h 82"/>
                  <a:gd name="T76" fmla="*/ 39 w 74"/>
                  <a:gd name="T77" fmla="*/ 46 h 82"/>
                  <a:gd name="T78" fmla="*/ 38 w 74"/>
                  <a:gd name="T79" fmla="*/ 46 h 82"/>
                  <a:gd name="T80" fmla="*/ 37 w 74"/>
                  <a:gd name="T81" fmla="*/ 44 h 82"/>
                  <a:gd name="T82" fmla="*/ 44 w 74"/>
                  <a:gd name="T83" fmla="*/ 36 h 82"/>
                  <a:gd name="T84" fmla="*/ 46 w 74"/>
                  <a:gd name="T85" fmla="*/ 35 h 82"/>
                  <a:gd name="T86" fmla="*/ 46 w 74"/>
                  <a:gd name="T87" fmla="*/ 35 h 82"/>
                  <a:gd name="T88" fmla="*/ 40 w 74"/>
                  <a:gd name="T89" fmla="*/ 46 h 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74" h="82">
                    <a:moveTo>
                      <a:pt x="55" y="53"/>
                    </a:moveTo>
                    <a:cubicBezTo>
                      <a:pt x="55" y="53"/>
                      <a:pt x="54" y="52"/>
                      <a:pt x="54" y="51"/>
                    </a:cubicBezTo>
                    <a:cubicBezTo>
                      <a:pt x="55" y="51"/>
                      <a:pt x="56" y="50"/>
                      <a:pt x="57" y="49"/>
                    </a:cubicBezTo>
                    <a:cubicBezTo>
                      <a:pt x="57" y="48"/>
                      <a:pt x="56" y="47"/>
                      <a:pt x="56" y="45"/>
                    </a:cubicBezTo>
                    <a:cubicBezTo>
                      <a:pt x="54" y="45"/>
                      <a:pt x="53" y="45"/>
                      <a:pt x="52" y="45"/>
                    </a:cubicBezTo>
                    <a:cubicBezTo>
                      <a:pt x="51" y="45"/>
                      <a:pt x="51" y="44"/>
                      <a:pt x="51" y="44"/>
                    </a:cubicBezTo>
                    <a:cubicBezTo>
                      <a:pt x="53" y="40"/>
                      <a:pt x="59" y="36"/>
                      <a:pt x="60" y="32"/>
                    </a:cubicBezTo>
                    <a:cubicBezTo>
                      <a:pt x="60" y="31"/>
                      <a:pt x="60" y="31"/>
                      <a:pt x="60" y="30"/>
                    </a:cubicBezTo>
                    <a:cubicBezTo>
                      <a:pt x="50" y="21"/>
                      <a:pt x="41" y="31"/>
                      <a:pt x="34" y="38"/>
                    </a:cubicBezTo>
                    <a:cubicBezTo>
                      <a:pt x="33" y="38"/>
                      <a:pt x="33" y="38"/>
                      <a:pt x="33" y="38"/>
                    </a:cubicBezTo>
                    <a:cubicBezTo>
                      <a:pt x="34" y="30"/>
                      <a:pt x="48" y="16"/>
                      <a:pt x="60" y="16"/>
                    </a:cubicBezTo>
                    <a:cubicBezTo>
                      <a:pt x="61" y="14"/>
                      <a:pt x="61" y="12"/>
                      <a:pt x="61" y="10"/>
                    </a:cubicBezTo>
                    <a:cubicBezTo>
                      <a:pt x="50" y="3"/>
                      <a:pt x="52" y="11"/>
                      <a:pt x="42" y="11"/>
                    </a:cubicBezTo>
                    <a:cubicBezTo>
                      <a:pt x="38" y="10"/>
                      <a:pt x="32" y="1"/>
                      <a:pt x="27" y="0"/>
                    </a:cubicBezTo>
                    <a:cubicBezTo>
                      <a:pt x="26" y="0"/>
                      <a:pt x="25" y="0"/>
                      <a:pt x="24" y="0"/>
                    </a:cubicBezTo>
                    <a:cubicBezTo>
                      <a:pt x="21" y="5"/>
                      <a:pt x="30" y="14"/>
                      <a:pt x="29" y="21"/>
                    </a:cubicBezTo>
                    <a:cubicBezTo>
                      <a:pt x="19" y="27"/>
                      <a:pt x="17" y="33"/>
                      <a:pt x="11" y="39"/>
                    </a:cubicBezTo>
                    <a:cubicBezTo>
                      <a:pt x="8" y="42"/>
                      <a:pt x="4" y="42"/>
                      <a:pt x="1" y="44"/>
                    </a:cubicBezTo>
                    <a:cubicBezTo>
                      <a:pt x="1" y="45"/>
                      <a:pt x="0" y="46"/>
                      <a:pt x="0" y="47"/>
                    </a:cubicBezTo>
                    <a:cubicBezTo>
                      <a:pt x="11" y="69"/>
                      <a:pt x="23" y="30"/>
                      <a:pt x="35" y="26"/>
                    </a:cubicBezTo>
                    <a:cubicBezTo>
                      <a:pt x="35" y="26"/>
                      <a:pt x="35" y="26"/>
                      <a:pt x="35" y="26"/>
                    </a:cubicBezTo>
                    <a:cubicBezTo>
                      <a:pt x="33" y="33"/>
                      <a:pt x="28" y="39"/>
                      <a:pt x="30" y="48"/>
                    </a:cubicBezTo>
                    <a:cubicBezTo>
                      <a:pt x="30" y="51"/>
                      <a:pt x="37" y="56"/>
                      <a:pt x="40" y="57"/>
                    </a:cubicBezTo>
                    <a:cubicBezTo>
                      <a:pt x="37" y="64"/>
                      <a:pt x="32" y="69"/>
                      <a:pt x="35" y="78"/>
                    </a:cubicBezTo>
                    <a:cubicBezTo>
                      <a:pt x="39" y="79"/>
                      <a:pt x="42" y="80"/>
                      <a:pt x="45" y="82"/>
                    </a:cubicBezTo>
                    <a:cubicBezTo>
                      <a:pt x="46" y="81"/>
                      <a:pt x="46" y="81"/>
                      <a:pt x="47" y="80"/>
                    </a:cubicBezTo>
                    <a:cubicBezTo>
                      <a:pt x="49" y="77"/>
                      <a:pt x="45" y="70"/>
                      <a:pt x="46" y="67"/>
                    </a:cubicBezTo>
                    <a:cubicBezTo>
                      <a:pt x="46" y="66"/>
                      <a:pt x="46" y="66"/>
                      <a:pt x="47" y="66"/>
                    </a:cubicBezTo>
                    <a:cubicBezTo>
                      <a:pt x="48" y="67"/>
                      <a:pt x="49" y="71"/>
                      <a:pt x="50" y="73"/>
                    </a:cubicBezTo>
                    <a:cubicBezTo>
                      <a:pt x="52" y="76"/>
                      <a:pt x="55" y="77"/>
                      <a:pt x="58" y="79"/>
                    </a:cubicBezTo>
                    <a:cubicBezTo>
                      <a:pt x="58" y="79"/>
                      <a:pt x="58" y="79"/>
                      <a:pt x="59" y="79"/>
                    </a:cubicBezTo>
                    <a:cubicBezTo>
                      <a:pt x="60" y="72"/>
                      <a:pt x="53" y="64"/>
                      <a:pt x="53" y="57"/>
                    </a:cubicBezTo>
                    <a:cubicBezTo>
                      <a:pt x="54" y="56"/>
                      <a:pt x="55" y="56"/>
                      <a:pt x="56" y="55"/>
                    </a:cubicBezTo>
                    <a:cubicBezTo>
                      <a:pt x="56" y="55"/>
                      <a:pt x="56" y="55"/>
                      <a:pt x="56" y="55"/>
                    </a:cubicBezTo>
                    <a:cubicBezTo>
                      <a:pt x="63" y="60"/>
                      <a:pt x="59" y="67"/>
                      <a:pt x="69" y="69"/>
                    </a:cubicBezTo>
                    <a:cubicBezTo>
                      <a:pt x="71" y="67"/>
                      <a:pt x="72" y="66"/>
                      <a:pt x="74" y="64"/>
                    </a:cubicBezTo>
                    <a:cubicBezTo>
                      <a:pt x="71" y="56"/>
                      <a:pt x="63" y="51"/>
                      <a:pt x="55" y="53"/>
                    </a:cubicBezTo>
                    <a:close/>
                    <a:moveTo>
                      <a:pt x="40" y="46"/>
                    </a:moveTo>
                    <a:cubicBezTo>
                      <a:pt x="40" y="46"/>
                      <a:pt x="39" y="46"/>
                      <a:pt x="39" y="46"/>
                    </a:cubicBezTo>
                    <a:cubicBezTo>
                      <a:pt x="38" y="46"/>
                      <a:pt x="38" y="46"/>
                      <a:pt x="38" y="46"/>
                    </a:cubicBezTo>
                    <a:cubicBezTo>
                      <a:pt x="38" y="45"/>
                      <a:pt x="37" y="45"/>
                      <a:pt x="37" y="44"/>
                    </a:cubicBezTo>
                    <a:cubicBezTo>
                      <a:pt x="39" y="41"/>
                      <a:pt x="42" y="39"/>
                      <a:pt x="44" y="36"/>
                    </a:cubicBezTo>
                    <a:cubicBezTo>
                      <a:pt x="45" y="36"/>
                      <a:pt x="45" y="35"/>
                      <a:pt x="46" y="35"/>
                    </a:cubicBezTo>
                    <a:cubicBezTo>
                      <a:pt x="46" y="35"/>
                      <a:pt x="46" y="35"/>
                      <a:pt x="46" y="35"/>
                    </a:cubicBezTo>
                    <a:cubicBezTo>
                      <a:pt x="44" y="39"/>
                      <a:pt x="42" y="42"/>
                      <a:pt x="40" y="4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67" name="ïşḻíḍe"/>
              <p:cNvSpPr/>
              <p:nvPr/>
            </p:nvSpPr>
            <p:spPr bwMode="auto">
              <a:xfrm>
                <a:off x="1882672" y="4669428"/>
                <a:ext cx="160338" cy="169863"/>
              </a:xfrm>
              <a:custGeom>
                <a:avLst/>
                <a:gdLst>
                  <a:gd name="T0" fmla="*/ 29 w 87"/>
                  <a:gd name="T1" fmla="*/ 8 h 92"/>
                  <a:gd name="T2" fmla="*/ 52 w 87"/>
                  <a:gd name="T3" fmla="*/ 17 h 92"/>
                  <a:gd name="T4" fmla="*/ 61 w 87"/>
                  <a:gd name="T5" fmla="*/ 16 h 92"/>
                  <a:gd name="T6" fmla="*/ 62 w 87"/>
                  <a:gd name="T7" fmla="*/ 17 h 92"/>
                  <a:gd name="T8" fmla="*/ 69 w 87"/>
                  <a:gd name="T9" fmla="*/ 42 h 92"/>
                  <a:gd name="T10" fmla="*/ 86 w 87"/>
                  <a:gd name="T11" fmla="*/ 35 h 92"/>
                  <a:gd name="T12" fmla="*/ 87 w 87"/>
                  <a:gd name="T13" fmla="*/ 39 h 92"/>
                  <a:gd name="T14" fmla="*/ 76 w 87"/>
                  <a:gd name="T15" fmla="*/ 55 h 92"/>
                  <a:gd name="T16" fmla="*/ 67 w 87"/>
                  <a:gd name="T17" fmla="*/ 76 h 92"/>
                  <a:gd name="T18" fmla="*/ 65 w 87"/>
                  <a:gd name="T19" fmla="*/ 74 h 92"/>
                  <a:gd name="T20" fmla="*/ 69 w 87"/>
                  <a:gd name="T21" fmla="*/ 53 h 92"/>
                  <a:gd name="T22" fmla="*/ 55 w 87"/>
                  <a:gd name="T23" fmla="*/ 40 h 92"/>
                  <a:gd name="T24" fmla="*/ 45 w 87"/>
                  <a:gd name="T25" fmla="*/ 44 h 92"/>
                  <a:gd name="T26" fmla="*/ 46 w 87"/>
                  <a:gd name="T27" fmla="*/ 89 h 92"/>
                  <a:gd name="T28" fmla="*/ 38 w 87"/>
                  <a:gd name="T29" fmla="*/ 92 h 92"/>
                  <a:gd name="T30" fmla="*/ 27 w 87"/>
                  <a:gd name="T31" fmla="*/ 68 h 92"/>
                  <a:gd name="T32" fmla="*/ 14 w 87"/>
                  <a:gd name="T33" fmla="*/ 70 h 92"/>
                  <a:gd name="T34" fmla="*/ 12 w 87"/>
                  <a:gd name="T35" fmla="*/ 65 h 92"/>
                  <a:gd name="T36" fmla="*/ 18 w 87"/>
                  <a:gd name="T37" fmla="*/ 58 h 92"/>
                  <a:gd name="T38" fmla="*/ 0 w 87"/>
                  <a:gd name="T39" fmla="*/ 42 h 92"/>
                  <a:gd name="T40" fmla="*/ 0 w 87"/>
                  <a:gd name="T41" fmla="*/ 42 h 92"/>
                  <a:gd name="T42" fmla="*/ 21 w 87"/>
                  <a:gd name="T43" fmla="*/ 39 h 92"/>
                  <a:gd name="T44" fmla="*/ 27 w 87"/>
                  <a:gd name="T45" fmla="*/ 48 h 92"/>
                  <a:gd name="T46" fmla="*/ 34 w 87"/>
                  <a:gd name="T47" fmla="*/ 52 h 92"/>
                  <a:gd name="T48" fmla="*/ 36 w 87"/>
                  <a:gd name="T49" fmla="*/ 62 h 92"/>
                  <a:gd name="T50" fmla="*/ 39 w 87"/>
                  <a:gd name="T51" fmla="*/ 44 h 92"/>
                  <a:gd name="T52" fmla="*/ 46 w 87"/>
                  <a:gd name="T53" fmla="*/ 28 h 92"/>
                  <a:gd name="T54" fmla="*/ 29 w 87"/>
                  <a:gd name="T55" fmla="*/ 8 h 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87" h="92">
                    <a:moveTo>
                      <a:pt x="29" y="8"/>
                    </a:moveTo>
                    <a:cubicBezTo>
                      <a:pt x="42" y="0"/>
                      <a:pt x="43" y="12"/>
                      <a:pt x="52" y="17"/>
                    </a:cubicBezTo>
                    <a:cubicBezTo>
                      <a:pt x="55" y="15"/>
                      <a:pt x="58" y="15"/>
                      <a:pt x="61" y="16"/>
                    </a:cubicBezTo>
                    <a:cubicBezTo>
                      <a:pt x="61" y="16"/>
                      <a:pt x="62" y="17"/>
                      <a:pt x="62" y="17"/>
                    </a:cubicBezTo>
                    <a:cubicBezTo>
                      <a:pt x="62" y="26"/>
                      <a:pt x="58" y="33"/>
                      <a:pt x="69" y="42"/>
                    </a:cubicBezTo>
                    <a:cubicBezTo>
                      <a:pt x="75" y="35"/>
                      <a:pt x="80" y="33"/>
                      <a:pt x="86" y="35"/>
                    </a:cubicBezTo>
                    <a:cubicBezTo>
                      <a:pt x="87" y="36"/>
                      <a:pt x="87" y="38"/>
                      <a:pt x="87" y="39"/>
                    </a:cubicBezTo>
                    <a:cubicBezTo>
                      <a:pt x="83" y="45"/>
                      <a:pt x="80" y="50"/>
                      <a:pt x="76" y="55"/>
                    </a:cubicBezTo>
                    <a:cubicBezTo>
                      <a:pt x="71" y="62"/>
                      <a:pt x="71" y="70"/>
                      <a:pt x="67" y="76"/>
                    </a:cubicBezTo>
                    <a:cubicBezTo>
                      <a:pt x="66" y="75"/>
                      <a:pt x="66" y="75"/>
                      <a:pt x="65" y="74"/>
                    </a:cubicBezTo>
                    <a:cubicBezTo>
                      <a:pt x="63" y="66"/>
                      <a:pt x="67" y="60"/>
                      <a:pt x="69" y="53"/>
                    </a:cubicBezTo>
                    <a:cubicBezTo>
                      <a:pt x="64" y="51"/>
                      <a:pt x="60" y="46"/>
                      <a:pt x="55" y="40"/>
                    </a:cubicBezTo>
                    <a:cubicBezTo>
                      <a:pt x="52" y="42"/>
                      <a:pt x="49" y="41"/>
                      <a:pt x="45" y="44"/>
                    </a:cubicBezTo>
                    <a:cubicBezTo>
                      <a:pt x="40" y="59"/>
                      <a:pt x="48" y="75"/>
                      <a:pt x="46" y="89"/>
                    </a:cubicBezTo>
                    <a:cubicBezTo>
                      <a:pt x="43" y="92"/>
                      <a:pt x="41" y="91"/>
                      <a:pt x="38" y="92"/>
                    </a:cubicBezTo>
                    <a:cubicBezTo>
                      <a:pt x="31" y="83"/>
                      <a:pt x="33" y="76"/>
                      <a:pt x="27" y="68"/>
                    </a:cubicBezTo>
                    <a:cubicBezTo>
                      <a:pt x="23" y="71"/>
                      <a:pt x="18" y="71"/>
                      <a:pt x="14" y="70"/>
                    </a:cubicBezTo>
                    <a:cubicBezTo>
                      <a:pt x="12" y="68"/>
                      <a:pt x="12" y="67"/>
                      <a:pt x="12" y="65"/>
                    </a:cubicBezTo>
                    <a:cubicBezTo>
                      <a:pt x="14" y="63"/>
                      <a:pt x="16" y="60"/>
                      <a:pt x="18" y="58"/>
                    </a:cubicBezTo>
                    <a:cubicBezTo>
                      <a:pt x="13" y="49"/>
                      <a:pt x="3" y="48"/>
                      <a:pt x="0" y="42"/>
                    </a:cubicBezTo>
                    <a:cubicBezTo>
                      <a:pt x="0" y="42"/>
                      <a:pt x="0" y="42"/>
                      <a:pt x="0" y="42"/>
                    </a:cubicBezTo>
                    <a:cubicBezTo>
                      <a:pt x="6" y="39"/>
                      <a:pt x="15" y="35"/>
                      <a:pt x="21" y="39"/>
                    </a:cubicBezTo>
                    <a:cubicBezTo>
                      <a:pt x="23" y="42"/>
                      <a:pt x="25" y="45"/>
                      <a:pt x="27" y="48"/>
                    </a:cubicBezTo>
                    <a:cubicBezTo>
                      <a:pt x="29" y="50"/>
                      <a:pt x="31" y="51"/>
                      <a:pt x="34" y="52"/>
                    </a:cubicBezTo>
                    <a:cubicBezTo>
                      <a:pt x="34" y="55"/>
                      <a:pt x="35" y="58"/>
                      <a:pt x="36" y="62"/>
                    </a:cubicBezTo>
                    <a:cubicBezTo>
                      <a:pt x="39" y="56"/>
                      <a:pt x="38" y="50"/>
                      <a:pt x="39" y="44"/>
                    </a:cubicBezTo>
                    <a:cubicBezTo>
                      <a:pt x="42" y="39"/>
                      <a:pt x="44" y="34"/>
                      <a:pt x="46" y="28"/>
                    </a:cubicBezTo>
                    <a:cubicBezTo>
                      <a:pt x="42" y="22"/>
                      <a:pt x="31" y="15"/>
                      <a:pt x="29" y="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68" name="íṩľíḑè"/>
              <p:cNvSpPr/>
              <p:nvPr/>
            </p:nvSpPr>
            <p:spPr bwMode="auto">
              <a:xfrm>
                <a:off x="2243034" y="6066428"/>
                <a:ext cx="22225" cy="25400"/>
              </a:xfrm>
              <a:custGeom>
                <a:avLst/>
                <a:gdLst>
                  <a:gd name="T0" fmla="*/ 0 w 14"/>
                  <a:gd name="T1" fmla="*/ 12 h 16"/>
                  <a:gd name="T2" fmla="*/ 2 w 14"/>
                  <a:gd name="T3" fmla="*/ 0 h 16"/>
                  <a:gd name="T4" fmla="*/ 14 w 14"/>
                  <a:gd name="T5" fmla="*/ 4 h 16"/>
                  <a:gd name="T6" fmla="*/ 11 w 14"/>
                  <a:gd name="T7" fmla="*/ 16 h 16"/>
                  <a:gd name="T8" fmla="*/ 0 w 14"/>
                  <a:gd name="T9" fmla="*/ 12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4" h="16">
                    <a:moveTo>
                      <a:pt x="0" y="12"/>
                    </a:moveTo>
                    <a:lnTo>
                      <a:pt x="2" y="0"/>
                    </a:lnTo>
                    <a:lnTo>
                      <a:pt x="14" y="4"/>
                    </a:lnTo>
                    <a:lnTo>
                      <a:pt x="11" y="16"/>
                    </a:lnTo>
                    <a:lnTo>
                      <a:pt x="0" y="1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69" name="îṣḷïḓê"/>
              <p:cNvSpPr/>
              <p:nvPr/>
            </p:nvSpPr>
            <p:spPr bwMode="auto">
              <a:xfrm>
                <a:off x="2292247" y="6042615"/>
                <a:ext cx="49213" cy="100013"/>
              </a:xfrm>
              <a:custGeom>
                <a:avLst/>
                <a:gdLst>
                  <a:gd name="T0" fmla="*/ 17 w 27"/>
                  <a:gd name="T1" fmla="*/ 54 h 54"/>
                  <a:gd name="T2" fmla="*/ 7 w 27"/>
                  <a:gd name="T3" fmla="*/ 52 h 54"/>
                  <a:gd name="T4" fmla="*/ 14 w 27"/>
                  <a:gd name="T5" fmla="*/ 15 h 54"/>
                  <a:gd name="T6" fmla="*/ 0 w 27"/>
                  <a:gd name="T7" fmla="*/ 20 h 54"/>
                  <a:gd name="T8" fmla="*/ 1 w 27"/>
                  <a:gd name="T9" fmla="*/ 11 h 54"/>
                  <a:gd name="T10" fmla="*/ 11 w 27"/>
                  <a:gd name="T11" fmla="*/ 7 h 54"/>
                  <a:gd name="T12" fmla="*/ 18 w 27"/>
                  <a:gd name="T13" fmla="*/ 0 h 54"/>
                  <a:gd name="T14" fmla="*/ 27 w 27"/>
                  <a:gd name="T15" fmla="*/ 2 h 54"/>
                  <a:gd name="T16" fmla="*/ 17 w 27"/>
                  <a:gd name="T17" fmla="*/ 54 h 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7" h="54">
                    <a:moveTo>
                      <a:pt x="17" y="54"/>
                    </a:moveTo>
                    <a:cubicBezTo>
                      <a:pt x="7" y="52"/>
                      <a:pt x="7" y="52"/>
                      <a:pt x="7" y="52"/>
                    </a:cubicBezTo>
                    <a:cubicBezTo>
                      <a:pt x="14" y="15"/>
                      <a:pt x="14" y="15"/>
                      <a:pt x="14" y="15"/>
                    </a:cubicBezTo>
                    <a:cubicBezTo>
                      <a:pt x="10" y="17"/>
                      <a:pt x="5" y="19"/>
                      <a:pt x="0" y="20"/>
                    </a:cubicBezTo>
                    <a:cubicBezTo>
                      <a:pt x="1" y="11"/>
                      <a:pt x="1" y="11"/>
                      <a:pt x="1" y="11"/>
                    </a:cubicBezTo>
                    <a:cubicBezTo>
                      <a:pt x="4" y="10"/>
                      <a:pt x="7" y="9"/>
                      <a:pt x="11" y="7"/>
                    </a:cubicBezTo>
                    <a:cubicBezTo>
                      <a:pt x="14" y="6"/>
                      <a:pt x="17" y="3"/>
                      <a:pt x="18" y="0"/>
                    </a:cubicBezTo>
                    <a:cubicBezTo>
                      <a:pt x="27" y="2"/>
                      <a:pt x="27" y="2"/>
                      <a:pt x="27" y="2"/>
                    </a:cubicBezTo>
                    <a:lnTo>
                      <a:pt x="17" y="5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70" name="i$ḻîḓé"/>
              <p:cNvSpPr/>
              <p:nvPr/>
            </p:nvSpPr>
            <p:spPr bwMode="auto">
              <a:xfrm>
                <a:off x="2363684" y="6052140"/>
                <a:ext cx="66675" cy="100013"/>
              </a:xfrm>
              <a:custGeom>
                <a:avLst/>
                <a:gdLst>
                  <a:gd name="T0" fmla="*/ 0 w 36"/>
                  <a:gd name="T1" fmla="*/ 40 h 54"/>
                  <a:gd name="T2" fmla="*/ 10 w 36"/>
                  <a:gd name="T3" fmla="*/ 39 h 54"/>
                  <a:gd name="T4" fmla="*/ 11 w 36"/>
                  <a:gd name="T5" fmla="*/ 44 h 54"/>
                  <a:gd name="T6" fmla="*/ 15 w 36"/>
                  <a:gd name="T7" fmla="*/ 46 h 54"/>
                  <a:gd name="T8" fmla="*/ 21 w 36"/>
                  <a:gd name="T9" fmla="*/ 43 h 54"/>
                  <a:gd name="T10" fmla="*/ 24 w 36"/>
                  <a:gd name="T11" fmla="*/ 31 h 54"/>
                  <a:gd name="T12" fmla="*/ 15 w 36"/>
                  <a:gd name="T13" fmla="*/ 35 h 54"/>
                  <a:gd name="T14" fmla="*/ 4 w 36"/>
                  <a:gd name="T15" fmla="*/ 30 h 54"/>
                  <a:gd name="T16" fmla="*/ 0 w 36"/>
                  <a:gd name="T17" fmla="*/ 17 h 54"/>
                  <a:gd name="T18" fmla="*/ 6 w 36"/>
                  <a:gd name="T19" fmla="*/ 4 h 54"/>
                  <a:gd name="T20" fmla="*/ 19 w 36"/>
                  <a:gd name="T21" fmla="*/ 0 h 54"/>
                  <a:gd name="T22" fmla="*/ 31 w 36"/>
                  <a:gd name="T23" fmla="*/ 7 h 54"/>
                  <a:gd name="T24" fmla="*/ 35 w 36"/>
                  <a:gd name="T25" fmla="*/ 28 h 54"/>
                  <a:gd name="T26" fmla="*/ 28 w 36"/>
                  <a:gd name="T27" fmla="*/ 49 h 54"/>
                  <a:gd name="T28" fmla="*/ 14 w 36"/>
                  <a:gd name="T29" fmla="*/ 54 h 54"/>
                  <a:gd name="T30" fmla="*/ 4 w 36"/>
                  <a:gd name="T31" fmla="*/ 50 h 54"/>
                  <a:gd name="T32" fmla="*/ 0 w 36"/>
                  <a:gd name="T33" fmla="*/ 40 h 54"/>
                  <a:gd name="T34" fmla="*/ 24 w 36"/>
                  <a:gd name="T35" fmla="*/ 19 h 54"/>
                  <a:gd name="T36" fmla="*/ 23 w 36"/>
                  <a:gd name="T37" fmla="*/ 11 h 54"/>
                  <a:gd name="T38" fmla="*/ 18 w 36"/>
                  <a:gd name="T39" fmla="*/ 8 h 54"/>
                  <a:gd name="T40" fmla="*/ 13 w 36"/>
                  <a:gd name="T41" fmla="*/ 10 h 54"/>
                  <a:gd name="T42" fmla="*/ 10 w 36"/>
                  <a:gd name="T43" fmla="*/ 17 h 54"/>
                  <a:gd name="T44" fmla="*/ 12 w 36"/>
                  <a:gd name="T45" fmla="*/ 25 h 54"/>
                  <a:gd name="T46" fmla="*/ 17 w 36"/>
                  <a:gd name="T47" fmla="*/ 28 h 54"/>
                  <a:gd name="T48" fmla="*/ 22 w 36"/>
                  <a:gd name="T49" fmla="*/ 26 h 54"/>
                  <a:gd name="T50" fmla="*/ 24 w 36"/>
                  <a:gd name="T51" fmla="*/ 19 h 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6" h="54">
                    <a:moveTo>
                      <a:pt x="0" y="40"/>
                    </a:moveTo>
                    <a:cubicBezTo>
                      <a:pt x="10" y="39"/>
                      <a:pt x="10" y="39"/>
                      <a:pt x="10" y="39"/>
                    </a:cubicBezTo>
                    <a:cubicBezTo>
                      <a:pt x="10" y="41"/>
                      <a:pt x="10" y="43"/>
                      <a:pt x="11" y="44"/>
                    </a:cubicBezTo>
                    <a:cubicBezTo>
                      <a:pt x="12" y="45"/>
                      <a:pt x="14" y="46"/>
                      <a:pt x="15" y="46"/>
                    </a:cubicBezTo>
                    <a:cubicBezTo>
                      <a:pt x="17" y="46"/>
                      <a:pt x="19" y="45"/>
                      <a:pt x="21" y="43"/>
                    </a:cubicBezTo>
                    <a:cubicBezTo>
                      <a:pt x="22" y="41"/>
                      <a:pt x="24" y="37"/>
                      <a:pt x="24" y="31"/>
                    </a:cubicBezTo>
                    <a:cubicBezTo>
                      <a:pt x="22" y="34"/>
                      <a:pt x="18" y="35"/>
                      <a:pt x="15" y="35"/>
                    </a:cubicBezTo>
                    <a:cubicBezTo>
                      <a:pt x="10" y="35"/>
                      <a:pt x="7" y="33"/>
                      <a:pt x="4" y="30"/>
                    </a:cubicBezTo>
                    <a:cubicBezTo>
                      <a:pt x="1" y="26"/>
                      <a:pt x="0" y="22"/>
                      <a:pt x="0" y="17"/>
                    </a:cubicBezTo>
                    <a:cubicBezTo>
                      <a:pt x="1" y="11"/>
                      <a:pt x="3" y="7"/>
                      <a:pt x="6" y="4"/>
                    </a:cubicBezTo>
                    <a:cubicBezTo>
                      <a:pt x="10" y="1"/>
                      <a:pt x="14" y="0"/>
                      <a:pt x="19" y="0"/>
                    </a:cubicBezTo>
                    <a:cubicBezTo>
                      <a:pt x="24" y="0"/>
                      <a:pt x="28" y="3"/>
                      <a:pt x="31" y="7"/>
                    </a:cubicBezTo>
                    <a:cubicBezTo>
                      <a:pt x="35" y="12"/>
                      <a:pt x="36" y="19"/>
                      <a:pt x="35" y="28"/>
                    </a:cubicBezTo>
                    <a:cubicBezTo>
                      <a:pt x="34" y="38"/>
                      <a:pt x="32" y="44"/>
                      <a:pt x="28" y="49"/>
                    </a:cubicBezTo>
                    <a:cubicBezTo>
                      <a:pt x="24" y="53"/>
                      <a:pt x="20" y="54"/>
                      <a:pt x="14" y="54"/>
                    </a:cubicBezTo>
                    <a:cubicBezTo>
                      <a:pt x="10" y="54"/>
                      <a:pt x="7" y="52"/>
                      <a:pt x="4" y="50"/>
                    </a:cubicBezTo>
                    <a:cubicBezTo>
                      <a:pt x="2" y="48"/>
                      <a:pt x="0" y="44"/>
                      <a:pt x="0" y="40"/>
                    </a:cubicBezTo>
                    <a:close/>
                    <a:moveTo>
                      <a:pt x="24" y="19"/>
                    </a:moveTo>
                    <a:cubicBezTo>
                      <a:pt x="25" y="16"/>
                      <a:pt x="24" y="13"/>
                      <a:pt x="23" y="11"/>
                    </a:cubicBezTo>
                    <a:cubicBezTo>
                      <a:pt x="21" y="10"/>
                      <a:pt x="20" y="9"/>
                      <a:pt x="18" y="8"/>
                    </a:cubicBezTo>
                    <a:cubicBezTo>
                      <a:pt x="16" y="8"/>
                      <a:pt x="14" y="9"/>
                      <a:pt x="13" y="10"/>
                    </a:cubicBezTo>
                    <a:cubicBezTo>
                      <a:pt x="11" y="12"/>
                      <a:pt x="11" y="14"/>
                      <a:pt x="10" y="17"/>
                    </a:cubicBezTo>
                    <a:cubicBezTo>
                      <a:pt x="10" y="21"/>
                      <a:pt x="11" y="23"/>
                      <a:pt x="12" y="25"/>
                    </a:cubicBezTo>
                    <a:cubicBezTo>
                      <a:pt x="13" y="27"/>
                      <a:pt x="15" y="28"/>
                      <a:pt x="17" y="28"/>
                    </a:cubicBezTo>
                    <a:cubicBezTo>
                      <a:pt x="19" y="28"/>
                      <a:pt x="20" y="27"/>
                      <a:pt x="22" y="26"/>
                    </a:cubicBezTo>
                    <a:cubicBezTo>
                      <a:pt x="23" y="24"/>
                      <a:pt x="24" y="22"/>
                      <a:pt x="24" y="1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71" name="îṧľîḋé"/>
              <p:cNvSpPr/>
              <p:nvPr/>
            </p:nvSpPr>
            <p:spPr bwMode="auto">
              <a:xfrm>
                <a:off x="2446234" y="6053728"/>
                <a:ext cx="66675" cy="100013"/>
              </a:xfrm>
              <a:custGeom>
                <a:avLst/>
                <a:gdLst>
                  <a:gd name="T0" fmla="*/ 0 w 36"/>
                  <a:gd name="T1" fmla="*/ 40 h 54"/>
                  <a:gd name="T2" fmla="*/ 10 w 36"/>
                  <a:gd name="T3" fmla="*/ 39 h 54"/>
                  <a:gd name="T4" fmla="*/ 13 w 36"/>
                  <a:gd name="T5" fmla="*/ 44 h 54"/>
                  <a:gd name="T6" fmla="*/ 18 w 36"/>
                  <a:gd name="T7" fmla="*/ 46 h 54"/>
                  <a:gd name="T8" fmla="*/ 23 w 36"/>
                  <a:gd name="T9" fmla="*/ 43 h 54"/>
                  <a:gd name="T10" fmla="*/ 25 w 36"/>
                  <a:gd name="T11" fmla="*/ 35 h 54"/>
                  <a:gd name="T12" fmla="*/ 23 w 36"/>
                  <a:gd name="T13" fmla="*/ 28 h 54"/>
                  <a:gd name="T14" fmla="*/ 17 w 36"/>
                  <a:gd name="T15" fmla="*/ 26 h 54"/>
                  <a:gd name="T16" fmla="*/ 9 w 36"/>
                  <a:gd name="T17" fmla="*/ 30 h 54"/>
                  <a:gd name="T18" fmla="*/ 1 w 36"/>
                  <a:gd name="T19" fmla="*/ 29 h 54"/>
                  <a:gd name="T20" fmla="*/ 5 w 36"/>
                  <a:gd name="T21" fmla="*/ 1 h 54"/>
                  <a:gd name="T22" fmla="*/ 32 w 36"/>
                  <a:gd name="T23" fmla="*/ 0 h 54"/>
                  <a:gd name="T24" fmla="*/ 32 w 36"/>
                  <a:gd name="T25" fmla="*/ 10 h 54"/>
                  <a:gd name="T26" fmla="*/ 13 w 36"/>
                  <a:gd name="T27" fmla="*/ 10 h 54"/>
                  <a:gd name="T28" fmla="*/ 12 w 36"/>
                  <a:gd name="T29" fmla="*/ 19 h 54"/>
                  <a:gd name="T30" fmla="*/ 19 w 36"/>
                  <a:gd name="T31" fmla="*/ 17 h 54"/>
                  <a:gd name="T32" fmla="*/ 30 w 36"/>
                  <a:gd name="T33" fmla="*/ 22 h 54"/>
                  <a:gd name="T34" fmla="*/ 36 w 36"/>
                  <a:gd name="T35" fmla="*/ 34 h 54"/>
                  <a:gd name="T36" fmla="*/ 32 w 36"/>
                  <a:gd name="T37" fmla="*/ 46 h 54"/>
                  <a:gd name="T38" fmla="*/ 18 w 36"/>
                  <a:gd name="T39" fmla="*/ 54 h 54"/>
                  <a:gd name="T40" fmla="*/ 6 w 36"/>
                  <a:gd name="T41" fmla="*/ 50 h 54"/>
                  <a:gd name="T42" fmla="*/ 0 w 36"/>
                  <a:gd name="T43" fmla="*/ 40 h 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36" h="54">
                    <a:moveTo>
                      <a:pt x="0" y="40"/>
                    </a:moveTo>
                    <a:cubicBezTo>
                      <a:pt x="10" y="39"/>
                      <a:pt x="10" y="39"/>
                      <a:pt x="10" y="39"/>
                    </a:cubicBezTo>
                    <a:cubicBezTo>
                      <a:pt x="11" y="41"/>
                      <a:pt x="11" y="43"/>
                      <a:pt x="13" y="44"/>
                    </a:cubicBezTo>
                    <a:cubicBezTo>
                      <a:pt x="14" y="45"/>
                      <a:pt x="16" y="46"/>
                      <a:pt x="18" y="46"/>
                    </a:cubicBezTo>
                    <a:cubicBezTo>
                      <a:pt x="20" y="46"/>
                      <a:pt x="22" y="45"/>
                      <a:pt x="23" y="43"/>
                    </a:cubicBezTo>
                    <a:cubicBezTo>
                      <a:pt x="25" y="41"/>
                      <a:pt x="25" y="38"/>
                      <a:pt x="25" y="35"/>
                    </a:cubicBezTo>
                    <a:cubicBezTo>
                      <a:pt x="25" y="32"/>
                      <a:pt x="24" y="29"/>
                      <a:pt x="23" y="28"/>
                    </a:cubicBezTo>
                    <a:cubicBezTo>
                      <a:pt x="21" y="26"/>
                      <a:pt x="19" y="25"/>
                      <a:pt x="17" y="26"/>
                    </a:cubicBezTo>
                    <a:cubicBezTo>
                      <a:pt x="14" y="26"/>
                      <a:pt x="11" y="27"/>
                      <a:pt x="9" y="30"/>
                    </a:cubicBezTo>
                    <a:cubicBezTo>
                      <a:pt x="1" y="29"/>
                      <a:pt x="1" y="29"/>
                      <a:pt x="1" y="29"/>
                    </a:cubicBezTo>
                    <a:cubicBezTo>
                      <a:pt x="5" y="1"/>
                      <a:pt x="5" y="1"/>
                      <a:pt x="5" y="1"/>
                    </a:cubicBezTo>
                    <a:cubicBezTo>
                      <a:pt x="32" y="0"/>
                      <a:pt x="32" y="0"/>
                      <a:pt x="32" y="0"/>
                    </a:cubicBezTo>
                    <a:cubicBezTo>
                      <a:pt x="32" y="10"/>
                      <a:pt x="32" y="10"/>
                      <a:pt x="32" y="10"/>
                    </a:cubicBezTo>
                    <a:cubicBezTo>
                      <a:pt x="13" y="10"/>
                      <a:pt x="13" y="10"/>
                      <a:pt x="13" y="10"/>
                    </a:cubicBezTo>
                    <a:cubicBezTo>
                      <a:pt x="12" y="19"/>
                      <a:pt x="12" y="19"/>
                      <a:pt x="12" y="19"/>
                    </a:cubicBezTo>
                    <a:cubicBezTo>
                      <a:pt x="14" y="18"/>
                      <a:pt x="16" y="17"/>
                      <a:pt x="19" y="17"/>
                    </a:cubicBezTo>
                    <a:cubicBezTo>
                      <a:pt x="23" y="17"/>
                      <a:pt x="27" y="19"/>
                      <a:pt x="30" y="22"/>
                    </a:cubicBezTo>
                    <a:cubicBezTo>
                      <a:pt x="34" y="25"/>
                      <a:pt x="35" y="29"/>
                      <a:pt x="36" y="34"/>
                    </a:cubicBezTo>
                    <a:cubicBezTo>
                      <a:pt x="36" y="39"/>
                      <a:pt x="35" y="43"/>
                      <a:pt x="32" y="46"/>
                    </a:cubicBezTo>
                    <a:cubicBezTo>
                      <a:pt x="29" y="51"/>
                      <a:pt x="24" y="54"/>
                      <a:pt x="18" y="54"/>
                    </a:cubicBezTo>
                    <a:cubicBezTo>
                      <a:pt x="13" y="54"/>
                      <a:pt x="9" y="53"/>
                      <a:pt x="6" y="50"/>
                    </a:cubicBezTo>
                    <a:cubicBezTo>
                      <a:pt x="3" y="48"/>
                      <a:pt x="1" y="44"/>
                      <a:pt x="0" y="4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72" name="i$ḻïḑê"/>
              <p:cNvSpPr/>
              <p:nvPr/>
            </p:nvSpPr>
            <p:spPr bwMode="auto">
              <a:xfrm>
                <a:off x="2522434" y="6045790"/>
                <a:ext cx="74613" cy="103188"/>
              </a:xfrm>
              <a:custGeom>
                <a:avLst/>
                <a:gdLst>
                  <a:gd name="T0" fmla="*/ 39 w 40"/>
                  <a:gd name="T1" fmla="*/ 42 h 56"/>
                  <a:gd name="T2" fmla="*/ 40 w 40"/>
                  <a:gd name="T3" fmla="*/ 51 h 56"/>
                  <a:gd name="T4" fmla="*/ 5 w 40"/>
                  <a:gd name="T5" fmla="*/ 56 h 56"/>
                  <a:gd name="T6" fmla="*/ 7 w 40"/>
                  <a:gd name="T7" fmla="*/ 46 h 56"/>
                  <a:gd name="T8" fmla="*/ 16 w 40"/>
                  <a:gd name="T9" fmla="*/ 32 h 56"/>
                  <a:gd name="T10" fmla="*/ 23 w 40"/>
                  <a:gd name="T11" fmla="*/ 22 h 56"/>
                  <a:gd name="T12" fmla="*/ 24 w 40"/>
                  <a:gd name="T13" fmla="*/ 15 h 56"/>
                  <a:gd name="T14" fmla="*/ 22 w 40"/>
                  <a:gd name="T15" fmla="*/ 10 h 56"/>
                  <a:gd name="T16" fmla="*/ 17 w 40"/>
                  <a:gd name="T17" fmla="*/ 9 h 56"/>
                  <a:gd name="T18" fmla="*/ 12 w 40"/>
                  <a:gd name="T19" fmla="*/ 12 h 56"/>
                  <a:gd name="T20" fmla="*/ 11 w 40"/>
                  <a:gd name="T21" fmla="*/ 19 h 56"/>
                  <a:gd name="T22" fmla="*/ 1 w 40"/>
                  <a:gd name="T23" fmla="*/ 19 h 56"/>
                  <a:gd name="T24" fmla="*/ 4 w 40"/>
                  <a:gd name="T25" fmla="*/ 6 h 56"/>
                  <a:gd name="T26" fmla="*/ 16 w 40"/>
                  <a:gd name="T27" fmla="*/ 1 h 56"/>
                  <a:gd name="T28" fmla="*/ 28 w 40"/>
                  <a:gd name="T29" fmla="*/ 3 h 56"/>
                  <a:gd name="T30" fmla="*/ 34 w 40"/>
                  <a:gd name="T31" fmla="*/ 13 h 56"/>
                  <a:gd name="T32" fmla="*/ 34 w 40"/>
                  <a:gd name="T33" fmla="*/ 20 h 56"/>
                  <a:gd name="T34" fmla="*/ 31 w 40"/>
                  <a:gd name="T35" fmla="*/ 27 h 56"/>
                  <a:gd name="T36" fmla="*/ 26 w 40"/>
                  <a:gd name="T37" fmla="*/ 35 h 56"/>
                  <a:gd name="T38" fmla="*/ 20 w 40"/>
                  <a:gd name="T39" fmla="*/ 42 h 56"/>
                  <a:gd name="T40" fmla="*/ 19 w 40"/>
                  <a:gd name="T41" fmla="*/ 45 h 56"/>
                  <a:gd name="T42" fmla="*/ 39 w 40"/>
                  <a:gd name="T43" fmla="*/ 42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40" h="56">
                    <a:moveTo>
                      <a:pt x="39" y="42"/>
                    </a:moveTo>
                    <a:cubicBezTo>
                      <a:pt x="40" y="51"/>
                      <a:pt x="40" y="51"/>
                      <a:pt x="40" y="51"/>
                    </a:cubicBezTo>
                    <a:cubicBezTo>
                      <a:pt x="5" y="56"/>
                      <a:pt x="5" y="56"/>
                      <a:pt x="5" y="56"/>
                    </a:cubicBezTo>
                    <a:cubicBezTo>
                      <a:pt x="5" y="53"/>
                      <a:pt x="5" y="49"/>
                      <a:pt x="7" y="46"/>
                    </a:cubicBezTo>
                    <a:cubicBezTo>
                      <a:pt x="8" y="42"/>
                      <a:pt x="11" y="38"/>
                      <a:pt x="16" y="32"/>
                    </a:cubicBezTo>
                    <a:cubicBezTo>
                      <a:pt x="20" y="27"/>
                      <a:pt x="22" y="23"/>
                      <a:pt x="23" y="22"/>
                    </a:cubicBezTo>
                    <a:cubicBezTo>
                      <a:pt x="24" y="19"/>
                      <a:pt x="25" y="17"/>
                      <a:pt x="24" y="15"/>
                    </a:cubicBezTo>
                    <a:cubicBezTo>
                      <a:pt x="24" y="13"/>
                      <a:pt x="23" y="11"/>
                      <a:pt x="22" y="10"/>
                    </a:cubicBezTo>
                    <a:cubicBezTo>
                      <a:pt x="21" y="9"/>
                      <a:pt x="19" y="9"/>
                      <a:pt x="17" y="9"/>
                    </a:cubicBezTo>
                    <a:cubicBezTo>
                      <a:pt x="15" y="10"/>
                      <a:pt x="13" y="11"/>
                      <a:pt x="12" y="12"/>
                    </a:cubicBezTo>
                    <a:cubicBezTo>
                      <a:pt x="11" y="13"/>
                      <a:pt x="10" y="16"/>
                      <a:pt x="11" y="19"/>
                    </a:cubicBezTo>
                    <a:cubicBezTo>
                      <a:pt x="1" y="19"/>
                      <a:pt x="1" y="19"/>
                      <a:pt x="1" y="19"/>
                    </a:cubicBezTo>
                    <a:cubicBezTo>
                      <a:pt x="0" y="13"/>
                      <a:pt x="2" y="9"/>
                      <a:pt x="4" y="6"/>
                    </a:cubicBezTo>
                    <a:cubicBezTo>
                      <a:pt x="7" y="3"/>
                      <a:pt x="11" y="2"/>
                      <a:pt x="16" y="1"/>
                    </a:cubicBezTo>
                    <a:cubicBezTo>
                      <a:pt x="21" y="0"/>
                      <a:pt x="25" y="1"/>
                      <a:pt x="28" y="3"/>
                    </a:cubicBezTo>
                    <a:cubicBezTo>
                      <a:pt x="32" y="6"/>
                      <a:pt x="34" y="9"/>
                      <a:pt x="34" y="13"/>
                    </a:cubicBezTo>
                    <a:cubicBezTo>
                      <a:pt x="35" y="15"/>
                      <a:pt x="35" y="18"/>
                      <a:pt x="34" y="20"/>
                    </a:cubicBezTo>
                    <a:cubicBezTo>
                      <a:pt x="34" y="22"/>
                      <a:pt x="33" y="25"/>
                      <a:pt x="31" y="27"/>
                    </a:cubicBezTo>
                    <a:cubicBezTo>
                      <a:pt x="30" y="29"/>
                      <a:pt x="28" y="32"/>
                      <a:pt x="26" y="35"/>
                    </a:cubicBezTo>
                    <a:cubicBezTo>
                      <a:pt x="23" y="38"/>
                      <a:pt x="21" y="41"/>
                      <a:pt x="20" y="42"/>
                    </a:cubicBezTo>
                    <a:cubicBezTo>
                      <a:pt x="20" y="43"/>
                      <a:pt x="19" y="44"/>
                      <a:pt x="19" y="45"/>
                    </a:cubicBezTo>
                    <a:lnTo>
                      <a:pt x="39" y="4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73" name="íṧlíḍe"/>
              <p:cNvSpPr/>
              <p:nvPr/>
            </p:nvSpPr>
            <p:spPr bwMode="auto">
              <a:xfrm>
                <a:off x="2611334" y="6072778"/>
                <a:ext cx="22225" cy="23813"/>
              </a:xfrm>
              <a:custGeom>
                <a:avLst/>
                <a:gdLst>
                  <a:gd name="T0" fmla="*/ 3 w 14"/>
                  <a:gd name="T1" fmla="*/ 15 h 15"/>
                  <a:gd name="T2" fmla="*/ 0 w 14"/>
                  <a:gd name="T3" fmla="*/ 3 h 15"/>
                  <a:gd name="T4" fmla="*/ 11 w 14"/>
                  <a:gd name="T5" fmla="*/ 0 h 15"/>
                  <a:gd name="T6" fmla="*/ 14 w 14"/>
                  <a:gd name="T7" fmla="*/ 12 h 15"/>
                  <a:gd name="T8" fmla="*/ 3 w 14"/>
                  <a:gd name="T9" fmla="*/ 15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4" h="15">
                    <a:moveTo>
                      <a:pt x="3" y="15"/>
                    </a:moveTo>
                    <a:lnTo>
                      <a:pt x="0" y="3"/>
                    </a:lnTo>
                    <a:lnTo>
                      <a:pt x="11" y="0"/>
                    </a:lnTo>
                    <a:lnTo>
                      <a:pt x="14" y="12"/>
                    </a:lnTo>
                    <a:lnTo>
                      <a:pt x="3" y="1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74" name="îŝľîḓê"/>
              <p:cNvSpPr/>
              <p:nvPr/>
            </p:nvSpPr>
            <p:spPr bwMode="auto">
              <a:xfrm>
                <a:off x="2108097" y="5261565"/>
                <a:ext cx="141288" cy="257175"/>
              </a:xfrm>
              <a:custGeom>
                <a:avLst/>
                <a:gdLst>
                  <a:gd name="T0" fmla="*/ 12 w 77"/>
                  <a:gd name="T1" fmla="*/ 25 h 139"/>
                  <a:gd name="T2" fmla="*/ 9 w 77"/>
                  <a:gd name="T3" fmla="*/ 21 h 139"/>
                  <a:gd name="T4" fmla="*/ 12 w 77"/>
                  <a:gd name="T5" fmla="*/ 17 h 139"/>
                  <a:gd name="T6" fmla="*/ 39 w 77"/>
                  <a:gd name="T7" fmla="*/ 21 h 139"/>
                  <a:gd name="T8" fmla="*/ 46 w 77"/>
                  <a:gd name="T9" fmla="*/ 36 h 139"/>
                  <a:gd name="T10" fmla="*/ 46 w 77"/>
                  <a:gd name="T11" fmla="*/ 39 h 139"/>
                  <a:gd name="T12" fmla="*/ 61 w 77"/>
                  <a:gd name="T13" fmla="*/ 33 h 139"/>
                  <a:gd name="T14" fmla="*/ 57 w 77"/>
                  <a:gd name="T15" fmla="*/ 16 h 139"/>
                  <a:gd name="T16" fmla="*/ 35 w 77"/>
                  <a:gd name="T17" fmla="*/ 9 h 139"/>
                  <a:gd name="T18" fmla="*/ 27 w 77"/>
                  <a:gd name="T19" fmla="*/ 3 h 139"/>
                  <a:gd name="T20" fmla="*/ 32 w 77"/>
                  <a:gd name="T21" fmla="*/ 0 h 139"/>
                  <a:gd name="T22" fmla="*/ 61 w 77"/>
                  <a:gd name="T23" fmla="*/ 9 h 139"/>
                  <a:gd name="T24" fmla="*/ 72 w 77"/>
                  <a:gd name="T25" fmla="*/ 30 h 139"/>
                  <a:gd name="T26" fmla="*/ 48 w 77"/>
                  <a:gd name="T27" fmla="*/ 45 h 139"/>
                  <a:gd name="T28" fmla="*/ 45 w 77"/>
                  <a:gd name="T29" fmla="*/ 46 h 139"/>
                  <a:gd name="T30" fmla="*/ 45 w 77"/>
                  <a:gd name="T31" fmla="*/ 54 h 139"/>
                  <a:gd name="T32" fmla="*/ 59 w 77"/>
                  <a:gd name="T33" fmla="*/ 61 h 139"/>
                  <a:gd name="T34" fmla="*/ 77 w 77"/>
                  <a:gd name="T35" fmla="*/ 80 h 139"/>
                  <a:gd name="T36" fmla="*/ 75 w 77"/>
                  <a:gd name="T37" fmla="*/ 84 h 139"/>
                  <a:gd name="T38" fmla="*/ 71 w 77"/>
                  <a:gd name="T39" fmla="*/ 83 h 139"/>
                  <a:gd name="T40" fmla="*/ 59 w 77"/>
                  <a:gd name="T41" fmla="*/ 70 h 139"/>
                  <a:gd name="T42" fmla="*/ 45 w 77"/>
                  <a:gd name="T43" fmla="*/ 63 h 139"/>
                  <a:gd name="T44" fmla="*/ 45 w 77"/>
                  <a:gd name="T45" fmla="*/ 77 h 139"/>
                  <a:gd name="T46" fmla="*/ 53 w 77"/>
                  <a:gd name="T47" fmla="*/ 83 h 139"/>
                  <a:gd name="T48" fmla="*/ 66 w 77"/>
                  <a:gd name="T49" fmla="*/ 102 h 139"/>
                  <a:gd name="T50" fmla="*/ 72 w 77"/>
                  <a:gd name="T51" fmla="*/ 121 h 139"/>
                  <a:gd name="T52" fmla="*/ 70 w 77"/>
                  <a:gd name="T53" fmla="*/ 124 h 139"/>
                  <a:gd name="T54" fmla="*/ 67 w 77"/>
                  <a:gd name="T55" fmla="*/ 122 h 139"/>
                  <a:gd name="T56" fmla="*/ 64 w 77"/>
                  <a:gd name="T57" fmla="*/ 115 h 139"/>
                  <a:gd name="T58" fmla="*/ 55 w 77"/>
                  <a:gd name="T59" fmla="*/ 97 h 139"/>
                  <a:gd name="T60" fmla="*/ 45 w 77"/>
                  <a:gd name="T61" fmla="*/ 87 h 139"/>
                  <a:gd name="T62" fmla="*/ 45 w 77"/>
                  <a:gd name="T63" fmla="*/ 102 h 139"/>
                  <a:gd name="T64" fmla="*/ 44 w 77"/>
                  <a:gd name="T65" fmla="*/ 136 h 139"/>
                  <a:gd name="T66" fmla="*/ 41 w 77"/>
                  <a:gd name="T67" fmla="*/ 139 h 139"/>
                  <a:gd name="T68" fmla="*/ 38 w 77"/>
                  <a:gd name="T69" fmla="*/ 137 h 139"/>
                  <a:gd name="T70" fmla="*/ 37 w 77"/>
                  <a:gd name="T71" fmla="*/ 103 h 139"/>
                  <a:gd name="T72" fmla="*/ 37 w 77"/>
                  <a:gd name="T73" fmla="*/ 86 h 139"/>
                  <a:gd name="T74" fmla="*/ 28 w 77"/>
                  <a:gd name="T75" fmla="*/ 92 h 139"/>
                  <a:gd name="T76" fmla="*/ 19 w 77"/>
                  <a:gd name="T77" fmla="*/ 109 h 139"/>
                  <a:gd name="T78" fmla="*/ 12 w 77"/>
                  <a:gd name="T79" fmla="*/ 121 h 139"/>
                  <a:gd name="T80" fmla="*/ 8 w 77"/>
                  <a:gd name="T81" fmla="*/ 122 h 139"/>
                  <a:gd name="T82" fmla="*/ 7 w 77"/>
                  <a:gd name="T83" fmla="*/ 120 h 139"/>
                  <a:gd name="T84" fmla="*/ 8 w 77"/>
                  <a:gd name="T85" fmla="*/ 117 h 139"/>
                  <a:gd name="T86" fmla="*/ 11 w 77"/>
                  <a:gd name="T87" fmla="*/ 106 h 139"/>
                  <a:gd name="T88" fmla="*/ 22 w 77"/>
                  <a:gd name="T89" fmla="*/ 86 h 139"/>
                  <a:gd name="T90" fmla="*/ 37 w 77"/>
                  <a:gd name="T91" fmla="*/ 76 h 139"/>
                  <a:gd name="T92" fmla="*/ 37 w 77"/>
                  <a:gd name="T93" fmla="*/ 68 h 139"/>
                  <a:gd name="T94" fmla="*/ 37 w 77"/>
                  <a:gd name="T95" fmla="*/ 63 h 139"/>
                  <a:gd name="T96" fmla="*/ 24 w 77"/>
                  <a:gd name="T97" fmla="*/ 69 h 139"/>
                  <a:gd name="T98" fmla="*/ 16 w 77"/>
                  <a:gd name="T99" fmla="*/ 77 h 139"/>
                  <a:gd name="T100" fmla="*/ 9 w 77"/>
                  <a:gd name="T101" fmla="*/ 85 h 139"/>
                  <a:gd name="T102" fmla="*/ 6 w 77"/>
                  <a:gd name="T103" fmla="*/ 86 h 139"/>
                  <a:gd name="T104" fmla="*/ 5 w 77"/>
                  <a:gd name="T105" fmla="*/ 82 h 139"/>
                  <a:gd name="T106" fmla="*/ 22 w 77"/>
                  <a:gd name="T107" fmla="*/ 60 h 139"/>
                  <a:gd name="T108" fmla="*/ 37 w 77"/>
                  <a:gd name="T109" fmla="*/ 54 h 139"/>
                  <a:gd name="T110" fmla="*/ 37 w 77"/>
                  <a:gd name="T111" fmla="*/ 47 h 139"/>
                  <a:gd name="T112" fmla="*/ 3 w 77"/>
                  <a:gd name="T113" fmla="*/ 45 h 139"/>
                  <a:gd name="T114" fmla="*/ 0 w 77"/>
                  <a:gd name="T115" fmla="*/ 40 h 139"/>
                  <a:gd name="T116" fmla="*/ 5 w 77"/>
                  <a:gd name="T117" fmla="*/ 38 h 139"/>
                  <a:gd name="T118" fmla="*/ 37 w 77"/>
                  <a:gd name="T119" fmla="*/ 39 h 139"/>
                  <a:gd name="T120" fmla="*/ 37 w 77"/>
                  <a:gd name="T121" fmla="*/ 39 h 139"/>
                  <a:gd name="T122" fmla="*/ 33 w 77"/>
                  <a:gd name="T123" fmla="*/ 28 h 139"/>
                  <a:gd name="T124" fmla="*/ 12 w 77"/>
                  <a:gd name="T125" fmla="*/ 25 h 1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77" h="139">
                    <a:moveTo>
                      <a:pt x="12" y="25"/>
                    </a:moveTo>
                    <a:cubicBezTo>
                      <a:pt x="10" y="25"/>
                      <a:pt x="9" y="24"/>
                      <a:pt x="9" y="21"/>
                    </a:cubicBezTo>
                    <a:cubicBezTo>
                      <a:pt x="9" y="18"/>
                      <a:pt x="10" y="17"/>
                      <a:pt x="12" y="17"/>
                    </a:cubicBezTo>
                    <a:cubicBezTo>
                      <a:pt x="24" y="17"/>
                      <a:pt x="33" y="18"/>
                      <a:pt x="39" y="21"/>
                    </a:cubicBezTo>
                    <a:cubicBezTo>
                      <a:pt x="45" y="24"/>
                      <a:pt x="47" y="28"/>
                      <a:pt x="46" y="36"/>
                    </a:cubicBezTo>
                    <a:cubicBezTo>
                      <a:pt x="46" y="37"/>
                      <a:pt x="46" y="38"/>
                      <a:pt x="46" y="39"/>
                    </a:cubicBezTo>
                    <a:cubicBezTo>
                      <a:pt x="53" y="38"/>
                      <a:pt x="58" y="35"/>
                      <a:pt x="61" y="33"/>
                    </a:cubicBezTo>
                    <a:cubicBezTo>
                      <a:pt x="65" y="27"/>
                      <a:pt x="64" y="22"/>
                      <a:pt x="57" y="16"/>
                    </a:cubicBezTo>
                    <a:cubicBezTo>
                      <a:pt x="52" y="12"/>
                      <a:pt x="44" y="9"/>
                      <a:pt x="35" y="9"/>
                    </a:cubicBezTo>
                    <a:cubicBezTo>
                      <a:pt x="30" y="8"/>
                      <a:pt x="28" y="6"/>
                      <a:pt x="27" y="3"/>
                    </a:cubicBezTo>
                    <a:cubicBezTo>
                      <a:pt x="27" y="1"/>
                      <a:pt x="29" y="0"/>
                      <a:pt x="32" y="0"/>
                    </a:cubicBezTo>
                    <a:cubicBezTo>
                      <a:pt x="44" y="0"/>
                      <a:pt x="53" y="3"/>
                      <a:pt x="61" y="9"/>
                    </a:cubicBezTo>
                    <a:cubicBezTo>
                      <a:pt x="69" y="16"/>
                      <a:pt x="73" y="23"/>
                      <a:pt x="72" y="30"/>
                    </a:cubicBezTo>
                    <a:cubicBezTo>
                      <a:pt x="68" y="37"/>
                      <a:pt x="60" y="43"/>
                      <a:pt x="48" y="45"/>
                    </a:cubicBezTo>
                    <a:cubicBezTo>
                      <a:pt x="47" y="46"/>
                      <a:pt x="46" y="46"/>
                      <a:pt x="45" y="46"/>
                    </a:cubicBezTo>
                    <a:cubicBezTo>
                      <a:pt x="45" y="48"/>
                      <a:pt x="45" y="51"/>
                      <a:pt x="45" y="54"/>
                    </a:cubicBezTo>
                    <a:cubicBezTo>
                      <a:pt x="49" y="54"/>
                      <a:pt x="54" y="57"/>
                      <a:pt x="59" y="61"/>
                    </a:cubicBezTo>
                    <a:cubicBezTo>
                      <a:pt x="66" y="66"/>
                      <a:pt x="72" y="72"/>
                      <a:pt x="77" y="80"/>
                    </a:cubicBezTo>
                    <a:cubicBezTo>
                      <a:pt x="77" y="82"/>
                      <a:pt x="77" y="83"/>
                      <a:pt x="75" y="84"/>
                    </a:cubicBezTo>
                    <a:cubicBezTo>
                      <a:pt x="74" y="85"/>
                      <a:pt x="72" y="85"/>
                      <a:pt x="71" y="83"/>
                    </a:cubicBezTo>
                    <a:cubicBezTo>
                      <a:pt x="69" y="80"/>
                      <a:pt x="65" y="76"/>
                      <a:pt x="59" y="70"/>
                    </a:cubicBezTo>
                    <a:cubicBezTo>
                      <a:pt x="54" y="66"/>
                      <a:pt x="49" y="64"/>
                      <a:pt x="45" y="63"/>
                    </a:cubicBezTo>
                    <a:cubicBezTo>
                      <a:pt x="45" y="77"/>
                      <a:pt x="45" y="77"/>
                      <a:pt x="45" y="77"/>
                    </a:cubicBezTo>
                    <a:cubicBezTo>
                      <a:pt x="48" y="78"/>
                      <a:pt x="51" y="80"/>
                      <a:pt x="53" y="83"/>
                    </a:cubicBezTo>
                    <a:cubicBezTo>
                      <a:pt x="59" y="88"/>
                      <a:pt x="63" y="94"/>
                      <a:pt x="66" y="102"/>
                    </a:cubicBezTo>
                    <a:cubicBezTo>
                      <a:pt x="71" y="109"/>
                      <a:pt x="73" y="116"/>
                      <a:pt x="72" y="121"/>
                    </a:cubicBezTo>
                    <a:cubicBezTo>
                      <a:pt x="72" y="122"/>
                      <a:pt x="72" y="123"/>
                      <a:pt x="70" y="124"/>
                    </a:cubicBezTo>
                    <a:cubicBezTo>
                      <a:pt x="69" y="124"/>
                      <a:pt x="68" y="124"/>
                      <a:pt x="67" y="122"/>
                    </a:cubicBezTo>
                    <a:cubicBezTo>
                      <a:pt x="67" y="121"/>
                      <a:pt x="66" y="118"/>
                      <a:pt x="64" y="115"/>
                    </a:cubicBezTo>
                    <a:cubicBezTo>
                      <a:pt x="60" y="107"/>
                      <a:pt x="57" y="102"/>
                      <a:pt x="55" y="97"/>
                    </a:cubicBezTo>
                    <a:cubicBezTo>
                      <a:pt x="51" y="91"/>
                      <a:pt x="48" y="88"/>
                      <a:pt x="45" y="87"/>
                    </a:cubicBezTo>
                    <a:cubicBezTo>
                      <a:pt x="45" y="102"/>
                      <a:pt x="45" y="102"/>
                      <a:pt x="45" y="102"/>
                    </a:cubicBezTo>
                    <a:cubicBezTo>
                      <a:pt x="45" y="117"/>
                      <a:pt x="45" y="128"/>
                      <a:pt x="44" y="136"/>
                    </a:cubicBezTo>
                    <a:cubicBezTo>
                      <a:pt x="43" y="137"/>
                      <a:pt x="42" y="138"/>
                      <a:pt x="41" y="139"/>
                    </a:cubicBezTo>
                    <a:cubicBezTo>
                      <a:pt x="40" y="139"/>
                      <a:pt x="39" y="139"/>
                      <a:pt x="38" y="137"/>
                    </a:cubicBezTo>
                    <a:cubicBezTo>
                      <a:pt x="37" y="135"/>
                      <a:pt x="37" y="123"/>
                      <a:pt x="37" y="103"/>
                    </a:cubicBezTo>
                    <a:cubicBezTo>
                      <a:pt x="37" y="97"/>
                      <a:pt x="37" y="92"/>
                      <a:pt x="37" y="86"/>
                    </a:cubicBezTo>
                    <a:cubicBezTo>
                      <a:pt x="34" y="87"/>
                      <a:pt x="31" y="89"/>
                      <a:pt x="28" y="92"/>
                    </a:cubicBezTo>
                    <a:cubicBezTo>
                      <a:pt x="24" y="98"/>
                      <a:pt x="21" y="103"/>
                      <a:pt x="19" y="109"/>
                    </a:cubicBezTo>
                    <a:cubicBezTo>
                      <a:pt x="17" y="113"/>
                      <a:pt x="15" y="117"/>
                      <a:pt x="12" y="121"/>
                    </a:cubicBezTo>
                    <a:cubicBezTo>
                      <a:pt x="11" y="122"/>
                      <a:pt x="9" y="122"/>
                      <a:pt x="8" y="122"/>
                    </a:cubicBezTo>
                    <a:cubicBezTo>
                      <a:pt x="7" y="122"/>
                      <a:pt x="7" y="121"/>
                      <a:pt x="7" y="120"/>
                    </a:cubicBezTo>
                    <a:cubicBezTo>
                      <a:pt x="7" y="119"/>
                      <a:pt x="7" y="118"/>
                      <a:pt x="8" y="117"/>
                    </a:cubicBezTo>
                    <a:cubicBezTo>
                      <a:pt x="9" y="112"/>
                      <a:pt x="10" y="108"/>
                      <a:pt x="11" y="106"/>
                    </a:cubicBezTo>
                    <a:cubicBezTo>
                      <a:pt x="13" y="101"/>
                      <a:pt x="17" y="94"/>
                      <a:pt x="22" y="86"/>
                    </a:cubicBezTo>
                    <a:cubicBezTo>
                      <a:pt x="27" y="80"/>
                      <a:pt x="32" y="77"/>
                      <a:pt x="37" y="76"/>
                    </a:cubicBezTo>
                    <a:cubicBezTo>
                      <a:pt x="37" y="68"/>
                      <a:pt x="37" y="68"/>
                      <a:pt x="37" y="68"/>
                    </a:cubicBezTo>
                    <a:cubicBezTo>
                      <a:pt x="37" y="63"/>
                      <a:pt x="37" y="63"/>
                      <a:pt x="37" y="63"/>
                    </a:cubicBezTo>
                    <a:cubicBezTo>
                      <a:pt x="33" y="64"/>
                      <a:pt x="29" y="66"/>
                      <a:pt x="24" y="69"/>
                    </a:cubicBezTo>
                    <a:cubicBezTo>
                      <a:pt x="23" y="70"/>
                      <a:pt x="20" y="72"/>
                      <a:pt x="16" y="77"/>
                    </a:cubicBezTo>
                    <a:cubicBezTo>
                      <a:pt x="13" y="81"/>
                      <a:pt x="11" y="83"/>
                      <a:pt x="9" y="85"/>
                    </a:cubicBezTo>
                    <a:cubicBezTo>
                      <a:pt x="8" y="86"/>
                      <a:pt x="7" y="87"/>
                      <a:pt x="6" y="86"/>
                    </a:cubicBezTo>
                    <a:cubicBezTo>
                      <a:pt x="5" y="86"/>
                      <a:pt x="5" y="84"/>
                      <a:pt x="5" y="82"/>
                    </a:cubicBezTo>
                    <a:cubicBezTo>
                      <a:pt x="10" y="73"/>
                      <a:pt x="15" y="65"/>
                      <a:pt x="22" y="60"/>
                    </a:cubicBezTo>
                    <a:cubicBezTo>
                      <a:pt x="27" y="56"/>
                      <a:pt x="32" y="54"/>
                      <a:pt x="37" y="54"/>
                    </a:cubicBezTo>
                    <a:cubicBezTo>
                      <a:pt x="37" y="47"/>
                      <a:pt x="37" y="47"/>
                      <a:pt x="37" y="47"/>
                    </a:cubicBezTo>
                    <a:cubicBezTo>
                      <a:pt x="22" y="49"/>
                      <a:pt x="10" y="48"/>
                      <a:pt x="3" y="45"/>
                    </a:cubicBezTo>
                    <a:cubicBezTo>
                      <a:pt x="1" y="44"/>
                      <a:pt x="0" y="42"/>
                      <a:pt x="0" y="40"/>
                    </a:cubicBezTo>
                    <a:cubicBezTo>
                      <a:pt x="1" y="38"/>
                      <a:pt x="3" y="38"/>
                      <a:pt x="5" y="38"/>
                    </a:cubicBezTo>
                    <a:cubicBezTo>
                      <a:pt x="12" y="40"/>
                      <a:pt x="22" y="40"/>
                      <a:pt x="37" y="39"/>
                    </a:cubicBezTo>
                    <a:cubicBezTo>
                      <a:pt x="37" y="39"/>
                      <a:pt x="37" y="39"/>
                      <a:pt x="37" y="39"/>
                    </a:cubicBezTo>
                    <a:cubicBezTo>
                      <a:pt x="38" y="32"/>
                      <a:pt x="36" y="29"/>
                      <a:pt x="33" y="28"/>
                    </a:cubicBezTo>
                    <a:cubicBezTo>
                      <a:pt x="26" y="25"/>
                      <a:pt x="19" y="24"/>
                      <a:pt x="12" y="2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75" name="íṣlíḑe"/>
              <p:cNvSpPr/>
              <p:nvPr/>
            </p:nvSpPr>
            <p:spPr bwMode="auto">
              <a:xfrm>
                <a:off x="2273197" y="5255215"/>
                <a:ext cx="163513" cy="263525"/>
              </a:xfrm>
              <a:custGeom>
                <a:avLst/>
                <a:gdLst>
                  <a:gd name="T0" fmla="*/ 47 w 88"/>
                  <a:gd name="T1" fmla="*/ 8 h 143"/>
                  <a:gd name="T2" fmla="*/ 74 w 88"/>
                  <a:gd name="T3" fmla="*/ 14 h 143"/>
                  <a:gd name="T4" fmla="*/ 82 w 88"/>
                  <a:gd name="T5" fmla="*/ 26 h 143"/>
                  <a:gd name="T6" fmla="*/ 79 w 88"/>
                  <a:gd name="T7" fmla="*/ 75 h 143"/>
                  <a:gd name="T8" fmla="*/ 86 w 88"/>
                  <a:gd name="T9" fmla="*/ 136 h 143"/>
                  <a:gd name="T10" fmla="*/ 73 w 88"/>
                  <a:gd name="T11" fmla="*/ 45 h 143"/>
                  <a:gd name="T12" fmla="*/ 67 w 88"/>
                  <a:gd name="T13" fmla="*/ 44 h 143"/>
                  <a:gd name="T14" fmla="*/ 54 w 88"/>
                  <a:gd name="T15" fmla="*/ 58 h 143"/>
                  <a:gd name="T16" fmla="*/ 22 w 88"/>
                  <a:gd name="T17" fmla="*/ 54 h 143"/>
                  <a:gd name="T18" fmla="*/ 15 w 88"/>
                  <a:gd name="T19" fmla="*/ 45 h 143"/>
                  <a:gd name="T20" fmla="*/ 11 w 88"/>
                  <a:gd name="T21" fmla="*/ 91 h 143"/>
                  <a:gd name="T22" fmla="*/ 9 w 88"/>
                  <a:gd name="T23" fmla="*/ 118 h 143"/>
                  <a:gd name="T24" fmla="*/ 2 w 88"/>
                  <a:gd name="T25" fmla="*/ 139 h 143"/>
                  <a:gd name="T26" fmla="*/ 6 w 88"/>
                  <a:gd name="T27" fmla="*/ 80 h 143"/>
                  <a:gd name="T28" fmla="*/ 2 w 88"/>
                  <a:gd name="T29" fmla="*/ 26 h 143"/>
                  <a:gd name="T30" fmla="*/ 32 w 88"/>
                  <a:gd name="T31" fmla="*/ 10 h 143"/>
                  <a:gd name="T32" fmla="*/ 39 w 88"/>
                  <a:gd name="T33" fmla="*/ 0 h 143"/>
                  <a:gd name="T34" fmla="*/ 24 w 88"/>
                  <a:gd name="T35" fmla="*/ 23 h 143"/>
                  <a:gd name="T36" fmla="*/ 66 w 88"/>
                  <a:gd name="T37" fmla="*/ 29 h 143"/>
                  <a:gd name="T38" fmla="*/ 67 w 88"/>
                  <a:gd name="T39" fmla="*/ 37 h 143"/>
                  <a:gd name="T40" fmla="*/ 73 w 88"/>
                  <a:gd name="T41" fmla="*/ 34 h 143"/>
                  <a:gd name="T42" fmla="*/ 66 w 88"/>
                  <a:gd name="T43" fmla="*/ 20 h 143"/>
                  <a:gd name="T44" fmla="*/ 13 w 88"/>
                  <a:gd name="T45" fmla="*/ 21 h 143"/>
                  <a:gd name="T46" fmla="*/ 12 w 88"/>
                  <a:gd name="T47" fmla="*/ 32 h 143"/>
                  <a:gd name="T48" fmla="*/ 17 w 88"/>
                  <a:gd name="T49" fmla="*/ 38 h 143"/>
                  <a:gd name="T50" fmla="*/ 24 w 88"/>
                  <a:gd name="T51" fmla="*/ 23 h 143"/>
                  <a:gd name="T52" fmla="*/ 61 w 88"/>
                  <a:gd name="T53" fmla="*/ 64 h 143"/>
                  <a:gd name="T54" fmla="*/ 66 w 88"/>
                  <a:gd name="T55" fmla="*/ 96 h 143"/>
                  <a:gd name="T56" fmla="*/ 61 w 88"/>
                  <a:gd name="T57" fmla="*/ 136 h 143"/>
                  <a:gd name="T58" fmla="*/ 59 w 88"/>
                  <a:gd name="T59" fmla="*/ 143 h 143"/>
                  <a:gd name="T60" fmla="*/ 46 w 88"/>
                  <a:gd name="T61" fmla="*/ 105 h 143"/>
                  <a:gd name="T62" fmla="*/ 30 w 88"/>
                  <a:gd name="T63" fmla="*/ 140 h 143"/>
                  <a:gd name="T64" fmla="*/ 26 w 88"/>
                  <a:gd name="T65" fmla="*/ 137 h 143"/>
                  <a:gd name="T66" fmla="*/ 32 w 88"/>
                  <a:gd name="T67" fmla="*/ 121 h 143"/>
                  <a:gd name="T68" fmla="*/ 35 w 88"/>
                  <a:gd name="T69" fmla="*/ 105 h 143"/>
                  <a:gd name="T70" fmla="*/ 18 w 88"/>
                  <a:gd name="T71" fmla="*/ 75 h 143"/>
                  <a:gd name="T72" fmla="*/ 24 w 88"/>
                  <a:gd name="T73" fmla="*/ 35 h 143"/>
                  <a:gd name="T74" fmla="*/ 39 w 88"/>
                  <a:gd name="T75" fmla="*/ 37 h 143"/>
                  <a:gd name="T76" fmla="*/ 34 w 88"/>
                  <a:gd name="T77" fmla="*/ 29 h 143"/>
                  <a:gd name="T78" fmla="*/ 24 w 88"/>
                  <a:gd name="T79" fmla="*/ 35 h 143"/>
                  <a:gd name="T80" fmla="*/ 62 w 88"/>
                  <a:gd name="T81" fmla="*/ 84 h 143"/>
                  <a:gd name="T82" fmla="*/ 43 w 88"/>
                  <a:gd name="T83" fmla="*/ 81 h 143"/>
                  <a:gd name="T84" fmla="*/ 25 w 88"/>
                  <a:gd name="T85" fmla="*/ 87 h 143"/>
                  <a:gd name="T86" fmla="*/ 26 w 88"/>
                  <a:gd name="T87" fmla="*/ 48 h 143"/>
                  <a:gd name="T88" fmla="*/ 38 w 88"/>
                  <a:gd name="T89" fmla="*/ 52 h 143"/>
                  <a:gd name="T90" fmla="*/ 25 w 88"/>
                  <a:gd name="T91" fmla="*/ 44 h 143"/>
                  <a:gd name="T92" fmla="*/ 32 w 88"/>
                  <a:gd name="T93" fmla="*/ 69 h 143"/>
                  <a:gd name="T94" fmla="*/ 41 w 88"/>
                  <a:gd name="T95" fmla="*/ 75 h 143"/>
                  <a:gd name="T96" fmla="*/ 57 w 88"/>
                  <a:gd name="T97" fmla="*/ 70 h 143"/>
                  <a:gd name="T98" fmla="*/ 56 w 88"/>
                  <a:gd name="T99" fmla="*/ 98 h 143"/>
                  <a:gd name="T100" fmla="*/ 54 w 88"/>
                  <a:gd name="T101" fmla="*/ 93 h 143"/>
                  <a:gd name="T102" fmla="*/ 36 w 88"/>
                  <a:gd name="T103" fmla="*/ 93 h 143"/>
                  <a:gd name="T104" fmla="*/ 32 w 88"/>
                  <a:gd name="T105" fmla="*/ 98 h 143"/>
                  <a:gd name="T106" fmla="*/ 56 w 88"/>
                  <a:gd name="T107" fmla="*/ 29 h 143"/>
                  <a:gd name="T108" fmla="*/ 46 w 88"/>
                  <a:gd name="T109" fmla="*/ 29 h 143"/>
                  <a:gd name="T110" fmla="*/ 60 w 88"/>
                  <a:gd name="T111" fmla="*/ 37 h 143"/>
                  <a:gd name="T112" fmla="*/ 56 w 88"/>
                  <a:gd name="T113" fmla="*/ 29 h 143"/>
                  <a:gd name="T114" fmla="*/ 60 w 88"/>
                  <a:gd name="T115" fmla="*/ 43 h 143"/>
                  <a:gd name="T116" fmla="*/ 46 w 88"/>
                  <a:gd name="T117" fmla="*/ 52 h 143"/>
                  <a:gd name="T118" fmla="*/ 59 w 88"/>
                  <a:gd name="T119" fmla="*/ 48 h 1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88" h="143">
                    <a:moveTo>
                      <a:pt x="43" y="2"/>
                    </a:moveTo>
                    <a:cubicBezTo>
                      <a:pt x="45" y="3"/>
                      <a:pt x="47" y="6"/>
                      <a:pt x="47" y="8"/>
                    </a:cubicBezTo>
                    <a:cubicBezTo>
                      <a:pt x="47" y="9"/>
                      <a:pt x="48" y="10"/>
                      <a:pt x="49" y="10"/>
                    </a:cubicBezTo>
                    <a:cubicBezTo>
                      <a:pt x="57" y="10"/>
                      <a:pt x="66" y="12"/>
                      <a:pt x="74" y="14"/>
                    </a:cubicBezTo>
                    <a:cubicBezTo>
                      <a:pt x="78" y="16"/>
                      <a:pt x="81" y="18"/>
                      <a:pt x="81" y="19"/>
                    </a:cubicBezTo>
                    <a:cubicBezTo>
                      <a:pt x="82" y="21"/>
                      <a:pt x="82" y="24"/>
                      <a:pt x="82" y="26"/>
                    </a:cubicBezTo>
                    <a:cubicBezTo>
                      <a:pt x="82" y="27"/>
                      <a:pt x="82" y="27"/>
                      <a:pt x="82" y="28"/>
                    </a:cubicBezTo>
                    <a:cubicBezTo>
                      <a:pt x="79" y="39"/>
                      <a:pt x="78" y="55"/>
                      <a:pt x="79" y="75"/>
                    </a:cubicBezTo>
                    <a:cubicBezTo>
                      <a:pt x="80" y="87"/>
                      <a:pt x="83" y="106"/>
                      <a:pt x="87" y="131"/>
                    </a:cubicBezTo>
                    <a:cubicBezTo>
                      <a:pt x="88" y="134"/>
                      <a:pt x="87" y="135"/>
                      <a:pt x="86" y="136"/>
                    </a:cubicBezTo>
                    <a:cubicBezTo>
                      <a:pt x="84" y="137"/>
                      <a:pt x="82" y="136"/>
                      <a:pt x="82" y="133"/>
                    </a:cubicBezTo>
                    <a:cubicBezTo>
                      <a:pt x="74" y="106"/>
                      <a:pt x="71" y="76"/>
                      <a:pt x="73" y="45"/>
                    </a:cubicBezTo>
                    <a:cubicBezTo>
                      <a:pt x="72" y="45"/>
                      <a:pt x="71" y="44"/>
                      <a:pt x="70" y="44"/>
                    </a:cubicBezTo>
                    <a:cubicBezTo>
                      <a:pt x="69" y="44"/>
                      <a:pt x="68" y="44"/>
                      <a:pt x="67" y="44"/>
                    </a:cubicBezTo>
                    <a:cubicBezTo>
                      <a:pt x="67" y="48"/>
                      <a:pt x="66" y="51"/>
                      <a:pt x="64" y="54"/>
                    </a:cubicBezTo>
                    <a:cubicBezTo>
                      <a:pt x="62" y="57"/>
                      <a:pt x="59" y="59"/>
                      <a:pt x="54" y="58"/>
                    </a:cubicBezTo>
                    <a:cubicBezTo>
                      <a:pt x="47" y="58"/>
                      <a:pt x="39" y="58"/>
                      <a:pt x="32" y="58"/>
                    </a:cubicBezTo>
                    <a:cubicBezTo>
                      <a:pt x="28" y="59"/>
                      <a:pt x="25" y="58"/>
                      <a:pt x="22" y="54"/>
                    </a:cubicBezTo>
                    <a:cubicBezTo>
                      <a:pt x="20" y="51"/>
                      <a:pt x="19" y="48"/>
                      <a:pt x="18" y="45"/>
                    </a:cubicBezTo>
                    <a:cubicBezTo>
                      <a:pt x="17" y="45"/>
                      <a:pt x="16" y="45"/>
                      <a:pt x="15" y="45"/>
                    </a:cubicBezTo>
                    <a:cubicBezTo>
                      <a:pt x="14" y="45"/>
                      <a:pt x="13" y="45"/>
                      <a:pt x="13" y="45"/>
                    </a:cubicBezTo>
                    <a:cubicBezTo>
                      <a:pt x="13" y="60"/>
                      <a:pt x="13" y="75"/>
                      <a:pt x="11" y="91"/>
                    </a:cubicBezTo>
                    <a:cubicBezTo>
                      <a:pt x="11" y="95"/>
                      <a:pt x="11" y="102"/>
                      <a:pt x="10" y="111"/>
                    </a:cubicBezTo>
                    <a:cubicBezTo>
                      <a:pt x="10" y="108"/>
                      <a:pt x="10" y="111"/>
                      <a:pt x="9" y="118"/>
                    </a:cubicBezTo>
                    <a:cubicBezTo>
                      <a:pt x="9" y="124"/>
                      <a:pt x="8" y="130"/>
                      <a:pt x="6" y="134"/>
                    </a:cubicBezTo>
                    <a:cubicBezTo>
                      <a:pt x="5" y="138"/>
                      <a:pt x="3" y="139"/>
                      <a:pt x="2" y="139"/>
                    </a:cubicBezTo>
                    <a:cubicBezTo>
                      <a:pt x="0" y="139"/>
                      <a:pt x="0" y="137"/>
                      <a:pt x="0" y="133"/>
                    </a:cubicBezTo>
                    <a:cubicBezTo>
                      <a:pt x="3" y="112"/>
                      <a:pt x="5" y="94"/>
                      <a:pt x="6" y="80"/>
                    </a:cubicBezTo>
                    <a:cubicBezTo>
                      <a:pt x="8" y="64"/>
                      <a:pt x="7" y="51"/>
                      <a:pt x="6" y="38"/>
                    </a:cubicBezTo>
                    <a:cubicBezTo>
                      <a:pt x="5" y="34"/>
                      <a:pt x="4" y="30"/>
                      <a:pt x="2" y="26"/>
                    </a:cubicBezTo>
                    <a:cubicBezTo>
                      <a:pt x="0" y="21"/>
                      <a:pt x="1" y="17"/>
                      <a:pt x="6" y="16"/>
                    </a:cubicBezTo>
                    <a:cubicBezTo>
                      <a:pt x="14" y="12"/>
                      <a:pt x="23" y="11"/>
                      <a:pt x="32" y="10"/>
                    </a:cubicBezTo>
                    <a:cubicBezTo>
                      <a:pt x="36" y="9"/>
                      <a:pt x="38" y="7"/>
                      <a:pt x="38" y="4"/>
                    </a:cubicBezTo>
                    <a:cubicBezTo>
                      <a:pt x="38" y="2"/>
                      <a:pt x="38" y="1"/>
                      <a:pt x="39" y="0"/>
                    </a:cubicBezTo>
                    <a:cubicBezTo>
                      <a:pt x="41" y="0"/>
                      <a:pt x="42" y="0"/>
                      <a:pt x="43" y="2"/>
                    </a:cubicBezTo>
                    <a:close/>
                    <a:moveTo>
                      <a:pt x="24" y="23"/>
                    </a:moveTo>
                    <a:cubicBezTo>
                      <a:pt x="33" y="22"/>
                      <a:pt x="44" y="22"/>
                      <a:pt x="58" y="23"/>
                    </a:cubicBezTo>
                    <a:cubicBezTo>
                      <a:pt x="63" y="24"/>
                      <a:pt x="66" y="26"/>
                      <a:pt x="66" y="29"/>
                    </a:cubicBezTo>
                    <a:cubicBezTo>
                      <a:pt x="66" y="30"/>
                      <a:pt x="66" y="30"/>
                      <a:pt x="67" y="31"/>
                    </a:cubicBezTo>
                    <a:cubicBezTo>
                      <a:pt x="67" y="33"/>
                      <a:pt x="67" y="35"/>
                      <a:pt x="67" y="37"/>
                    </a:cubicBezTo>
                    <a:cubicBezTo>
                      <a:pt x="69" y="38"/>
                      <a:pt x="71" y="38"/>
                      <a:pt x="73" y="38"/>
                    </a:cubicBezTo>
                    <a:cubicBezTo>
                      <a:pt x="73" y="37"/>
                      <a:pt x="73" y="36"/>
                      <a:pt x="73" y="34"/>
                    </a:cubicBezTo>
                    <a:cubicBezTo>
                      <a:pt x="73" y="32"/>
                      <a:pt x="73" y="30"/>
                      <a:pt x="74" y="29"/>
                    </a:cubicBezTo>
                    <a:cubicBezTo>
                      <a:pt x="75" y="25"/>
                      <a:pt x="72" y="21"/>
                      <a:pt x="66" y="20"/>
                    </a:cubicBezTo>
                    <a:cubicBezTo>
                      <a:pt x="58" y="17"/>
                      <a:pt x="50" y="16"/>
                      <a:pt x="40" y="16"/>
                    </a:cubicBezTo>
                    <a:cubicBezTo>
                      <a:pt x="29" y="16"/>
                      <a:pt x="20" y="18"/>
                      <a:pt x="13" y="21"/>
                    </a:cubicBezTo>
                    <a:cubicBezTo>
                      <a:pt x="11" y="22"/>
                      <a:pt x="11" y="24"/>
                      <a:pt x="11" y="26"/>
                    </a:cubicBezTo>
                    <a:cubicBezTo>
                      <a:pt x="11" y="28"/>
                      <a:pt x="12" y="30"/>
                      <a:pt x="12" y="32"/>
                    </a:cubicBezTo>
                    <a:cubicBezTo>
                      <a:pt x="12" y="35"/>
                      <a:pt x="12" y="37"/>
                      <a:pt x="12" y="38"/>
                    </a:cubicBezTo>
                    <a:cubicBezTo>
                      <a:pt x="14" y="38"/>
                      <a:pt x="15" y="38"/>
                      <a:pt x="17" y="38"/>
                    </a:cubicBezTo>
                    <a:cubicBezTo>
                      <a:pt x="17" y="35"/>
                      <a:pt x="17" y="32"/>
                      <a:pt x="17" y="30"/>
                    </a:cubicBezTo>
                    <a:cubicBezTo>
                      <a:pt x="18" y="26"/>
                      <a:pt x="20" y="24"/>
                      <a:pt x="24" y="23"/>
                    </a:cubicBezTo>
                    <a:close/>
                    <a:moveTo>
                      <a:pt x="28" y="64"/>
                    </a:moveTo>
                    <a:cubicBezTo>
                      <a:pt x="39" y="62"/>
                      <a:pt x="50" y="62"/>
                      <a:pt x="61" y="64"/>
                    </a:cubicBezTo>
                    <a:cubicBezTo>
                      <a:pt x="65" y="65"/>
                      <a:pt x="67" y="67"/>
                      <a:pt x="67" y="71"/>
                    </a:cubicBezTo>
                    <a:cubicBezTo>
                      <a:pt x="69" y="79"/>
                      <a:pt x="68" y="88"/>
                      <a:pt x="66" y="96"/>
                    </a:cubicBezTo>
                    <a:cubicBezTo>
                      <a:pt x="65" y="102"/>
                      <a:pt x="61" y="105"/>
                      <a:pt x="54" y="105"/>
                    </a:cubicBezTo>
                    <a:cubicBezTo>
                      <a:pt x="55" y="115"/>
                      <a:pt x="57" y="125"/>
                      <a:pt x="61" y="136"/>
                    </a:cubicBezTo>
                    <a:cubicBezTo>
                      <a:pt x="63" y="138"/>
                      <a:pt x="63" y="140"/>
                      <a:pt x="61" y="142"/>
                    </a:cubicBezTo>
                    <a:cubicBezTo>
                      <a:pt x="60" y="142"/>
                      <a:pt x="59" y="143"/>
                      <a:pt x="59" y="143"/>
                    </a:cubicBezTo>
                    <a:cubicBezTo>
                      <a:pt x="58" y="143"/>
                      <a:pt x="57" y="142"/>
                      <a:pt x="57" y="141"/>
                    </a:cubicBezTo>
                    <a:cubicBezTo>
                      <a:pt x="52" y="131"/>
                      <a:pt x="48" y="120"/>
                      <a:pt x="46" y="105"/>
                    </a:cubicBezTo>
                    <a:cubicBezTo>
                      <a:pt x="41" y="105"/>
                      <a:pt x="41" y="105"/>
                      <a:pt x="41" y="105"/>
                    </a:cubicBezTo>
                    <a:cubicBezTo>
                      <a:pt x="40" y="120"/>
                      <a:pt x="37" y="131"/>
                      <a:pt x="30" y="140"/>
                    </a:cubicBezTo>
                    <a:cubicBezTo>
                      <a:pt x="29" y="141"/>
                      <a:pt x="27" y="142"/>
                      <a:pt x="26" y="142"/>
                    </a:cubicBezTo>
                    <a:cubicBezTo>
                      <a:pt x="25" y="141"/>
                      <a:pt x="25" y="139"/>
                      <a:pt x="26" y="137"/>
                    </a:cubicBezTo>
                    <a:cubicBezTo>
                      <a:pt x="26" y="137"/>
                      <a:pt x="26" y="135"/>
                      <a:pt x="28" y="132"/>
                    </a:cubicBezTo>
                    <a:cubicBezTo>
                      <a:pt x="30" y="127"/>
                      <a:pt x="32" y="123"/>
                      <a:pt x="32" y="121"/>
                    </a:cubicBezTo>
                    <a:cubicBezTo>
                      <a:pt x="33" y="118"/>
                      <a:pt x="34" y="113"/>
                      <a:pt x="35" y="107"/>
                    </a:cubicBezTo>
                    <a:cubicBezTo>
                      <a:pt x="35" y="106"/>
                      <a:pt x="35" y="106"/>
                      <a:pt x="35" y="105"/>
                    </a:cubicBezTo>
                    <a:cubicBezTo>
                      <a:pt x="29" y="105"/>
                      <a:pt x="25" y="103"/>
                      <a:pt x="22" y="98"/>
                    </a:cubicBezTo>
                    <a:cubicBezTo>
                      <a:pt x="19" y="93"/>
                      <a:pt x="17" y="85"/>
                      <a:pt x="18" y="75"/>
                    </a:cubicBezTo>
                    <a:cubicBezTo>
                      <a:pt x="19" y="68"/>
                      <a:pt x="22" y="65"/>
                      <a:pt x="28" y="64"/>
                    </a:cubicBezTo>
                    <a:close/>
                    <a:moveTo>
                      <a:pt x="24" y="35"/>
                    </a:moveTo>
                    <a:cubicBezTo>
                      <a:pt x="24" y="36"/>
                      <a:pt x="24" y="36"/>
                      <a:pt x="24" y="37"/>
                    </a:cubicBezTo>
                    <a:cubicBezTo>
                      <a:pt x="29" y="37"/>
                      <a:pt x="34" y="37"/>
                      <a:pt x="39" y="37"/>
                    </a:cubicBezTo>
                    <a:cubicBezTo>
                      <a:pt x="39" y="34"/>
                      <a:pt x="38" y="31"/>
                      <a:pt x="38" y="29"/>
                    </a:cubicBezTo>
                    <a:cubicBezTo>
                      <a:pt x="37" y="29"/>
                      <a:pt x="36" y="29"/>
                      <a:pt x="34" y="29"/>
                    </a:cubicBezTo>
                    <a:cubicBezTo>
                      <a:pt x="31" y="29"/>
                      <a:pt x="30" y="29"/>
                      <a:pt x="28" y="29"/>
                    </a:cubicBezTo>
                    <a:cubicBezTo>
                      <a:pt x="25" y="31"/>
                      <a:pt x="24" y="32"/>
                      <a:pt x="24" y="35"/>
                    </a:cubicBezTo>
                    <a:close/>
                    <a:moveTo>
                      <a:pt x="61" y="87"/>
                    </a:moveTo>
                    <a:cubicBezTo>
                      <a:pt x="61" y="86"/>
                      <a:pt x="62" y="85"/>
                      <a:pt x="62" y="84"/>
                    </a:cubicBezTo>
                    <a:cubicBezTo>
                      <a:pt x="62" y="83"/>
                      <a:pt x="62" y="82"/>
                      <a:pt x="62" y="82"/>
                    </a:cubicBezTo>
                    <a:cubicBezTo>
                      <a:pt x="56" y="81"/>
                      <a:pt x="50" y="80"/>
                      <a:pt x="43" y="81"/>
                    </a:cubicBezTo>
                    <a:cubicBezTo>
                      <a:pt x="37" y="81"/>
                      <a:pt x="31" y="82"/>
                      <a:pt x="24" y="83"/>
                    </a:cubicBezTo>
                    <a:cubicBezTo>
                      <a:pt x="25" y="87"/>
                      <a:pt x="25" y="87"/>
                      <a:pt x="25" y="87"/>
                    </a:cubicBezTo>
                    <a:cubicBezTo>
                      <a:pt x="35" y="86"/>
                      <a:pt x="48" y="86"/>
                      <a:pt x="61" y="87"/>
                    </a:cubicBezTo>
                    <a:close/>
                    <a:moveTo>
                      <a:pt x="26" y="48"/>
                    </a:moveTo>
                    <a:cubicBezTo>
                      <a:pt x="28" y="51"/>
                      <a:pt x="30" y="52"/>
                      <a:pt x="35" y="52"/>
                    </a:cubicBezTo>
                    <a:cubicBezTo>
                      <a:pt x="38" y="52"/>
                      <a:pt x="38" y="52"/>
                      <a:pt x="38" y="52"/>
                    </a:cubicBezTo>
                    <a:cubicBezTo>
                      <a:pt x="38" y="49"/>
                      <a:pt x="39" y="46"/>
                      <a:pt x="39" y="44"/>
                    </a:cubicBezTo>
                    <a:cubicBezTo>
                      <a:pt x="34" y="44"/>
                      <a:pt x="30" y="44"/>
                      <a:pt x="25" y="44"/>
                    </a:cubicBezTo>
                    <a:cubicBezTo>
                      <a:pt x="25" y="46"/>
                      <a:pt x="25" y="47"/>
                      <a:pt x="26" y="48"/>
                    </a:cubicBezTo>
                    <a:close/>
                    <a:moveTo>
                      <a:pt x="32" y="69"/>
                    </a:moveTo>
                    <a:cubicBezTo>
                      <a:pt x="28" y="70"/>
                      <a:pt x="25" y="72"/>
                      <a:pt x="25" y="76"/>
                    </a:cubicBezTo>
                    <a:cubicBezTo>
                      <a:pt x="30" y="75"/>
                      <a:pt x="35" y="75"/>
                      <a:pt x="41" y="75"/>
                    </a:cubicBezTo>
                    <a:cubicBezTo>
                      <a:pt x="46" y="74"/>
                      <a:pt x="53" y="74"/>
                      <a:pt x="61" y="75"/>
                    </a:cubicBezTo>
                    <a:cubicBezTo>
                      <a:pt x="61" y="72"/>
                      <a:pt x="59" y="71"/>
                      <a:pt x="57" y="70"/>
                    </a:cubicBezTo>
                    <a:cubicBezTo>
                      <a:pt x="49" y="68"/>
                      <a:pt x="40" y="68"/>
                      <a:pt x="32" y="69"/>
                    </a:cubicBezTo>
                    <a:close/>
                    <a:moveTo>
                      <a:pt x="56" y="98"/>
                    </a:moveTo>
                    <a:cubicBezTo>
                      <a:pt x="59" y="97"/>
                      <a:pt x="60" y="96"/>
                      <a:pt x="61" y="93"/>
                    </a:cubicBezTo>
                    <a:cubicBezTo>
                      <a:pt x="60" y="93"/>
                      <a:pt x="57" y="93"/>
                      <a:pt x="54" y="93"/>
                    </a:cubicBezTo>
                    <a:cubicBezTo>
                      <a:pt x="48" y="92"/>
                      <a:pt x="44" y="92"/>
                      <a:pt x="41" y="92"/>
                    </a:cubicBezTo>
                    <a:cubicBezTo>
                      <a:pt x="40" y="92"/>
                      <a:pt x="38" y="92"/>
                      <a:pt x="36" y="93"/>
                    </a:cubicBezTo>
                    <a:cubicBezTo>
                      <a:pt x="31" y="93"/>
                      <a:pt x="28" y="94"/>
                      <a:pt x="26" y="94"/>
                    </a:cubicBezTo>
                    <a:cubicBezTo>
                      <a:pt x="27" y="96"/>
                      <a:pt x="29" y="98"/>
                      <a:pt x="32" y="98"/>
                    </a:cubicBezTo>
                    <a:cubicBezTo>
                      <a:pt x="39" y="99"/>
                      <a:pt x="47" y="99"/>
                      <a:pt x="56" y="98"/>
                    </a:cubicBezTo>
                    <a:close/>
                    <a:moveTo>
                      <a:pt x="56" y="29"/>
                    </a:moveTo>
                    <a:cubicBezTo>
                      <a:pt x="55" y="29"/>
                      <a:pt x="53" y="29"/>
                      <a:pt x="51" y="29"/>
                    </a:cubicBezTo>
                    <a:cubicBezTo>
                      <a:pt x="49" y="29"/>
                      <a:pt x="47" y="29"/>
                      <a:pt x="46" y="29"/>
                    </a:cubicBezTo>
                    <a:cubicBezTo>
                      <a:pt x="46" y="31"/>
                      <a:pt x="46" y="34"/>
                      <a:pt x="46" y="37"/>
                    </a:cubicBezTo>
                    <a:cubicBezTo>
                      <a:pt x="50" y="37"/>
                      <a:pt x="55" y="37"/>
                      <a:pt x="60" y="37"/>
                    </a:cubicBezTo>
                    <a:cubicBezTo>
                      <a:pt x="60" y="35"/>
                      <a:pt x="60" y="35"/>
                      <a:pt x="60" y="35"/>
                    </a:cubicBezTo>
                    <a:cubicBezTo>
                      <a:pt x="60" y="32"/>
                      <a:pt x="58" y="30"/>
                      <a:pt x="56" y="29"/>
                    </a:cubicBezTo>
                    <a:close/>
                    <a:moveTo>
                      <a:pt x="59" y="48"/>
                    </a:moveTo>
                    <a:cubicBezTo>
                      <a:pt x="59" y="47"/>
                      <a:pt x="59" y="45"/>
                      <a:pt x="60" y="43"/>
                    </a:cubicBezTo>
                    <a:cubicBezTo>
                      <a:pt x="55" y="43"/>
                      <a:pt x="51" y="43"/>
                      <a:pt x="46" y="43"/>
                    </a:cubicBezTo>
                    <a:cubicBezTo>
                      <a:pt x="46" y="52"/>
                      <a:pt x="46" y="52"/>
                      <a:pt x="46" y="52"/>
                    </a:cubicBezTo>
                    <a:cubicBezTo>
                      <a:pt x="48" y="52"/>
                      <a:pt x="51" y="52"/>
                      <a:pt x="54" y="52"/>
                    </a:cubicBezTo>
                    <a:cubicBezTo>
                      <a:pt x="57" y="51"/>
                      <a:pt x="59" y="49"/>
                      <a:pt x="59" y="4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76" name="îSḻide"/>
              <p:cNvSpPr/>
              <p:nvPr/>
            </p:nvSpPr>
            <p:spPr bwMode="auto">
              <a:xfrm>
                <a:off x="2449409" y="5256803"/>
                <a:ext cx="139700" cy="265113"/>
              </a:xfrm>
              <a:custGeom>
                <a:avLst/>
                <a:gdLst>
                  <a:gd name="T0" fmla="*/ 56 w 76"/>
                  <a:gd name="T1" fmla="*/ 3 h 144"/>
                  <a:gd name="T2" fmla="*/ 61 w 76"/>
                  <a:gd name="T3" fmla="*/ 45 h 144"/>
                  <a:gd name="T4" fmla="*/ 50 w 76"/>
                  <a:gd name="T5" fmla="*/ 74 h 144"/>
                  <a:gd name="T6" fmla="*/ 68 w 76"/>
                  <a:gd name="T7" fmla="*/ 65 h 144"/>
                  <a:gd name="T8" fmla="*/ 70 w 76"/>
                  <a:gd name="T9" fmla="*/ 31 h 144"/>
                  <a:gd name="T10" fmla="*/ 74 w 76"/>
                  <a:gd name="T11" fmla="*/ 31 h 144"/>
                  <a:gd name="T12" fmla="*/ 74 w 76"/>
                  <a:gd name="T13" fmla="*/ 64 h 144"/>
                  <a:gd name="T14" fmla="*/ 50 w 76"/>
                  <a:gd name="T15" fmla="*/ 81 h 144"/>
                  <a:gd name="T16" fmla="*/ 69 w 76"/>
                  <a:gd name="T17" fmla="*/ 103 h 144"/>
                  <a:gd name="T18" fmla="*/ 74 w 76"/>
                  <a:gd name="T19" fmla="*/ 140 h 144"/>
                  <a:gd name="T20" fmla="*/ 63 w 76"/>
                  <a:gd name="T21" fmla="*/ 105 h 144"/>
                  <a:gd name="T22" fmla="*/ 52 w 76"/>
                  <a:gd name="T23" fmla="*/ 138 h 144"/>
                  <a:gd name="T24" fmla="*/ 46 w 76"/>
                  <a:gd name="T25" fmla="*/ 139 h 144"/>
                  <a:gd name="T26" fmla="*/ 42 w 76"/>
                  <a:gd name="T27" fmla="*/ 57 h 144"/>
                  <a:gd name="T28" fmla="*/ 35 w 76"/>
                  <a:gd name="T29" fmla="*/ 132 h 144"/>
                  <a:gd name="T30" fmla="*/ 27 w 76"/>
                  <a:gd name="T31" fmla="*/ 136 h 144"/>
                  <a:gd name="T32" fmla="*/ 29 w 76"/>
                  <a:gd name="T33" fmla="*/ 95 h 144"/>
                  <a:gd name="T34" fmla="*/ 5 w 76"/>
                  <a:gd name="T35" fmla="*/ 135 h 144"/>
                  <a:gd name="T36" fmla="*/ 0 w 76"/>
                  <a:gd name="T37" fmla="*/ 135 h 144"/>
                  <a:gd name="T38" fmla="*/ 30 w 76"/>
                  <a:gd name="T39" fmla="*/ 86 h 144"/>
                  <a:gd name="T40" fmla="*/ 26 w 76"/>
                  <a:gd name="T41" fmla="*/ 80 h 144"/>
                  <a:gd name="T42" fmla="*/ 5 w 76"/>
                  <a:gd name="T43" fmla="*/ 66 h 144"/>
                  <a:gd name="T44" fmla="*/ 3 w 76"/>
                  <a:gd name="T45" fmla="*/ 29 h 144"/>
                  <a:gd name="T46" fmla="*/ 9 w 76"/>
                  <a:gd name="T47" fmla="*/ 59 h 144"/>
                  <a:gd name="T48" fmla="*/ 31 w 76"/>
                  <a:gd name="T49" fmla="*/ 74 h 144"/>
                  <a:gd name="T50" fmla="*/ 32 w 76"/>
                  <a:gd name="T51" fmla="*/ 57 h 144"/>
                  <a:gd name="T52" fmla="*/ 16 w 76"/>
                  <a:gd name="T53" fmla="*/ 14 h 144"/>
                  <a:gd name="T54" fmla="*/ 22 w 76"/>
                  <a:gd name="T55" fmla="*/ 19 h 144"/>
                  <a:gd name="T56" fmla="*/ 57 w 76"/>
                  <a:gd name="T57" fmla="*/ 19 h 144"/>
                  <a:gd name="T58" fmla="*/ 50 w 76"/>
                  <a:gd name="T59" fmla="*/ 9 h 144"/>
                  <a:gd name="T60" fmla="*/ 22 w 76"/>
                  <a:gd name="T61" fmla="*/ 19 h 144"/>
                  <a:gd name="T62" fmla="*/ 23 w 76"/>
                  <a:gd name="T63" fmla="*/ 31 h 144"/>
                  <a:gd name="T64" fmla="*/ 57 w 76"/>
                  <a:gd name="T65" fmla="*/ 34 h 144"/>
                  <a:gd name="T66" fmla="*/ 22 w 76"/>
                  <a:gd name="T67" fmla="*/ 27 h 144"/>
                  <a:gd name="T68" fmla="*/ 48 w 76"/>
                  <a:gd name="T69" fmla="*/ 50 h 144"/>
                  <a:gd name="T70" fmla="*/ 57 w 76"/>
                  <a:gd name="T71" fmla="*/ 41 h 144"/>
                  <a:gd name="T72" fmla="*/ 25 w 76"/>
                  <a:gd name="T73" fmla="*/ 44 h 1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76" h="144">
                    <a:moveTo>
                      <a:pt x="27" y="2"/>
                    </a:moveTo>
                    <a:cubicBezTo>
                      <a:pt x="37" y="0"/>
                      <a:pt x="47" y="0"/>
                      <a:pt x="56" y="3"/>
                    </a:cubicBezTo>
                    <a:cubicBezTo>
                      <a:pt x="60" y="3"/>
                      <a:pt x="62" y="7"/>
                      <a:pt x="63" y="15"/>
                    </a:cubicBezTo>
                    <a:cubicBezTo>
                      <a:pt x="65" y="25"/>
                      <a:pt x="64" y="35"/>
                      <a:pt x="61" y="45"/>
                    </a:cubicBezTo>
                    <a:cubicBezTo>
                      <a:pt x="60" y="53"/>
                      <a:pt x="55" y="56"/>
                      <a:pt x="49" y="57"/>
                    </a:cubicBezTo>
                    <a:cubicBezTo>
                      <a:pt x="49" y="62"/>
                      <a:pt x="50" y="68"/>
                      <a:pt x="50" y="74"/>
                    </a:cubicBezTo>
                    <a:cubicBezTo>
                      <a:pt x="53" y="74"/>
                      <a:pt x="56" y="74"/>
                      <a:pt x="58" y="74"/>
                    </a:cubicBezTo>
                    <a:cubicBezTo>
                      <a:pt x="62" y="75"/>
                      <a:pt x="66" y="72"/>
                      <a:pt x="68" y="65"/>
                    </a:cubicBezTo>
                    <a:cubicBezTo>
                      <a:pt x="69" y="62"/>
                      <a:pt x="70" y="53"/>
                      <a:pt x="70" y="39"/>
                    </a:cubicBezTo>
                    <a:cubicBezTo>
                      <a:pt x="70" y="35"/>
                      <a:pt x="70" y="32"/>
                      <a:pt x="70" y="31"/>
                    </a:cubicBezTo>
                    <a:cubicBezTo>
                      <a:pt x="71" y="31"/>
                      <a:pt x="71" y="30"/>
                      <a:pt x="72" y="30"/>
                    </a:cubicBezTo>
                    <a:cubicBezTo>
                      <a:pt x="73" y="30"/>
                      <a:pt x="74" y="30"/>
                      <a:pt x="74" y="31"/>
                    </a:cubicBezTo>
                    <a:cubicBezTo>
                      <a:pt x="75" y="33"/>
                      <a:pt x="76" y="36"/>
                      <a:pt x="76" y="41"/>
                    </a:cubicBezTo>
                    <a:cubicBezTo>
                      <a:pt x="76" y="49"/>
                      <a:pt x="75" y="56"/>
                      <a:pt x="74" y="64"/>
                    </a:cubicBezTo>
                    <a:cubicBezTo>
                      <a:pt x="72" y="75"/>
                      <a:pt x="67" y="81"/>
                      <a:pt x="58" y="81"/>
                    </a:cubicBezTo>
                    <a:cubicBezTo>
                      <a:pt x="50" y="81"/>
                      <a:pt x="50" y="81"/>
                      <a:pt x="50" y="81"/>
                    </a:cubicBezTo>
                    <a:cubicBezTo>
                      <a:pt x="50" y="87"/>
                      <a:pt x="50" y="87"/>
                      <a:pt x="50" y="87"/>
                    </a:cubicBezTo>
                    <a:cubicBezTo>
                      <a:pt x="60" y="87"/>
                      <a:pt x="66" y="92"/>
                      <a:pt x="69" y="103"/>
                    </a:cubicBezTo>
                    <a:cubicBezTo>
                      <a:pt x="72" y="112"/>
                      <a:pt x="74" y="122"/>
                      <a:pt x="76" y="134"/>
                    </a:cubicBezTo>
                    <a:cubicBezTo>
                      <a:pt x="76" y="138"/>
                      <a:pt x="75" y="140"/>
                      <a:pt x="74" y="140"/>
                    </a:cubicBezTo>
                    <a:cubicBezTo>
                      <a:pt x="72" y="141"/>
                      <a:pt x="71" y="139"/>
                      <a:pt x="70" y="136"/>
                    </a:cubicBezTo>
                    <a:cubicBezTo>
                      <a:pt x="68" y="126"/>
                      <a:pt x="66" y="116"/>
                      <a:pt x="63" y="105"/>
                    </a:cubicBezTo>
                    <a:cubicBezTo>
                      <a:pt x="61" y="98"/>
                      <a:pt x="57" y="95"/>
                      <a:pt x="50" y="95"/>
                    </a:cubicBezTo>
                    <a:cubicBezTo>
                      <a:pt x="50" y="109"/>
                      <a:pt x="51" y="123"/>
                      <a:pt x="52" y="138"/>
                    </a:cubicBezTo>
                    <a:cubicBezTo>
                      <a:pt x="52" y="141"/>
                      <a:pt x="51" y="143"/>
                      <a:pt x="49" y="144"/>
                    </a:cubicBezTo>
                    <a:cubicBezTo>
                      <a:pt x="47" y="144"/>
                      <a:pt x="46" y="142"/>
                      <a:pt x="46" y="139"/>
                    </a:cubicBezTo>
                    <a:cubicBezTo>
                      <a:pt x="44" y="134"/>
                      <a:pt x="43" y="118"/>
                      <a:pt x="43" y="92"/>
                    </a:cubicBezTo>
                    <a:cubicBezTo>
                      <a:pt x="43" y="76"/>
                      <a:pt x="43" y="64"/>
                      <a:pt x="42" y="57"/>
                    </a:cubicBezTo>
                    <a:cubicBezTo>
                      <a:pt x="38" y="57"/>
                      <a:pt x="38" y="57"/>
                      <a:pt x="38" y="57"/>
                    </a:cubicBezTo>
                    <a:cubicBezTo>
                      <a:pt x="36" y="88"/>
                      <a:pt x="35" y="113"/>
                      <a:pt x="35" y="132"/>
                    </a:cubicBezTo>
                    <a:cubicBezTo>
                      <a:pt x="35" y="138"/>
                      <a:pt x="33" y="142"/>
                      <a:pt x="31" y="142"/>
                    </a:cubicBezTo>
                    <a:cubicBezTo>
                      <a:pt x="29" y="142"/>
                      <a:pt x="27" y="140"/>
                      <a:pt x="27" y="136"/>
                    </a:cubicBezTo>
                    <a:cubicBezTo>
                      <a:pt x="27" y="136"/>
                      <a:pt x="27" y="134"/>
                      <a:pt x="27" y="132"/>
                    </a:cubicBezTo>
                    <a:cubicBezTo>
                      <a:pt x="28" y="118"/>
                      <a:pt x="29" y="105"/>
                      <a:pt x="29" y="95"/>
                    </a:cubicBezTo>
                    <a:cubicBezTo>
                      <a:pt x="19" y="95"/>
                      <a:pt x="14" y="98"/>
                      <a:pt x="13" y="105"/>
                    </a:cubicBezTo>
                    <a:cubicBezTo>
                      <a:pt x="10" y="114"/>
                      <a:pt x="7" y="124"/>
                      <a:pt x="5" y="135"/>
                    </a:cubicBezTo>
                    <a:cubicBezTo>
                      <a:pt x="4" y="137"/>
                      <a:pt x="3" y="139"/>
                      <a:pt x="2" y="139"/>
                    </a:cubicBezTo>
                    <a:cubicBezTo>
                      <a:pt x="1" y="140"/>
                      <a:pt x="0" y="138"/>
                      <a:pt x="0" y="135"/>
                    </a:cubicBezTo>
                    <a:cubicBezTo>
                      <a:pt x="0" y="125"/>
                      <a:pt x="2" y="115"/>
                      <a:pt x="7" y="104"/>
                    </a:cubicBezTo>
                    <a:cubicBezTo>
                      <a:pt x="11" y="92"/>
                      <a:pt x="18" y="86"/>
                      <a:pt x="30" y="86"/>
                    </a:cubicBezTo>
                    <a:cubicBezTo>
                      <a:pt x="30" y="85"/>
                      <a:pt x="30" y="83"/>
                      <a:pt x="31" y="80"/>
                    </a:cubicBezTo>
                    <a:cubicBezTo>
                      <a:pt x="29" y="81"/>
                      <a:pt x="28" y="81"/>
                      <a:pt x="26" y="80"/>
                    </a:cubicBezTo>
                    <a:cubicBezTo>
                      <a:pt x="24" y="80"/>
                      <a:pt x="23" y="80"/>
                      <a:pt x="22" y="80"/>
                    </a:cubicBezTo>
                    <a:cubicBezTo>
                      <a:pt x="14" y="81"/>
                      <a:pt x="8" y="76"/>
                      <a:pt x="5" y="66"/>
                    </a:cubicBezTo>
                    <a:cubicBezTo>
                      <a:pt x="2" y="59"/>
                      <a:pt x="0" y="49"/>
                      <a:pt x="0" y="37"/>
                    </a:cubicBezTo>
                    <a:cubicBezTo>
                      <a:pt x="0" y="32"/>
                      <a:pt x="1" y="29"/>
                      <a:pt x="3" y="29"/>
                    </a:cubicBezTo>
                    <a:cubicBezTo>
                      <a:pt x="6" y="31"/>
                      <a:pt x="8" y="35"/>
                      <a:pt x="8" y="39"/>
                    </a:cubicBezTo>
                    <a:cubicBezTo>
                      <a:pt x="7" y="45"/>
                      <a:pt x="7" y="52"/>
                      <a:pt x="9" y="59"/>
                    </a:cubicBezTo>
                    <a:cubicBezTo>
                      <a:pt x="10" y="68"/>
                      <a:pt x="16" y="73"/>
                      <a:pt x="24" y="74"/>
                    </a:cubicBezTo>
                    <a:cubicBezTo>
                      <a:pt x="26" y="74"/>
                      <a:pt x="29" y="74"/>
                      <a:pt x="31" y="74"/>
                    </a:cubicBezTo>
                    <a:cubicBezTo>
                      <a:pt x="31" y="72"/>
                      <a:pt x="31" y="69"/>
                      <a:pt x="31" y="65"/>
                    </a:cubicBezTo>
                    <a:cubicBezTo>
                      <a:pt x="31" y="61"/>
                      <a:pt x="32" y="58"/>
                      <a:pt x="32" y="57"/>
                    </a:cubicBezTo>
                    <a:cubicBezTo>
                      <a:pt x="25" y="56"/>
                      <a:pt x="20" y="53"/>
                      <a:pt x="19" y="48"/>
                    </a:cubicBezTo>
                    <a:cubicBezTo>
                      <a:pt x="15" y="36"/>
                      <a:pt x="14" y="25"/>
                      <a:pt x="16" y="14"/>
                    </a:cubicBezTo>
                    <a:cubicBezTo>
                      <a:pt x="17" y="6"/>
                      <a:pt x="21" y="2"/>
                      <a:pt x="27" y="2"/>
                    </a:cubicBezTo>
                    <a:close/>
                    <a:moveTo>
                      <a:pt x="22" y="19"/>
                    </a:moveTo>
                    <a:cubicBezTo>
                      <a:pt x="22" y="20"/>
                      <a:pt x="22" y="20"/>
                      <a:pt x="22" y="20"/>
                    </a:cubicBezTo>
                    <a:cubicBezTo>
                      <a:pt x="30" y="20"/>
                      <a:pt x="42" y="19"/>
                      <a:pt x="57" y="19"/>
                    </a:cubicBezTo>
                    <a:cubicBezTo>
                      <a:pt x="57" y="18"/>
                      <a:pt x="57" y="17"/>
                      <a:pt x="57" y="16"/>
                    </a:cubicBezTo>
                    <a:cubicBezTo>
                      <a:pt x="56" y="13"/>
                      <a:pt x="54" y="10"/>
                      <a:pt x="50" y="9"/>
                    </a:cubicBezTo>
                    <a:cubicBezTo>
                      <a:pt x="44" y="8"/>
                      <a:pt x="37" y="7"/>
                      <a:pt x="31" y="9"/>
                    </a:cubicBezTo>
                    <a:cubicBezTo>
                      <a:pt x="25" y="11"/>
                      <a:pt x="22" y="14"/>
                      <a:pt x="22" y="19"/>
                    </a:cubicBezTo>
                    <a:close/>
                    <a:moveTo>
                      <a:pt x="22" y="27"/>
                    </a:moveTo>
                    <a:cubicBezTo>
                      <a:pt x="22" y="28"/>
                      <a:pt x="22" y="29"/>
                      <a:pt x="23" y="31"/>
                    </a:cubicBezTo>
                    <a:cubicBezTo>
                      <a:pt x="23" y="32"/>
                      <a:pt x="23" y="33"/>
                      <a:pt x="23" y="34"/>
                    </a:cubicBezTo>
                    <a:cubicBezTo>
                      <a:pt x="57" y="34"/>
                      <a:pt x="57" y="34"/>
                      <a:pt x="57" y="34"/>
                    </a:cubicBezTo>
                    <a:cubicBezTo>
                      <a:pt x="57" y="27"/>
                      <a:pt x="57" y="27"/>
                      <a:pt x="57" y="27"/>
                    </a:cubicBezTo>
                    <a:cubicBezTo>
                      <a:pt x="45" y="26"/>
                      <a:pt x="33" y="26"/>
                      <a:pt x="22" y="27"/>
                    </a:cubicBezTo>
                    <a:close/>
                    <a:moveTo>
                      <a:pt x="35" y="50"/>
                    </a:moveTo>
                    <a:cubicBezTo>
                      <a:pt x="48" y="50"/>
                      <a:pt x="48" y="50"/>
                      <a:pt x="48" y="50"/>
                    </a:cubicBezTo>
                    <a:cubicBezTo>
                      <a:pt x="53" y="50"/>
                      <a:pt x="55" y="47"/>
                      <a:pt x="57" y="42"/>
                    </a:cubicBezTo>
                    <a:cubicBezTo>
                      <a:pt x="57" y="41"/>
                      <a:pt x="57" y="41"/>
                      <a:pt x="57" y="41"/>
                    </a:cubicBezTo>
                    <a:cubicBezTo>
                      <a:pt x="43" y="41"/>
                      <a:pt x="32" y="41"/>
                      <a:pt x="24" y="42"/>
                    </a:cubicBezTo>
                    <a:cubicBezTo>
                      <a:pt x="24" y="43"/>
                      <a:pt x="24" y="43"/>
                      <a:pt x="25" y="44"/>
                    </a:cubicBezTo>
                    <a:cubicBezTo>
                      <a:pt x="27" y="48"/>
                      <a:pt x="30" y="50"/>
                      <a:pt x="35" y="5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77" name="iṣlîḋè"/>
              <p:cNvSpPr/>
              <p:nvPr/>
            </p:nvSpPr>
            <p:spPr bwMode="auto">
              <a:xfrm>
                <a:off x="2604984" y="5259978"/>
                <a:ext cx="177800" cy="255588"/>
              </a:xfrm>
              <a:custGeom>
                <a:avLst/>
                <a:gdLst>
                  <a:gd name="T0" fmla="*/ 5 w 96"/>
                  <a:gd name="T1" fmla="*/ 37 h 138"/>
                  <a:gd name="T2" fmla="*/ 24 w 96"/>
                  <a:gd name="T3" fmla="*/ 49 h 138"/>
                  <a:gd name="T4" fmla="*/ 7 w 96"/>
                  <a:gd name="T5" fmla="*/ 26 h 138"/>
                  <a:gd name="T6" fmla="*/ 0 w 96"/>
                  <a:gd name="T7" fmla="*/ 22 h 138"/>
                  <a:gd name="T8" fmla="*/ 44 w 96"/>
                  <a:gd name="T9" fmla="*/ 19 h 138"/>
                  <a:gd name="T10" fmla="*/ 40 w 96"/>
                  <a:gd name="T11" fmla="*/ 26 h 138"/>
                  <a:gd name="T12" fmla="*/ 29 w 96"/>
                  <a:gd name="T13" fmla="*/ 49 h 138"/>
                  <a:gd name="T14" fmla="*/ 42 w 96"/>
                  <a:gd name="T15" fmla="*/ 39 h 138"/>
                  <a:gd name="T16" fmla="*/ 36 w 96"/>
                  <a:gd name="T17" fmla="*/ 64 h 138"/>
                  <a:gd name="T18" fmla="*/ 44 w 96"/>
                  <a:gd name="T19" fmla="*/ 70 h 138"/>
                  <a:gd name="T20" fmla="*/ 30 w 96"/>
                  <a:gd name="T21" fmla="*/ 78 h 138"/>
                  <a:gd name="T22" fmla="*/ 48 w 96"/>
                  <a:gd name="T23" fmla="*/ 111 h 138"/>
                  <a:gd name="T24" fmla="*/ 42 w 96"/>
                  <a:gd name="T25" fmla="*/ 124 h 138"/>
                  <a:gd name="T26" fmla="*/ 33 w 96"/>
                  <a:gd name="T27" fmla="*/ 93 h 138"/>
                  <a:gd name="T28" fmla="*/ 30 w 96"/>
                  <a:gd name="T29" fmla="*/ 116 h 138"/>
                  <a:gd name="T30" fmla="*/ 24 w 96"/>
                  <a:gd name="T31" fmla="*/ 133 h 138"/>
                  <a:gd name="T32" fmla="*/ 20 w 96"/>
                  <a:gd name="T33" fmla="*/ 93 h 138"/>
                  <a:gd name="T34" fmla="*/ 11 w 96"/>
                  <a:gd name="T35" fmla="*/ 122 h 138"/>
                  <a:gd name="T36" fmla="*/ 8 w 96"/>
                  <a:gd name="T37" fmla="*/ 102 h 138"/>
                  <a:gd name="T38" fmla="*/ 24 w 96"/>
                  <a:gd name="T39" fmla="*/ 81 h 138"/>
                  <a:gd name="T40" fmla="*/ 3 w 96"/>
                  <a:gd name="T41" fmla="*/ 77 h 138"/>
                  <a:gd name="T42" fmla="*/ 14 w 96"/>
                  <a:gd name="T43" fmla="*/ 70 h 138"/>
                  <a:gd name="T44" fmla="*/ 20 w 96"/>
                  <a:gd name="T45" fmla="*/ 65 h 138"/>
                  <a:gd name="T46" fmla="*/ 2 w 96"/>
                  <a:gd name="T47" fmla="*/ 37 h 138"/>
                  <a:gd name="T48" fmla="*/ 40 w 96"/>
                  <a:gd name="T49" fmla="*/ 3 h 138"/>
                  <a:gd name="T50" fmla="*/ 14 w 96"/>
                  <a:gd name="T51" fmla="*/ 11 h 138"/>
                  <a:gd name="T52" fmla="*/ 5 w 96"/>
                  <a:gd name="T53" fmla="*/ 6 h 138"/>
                  <a:gd name="T54" fmla="*/ 33 w 96"/>
                  <a:gd name="T55" fmla="*/ 26 h 138"/>
                  <a:gd name="T56" fmla="*/ 27 w 96"/>
                  <a:gd name="T57" fmla="*/ 45 h 138"/>
                  <a:gd name="T58" fmla="*/ 54 w 96"/>
                  <a:gd name="T59" fmla="*/ 2 h 138"/>
                  <a:gd name="T60" fmla="*/ 58 w 96"/>
                  <a:gd name="T61" fmla="*/ 10 h 138"/>
                  <a:gd name="T62" fmla="*/ 88 w 96"/>
                  <a:gd name="T63" fmla="*/ 22 h 138"/>
                  <a:gd name="T64" fmla="*/ 74 w 96"/>
                  <a:gd name="T65" fmla="*/ 37 h 138"/>
                  <a:gd name="T66" fmla="*/ 62 w 96"/>
                  <a:gd name="T67" fmla="*/ 66 h 138"/>
                  <a:gd name="T68" fmla="*/ 53 w 96"/>
                  <a:gd name="T69" fmla="*/ 136 h 138"/>
                  <a:gd name="T70" fmla="*/ 48 w 96"/>
                  <a:gd name="T71" fmla="*/ 130 h 138"/>
                  <a:gd name="T72" fmla="*/ 55 w 96"/>
                  <a:gd name="T73" fmla="*/ 48 h 138"/>
                  <a:gd name="T74" fmla="*/ 76 w 96"/>
                  <a:gd name="T75" fmla="*/ 31 h 138"/>
                  <a:gd name="T76" fmla="*/ 65 w 96"/>
                  <a:gd name="T77" fmla="*/ 18 h 138"/>
                  <a:gd name="T78" fmla="*/ 52 w 96"/>
                  <a:gd name="T79" fmla="*/ 13 h 138"/>
                  <a:gd name="T80" fmla="*/ 94 w 96"/>
                  <a:gd name="T81" fmla="*/ 74 h 138"/>
                  <a:gd name="T82" fmla="*/ 76 w 96"/>
                  <a:gd name="T83" fmla="*/ 54 h 138"/>
                  <a:gd name="T84" fmla="*/ 83 w 96"/>
                  <a:gd name="T85" fmla="*/ 119 h 138"/>
                  <a:gd name="T86" fmla="*/ 88 w 96"/>
                  <a:gd name="T87" fmla="*/ 133 h 138"/>
                  <a:gd name="T88" fmla="*/ 70 w 96"/>
                  <a:gd name="T89" fmla="*/ 93 h 138"/>
                  <a:gd name="T90" fmla="*/ 70 w 96"/>
                  <a:gd name="T91" fmla="*/ 42 h 138"/>
                  <a:gd name="T92" fmla="*/ 95 w 96"/>
                  <a:gd name="T93" fmla="*/ 70 h 1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96" h="138">
                    <a:moveTo>
                      <a:pt x="2" y="37"/>
                    </a:moveTo>
                    <a:cubicBezTo>
                      <a:pt x="2" y="36"/>
                      <a:pt x="2" y="35"/>
                      <a:pt x="3" y="35"/>
                    </a:cubicBezTo>
                    <a:cubicBezTo>
                      <a:pt x="4" y="35"/>
                      <a:pt x="5" y="36"/>
                      <a:pt x="5" y="37"/>
                    </a:cubicBezTo>
                    <a:cubicBezTo>
                      <a:pt x="9" y="49"/>
                      <a:pt x="14" y="56"/>
                      <a:pt x="21" y="59"/>
                    </a:cubicBezTo>
                    <a:cubicBezTo>
                      <a:pt x="21" y="59"/>
                      <a:pt x="22" y="60"/>
                      <a:pt x="24" y="60"/>
                    </a:cubicBezTo>
                    <a:cubicBezTo>
                      <a:pt x="24" y="56"/>
                      <a:pt x="24" y="53"/>
                      <a:pt x="24" y="49"/>
                    </a:cubicBezTo>
                    <a:cubicBezTo>
                      <a:pt x="21" y="48"/>
                      <a:pt x="18" y="46"/>
                      <a:pt x="16" y="42"/>
                    </a:cubicBezTo>
                    <a:cubicBezTo>
                      <a:pt x="13" y="38"/>
                      <a:pt x="12" y="33"/>
                      <a:pt x="12" y="26"/>
                    </a:cubicBezTo>
                    <a:cubicBezTo>
                      <a:pt x="9" y="26"/>
                      <a:pt x="8" y="26"/>
                      <a:pt x="7" y="26"/>
                    </a:cubicBezTo>
                    <a:cubicBezTo>
                      <a:pt x="4" y="27"/>
                      <a:pt x="2" y="27"/>
                      <a:pt x="1" y="25"/>
                    </a:cubicBezTo>
                    <a:cubicBezTo>
                      <a:pt x="0" y="24"/>
                      <a:pt x="0" y="23"/>
                      <a:pt x="0" y="22"/>
                    </a:cubicBezTo>
                    <a:cubicBezTo>
                      <a:pt x="0" y="22"/>
                      <a:pt x="0" y="22"/>
                      <a:pt x="0" y="22"/>
                    </a:cubicBezTo>
                    <a:cubicBezTo>
                      <a:pt x="1" y="19"/>
                      <a:pt x="2" y="18"/>
                      <a:pt x="4" y="19"/>
                    </a:cubicBezTo>
                    <a:cubicBezTo>
                      <a:pt x="6" y="19"/>
                      <a:pt x="8" y="19"/>
                      <a:pt x="11" y="19"/>
                    </a:cubicBezTo>
                    <a:cubicBezTo>
                      <a:pt x="44" y="19"/>
                      <a:pt x="44" y="19"/>
                      <a:pt x="44" y="19"/>
                    </a:cubicBezTo>
                    <a:cubicBezTo>
                      <a:pt x="46" y="19"/>
                      <a:pt x="48" y="20"/>
                      <a:pt x="48" y="23"/>
                    </a:cubicBezTo>
                    <a:cubicBezTo>
                      <a:pt x="47" y="25"/>
                      <a:pt x="45" y="26"/>
                      <a:pt x="42" y="26"/>
                    </a:cubicBezTo>
                    <a:cubicBezTo>
                      <a:pt x="42" y="26"/>
                      <a:pt x="41" y="26"/>
                      <a:pt x="40" y="26"/>
                    </a:cubicBezTo>
                    <a:cubicBezTo>
                      <a:pt x="40" y="26"/>
                      <a:pt x="40" y="26"/>
                      <a:pt x="40" y="26"/>
                    </a:cubicBezTo>
                    <a:cubicBezTo>
                      <a:pt x="39" y="34"/>
                      <a:pt x="38" y="39"/>
                      <a:pt x="37" y="42"/>
                    </a:cubicBezTo>
                    <a:cubicBezTo>
                      <a:pt x="34" y="46"/>
                      <a:pt x="32" y="49"/>
                      <a:pt x="29" y="49"/>
                    </a:cubicBezTo>
                    <a:cubicBezTo>
                      <a:pt x="30" y="53"/>
                      <a:pt x="30" y="56"/>
                      <a:pt x="30" y="60"/>
                    </a:cubicBezTo>
                    <a:cubicBezTo>
                      <a:pt x="31" y="60"/>
                      <a:pt x="32" y="59"/>
                      <a:pt x="33" y="58"/>
                    </a:cubicBezTo>
                    <a:cubicBezTo>
                      <a:pt x="39" y="56"/>
                      <a:pt x="42" y="49"/>
                      <a:pt x="42" y="39"/>
                    </a:cubicBezTo>
                    <a:cubicBezTo>
                      <a:pt x="43" y="37"/>
                      <a:pt x="44" y="36"/>
                      <a:pt x="46" y="36"/>
                    </a:cubicBezTo>
                    <a:cubicBezTo>
                      <a:pt x="47" y="36"/>
                      <a:pt x="48" y="37"/>
                      <a:pt x="48" y="39"/>
                    </a:cubicBezTo>
                    <a:cubicBezTo>
                      <a:pt x="49" y="49"/>
                      <a:pt x="45" y="57"/>
                      <a:pt x="36" y="64"/>
                    </a:cubicBezTo>
                    <a:cubicBezTo>
                      <a:pt x="34" y="65"/>
                      <a:pt x="32" y="66"/>
                      <a:pt x="30" y="66"/>
                    </a:cubicBezTo>
                    <a:cubicBezTo>
                      <a:pt x="30" y="70"/>
                      <a:pt x="30" y="70"/>
                      <a:pt x="30" y="70"/>
                    </a:cubicBezTo>
                    <a:cubicBezTo>
                      <a:pt x="44" y="70"/>
                      <a:pt x="44" y="70"/>
                      <a:pt x="44" y="70"/>
                    </a:cubicBezTo>
                    <a:cubicBezTo>
                      <a:pt x="47" y="70"/>
                      <a:pt x="49" y="71"/>
                      <a:pt x="49" y="73"/>
                    </a:cubicBezTo>
                    <a:cubicBezTo>
                      <a:pt x="49" y="76"/>
                      <a:pt x="47" y="77"/>
                      <a:pt x="43" y="77"/>
                    </a:cubicBezTo>
                    <a:cubicBezTo>
                      <a:pt x="37" y="77"/>
                      <a:pt x="33" y="77"/>
                      <a:pt x="30" y="78"/>
                    </a:cubicBezTo>
                    <a:cubicBezTo>
                      <a:pt x="30" y="80"/>
                      <a:pt x="30" y="82"/>
                      <a:pt x="30" y="84"/>
                    </a:cubicBezTo>
                    <a:cubicBezTo>
                      <a:pt x="34" y="84"/>
                      <a:pt x="37" y="87"/>
                      <a:pt x="40" y="91"/>
                    </a:cubicBezTo>
                    <a:cubicBezTo>
                      <a:pt x="44" y="96"/>
                      <a:pt x="46" y="103"/>
                      <a:pt x="48" y="111"/>
                    </a:cubicBezTo>
                    <a:cubicBezTo>
                      <a:pt x="49" y="116"/>
                      <a:pt x="49" y="120"/>
                      <a:pt x="48" y="124"/>
                    </a:cubicBezTo>
                    <a:cubicBezTo>
                      <a:pt x="47" y="125"/>
                      <a:pt x="46" y="125"/>
                      <a:pt x="45" y="125"/>
                    </a:cubicBezTo>
                    <a:cubicBezTo>
                      <a:pt x="44" y="125"/>
                      <a:pt x="43" y="125"/>
                      <a:pt x="42" y="124"/>
                    </a:cubicBezTo>
                    <a:cubicBezTo>
                      <a:pt x="42" y="123"/>
                      <a:pt x="42" y="121"/>
                      <a:pt x="42" y="118"/>
                    </a:cubicBezTo>
                    <a:cubicBezTo>
                      <a:pt x="41" y="116"/>
                      <a:pt x="41" y="114"/>
                      <a:pt x="41" y="113"/>
                    </a:cubicBezTo>
                    <a:cubicBezTo>
                      <a:pt x="40" y="104"/>
                      <a:pt x="37" y="97"/>
                      <a:pt x="33" y="93"/>
                    </a:cubicBezTo>
                    <a:cubicBezTo>
                      <a:pt x="33" y="92"/>
                      <a:pt x="32" y="91"/>
                      <a:pt x="30" y="91"/>
                    </a:cubicBezTo>
                    <a:cubicBezTo>
                      <a:pt x="31" y="97"/>
                      <a:pt x="31" y="101"/>
                      <a:pt x="31" y="105"/>
                    </a:cubicBezTo>
                    <a:cubicBezTo>
                      <a:pt x="31" y="107"/>
                      <a:pt x="31" y="111"/>
                      <a:pt x="30" y="116"/>
                    </a:cubicBezTo>
                    <a:cubicBezTo>
                      <a:pt x="30" y="124"/>
                      <a:pt x="30" y="129"/>
                      <a:pt x="29" y="133"/>
                    </a:cubicBezTo>
                    <a:cubicBezTo>
                      <a:pt x="29" y="136"/>
                      <a:pt x="28" y="137"/>
                      <a:pt x="27" y="137"/>
                    </a:cubicBezTo>
                    <a:cubicBezTo>
                      <a:pt x="26" y="137"/>
                      <a:pt x="25" y="136"/>
                      <a:pt x="24" y="133"/>
                    </a:cubicBezTo>
                    <a:cubicBezTo>
                      <a:pt x="24" y="120"/>
                      <a:pt x="24" y="111"/>
                      <a:pt x="24" y="105"/>
                    </a:cubicBezTo>
                    <a:cubicBezTo>
                      <a:pt x="24" y="100"/>
                      <a:pt x="24" y="95"/>
                      <a:pt x="24" y="90"/>
                    </a:cubicBezTo>
                    <a:cubicBezTo>
                      <a:pt x="22" y="91"/>
                      <a:pt x="21" y="92"/>
                      <a:pt x="20" y="93"/>
                    </a:cubicBezTo>
                    <a:cubicBezTo>
                      <a:pt x="18" y="94"/>
                      <a:pt x="16" y="98"/>
                      <a:pt x="14" y="102"/>
                    </a:cubicBezTo>
                    <a:cubicBezTo>
                      <a:pt x="13" y="104"/>
                      <a:pt x="13" y="104"/>
                      <a:pt x="13" y="104"/>
                    </a:cubicBezTo>
                    <a:cubicBezTo>
                      <a:pt x="12" y="108"/>
                      <a:pt x="11" y="114"/>
                      <a:pt x="11" y="122"/>
                    </a:cubicBezTo>
                    <a:cubicBezTo>
                      <a:pt x="10" y="124"/>
                      <a:pt x="9" y="125"/>
                      <a:pt x="7" y="125"/>
                    </a:cubicBezTo>
                    <a:cubicBezTo>
                      <a:pt x="6" y="125"/>
                      <a:pt x="5" y="124"/>
                      <a:pt x="5" y="122"/>
                    </a:cubicBezTo>
                    <a:cubicBezTo>
                      <a:pt x="6" y="115"/>
                      <a:pt x="7" y="108"/>
                      <a:pt x="8" y="102"/>
                    </a:cubicBezTo>
                    <a:cubicBezTo>
                      <a:pt x="9" y="97"/>
                      <a:pt x="11" y="92"/>
                      <a:pt x="14" y="89"/>
                    </a:cubicBezTo>
                    <a:cubicBezTo>
                      <a:pt x="17" y="86"/>
                      <a:pt x="20" y="84"/>
                      <a:pt x="24" y="84"/>
                    </a:cubicBezTo>
                    <a:cubicBezTo>
                      <a:pt x="24" y="81"/>
                      <a:pt x="24" y="81"/>
                      <a:pt x="24" y="81"/>
                    </a:cubicBezTo>
                    <a:cubicBezTo>
                      <a:pt x="24" y="80"/>
                      <a:pt x="24" y="79"/>
                      <a:pt x="24" y="78"/>
                    </a:cubicBezTo>
                    <a:cubicBezTo>
                      <a:pt x="14" y="78"/>
                      <a:pt x="9" y="78"/>
                      <a:pt x="9" y="78"/>
                    </a:cubicBezTo>
                    <a:cubicBezTo>
                      <a:pt x="6" y="79"/>
                      <a:pt x="4" y="79"/>
                      <a:pt x="3" y="77"/>
                    </a:cubicBezTo>
                    <a:cubicBezTo>
                      <a:pt x="2" y="76"/>
                      <a:pt x="2" y="74"/>
                      <a:pt x="3" y="72"/>
                    </a:cubicBezTo>
                    <a:cubicBezTo>
                      <a:pt x="3" y="70"/>
                      <a:pt x="4" y="70"/>
                      <a:pt x="7" y="70"/>
                    </a:cubicBezTo>
                    <a:cubicBezTo>
                      <a:pt x="8" y="70"/>
                      <a:pt x="10" y="70"/>
                      <a:pt x="14" y="70"/>
                    </a:cubicBezTo>
                    <a:cubicBezTo>
                      <a:pt x="24" y="70"/>
                      <a:pt x="24" y="70"/>
                      <a:pt x="24" y="70"/>
                    </a:cubicBezTo>
                    <a:cubicBezTo>
                      <a:pt x="24" y="66"/>
                      <a:pt x="24" y="66"/>
                      <a:pt x="24" y="66"/>
                    </a:cubicBezTo>
                    <a:cubicBezTo>
                      <a:pt x="22" y="66"/>
                      <a:pt x="21" y="66"/>
                      <a:pt x="20" y="65"/>
                    </a:cubicBezTo>
                    <a:cubicBezTo>
                      <a:pt x="12" y="62"/>
                      <a:pt x="6" y="56"/>
                      <a:pt x="2" y="46"/>
                    </a:cubicBezTo>
                    <a:cubicBezTo>
                      <a:pt x="2" y="46"/>
                      <a:pt x="2" y="43"/>
                      <a:pt x="2" y="40"/>
                    </a:cubicBezTo>
                    <a:cubicBezTo>
                      <a:pt x="2" y="39"/>
                      <a:pt x="2" y="38"/>
                      <a:pt x="2" y="37"/>
                    </a:cubicBezTo>
                    <a:close/>
                    <a:moveTo>
                      <a:pt x="9" y="3"/>
                    </a:moveTo>
                    <a:cubicBezTo>
                      <a:pt x="11" y="3"/>
                      <a:pt x="15" y="3"/>
                      <a:pt x="19" y="3"/>
                    </a:cubicBezTo>
                    <a:cubicBezTo>
                      <a:pt x="40" y="3"/>
                      <a:pt x="40" y="3"/>
                      <a:pt x="40" y="3"/>
                    </a:cubicBezTo>
                    <a:cubicBezTo>
                      <a:pt x="43" y="3"/>
                      <a:pt x="44" y="5"/>
                      <a:pt x="44" y="7"/>
                    </a:cubicBezTo>
                    <a:cubicBezTo>
                      <a:pt x="44" y="9"/>
                      <a:pt x="42" y="10"/>
                      <a:pt x="39" y="10"/>
                    </a:cubicBezTo>
                    <a:cubicBezTo>
                      <a:pt x="34" y="10"/>
                      <a:pt x="25" y="10"/>
                      <a:pt x="14" y="11"/>
                    </a:cubicBezTo>
                    <a:cubicBezTo>
                      <a:pt x="13" y="11"/>
                      <a:pt x="12" y="11"/>
                      <a:pt x="11" y="11"/>
                    </a:cubicBezTo>
                    <a:cubicBezTo>
                      <a:pt x="7" y="11"/>
                      <a:pt x="5" y="11"/>
                      <a:pt x="5" y="9"/>
                    </a:cubicBezTo>
                    <a:cubicBezTo>
                      <a:pt x="5" y="9"/>
                      <a:pt x="4" y="8"/>
                      <a:pt x="5" y="6"/>
                    </a:cubicBezTo>
                    <a:cubicBezTo>
                      <a:pt x="5" y="5"/>
                      <a:pt x="5" y="5"/>
                      <a:pt x="5" y="5"/>
                    </a:cubicBezTo>
                    <a:cubicBezTo>
                      <a:pt x="5" y="3"/>
                      <a:pt x="6" y="3"/>
                      <a:pt x="9" y="3"/>
                    </a:cubicBezTo>
                    <a:close/>
                    <a:moveTo>
                      <a:pt x="33" y="26"/>
                    </a:moveTo>
                    <a:cubicBezTo>
                      <a:pt x="28" y="26"/>
                      <a:pt x="23" y="26"/>
                      <a:pt x="17" y="26"/>
                    </a:cubicBezTo>
                    <a:cubicBezTo>
                      <a:pt x="18" y="32"/>
                      <a:pt x="20" y="38"/>
                      <a:pt x="24" y="42"/>
                    </a:cubicBezTo>
                    <a:cubicBezTo>
                      <a:pt x="25" y="44"/>
                      <a:pt x="26" y="45"/>
                      <a:pt x="27" y="45"/>
                    </a:cubicBezTo>
                    <a:cubicBezTo>
                      <a:pt x="28" y="45"/>
                      <a:pt x="29" y="44"/>
                      <a:pt x="29" y="42"/>
                    </a:cubicBezTo>
                    <a:cubicBezTo>
                      <a:pt x="32" y="38"/>
                      <a:pt x="33" y="33"/>
                      <a:pt x="33" y="26"/>
                    </a:cubicBezTo>
                    <a:close/>
                    <a:moveTo>
                      <a:pt x="54" y="2"/>
                    </a:moveTo>
                    <a:cubicBezTo>
                      <a:pt x="55" y="0"/>
                      <a:pt x="57" y="0"/>
                      <a:pt x="58" y="1"/>
                    </a:cubicBezTo>
                    <a:cubicBezTo>
                      <a:pt x="59" y="2"/>
                      <a:pt x="60" y="4"/>
                      <a:pt x="59" y="6"/>
                    </a:cubicBezTo>
                    <a:cubicBezTo>
                      <a:pt x="57" y="8"/>
                      <a:pt x="57" y="9"/>
                      <a:pt x="58" y="10"/>
                    </a:cubicBezTo>
                    <a:cubicBezTo>
                      <a:pt x="59" y="11"/>
                      <a:pt x="61" y="12"/>
                      <a:pt x="63" y="11"/>
                    </a:cubicBezTo>
                    <a:cubicBezTo>
                      <a:pt x="67" y="9"/>
                      <a:pt x="73" y="9"/>
                      <a:pt x="80" y="11"/>
                    </a:cubicBezTo>
                    <a:cubicBezTo>
                      <a:pt x="84" y="13"/>
                      <a:pt x="87" y="16"/>
                      <a:pt x="88" y="22"/>
                    </a:cubicBezTo>
                    <a:cubicBezTo>
                      <a:pt x="89" y="27"/>
                      <a:pt x="88" y="32"/>
                      <a:pt x="85" y="35"/>
                    </a:cubicBezTo>
                    <a:cubicBezTo>
                      <a:pt x="84" y="38"/>
                      <a:pt x="81" y="39"/>
                      <a:pt x="75" y="37"/>
                    </a:cubicBezTo>
                    <a:cubicBezTo>
                      <a:pt x="75" y="37"/>
                      <a:pt x="74" y="37"/>
                      <a:pt x="74" y="37"/>
                    </a:cubicBezTo>
                    <a:cubicBezTo>
                      <a:pt x="69" y="37"/>
                      <a:pt x="66" y="37"/>
                      <a:pt x="63" y="38"/>
                    </a:cubicBezTo>
                    <a:cubicBezTo>
                      <a:pt x="62" y="38"/>
                      <a:pt x="61" y="40"/>
                      <a:pt x="61" y="43"/>
                    </a:cubicBezTo>
                    <a:cubicBezTo>
                      <a:pt x="62" y="48"/>
                      <a:pt x="62" y="56"/>
                      <a:pt x="62" y="66"/>
                    </a:cubicBezTo>
                    <a:cubicBezTo>
                      <a:pt x="62" y="70"/>
                      <a:pt x="61" y="76"/>
                      <a:pt x="61" y="84"/>
                    </a:cubicBezTo>
                    <a:cubicBezTo>
                      <a:pt x="59" y="99"/>
                      <a:pt x="58" y="110"/>
                      <a:pt x="57" y="116"/>
                    </a:cubicBezTo>
                    <a:cubicBezTo>
                      <a:pt x="57" y="122"/>
                      <a:pt x="55" y="128"/>
                      <a:pt x="53" y="136"/>
                    </a:cubicBezTo>
                    <a:cubicBezTo>
                      <a:pt x="52" y="137"/>
                      <a:pt x="51" y="138"/>
                      <a:pt x="50" y="138"/>
                    </a:cubicBezTo>
                    <a:cubicBezTo>
                      <a:pt x="48" y="138"/>
                      <a:pt x="48" y="137"/>
                      <a:pt x="48" y="136"/>
                    </a:cubicBezTo>
                    <a:cubicBezTo>
                      <a:pt x="48" y="135"/>
                      <a:pt x="48" y="133"/>
                      <a:pt x="48" y="130"/>
                    </a:cubicBezTo>
                    <a:cubicBezTo>
                      <a:pt x="49" y="127"/>
                      <a:pt x="49" y="126"/>
                      <a:pt x="49" y="125"/>
                    </a:cubicBezTo>
                    <a:cubicBezTo>
                      <a:pt x="53" y="104"/>
                      <a:pt x="55" y="85"/>
                      <a:pt x="55" y="68"/>
                    </a:cubicBezTo>
                    <a:cubicBezTo>
                      <a:pt x="56" y="60"/>
                      <a:pt x="56" y="54"/>
                      <a:pt x="55" y="48"/>
                    </a:cubicBezTo>
                    <a:cubicBezTo>
                      <a:pt x="54" y="45"/>
                      <a:pt x="53" y="42"/>
                      <a:pt x="52" y="40"/>
                    </a:cubicBezTo>
                    <a:cubicBezTo>
                      <a:pt x="50" y="38"/>
                      <a:pt x="51" y="36"/>
                      <a:pt x="54" y="34"/>
                    </a:cubicBezTo>
                    <a:cubicBezTo>
                      <a:pt x="58" y="30"/>
                      <a:pt x="66" y="29"/>
                      <a:pt x="76" y="31"/>
                    </a:cubicBezTo>
                    <a:cubicBezTo>
                      <a:pt x="81" y="32"/>
                      <a:pt x="83" y="30"/>
                      <a:pt x="83" y="25"/>
                    </a:cubicBezTo>
                    <a:cubicBezTo>
                      <a:pt x="83" y="21"/>
                      <a:pt x="81" y="18"/>
                      <a:pt x="77" y="18"/>
                    </a:cubicBezTo>
                    <a:cubicBezTo>
                      <a:pt x="70" y="17"/>
                      <a:pt x="66" y="17"/>
                      <a:pt x="65" y="18"/>
                    </a:cubicBezTo>
                    <a:cubicBezTo>
                      <a:pt x="63" y="19"/>
                      <a:pt x="60" y="19"/>
                      <a:pt x="57" y="19"/>
                    </a:cubicBezTo>
                    <a:cubicBezTo>
                      <a:pt x="57" y="18"/>
                      <a:pt x="55" y="17"/>
                      <a:pt x="53" y="15"/>
                    </a:cubicBezTo>
                    <a:cubicBezTo>
                      <a:pt x="53" y="14"/>
                      <a:pt x="52" y="14"/>
                      <a:pt x="52" y="13"/>
                    </a:cubicBezTo>
                    <a:cubicBezTo>
                      <a:pt x="50" y="10"/>
                      <a:pt x="51" y="6"/>
                      <a:pt x="54" y="2"/>
                    </a:cubicBezTo>
                    <a:close/>
                    <a:moveTo>
                      <a:pt x="95" y="70"/>
                    </a:moveTo>
                    <a:cubicBezTo>
                      <a:pt x="96" y="72"/>
                      <a:pt x="95" y="73"/>
                      <a:pt x="94" y="74"/>
                    </a:cubicBezTo>
                    <a:cubicBezTo>
                      <a:pt x="92" y="74"/>
                      <a:pt x="91" y="74"/>
                      <a:pt x="90" y="72"/>
                    </a:cubicBezTo>
                    <a:cubicBezTo>
                      <a:pt x="88" y="67"/>
                      <a:pt x="84" y="62"/>
                      <a:pt x="78" y="56"/>
                    </a:cubicBezTo>
                    <a:cubicBezTo>
                      <a:pt x="77" y="55"/>
                      <a:pt x="76" y="54"/>
                      <a:pt x="76" y="54"/>
                    </a:cubicBezTo>
                    <a:cubicBezTo>
                      <a:pt x="75" y="56"/>
                      <a:pt x="75" y="56"/>
                      <a:pt x="75" y="56"/>
                    </a:cubicBezTo>
                    <a:cubicBezTo>
                      <a:pt x="75" y="61"/>
                      <a:pt x="75" y="73"/>
                      <a:pt x="77" y="93"/>
                    </a:cubicBezTo>
                    <a:cubicBezTo>
                      <a:pt x="78" y="99"/>
                      <a:pt x="80" y="107"/>
                      <a:pt x="83" y="119"/>
                    </a:cubicBezTo>
                    <a:cubicBezTo>
                      <a:pt x="84" y="122"/>
                      <a:pt x="85" y="124"/>
                      <a:pt x="85" y="124"/>
                    </a:cubicBezTo>
                    <a:cubicBezTo>
                      <a:pt x="86" y="126"/>
                      <a:pt x="86" y="128"/>
                      <a:pt x="87" y="131"/>
                    </a:cubicBezTo>
                    <a:cubicBezTo>
                      <a:pt x="88" y="132"/>
                      <a:pt x="88" y="133"/>
                      <a:pt x="88" y="133"/>
                    </a:cubicBezTo>
                    <a:cubicBezTo>
                      <a:pt x="88" y="135"/>
                      <a:pt x="88" y="136"/>
                      <a:pt x="86" y="136"/>
                    </a:cubicBezTo>
                    <a:cubicBezTo>
                      <a:pt x="84" y="136"/>
                      <a:pt x="83" y="135"/>
                      <a:pt x="82" y="133"/>
                    </a:cubicBezTo>
                    <a:cubicBezTo>
                      <a:pt x="77" y="123"/>
                      <a:pt x="73" y="110"/>
                      <a:pt x="70" y="93"/>
                    </a:cubicBezTo>
                    <a:cubicBezTo>
                      <a:pt x="69" y="79"/>
                      <a:pt x="68" y="68"/>
                      <a:pt x="68" y="58"/>
                    </a:cubicBezTo>
                    <a:cubicBezTo>
                      <a:pt x="68" y="51"/>
                      <a:pt x="68" y="46"/>
                      <a:pt x="68" y="44"/>
                    </a:cubicBezTo>
                    <a:cubicBezTo>
                      <a:pt x="68" y="43"/>
                      <a:pt x="69" y="42"/>
                      <a:pt x="70" y="42"/>
                    </a:cubicBezTo>
                    <a:cubicBezTo>
                      <a:pt x="71" y="41"/>
                      <a:pt x="71" y="41"/>
                      <a:pt x="72" y="42"/>
                    </a:cubicBezTo>
                    <a:cubicBezTo>
                      <a:pt x="76" y="45"/>
                      <a:pt x="78" y="48"/>
                      <a:pt x="80" y="49"/>
                    </a:cubicBezTo>
                    <a:cubicBezTo>
                      <a:pt x="86" y="54"/>
                      <a:pt x="91" y="61"/>
                      <a:pt x="95" y="7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78" name="íṣ1ïḑe"/>
              <p:cNvSpPr/>
              <p:nvPr/>
            </p:nvSpPr>
            <p:spPr bwMode="auto">
              <a:xfrm>
                <a:off x="1750909" y="4905965"/>
                <a:ext cx="93663" cy="87313"/>
              </a:xfrm>
              <a:custGeom>
                <a:avLst/>
                <a:gdLst>
                  <a:gd name="T0" fmla="*/ 51 w 51"/>
                  <a:gd name="T1" fmla="*/ 17 h 47"/>
                  <a:gd name="T2" fmla="*/ 46 w 51"/>
                  <a:gd name="T3" fmla="*/ 25 h 47"/>
                  <a:gd name="T4" fmla="*/ 26 w 51"/>
                  <a:gd name="T5" fmla="*/ 13 h 47"/>
                  <a:gd name="T6" fmla="*/ 20 w 51"/>
                  <a:gd name="T7" fmla="*/ 9 h 47"/>
                  <a:gd name="T8" fmla="*/ 14 w 51"/>
                  <a:gd name="T9" fmla="*/ 9 h 47"/>
                  <a:gd name="T10" fmla="*/ 10 w 51"/>
                  <a:gd name="T11" fmla="*/ 13 h 47"/>
                  <a:gd name="T12" fmla="*/ 8 w 51"/>
                  <a:gd name="T13" fmla="*/ 19 h 47"/>
                  <a:gd name="T14" fmla="*/ 10 w 51"/>
                  <a:gd name="T15" fmla="*/ 23 h 47"/>
                  <a:gd name="T16" fmla="*/ 17 w 51"/>
                  <a:gd name="T17" fmla="*/ 27 h 47"/>
                  <a:gd name="T18" fmla="*/ 37 w 51"/>
                  <a:gd name="T19" fmla="*/ 40 h 47"/>
                  <a:gd name="T20" fmla="*/ 33 w 51"/>
                  <a:gd name="T21" fmla="*/ 47 h 47"/>
                  <a:gd name="T22" fmla="*/ 13 w 51"/>
                  <a:gd name="T23" fmla="*/ 35 h 47"/>
                  <a:gd name="T24" fmla="*/ 4 w 51"/>
                  <a:gd name="T25" fmla="*/ 29 h 47"/>
                  <a:gd name="T26" fmla="*/ 1 w 51"/>
                  <a:gd name="T27" fmla="*/ 24 h 47"/>
                  <a:gd name="T28" fmla="*/ 0 w 51"/>
                  <a:gd name="T29" fmla="*/ 18 h 47"/>
                  <a:gd name="T30" fmla="*/ 3 w 51"/>
                  <a:gd name="T31" fmla="*/ 10 h 47"/>
                  <a:gd name="T32" fmla="*/ 10 w 51"/>
                  <a:gd name="T33" fmla="*/ 2 h 47"/>
                  <a:gd name="T34" fmla="*/ 15 w 51"/>
                  <a:gd name="T35" fmla="*/ 0 h 47"/>
                  <a:gd name="T36" fmla="*/ 21 w 51"/>
                  <a:gd name="T37" fmla="*/ 0 h 47"/>
                  <a:gd name="T38" fmla="*/ 31 w 51"/>
                  <a:gd name="T39" fmla="*/ 5 h 47"/>
                  <a:gd name="T40" fmla="*/ 51 w 51"/>
                  <a:gd name="T41" fmla="*/ 17 h 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51" h="47">
                    <a:moveTo>
                      <a:pt x="51" y="17"/>
                    </a:moveTo>
                    <a:cubicBezTo>
                      <a:pt x="46" y="25"/>
                      <a:pt x="46" y="25"/>
                      <a:pt x="46" y="25"/>
                    </a:cubicBezTo>
                    <a:cubicBezTo>
                      <a:pt x="26" y="13"/>
                      <a:pt x="26" y="13"/>
                      <a:pt x="26" y="13"/>
                    </a:cubicBezTo>
                    <a:cubicBezTo>
                      <a:pt x="23" y="11"/>
                      <a:pt x="21" y="10"/>
                      <a:pt x="20" y="9"/>
                    </a:cubicBezTo>
                    <a:cubicBezTo>
                      <a:pt x="18" y="9"/>
                      <a:pt x="16" y="9"/>
                      <a:pt x="14" y="9"/>
                    </a:cubicBezTo>
                    <a:cubicBezTo>
                      <a:pt x="13" y="10"/>
                      <a:pt x="11" y="11"/>
                      <a:pt x="10" y="13"/>
                    </a:cubicBezTo>
                    <a:cubicBezTo>
                      <a:pt x="9" y="16"/>
                      <a:pt x="8" y="17"/>
                      <a:pt x="8" y="19"/>
                    </a:cubicBezTo>
                    <a:cubicBezTo>
                      <a:pt x="9" y="21"/>
                      <a:pt x="9" y="22"/>
                      <a:pt x="10" y="23"/>
                    </a:cubicBezTo>
                    <a:cubicBezTo>
                      <a:pt x="12" y="24"/>
                      <a:pt x="14" y="25"/>
                      <a:pt x="17" y="27"/>
                    </a:cubicBezTo>
                    <a:cubicBezTo>
                      <a:pt x="37" y="40"/>
                      <a:pt x="37" y="40"/>
                      <a:pt x="37" y="40"/>
                    </a:cubicBezTo>
                    <a:cubicBezTo>
                      <a:pt x="33" y="47"/>
                      <a:pt x="33" y="47"/>
                      <a:pt x="33" y="47"/>
                    </a:cubicBezTo>
                    <a:cubicBezTo>
                      <a:pt x="13" y="35"/>
                      <a:pt x="13" y="35"/>
                      <a:pt x="13" y="35"/>
                    </a:cubicBezTo>
                    <a:cubicBezTo>
                      <a:pt x="9" y="33"/>
                      <a:pt x="6" y="31"/>
                      <a:pt x="4" y="29"/>
                    </a:cubicBezTo>
                    <a:cubicBezTo>
                      <a:pt x="2" y="28"/>
                      <a:pt x="1" y="26"/>
                      <a:pt x="1" y="24"/>
                    </a:cubicBezTo>
                    <a:cubicBezTo>
                      <a:pt x="0" y="22"/>
                      <a:pt x="0" y="20"/>
                      <a:pt x="0" y="18"/>
                    </a:cubicBezTo>
                    <a:cubicBezTo>
                      <a:pt x="0" y="15"/>
                      <a:pt x="2" y="13"/>
                      <a:pt x="3" y="10"/>
                    </a:cubicBezTo>
                    <a:cubicBezTo>
                      <a:pt x="6" y="6"/>
                      <a:pt x="8" y="4"/>
                      <a:pt x="10" y="2"/>
                    </a:cubicBezTo>
                    <a:cubicBezTo>
                      <a:pt x="11" y="1"/>
                      <a:pt x="13" y="0"/>
                      <a:pt x="15" y="0"/>
                    </a:cubicBezTo>
                    <a:cubicBezTo>
                      <a:pt x="17" y="0"/>
                      <a:pt x="19" y="0"/>
                      <a:pt x="21" y="0"/>
                    </a:cubicBezTo>
                    <a:cubicBezTo>
                      <a:pt x="23" y="1"/>
                      <a:pt x="27" y="3"/>
                      <a:pt x="31" y="5"/>
                    </a:cubicBezTo>
                    <a:lnTo>
                      <a:pt x="51" y="1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79" name="íṧḷîde"/>
              <p:cNvSpPr/>
              <p:nvPr/>
            </p:nvSpPr>
            <p:spPr bwMode="auto">
              <a:xfrm>
                <a:off x="1704872" y="4971053"/>
                <a:ext cx="100013" cy="92075"/>
              </a:xfrm>
              <a:custGeom>
                <a:avLst/>
                <a:gdLst>
                  <a:gd name="T0" fmla="*/ 17 w 63"/>
                  <a:gd name="T1" fmla="*/ 0 h 58"/>
                  <a:gd name="T2" fmla="*/ 63 w 63"/>
                  <a:gd name="T3" fmla="*/ 21 h 58"/>
                  <a:gd name="T4" fmla="*/ 59 w 63"/>
                  <a:gd name="T5" fmla="*/ 30 h 58"/>
                  <a:gd name="T6" fmla="*/ 19 w 63"/>
                  <a:gd name="T7" fmla="*/ 35 h 58"/>
                  <a:gd name="T8" fmla="*/ 50 w 63"/>
                  <a:gd name="T9" fmla="*/ 50 h 58"/>
                  <a:gd name="T10" fmla="*/ 46 w 63"/>
                  <a:gd name="T11" fmla="*/ 58 h 58"/>
                  <a:gd name="T12" fmla="*/ 0 w 63"/>
                  <a:gd name="T13" fmla="*/ 37 h 58"/>
                  <a:gd name="T14" fmla="*/ 4 w 63"/>
                  <a:gd name="T15" fmla="*/ 26 h 58"/>
                  <a:gd name="T16" fmla="*/ 43 w 63"/>
                  <a:gd name="T17" fmla="*/ 22 h 58"/>
                  <a:gd name="T18" fmla="*/ 12 w 63"/>
                  <a:gd name="T19" fmla="*/ 8 h 58"/>
                  <a:gd name="T20" fmla="*/ 17 w 63"/>
                  <a:gd name="T21" fmla="*/ 0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63" h="58">
                    <a:moveTo>
                      <a:pt x="17" y="0"/>
                    </a:moveTo>
                    <a:lnTo>
                      <a:pt x="63" y="21"/>
                    </a:lnTo>
                    <a:lnTo>
                      <a:pt x="59" y="30"/>
                    </a:lnTo>
                    <a:lnTo>
                      <a:pt x="19" y="35"/>
                    </a:lnTo>
                    <a:lnTo>
                      <a:pt x="50" y="50"/>
                    </a:lnTo>
                    <a:lnTo>
                      <a:pt x="46" y="58"/>
                    </a:lnTo>
                    <a:lnTo>
                      <a:pt x="0" y="37"/>
                    </a:lnTo>
                    <a:lnTo>
                      <a:pt x="4" y="26"/>
                    </a:lnTo>
                    <a:lnTo>
                      <a:pt x="43" y="22"/>
                    </a:lnTo>
                    <a:lnTo>
                      <a:pt x="12" y="8"/>
                    </a:lnTo>
                    <a:lnTo>
                      <a:pt x="17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80" name="íS1îḍé"/>
              <p:cNvSpPr/>
              <p:nvPr/>
            </p:nvSpPr>
            <p:spPr bwMode="auto">
              <a:xfrm>
                <a:off x="1690584" y="5045665"/>
                <a:ext cx="84138" cy="44450"/>
              </a:xfrm>
              <a:custGeom>
                <a:avLst/>
                <a:gdLst>
                  <a:gd name="T0" fmla="*/ 5 w 53"/>
                  <a:gd name="T1" fmla="*/ 0 h 28"/>
                  <a:gd name="T2" fmla="*/ 53 w 53"/>
                  <a:gd name="T3" fmla="*/ 19 h 28"/>
                  <a:gd name="T4" fmla="*/ 49 w 53"/>
                  <a:gd name="T5" fmla="*/ 28 h 28"/>
                  <a:gd name="T6" fmla="*/ 0 w 53"/>
                  <a:gd name="T7" fmla="*/ 10 h 28"/>
                  <a:gd name="T8" fmla="*/ 5 w 53"/>
                  <a:gd name="T9" fmla="*/ 0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3" h="28">
                    <a:moveTo>
                      <a:pt x="5" y="0"/>
                    </a:moveTo>
                    <a:lnTo>
                      <a:pt x="53" y="19"/>
                    </a:lnTo>
                    <a:lnTo>
                      <a:pt x="49" y="28"/>
                    </a:lnTo>
                    <a:lnTo>
                      <a:pt x="0" y="10"/>
                    </a:lnTo>
                    <a:lnTo>
                      <a:pt x="5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81" name="íṧļïḋè"/>
              <p:cNvSpPr/>
              <p:nvPr/>
            </p:nvSpPr>
            <p:spPr bwMode="auto">
              <a:xfrm>
                <a:off x="1674709" y="5091703"/>
                <a:ext cx="92075" cy="73025"/>
              </a:xfrm>
              <a:custGeom>
                <a:avLst/>
                <a:gdLst>
                  <a:gd name="T0" fmla="*/ 4 w 58"/>
                  <a:gd name="T1" fmla="*/ 3 h 46"/>
                  <a:gd name="T2" fmla="*/ 58 w 58"/>
                  <a:gd name="T3" fmla="*/ 0 h 46"/>
                  <a:gd name="T4" fmla="*/ 55 w 58"/>
                  <a:gd name="T5" fmla="*/ 11 h 46"/>
                  <a:gd name="T6" fmla="*/ 14 w 58"/>
                  <a:gd name="T7" fmla="*/ 13 h 46"/>
                  <a:gd name="T8" fmla="*/ 46 w 58"/>
                  <a:gd name="T9" fmla="*/ 35 h 46"/>
                  <a:gd name="T10" fmla="*/ 44 w 58"/>
                  <a:gd name="T11" fmla="*/ 46 h 46"/>
                  <a:gd name="T12" fmla="*/ 0 w 58"/>
                  <a:gd name="T13" fmla="*/ 14 h 46"/>
                  <a:gd name="T14" fmla="*/ 4 w 58"/>
                  <a:gd name="T15" fmla="*/ 3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58" h="46">
                    <a:moveTo>
                      <a:pt x="4" y="3"/>
                    </a:moveTo>
                    <a:lnTo>
                      <a:pt x="58" y="0"/>
                    </a:lnTo>
                    <a:lnTo>
                      <a:pt x="55" y="11"/>
                    </a:lnTo>
                    <a:lnTo>
                      <a:pt x="14" y="13"/>
                    </a:lnTo>
                    <a:lnTo>
                      <a:pt x="46" y="35"/>
                    </a:lnTo>
                    <a:lnTo>
                      <a:pt x="44" y="46"/>
                    </a:lnTo>
                    <a:lnTo>
                      <a:pt x="0" y="14"/>
                    </a:lnTo>
                    <a:lnTo>
                      <a:pt x="4" y="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82" name="ïṡḷiḋé"/>
              <p:cNvSpPr/>
              <p:nvPr/>
            </p:nvSpPr>
            <p:spPr bwMode="auto">
              <a:xfrm>
                <a:off x="1652484" y="5153615"/>
                <a:ext cx="90488" cy="73025"/>
              </a:xfrm>
              <a:custGeom>
                <a:avLst/>
                <a:gdLst>
                  <a:gd name="T0" fmla="*/ 7 w 57"/>
                  <a:gd name="T1" fmla="*/ 0 h 46"/>
                  <a:gd name="T2" fmla="*/ 57 w 57"/>
                  <a:gd name="T3" fmla="*/ 10 h 46"/>
                  <a:gd name="T4" fmla="*/ 50 w 57"/>
                  <a:gd name="T5" fmla="*/ 46 h 46"/>
                  <a:gd name="T6" fmla="*/ 42 w 57"/>
                  <a:gd name="T7" fmla="*/ 45 h 46"/>
                  <a:gd name="T8" fmla="*/ 47 w 57"/>
                  <a:gd name="T9" fmla="*/ 18 h 46"/>
                  <a:gd name="T10" fmla="*/ 36 w 57"/>
                  <a:gd name="T11" fmla="*/ 16 h 46"/>
                  <a:gd name="T12" fmla="*/ 30 w 57"/>
                  <a:gd name="T13" fmla="*/ 40 h 46"/>
                  <a:gd name="T14" fmla="*/ 22 w 57"/>
                  <a:gd name="T15" fmla="*/ 39 h 46"/>
                  <a:gd name="T16" fmla="*/ 27 w 57"/>
                  <a:gd name="T17" fmla="*/ 14 h 46"/>
                  <a:gd name="T18" fmla="*/ 14 w 57"/>
                  <a:gd name="T19" fmla="*/ 11 h 46"/>
                  <a:gd name="T20" fmla="*/ 8 w 57"/>
                  <a:gd name="T21" fmla="*/ 39 h 46"/>
                  <a:gd name="T22" fmla="*/ 0 w 57"/>
                  <a:gd name="T23" fmla="*/ 38 h 46"/>
                  <a:gd name="T24" fmla="*/ 7 w 57"/>
                  <a:gd name="T25" fmla="*/ 0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57" h="46">
                    <a:moveTo>
                      <a:pt x="7" y="0"/>
                    </a:moveTo>
                    <a:lnTo>
                      <a:pt x="57" y="10"/>
                    </a:lnTo>
                    <a:lnTo>
                      <a:pt x="50" y="46"/>
                    </a:lnTo>
                    <a:lnTo>
                      <a:pt x="42" y="45"/>
                    </a:lnTo>
                    <a:lnTo>
                      <a:pt x="47" y="18"/>
                    </a:lnTo>
                    <a:lnTo>
                      <a:pt x="36" y="16"/>
                    </a:lnTo>
                    <a:lnTo>
                      <a:pt x="30" y="40"/>
                    </a:lnTo>
                    <a:lnTo>
                      <a:pt x="22" y="39"/>
                    </a:lnTo>
                    <a:lnTo>
                      <a:pt x="27" y="14"/>
                    </a:lnTo>
                    <a:lnTo>
                      <a:pt x="14" y="11"/>
                    </a:lnTo>
                    <a:lnTo>
                      <a:pt x="8" y="39"/>
                    </a:lnTo>
                    <a:lnTo>
                      <a:pt x="0" y="38"/>
                    </a:lnTo>
                    <a:lnTo>
                      <a:pt x="7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83" name="ïşļiḋe"/>
              <p:cNvSpPr/>
              <p:nvPr/>
            </p:nvSpPr>
            <p:spPr bwMode="auto">
              <a:xfrm>
                <a:off x="1641372" y="5231403"/>
                <a:ext cx="88900" cy="71438"/>
              </a:xfrm>
              <a:custGeom>
                <a:avLst/>
                <a:gdLst>
                  <a:gd name="T0" fmla="*/ 4 w 48"/>
                  <a:gd name="T1" fmla="*/ 0 h 39"/>
                  <a:gd name="T2" fmla="*/ 48 w 48"/>
                  <a:gd name="T3" fmla="*/ 4 h 39"/>
                  <a:gd name="T4" fmla="*/ 46 w 48"/>
                  <a:gd name="T5" fmla="*/ 23 h 39"/>
                  <a:gd name="T6" fmla="*/ 44 w 48"/>
                  <a:gd name="T7" fmla="*/ 33 h 39"/>
                  <a:gd name="T8" fmla="*/ 39 w 48"/>
                  <a:gd name="T9" fmla="*/ 38 h 39"/>
                  <a:gd name="T10" fmla="*/ 32 w 48"/>
                  <a:gd name="T11" fmla="*/ 39 h 39"/>
                  <a:gd name="T12" fmla="*/ 24 w 48"/>
                  <a:gd name="T13" fmla="*/ 35 h 39"/>
                  <a:gd name="T14" fmla="*/ 21 w 48"/>
                  <a:gd name="T15" fmla="*/ 26 h 39"/>
                  <a:gd name="T16" fmla="*/ 17 w 48"/>
                  <a:gd name="T17" fmla="*/ 30 h 39"/>
                  <a:gd name="T18" fmla="*/ 9 w 48"/>
                  <a:gd name="T19" fmla="*/ 35 h 39"/>
                  <a:gd name="T20" fmla="*/ 0 w 48"/>
                  <a:gd name="T21" fmla="*/ 39 h 39"/>
                  <a:gd name="T22" fmla="*/ 1 w 48"/>
                  <a:gd name="T23" fmla="*/ 29 h 39"/>
                  <a:gd name="T24" fmla="*/ 12 w 48"/>
                  <a:gd name="T25" fmla="*/ 23 h 39"/>
                  <a:gd name="T26" fmla="*/ 18 w 48"/>
                  <a:gd name="T27" fmla="*/ 19 h 39"/>
                  <a:gd name="T28" fmla="*/ 20 w 48"/>
                  <a:gd name="T29" fmla="*/ 17 h 39"/>
                  <a:gd name="T30" fmla="*/ 21 w 48"/>
                  <a:gd name="T31" fmla="*/ 12 h 39"/>
                  <a:gd name="T32" fmla="*/ 22 w 48"/>
                  <a:gd name="T33" fmla="*/ 11 h 39"/>
                  <a:gd name="T34" fmla="*/ 3 w 48"/>
                  <a:gd name="T35" fmla="*/ 9 h 39"/>
                  <a:gd name="T36" fmla="*/ 4 w 48"/>
                  <a:gd name="T37" fmla="*/ 0 h 39"/>
                  <a:gd name="T38" fmla="*/ 29 w 48"/>
                  <a:gd name="T39" fmla="*/ 11 h 39"/>
                  <a:gd name="T40" fmla="*/ 28 w 48"/>
                  <a:gd name="T41" fmla="*/ 18 h 39"/>
                  <a:gd name="T42" fmla="*/ 28 w 48"/>
                  <a:gd name="T43" fmla="*/ 26 h 39"/>
                  <a:gd name="T44" fmla="*/ 29 w 48"/>
                  <a:gd name="T45" fmla="*/ 28 h 39"/>
                  <a:gd name="T46" fmla="*/ 32 w 48"/>
                  <a:gd name="T47" fmla="*/ 30 h 39"/>
                  <a:gd name="T48" fmla="*/ 36 w 48"/>
                  <a:gd name="T49" fmla="*/ 29 h 39"/>
                  <a:gd name="T50" fmla="*/ 38 w 48"/>
                  <a:gd name="T51" fmla="*/ 26 h 39"/>
                  <a:gd name="T52" fmla="*/ 39 w 48"/>
                  <a:gd name="T53" fmla="*/ 19 h 39"/>
                  <a:gd name="T54" fmla="*/ 40 w 48"/>
                  <a:gd name="T55" fmla="*/ 12 h 39"/>
                  <a:gd name="T56" fmla="*/ 29 w 48"/>
                  <a:gd name="T57" fmla="*/ 11 h 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48" h="39">
                    <a:moveTo>
                      <a:pt x="4" y="0"/>
                    </a:moveTo>
                    <a:cubicBezTo>
                      <a:pt x="48" y="4"/>
                      <a:pt x="48" y="4"/>
                      <a:pt x="48" y="4"/>
                    </a:cubicBezTo>
                    <a:cubicBezTo>
                      <a:pt x="46" y="23"/>
                      <a:pt x="46" y="23"/>
                      <a:pt x="46" y="23"/>
                    </a:cubicBezTo>
                    <a:cubicBezTo>
                      <a:pt x="46" y="27"/>
                      <a:pt x="45" y="31"/>
                      <a:pt x="44" y="33"/>
                    </a:cubicBezTo>
                    <a:cubicBezTo>
                      <a:pt x="43" y="35"/>
                      <a:pt x="41" y="36"/>
                      <a:pt x="39" y="38"/>
                    </a:cubicBezTo>
                    <a:cubicBezTo>
                      <a:pt x="37" y="39"/>
                      <a:pt x="35" y="39"/>
                      <a:pt x="32" y="39"/>
                    </a:cubicBezTo>
                    <a:cubicBezTo>
                      <a:pt x="29" y="38"/>
                      <a:pt x="26" y="37"/>
                      <a:pt x="24" y="35"/>
                    </a:cubicBezTo>
                    <a:cubicBezTo>
                      <a:pt x="22" y="33"/>
                      <a:pt x="21" y="30"/>
                      <a:pt x="21" y="26"/>
                    </a:cubicBezTo>
                    <a:cubicBezTo>
                      <a:pt x="20" y="28"/>
                      <a:pt x="18" y="29"/>
                      <a:pt x="17" y="30"/>
                    </a:cubicBezTo>
                    <a:cubicBezTo>
                      <a:pt x="16" y="32"/>
                      <a:pt x="13" y="33"/>
                      <a:pt x="9" y="35"/>
                    </a:cubicBezTo>
                    <a:cubicBezTo>
                      <a:pt x="0" y="39"/>
                      <a:pt x="0" y="39"/>
                      <a:pt x="0" y="39"/>
                    </a:cubicBezTo>
                    <a:cubicBezTo>
                      <a:pt x="1" y="29"/>
                      <a:pt x="1" y="29"/>
                      <a:pt x="1" y="29"/>
                    </a:cubicBezTo>
                    <a:cubicBezTo>
                      <a:pt x="12" y="23"/>
                      <a:pt x="12" y="23"/>
                      <a:pt x="12" y="23"/>
                    </a:cubicBezTo>
                    <a:cubicBezTo>
                      <a:pt x="15" y="21"/>
                      <a:pt x="17" y="20"/>
                      <a:pt x="18" y="19"/>
                    </a:cubicBezTo>
                    <a:cubicBezTo>
                      <a:pt x="19" y="18"/>
                      <a:pt x="20" y="18"/>
                      <a:pt x="20" y="17"/>
                    </a:cubicBezTo>
                    <a:cubicBezTo>
                      <a:pt x="21" y="16"/>
                      <a:pt x="21" y="14"/>
                      <a:pt x="21" y="12"/>
                    </a:cubicBezTo>
                    <a:cubicBezTo>
                      <a:pt x="22" y="11"/>
                      <a:pt x="22" y="11"/>
                      <a:pt x="22" y="11"/>
                    </a:cubicBezTo>
                    <a:cubicBezTo>
                      <a:pt x="3" y="9"/>
                      <a:pt x="3" y="9"/>
                      <a:pt x="3" y="9"/>
                    </a:cubicBezTo>
                    <a:lnTo>
                      <a:pt x="4" y="0"/>
                    </a:lnTo>
                    <a:close/>
                    <a:moveTo>
                      <a:pt x="29" y="11"/>
                    </a:moveTo>
                    <a:cubicBezTo>
                      <a:pt x="28" y="18"/>
                      <a:pt x="28" y="18"/>
                      <a:pt x="28" y="18"/>
                    </a:cubicBezTo>
                    <a:cubicBezTo>
                      <a:pt x="28" y="22"/>
                      <a:pt x="27" y="25"/>
                      <a:pt x="28" y="26"/>
                    </a:cubicBezTo>
                    <a:cubicBezTo>
                      <a:pt x="28" y="27"/>
                      <a:pt x="28" y="28"/>
                      <a:pt x="29" y="28"/>
                    </a:cubicBezTo>
                    <a:cubicBezTo>
                      <a:pt x="30" y="29"/>
                      <a:pt x="31" y="30"/>
                      <a:pt x="32" y="30"/>
                    </a:cubicBezTo>
                    <a:cubicBezTo>
                      <a:pt x="34" y="30"/>
                      <a:pt x="35" y="30"/>
                      <a:pt x="36" y="29"/>
                    </a:cubicBezTo>
                    <a:cubicBezTo>
                      <a:pt x="37" y="28"/>
                      <a:pt x="38" y="27"/>
                      <a:pt x="38" y="26"/>
                    </a:cubicBezTo>
                    <a:cubicBezTo>
                      <a:pt x="38" y="25"/>
                      <a:pt x="39" y="23"/>
                      <a:pt x="39" y="19"/>
                    </a:cubicBezTo>
                    <a:cubicBezTo>
                      <a:pt x="40" y="12"/>
                      <a:pt x="40" y="12"/>
                      <a:pt x="40" y="12"/>
                    </a:cubicBezTo>
                    <a:lnTo>
                      <a:pt x="29" y="1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84" name="îś1iḓê"/>
              <p:cNvSpPr/>
              <p:nvPr/>
            </p:nvSpPr>
            <p:spPr bwMode="auto">
              <a:xfrm>
                <a:off x="1641372" y="5312365"/>
                <a:ext cx="82550" cy="66675"/>
              </a:xfrm>
              <a:custGeom>
                <a:avLst/>
                <a:gdLst>
                  <a:gd name="T0" fmla="*/ 15 w 45"/>
                  <a:gd name="T1" fmla="*/ 0 h 36"/>
                  <a:gd name="T2" fmla="*/ 16 w 45"/>
                  <a:gd name="T3" fmla="*/ 8 h 36"/>
                  <a:gd name="T4" fmla="*/ 9 w 45"/>
                  <a:gd name="T5" fmla="*/ 12 h 36"/>
                  <a:gd name="T6" fmla="*/ 7 w 45"/>
                  <a:gd name="T7" fmla="*/ 18 h 36"/>
                  <a:gd name="T8" fmla="*/ 9 w 45"/>
                  <a:gd name="T9" fmla="*/ 25 h 36"/>
                  <a:gd name="T10" fmla="*/ 13 w 45"/>
                  <a:gd name="T11" fmla="*/ 27 h 36"/>
                  <a:gd name="T12" fmla="*/ 16 w 45"/>
                  <a:gd name="T13" fmla="*/ 26 h 36"/>
                  <a:gd name="T14" fmla="*/ 18 w 45"/>
                  <a:gd name="T15" fmla="*/ 23 h 36"/>
                  <a:gd name="T16" fmla="*/ 20 w 45"/>
                  <a:gd name="T17" fmla="*/ 15 h 36"/>
                  <a:gd name="T18" fmla="*/ 24 w 45"/>
                  <a:gd name="T19" fmla="*/ 5 h 36"/>
                  <a:gd name="T20" fmla="*/ 33 w 45"/>
                  <a:gd name="T21" fmla="*/ 1 h 36"/>
                  <a:gd name="T22" fmla="*/ 39 w 45"/>
                  <a:gd name="T23" fmla="*/ 3 h 36"/>
                  <a:gd name="T24" fmla="*/ 44 w 45"/>
                  <a:gd name="T25" fmla="*/ 9 h 36"/>
                  <a:gd name="T26" fmla="*/ 45 w 45"/>
                  <a:gd name="T27" fmla="*/ 17 h 36"/>
                  <a:gd name="T28" fmla="*/ 42 w 45"/>
                  <a:gd name="T29" fmla="*/ 30 h 36"/>
                  <a:gd name="T30" fmla="*/ 32 w 45"/>
                  <a:gd name="T31" fmla="*/ 34 h 36"/>
                  <a:gd name="T32" fmla="*/ 31 w 45"/>
                  <a:gd name="T33" fmla="*/ 25 h 36"/>
                  <a:gd name="T34" fmla="*/ 36 w 45"/>
                  <a:gd name="T35" fmla="*/ 23 h 36"/>
                  <a:gd name="T36" fmla="*/ 38 w 45"/>
                  <a:gd name="T37" fmla="*/ 17 h 36"/>
                  <a:gd name="T38" fmla="*/ 36 w 45"/>
                  <a:gd name="T39" fmla="*/ 11 h 36"/>
                  <a:gd name="T40" fmla="*/ 33 w 45"/>
                  <a:gd name="T41" fmla="*/ 10 h 36"/>
                  <a:gd name="T42" fmla="*/ 31 w 45"/>
                  <a:gd name="T43" fmla="*/ 11 h 36"/>
                  <a:gd name="T44" fmla="*/ 28 w 45"/>
                  <a:gd name="T45" fmla="*/ 19 h 36"/>
                  <a:gd name="T46" fmla="*/ 25 w 45"/>
                  <a:gd name="T47" fmla="*/ 29 h 36"/>
                  <a:gd name="T48" fmla="*/ 20 w 45"/>
                  <a:gd name="T49" fmla="*/ 34 h 36"/>
                  <a:gd name="T50" fmla="*/ 13 w 45"/>
                  <a:gd name="T51" fmla="*/ 36 h 36"/>
                  <a:gd name="T52" fmla="*/ 6 w 45"/>
                  <a:gd name="T53" fmla="*/ 33 h 36"/>
                  <a:gd name="T54" fmla="*/ 1 w 45"/>
                  <a:gd name="T55" fmla="*/ 28 h 36"/>
                  <a:gd name="T56" fmla="*/ 0 w 45"/>
                  <a:gd name="T57" fmla="*/ 18 h 36"/>
                  <a:gd name="T58" fmla="*/ 3 w 45"/>
                  <a:gd name="T59" fmla="*/ 5 h 36"/>
                  <a:gd name="T60" fmla="*/ 15 w 45"/>
                  <a:gd name="T61" fmla="*/ 0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45" h="36">
                    <a:moveTo>
                      <a:pt x="15" y="0"/>
                    </a:moveTo>
                    <a:cubicBezTo>
                      <a:pt x="16" y="8"/>
                      <a:pt x="16" y="8"/>
                      <a:pt x="16" y="8"/>
                    </a:cubicBezTo>
                    <a:cubicBezTo>
                      <a:pt x="13" y="9"/>
                      <a:pt x="10" y="10"/>
                      <a:pt x="9" y="12"/>
                    </a:cubicBezTo>
                    <a:cubicBezTo>
                      <a:pt x="8" y="13"/>
                      <a:pt x="7" y="15"/>
                      <a:pt x="7" y="18"/>
                    </a:cubicBezTo>
                    <a:cubicBezTo>
                      <a:pt x="7" y="21"/>
                      <a:pt x="8" y="23"/>
                      <a:pt x="9" y="25"/>
                    </a:cubicBezTo>
                    <a:cubicBezTo>
                      <a:pt x="10" y="26"/>
                      <a:pt x="12" y="27"/>
                      <a:pt x="13" y="27"/>
                    </a:cubicBezTo>
                    <a:cubicBezTo>
                      <a:pt x="14" y="27"/>
                      <a:pt x="15" y="26"/>
                      <a:pt x="16" y="26"/>
                    </a:cubicBezTo>
                    <a:cubicBezTo>
                      <a:pt x="17" y="25"/>
                      <a:pt x="17" y="24"/>
                      <a:pt x="18" y="23"/>
                    </a:cubicBezTo>
                    <a:cubicBezTo>
                      <a:pt x="18" y="22"/>
                      <a:pt x="19" y="19"/>
                      <a:pt x="20" y="15"/>
                    </a:cubicBezTo>
                    <a:cubicBezTo>
                      <a:pt x="21" y="11"/>
                      <a:pt x="22" y="7"/>
                      <a:pt x="24" y="5"/>
                    </a:cubicBezTo>
                    <a:cubicBezTo>
                      <a:pt x="26" y="3"/>
                      <a:pt x="29" y="1"/>
                      <a:pt x="33" y="1"/>
                    </a:cubicBezTo>
                    <a:cubicBezTo>
                      <a:pt x="35" y="1"/>
                      <a:pt x="37" y="2"/>
                      <a:pt x="39" y="3"/>
                    </a:cubicBezTo>
                    <a:cubicBezTo>
                      <a:pt x="41" y="4"/>
                      <a:pt x="43" y="6"/>
                      <a:pt x="44" y="9"/>
                    </a:cubicBezTo>
                    <a:cubicBezTo>
                      <a:pt x="45" y="11"/>
                      <a:pt x="45" y="14"/>
                      <a:pt x="45" y="17"/>
                    </a:cubicBezTo>
                    <a:cubicBezTo>
                      <a:pt x="45" y="23"/>
                      <a:pt x="44" y="27"/>
                      <a:pt x="42" y="30"/>
                    </a:cubicBezTo>
                    <a:cubicBezTo>
                      <a:pt x="39" y="33"/>
                      <a:pt x="36" y="34"/>
                      <a:pt x="32" y="34"/>
                    </a:cubicBezTo>
                    <a:cubicBezTo>
                      <a:pt x="31" y="25"/>
                      <a:pt x="31" y="25"/>
                      <a:pt x="31" y="25"/>
                    </a:cubicBezTo>
                    <a:cubicBezTo>
                      <a:pt x="34" y="25"/>
                      <a:pt x="35" y="24"/>
                      <a:pt x="36" y="23"/>
                    </a:cubicBezTo>
                    <a:cubicBezTo>
                      <a:pt x="37" y="22"/>
                      <a:pt x="38" y="20"/>
                      <a:pt x="38" y="17"/>
                    </a:cubicBezTo>
                    <a:cubicBezTo>
                      <a:pt x="38" y="15"/>
                      <a:pt x="37" y="13"/>
                      <a:pt x="36" y="11"/>
                    </a:cubicBezTo>
                    <a:cubicBezTo>
                      <a:pt x="35" y="10"/>
                      <a:pt x="35" y="10"/>
                      <a:pt x="33" y="10"/>
                    </a:cubicBezTo>
                    <a:cubicBezTo>
                      <a:pt x="32" y="10"/>
                      <a:pt x="31" y="10"/>
                      <a:pt x="31" y="11"/>
                    </a:cubicBezTo>
                    <a:cubicBezTo>
                      <a:pt x="30" y="12"/>
                      <a:pt x="29" y="15"/>
                      <a:pt x="28" y="19"/>
                    </a:cubicBezTo>
                    <a:cubicBezTo>
                      <a:pt x="27" y="24"/>
                      <a:pt x="26" y="27"/>
                      <a:pt x="25" y="29"/>
                    </a:cubicBezTo>
                    <a:cubicBezTo>
                      <a:pt x="24" y="31"/>
                      <a:pt x="22" y="33"/>
                      <a:pt x="20" y="34"/>
                    </a:cubicBezTo>
                    <a:cubicBezTo>
                      <a:pt x="18" y="35"/>
                      <a:pt x="16" y="36"/>
                      <a:pt x="13" y="36"/>
                    </a:cubicBezTo>
                    <a:cubicBezTo>
                      <a:pt x="11" y="36"/>
                      <a:pt x="8" y="35"/>
                      <a:pt x="6" y="33"/>
                    </a:cubicBezTo>
                    <a:cubicBezTo>
                      <a:pt x="4" y="32"/>
                      <a:pt x="2" y="30"/>
                      <a:pt x="1" y="28"/>
                    </a:cubicBezTo>
                    <a:cubicBezTo>
                      <a:pt x="0" y="25"/>
                      <a:pt x="0" y="22"/>
                      <a:pt x="0" y="18"/>
                    </a:cubicBezTo>
                    <a:cubicBezTo>
                      <a:pt x="0" y="12"/>
                      <a:pt x="1" y="8"/>
                      <a:pt x="3" y="5"/>
                    </a:cubicBezTo>
                    <a:cubicBezTo>
                      <a:pt x="6" y="2"/>
                      <a:pt x="10" y="0"/>
                      <a:pt x="15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85" name="íş1ïḓe"/>
              <p:cNvSpPr/>
              <p:nvPr/>
            </p:nvSpPr>
            <p:spPr bwMode="auto">
              <a:xfrm>
                <a:off x="1642959" y="5385390"/>
                <a:ext cx="84138" cy="22225"/>
              </a:xfrm>
              <a:custGeom>
                <a:avLst/>
                <a:gdLst>
                  <a:gd name="T0" fmla="*/ 0 w 53"/>
                  <a:gd name="T1" fmla="*/ 5 h 14"/>
                  <a:gd name="T2" fmla="*/ 51 w 53"/>
                  <a:gd name="T3" fmla="*/ 0 h 14"/>
                  <a:gd name="T4" fmla="*/ 53 w 53"/>
                  <a:gd name="T5" fmla="*/ 11 h 14"/>
                  <a:gd name="T6" fmla="*/ 1 w 53"/>
                  <a:gd name="T7" fmla="*/ 14 h 14"/>
                  <a:gd name="T8" fmla="*/ 0 w 53"/>
                  <a:gd name="T9" fmla="*/ 5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3" h="14">
                    <a:moveTo>
                      <a:pt x="0" y="5"/>
                    </a:moveTo>
                    <a:lnTo>
                      <a:pt x="51" y="0"/>
                    </a:lnTo>
                    <a:lnTo>
                      <a:pt x="53" y="11"/>
                    </a:lnTo>
                    <a:lnTo>
                      <a:pt x="1" y="14"/>
                    </a:lnTo>
                    <a:lnTo>
                      <a:pt x="0" y="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86" name="ïṩlîḋè"/>
              <p:cNvSpPr/>
              <p:nvPr/>
            </p:nvSpPr>
            <p:spPr bwMode="auto">
              <a:xfrm>
                <a:off x="1649309" y="5407615"/>
                <a:ext cx="84138" cy="66675"/>
              </a:xfrm>
              <a:custGeom>
                <a:avLst/>
                <a:gdLst>
                  <a:gd name="T0" fmla="*/ 0 w 53"/>
                  <a:gd name="T1" fmla="*/ 22 h 42"/>
                  <a:gd name="T2" fmla="*/ 42 w 53"/>
                  <a:gd name="T3" fmla="*/ 17 h 42"/>
                  <a:gd name="T4" fmla="*/ 39 w 53"/>
                  <a:gd name="T5" fmla="*/ 1 h 42"/>
                  <a:gd name="T6" fmla="*/ 49 w 53"/>
                  <a:gd name="T7" fmla="*/ 0 h 42"/>
                  <a:gd name="T8" fmla="*/ 53 w 53"/>
                  <a:gd name="T9" fmla="*/ 41 h 42"/>
                  <a:gd name="T10" fmla="*/ 45 w 53"/>
                  <a:gd name="T11" fmla="*/ 42 h 42"/>
                  <a:gd name="T12" fmla="*/ 43 w 53"/>
                  <a:gd name="T13" fmla="*/ 27 h 42"/>
                  <a:gd name="T14" fmla="*/ 1 w 53"/>
                  <a:gd name="T15" fmla="*/ 33 h 42"/>
                  <a:gd name="T16" fmla="*/ 0 w 53"/>
                  <a:gd name="T17" fmla="*/ 22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3" h="42">
                    <a:moveTo>
                      <a:pt x="0" y="22"/>
                    </a:moveTo>
                    <a:lnTo>
                      <a:pt x="42" y="17"/>
                    </a:lnTo>
                    <a:lnTo>
                      <a:pt x="39" y="1"/>
                    </a:lnTo>
                    <a:lnTo>
                      <a:pt x="49" y="0"/>
                    </a:lnTo>
                    <a:lnTo>
                      <a:pt x="53" y="41"/>
                    </a:lnTo>
                    <a:lnTo>
                      <a:pt x="45" y="42"/>
                    </a:lnTo>
                    <a:lnTo>
                      <a:pt x="43" y="27"/>
                    </a:lnTo>
                    <a:lnTo>
                      <a:pt x="1" y="33"/>
                    </a:lnTo>
                    <a:lnTo>
                      <a:pt x="0" y="2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87" name="ïṣľîďe"/>
              <p:cNvSpPr/>
              <p:nvPr/>
            </p:nvSpPr>
            <p:spPr bwMode="auto">
              <a:xfrm>
                <a:off x="1662009" y="5471115"/>
                <a:ext cx="90488" cy="73025"/>
              </a:xfrm>
              <a:custGeom>
                <a:avLst/>
                <a:gdLst>
                  <a:gd name="T0" fmla="*/ 0 w 57"/>
                  <a:gd name="T1" fmla="*/ 29 h 46"/>
                  <a:gd name="T2" fmla="*/ 21 w 57"/>
                  <a:gd name="T3" fmla="*/ 24 h 46"/>
                  <a:gd name="T4" fmla="*/ 45 w 57"/>
                  <a:gd name="T5" fmla="*/ 0 h 46"/>
                  <a:gd name="T6" fmla="*/ 49 w 57"/>
                  <a:gd name="T7" fmla="*/ 11 h 46"/>
                  <a:gd name="T8" fmla="*/ 31 w 57"/>
                  <a:gd name="T9" fmla="*/ 28 h 46"/>
                  <a:gd name="T10" fmla="*/ 53 w 57"/>
                  <a:gd name="T11" fmla="*/ 35 h 46"/>
                  <a:gd name="T12" fmla="*/ 57 w 57"/>
                  <a:gd name="T13" fmla="*/ 46 h 46"/>
                  <a:gd name="T14" fmla="*/ 23 w 57"/>
                  <a:gd name="T15" fmla="*/ 35 h 46"/>
                  <a:gd name="T16" fmla="*/ 2 w 57"/>
                  <a:gd name="T17" fmla="*/ 39 h 46"/>
                  <a:gd name="T18" fmla="*/ 0 w 57"/>
                  <a:gd name="T19" fmla="*/ 29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57" h="46">
                    <a:moveTo>
                      <a:pt x="0" y="29"/>
                    </a:moveTo>
                    <a:lnTo>
                      <a:pt x="21" y="24"/>
                    </a:lnTo>
                    <a:lnTo>
                      <a:pt x="45" y="0"/>
                    </a:lnTo>
                    <a:lnTo>
                      <a:pt x="49" y="11"/>
                    </a:lnTo>
                    <a:lnTo>
                      <a:pt x="31" y="28"/>
                    </a:lnTo>
                    <a:lnTo>
                      <a:pt x="53" y="35"/>
                    </a:lnTo>
                    <a:lnTo>
                      <a:pt x="57" y="46"/>
                    </a:lnTo>
                    <a:lnTo>
                      <a:pt x="23" y="35"/>
                    </a:lnTo>
                    <a:lnTo>
                      <a:pt x="2" y="39"/>
                    </a:lnTo>
                    <a:lnTo>
                      <a:pt x="0" y="2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88" name="íśļiḓe"/>
              <p:cNvSpPr/>
              <p:nvPr/>
            </p:nvSpPr>
            <p:spPr bwMode="auto">
              <a:xfrm>
                <a:off x="1704872" y="5609228"/>
                <a:ext cx="85725" cy="80963"/>
              </a:xfrm>
              <a:custGeom>
                <a:avLst/>
                <a:gdLst>
                  <a:gd name="T0" fmla="*/ 15 w 47"/>
                  <a:gd name="T1" fmla="*/ 2 h 44"/>
                  <a:gd name="T2" fmla="*/ 26 w 47"/>
                  <a:gd name="T3" fmla="*/ 0 h 44"/>
                  <a:gd name="T4" fmla="*/ 33 w 47"/>
                  <a:gd name="T5" fmla="*/ 1 h 44"/>
                  <a:gd name="T6" fmla="*/ 39 w 47"/>
                  <a:gd name="T7" fmla="*/ 4 h 44"/>
                  <a:gd name="T8" fmla="*/ 44 w 47"/>
                  <a:gd name="T9" fmla="*/ 12 h 44"/>
                  <a:gd name="T10" fmla="*/ 45 w 47"/>
                  <a:gd name="T11" fmla="*/ 29 h 44"/>
                  <a:gd name="T12" fmla="*/ 32 w 47"/>
                  <a:gd name="T13" fmla="*/ 41 h 44"/>
                  <a:gd name="T14" fmla="*/ 15 w 47"/>
                  <a:gd name="T15" fmla="*/ 43 h 44"/>
                  <a:gd name="T16" fmla="*/ 3 w 47"/>
                  <a:gd name="T17" fmla="*/ 31 h 44"/>
                  <a:gd name="T18" fmla="*/ 2 w 47"/>
                  <a:gd name="T19" fmla="*/ 14 h 44"/>
                  <a:gd name="T20" fmla="*/ 15 w 47"/>
                  <a:gd name="T21" fmla="*/ 2 h 44"/>
                  <a:gd name="T22" fmla="*/ 19 w 47"/>
                  <a:gd name="T23" fmla="*/ 10 h 44"/>
                  <a:gd name="T24" fmla="*/ 10 w 47"/>
                  <a:gd name="T25" fmla="*/ 18 h 44"/>
                  <a:gd name="T26" fmla="*/ 10 w 47"/>
                  <a:gd name="T27" fmla="*/ 28 h 44"/>
                  <a:gd name="T28" fmla="*/ 17 w 47"/>
                  <a:gd name="T29" fmla="*/ 34 h 44"/>
                  <a:gd name="T30" fmla="*/ 29 w 47"/>
                  <a:gd name="T31" fmla="*/ 33 h 44"/>
                  <a:gd name="T32" fmla="*/ 38 w 47"/>
                  <a:gd name="T33" fmla="*/ 25 h 44"/>
                  <a:gd name="T34" fmla="*/ 37 w 47"/>
                  <a:gd name="T35" fmla="*/ 16 h 44"/>
                  <a:gd name="T36" fmla="*/ 30 w 47"/>
                  <a:gd name="T37" fmla="*/ 9 h 44"/>
                  <a:gd name="T38" fmla="*/ 19 w 47"/>
                  <a:gd name="T39" fmla="*/ 10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47" h="44">
                    <a:moveTo>
                      <a:pt x="15" y="2"/>
                    </a:moveTo>
                    <a:cubicBezTo>
                      <a:pt x="19" y="0"/>
                      <a:pt x="23" y="0"/>
                      <a:pt x="26" y="0"/>
                    </a:cubicBezTo>
                    <a:cubicBezTo>
                      <a:pt x="28" y="0"/>
                      <a:pt x="31" y="0"/>
                      <a:pt x="33" y="1"/>
                    </a:cubicBezTo>
                    <a:cubicBezTo>
                      <a:pt x="35" y="2"/>
                      <a:pt x="37" y="3"/>
                      <a:pt x="39" y="4"/>
                    </a:cubicBezTo>
                    <a:cubicBezTo>
                      <a:pt x="41" y="6"/>
                      <a:pt x="43" y="9"/>
                      <a:pt x="44" y="12"/>
                    </a:cubicBezTo>
                    <a:cubicBezTo>
                      <a:pt x="47" y="18"/>
                      <a:pt x="47" y="24"/>
                      <a:pt x="45" y="29"/>
                    </a:cubicBezTo>
                    <a:cubicBezTo>
                      <a:pt x="43" y="34"/>
                      <a:pt x="39" y="38"/>
                      <a:pt x="32" y="41"/>
                    </a:cubicBezTo>
                    <a:cubicBezTo>
                      <a:pt x="26" y="44"/>
                      <a:pt x="20" y="44"/>
                      <a:pt x="15" y="43"/>
                    </a:cubicBezTo>
                    <a:cubicBezTo>
                      <a:pt x="9" y="41"/>
                      <a:pt x="5" y="37"/>
                      <a:pt x="3" y="31"/>
                    </a:cubicBezTo>
                    <a:cubicBezTo>
                      <a:pt x="0" y="25"/>
                      <a:pt x="0" y="19"/>
                      <a:pt x="2" y="14"/>
                    </a:cubicBezTo>
                    <a:cubicBezTo>
                      <a:pt x="4" y="9"/>
                      <a:pt x="8" y="5"/>
                      <a:pt x="15" y="2"/>
                    </a:cubicBezTo>
                    <a:close/>
                    <a:moveTo>
                      <a:pt x="19" y="10"/>
                    </a:moveTo>
                    <a:cubicBezTo>
                      <a:pt x="14" y="12"/>
                      <a:pt x="11" y="15"/>
                      <a:pt x="10" y="18"/>
                    </a:cubicBezTo>
                    <a:cubicBezTo>
                      <a:pt x="8" y="21"/>
                      <a:pt x="8" y="24"/>
                      <a:pt x="10" y="28"/>
                    </a:cubicBezTo>
                    <a:cubicBezTo>
                      <a:pt x="11" y="31"/>
                      <a:pt x="13" y="33"/>
                      <a:pt x="17" y="34"/>
                    </a:cubicBezTo>
                    <a:cubicBezTo>
                      <a:pt x="20" y="35"/>
                      <a:pt x="24" y="35"/>
                      <a:pt x="29" y="33"/>
                    </a:cubicBezTo>
                    <a:cubicBezTo>
                      <a:pt x="33" y="31"/>
                      <a:pt x="36" y="28"/>
                      <a:pt x="38" y="25"/>
                    </a:cubicBezTo>
                    <a:cubicBezTo>
                      <a:pt x="39" y="22"/>
                      <a:pt x="39" y="19"/>
                      <a:pt x="37" y="16"/>
                    </a:cubicBezTo>
                    <a:cubicBezTo>
                      <a:pt x="36" y="12"/>
                      <a:pt x="34" y="10"/>
                      <a:pt x="30" y="9"/>
                    </a:cubicBezTo>
                    <a:cubicBezTo>
                      <a:pt x="27" y="8"/>
                      <a:pt x="23" y="8"/>
                      <a:pt x="19" y="1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89" name="î$ḷïďe"/>
              <p:cNvSpPr/>
              <p:nvPr/>
            </p:nvSpPr>
            <p:spPr bwMode="auto">
              <a:xfrm>
                <a:off x="1733447" y="5675903"/>
                <a:ext cx="98425" cy="66675"/>
              </a:xfrm>
              <a:custGeom>
                <a:avLst/>
                <a:gdLst>
                  <a:gd name="T0" fmla="*/ 0 w 62"/>
                  <a:gd name="T1" fmla="*/ 26 h 42"/>
                  <a:gd name="T2" fmla="*/ 45 w 62"/>
                  <a:gd name="T3" fmla="*/ 0 h 42"/>
                  <a:gd name="T4" fmla="*/ 62 w 62"/>
                  <a:gd name="T5" fmla="*/ 30 h 42"/>
                  <a:gd name="T6" fmla="*/ 55 w 62"/>
                  <a:gd name="T7" fmla="*/ 35 h 42"/>
                  <a:gd name="T8" fmla="*/ 43 w 62"/>
                  <a:gd name="T9" fmla="*/ 14 h 42"/>
                  <a:gd name="T10" fmla="*/ 32 w 62"/>
                  <a:gd name="T11" fmla="*/ 20 h 42"/>
                  <a:gd name="T12" fmla="*/ 43 w 62"/>
                  <a:gd name="T13" fmla="*/ 38 h 42"/>
                  <a:gd name="T14" fmla="*/ 35 w 62"/>
                  <a:gd name="T15" fmla="*/ 42 h 42"/>
                  <a:gd name="T16" fmla="*/ 25 w 62"/>
                  <a:gd name="T17" fmla="*/ 23 h 42"/>
                  <a:gd name="T18" fmla="*/ 6 w 62"/>
                  <a:gd name="T19" fmla="*/ 35 h 42"/>
                  <a:gd name="T20" fmla="*/ 0 w 62"/>
                  <a:gd name="T21" fmla="*/ 26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62" h="42">
                    <a:moveTo>
                      <a:pt x="0" y="26"/>
                    </a:moveTo>
                    <a:lnTo>
                      <a:pt x="45" y="0"/>
                    </a:lnTo>
                    <a:lnTo>
                      <a:pt x="62" y="30"/>
                    </a:lnTo>
                    <a:lnTo>
                      <a:pt x="55" y="35"/>
                    </a:lnTo>
                    <a:lnTo>
                      <a:pt x="43" y="14"/>
                    </a:lnTo>
                    <a:lnTo>
                      <a:pt x="32" y="20"/>
                    </a:lnTo>
                    <a:lnTo>
                      <a:pt x="43" y="38"/>
                    </a:lnTo>
                    <a:lnTo>
                      <a:pt x="35" y="42"/>
                    </a:lnTo>
                    <a:lnTo>
                      <a:pt x="25" y="23"/>
                    </a:lnTo>
                    <a:lnTo>
                      <a:pt x="6" y="35"/>
                    </a:lnTo>
                    <a:lnTo>
                      <a:pt x="0" y="26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90" name="îśḻîḍe"/>
              <p:cNvSpPr/>
              <p:nvPr/>
            </p:nvSpPr>
            <p:spPr bwMode="auto">
              <a:xfrm>
                <a:off x="1812822" y="5785440"/>
                <a:ext cx="85725" cy="82550"/>
              </a:xfrm>
              <a:custGeom>
                <a:avLst/>
                <a:gdLst>
                  <a:gd name="T0" fmla="*/ 6 w 46"/>
                  <a:gd name="T1" fmla="*/ 13 h 45"/>
                  <a:gd name="T2" fmla="*/ 12 w 46"/>
                  <a:gd name="T3" fmla="*/ 19 h 45"/>
                  <a:gd name="T4" fmla="*/ 9 w 46"/>
                  <a:gd name="T5" fmla="*/ 26 h 45"/>
                  <a:gd name="T6" fmla="*/ 11 w 46"/>
                  <a:gd name="T7" fmla="*/ 32 h 45"/>
                  <a:gd name="T8" fmla="*/ 17 w 46"/>
                  <a:gd name="T9" fmla="*/ 36 h 45"/>
                  <a:gd name="T10" fmla="*/ 22 w 46"/>
                  <a:gd name="T11" fmla="*/ 35 h 45"/>
                  <a:gd name="T12" fmla="*/ 23 w 46"/>
                  <a:gd name="T13" fmla="*/ 32 h 45"/>
                  <a:gd name="T14" fmla="*/ 22 w 46"/>
                  <a:gd name="T15" fmla="*/ 29 h 45"/>
                  <a:gd name="T16" fmla="*/ 19 w 46"/>
                  <a:gd name="T17" fmla="*/ 22 h 45"/>
                  <a:gd name="T18" fmla="*/ 16 w 46"/>
                  <a:gd name="T19" fmla="*/ 12 h 45"/>
                  <a:gd name="T20" fmla="*/ 21 w 46"/>
                  <a:gd name="T21" fmla="*/ 3 h 45"/>
                  <a:gd name="T22" fmla="*/ 27 w 46"/>
                  <a:gd name="T23" fmla="*/ 0 h 45"/>
                  <a:gd name="T24" fmla="*/ 34 w 46"/>
                  <a:gd name="T25" fmla="*/ 2 h 45"/>
                  <a:gd name="T26" fmla="*/ 40 w 46"/>
                  <a:gd name="T27" fmla="*/ 8 h 45"/>
                  <a:gd name="T28" fmla="*/ 45 w 46"/>
                  <a:gd name="T29" fmla="*/ 19 h 45"/>
                  <a:gd name="T30" fmla="*/ 41 w 46"/>
                  <a:gd name="T31" fmla="*/ 29 h 45"/>
                  <a:gd name="T32" fmla="*/ 35 w 46"/>
                  <a:gd name="T33" fmla="*/ 22 h 45"/>
                  <a:gd name="T34" fmla="*/ 37 w 46"/>
                  <a:gd name="T35" fmla="*/ 17 h 45"/>
                  <a:gd name="T36" fmla="*/ 35 w 46"/>
                  <a:gd name="T37" fmla="*/ 12 h 45"/>
                  <a:gd name="T38" fmla="*/ 30 w 46"/>
                  <a:gd name="T39" fmla="*/ 8 h 45"/>
                  <a:gd name="T40" fmla="*/ 27 w 46"/>
                  <a:gd name="T41" fmla="*/ 9 h 45"/>
                  <a:gd name="T42" fmla="*/ 25 w 46"/>
                  <a:gd name="T43" fmla="*/ 12 h 45"/>
                  <a:gd name="T44" fmla="*/ 28 w 46"/>
                  <a:gd name="T45" fmla="*/ 20 h 45"/>
                  <a:gd name="T46" fmla="*/ 32 w 46"/>
                  <a:gd name="T47" fmla="*/ 29 h 45"/>
                  <a:gd name="T48" fmla="*/ 31 w 46"/>
                  <a:gd name="T49" fmla="*/ 36 h 45"/>
                  <a:gd name="T50" fmla="*/ 27 w 46"/>
                  <a:gd name="T51" fmla="*/ 42 h 45"/>
                  <a:gd name="T52" fmla="*/ 20 w 46"/>
                  <a:gd name="T53" fmla="*/ 45 h 45"/>
                  <a:gd name="T54" fmla="*/ 13 w 46"/>
                  <a:gd name="T55" fmla="*/ 43 h 45"/>
                  <a:gd name="T56" fmla="*/ 6 w 46"/>
                  <a:gd name="T57" fmla="*/ 37 h 45"/>
                  <a:gd name="T58" fmla="*/ 0 w 46"/>
                  <a:gd name="T59" fmla="*/ 24 h 45"/>
                  <a:gd name="T60" fmla="*/ 6 w 46"/>
                  <a:gd name="T61" fmla="*/ 13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46" h="45">
                    <a:moveTo>
                      <a:pt x="6" y="13"/>
                    </a:moveTo>
                    <a:cubicBezTo>
                      <a:pt x="12" y="19"/>
                      <a:pt x="12" y="19"/>
                      <a:pt x="12" y="19"/>
                    </a:cubicBezTo>
                    <a:cubicBezTo>
                      <a:pt x="10" y="21"/>
                      <a:pt x="9" y="24"/>
                      <a:pt x="9" y="26"/>
                    </a:cubicBezTo>
                    <a:cubicBezTo>
                      <a:pt x="9" y="28"/>
                      <a:pt x="10" y="30"/>
                      <a:pt x="11" y="32"/>
                    </a:cubicBezTo>
                    <a:cubicBezTo>
                      <a:pt x="13" y="34"/>
                      <a:pt x="15" y="35"/>
                      <a:pt x="17" y="36"/>
                    </a:cubicBezTo>
                    <a:cubicBezTo>
                      <a:pt x="19" y="36"/>
                      <a:pt x="20" y="36"/>
                      <a:pt x="22" y="35"/>
                    </a:cubicBezTo>
                    <a:cubicBezTo>
                      <a:pt x="22" y="34"/>
                      <a:pt x="23" y="33"/>
                      <a:pt x="23" y="32"/>
                    </a:cubicBezTo>
                    <a:cubicBezTo>
                      <a:pt x="23" y="32"/>
                      <a:pt x="23" y="30"/>
                      <a:pt x="22" y="29"/>
                    </a:cubicBezTo>
                    <a:cubicBezTo>
                      <a:pt x="22" y="28"/>
                      <a:pt x="21" y="26"/>
                      <a:pt x="19" y="22"/>
                    </a:cubicBezTo>
                    <a:cubicBezTo>
                      <a:pt x="17" y="18"/>
                      <a:pt x="16" y="14"/>
                      <a:pt x="16" y="12"/>
                    </a:cubicBezTo>
                    <a:cubicBezTo>
                      <a:pt x="17" y="8"/>
                      <a:pt x="18" y="5"/>
                      <a:pt x="21" y="3"/>
                    </a:cubicBezTo>
                    <a:cubicBezTo>
                      <a:pt x="23" y="1"/>
                      <a:pt x="25" y="1"/>
                      <a:pt x="27" y="0"/>
                    </a:cubicBezTo>
                    <a:cubicBezTo>
                      <a:pt x="29" y="0"/>
                      <a:pt x="31" y="1"/>
                      <a:pt x="34" y="2"/>
                    </a:cubicBezTo>
                    <a:cubicBezTo>
                      <a:pt x="36" y="3"/>
                      <a:pt x="38" y="5"/>
                      <a:pt x="40" y="8"/>
                    </a:cubicBezTo>
                    <a:cubicBezTo>
                      <a:pt x="44" y="12"/>
                      <a:pt x="46" y="16"/>
                      <a:pt x="45" y="19"/>
                    </a:cubicBezTo>
                    <a:cubicBezTo>
                      <a:pt x="45" y="23"/>
                      <a:pt x="44" y="26"/>
                      <a:pt x="41" y="29"/>
                    </a:cubicBezTo>
                    <a:cubicBezTo>
                      <a:pt x="35" y="22"/>
                      <a:pt x="35" y="22"/>
                      <a:pt x="35" y="22"/>
                    </a:cubicBezTo>
                    <a:cubicBezTo>
                      <a:pt x="36" y="21"/>
                      <a:pt x="37" y="19"/>
                      <a:pt x="37" y="17"/>
                    </a:cubicBezTo>
                    <a:cubicBezTo>
                      <a:pt x="37" y="16"/>
                      <a:pt x="36" y="14"/>
                      <a:pt x="35" y="12"/>
                    </a:cubicBezTo>
                    <a:cubicBezTo>
                      <a:pt x="33" y="10"/>
                      <a:pt x="31" y="9"/>
                      <a:pt x="30" y="8"/>
                    </a:cubicBezTo>
                    <a:cubicBezTo>
                      <a:pt x="28" y="8"/>
                      <a:pt x="27" y="8"/>
                      <a:pt x="27" y="9"/>
                    </a:cubicBezTo>
                    <a:cubicBezTo>
                      <a:pt x="26" y="10"/>
                      <a:pt x="25" y="11"/>
                      <a:pt x="25" y="12"/>
                    </a:cubicBezTo>
                    <a:cubicBezTo>
                      <a:pt x="25" y="13"/>
                      <a:pt x="26" y="16"/>
                      <a:pt x="28" y="20"/>
                    </a:cubicBezTo>
                    <a:cubicBezTo>
                      <a:pt x="30" y="24"/>
                      <a:pt x="31" y="27"/>
                      <a:pt x="32" y="29"/>
                    </a:cubicBezTo>
                    <a:cubicBezTo>
                      <a:pt x="32" y="32"/>
                      <a:pt x="32" y="34"/>
                      <a:pt x="31" y="36"/>
                    </a:cubicBezTo>
                    <a:cubicBezTo>
                      <a:pt x="31" y="38"/>
                      <a:pt x="29" y="40"/>
                      <a:pt x="27" y="42"/>
                    </a:cubicBezTo>
                    <a:cubicBezTo>
                      <a:pt x="25" y="43"/>
                      <a:pt x="23" y="44"/>
                      <a:pt x="20" y="45"/>
                    </a:cubicBezTo>
                    <a:cubicBezTo>
                      <a:pt x="18" y="45"/>
                      <a:pt x="15" y="44"/>
                      <a:pt x="13" y="43"/>
                    </a:cubicBezTo>
                    <a:cubicBezTo>
                      <a:pt x="10" y="42"/>
                      <a:pt x="8" y="40"/>
                      <a:pt x="6" y="37"/>
                    </a:cubicBezTo>
                    <a:cubicBezTo>
                      <a:pt x="2" y="32"/>
                      <a:pt x="0" y="28"/>
                      <a:pt x="0" y="24"/>
                    </a:cubicBezTo>
                    <a:cubicBezTo>
                      <a:pt x="1" y="20"/>
                      <a:pt x="2" y="17"/>
                      <a:pt x="6" y="1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91" name="í$ļîḋê"/>
              <p:cNvSpPr/>
              <p:nvPr/>
            </p:nvSpPr>
            <p:spPr bwMode="auto">
              <a:xfrm>
                <a:off x="1868384" y="5844178"/>
                <a:ext cx="82550" cy="82550"/>
              </a:xfrm>
              <a:custGeom>
                <a:avLst/>
                <a:gdLst>
                  <a:gd name="T0" fmla="*/ 25 w 45"/>
                  <a:gd name="T1" fmla="*/ 33 h 45"/>
                  <a:gd name="T2" fmla="*/ 29 w 45"/>
                  <a:gd name="T3" fmla="*/ 41 h 45"/>
                  <a:gd name="T4" fmla="*/ 17 w 45"/>
                  <a:gd name="T5" fmla="*/ 44 h 45"/>
                  <a:gd name="T6" fmla="*/ 6 w 45"/>
                  <a:gd name="T7" fmla="*/ 38 h 45"/>
                  <a:gd name="T8" fmla="*/ 0 w 45"/>
                  <a:gd name="T9" fmla="*/ 24 h 45"/>
                  <a:gd name="T10" fmla="*/ 8 w 45"/>
                  <a:gd name="T11" fmla="*/ 8 h 45"/>
                  <a:gd name="T12" fmla="*/ 24 w 45"/>
                  <a:gd name="T13" fmla="*/ 0 h 45"/>
                  <a:gd name="T14" fmla="*/ 39 w 45"/>
                  <a:gd name="T15" fmla="*/ 7 h 45"/>
                  <a:gd name="T16" fmla="*/ 45 w 45"/>
                  <a:gd name="T17" fmla="*/ 19 h 45"/>
                  <a:gd name="T18" fmla="*/ 42 w 45"/>
                  <a:gd name="T19" fmla="*/ 28 h 45"/>
                  <a:gd name="T20" fmla="*/ 34 w 45"/>
                  <a:gd name="T21" fmla="*/ 23 h 45"/>
                  <a:gd name="T22" fmla="*/ 36 w 45"/>
                  <a:gd name="T23" fmla="*/ 17 h 45"/>
                  <a:gd name="T24" fmla="*/ 33 w 45"/>
                  <a:gd name="T25" fmla="*/ 12 h 45"/>
                  <a:gd name="T26" fmla="*/ 25 w 45"/>
                  <a:gd name="T27" fmla="*/ 9 h 45"/>
                  <a:gd name="T28" fmla="*/ 15 w 45"/>
                  <a:gd name="T29" fmla="*/ 14 h 45"/>
                  <a:gd name="T30" fmla="*/ 8 w 45"/>
                  <a:gd name="T31" fmla="*/ 25 h 45"/>
                  <a:gd name="T32" fmla="*/ 11 w 45"/>
                  <a:gd name="T33" fmla="*/ 33 h 45"/>
                  <a:gd name="T34" fmla="*/ 17 w 45"/>
                  <a:gd name="T35" fmla="*/ 36 h 45"/>
                  <a:gd name="T36" fmla="*/ 25 w 45"/>
                  <a:gd name="T37" fmla="*/ 33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45" h="45">
                    <a:moveTo>
                      <a:pt x="25" y="33"/>
                    </a:moveTo>
                    <a:cubicBezTo>
                      <a:pt x="29" y="41"/>
                      <a:pt x="29" y="41"/>
                      <a:pt x="29" y="41"/>
                    </a:cubicBezTo>
                    <a:cubicBezTo>
                      <a:pt x="25" y="44"/>
                      <a:pt x="21" y="45"/>
                      <a:pt x="17" y="44"/>
                    </a:cubicBezTo>
                    <a:cubicBezTo>
                      <a:pt x="13" y="44"/>
                      <a:pt x="9" y="42"/>
                      <a:pt x="6" y="38"/>
                    </a:cubicBezTo>
                    <a:cubicBezTo>
                      <a:pt x="2" y="34"/>
                      <a:pt x="0" y="29"/>
                      <a:pt x="0" y="24"/>
                    </a:cubicBezTo>
                    <a:cubicBezTo>
                      <a:pt x="0" y="19"/>
                      <a:pt x="3" y="13"/>
                      <a:pt x="8" y="8"/>
                    </a:cubicBezTo>
                    <a:cubicBezTo>
                      <a:pt x="13" y="3"/>
                      <a:pt x="18" y="1"/>
                      <a:pt x="24" y="0"/>
                    </a:cubicBezTo>
                    <a:cubicBezTo>
                      <a:pt x="29" y="0"/>
                      <a:pt x="34" y="2"/>
                      <a:pt x="39" y="7"/>
                    </a:cubicBezTo>
                    <a:cubicBezTo>
                      <a:pt x="42" y="10"/>
                      <a:pt x="44" y="15"/>
                      <a:pt x="45" y="19"/>
                    </a:cubicBezTo>
                    <a:cubicBezTo>
                      <a:pt x="45" y="22"/>
                      <a:pt x="44" y="25"/>
                      <a:pt x="42" y="28"/>
                    </a:cubicBezTo>
                    <a:cubicBezTo>
                      <a:pt x="34" y="23"/>
                      <a:pt x="34" y="23"/>
                      <a:pt x="34" y="23"/>
                    </a:cubicBezTo>
                    <a:cubicBezTo>
                      <a:pt x="36" y="21"/>
                      <a:pt x="36" y="19"/>
                      <a:pt x="36" y="17"/>
                    </a:cubicBezTo>
                    <a:cubicBezTo>
                      <a:pt x="36" y="15"/>
                      <a:pt x="35" y="13"/>
                      <a:pt x="33" y="12"/>
                    </a:cubicBezTo>
                    <a:cubicBezTo>
                      <a:pt x="31" y="9"/>
                      <a:pt x="28" y="8"/>
                      <a:pt x="25" y="9"/>
                    </a:cubicBezTo>
                    <a:cubicBezTo>
                      <a:pt x="22" y="9"/>
                      <a:pt x="18" y="11"/>
                      <a:pt x="15" y="14"/>
                    </a:cubicBezTo>
                    <a:cubicBezTo>
                      <a:pt x="11" y="18"/>
                      <a:pt x="9" y="22"/>
                      <a:pt x="8" y="25"/>
                    </a:cubicBezTo>
                    <a:cubicBezTo>
                      <a:pt x="8" y="28"/>
                      <a:pt x="9" y="31"/>
                      <a:pt x="11" y="33"/>
                    </a:cubicBezTo>
                    <a:cubicBezTo>
                      <a:pt x="13" y="35"/>
                      <a:pt x="15" y="36"/>
                      <a:pt x="17" y="36"/>
                    </a:cubicBezTo>
                    <a:cubicBezTo>
                      <a:pt x="20" y="36"/>
                      <a:pt x="22" y="35"/>
                      <a:pt x="25" y="3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92" name="íṩḷiḋé"/>
              <p:cNvSpPr/>
              <p:nvPr/>
            </p:nvSpPr>
            <p:spPr bwMode="auto">
              <a:xfrm>
                <a:off x="1916009" y="5887040"/>
                <a:ext cx="65088" cy="71438"/>
              </a:xfrm>
              <a:custGeom>
                <a:avLst/>
                <a:gdLst>
                  <a:gd name="T0" fmla="*/ 0 w 41"/>
                  <a:gd name="T1" fmla="*/ 38 h 45"/>
                  <a:gd name="T2" fmla="*/ 34 w 41"/>
                  <a:gd name="T3" fmla="*/ 0 h 45"/>
                  <a:gd name="T4" fmla="*/ 41 w 41"/>
                  <a:gd name="T5" fmla="*/ 6 h 45"/>
                  <a:gd name="T6" fmla="*/ 8 w 41"/>
                  <a:gd name="T7" fmla="*/ 45 h 45"/>
                  <a:gd name="T8" fmla="*/ 0 w 41"/>
                  <a:gd name="T9" fmla="*/ 38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1" h="45">
                    <a:moveTo>
                      <a:pt x="0" y="38"/>
                    </a:moveTo>
                    <a:lnTo>
                      <a:pt x="34" y="0"/>
                    </a:lnTo>
                    <a:lnTo>
                      <a:pt x="41" y="6"/>
                    </a:lnTo>
                    <a:lnTo>
                      <a:pt x="8" y="45"/>
                    </a:lnTo>
                    <a:lnTo>
                      <a:pt x="0" y="3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93" name="îsľïďé"/>
              <p:cNvSpPr/>
              <p:nvPr/>
            </p:nvSpPr>
            <p:spPr bwMode="auto">
              <a:xfrm>
                <a:off x="1941409" y="5904503"/>
                <a:ext cx="96838" cy="101600"/>
              </a:xfrm>
              <a:custGeom>
                <a:avLst/>
                <a:gdLst>
                  <a:gd name="T0" fmla="*/ 0 w 61"/>
                  <a:gd name="T1" fmla="*/ 41 h 64"/>
                  <a:gd name="T2" fmla="*/ 31 w 61"/>
                  <a:gd name="T3" fmla="*/ 0 h 64"/>
                  <a:gd name="T4" fmla="*/ 61 w 61"/>
                  <a:gd name="T5" fmla="*/ 22 h 64"/>
                  <a:gd name="T6" fmla="*/ 56 w 61"/>
                  <a:gd name="T7" fmla="*/ 29 h 64"/>
                  <a:gd name="T8" fmla="*/ 34 w 61"/>
                  <a:gd name="T9" fmla="*/ 13 h 64"/>
                  <a:gd name="T10" fmla="*/ 27 w 61"/>
                  <a:gd name="T11" fmla="*/ 22 h 64"/>
                  <a:gd name="T12" fmla="*/ 47 w 61"/>
                  <a:gd name="T13" fmla="*/ 37 h 64"/>
                  <a:gd name="T14" fmla="*/ 42 w 61"/>
                  <a:gd name="T15" fmla="*/ 44 h 64"/>
                  <a:gd name="T16" fmla="*/ 21 w 61"/>
                  <a:gd name="T17" fmla="*/ 29 h 64"/>
                  <a:gd name="T18" fmla="*/ 13 w 61"/>
                  <a:gd name="T19" fmla="*/ 40 h 64"/>
                  <a:gd name="T20" fmla="*/ 36 w 61"/>
                  <a:gd name="T21" fmla="*/ 57 h 64"/>
                  <a:gd name="T22" fmla="*/ 31 w 61"/>
                  <a:gd name="T23" fmla="*/ 64 h 64"/>
                  <a:gd name="T24" fmla="*/ 0 w 61"/>
                  <a:gd name="T25" fmla="*/ 41 h 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1" h="64">
                    <a:moveTo>
                      <a:pt x="0" y="41"/>
                    </a:moveTo>
                    <a:lnTo>
                      <a:pt x="31" y="0"/>
                    </a:lnTo>
                    <a:lnTo>
                      <a:pt x="61" y="22"/>
                    </a:lnTo>
                    <a:lnTo>
                      <a:pt x="56" y="29"/>
                    </a:lnTo>
                    <a:lnTo>
                      <a:pt x="34" y="13"/>
                    </a:lnTo>
                    <a:lnTo>
                      <a:pt x="27" y="22"/>
                    </a:lnTo>
                    <a:lnTo>
                      <a:pt x="47" y="37"/>
                    </a:lnTo>
                    <a:lnTo>
                      <a:pt x="42" y="44"/>
                    </a:lnTo>
                    <a:lnTo>
                      <a:pt x="21" y="29"/>
                    </a:lnTo>
                    <a:lnTo>
                      <a:pt x="13" y="40"/>
                    </a:lnTo>
                    <a:lnTo>
                      <a:pt x="36" y="57"/>
                    </a:lnTo>
                    <a:lnTo>
                      <a:pt x="31" y="64"/>
                    </a:lnTo>
                    <a:lnTo>
                      <a:pt x="0" y="4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94" name="íśliḋé"/>
              <p:cNvSpPr/>
              <p:nvPr/>
            </p:nvSpPr>
            <p:spPr bwMode="auto">
              <a:xfrm>
                <a:off x="2004909" y="5947365"/>
                <a:ext cx="96838" cy="101600"/>
              </a:xfrm>
              <a:custGeom>
                <a:avLst/>
                <a:gdLst>
                  <a:gd name="T0" fmla="*/ 0 w 61"/>
                  <a:gd name="T1" fmla="*/ 43 h 64"/>
                  <a:gd name="T2" fmla="*/ 27 w 61"/>
                  <a:gd name="T3" fmla="*/ 0 h 64"/>
                  <a:gd name="T4" fmla="*/ 35 w 61"/>
                  <a:gd name="T5" fmla="*/ 5 h 64"/>
                  <a:gd name="T6" fmla="*/ 36 w 61"/>
                  <a:gd name="T7" fmla="*/ 45 h 64"/>
                  <a:gd name="T8" fmla="*/ 53 w 61"/>
                  <a:gd name="T9" fmla="*/ 15 h 64"/>
                  <a:gd name="T10" fmla="*/ 61 w 61"/>
                  <a:gd name="T11" fmla="*/ 21 h 64"/>
                  <a:gd name="T12" fmla="*/ 35 w 61"/>
                  <a:gd name="T13" fmla="*/ 64 h 64"/>
                  <a:gd name="T14" fmla="*/ 27 w 61"/>
                  <a:gd name="T15" fmla="*/ 59 h 64"/>
                  <a:gd name="T16" fmla="*/ 25 w 61"/>
                  <a:gd name="T17" fmla="*/ 20 h 64"/>
                  <a:gd name="T18" fmla="*/ 8 w 61"/>
                  <a:gd name="T19" fmla="*/ 49 h 64"/>
                  <a:gd name="T20" fmla="*/ 0 w 61"/>
                  <a:gd name="T21" fmla="*/ 43 h 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61" h="64">
                    <a:moveTo>
                      <a:pt x="0" y="43"/>
                    </a:moveTo>
                    <a:lnTo>
                      <a:pt x="27" y="0"/>
                    </a:lnTo>
                    <a:lnTo>
                      <a:pt x="35" y="5"/>
                    </a:lnTo>
                    <a:lnTo>
                      <a:pt x="36" y="45"/>
                    </a:lnTo>
                    <a:lnTo>
                      <a:pt x="53" y="15"/>
                    </a:lnTo>
                    <a:lnTo>
                      <a:pt x="61" y="21"/>
                    </a:lnTo>
                    <a:lnTo>
                      <a:pt x="35" y="64"/>
                    </a:lnTo>
                    <a:lnTo>
                      <a:pt x="27" y="59"/>
                    </a:lnTo>
                    <a:lnTo>
                      <a:pt x="25" y="20"/>
                    </a:lnTo>
                    <a:lnTo>
                      <a:pt x="8" y="49"/>
                    </a:lnTo>
                    <a:lnTo>
                      <a:pt x="0" y="4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95" name="iSļiďê"/>
              <p:cNvSpPr/>
              <p:nvPr/>
            </p:nvSpPr>
            <p:spPr bwMode="auto">
              <a:xfrm>
                <a:off x="2087459" y="5993403"/>
                <a:ext cx="79375" cy="87313"/>
              </a:xfrm>
              <a:custGeom>
                <a:avLst/>
                <a:gdLst>
                  <a:gd name="T0" fmla="*/ 28 w 43"/>
                  <a:gd name="T1" fmla="*/ 33 h 47"/>
                  <a:gd name="T2" fmla="*/ 34 w 43"/>
                  <a:gd name="T3" fmla="*/ 39 h 47"/>
                  <a:gd name="T4" fmla="*/ 24 w 43"/>
                  <a:gd name="T5" fmla="*/ 46 h 47"/>
                  <a:gd name="T6" fmla="*/ 12 w 43"/>
                  <a:gd name="T7" fmla="*/ 44 h 47"/>
                  <a:gd name="T8" fmla="*/ 1 w 43"/>
                  <a:gd name="T9" fmla="*/ 33 h 47"/>
                  <a:gd name="T10" fmla="*/ 3 w 43"/>
                  <a:gd name="T11" fmla="*/ 15 h 47"/>
                  <a:gd name="T12" fmla="*/ 15 w 43"/>
                  <a:gd name="T13" fmla="*/ 2 h 47"/>
                  <a:gd name="T14" fmla="*/ 32 w 43"/>
                  <a:gd name="T15" fmla="*/ 3 h 47"/>
                  <a:gd name="T16" fmla="*/ 41 w 43"/>
                  <a:gd name="T17" fmla="*/ 13 h 47"/>
                  <a:gd name="T18" fmla="*/ 42 w 43"/>
                  <a:gd name="T19" fmla="*/ 22 h 47"/>
                  <a:gd name="T20" fmla="*/ 33 w 43"/>
                  <a:gd name="T21" fmla="*/ 20 h 47"/>
                  <a:gd name="T22" fmla="*/ 33 w 43"/>
                  <a:gd name="T23" fmla="*/ 14 h 47"/>
                  <a:gd name="T24" fmla="*/ 28 w 43"/>
                  <a:gd name="T25" fmla="*/ 10 h 47"/>
                  <a:gd name="T26" fmla="*/ 19 w 43"/>
                  <a:gd name="T27" fmla="*/ 10 h 47"/>
                  <a:gd name="T28" fmla="*/ 12 w 43"/>
                  <a:gd name="T29" fmla="*/ 19 h 47"/>
                  <a:gd name="T30" fmla="*/ 9 w 43"/>
                  <a:gd name="T31" fmla="*/ 31 h 47"/>
                  <a:gd name="T32" fmla="*/ 15 w 43"/>
                  <a:gd name="T33" fmla="*/ 37 h 47"/>
                  <a:gd name="T34" fmla="*/ 22 w 43"/>
                  <a:gd name="T35" fmla="*/ 38 h 47"/>
                  <a:gd name="T36" fmla="*/ 28 w 43"/>
                  <a:gd name="T37" fmla="*/ 33 h 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43" h="47">
                    <a:moveTo>
                      <a:pt x="28" y="33"/>
                    </a:moveTo>
                    <a:cubicBezTo>
                      <a:pt x="34" y="39"/>
                      <a:pt x="34" y="39"/>
                      <a:pt x="34" y="39"/>
                    </a:cubicBezTo>
                    <a:cubicBezTo>
                      <a:pt x="31" y="43"/>
                      <a:pt x="28" y="45"/>
                      <a:pt x="24" y="46"/>
                    </a:cubicBezTo>
                    <a:cubicBezTo>
                      <a:pt x="20" y="47"/>
                      <a:pt x="16" y="46"/>
                      <a:pt x="12" y="44"/>
                    </a:cubicBezTo>
                    <a:cubicBezTo>
                      <a:pt x="7" y="42"/>
                      <a:pt x="3" y="38"/>
                      <a:pt x="1" y="33"/>
                    </a:cubicBezTo>
                    <a:cubicBezTo>
                      <a:pt x="0" y="27"/>
                      <a:pt x="0" y="22"/>
                      <a:pt x="3" y="15"/>
                    </a:cubicBezTo>
                    <a:cubicBezTo>
                      <a:pt x="6" y="9"/>
                      <a:pt x="10" y="4"/>
                      <a:pt x="15" y="2"/>
                    </a:cubicBezTo>
                    <a:cubicBezTo>
                      <a:pt x="21" y="0"/>
                      <a:pt x="26" y="1"/>
                      <a:pt x="32" y="3"/>
                    </a:cubicBezTo>
                    <a:cubicBezTo>
                      <a:pt x="36" y="5"/>
                      <a:pt x="40" y="9"/>
                      <a:pt x="41" y="13"/>
                    </a:cubicBezTo>
                    <a:cubicBezTo>
                      <a:pt x="42" y="16"/>
                      <a:pt x="43" y="19"/>
                      <a:pt x="42" y="22"/>
                    </a:cubicBezTo>
                    <a:cubicBezTo>
                      <a:pt x="33" y="20"/>
                      <a:pt x="33" y="20"/>
                      <a:pt x="33" y="20"/>
                    </a:cubicBezTo>
                    <a:cubicBezTo>
                      <a:pt x="34" y="18"/>
                      <a:pt x="34" y="16"/>
                      <a:pt x="33" y="14"/>
                    </a:cubicBezTo>
                    <a:cubicBezTo>
                      <a:pt x="32" y="12"/>
                      <a:pt x="30" y="11"/>
                      <a:pt x="28" y="10"/>
                    </a:cubicBezTo>
                    <a:cubicBezTo>
                      <a:pt x="25" y="8"/>
                      <a:pt x="22" y="8"/>
                      <a:pt x="19" y="10"/>
                    </a:cubicBezTo>
                    <a:cubicBezTo>
                      <a:pt x="16" y="11"/>
                      <a:pt x="14" y="14"/>
                      <a:pt x="12" y="19"/>
                    </a:cubicBezTo>
                    <a:cubicBezTo>
                      <a:pt x="9" y="24"/>
                      <a:pt x="9" y="28"/>
                      <a:pt x="9" y="31"/>
                    </a:cubicBezTo>
                    <a:cubicBezTo>
                      <a:pt x="10" y="34"/>
                      <a:pt x="12" y="36"/>
                      <a:pt x="15" y="37"/>
                    </a:cubicBezTo>
                    <a:cubicBezTo>
                      <a:pt x="17" y="38"/>
                      <a:pt x="19" y="38"/>
                      <a:pt x="22" y="38"/>
                    </a:cubicBezTo>
                    <a:cubicBezTo>
                      <a:pt x="24" y="37"/>
                      <a:pt x="26" y="35"/>
                      <a:pt x="28" y="3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96" name="íSliḋé"/>
              <p:cNvSpPr/>
              <p:nvPr/>
            </p:nvSpPr>
            <p:spPr bwMode="auto">
              <a:xfrm>
                <a:off x="2157309" y="6017215"/>
                <a:ext cx="82550" cy="96838"/>
              </a:xfrm>
              <a:custGeom>
                <a:avLst/>
                <a:gdLst>
                  <a:gd name="T0" fmla="*/ 0 w 52"/>
                  <a:gd name="T1" fmla="*/ 49 h 61"/>
                  <a:gd name="T2" fmla="*/ 16 w 52"/>
                  <a:gd name="T3" fmla="*/ 0 h 61"/>
                  <a:gd name="T4" fmla="*/ 52 w 52"/>
                  <a:gd name="T5" fmla="*/ 13 h 61"/>
                  <a:gd name="T6" fmla="*/ 50 w 52"/>
                  <a:gd name="T7" fmla="*/ 21 h 61"/>
                  <a:gd name="T8" fmla="*/ 23 w 52"/>
                  <a:gd name="T9" fmla="*/ 12 h 61"/>
                  <a:gd name="T10" fmla="*/ 20 w 52"/>
                  <a:gd name="T11" fmla="*/ 22 h 61"/>
                  <a:gd name="T12" fmla="*/ 44 w 52"/>
                  <a:gd name="T13" fmla="*/ 30 h 61"/>
                  <a:gd name="T14" fmla="*/ 41 w 52"/>
                  <a:gd name="T15" fmla="*/ 38 h 61"/>
                  <a:gd name="T16" fmla="*/ 18 w 52"/>
                  <a:gd name="T17" fmla="*/ 30 h 61"/>
                  <a:gd name="T18" fmla="*/ 13 w 52"/>
                  <a:gd name="T19" fmla="*/ 43 h 61"/>
                  <a:gd name="T20" fmla="*/ 40 w 52"/>
                  <a:gd name="T21" fmla="*/ 52 h 61"/>
                  <a:gd name="T22" fmla="*/ 36 w 52"/>
                  <a:gd name="T23" fmla="*/ 61 h 61"/>
                  <a:gd name="T24" fmla="*/ 0 w 52"/>
                  <a:gd name="T25" fmla="*/ 49 h 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52" h="61">
                    <a:moveTo>
                      <a:pt x="0" y="49"/>
                    </a:moveTo>
                    <a:lnTo>
                      <a:pt x="16" y="0"/>
                    </a:lnTo>
                    <a:lnTo>
                      <a:pt x="52" y="13"/>
                    </a:lnTo>
                    <a:lnTo>
                      <a:pt x="50" y="21"/>
                    </a:lnTo>
                    <a:lnTo>
                      <a:pt x="23" y="12"/>
                    </a:lnTo>
                    <a:lnTo>
                      <a:pt x="20" y="22"/>
                    </a:lnTo>
                    <a:lnTo>
                      <a:pt x="44" y="30"/>
                    </a:lnTo>
                    <a:lnTo>
                      <a:pt x="41" y="38"/>
                    </a:lnTo>
                    <a:lnTo>
                      <a:pt x="18" y="30"/>
                    </a:lnTo>
                    <a:lnTo>
                      <a:pt x="13" y="43"/>
                    </a:lnTo>
                    <a:lnTo>
                      <a:pt x="40" y="52"/>
                    </a:lnTo>
                    <a:lnTo>
                      <a:pt x="36" y="61"/>
                    </a:lnTo>
                    <a:lnTo>
                      <a:pt x="0" y="4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97" name="îŝ1îḑè"/>
              <p:cNvSpPr/>
              <p:nvPr/>
            </p:nvSpPr>
            <p:spPr bwMode="auto">
              <a:xfrm>
                <a:off x="2663722" y="6026740"/>
                <a:ext cx="77788" cy="92075"/>
              </a:xfrm>
              <a:custGeom>
                <a:avLst/>
                <a:gdLst>
                  <a:gd name="T0" fmla="*/ 49 w 49"/>
                  <a:gd name="T1" fmla="*/ 42 h 58"/>
                  <a:gd name="T2" fmla="*/ 39 w 49"/>
                  <a:gd name="T3" fmla="*/ 45 h 58"/>
                  <a:gd name="T4" fmla="*/ 31 w 49"/>
                  <a:gd name="T5" fmla="*/ 36 h 58"/>
                  <a:gd name="T6" fmla="*/ 11 w 49"/>
                  <a:gd name="T7" fmla="*/ 43 h 58"/>
                  <a:gd name="T8" fmla="*/ 11 w 49"/>
                  <a:gd name="T9" fmla="*/ 55 h 58"/>
                  <a:gd name="T10" fmla="*/ 0 w 49"/>
                  <a:gd name="T11" fmla="*/ 58 h 58"/>
                  <a:gd name="T12" fmla="*/ 3 w 49"/>
                  <a:gd name="T13" fmla="*/ 3 h 58"/>
                  <a:gd name="T14" fmla="*/ 13 w 49"/>
                  <a:gd name="T15" fmla="*/ 0 h 58"/>
                  <a:gd name="T16" fmla="*/ 49 w 49"/>
                  <a:gd name="T17" fmla="*/ 42 h 58"/>
                  <a:gd name="T18" fmla="*/ 25 w 49"/>
                  <a:gd name="T19" fmla="*/ 29 h 58"/>
                  <a:gd name="T20" fmla="*/ 12 w 49"/>
                  <a:gd name="T21" fmla="*/ 14 h 58"/>
                  <a:gd name="T22" fmla="*/ 11 w 49"/>
                  <a:gd name="T23" fmla="*/ 34 h 58"/>
                  <a:gd name="T24" fmla="*/ 25 w 49"/>
                  <a:gd name="T25" fmla="*/ 29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49" h="58">
                    <a:moveTo>
                      <a:pt x="49" y="42"/>
                    </a:moveTo>
                    <a:lnTo>
                      <a:pt x="39" y="45"/>
                    </a:lnTo>
                    <a:lnTo>
                      <a:pt x="31" y="36"/>
                    </a:lnTo>
                    <a:lnTo>
                      <a:pt x="11" y="43"/>
                    </a:lnTo>
                    <a:lnTo>
                      <a:pt x="11" y="55"/>
                    </a:lnTo>
                    <a:lnTo>
                      <a:pt x="0" y="58"/>
                    </a:lnTo>
                    <a:lnTo>
                      <a:pt x="3" y="3"/>
                    </a:lnTo>
                    <a:lnTo>
                      <a:pt x="13" y="0"/>
                    </a:lnTo>
                    <a:lnTo>
                      <a:pt x="49" y="42"/>
                    </a:lnTo>
                    <a:close/>
                    <a:moveTo>
                      <a:pt x="25" y="29"/>
                    </a:moveTo>
                    <a:lnTo>
                      <a:pt x="12" y="14"/>
                    </a:lnTo>
                    <a:lnTo>
                      <a:pt x="11" y="34"/>
                    </a:lnTo>
                    <a:lnTo>
                      <a:pt x="25" y="2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98" name="íṩḻiḋê"/>
              <p:cNvSpPr/>
              <p:nvPr/>
            </p:nvSpPr>
            <p:spPr bwMode="auto">
              <a:xfrm>
                <a:off x="2714522" y="5990228"/>
                <a:ext cx="92075" cy="101600"/>
              </a:xfrm>
              <a:custGeom>
                <a:avLst/>
                <a:gdLst>
                  <a:gd name="T0" fmla="*/ 21 w 58"/>
                  <a:gd name="T1" fmla="*/ 64 h 64"/>
                  <a:gd name="T2" fmla="*/ 0 w 58"/>
                  <a:gd name="T3" fmla="*/ 17 h 64"/>
                  <a:gd name="T4" fmla="*/ 9 w 58"/>
                  <a:gd name="T5" fmla="*/ 12 h 64"/>
                  <a:gd name="T6" fmla="*/ 43 w 58"/>
                  <a:gd name="T7" fmla="*/ 36 h 64"/>
                  <a:gd name="T8" fmla="*/ 29 w 58"/>
                  <a:gd name="T9" fmla="*/ 4 h 64"/>
                  <a:gd name="T10" fmla="*/ 37 w 58"/>
                  <a:gd name="T11" fmla="*/ 0 h 64"/>
                  <a:gd name="T12" fmla="*/ 58 w 58"/>
                  <a:gd name="T13" fmla="*/ 46 h 64"/>
                  <a:gd name="T14" fmla="*/ 49 w 58"/>
                  <a:gd name="T15" fmla="*/ 51 h 64"/>
                  <a:gd name="T16" fmla="*/ 16 w 58"/>
                  <a:gd name="T17" fmla="*/ 29 h 64"/>
                  <a:gd name="T18" fmla="*/ 30 w 58"/>
                  <a:gd name="T19" fmla="*/ 59 h 64"/>
                  <a:gd name="T20" fmla="*/ 21 w 58"/>
                  <a:gd name="T21" fmla="*/ 64 h 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58" h="64">
                    <a:moveTo>
                      <a:pt x="21" y="64"/>
                    </a:moveTo>
                    <a:lnTo>
                      <a:pt x="0" y="17"/>
                    </a:lnTo>
                    <a:lnTo>
                      <a:pt x="9" y="12"/>
                    </a:lnTo>
                    <a:lnTo>
                      <a:pt x="43" y="36"/>
                    </a:lnTo>
                    <a:lnTo>
                      <a:pt x="29" y="4"/>
                    </a:lnTo>
                    <a:lnTo>
                      <a:pt x="37" y="0"/>
                    </a:lnTo>
                    <a:lnTo>
                      <a:pt x="58" y="46"/>
                    </a:lnTo>
                    <a:lnTo>
                      <a:pt x="49" y="51"/>
                    </a:lnTo>
                    <a:lnTo>
                      <a:pt x="16" y="29"/>
                    </a:lnTo>
                    <a:lnTo>
                      <a:pt x="30" y="59"/>
                    </a:lnTo>
                    <a:lnTo>
                      <a:pt x="21" y="6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99" name="îṧľíḍe"/>
              <p:cNvSpPr/>
              <p:nvPr/>
            </p:nvSpPr>
            <p:spPr bwMode="auto">
              <a:xfrm>
                <a:off x="2781197" y="5963240"/>
                <a:ext cx="85725" cy="95250"/>
              </a:xfrm>
              <a:custGeom>
                <a:avLst/>
                <a:gdLst>
                  <a:gd name="T0" fmla="*/ 0 w 47"/>
                  <a:gd name="T1" fmla="*/ 13 h 51"/>
                  <a:gd name="T2" fmla="*/ 14 w 47"/>
                  <a:gd name="T3" fmla="*/ 4 h 51"/>
                  <a:gd name="T4" fmla="*/ 22 w 47"/>
                  <a:gd name="T5" fmla="*/ 1 h 51"/>
                  <a:gd name="T6" fmla="*/ 29 w 47"/>
                  <a:gd name="T7" fmla="*/ 1 h 51"/>
                  <a:gd name="T8" fmla="*/ 37 w 47"/>
                  <a:gd name="T9" fmla="*/ 5 h 51"/>
                  <a:gd name="T10" fmla="*/ 43 w 47"/>
                  <a:gd name="T11" fmla="*/ 14 h 51"/>
                  <a:gd name="T12" fmla="*/ 47 w 47"/>
                  <a:gd name="T13" fmla="*/ 22 h 51"/>
                  <a:gd name="T14" fmla="*/ 46 w 47"/>
                  <a:gd name="T15" fmla="*/ 31 h 51"/>
                  <a:gd name="T16" fmla="*/ 43 w 47"/>
                  <a:gd name="T17" fmla="*/ 38 h 51"/>
                  <a:gd name="T18" fmla="*/ 36 w 47"/>
                  <a:gd name="T19" fmla="*/ 42 h 51"/>
                  <a:gd name="T20" fmla="*/ 22 w 47"/>
                  <a:gd name="T21" fmla="*/ 51 h 51"/>
                  <a:gd name="T22" fmla="*/ 0 w 47"/>
                  <a:gd name="T23" fmla="*/ 13 h 51"/>
                  <a:gd name="T24" fmla="*/ 11 w 47"/>
                  <a:gd name="T25" fmla="*/ 15 h 51"/>
                  <a:gd name="T26" fmla="*/ 26 w 47"/>
                  <a:gd name="T27" fmla="*/ 40 h 51"/>
                  <a:gd name="T28" fmla="*/ 32 w 47"/>
                  <a:gd name="T29" fmla="*/ 37 h 51"/>
                  <a:gd name="T30" fmla="*/ 36 w 47"/>
                  <a:gd name="T31" fmla="*/ 33 h 51"/>
                  <a:gd name="T32" fmla="*/ 38 w 47"/>
                  <a:gd name="T33" fmla="*/ 30 h 51"/>
                  <a:gd name="T34" fmla="*/ 38 w 47"/>
                  <a:gd name="T35" fmla="*/ 25 h 51"/>
                  <a:gd name="T36" fmla="*/ 35 w 47"/>
                  <a:gd name="T37" fmla="*/ 18 h 51"/>
                  <a:gd name="T38" fmla="*/ 30 w 47"/>
                  <a:gd name="T39" fmla="*/ 11 h 51"/>
                  <a:gd name="T40" fmla="*/ 26 w 47"/>
                  <a:gd name="T41" fmla="*/ 9 h 51"/>
                  <a:gd name="T42" fmla="*/ 21 w 47"/>
                  <a:gd name="T43" fmla="*/ 9 h 51"/>
                  <a:gd name="T44" fmla="*/ 15 w 47"/>
                  <a:gd name="T45" fmla="*/ 13 h 51"/>
                  <a:gd name="T46" fmla="*/ 11 w 47"/>
                  <a:gd name="T47" fmla="*/ 15 h 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47" h="51">
                    <a:moveTo>
                      <a:pt x="0" y="13"/>
                    </a:moveTo>
                    <a:cubicBezTo>
                      <a:pt x="14" y="4"/>
                      <a:pt x="14" y="4"/>
                      <a:pt x="14" y="4"/>
                    </a:cubicBezTo>
                    <a:cubicBezTo>
                      <a:pt x="17" y="3"/>
                      <a:pt x="20" y="1"/>
                      <a:pt x="22" y="1"/>
                    </a:cubicBezTo>
                    <a:cubicBezTo>
                      <a:pt x="24" y="0"/>
                      <a:pt x="27" y="0"/>
                      <a:pt x="29" y="1"/>
                    </a:cubicBezTo>
                    <a:cubicBezTo>
                      <a:pt x="32" y="2"/>
                      <a:pt x="34" y="3"/>
                      <a:pt x="37" y="5"/>
                    </a:cubicBezTo>
                    <a:cubicBezTo>
                      <a:pt x="39" y="7"/>
                      <a:pt x="41" y="10"/>
                      <a:pt x="43" y="14"/>
                    </a:cubicBezTo>
                    <a:cubicBezTo>
                      <a:pt x="45" y="17"/>
                      <a:pt x="46" y="20"/>
                      <a:pt x="47" y="22"/>
                    </a:cubicBezTo>
                    <a:cubicBezTo>
                      <a:pt x="47" y="26"/>
                      <a:pt x="47" y="29"/>
                      <a:pt x="46" y="31"/>
                    </a:cubicBezTo>
                    <a:cubicBezTo>
                      <a:pt x="46" y="34"/>
                      <a:pt x="45" y="36"/>
                      <a:pt x="43" y="38"/>
                    </a:cubicBezTo>
                    <a:cubicBezTo>
                      <a:pt x="41" y="39"/>
                      <a:pt x="39" y="41"/>
                      <a:pt x="36" y="42"/>
                    </a:cubicBezTo>
                    <a:cubicBezTo>
                      <a:pt x="22" y="51"/>
                      <a:pt x="22" y="51"/>
                      <a:pt x="22" y="51"/>
                    </a:cubicBezTo>
                    <a:lnTo>
                      <a:pt x="0" y="13"/>
                    </a:lnTo>
                    <a:close/>
                    <a:moveTo>
                      <a:pt x="11" y="15"/>
                    </a:moveTo>
                    <a:cubicBezTo>
                      <a:pt x="26" y="40"/>
                      <a:pt x="26" y="40"/>
                      <a:pt x="26" y="40"/>
                    </a:cubicBezTo>
                    <a:cubicBezTo>
                      <a:pt x="32" y="37"/>
                      <a:pt x="32" y="37"/>
                      <a:pt x="32" y="37"/>
                    </a:cubicBezTo>
                    <a:cubicBezTo>
                      <a:pt x="34" y="35"/>
                      <a:pt x="35" y="34"/>
                      <a:pt x="36" y="33"/>
                    </a:cubicBezTo>
                    <a:cubicBezTo>
                      <a:pt x="37" y="32"/>
                      <a:pt x="38" y="31"/>
                      <a:pt x="38" y="30"/>
                    </a:cubicBezTo>
                    <a:cubicBezTo>
                      <a:pt x="39" y="29"/>
                      <a:pt x="39" y="27"/>
                      <a:pt x="38" y="25"/>
                    </a:cubicBezTo>
                    <a:cubicBezTo>
                      <a:pt x="38" y="23"/>
                      <a:pt x="37" y="21"/>
                      <a:pt x="35" y="18"/>
                    </a:cubicBezTo>
                    <a:cubicBezTo>
                      <a:pt x="33" y="15"/>
                      <a:pt x="32" y="13"/>
                      <a:pt x="30" y="11"/>
                    </a:cubicBezTo>
                    <a:cubicBezTo>
                      <a:pt x="29" y="10"/>
                      <a:pt x="27" y="9"/>
                      <a:pt x="26" y="9"/>
                    </a:cubicBezTo>
                    <a:cubicBezTo>
                      <a:pt x="25" y="9"/>
                      <a:pt x="23" y="9"/>
                      <a:pt x="21" y="9"/>
                    </a:cubicBezTo>
                    <a:cubicBezTo>
                      <a:pt x="20" y="10"/>
                      <a:pt x="18" y="11"/>
                      <a:pt x="15" y="13"/>
                    </a:cubicBezTo>
                    <a:lnTo>
                      <a:pt x="11" y="1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100" name="ïṩḻiḍe"/>
              <p:cNvSpPr/>
              <p:nvPr/>
            </p:nvSpPr>
            <p:spPr bwMode="auto">
              <a:xfrm>
                <a:off x="2876447" y="5888628"/>
                <a:ext cx="80963" cy="88900"/>
              </a:xfrm>
              <a:custGeom>
                <a:avLst/>
                <a:gdLst>
                  <a:gd name="T0" fmla="*/ 43 w 51"/>
                  <a:gd name="T1" fmla="*/ 56 h 56"/>
                  <a:gd name="T2" fmla="*/ 16 w 51"/>
                  <a:gd name="T3" fmla="*/ 22 h 56"/>
                  <a:gd name="T4" fmla="*/ 5 w 51"/>
                  <a:gd name="T5" fmla="*/ 31 h 56"/>
                  <a:gd name="T6" fmla="*/ 0 w 51"/>
                  <a:gd name="T7" fmla="*/ 25 h 56"/>
                  <a:gd name="T8" fmla="*/ 31 w 51"/>
                  <a:gd name="T9" fmla="*/ 0 h 56"/>
                  <a:gd name="T10" fmla="*/ 37 w 51"/>
                  <a:gd name="T11" fmla="*/ 7 h 56"/>
                  <a:gd name="T12" fmla="*/ 24 w 51"/>
                  <a:gd name="T13" fmla="*/ 16 h 56"/>
                  <a:gd name="T14" fmla="*/ 51 w 51"/>
                  <a:gd name="T15" fmla="*/ 49 h 56"/>
                  <a:gd name="T16" fmla="*/ 43 w 51"/>
                  <a:gd name="T17" fmla="*/ 56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1" h="56">
                    <a:moveTo>
                      <a:pt x="43" y="56"/>
                    </a:moveTo>
                    <a:lnTo>
                      <a:pt x="16" y="22"/>
                    </a:lnTo>
                    <a:lnTo>
                      <a:pt x="5" y="31"/>
                    </a:lnTo>
                    <a:lnTo>
                      <a:pt x="0" y="25"/>
                    </a:lnTo>
                    <a:lnTo>
                      <a:pt x="31" y="0"/>
                    </a:lnTo>
                    <a:lnTo>
                      <a:pt x="37" y="7"/>
                    </a:lnTo>
                    <a:lnTo>
                      <a:pt x="24" y="16"/>
                    </a:lnTo>
                    <a:lnTo>
                      <a:pt x="51" y="49"/>
                    </a:lnTo>
                    <a:lnTo>
                      <a:pt x="43" y="56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101" name="íśļïḓè"/>
              <p:cNvSpPr/>
              <p:nvPr/>
            </p:nvSpPr>
            <p:spPr bwMode="auto">
              <a:xfrm>
                <a:off x="2925659" y="5845765"/>
                <a:ext cx="101600" cy="100013"/>
              </a:xfrm>
              <a:custGeom>
                <a:avLst/>
                <a:gdLst>
                  <a:gd name="T0" fmla="*/ 36 w 64"/>
                  <a:gd name="T1" fmla="*/ 63 h 63"/>
                  <a:gd name="T2" fmla="*/ 0 w 64"/>
                  <a:gd name="T3" fmla="*/ 26 h 63"/>
                  <a:gd name="T4" fmla="*/ 28 w 64"/>
                  <a:gd name="T5" fmla="*/ 0 h 63"/>
                  <a:gd name="T6" fmla="*/ 34 w 64"/>
                  <a:gd name="T7" fmla="*/ 6 h 63"/>
                  <a:gd name="T8" fmla="*/ 14 w 64"/>
                  <a:gd name="T9" fmla="*/ 26 h 63"/>
                  <a:gd name="T10" fmla="*/ 22 w 64"/>
                  <a:gd name="T11" fmla="*/ 34 h 63"/>
                  <a:gd name="T12" fmla="*/ 41 w 64"/>
                  <a:gd name="T13" fmla="*/ 16 h 63"/>
                  <a:gd name="T14" fmla="*/ 47 w 64"/>
                  <a:gd name="T15" fmla="*/ 22 h 63"/>
                  <a:gd name="T16" fmla="*/ 28 w 64"/>
                  <a:gd name="T17" fmla="*/ 39 h 63"/>
                  <a:gd name="T18" fmla="*/ 38 w 64"/>
                  <a:gd name="T19" fmla="*/ 50 h 63"/>
                  <a:gd name="T20" fmla="*/ 58 w 64"/>
                  <a:gd name="T21" fmla="*/ 30 h 63"/>
                  <a:gd name="T22" fmla="*/ 64 w 64"/>
                  <a:gd name="T23" fmla="*/ 36 h 63"/>
                  <a:gd name="T24" fmla="*/ 36 w 64"/>
                  <a:gd name="T25" fmla="*/ 63 h 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4" h="63">
                    <a:moveTo>
                      <a:pt x="36" y="63"/>
                    </a:moveTo>
                    <a:lnTo>
                      <a:pt x="0" y="26"/>
                    </a:lnTo>
                    <a:lnTo>
                      <a:pt x="28" y="0"/>
                    </a:lnTo>
                    <a:lnTo>
                      <a:pt x="34" y="6"/>
                    </a:lnTo>
                    <a:lnTo>
                      <a:pt x="14" y="26"/>
                    </a:lnTo>
                    <a:lnTo>
                      <a:pt x="22" y="34"/>
                    </a:lnTo>
                    <a:lnTo>
                      <a:pt x="41" y="16"/>
                    </a:lnTo>
                    <a:lnTo>
                      <a:pt x="47" y="22"/>
                    </a:lnTo>
                    <a:lnTo>
                      <a:pt x="28" y="39"/>
                    </a:lnTo>
                    <a:lnTo>
                      <a:pt x="38" y="50"/>
                    </a:lnTo>
                    <a:lnTo>
                      <a:pt x="58" y="30"/>
                    </a:lnTo>
                    <a:lnTo>
                      <a:pt x="64" y="36"/>
                    </a:lnTo>
                    <a:lnTo>
                      <a:pt x="36" y="6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102" name="íṩḻîde"/>
              <p:cNvSpPr/>
              <p:nvPr/>
            </p:nvSpPr>
            <p:spPr bwMode="auto">
              <a:xfrm>
                <a:off x="2985984" y="5801315"/>
                <a:ext cx="82550" cy="80963"/>
              </a:xfrm>
              <a:custGeom>
                <a:avLst/>
                <a:gdLst>
                  <a:gd name="T0" fmla="*/ 34 w 45"/>
                  <a:gd name="T1" fmla="*/ 19 h 44"/>
                  <a:gd name="T2" fmla="*/ 41 w 45"/>
                  <a:gd name="T3" fmla="*/ 14 h 44"/>
                  <a:gd name="T4" fmla="*/ 45 w 45"/>
                  <a:gd name="T5" fmla="*/ 26 h 44"/>
                  <a:gd name="T6" fmla="*/ 40 w 45"/>
                  <a:gd name="T7" fmla="*/ 37 h 44"/>
                  <a:gd name="T8" fmla="*/ 26 w 45"/>
                  <a:gd name="T9" fmla="*/ 44 h 44"/>
                  <a:gd name="T10" fmla="*/ 10 w 45"/>
                  <a:gd name="T11" fmla="*/ 38 h 44"/>
                  <a:gd name="T12" fmla="*/ 1 w 45"/>
                  <a:gd name="T13" fmla="*/ 22 h 44"/>
                  <a:gd name="T14" fmla="*/ 6 w 45"/>
                  <a:gd name="T15" fmla="*/ 7 h 44"/>
                  <a:gd name="T16" fmla="*/ 18 w 45"/>
                  <a:gd name="T17" fmla="*/ 0 h 44"/>
                  <a:gd name="T18" fmla="*/ 27 w 45"/>
                  <a:gd name="T19" fmla="*/ 2 h 44"/>
                  <a:gd name="T20" fmla="*/ 23 w 45"/>
                  <a:gd name="T21" fmla="*/ 10 h 44"/>
                  <a:gd name="T22" fmla="*/ 17 w 45"/>
                  <a:gd name="T23" fmla="*/ 9 h 44"/>
                  <a:gd name="T24" fmla="*/ 11 w 45"/>
                  <a:gd name="T25" fmla="*/ 12 h 44"/>
                  <a:gd name="T26" fmla="*/ 9 w 45"/>
                  <a:gd name="T27" fmla="*/ 21 h 44"/>
                  <a:gd name="T28" fmla="*/ 15 w 45"/>
                  <a:gd name="T29" fmla="*/ 30 h 44"/>
                  <a:gd name="T30" fmla="*/ 26 w 45"/>
                  <a:gd name="T31" fmla="*/ 36 h 44"/>
                  <a:gd name="T32" fmla="*/ 34 w 45"/>
                  <a:gd name="T33" fmla="*/ 32 h 44"/>
                  <a:gd name="T34" fmla="*/ 36 w 45"/>
                  <a:gd name="T35" fmla="*/ 26 h 44"/>
                  <a:gd name="T36" fmla="*/ 34 w 45"/>
                  <a:gd name="T37" fmla="*/ 19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45" h="44">
                    <a:moveTo>
                      <a:pt x="34" y="19"/>
                    </a:moveTo>
                    <a:cubicBezTo>
                      <a:pt x="41" y="14"/>
                      <a:pt x="41" y="14"/>
                      <a:pt x="41" y="14"/>
                    </a:cubicBezTo>
                    <a:cubicBezTo>
                      <a:pt x="44" y="18"/>
                      <a:pt x="45" y="22"/>
                      <a:pt x="45" y="26"/>
                    </a:cubicBezTo>
                    <a:cubicBezTo>
                      <a:pt x="45" y="30"/>
                      <a:pt x="43" y="34"/>
                      <a:pt x="40" y="37"/>
                    </a:cubicBezTo>
                    <a:cubicBezTo>
                      <a:pt x="36" y="42"/>
                      <a:pt x="31" y="44"/>
                      <a:pt x="26" y="44"/>
                    </a:cubicBezTo>
                    <a:cubicBezTo>
                      <a:pt x="21" y="44"/>
                      <a:pt x="15" y="42"/>
                      <a:pt x="10" y="38"/>
                    </a:cubicBezTo>
                    <a:cubicBezTo>
                      <a:pt x="4" y="33"/>
                      <a:pt x="1" y="28"/>
                      <a:pt x="1" y="22"/>
                    </a:cubicBezTo>
                    <a:cubicBezTo>
                      <a:pt x="0" y="17"/>
                      <a:pt x="2" y="12"/>
                      <a:pt x="6" y="7"/>
                    </a:cubicBezTo>
                    <a:cubicBezTo>
                      <a:pt x="10" y="3"/>
                      <a:pt x="14" y="1"/>
                      <a:pt x="18" y="0"/>
                    </a:cubicBezTo>
                    <a:cubicBezTo>
                      <a:pt x="21" y="0"/>
                      <a:pt x="24" y="1"/>
                      <a:pt x="27" y="2"/>
                    </a:cubicBezTo>
                    <a:cubicBezTo>
                      <a:pt x="23" y="10"/>
                      <a:pt x="23" y="10"/>
                      <a:pt x="23" y="10"/>
                    </a:cubicBezTo>
                    <a:cubicBezTo>
                      <a:pt x="21" y="9"/>
                      <a:pt x="19" y="9"/>
                      <a:pt x="17" y="9"/>
                    </a:cubicBezTo>
                    <a:cubicBezTo>
                      <a:pt x="15" y="9"/>
                      <a:pt x="13" y="11"/>
                      <a:pt x="11" y="12"/>
                    </a:cubicBezTo>
                    <a:cubicBezTo>
                      <a:pt x="9" y="15"/>
                      <a:pt x="8" y="18"/>
                      <a:pt x="9" y="21"/>
                    </a:cubicBezTo>
                    <a:cubicBezTo>
                      <a:pt x="9" y="24"/>
                      <a:pt x="12" y="27"/>
                      <a:pt x="15" y="30"/>
                    </a:cubicBezTo>
                    <a:cubicBezTo>
                      <a:pt x="20" y="34"/>
                      <a:pt x="23" y="36"/>
                      <a:pt x="26" y="36"/>
                    </a:cubicBezTo>
                    <a:cubicBezTo>
                      <a:pt x="29" y="36"/>
                      <a:pt x="32" y="35"/>
                      <a:pt x="34" y="32"/>
                    </a:cubicBezTo>
                    <a:cubicBezTo>
                      <a:pt x="36" y="31"/>
                      <a:pt x="36" y="29"/>
                      <a:pt x="36" y="26"/>
                    </a:cubicBezTo>
                    <a:cubicBezTo>
                      <a:pt x="36" y="24"/>
                      <a:pt x="35" y="22"/>
                      <a:pt x="34" y="1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103" name="îŝḷïḓê"/>
              <p:cNvSpPr/>
              <p:nvPr/>
            </p:nvSpPr>
            <p:spPr bwMode="auto">
              <a:xfrm>
                <a:off x="3022497" y="5733053"/>
                <a:ext cx="103188" cy="101600"/>
              </a:xfrm>
              <a:custGeom>
                <a:avLst/>
                <a:gdLst>
                  <a:gd name="T0" fmla="*/ 42 w 65"/>
                  <a:gd name="T1" fmla="*/ 64 h 64"/>
                  <a:gd name="T2" fmla="*/ 0 w 65"/>
                  <a:gd name="T3" fmla="*/ 34 h 64"/>
                  <a:gd name="T4" fmla="*/ 6 w 65"/>
                  <a:gd name="T5" fmla="*/ 26 h 64"/>
                  <a:gd name="T6" fmla="*/ 22 w 65"/>
                  <a:gd name="T7" fmla="*/ 37 h 64"/>
                  <a:gd name="T8" fmla="*/ 33 w 65"/>
                  <a:gd name="T9" fmla="*/ 21 h 64"/>
                  <a:gd name="T10" fmla="*/ 17 w 65"/>
                  <a:gd name="T11" fmla="*/ 9 h 64"/>
                  <a:gd name="T12" fmla="*/ 23 w 65"/>
                  <a:gd name="T13" fmla="*/ 0 h 64"/>
                  <a:gd name="T14" fmla="*/ 65 w 65"/>
                  <a:gd name="T15" fmla="*/ 30 h 64"/>
                  <a:gd name="T16" fmla="*/ 59 w 65"/>
                  <a:gd name="T17" fmla="*/ 38 h 64"/>
                  <a:gd name="T18" fmla="*/ 40 w 65"/>
                  <a:gd name="T19" fmla="*/ 26 h 64"/>
                  <a:gd name="T20" fmla="*/ 29 w 65"/>
                  <a:gd name="T21" fmla="*/ 42 h 64"/>
                  <a:gd name="T22" fmla="*/ 47 w 65"/>
                  <a:gd name="T23" fmla="*/ 55 h 64"/>
                  <a:gd name="T24" fmla="*/ 42 w 65"/>
                  <a:gd name="T25" fmla="*/ 64 h 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5" h="64">
                    <a:moveTo>
                      <a:pt x="42" y="64"/>
                    </a:moveTo>
                    <a:lnTo>
                      <a:pt x="0" y="34"/>
                    </a:lnTo>
                    <a:lnTo>
                      <a:pt x="6" y="26"/>
                    </a:lnTo>
                    <a:lnTo>
                      <a:pt x="22" y="37"/>
                    </a:lnTo>
                    <a:lnTo>
                      <a:pt x="33" y="21"/>
                    </a:lnTo>
                    <a:lnTo>
                      <a:pt x="17" y="9"/>
                    </a:lnTo>
                    <a:lnTo>
                      <a:pt x="23" y="0"/>
                    </a:lnTo>
                    <a:lnTo>
                      <a:pt x="65" y="30"/>
                    </a:lnTo>
                    <a:lnTo>
                      <a:pt x="59" y="38"/>
                    </a:lnTo>
                    <a:lnTo>
                      <a:pt x="40" y="26"/>
                    </a:lnTo>
                    <a:lnTo>
                      <a:pt x="29" y="42"/>
                    </a:lnTo>
                    <a:lnTo>
                      <a:pt x="47" y="55"/>
                    </a:lnTo>
                    <a:lnTo>
                      <a:pt x="42" y="6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104" name="îşḷîḑe"/>
              <p:cNvSpPr/>
              <p:nvPr/>
            </p:nvSpPr>
            <p:spPr bwMode="auto">
              <a:xfrm>
                <a:off x="3062184" y="5672728"/>
                <a:ext cx="103188" cy="95250"/>
              </a:xfrm>
              <a:custGeom>
                <a:avLst/>
                <a:gdLst>
                  <a:gd name="T0" fmla="*/ 44 w 65"/>
                  <a:gd name="T1" fmla="*/ 60 h 60"/>
                  <a:gd name="T2" fmla="*/ 0 w 65"/>
                  <a:gd name="T3" fmla="*/ 34 h 60"/>
                  <a:gd name="T4" fmla="*/ 5 w 65"/>
                  <a:gd name="T5" fmla="*/ 26 h 60"/>
                  <a:gd name="T6" fmla="*/ 46 w 65"/>
                  <a:gd name="T7" fmla="*/ 24 h 60"/>
                  <a:gd name="T8" fmla="*/ 15 w 65"/>
                  <a:gd name="T9" fmla="*/ 8 h 60"/>
                  <a:gd name="T10" fmla="*/ 20 w 65"/>
                  <a:gd name="T11" fmla="*/ 0 h 60"/>
                  <a:gd name="T12" fmla="*/ 65 w 65"/>
                  <a:gd name="T13" fmla="*/ 24 h 60"/>
                  <a:gd name="T14" fmla="*/ 59 w 65"/>
                  <a:gd name="T15" fmla="*/ 33 h 60"/>
                  <a:gd name="T16" fmla="*/ 20 w 65"/>
                  <a:gd name="T17" fmla="*/ 34 h 60"/>
                  <a:gd name="T18" fmla="*/ 49 w 65"/>
                  <a:gd name="T19" fmla="*/ 52 h 60"/>
                  <a:gd name="T20" fmla="*/ 44 w 65"/>
                  <a:gd name="T21" fmla="*/ 60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65" h="60">
                    <a:moveTo>
                      <a:pt x="44" y="60"/>
                    </a:moveTo>
                    <a:lnTo>
                      <a:pt x="0" y="34"/>
                    </a:lnTo>
                    <a:lnTo>
                      <a:pt x="5" y="26"/>
                    </a:lnTo>
                    <a:lnTo>
                      <a:pt x="46" y="24"/>
                    </a:lnTo>
                    <a:lnTo>
                      <a:pt x="15" y="8"/>
                    </a:lnTo>
                    <a:lnTo>
                      <a:pt x="20" y="0"/>
                    </a:lnTo>
                    <a:lnTo>
                      <a:pt x="65" y="24"/>
                    </a:lnTo>
                    <a:lnTo>
                      <a:pt x="59" y="33"/>
                    </a:lnTo>
                    <a:lnTo>
                      <a:pt x="20" y="34"/>
                    </a:lnTo>
                    <a:lnTo>
                      <a:pt x="49" y="52"/>
                    </a:lnTo>
                    <a:lnTo>
                      <a:pt x="44" y="6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105" name="îşḷïḋê"/>
              <p:cNvSpPr/>
              <p:nvPr/>
            </p:nvSpPr>
            <p:spPr bwMode="auto">
              <a:xfrm>
                <a:off x="3106634" y="5606053"/>
                <a:ext cx="87313" cy="84138"/>
              </a:xfrm>
              <a:custGeom>
                <a:avLst/>
                <a:gdLst>
                  <a:gd name="T0" fmla="*/ 15 w 47"/>
                  <a:gd name="T1" fmla="*/ 43 h 46"/>
                  <a:gd name="T2" fmla="*/ 5 w 47"/>
                  <a:gd name="T3" fmla="*/ 36 h 46"/>
                  <a:gd name="T4" fmla="*/ 2 w 47"/>
                  <a:gd name="T5" fmla="*/ 30 h 46"/>
                  <a:gd name="T6" fmla="*/ 0 w 47"/>
                  <a:gd name="T7" fmla="*/ 23 h 46"/>
                  <a:gd name="T8" fmla="*/ 2 w 47"/>
                  <a:gd name="T9" fmla="*/ 14 h 46"/>
                  <a:gd name="T10" fmla="*/ 14 w 47"/>
                  <a:gd name="T11" fmla="*/ 2 h 46"/>
                  <a:gd name="T12" fmla="*/ 32 w 47"/>
                  <a:gd name="T13" fmla="*/ 3 h 46"/>
                  <a:gd name="T14" fmla="*/ 45 w 47"/>
                  <a:gd name="T15" fmla="*/ 15 h 46"/>
                  <a:gd name="T16" fmla="*/ 44 w 47"/>
                  <a:gd name="T17" fmla="*/ 32 h 46"/>
                  <a:gd name="T18" fmla="*/ 32 w 47"/>
                  <a:gd name="T19" fmla="*/ 44 h 46"/>
                  <a:gd name="T20" fmla="*/ 15 w 47"/>
                  <a:gd name="T21" fmla="*/ 43 h 46"/>
                  <a:gd name="T22" fmla="*/ 18 w 47"/>
                  <a:gd name="T23" fmla="*/ 34 h 46"/>
                  <a:gd name="T24" fmla="*/ 30 w 47"/>
                  <a:gd name="T25" fmla="*/ 35 h 46"/>
                  <a:gd name="T26" fmla="*/ 37 w 47"/>
                  <a:gd name="T27" fmla="*/ 29 h 46"/>
                  <a:gd name="T28" fmla="*/ 37 w 47"/>
                  <a:gd name="T29" fmla="*/ 19 h 46"/>
                  <a:gd name="T30" fmla="*/ 28 w 47"/>
                  <a:gd name="T31" fmla="*/ 12 h 46"/>
                  <a:gd name="T32" fmla="*/ 16 w 47"/>
                  <a:gd name="T33" fmla="*/ 10 h 46"/>
                  <a:gd name="T34" fmla="*/ 9 w 47"/>
                  <a:gd name="T35" fmla="*/ 17 h 46"/>
                  <a:gd name="T36" fmla="*/ 9 w 47"/>
                  <a:gd name="T37" fmla="*/ 27 h 46"/>
                  <a:gd name="T38" fmla="*/ 18 w 47"/>
                  <a:gd name="T39" fmla="*/ 34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47" h="46">
                    <a:moveTo>
                      <a:pt x="15" y="43"/>
                    </a:moveTo>
                    <a:cubicBezTo>
                      <a:pt x="11" y="41"/>
                      <a:pt x="8" y="39"/>
                      <a:pt x="5" y="36"/>
                    </a:cubicBezTo>
                    <a:cubicBezTo>
                      <a:pt x="4" y="34"/>
                      <a:pt x="2" y="32"/>
                      <a:pt x="2" y="30"/>
                    </a:cubicBezTo>
                    <a:cubicBezTo>
                      <a:pt x="1" y="28"/>
                      <a:pt x="0" y="26"/>
                      <a:pt x="0" y="23"/>
                    </a:cubicBezTo>
                    <a:cubicBezTo>
                      <a:pt x="0" y="20"/>
                      <a:pt x="1" y="17"/>
                      <a:pt x="2" y="14"/>
                    </a:cubicBezTo>
                    <a:cubicBezTo>
                      <a:pt x="5" y="8"/>
                      <a:pt x="9" y="4"/>
                      <a:pt x="14" y="2"/>
                    </a:cubicBezTo>
                    <a:cubicBezTo>
                      <a:pt x="19" y="0"/>
                      <a:pt x="25" y="1"/>
                      <a:pt x="32" y="3"/>
                    </a:cubicBezTo>
                    <a:cubicBezTo>
                      <a:pt x="38" y="6"/>
                      <a:pt x="43" y="10"/>
                      <a:pt x="45" y="15"/>
                    </a:cubicBezTo>
                    <a:cubicBezTo>
                      <a:pt x="47" y="21"/>
                      <a:pt x="47" y="26"/>
                      <a:pt x="44" y="32"/>
                    </a:cubicBezTo>
                    <a:cubicBezTo>
                      <a:pt x="41" y="38"/>
                      <a:pt x="38" y="42"/>
                      <a:pt x="32" y="44"/>
                    </a:cubicBezTo>
                    <a:cubicBezTo>
                      <a:pt x="27" y="46"/>
                      <a:pt x="21" y="45"/>
                      <a:pt x="15" y="43"/>
                    </a:cubicBezTo>
                    <a:close/>
                    <a:moveTo>
                      <a:pt x="18" y="34"/>
                    </a:moveTo>
                    <a:cubicBezTo>
                      <a:pt x="23" y="36"/>
                      <a:pt x="27" y="37"/>
                      <a:pt x="30" y="35"/>
                    </a:cubicBezTo>
                    <a:cubicBezTo>
                      <a:pt x="33" y="34"/>
                      <a:pt x="36" y="32"/>
                      <a:pt x="37" y="29"/>
                    </a:cubicBezTo>
                    <a:cubicBezTo>
                      <a:pt x="39" y="26"/>
                      <a:pt x="39" y="23"/>
                      <a:pt x="37" y="19"/>
                    </a:cubicBezTo>
                    <a:cubicBezTo>
                      <a:pt x="36" y="16"/>
                      <a:pt x="33" y="14"/>
                      <a:pt x="28" y="12"/>
                    </a:cubicBezTo>
                    <a:cubicBezTo>
                      <a:pt x="23" y="10"/>
                      <a:pt x="19" y="9"/>
                      <a:pt x="16" y="10"/>
                    </a:cubicBezTo>
                    <a:cubicBezTo>
                      <a:pt x="13" y="11"/>
                      <a:pt x="11" y="14"/>
                      <a:pt x="9" y="17"/>
                    </a:cubicBezTo>
                    <a:cubicBezTo>
                      <a:pt x="8" y="20"/>
                      <a:pt x="8" y="23"/>
                      <a:pt x="9" y="27"/>
                    </a:cubicBezTo>
                    <a:cubicBezTo>
                      <a:pt x="11" y="30"/>
                      <a:pt x="14" y="32"/>
                      <a:pt x="18" y="3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106" name="îṣlïḍè"/>
              <p:cNvSpPr/>
              <p:nvPr/>
            </p:nvSpPr>
            <p:spPr bwMode="auto">
              <a:xfrm>
                <a:off x="3128859" y="5560015"/>
                <a:ext cx="93663" cy="57150"/>
              </a:xfrm>
              <a:custGeom>
                <a:avLst/>
                <a:gdLst>
                  <a:gd name="T0" fmla="*/ 49 w 59"/>
                  <a:gd name="T1" fmla="*/ 36 h 36"/>
                  <a:gd name="T2" fmla="*/ 0 w 59"/>
                  <a:gd name="T3" fmla="*/ 21 h 36"/>
                  <a:gd name="T4" fmla="*/ 4 w 59"/>
                  <a:gd name="T5" fmla="*/ 10 h 36"/>
                  <a:gd name="T6" fmla="*/ 43 w 59"/>
                  <a:gd name="T7" fmla="*/ 24 h 36"/>
                  <a:gd name="T8" fmla="*/ 51 w 59"/>
                  <a:gd name="T9" fmla="*/ 0 h 36"/>
                  <a:gd name="T10" fmla="*/ 59 w 59"/>
                  <a:gd name="T11" fmla="*/ 2 h 36"/>
                  <a:gd name="T12" fmla="*/ 49 w 59"/>
                  <a:gd name="T13" fmla="*/ 36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59" h="36">
                    <a:moveTo>
                      <a:pt x="49" y="36"/>
                    </a:moveTo>
                    <a:lnTo>
                      <a:pt x="0" y="21"/>
                    </a:lnTo>
                    <a:lnTo>
                      <a:pt x="4" y="10"/>
                    </a:lnTo>
                    <a:lnTo>
                      <a:pt x="43" y="24"/>
                    </a:lnTo>
                    <a:lnTo>
                      <a:pt x="51" y="0"/>
                    </a:lnTo>
                    <a:lnTo>
                      <a:pt x="59" y="2"/>
                    </a:lnTo>
                    <a:lnTo>
                      <a:pt x="49" y="36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107" name="ïṩḷîḓê"/>
              <p:cNvSpPr/>
              <p:nvPr/>
            </p:nvSpPr>
            <p:spPr bwMode="auto">
              <a:xfrm>
                <a:off x="3152672" y="5469528"/>
                <a:ext cx="85725" cy="80963"/>
              </a:xfrm>
              <a:custGeom>
                <a:avLst/>
                <a:gdLst>
                  <a:gd name="T0" fmla="*/ 18 w 46"/>
                  <a:gd name="T1" fmla="*/ 43 h 44"/>
                  <a:gd name="T2" fmla="*/ 8 w 46"/>
                  <a:gd name="T3" fmla="*/ 38 h 44"/>
                  <a:gd name="T4" fmla="*/ 3 w 46"/>
                  <a:gd name="T5" fmla="*/ 33 h 44"/>
                  <a:gd name="T6" fmla="*/ 0 w 46"/>
                  <a:gd name="T7" fmla="*/ 27 h 44"/>
                  <a:gd name="T8" fmla="*/ 1 w 46"/>
                  <a:gd name="T9" fmla="*/ 17 h 44"/>
                  <a:gd name="T10" fmla="*/ 10 w 46"/>
                  <a:gd name="T11" fmla="*/ 3 h 44"/>
                  <a:gd name="T12" fmla="*/ 28 w 46"/>
                  <a:gd name="T13" fmla="*/ 1 h 44"/>
                  <a:gd name="T14" fmla="*/ 43 w 46"/>
                  <a:gd name="T15" fmla="*/ 11 h 44"/>
                  <a:gd name="T16" fmla="*/ 45 w 46"/>
                  <a:gd name="T17" fmla="*/ 27 h 44"/>
                  <a:gd name="T18" fmla="*/ 36 w 46"/>
                  <a:gd name="T19" fmla="*/ 41 h 44"/>
                  <a:gd name="T20" fmla="*/ 18 w 46"/>
                  <a:gd name="T21" fmla="*/ 43 h 44"/>
                  <a:gd name="T22" fmla="*/ 20 w 46"/>
                  <a:gd name="T23" fmla="*/ 34 h 44"/>
                  <a:gd name="T24" fmla="*/ 32 w 46"/>
                  <a:gd name="T25" fmla="*/ 33 h 44"/>
                  <a:gd name="T26" fmla="*/ 38 w 46"/>
                  <a:gd name="T27" fmla="*/ 25 h 44"/>
                  <a:gd name="T28" fmla="*/ 36 w 46"/>
                  <a:gd name="T29" fmla="*/ 16 h 44"/>
                  <a:gd name="T30" fmla="*/ 25 w 46"/>
                  <a:gd name="T31" fmla="*/ 10 h 44"/>
                  <a:gd name="T32" fmla="*/ 14 w 46"/>
                  <a:gd name="T33" fmla="*/ 11 h 44"/>
                  <a:gd name="T34" fmla="*/ 8 w 46"/>
                  <a:gd name="T35" fmla="*/ 19 h 44"/>
                  <a:gd name="T36" fmla="*/ 10 w 46"/>
                  <a:gd name="T37" fmla="*/ 28 h 44"/>
                  <a:gd name="T38" fmla="*/ 20 w 46"/>
                  <a:gd name="T39" fmla="*/ 34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46" h="44">
                    <a:moveTo>
                      <a:pt x="18" y="43"/>
                    </a:moveTo>
                    <a:cubicBezTo>
                      <a:pt x="14" y="42"/>
                      <a:pt x="10" y="40"/>
                      <a:pt x="8" y="38"/>
                    </a:cubicBezTo>
                    <a:cubicBezTo>
                      <a:pt x="6" y="37"/>
                      <a:pt x="4" y="35"/>
                      <a:pt x="3" y="33"/>
                    </a:cubicBezTo>
                    <a:cubicBezTo>
                      <a:pt x="1" y="31"/>
                      <a:pt x="1" y="29"/>
                      <a:pt x="0" y="27"/>
                    </a:cubicBezTo>
                    <a:cubicBezTo>
                      <a:pt x="0" y="24"/>
                      <a:pt x="0" y="21"/>
                      <a:pt x="1" y="17"/>
                    </a:cubicBezTo>
                    <a:cubicBezTo>
                      <a:pt x="2" y="11"/>
                      <a:pt x="5" y="6"/>
                      <a:pt x="10" y="3"/>
                    </a:cubicBezTo>
                    <a:cubicBezTo>
                      <a:pt x="15" y="0"/>
                      <a:pt x="21" y="0"/>
                      <a:pt x="28" y="1"/>
                    </a:cubicBezTo>
                    <a:cubicBezTo>
                      <a:pt x="34" y="3"/>
                      <a:pt x="39" y="6"/>
                      <a:pt x="43" y="11"/>
                    </a:cubicBezTo>
                    <a:cubicBezTo>
                      <a:pt x="46" y="15"/>
                      <a:pt x="46" y="21"/>
                      <a:pt x="45" y="27"/>
                    </a:cubicBezTo>
                    <a:cubicBezTo>
                      <a:pt x="44" y="33"/>
                      <a:pt x="40" y="38"/>
                      <a:pt x="36" y="41"/>
                    </a:cubicBezTo>
                    <a:cubicBezTo>
                      <a:pt x="31" y="44"/>
                      <a:pt x="25" y="44"/>
                      <a:pt x="18" y="43"/>
                    </a:cubicBezTo>
                    <a:close/>
                    <a:moveTo>
                      <a:pt x="20" y="34"/>
                    </a:moveTo>
                    <a:cubicBezTo>
                      <a:pt x="25" y="35"/>
                      <a:pt x="29" y="35"/>
                      <a:pt x="32" y="33"/>
                    </a:cubicBezTo>
                    <a:cubicBezTo>
                      <a:pt x="35" y="31"/>
                      <a:pt x="37" y="29"/>
                      <a:pt x="38" y="25"/>
                    </a:cubicBezTo>
                    <a:cubicBezTo>
                      <a:pt x="38" y="22"/>
                      <a:pt x="38" y="19"/>
                      <a:pt x="36" y="16"/>
                    </a:cubicBezTo>
                    <a:cubicBezTo>
                      <a:pt x="34" y="13"/>
                      <a:pt x="30" y="11"/>
                      <a:pt x="25" y="10"/>
                    </a:cubicBezTo>
                    <a:cubicBezTo>
                      <a:pt x="20" y="9"/>
                      <a:pt x="16" y="9"/>
                      <a:pt x="14" y="11"/>
                    </a:cubicBezTo>
                    <a:cubicBezTo>
                      <a:pt x="11" y="13"/>
                      <a:pt x="9" y="15"/>
                      <a:pt x="8" y="19"/>
                    </a:cubicBezTo>
                    <a:cubicBezTo>
                      <a:pt x="7" y="22"/>
                      <a:pt x="8" y="25"/>
                      <a:pt x="10" y="28"/>
                    </a:cubicBezTo>
                    <a:cubicBezTo>
                      <a:pt x="12" y="31"/>
                      <a:pt x="15" y="33"/>
                      <a:pt x="20" y="3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108" name="ïSļiďé"/>
              <p:cNvSpPr/>
              <p:nvPr/>
            </p:nvSpPr>
            <p:spPr bwMode="auto">
              <a:xfrm>
                <a:off x="3165372" y="5390153"/>
                <a:ext cx="85725" cy="77788"/>
              </a:xfrm>
              <a:custGeom>
                <a:avLst/>
                <a:gdLst>
                  <a:gd name="T0" fmla="*/ 29 w 46"/>
                  <a:gd name="T1" fmla="*/ 21 h 42"/>
                  <a:gd name="T2" fmla="*/ 22 w 46"/>
                  <a:gd name="T3" fmla="*/ 20 h 42"/>
                  <a:gd name="T4" fmla="*/ 24 w 46"/>
                  <a:gd name="T5" fmla="*/ 1 h 42"/>
                  <a:gd name="T6" fmla="*/ 41 w 46"/>
                  <a:gd name="T7" fmla="*/ 3 h 42"/>
                  <a:gd name="T8" fmla="*/ 45 w 46"/>
                  <a:gd name="T9" fmla="*/ 11 h 42"/>
                  <a:gd name="T10" fmla="*/ 46 w 46"/>
                  <a:gd name="T11" fmla="*/ 22 h 42"/>
                  <a:gd name="T12" fmla="*/ 42 w 46"/>
                  <a:gd name="T13" fmla="*/ 34 h 42"/>
                  <a:gd name="T14" fmla="*/ 33 w 46"/>
                  <a:gd name="T15" fmla="*/ 41 h 42"/>
                  <a:gd name="T16" fmla="*/ 21 w 46"/>
                  <a:gd name="T17" fmla="*/ 42 h 42"/>
                  <a:gd name="T18" fmla="*/ 9 w 46"/>
                  <a:gd name="T19" fmla="*/ 38 h 42"/>
                  <a:gd name="T20" fmla="*/ 2 w 46"/>
                  <a:gd name="T21" fmla="*/ 28 h 42"/>
                  <a:gd name="T22" fmla="*/ 1 w 46"/>
                  <a:gd name="T23" fmla="*/ 18 h 42"/>
                  <a:gd name="T24" fmla="*/ 6 w 46"/>
                  <a:gd name="T25" fmla="*/ 5 h 42"/>
                  <a:gd name="T26" fmla="*/ 16 w 46"/>
                  <a:gd name="T27" fmla="*/ 0 h 42"/>
                  <a:gd name="T28" fmla="*/ 16 w 46"/>
                  <a:gd name="T29" fmla="*/ 9 h 42"/>
                  <a:gd name="T30" fmla="*/ 11 w 46"/>
                  <a:gd name="T31" fmla="*/ 12 h 42"/>
                  <a:gd name="T32" fmla="*/ 8 w 46"/>
                  <a:gd name="T33" fmla="*/ 18 h 42"/>
                  <a:gd name="T34" fmla="*/ 11 w 46"/>
                  <a:gd name="T35" fmla="*/ 28 h 42"/>
                  <a:gd name="T36" fmla="*/ 21 w 46"/>
                  <a:gd name="T37" fmla="*/ 33 h 42"/>
                  <a:gd name="T38" fmla="*/ 34 w 46"/>
                  <a:gd name="T39" fmla="*/ 31 h 42"/>
                  <a:gd name="T40" fmla="*/ 38 w 46"/>
                  <a:gd name="T41" fmla="*/ 22 h 42"/>
                  <a:gd name="T42" fmla="*/ 38 w 46"/>
                  <a:gd name="T43" fmla="*/ 16 h 42"/>
                  <a:gd name="T44" fmla="*/ 36 w 46"/>
                  <a:gd name="T45" fmla="*/ 11 h 42"/>
                  <a:gd name="T46" fmla="*/ 30 w 46"/>
                  <a:gd name="T47" fmla="*/ 11 h 42"/>
                  <a:gd name="T48" fmla="*/ 29 w 46"/>
                  <a:gd name="T49" fmla="*/ 21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46" h="42">
                    <a:moveTo>
                      <a:pt x="29" y="21"/>
                    </a:moveTo>
                    <a:cubicBezTo>
                      <a:pt x="22" y="20"/>
                      <a:pt x="22" y="20"/>
                      <a:pt x="22" y="20"/>
                    </a:cubicBezTo>
                    <a:cubicBezTo>
                      <a:pt x="24" y="1"/>
                      <a:pt x="24" y="1"/>
                      <a:pt x="24" y="1"/>
                    </a:cubicBezTo>
                    <a:cubicBezTo>
                      <a:pt x="41" y="3"/>
                      <a:pt x="41" y="3"/>
                      <a:pt x="41" y="3"/>
                    </a:cubicBezTo>
                    <a:cubicBezTo>
                      <a:pt x="43" y="5"/>
                      <a:pt x="44" y="8"/>
                      <a:pt x="45" y="11"/>
                    </a:cubicBezTo>
                    <a:cubicBezTo>
                      <a:pt x="46" y="15"/>
                      <a:pt x="46" y="19"/>
                      <a:pt x="46" y="22"/>
                    </a:cubicBezTo>
                    <a:cubicBezTo>
                      <a:pt x="46" y="27"/>
                      <a:pt x="44" y="31"/>
                      <a:pt x="42" y="34"/>
                    </a:cubicBezTo>
                    <a:cubicBezTo>
                      <a:pt x="39" y="37"/>
                      <a:pt x="36" y="39"/>
                      <a:pt x="33" y="41"/>
                    </a:cubicBezTo>
                    <a:cubicBezTo>
                      <a:pt x="29" y="42"/>
                      <a:pt x="25" y="42"/>
                      <a:pt x="21" y="42"/>
                    </a:cubicBezTo>
                    <a:cubicBezTo>
                      <a:pt x="16" y="41"/>
                      <a:pt x="12" y="40"/>
                      <a:pt x="9" y="38"/>
                    </a:cubicBezTo>
                    <a:cubicBezTo>
                      <a:pt x="6" y="35"/>
                      <a:pt x="3" y="32"/>
                      <a:pt x="2" y="28"/>
                    </a:cubicBezTo>
                    <a:cubicBezTo>
                      <a:pt x="1" y="25"/>
                      <a:pt x="0" y="22"/>
                      <a:pt x="1" y="18"/>
                    </a:cubicBezTo>
                    <a:cubicBezTo>
                      <a:pt x="1" y="12"/>
                      <a:pt x="3" y="8"/>
                      <a:pt x="6" y="5"/>
                    </a:cubicBezTo>
                    <a:cubicBezTo>
                      <a:pt x="8" y="2"/>
                      <a:pt x="12" y="1"/>
                      <a:pt x="16" y="0"/>
                    </a:cubicBezTo>
                    <a:cubicBezTo>
                      <a:pt x="16" y="9"/>
                      <a:pt x="16" y="9"/>
                      <a:pt x="16" y="9"/>
                    </a:cubicBezTo>
                    <a:cubicBezTo>
                      <a:pt x="14" y="10"/>
                      <a:pt x="12" y="11"/>
                      <a:pt x="11" y="12"/>
                    </a:cubicBezTo>
                    <a:cubicBezTo>
                      <a:pt x="10" y="14"/>
                      <a:pt x="9" y="16"/>
                      <a:pt x="8" y="18"/>
                    </a:cubicBezTo>
                    <a:cubicBezTo>
                      <a:pt x="8" y="22"/>
                      <a:pt x="9" y="25"/>
                      <a:pt x="11" y="28"/>
                    </a:cubicBezTo>
                    <a:cubicBezTo>
                      <a:pt x="13" y="31"/>
                      <a:pt x="17" y="32"/>
                      <a:pt x="21" y="33"/>
                    </a:cubicBezTo>
                    <a:cubicBezTo>
                      <a:pt x="27" y="33"/>
                      <a:pt x="31" y="33"/>
                      <a:pt x="34" y="31"/>
                    </a:cubicBezTo>
                    <a:cubicBezTo>
                      <a:pt x="36" y="29"/>
                      <a:pt x="38" y="26"/>
                      <a:pt x="38" y="22"/>
                    </a:cubicBezTo>
                    <a:cubicBezTo>
                      <a:pt x="39" y="20"/>
                      <a:pt x="39" y="18"/>
                      <a:pt x="38" y="16"/>
                    </a:cubicBezTo>
                    <a:cubicBezTo>
                      <a:pt x="37" y="14"/>
                      <a:pt x="37" y="13"/>
                      <a:pt x="36" y="11"/>
                    </a:cubicBezTo>
                    <a:cubicBezTo>
                      <a:pt x="30" y="11"/>
                      <a:pt x="30" y="11"/>
                      <a:pt x="30" y="11"/>
                    </a:cubicBezTo>
                    <a:lnTo>
                      <a:pt x="29" y="2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109" name="îSḷiḋè"/>
              <p:cNvSpPr/>
              <p:nvPr/>
            </p:nvSpPr>
            <p:spPr bwMode="auto">
              <a:xfrm>
                <a:off x="3173309" y="5313953"/>
                <a:ext cx="80963" cy="76200"/>
              </a:xfrm>
              <a:custGeom>
                <a:avLst/>
                <a:gdLst>
                  <a:gd name="T0" fmla="*/ 51 w 51"/>
                  <a:gd name="T1" fmla="*/ 30 h 48"/>
                  <a:gd name="T2" fmla="*/ 29 w 51"/>
                  <a:gd name="T3" fmla="*/ 29 h 48"/>
                  <a:gd name="T4" fmla="*/ 0 w 51"/>
                  <a:gd name="T5" fmla="*/ 48 h 48"/>
                  <a:gd name="T6" fmla="*/ 0 w 51"/>
                  <a:gd name="T7" fmla="*/ 36 h 48"/>
                  <a:gd name="T8" fmla="*/ 20 w 51"/>
                  <a:gd name="T9" fmla="*/ 24 h 48"/>
                  <a:gd name="T10" fmla="*/ 0 w 51"/>
                  <a:gd name="T11" fmla="*/ 12 h 48"/>
                  <a:gd name="T12" fmla="*/ 0 w 51"/>
                  <a:gd name="T13" fmla="*/ 0 h 48"/>
                  <a:gd name="T14" fmla="*/ 30 w 51"/>
                  <a:gd name="T15" fmla="*/ 20 h 48"/>
                  <a:gd name="T16" fmla="*/ 51 w 51"/>
                  <a:gd name="T17" fmla="*/ 20 h 48"/>
                  <a:gd name="T18" fmla="*/ 51 w 51"/>
                  <a:gd name="T19" fmla="*/ 30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51" h="48">
                    <a:moveTo>
                      <a:pt x="51" y="30"/>
                    </a:moveTo>
                    <a:lnTo>
                      <a:pt x="29" y="29"/>
                    </a:lnTo>
                    <a:lnTo>
                      <a:pt x="0" y="48"/>
                    </a:lnTo>
                    <a:lnTo>
                      <a:pt x="0" y="36"/>
                    </a:lnTo>
                    <a:lnTo>
                      <a:pt x="20" y="24"/>
                    </a:lnTo>
                    <a:lnTo>
                      <a:pt x="0" y="12"/>
                    </a:lnTo>
                    <a:lnTo>
                      <a:pt x="0" y="0"/>
                    </a:lnTo>
                    <a:lnTo>
                      <a:pt x="30" y="20"/>
                    </a:lnTo>
                    <a:lnTo>
                      <a:pt x="51" y="20"/>
                    </a:lnTo>
                    <a:lnTo>
                      <a:pt x="51" y="3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110" name="îṣḷíḋé"/>
              <p:cNvSpPr/>
              <p:nvPr/>
            </p:nvSpPr>
            <p:spPr bwMode="auto">
              <a:xfrm>
                <a:off x="3163784" y="5193303"/>
                <a:ext cx="87313" cy="76200"/>
              </a:xfrm>
              <a:custGeom>
                <a:avLst/>
                <a:gdLst>
                  <a:gd name="T0" fmla="*/ 4 w 47"/>
                  <a:gd name="T1" fmla="*/ 41 h 41"/>
                  <a:gd name="T2" fmla="*/ 1 w 47"/>
                  <a:gd name="T3" fmla="*/ 24 h 41"/>
                  <a:gd name="T4" fmla="*/ 0 w 47"/>
                  <a:gd name="T5" fmla="*/ 16 h 41"/>
                  <a:gd name="T6" fmla="*/ 2 w 47"/>
                  <a:gd name="T7" fmla="*/ 11 h 41"/>
                  <a:gd name="T8" fmla="*/ 5 w 47"/>
                  <a:gd name="T9" fmla="*/ 7 h 41"/>
                  <a:gd name="T10" fmla="*/ 10 w 47"/>
                  <a:gd name="T11" fmla="*/ 5 h 41"/>
                  <a:gd name="T12" fmla="*/ 16 w 47"/>
                  <a:gd name="T13" fmla="*/ 6 h 41"/>
                  <a:gd name="T14" fmla="*/ 20 w 47"/>
                  <a:gd name="T15" fmla="*/ 10 h 41"/>
                  <a:gd name="T16" fmla="*/ 23 w 47"/>
                  <a:gd name="T17" fmla="*/ 3 h 41"/>
                  <a:gd name="T18" fmla="*/ 29 w 47"/>
                  <a:gd name="T19" fmla="*/ 0 h 41"/>
                  <a:gd name="T20" fmla="*/ 35 w 47"/>
                  <a:gd name="T21" fmla="*/ 1 h 41"/>
                  <a:gd name="T22" fmla="*/ 40 w 47"/>
                  <a:gd name="T23" fmla="*/ 4 h 41"/>
                  <a:gd name="T24" fmla="*/ 43 w 47"/>
                  <a:gd name="T25" fmla="*/ 10 h 41"/>
                  <a:gd name="T26" fmla="*/ 45 w 47"/>
                  <a:gd name="T27" fmla="*/ 20 h 41"/>
                  <a:gd name="T28" fmla="*/ 47 w 47"/>
                  <a:gd name="T29" fmla="*/ 35 h 41"/>
                  <a:gd name="T30" fmla="*/ 4 w 47"/>
                  <a:gd name="T31" fmla="*/ 41 h 41"/>
                  <a:gd name="T32" fmla="*/ 10 w 47"/>
                  <a:gd name="T33" fmla="*/ 31 h 41"/>
                  <a:gd name="T34" fmla="*/ 20 w 47"/>
                  <a:gd name="T35" fmla="*/ 30 h 41"/>
                  <a:gd name="T36" fmla="*/ 19 w 47"/>
                  <a:gd name="T37" fmla="*/ 24 h 41"/>
                  <a:gd name="T38" fmla="*/ 18 w 47"/>
                  <a:gd name="T39" fmla="*/ 18 h 41"/>
                  <a:gd name="T40" fmla="*/ 16 w 47"/>
                  <a:gd name="T41" fmla="*/ 15 h 41"/>
                  <a:gd name="T42" fmla="*/ 12 w 47"/>
                  <a:gd name="T43" fmla="*/ 14 h 41"/>
                  <a:gd name="T44" fmla="*/ 9 w 47"/>
                  <a:gd name="T45" fmla="*/ 15 h 41"/>
                  <a:gd name="T46" fmla="*/ 8 w 47"/>
                  <a:gd name="T47" fmla="*/ 19 h 41"/>
                  <a:gd name="T48" fmla="*/ 9 w 47"/>
                  <a:gd name="T49" fmla="*/ 26 h 41"/>
                  <a:gd name="T50" fmla="*/ 10 w 47"/>
                  <a:gd name="T51" fmla="*/ 31 h 41"/>
                  <a:gd name="T52" fmla="*/ 27 w 47"/>
                  <a:gd name="T53" fmla="*/ 29 h 41"/>
                  <a:gd name="T54" fmla="*/ 39 w 47"/>
                  <a:gd name="T55" fmla="*/ 27 h 41"/>
                  <a:gd name="T56" fmla="*/ 37 w 47"/>
                  <a:gd name="T57" fmla="*/ 19 h 41"/>
                  <a:gd name="T58" fmla="*/ 36 w 47"/>
                  <a:gd name="T59" fmla="*/ 13 h 41"/>
                  <a:gd name="T60" fmla="*/ 34 w 47"/>
                  <a:gd name="T61" fmla="*/ 10 h 41"/>
                  <a:gd name="T62" fmla="*/ 30 w 47"/>
                  <a:gd name="T63" fmla="*/ 10 h 41"/>
                  <a:gd name="T64" fmla="*/ 27 w 47"/>
                  <a:gd name="T65" fmla="*/ 11 h 41"/>
                  <a:gd name="T66" fmla="*/ 25 w 47"/>
                  <a:gd name="T67" fmla="*/ 14 h 41"/>
                  <a:gd name="T68" fmla="*/ 26 w 47"/>
                  <a:gd name="T69" fmla="*/ 22 h 41"/>
                  <a:gd name="T70" fmla="*/ 27 w 47"/>
                  <a:gd name="T71" fmla="*/ 29 h 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47" h="41">
                    <a:moveTo>
                      <a:pt x="4" y="41"/>
                    </a:moveTo>
                    <a:cubicBezTo>
                      <a:pt x="1" y="24"/>
                      <a:pt x="1" y="24"/>
                      <a:pt x="1" y="24"/>
                    </a:cubicBezTo>
                    <a:cubicBezTo>
                      <a:pt x="1" y="20"/>
                      <a:pt x="0" y="18"/>
                      <a:pt x="0" y="16"/>
                    </a:cubicBezTo>
                    <a:cubicBezTo>
                      <a:pt x="1" y="14"/>
                      <a:pt x="1" y="13"/>
                      <a:pt x="2" y="11"/>
                    </a:cubicBezTo>
                    <a:cubicBezTo>
                      <a:pt x="2" y="10"/>
                      <a:pt x="3" y="9"/>
                      <a:pt x="5" y="7"/>
                    </a:cubicBezTo>
                    <a:cubicBezTo>
                      <a:pt x="6" y="6"/>
                      <a:pt x="8" y="6"/>
                      <a:pt x="10" y="5"/>
                    </a:cubicBezTo>
                    <a:cubicBezTo>
                      <a:pt x="12" y="5"/>
                      <a:pt x="14" y="5"/>
                      <a:pt x="16" y="6"/>
                    </a:cubicBezTo>
                    <a:cubicBezTo>
                      <a:pt x="17" y="7"/>
                      <a:pt x="19" y="8"/>
                      <a:pt x="20" y="10"/>
                    </a:cubicBezTo>
                    <a:cubicBezTo>
                      <a:pt x="20" y="7"/>
                      <a:pt x="21" y="5"/>
                      <a:pt x="23" y="3"/>
                    </a:cubicBezTo>
                    <a:cubicBezTo>
                      <a:pt x="25" y="2"/>
                      <a:pt x="27" y="1"/>
                      <a:pt x="29" y="0"/>
                    </a:cubicBezTo>
                    <a:cubicBezTo>
                      <a:pt x="31" y="0"/>
                      <a:pt x="33" y="0"/>
                      <a:pt x="35" y="1"/>
                    </a:cubicBezTo>
                    <a:cubicBezTo>
                      <a:pt x="37" y="2"/>
                      <a:pt x="39" y="3"/>
                      <a:pt x="40" y="4"/>
                    </a:cubicBezTo>
                    <a:cubicBezTo>
                      <a:pt x="42" y="5"/>
                      <a:pt x="43" y="7"/>
                      <a:pt x="43" y="10"/>
                    </a:cubicBezTo>
                    <a:cubicBezTo>
                      <a:pt x="44" y="11"/>
                      <a:pt x="44" y="15"/>
                      <a:pt x="45" y="20"/>
                    </a:cubicBezTo>
                    <a:cubicBezTo>
                      <a:pt x="47" y="35"/>
                      <a:pt x="47" y="35"/>
                      <a:pt x="47" y="35"/>
                    </a:cubicBezTo>
                    <a:lnTo>
                      <a:pt x="4" y="41"/>
                    </a:lnTo>
                    <a:close/>
                    <a:moveTo>
                      <a:pt x="10" y="31"/>
                    </a:moveTo>
                    <a:cubicBezTo>
                      <a:pt x="20" y="30"/>
                      <a:pt x="20" y="30"/>
                      <a:pt x="20" y="30"/>
                    </a:cubicBezTo>
                    <a:cubicBezTo>
                      <a:pt x="19" y="24"/>
                      <a:pt x="19" y="24"/>
                      <a:pt x="19" y="24"/>
                    </a:cubicBezTo>
                    <a:cubicBezTo>
                      <a:pt x="18" y="21"/>
                      <a:pt x="18" y="19"/>
                      <a:pt x="18" y="18"/>
                    </a:cubicBezTo>
                    <a:cubicBezTo>
                      <a:pt x="17" y="16"/>
                      <a:pt x="17" y="15"/>
                      <a:pt x="16" y="15"/>
                    </a:cubicBezTo>
                    <a:cubicBezTo>
                      <a:pt x="15" y="14"/>
                      <a:pt x="14" y="14"/>
                      <a:pt x="12" y="14"/>
                    </a:cubicBezTo>
                    <a:cubicBezTo>
                      <a:pt x="11" y="14"/>
                      <a:pt x="10" y="14"/>
                      <a:pt x="9" y="15"/>
                    </a:cubicBezTo>
                    <a:cubicBezTo>
                      <a:pt x="8" y="16"/>
                      <a:pt x="8" y="17"/>
                      <a:pt x="8" y="19"/>
                    </a:cubicBezTo>
                    <a:cubicBezTo>
                      <a:pt x="8" y="20"/>
                      <a:pt x="8" y="22"/>
                      <a:pt x="9" y="26"/>
                    </a:cubicBezTo>
                    <a:lnTo>
                      <a:pt x="10" y="31"/>
                    </a:lnTo>
                    <a:close/>
                    <a:moveTo>
                      <a:pt x="27" y="29"/>
                    </a:moveTo>
                    <a:cubicBezTo>
                      <a:pt x="39" y="27"/>
                      <a:pt x="39" y="27"/>
                      <a:pt x="39" y="27"/>
                    </a:cubicBezTo>
                    <a:cubicBezTo>
                      <a:pt x="37" y="19"/>
                      <a:pt x="37" y="19"/>
                      <a:pt x="37" y="19"/>
                    </a:cubicBezTo>
                    <a:cubicBezTo>
                      <a:pt x="37" y="16"/>
                      <a:pt x="37" y="14"/>
                      <a:pt x="36" y="13"/>
                    </a:cubicBezTo>
                    <a:cubicBezTo>
                      <a:pt x="36" y="12"/>
                      <a:pt x="35" y="11"/>
                      <a:pt x="34" y="10"/>
                    </a:cubicBezTo>
                    <a:cubicBezTo>
                      <a:pt x="33" y="10"/>
                      <a:pt x="32" y="9"/>
                      <a:pt x="30" y="10"/>
                    </a:cubicBezTo>
                    <a:cubicBezTo>
                      <a:pt x="29" y="10"/>
                      <a:pt x="28" y="10"/>
                      <a:pt x="27" y="11"/>
                    </a:cubicBezTo>
                    <a:cubicBezTo>
                      <a:pt x="26" y="12"/>
                      <a:pt x="26" y="13"/>
                      <a:pt x="25" y="14"/>
                    </a:cubicBezTo>
                    <a:cubicBezTo>
                      <a:pt x="25" y="15"/>
                      <a:pt x="25" y="18"/>
                      <a:pt x="26" y="22"/>
                    </a:cubicBezTo>
                    <a:lnTo>
                      <a:pt x="27" y="2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111" name="îṩliďè"/>
              <p:cNvSpPr/>
              <p:nvPr/>
            </p:nvSpPr>
            <p:spPr bwMode="auto">
              <a:xfrm>
                <a:off x="3146322" y="5120278"/>
                <a:ext cx="93663" cy="79375"/>
              </a:xfrm>
              <a:custGeom>
                <a:avLst/>
                <a:gdLst>
                  <a:gd name="T0" fmla="*/ 59 w 59"/>
                  <a:gd name="T1" fmla="*/ 37 h 50"/>
                  <a:gd name="T2" fmla="*/ 9 w 59"/>
                  <a:gd name="T3" fmla="*/ 50 h 50"/>
                  <a:gd name="T4" fmla="*/ 0 w 59"/>
                  <a:gd name="T5" fmla="*/ 13 h 50"/>
                  <a:gd name="T6" fmla="*/ 8 w 59"/>
                  <a:gd name="T7" fmla="*/ 10 h 50"/>
                  <a:gd name="T8" fmla="*/ 15 w 59"/>
                  <a:gd name="T9" fmla="*/ 37 h 50"/>
                  <a:gd name="T10" fmla="*/ 25 w 59"/>
                  <a:gd name="T11" fmla="*/ 35 h 50"/>
                  <a:gd name="T12" fmla="*/ 19 w 59"/>
                  <a:gd name="T13" fmla="*/ 9 h 50"/>
                  <a:gd name="T14" fmla="*/ 27 w 59"/>
                  <a:gd name="T15" fmla="*/ 8 h 50"/>
                  <a:gd name="T16" fmla="*/ 34 w 59"/>
                  <a:gd name="T17" fmla="*/ 32 h 50"/>
                  <a:gd name="T18" fmla="*/ 47 w 59"/>
                  <a:gd name="T19" fmla="*/ 29 h 50"/>
                  <a:gd name="T20" fmla="*/ 40 w 59"/>
                  <a:gd name="T21" fmla="*/ 1 h 50"/>
                  <a:gd name="T22" fmla="*/ 49 w 59"/>
                  <a:gd name="T23" fmla="*/ 0 h 50"/>
                  <a:gd name="T24" fmla="*/ 59 w 59"/>
                  <a:gd name="T25" fmla="*/ 37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59" h="50">
                    <a:moveTo>
                      <a:pt x="59" y="37"/>
                    </a:moveTo>
                    <a:lnTo>
                      <a:pt x="9" y="50"/>
                    </a:lnTo>
                    <a:lnTo>
                      <a:pt x="0" y="13"/>
                    </a:lnTo>
                    <a:lnTo>
                      <a:pt x="8" y="10"/>
                    </a:lnTo>
                    <a:lnTo>
                      <a:pt x="15" y="37"/>
                    </a:lnTo>
                    <a:lnTo>
                      <a:pt x="25" y="35"/>
                    </a:lnTo>
                    <a:lnTo>
                      <a:pt x="19" y="9"/>
                    </a:lnTo>
                    <a:lnTo>
                      <a:pt x="27" y="8"/>
                    </a:lnTo>
                    <a:lnTo>
                      <a:pt x="34" y="32"/>
                    </a:lnTo>
                    <a:lnTo>
                      <a:pt x="47" y="29"/>
                    </a:lnTo>
                    <a:lnTo>
                      <a:pt x="40" y="1"/>
                    </a:lnTo>
                    <a:lnTo>
                      <a:pt x="49" y="0"/>
                    </a:lnTo>
                    <a:lnTo>
                      <a:pt x="59" y="3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112" name="iṧlíḋè"/>
              <p:cNvSpPr/>
              <p:nvPr/>
            </p:nvSpPr>
            <p:spPr bwMode="auto">
              <a:xfrm>
                <a:off x="3138384" y="5096465"/>
                <a:ext cx="82550" cy="38100"/>
              </a:xfrm>
              <a:custGeom>
                <a:avLst/>
                <a:gdLst>
                  <a:gd name="T0" fmla="*/ 52 w 52"/>
                  <a:gd name="T1" fmla="*/ 9 h 24"/>
                  <a:gd name="T2" fmla="*/ 3 w 52"/>
                  <a:gd name="T3" fmla="*/ 24 h 24"/>
                  <a:gd name="T4" fmla="*/ 0 w 52"/>
                  <a:gd name="T5" fmla="*/ 15 h 24"/>
                  <a:gd name="T6" fmla="*/ 49 w 52"/>
                  <a:gd name="T7" fmla="*/ 0 h 24"/>
                  <a:gd name="T8" fmla="*/ 52 w 52"/>
                  <a:gd name="T9" fmla="*/ 9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2" h="24">
                    <a:moveTo>
                      <a:pt x="52" y="9"/>
                    </a:moveTo>
                    <a:lnTo>
                      <a:pt x="3" y="24"/>
                    </a:lnTo>
                    <a:lnTo>
                      <a:pt x="0" y="15"/>
                    </a:lnTo>
                    <a:lnTo>
                      <a:pt x="49" y="0"/>
                    </a:lnTo>
                    <a:lnTo>
                      <a:pt x="52" y="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113" name="islïḓè"/>
              <p:cNvSpPr/>
              <p:nvPr/>
            </p:nvSpPr>
            <p:spPr bwMode="auto">
              <a:xfrm>
                <a:off x="3120922" y="5047253"/>
                <a:ext cx="88900" cy="52388"/>
              </a:xfrm>
              <a:custGeom>
                <a:avLst/>
                <a:gdLst>
                  <a:gd name="T0" fmla="*/ 3 w 48"/>
                  <a:gd name="T1" fmla="*/ 20 h 28"/>
                  <a:gd name="T2" fmla="*/ 0 w 48"/>
                  <a:gd name="T3" fmla="*/ 12 h 28"/>
                  <a:gd name="T4" fmla="*/ 26 w 48"/>
                  <a:gd name="T5" fmla="*/ 2 h 28"/>
                  <a:gd name="T6" fmla="*/ 34 w 48"/>
                  <a:gd name="T7" fmla="*/ 0 h 28"/>
                  <a:gd name="T8" fmla="*/ 42 w 48"/>
                  <a:gd name="T9" fmla="*/ 3 h 28"/>
                  <a:gd name="T10" fmla="*/ 47 w 48"/>
                  <a:gd name="T11" fmla="*/ 10 h 28"/>
                  <a:gd name="T12" fmla="*/ 47 w 48"/>
                  <a:gd name="T13" fmla="*/ 21 h 28"/>
                  <a:gd name="T14" fmla="*/ 38 w 48"/>
                  <a:gd name="T15" fmla="*/ 28 h 28"/>
                  <a:gd name="T16" fmla="*/ 34 w 48"/>
                  <a:gd name="T17" fmla="*/ 20 h 28"/>
                  <a:gd name="T18" fmla="*/ 39 w 48"/>
                  <a:gd name="T19" fmla="*/ 17 h 28"/>
                  <a:gd name="T20" fmla="*/ 40 w 48"/>
                  <a:gd name="T21" fmla="*/ 13 h 28"/>
                  <a:gd name="T22" fmla="*/ 37 w 48"/>
                  <a:gd name="T23" fmla="*/ 9 h 28"/>
                  <a:gd name="T24" fmla="*/ 30 w 48"/>
                  <a:gd name="T25" fmla="*/ 10 h 28"/>
                  <a:gd name="T26" fmla="*/ 3 w 48"/>
                  <a:gd name="T27" fmla="*/ 20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48" h="28">
                    <a:moveTo>
                      <a:pt x="3" y="20"/>
                    </a:moveTo>
                    <a:cubicBezTo>
                      <a:pt x="0" y="12"/>
                      <a:pt x="0" y="12"/>
                      <a:pt x="0" y="12"/>
                    </a:cubicBezTo>
                    <a:cubicBezTo>
                      <a:pt x="26" y="2"/>
                      <a:pt x="26" y="2"/>
                      <a:pt x="26" y="2"/>
                    </a:cubicBezTo>
                    <a:cubicBezTo>
                      <a:pt x="29" y="1"/>
                      <a:pt x="32" y="0"/>
                      <a:pt x="34" y="0"/>
                    </a:cubicBezTo>
                    <a:cubicBezTo>
                      <a:pt x="37" y="0"/>
                      <a:pt x="39" y="1"/>
                      <a:pt x="42" y="3"/>
                    </a:cubicBezTo>
                    <a:cubicBezTo>
                      <a:pt x="44" y="4"/>
                      <a:pt x="46" y="7"/>
                      <a:pt x="47" y="10"/>
                    </a:cubicBezTo>
                    <a:cubicBezTo>
                      <a:pt x="48" y="14"/>
                      <a:pt x="48" y="18"/>
                      <a:pt x="47" y="21"/>
                    </a:cubicBezTo>
                    <a:cubicBezTo>
                      <a:pt x="45" y="24"/>
                      <a:pt x="42" y="26"/>
                      <a:pt x="38" y="28"/>
                    </a:cubicBezTo>
                    <a:cubicBezTo>
                      <a:pt x="34" y="20"/>
                      <a:pt x="34" y="20"/>
                      <a:pt x="34" y="20"/>
                    </a:cubicBezTo>
                    <a:cubicBezTo>
                      <a:pt x="37" y="19"/>
                      <a:pt x="38" y="18"/>
                      <a:pt x="39" y="17"/>
                    </a:cubicBezTo>
                    <a:cubicBezTo>
                      <a:pt x="40" y="16"/>
                      <a:pt x="40" y="14"/>
                      <a:pt x="40" y="13"/>
                    </a:cubicBezTo>
                    <a:cubicBezTo>
                      <a:pt x="39" y="11"/>
                      <a:pt x="38" y="10"/>
                      <a:pt x="37" y="9"/>
                    </a:cubicBezTo>
                    <a:cubicBezTo>
                      <a:pt x="35" y="9"/>
                      <a:pt x="33" y="9"/>
                      <a:pt x="30" y="10"/>
                    </a:cubicBezTo>
                    <a:lnTo>
                      <a:pt x="3" y="2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114" name="íṥ1iḍe"/>
              <p:cNvSpPr/>
              <p:nvPr/>
            </p:nvSpPr>
            <p:spPr bwMode="auto">
              <a:xfrm>
                <a:off x="3112984" y="5017090"/>
                <a:ext cx="80963" cy="46038"/>
              </a:xfrm>
              <a:custGeom>
                <a:avLst/>
                <a:gdLst>
                  <a:gd name="T0" fmla="*/ 51 w 51"/>
                  <a:gd name="T1" fmla="*/ 9 h 29"/>
                  <a:gd name="T2" fmla="*/ 3 w 51"/>
                  <a:gd name="T3" fmla="*/ 29 h 29"/>
                  <a:gd name="T4" fmla="*/ 0 w 51"/>
                  <a:gd name="T5" fmla="*/ 19 h 29"/>
                  <a:gd name="T6" fmla="*/ 46 w 51"/>
                  <a:gd name="T7" fmla="*/ 0 h 29"/>
                  <a:gd name="T8" fmla="*/ 51 w 51"/>
                  <a:gd name="T9" fmla="*/ 9 h 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1" h="29">
                    <a:moveTo>
                      <a:pt x="51" y="9"/>
                    </a:moveTo>
                    <a:lnTo>
                      <a:pt x="3" y="29"/>
                    </a:lnTo>
                    <a:lnTo>
                      <a:pt x="0" y="19"/>
                    </a:lnTo>
                    <a:lnTo>
                      <a:pt x="46" y="0"/>
                    </a:lnTo>
                    <a:lnTo>
                      <a:pt x="51" y="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115" name="iṥľîḋé"/>
              <p:cNvSpPr/>
              <p:nvPr/>
            </p:nvSpPr>
            <p:spPr bwMode="auto">
              <a:xfrm>
                <a:off x="3081234" y="4948828"/>
                <a:ext cx="101600" cy="93663"/>
              </a:xfrm>
              <a:custGeom>
                <a:avLst/>
                <a:gdLst>
                  <a:gd name="T0" fmla="*/ 64 w 64"/>
                  <a:gd name="T1" fmla="*/ 36 h 59"/>
                  <a:gd name="T2" fmla="*/ 18 w 64"/>
                  <a:gd name="T3" fmla="*/ 59 h 59"/>
                  <a:gd name="T4" fmla="*/ 14 w 64"/>
                  <a:gd name="T5" fmla="*/ 50 h 59"/>
                  <a:gd name="T6" fmla="*/ 35 w 64"/>
                  <a:gd name="T7" fmla="*/ 16 h 59"/>
                  <a:gd name="T8" fmla="*/ 3 w 64"/>
                  <a:gd name="T9" fmla="*/ 31 h 59"/>
                  <a:gd name="T10" fmla="*/ 0 w 64"/>
                  <a:gd name="T11" fmla="*/ 22 h 59"/>
                  <a:gd name="T12" fmla="*/ 45 w 64"/>
                  <a:gd name="T13" fmla="*/ 0 h 59"/>
                  <a:gd name="T14" fmla="*/ 50 w 64"/>
                  <a:gd name="T15" fmla="*/ 8 h 59"/>
                  <a:gd name="T16" fmla="*/ 29 w 64"/>
                  <a:gd name="T17" fmla="*/ 42 h 59"/>
                  <a:gd name="T18" fmla="*/ 59 w 64"/>
                  <a:gd name="T19" fmla="*/ 26 h 59"/>
                  <a:gd name="T20" fmla="*/ 64 w 64"/>
                  <a:gd name="T21" fmla="*/ 36 h 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64" h="59">
                    <a:moveTo>
                      <a:pt x="64" y="36"/>
                    </a:moveTo>
                    <a:lnTo>
                      <a:pt x="18" y="59"/>
                    </a:lnTo>
                    <a:lnTo>
                      <a:pt x="14" y="50"/>
                    </a:lnTo>
                    <a:lnTo>
                      <a:pt x="35" y="16"/>
                    </a:lnTo>
                    <a:lnTo>
                      <a:pt x="3" y="31"/>
                    </a:lnTo>
                    <a:lnTo>
                      <a:pt x="0" y="22"/>
                    </a:lnTo>
                    <a:lnTo>
                      <a:pt x="45" y="0"/>
                    </a:lnTo>
                    <a:lnTo>
                      <a:pt x="50" y="8"/>
                    </a:lnTo>
                    <a:lnTo>
                      <a:pt x="29" y="42"/>
                    </a:lnTo>
                    <a:lnTo>
                      <a:pt x="59" y="26"/>
                    </a:lnTo>
                    <a:lnTo>
                      <a:pt x="64" y="36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116" name="îślidè"/>
              <p:cNvSpPr/>
              <p:nvPr/>
            </p:nvSpPr>
            <p:spPr bwMode="auto">
              <a:xfrm>
                <a:off x="3047897" y="4877390"/>
                <a:ext cx="84138" cy="88900"/>
              </a:xfrm>
              <a:custGeom>
                <a:avLst/>
                <a:gdLst>
                  <a:gd name="T0" fmla="*/ 28 w 46"/>
                  <a:gd name="T1" fmla="*/ 21 h 48"/>
                  <a:gd name="T2" fmla="*/ 22 w 46"/>
                  <a:gd name="T3" fmla="*/ 25 h 48"/>
                  <a:gd name="T4" fmla="*/ 11 w 46"/>
                  <a:gd name="T5" fmla="*/ 9 h 48"/>
                  <a:gd name="T6" fmla="*/ 26 w 46"/>
                  <a:gd name="T7" fmla="*/ 0 h 48"/>
                  <a:gd name="T8" fmla="*/ 35 w 46"/>
                  <a:gd name="T9" fmla="*/ 4 h 48"/>
                  <a:gd name="T10" fmla="*/ 42 w 46"/>
                  <a:gd name="T11" fmla="*/ 12 h 48"/>
                  <a:gd name="T12" fmla="*/ 46 w 46"/>
                  <a:gd name="T13" fmla="*/ 24 h 48"/>
                  <a:gd name="T14" fmla="*/ 43 w 46"/>
                  <a:gd name="T15" fmla="*/ 35 h 48"/>
                  <a:gd name="T16" fmla="*/ 35 w 46"/>
                  <a:gd name="T17" fmla="*/ 43 h 48"/>
                  <a:gd name="T18" fmla="*/ 23 w 46"/>
                  <a:gd name="T19" fmla="*/ 47 h 48"/>
                  <a:gd name="T20" fmla="*/ 12 w 46"/>
                  <a:gd name="T21" fmla="*/ 45 h 48"/>
                  <a:gd name="T22" fmla="*/ 4 w 46"/>
                  <a:gd name="T23" fmla="*/ 37 h 48"/>
                  <a:gd name="T24" fmla="*/ 0 w 46"/>
                  <a:gd name="T25" fmla="*/ 24 h 48"/>
                  <a:gd name="T26" fmla="*/ 5 w 46"/>
                  <a:gd name="T27" fmla="*/ 14 h 48"/>
                  <a:gd name="T28" fmla="*/ 11 w 46"/>
                  <a:gd name="T29" fmla="*/ 21 h 48"/>
                  <a:gd name="T30" fmla="*/ 9 w 46"/>
                  <a:gd name="T31" fmla="*/ 27 h 48"/>
                  <a:gd name="T32" fmla="*/ 11 w 46"/>
                  <a:gd name="T33" fmla="*/ 33 h 48"/>
                  <a:gd name="T34" fmla="*/ 19 w 46"/>
                  <a:gd name="T35" fmla="*/ 39 h 48"/>
                  <a:gd name="T36" fmla="*/ 30 w 46"/>
                  <a:gd name="T37" fmla="*/ 36 h 48"/>
                  <a:gd name="T38" fmla="*/ 38 w 46"/>
                  <a:gd name="T39" fmla="*/ 26 h 48"/>
                  <a:gd name="T40" fmla="*/ 36 w 46"/>
                  <a:gd name="T41" fmla="*/ 17 h 48"/>
                  <a:gd name="T42" fmla="*/ 32 w 46"/>
                  <a:gd name="T43" fmla="*/ 13 h 48"/>
                  <a:gd name="T44" fmla="*/ 27 w 46"/>
                  <a:gd name="T45" fmla="*/ 10 h 48"/>
                  <a:gd name="T46" fmla="*/ 23 w 46"/>
                  <a:gd name="T47" fmla="*/ 13 h 48"/>
                  <a:gd name="T48" fmla="*/ 28 w 46"/>
                  <a:gd name="T49" fmla="*/ 21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46" h="48">
                    <a:moveTo>
                      <a:pt x="28" y="21"/>
                    </a:moveTo>
                    <a:cubicBezTo>
                      <a:pt x="22" y="25"/>
                      <a:pt x="22" y="25"/>
                      <a:pt x="22" y="25"/>
                    </a:cubicBezTo>
                    <a:cubicBezTo>
                      <a:pt x="11" y="9"/>
                      <a:pt x="11" y="9"/>
                      <a:pt x="11" y="9"/>
                    </a:cubicBezTo>
                    <a:cubicBezTo>
                      <a:pt x="26" y="0"/>
                      <a:pt x="26" y="0"/>
                      <a:pt x="26" y="0"/>
                    </a:cubicBezTo>
                    <a:cubicBezTo>
                      <a:pt x="29" y="1"/>
                      <a:pt x="31" y="2"/>
                      <a:pt x="35" y="4"/>
                    </a:cubicBezTo>
                    <a:cubicBezTo>
                      <a:pt x="38" y="6"/>
                      <a:pt x="40" y="9"/>
                      <a:pt x="42" y="12"/>
                    </a:cubicBezTo>
                    <a:cubicBezTo>
                      <a:pt x="45" y="16"/>
                      <a:pt x="46" y="20"/>
                      <a:pt x="46" y="24"/>
                    </a:cubicBezTo>
                    <a:cubicBezTo>
                      <a:pt x="46" y="28"/>
                      <a:pt x="45" y="31"/>
                      <a:pt x="43" y="35"/>
                    </a:cubicBezTo>
                    <a:cubicBezTo>
                      <a:pt x="41" y="38"/>
                      <a:pt x="38" y="41"/>
                      <a:pt x="35" y="43"/>
                    </a:cubicBezTo>
                    <a:cubicBezTo>
                      <a:pt x="31" y="46"/>
                      <a:pt x="27" y="47"/>
                      <a:pt x="23" y="47"/>
                    </a:cubicBezTo>
                    <a:cubicBezTo>
                      <a:pt x="19" y="48"/>
                      <a:pt x="15" y="47"/>
                      <a:pt x="12" y="45"/>
                    </a:cubicBezTo>
                    <a:cubicBezTo>
                      <a:pt x="9" y="43"/>
                      <a:pt x="6" y="41"/>
                      <a:pt x="4" y="37"/>
                    </a:cubicBezTo>
                    <a:cubicBezTo>
                      <a:pt x="1" y="32"/>
                      <a:pt x="0" y="28"/>
                      <a:pt x="0" y="24"/>
                    </a:cubicBezTo>
                    <a:cubicBezTo>
                      <a:pt x="0" y="21"/>
                      <a:pt x="2" y="17"/>
                      <a:pt x="5" y="14"/>
                    </a:cubicBezTo>
                    <a:cubicBezTo>
                      <a:pt x="11" y="21"/>
                      <a:pt x="11" y="21"/>
                      <a:pt x="11" y="21"/>
                    </a:cubicBezTo>
                    <a:cubicBezTo>
                      <a:pt x="10" y="23"/>
                      <a:pt x="9" y="24"/>
                      <a:pt x="9" y="27"/>
                    </a:cubicBezTo>
                    <a:cubicBezTo>
                      <a:pt x="8" y="29"/>
                      <a:pt x="9" y="31"/>
                      <a:pt x="11" y="33"/>
                    </a:cubicBezTo>
                    <a:cubicBezTo>
                      <a:pt x="13" y="36"/>
                      <a:pt x="15" y="38"/>
                      <a:pt x="19" y="39"/>
                    </a:cubicBezTo>
                    <a:cubicBezTo>
                      <a:pt x="22" y="39"/>
                      <a:pt x="26" y="38"/>
                      <a:pt x="30" y="36"/>
                    </a:cubicBezTo>
                    <a:cubicBezTo>
                      <a:pt x="34" y="33"/>
                      <a:pt x="37" y="30"/>
                      <a:pt x="38" y="26"/>
                    </a:cubicBezTo>
                    <a:cubicBezTo>
                      <a:pt x="39" y="23"/>
                      <a:pt x="38" y="20"/>
                      <a:pt x="36" y="17"/>
                    </a:cubicBezTo>
                    <a:cubicBezTo>
                      <a:pt x="35" y="15"/>
                      <a:pt x="34" y="14"/>
                      <a:pt x="32" y="13"/>
                    </a:cubicBezTo>
                    <a:cubicBezTo>
                      <a:pt x="30" y="11"/>
                      <a:pt x="29" y="10"/>
                      <a:pt x="27" y="10"/>
                    </a:cubicBezTo>
                    <a:cubicBezTo>
                      <a:pt x="23" y="13"/>
                      <a:pt x="23" y="13"/>
                      <a:pt x="23" y="13"/>
                    </a:cubicBezTo>
                    <a:lnTo>
                      <a:pt x="28" y="2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117" name="îŝ1ide"/>
              <p:cNvSpPr/>
              <p:nvPr/>
            </p:nvSpPr>
            <p:spPr bwMode="auto">
              <a:xfrm>
                <a:off x="1981097" y="4907553"/>
                <a:ext cx="931863" cy="969963"/>
              </a:xfrm>
              <a:custGeom>
                <a:avLst/>
                <a:gdLst>
                  <a:gd name="T0" fmla="*/ 488 w 506"/>
                  <a:gd name="T1" fmla="*/ 144 h 525"/>
                  <a:gd name="T2" fmla="*/ 449 w 506"/>
                  <a:gd name="T3" fmla="*/ 161 h 525"/>
                  <a:gd name="T4" fmla="*/ 473 w 506"/>
                  <a:gd name="T5" fmla="*/ 361 h 525"/>
                  <a:gd name="T6" fmla="*/ 434 w 506"/>
                  <a:gd name="T7" fmla="*/ 382 h 525"/>
                  <a:gd name="T8" fmla="*/ 463 w 506"/>
                  <a:gd name="T9" fmla="*/ 392 h 525"/>
                  <a:gd name="T10" fmla="*/ 434 w 506"/>
                  <a:gd name="T11" fmla="*/ 455 h 525"/>
                  <a:gd name="T12" fmla="*/ 418 w 506"/>
                  <a:gd name="T13" fmla="*/ 525 h 525"/>
                  <a:gd name="T14" fmla="*/ 328 w 506"/>
                  <a:gd name="T15" fmla="*/ 392 h 525"/>
                  <a:gd name="T16" fmla="*/ 200 w 506"/>
                  <a:gd name="T17" fmla="*/ 376 h 525"/>
                  <a:gd name="T18" fmla="*/ 179 w 506"/>
                  <a:gd name="T19" fmla="*/ 525 h 525"/>
                  <a:gd name="T20" fmla="*/ 72 w 506"/>
                  <a:gd name="T21" fmla="*/ 510 h 525"/>
                  <a:gd name="T22" fmla="*/ 44 w 506"/>
                  <a:gd name="T23" fmla="*/ 439 h 525"/>
                  <a:gd name="T24" fmla="*/ 72 w 506"/>
                  <a:gd name="T25" fmla="*/ 392 h 525"/>
                  <a:gd name="T26" fmla="*/ 57 w 506"/>
                  <a:gd name="T27" fmla="*/ 382 h 525"/>
                  <a:gd name="T28" fmla="*/ 18 w 506"/>
                  <a:gd name="T29" fmla="*/ 161 h 525"/>
                  <a:gd name="T30" fmla="*/ 56 w 506"/>
                  <a:gd name="T31" fmla="*/ 144 h 525"/>
                  <a:gd name="T32" fmla="*/ 0 w 506"/>
                  <a:gd name="T33" fmla="*/ 21 h 525"/>
                  <a:gd name="T34" fmla="*/ 92 w 506"/>
                  <a:gd name="T35" fmla="*/ 21 h 525"/>
                  <a:gd name="T36" fmla="*/ 403 w 506"/>
                  <a:gd name="T37" fmla="*/ 82 h 525"/>
                  <a:gd name="T38" fmla="*/ 457 w 506"/>
                  <a:gd name="T39" fmla="*/ 0 h 525"/>
                  <a:gd name="T40" fmla="*/ 461 w 506"/>
                  <a:gd name="T41" fmla="*/ 82 h 525"/>
                  <a:gd name="T42" fmla="*/ 455 w 506"/>
                  <a:gd name="T43" fmla="*/ 24 h 525"/>
                  <a:gd name="T44" fmla="*/ 435 w 506"/>
                  <a:gd name="T45" fmla="*/ 82 h 525"/>
                  <a:gd name="T46" fmla="*/ 454 w 506"/>
                  <a:gd name="T47" fmla="*/ 127 h 525"/>
                  <a:gd name="T48" fmla="*/ 49 w 506"/>
                  <a:gd name="T49" fmla="*/ 112 h 525"/>
                  <a:gd name="T50" fmla="*/ 78 w 506"/>
                  <a:gd name="T51" fmla="*/ 127 h 525"/>
                  <a:gd name="T52" fmla="*/ 81 w 506"/>
                  <a:gd name="T53" fmla="*/ 161 h 525"/>
                  <a:gd name="T54" fmla="*/ 426 w 506"/>
                  <a:gd name="T55" fmla="*/ 145 h 525"/>
                  <a:gd name="T56" fmla="*/ 454 w 506"/>
                  <a:gd name="T57" fmla="*/ 127 h 525"/>
                  <a:gd name="T58" fmla="*/ 450 w 506"/>
                  <a:gd name="T59" fmla="*/ 178 h 525"/>
                  <a:gd name="T60" fmla="*/ 65 w 506"/>
                  <a:gd name="T61" fmla="*/ 335 h 525"/>
                  <a:gd name="T62" fmla="*/ 421 w 506"/>
                  <a:gd name="T63" fmla="*/ 349 h 525"/>
                  <a:gd name="T64" fmla="*/ 398 w 506"/>
                  <a:gd name="T65" fmla="*/ 490 h 525"/>
                  <a:gd name="T66" fmla="*/ 356 w 506"/>
                  <a:gd name="T67" fmla="*/ 371 h 525"/>
                  <a:gd name="T68" fmla="*/ 389 w 506"/>
                  <a:gd name="T69" fmla="*/ 496 h 525"/>
                  <a:gd name="T70" fmla="*/ 150 w 506"/>
                  <a:gd name="T71" fmla="*/ 496 h 525"/>
                  <a:gd name="T72" fmla="*/ 108 w 506"/>
                  <a:gd name="T73" fmla="*/ 371 h 525"/>
                  <a:gd name="T74" fmla="*/ 117 w 506"/>
                  <a:gd name="T75" fmla="*/ 496 h 525"/>
                  <a:gd name="T76" fmla="*/ 71 w 506"/>
                  <a:gd name="T77" fmla="*/ 82 h 525"/>
                  <a:gd name="T78" fmla="*/ 51 w 506"/>
                  <a:gd name="T79" fmla="*/ 24 h 525"/>
                  <a:gd name="T80" fmla="*/ 45 w 506"/>
                  <a:gd name="T81" fmla="*/ 82 h 5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506" h="525">
                    <a:moveTo>
                      <a:pt x="506" y="21"/>
                    </a:moveTo>
                    <a:cubicBezTo>
                      <a:pt x="488" y="144"/>
                      <a:pt x="488" y="144"/>
                      <a:pt x="488" y="144"/>
                    </a:cubicBezTo>
                    <a:cubicBezTo>
                      <a:pt x="450" y="144"/>
                      <a:pt x="450" y="144"/>
                      <a:pt x="450" y="144"/>
                    </a:cubicBezTo>
                    <a:cubicBezTo>
                      <a:pt x="449" y="161"/>
                      <a:pt x="449" y="161"/>
                      <a:pt x="449" y="161"/>
                    </a:cubicBezTo>
                    <a:cubicBezTo>
                      <a:pt x="488" y="161"/>
                      <a:pt x="488" y="161"/>
                      <a:pt x="488" y="161"/>
                    </a:cubicBezTo>
                    <a:cubicBezTo>
                      <a:pt x="473" y="361"/>
                      <a:pt x="473" y="361"/>
                      <a:pt x="473" y="361"/>
                    </a:cubicBezTo>
                    <a:cubicBezTo>
                      <a:pt x="473" y="372"/>
                      <a:pt x="462" y="382"/>
                      <a:pt x="450" y="382"/>
                    </a:cubicBezTo>
                    <a:cubicBezTo>
                      <a:pt x="434" y="382"/>
                      <a:pt x="434" y="382"/>
                      <a:pt x="434" y="382"/>
                    </a:cubicBezTo>
                    <a:cubicBezTo>
                      <a:pt x="434" y="392"/>
                      <a:pt x="434" y="392"/>
                      <a:pt x="434" y="392"/>
                    </a:cubicBezTo>
                    <a:cubicBezTo>
                      <a:pt x="463" y="392"/>
                      <a:pt x="463" y="392"/>
                      <a:pt x="463" y="392"/>
                    </a:cubicBezTo>
                    <a:cubicBezTo>
                      <a:pt x="463" y="439"/>
                      <a:pt x="463" y="439"/>
                      <a:pt x="463" y="439"/>
                    </a:cubicBezTo>
                    <a:cubicBezTo>
                      <a:pt x="463" y="448"/>
                      <a:pt x="450" y="455"/>
                      <a:pt x="434" y="455"/>
                    </a:cubicBezTo>
                    <a:cubicBezTo>
                      <a:pt x="434" y="510"/>
                      <a:pt x="434" y="510"/>
                      <a:pt x="434" y="510"/>
                    </a:cubicBezTo>
                    <a:cubicBezTo>
                      <a:pt x="434" y="518"/>
                      <a:pt x="427" y="525"/>
                      <a:pt x="418" y="525"/>
                    </a:cubicBezTo>
                    <a:cubicBezTo>
                      <a:pt x="328" y="525"/>
                      <a:pt x="328" y="525"/>
                      <a:pt x="328" y="525"/>
                    </a:cubicBezTo>
                    <a:cubicBezTo>
                      <a:pt x="328" y="392"/>
                      <a:pt x="328" y="392"/>
                      <a:pt x="328" y="392"/>
                    </a:cubicBezTo>
                    <a:cubicBezTo>
                      <a:pt x="328" y="383"/>
                      <a:pt x="318" y="376"/>
                      <a:pt x="307" y="376"/>
                    </a:cubicBezTo>
                    <a:cubicBezTo>
                      <a:pt x="200" y="376"/>
                      <a:pt x="200" y="376"/>
                      <a:pt x="200" y="376"/>
                    </a:cubicBezTo>
                    <a:cubicBezTo>
                      <a:pt x="188" y="376"/>
                      <a:pt x="179" y="383"/>
                      <a:pt x="179" y="392"/>
                    </a:cubicBezTo>
                    <a:cubicBezTo>
                      <a:pt x="179" y="525"/>
                      <a:pt x="179" y="525"/>
                      <a:pt x="179" y="525"/>
                    </a:cubicBezTo>
                    <a:cubicBezTo>
                      <a:pt x="89" y="525"/>
                      <a:pt x="89" y="525"/>
                      <a:pt x="89" y="525"/>
                    </a:cubicBezTo>
                    <a:cubicBezTo>
                      <a:pt x="80" y="525"/>
                      <a:pt x="72" y="518"/>
                      <a:pt x="72" y="510"/>
                    </a:cubicBezTo>
                    <a:cubicBezTo>
                      <a:pt x="72" y="455"/>
                      <a:pt x="72" y="455"/>
                      <a:pt x="72" y="455"/>
                    </a:cubicBezTo>
                    <a:cubicBezTo>
                      <a:pt x="56" y="455"/>
                      <a:pt x="44" y="448"/>
                      <a:pt x="44" y="439"/>
                    </a:cubicBezTo>
                    <a:cubicBezTo>
                      <a:pt x="44" y="392"/>
                      <a:pt x="44" y="392"/>
                      <a:pt x="44" y="392"/>
                    </a:cubicBezTo>
                    <a:cubicBezTo>
                      <a:pt x="72" y="392"/>
                      <a:pt x="72" y="392"/>
                      <a:pt x="72" y="392"/>
                    </a:cubicBezTo>
                    <a:cubicBezTo>
                      <a:pt x="72" y="382"/>
                      <a:pt x="72" y="382"/>
                      <a:pt x="72" y="382"/>
                    </a:cubicBezTo>
                    <a:cubicBezTo>
                      <a:pt x="57" y="382"/>
                      <a:pt x="57" y="382"/>
                      <a:pt x="57" y="382"/>
                    </a:cubicBezTo>
                    <a:cubicBezTo>
                      <a:pt x="44" y="382"/>
                      <a:pt x="34" y="372"/>
                      <a:pt x="34" y="361"/>
                    </a:cubicBezTo>
                    <a:cubicBezTo>
                      <a:pt x="18" y="161"/>
                      <a:pt x="18" y="161"/>
                      <a:pt x="18" y="161"/>
                    </a:cubicBezTo>
                    <a:cubicBezTo>
                      <a:pt x="58" y="161"/>
                      <a:pt x="58" y="161"/>
                      <a:pt x="58" y="161"/>
                    </a:cubicBezTo>
                    <a:cubicBezTo>
                      <a:pt x="56" y="144"/>
                      <a:pt x="56" y="144"/>
                      <a:pt x="56" y="144"/>
                    </a:cubicBezTo>
                    <a:cubicBezTo>
                      <a:pt x="18" y="144"/>
                      <a:pt x="18" y="144"/>
                      <a:pt x="18" y="144"/>
                    </a:cubicBezTo>
                    <a:cubicBezTo>
                      <a:pt x="0" y="21"/>
                      <a:pt x="0" y="21"/>
                      <a:pt x="0" y="21"/>
                    </a:cubicBezTo>
                    <a:cubicBezTo>
                      <a:pt x="2" y="7"/>
                      <a:pt x="31" y="0"/>
                      <a:pt x="49" y="0"/>
                    </a:cubicBezTo>
                    <a:cubicBezTo>
                      <a:pt x="73" y="0"/>
                      <a:pt x="80" y="3"/>
                      <a:pt x="92" y="21"/>
                    </a:cubicBezTo>
                    <a:cubicBezTo>
                      <a:pt x="103" y="82"/>
                      <a:pt x="103" y="82"/>
                      <a:pt x="103" y="82"/>
                    </a:cubicBezTo>
                    <a:cubicBezTo>
                      <a:pt x="403" y="82"/>
                      <a:pt x="403" y="82"/>
                      <a:pt x="403" y="82"/>
                    </a:cubicBezTo>
                    <a:cubicBezTo>
                      <a:pt x="415" y="21"/>
                      <a:pt x="415" y="21"/>
                      <a:pt x="415" y="21"/>
                    </a:cubicBezTo>
                    <a:cubicBezTo>
                      <a:pt x="426" y="3"/>
                      <a:pt x="433" y="0"/>
                      <a:pt x="457" y="0"/>
                    </a:cubicBezTo>
                    <a:cubicBezTo>
                      <a:pt x="475" y="0"/>
                      <a:pt x="504" y="7"/>
                      <a:pt x="506" y="21"/>
                    </a:cubicBezTo>
                    <a:close/>
                    <a:moveTo>
                      <a:pt x="461" y="82"/>
                    </a:moveTo>
                    <a:cubicBezTo>
                      <a:pt x="469" y="32"/>
                      <a:pt x="469" y="32"/>
                      <a:pt x="469" y="32"/>
                    </a:cubicBezTo>
                    <a:cubicBezTo>
                      <a:pt x="469" y="24"/>
                      <a:pt x="463" y="24"/>
                      <a:pt x="455" y="24"/>
                    </a:cubicBezTo>
                    <a:cubicBezTo>
                      <a:pt x="450" y="24"/>
                      <a:pt x="447" y="26"/>
                      <a:pt x="445" y="32"/>
                    </a:cubicBezTo>
                    <a:cubicBezTo>
                      <a:pt x="435" y="82"/>
                      <a:pt x="435" y="82"/>
                      <a:pt x="435" y="82"/>
                    </a:cubicBezTo>
                    <a:lnTo>
                      <a:pt x="461" y="82"/>
                    </a:lnTo>
                    <a:close/>
                    <a:moveTo>
                      <a:pt x="454" y="127"/>
                    </a:moveTo>
                    <a:cubicBezTo>
                      <a:pt x="457" y="112"/>
                      <a:pt x="457" y="112"/>
                      <a:pt x="457" y="112"/>
                    </a:cubicBezTo>
                    <a:cubicBezTo>
                      <a:pt x="49" y="112"/>
                      <a:pt x="49" y="112"/>
                      <a:pt x="49" y="112"/>
                    </a:cubicBezTo>
                    <a:cubicBezTo>
                      <a:pt x="52" y="127"/>
                      <a:pt x="52" y="127"/>
                      <a:pt x="52" y="127"/>
                    </a:cubicBezTo>
                    <a:cubicBezTo>
                      <a:pt x="78" y="127"/>
                      <a:pt x="78" y="127"/>
                      <a:pt x="78" y="127"/>
                    </a:cubicBezTo>
                    <a:cubicBezTo>
                      <a:pt x="80" y="145"/>
                      <a:pt x="80" y="145"/>
                      <a:pt x="80" y="145"/>
                    </a:cubicBezTo>
                    <a:cubicBezTo>
                      <a:pt x="81" y="161"/>
                      <a:pt x="81" y="161"/>
                      <a:pt x="81" y="161"/>
                    </a:cubicBezTo>
                    <a:cubicBezTo>
                      <a:pt x="425" y="161"/>
                      <a:pt x="425" y="161"/>
                      <a:pt x="425" y="161"/>
                    </a:cubicBezTo>
                    <a:cubicBezTo>
                      <a:pt x="426" y="145"/>
                      <a:pt x="426" y="145"/>
                      <a:pt x="426" y="145"/>
                    </a:cubicBezTo>
                    <a:cubicBezTo>
                      <a:pt x="428" y="127"/>
                      <a:pt x="428" y="127"/>
                      <a:pt x="428" y="127"/>
                    </a:cubicBezTo>
                    <a:lnTo>
                      <a:pt x="454" y="127"/>
                    </a:lnTo>
                    <a:close/>
                    <a:moveTo>
                      <a:pt x="441" y="335"/>
                    </a:moveTo>
                    <a:cubicBezTo>
                      <a:pt x="450" y="178"/>
                      <a:pt x="450" y="178"/>
                      <a:pt x="450" y="178"/>
                    </a:cubicBezTo>
                    <a:cubicBezTo>
                      <a:pt x="56" y="178"/>
                      <a:pt x="56" y="178"/>
                      <a:pt x="56" y="178"/>
                    </a:cubicBezTo>
                    <a:cubicBezTo>
                      <a:pt x="65" y="335"/>
                      <a:pt x="65" y="335"/>
                      <a:pt x="65" y="335"/>
                    </a:cubicBezTo>
                    <a:cubicBezTo>
                      <a:pt x="65" y="343"/>
                      <a:pt x="74" y="349"/>
                      <a:pt x="85" y="349"/>
                    </a:cubicBezTo>
                    <a:cubicBezTo>
                      <a:pt x="421" y="349"/>
                      <a:pt x="421" y="349"/>
                      <a:pt x="421" y="349"/>
                    </a:cubicBezTo>
                    <a:cubicBezTo>
                      <a:pt x="432" y="349"/>
                      <a:pt x="441" y="343"/>
                      <a:pt x="441" y="335"/>
                    </a:cubicBezTo>
                    <a:close/>
                    <a:moveTo>
                      <a:pt x="398" y="490"/>
                    </a:moveTo>
                    <a:cubicBezTo>
                      <a:pt x="398" y="371"/>
                      <a:pt x="398" y="371"/>
                      <a:pt x="398" y="371"/>
                    </a:cubicBezTo>
                    <a:cubicBezTo>
                      <a:pt x="356" y="371"/>
                      <a:pt x="356" y="371"/>
                      <a:pt x="356" y="371"/>
                    </a:cubicBezTo>
                    <a:cubicBezTo>
                      <a:pt x="356" y="496"/>
                      <a:pt x="356" y="496"/>
                      <a:pt x="356" y="496"/>
                    </a:cubicBezTo>
                    <a:cubicBezTo>
                      <a:pt x="389" y="496"/>
                      <a:pt x="389" y="496"/>
                      <a:pt x="389" y="496"/>
                    </a:cubicBezTo>
                    <a:cubicBezTo>
                      <a:pt x="394" y="496"/>
                      <a:pt x="398" y="496"/>
                      <a:pt x="398" y="490"/>
                    </a:cubicBezTo>
                    <a:close/>
                    <a:moveTo>
                      <a:pt x="150" y="496"/>
                    </a:moveTo>
                    <a:cubicBezTo>
                      <a:pt x="150" y="371"/>
                      <a:pt x="150" y="371"/>
                      <a:pt x="150" y="371"/>
                    </a:cubicBezTo>
                    <a:cubicBezTo>
                      <a:pt x="108" y="371"/>
                      <a:pt x="108" y="371"/>
                      <a:pt x="108" y="371"/>
                    </a:cubicBezTo>
                    <a:cubicBezTo>
                      <a:pt x="108" y="490"/>
                      <a:pt x="108" y="490"/>
                      <a:pt x="108" y="490"/>
                    </a:cubicBezTo>
                    <a:cubicBezTo>
                      <a:pt x="108" y="496"/>
                      <a:pt x="112" y="496"/>
                      <a:pt x="117" y="496"/>
                    </a:cubicBezTo>
                    <a:lnTo>
                      <a:pt x="150" y="496"/>
                    </a:lnTo>
                    <a:close/>
                    <a:moveTo>
                      <a:pt x="71" y="82"/>
                    </a:moveTo>
                    <a:cubicBezTo>
                      <a:pt x="61" y="32"/>
                      <a:pt x="61" y="32"/>
                      <a:pt x="61" y="32"/>
                    </a:cubicBezTo>
                    <a:cubicBezTo>
                      <a:pt x="60" y="26"/>
                      <a:pt x="57" y="24"/>
                      <a:pt x="51" y="24"/>
                    </a:cubicBezTo>
                    <a:cubicBezTo>
                      <a:pt x="43" y="24"/>
                      <a:pt x="37" y="24"/>
                      <a:pt x="37" y="32"/>
                    </a:cubicBezTo>
                    <a:cubicBezTo>
                      <a:pt x="45" y="82"/>
                      <a:pt x="45" y="82"/>
                      <a:pt x="45" y="82"/>
                    </a:cubicBezTo>
                    <a:lnTo>
                      <a:pt x="71" y="8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118" name="í$ḻíde"/>
              <p:cNvSpPr/>
              <p:nvPr/>
            </p:nvSpPr>
            <p:spPr bwMode="auto">
              <a:xfrm>
                <a:off x="2144609" y="5142503"/>
                <a:ext cx="604838" cy="31750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</p:grpSp>
        <p:grpSp>
          <p:nvGrpSpPr>
            <p:cNvPr id="8" name="组合 7"/>
            <p:cNvGrpSpPr/>
            <p:nvPr userDrawn="1"/>
          </p:nvGrpSpPr>
          <p:grpSpPr>
            <a:xfrm>
              <a:off x="10250573" y="283036"/>
              <a:ext cx="1640266" cy="338554"/>
              <a:chOff x="5180266" y="4756740"/>
              <a:chExt cx="5753100" cy="1187451"/>
            </a:xfrm>
            <a:solidFill>
              <a:srgbClr val="CA351C"/>
            </a:solidFill>
          </p:grpSpPr>
          <p:sp>
            <p:nvSpPr>
              <p:cNvPr id="9" name="ïṩļîḑê"/>
              <p:cNvSpPr/>
              <p:nvPr/>
            </p:nvSpPr>
            <p:spPr bwMode="auto">
              <a:xfrm>
                <a:off x="10319003" y="4805953"/>
                <a:ext cx="600075" cy="771525"/>
              </a:xfrm>
              <a:custGeom>
                <a:avLst/>
                <a:gdLst>
                  <a:gd name="T0" fmla="*/ 210 w 325"/>
                  <a:gd name="T1" fmla="*/ 140 h 418"/>
                  <a:gd name="T2" fmla="*/ 237 w 325"/>
                  <a:gd name="T3" fmla="*/ 155 h 418"/>
                  <a:gd name="T4" fmla="*/ 161 w 325"/>
                  <a:gd name="T5" fmla="*/ 179 h 418"/>
                  <a:gd name="T6" fmla="*/ 187 w 325"/>
                  <a:gd name="T7" fmla="*/ 68 h 418"/>
                  <a:gd name="T8" fmla="*/ 230 w 325"/>
                  <a:gd name="T9" fmla="*/ 40 h 418"/>
                  <a:gd name="T10" fmla="*/ 199 w 325"/>
                  <a:gd name="T11" fmla="*/ 85 h 418"/>
                  <a:gd name="T12" fmla="*/ 99 w 325"/>
                  <a:gd name="T13" fmla="*/ 132 h 418"/>
                  <a:gd name="T14" fmla="*/ 132 w 325"/>
                  <a:gd name="T15" fmla="*/ 83 h 418"/>
                  <a:gd name="T16" fmla="*/ 174 w 325"/>
                  <a:gd name="T17" fmla="*/ 116 h 418"/>
                  <a:gd name="T18" fmla="*/ 59 w 325"/>
                  <a:gd name="T19" fmla="*/ 198 h 418"/>
                  <a:gd name="T20" fmla="*/ 16 w 325"/>
                  <a:gd name="T21" fmla="*/ 224 h 418"/>
                  <a:gd name="T22" fmla="*/ 17 w 325"/>
                  <a:gd name="T23" fmla="*/ 314 h 418"/>
                  <a:gd name="T24" fmla="*/ 55 w 325"/>
                  <a:gd name="T25" fmla="*/ 244 h 418"/>
                  <a:gd name="T26" fmla="*/ 131 w 325"/>
                  <a:gd name="T27" fmla="*/ 194 h 418"/>
                  <a:gd name="T28" fmla="*/ 111 w 325"/>
                  <a:gd name="T29" fmla="*/ 251 h 418"/>
                  <a:gd name="T30" fmla="*/ 148 w 325"/>
                  <a:gd name="T31" fmla="*/ 246 h 418"/>
                  <a:gd name="T32" fmla="*/ 184 w 325"/>
                  <a:gd name="T33" fmla="*/ 243 h 418"/>
                  <a:gd name="T34" fmla="*/ 131 w 325"/>
                  <a:gd name="T35" fmla="*/ 281 h 418"/>
                  <a:gd name="T36" fmla="*/ 76 w 325"/>
                  <a:gd name="T37" fmla="*/ 299 h 418"/>
                  <a:gd name="T38" fmla="*/ 134 w 325"/>
                  <a:gd name="T39" fmla="*/ 334 h 418"/>
                  <a:gd name="T40" fmla="*/ 203 w 325"/>
                  <a:gd name="T41" fmla="*/ 298 h 418"/>
                  <a:gd name="T42" fmla="*/ 206 w 325"/>
                  <a:gd name="T43" fmla="*/ 350 h 418"/>
                  <a:gd name="T44" fmla="*/ 165 w 325"/>
                  <a:gd name="T45" fmla="*/ 378 h 418"/>
                  <a:gd name="T46" fmla="*/ 144 w 325"/>
                  <a:gd name="T47" fmla="*/ 410 h 418"/>
                  <a:gd name="T48" fmla="*/ 228 w 325"/>
                  <a:gd name="T49" fmla="*/ 408 h 418"/>
                  <a:gd name="T50" fmla="*/ 239 w 325"/>
                  <a:gd name="T51" fmla="*/ 307 h 418"/>
                  <a:gd name="T52" fmla="*/ 273 w 325"/>
                  <a:gd name="T53" fmla="*/ 283 h 418"/>
                  <a:gd name="T54" fmla="*/ 271 w 325"/>
                  <a:gd name="T55" fmla="*/ 239 h 418"/>
                  <a:gd name="T56" fmla="*/ 233 w 325"/>
                  <a:gd name="T57" fmla="*/ 226 h 418"/>
                  <a:gd name="T58" fmla="*/ 261 w 325"/>
                  <a:gd name="T59" fmla="*/ 181 h 418"/>
                  <a:gd name="T60" fmla="*/ 316 w 325"/>
                  <a:gd name="T61" fmla="*/ 167 h 418"/>
                  <a:gd name="T62" fmla="*/ 297 w 325"/>
                  <a:gd name="T63" fmla="*/ 119 h 418"/>
                  <a:gd name="T64" fmla="*/ 251 w 325"/>
                  <a:gd name="T65" fmla="*/ 93 h 418"/>
                  <a:gd name="T66" fmla="*/ 276 w 325"/>
                  <a:gd name="T67" fmla="*/ 34 h 418"/>
                  <a:gd name="T68" fmla="*/ 217 w 325"/>
                  <a:gd name="T69" fmla="*/ 11 h 418"/>
                  <a:gd name="T70" fmla="*/ 164 w 325"/>
                  <a:gd name="T71" fmla="*/ 29 h 418"/>
                  <a:gd name="T72" fmla="*/ 136 w 325"/>
                  <a:gd name="T73" fmla="*/ 43 h 418"/>
                  <a:gd name="T74" fmla="*/ 113 w 325"/>
                  <a:gd name="T75" fmla="*/ 21 h 418"/>
                  <a:gd name="T76" fmla="*/ 78 w 325"/>
                  <a:gd name="T77" fmla="*/ 52 h 4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325" h="418">
                    <a:moveTo>
                      <a:pt x="161" y="179"/>
                    </a:moveTo>
                    <a:cubicBezTo>
                      <a:pt x="160" y="178"/>
                      <a:pt x="188" y="143"/>
                      <a:pt x="210" y="140"/>
                    </a:cubicBezTo>
                    <a:cubicBezTo>
                      <a:pt x="232" y="137"/>
                      <a:pt x="226" y="133"/>
                      <a:pt x="238" y="138"/>
                    </a:cubicBezTo>
                    <a:cubicBezTo>
                      <a:pt x="250" y="144"/>
                      <a:pt x="252" y="148"/>
                      <a:pt x="237" y="155"/>
                    </a:cubicBezTo>
                    <a:cubicBezTo>
                      <a:pt x="222" y="162"/>
                      <a:pt x="215" y="168"/>
                      <a:pt x="196" y="171"/>
                    </a:cubicBezTo>
                    <a:cubicBezTo>
                      <a:pt x="177" y="175"/>
                      <a:pt x="163" y="181"/>
                      <a:pt x="161" y="179"/>
                    </a:cubicBezTo>
                    <a:close/>
                    <a:moveTo>
                      <a:pt x="199" y="85"/>
                    </a:moveTo>
                    <a:cubicBezTo>
                      <a:pt x="197" y="87"/>
                      <a:pt x="186" y="79"/>
                      <a:pt x="187" y="68"/>
                    </a:cubicBezTo>
                    <a:cubicBezTo>
                      <a:pt x="188" y="57"/>
                      <a:pt x="197" y="38"/>
                      <a:pt x="211" y="34"/>
                    </a:cubicBezTo>
                    <a:cubicBezTo>
                      <a:pt x="225" y="30"/>
                      <a:pt x="230" y="30"/>
                      <a:pt x="230" y="40"/>
                    </a:cubicBezTo>
                    <a:cubicBezTo>
                      <a:pt x="229" y="51"/>
                      <a:pt x="229" y="62"/>
                      <a:pt x="219" y="71"/>
                    </a:cubicBezTo>
                    <a:cubicBezTo>
                      <a:pt x="210" y="80"/>
                      <a:pt x="201" y="84"/>
                      <a:pt x="199" y="85"/>
                    </a:cubicBezTo>
                    <a:close/>
                    <a:moveTo>
                      <a:pt x="79" y="112"/>
                    </a:moveTo>
                    <a:cubicBezTo>
                      <a:pt x="79" y="113"/>
                      <a:pt x="87" y="125"/>
                      <a:pt x="99" y="132"/>
                    </a:cubicBezTo>
                    <a:cubicBezTo>
                      <a:pt x="112" y="138"/>
                      <a:pt x="119" y="135"/>
                      <a:pt x="129" y="127"/>
                    </a:cubicBezTo>
                    <a:cubicBezTo>
                      <a:pt x="139" y="118"/>
                      <a:pt x="130" y="95"/>
                      <a:pt x="132" y="83"/>
                    </a:cubicBezTo>
                    <a:cubicBezTo>
                      <a:pt x="135" y="70"/>
                      <a:pt x="136" y="73"/>
                      <a:pt x="146" y="75"/>
                    </a:cubicBezTo>
                    <a:cubicBezTo>
                      <a:pt x="156" y="76"/>
                      <a:pt x="173" y="108"/>
                      <a:pt x="174" y="116"/>
                    </a:cubicBezTo>
                    <a:cubicBezTo>
                      <a:pt x="174" y="123"/>
                      <a:pt x="170" y="123"/>
                      <a:pt x="128" y="142"/>
                    </a:cubicBezTo>
                    <a:cubicBezTo>
                      <a:pt x="86" y="161"/>
                      <a:pt x="67" y="195"/>
                      <a:pt x="59" y="198"/>
                    </a:cubicBezTo>
                    <a:cubicBezTo>
                      <a:pt x="52" y="202"/>
                      <a:pt x="55" y="191"/>
                      <a:pt x="40" y="188"/>
                    </a:cubicBezTo>
                    <a:cubicBezTo>
                      <a:pt x="26" y="186"/>
                      <a:pt x="23" y="211"/>
                      <a:pt x="16" y="224"/>
                    </a:cubicBezTo>
                    <a:cubicBezTo>
                      <a:pt x="8" y="238"/>
                      <a:pt x="5" y="266"/>
                      <a:pt x="5" y="277"/>
                    </a:cubicBezTo>
                    <a:cubicBezTo>
                      <a:pt x="5" y="288"/>
                      <a:pt x="0" y="301"/>
                      <a:pt x="17" y="314"/>
                    </a:cubicBezTo>
                    <a:cubicBezTo>
                      <a:pt x="33" y="326"/>
                      <a:pt x="49" y="311"/>
                      <a:pt x="53" y="304"/>
                    </a:cubicBezTo>
                    <a:cubicBezTo>
                      <a:pt x="57" y="298"/>
                      <a:pt x="53" y="269"/>
                      <a:pt x="55" y="244"/>
                    </a:cubicBezTo>
                    <a:cubicBezTo>
                      <a:pt x="57" y="220"/>
                      <a:pt x="89" y="204"/>
                      <a:pt x="100" y="197"/>
                    </a:cubicBezTo>
                    <a:cubicBezTo>
                      <a:pt x="115" y="189"/>
                      <a:pt x="129" y="190"/>
                      <a:pt x="131" y="194"/>
                    </a:cubicBezTo>
                    <a:cubicBezTo>
                      <a:pt x="134" y="197"/>
                      <a:pt x="119" y="214"/>
                      <a:pt x="112" y="219"/>
                    </a:cubicBezTo>
                    <a:cubicBezTo>
                      <a:pt x="105" y="224"/>
                      <a:pt x="110" y="244"/>
                      <a:pt x="111" y="251"/>
                    </a:cubicBezTo>
                    <a:cubicBezTo>
                      <a:pt x="113" y="257"/>
                      <a:pt x="111" y="260"/>
                      <a:pt x="125" y="265"/>
                    </a:cubicBezTo>
                    <a:cubicBezTo>
                      <a:pt x="142" y="271"/>
                      <a:pt x="139" y="257"/>
                      <a:pt x="148" y="246"/>
                    </a:cubicBezTo>
                    <a:cubicBezTo>
                      <a:pt x="157" y="236"/>
                      <a:pt x="163" y="224"/>
                      <a:pt x="170" y="224"/>
                    </a:cubicBezTo>
                    <a:cubicBezTo>
                      <a:pt x="177" y="224"/>
                      <a:pt x="180" y="238"/>
                      <a:pt x="184" y="243"/>
                    </a:cubicBezTo>
                    <a:cubicBezTo>
                      <a:pt x="187" y="248"/>
                      <a:pt x="189" y="257"/>
                      <a:pt x="177" y="263"/>
                    </a:cubicBezTo>
                    <a:cubicBezTo>
                      <a:pt x="165" y="269"/>
                      <a:pt x="131" y="281"/>
                      <a:pt x="131" y="281"/>
                    </a:cubicBezTo>
                    <a:cubicBezTo>
                      <a:pt x="131" y="281"/>
                      <a:pt x="112" y="284"/>
                      <a:pt x="101" y="287"/>
                    </a:cubicBezTo>
                    <a:cubicBezTo>
                      <a:pt x="90" y="289"/>
                      <a:pt x="78" y="285"/>
                      <a:pt x="76" y="299"/>
                    </a:cubicBezTo>
                    <a:cubicBezTo>
                      <a:pt x="73" y="312"/>
                      <a:pt x="78" y="305"/>
                      <a:pt x="86" y="319"/>
                    </a:cubicBezTo>
                    <a:cubicBezTo>
                      <a:pt x="94" y="333"/>
                      <a:pt x="119" y="337"/>
                      <a:pt x="134" y="334"/>
                    </a:cubicBezTo>
                    <a:cubicBezTo>
                      <a:pt x="149" y="332"/>
                      <a:pt x="157" y="324"/>
                      <a:pt x="168" y="316"/>
                    </a:cubicBezTo>
                    <a:cubicBezTo>
                      <a:pt x="178" y="308"/>
                      <a:pt x="194" y="298"/>
                      <a:pt x="203" y="298"/>
                    </a:cubicBezTo>
                    <a:cubicBezTo>
                      <a:pt x="211" y="299"/>
                      <a:pt x="211" y="311"/>
                      <a:pt x="211" y="325"/>
                    </a:cubicBezTo>
                    <a:cubicBezTo>
                      <a:pt x="211" y="339"/>
                      <a:pt x="210" y="337"/>
                      <a:pt x="206" y="350"/>
                    </a:cubicBezTo>
                    <a:cubicBezTo>
                      <a:pt x="202" y="364"/>
                      <a:pt x="199" y="368"/>
                      <a:pt x="194" y="372"/>
                    </a:cubicBezTo>
                    <a:cubicBezTo>
                      <a:pt x="189" y="377"/>
                      <a:pt x="184" y="376"/>
                      <a:pt x="165" y="378"/>
                    </a:cubicBezTo>
                    <a:cubicBezTo>
                      <a:pt x="145" y="380"/>
                      <a:pt x="131" y="393"/>
                      <a:pt x="129" y="400"/>
                    </a:cubicBezTo>
                    <a:cubicBezTo>
                      <a:pt x="128" y="407"/>
                      <a:pt x="135" y="405"/>
                      <a:pt x="144" y="410"/>
                    </a:cubicBezTo>
                    <a:cubicBezTo>
                      <a:pt x="152" y="414"/>
                      <a:pt x="163" y="416"/>
                      <a:pt x="185" y="417"/>
                    </a:cubicBezTo>
                    <a:cubicBezTo>
                      <a:pt x="208" y="418"/>
                      <a:pt x="219" y="417"/>
                      <a:pt x="228" y="408"/>
                    </a:cubicBezTo>
                    <a:cubicBezTo>
                      <a:pt x="238" y="400"/>
                      <a:pt x="240" y="373"/>
                      <a:pt x="241" y="354"/>
                    </a:cubicBezTo>
                    <a:cubicBezTo>
                      <a:pt x="243" y="335"/>
                      <a:pt x="239" y="315"/>
                      <a:pt x="239" y="307"/>
                    </a:cubicBezTo>
                    <a:cubicBezTo>
                      <a:pt x="239" y="299"/>
                      <a:pt x="239" y="297"/>
                      <a:pt x="244" y="288"/>
                    </a:cubicBezTo>
                    <a:cubicBezTo>
                      <a:pt x="249" y="280"/>
                      <a:pt x="257" y="284"/>
                      <a:pt x="273" y="283"/>
                    </a:cubicBezTo>
                    <a:cubicBezTo>
                      <a:pt x="288" y="281"/>
                      <a:pt x="286" y="270"/>
                      <a:pt x="287" y="261"/>
                    </a:cubicBezTo>
                    <a:cubicBezTo>
                      <a:pt x="288" y="251"/>
                      <a:pt x="281" y="247"/>
                      <a:pt x="271" y="239"/>
                    </a:cubicBezTo>
                    <a:cubicBezTo>
                      <a:pt x="260" y="231"/>
                      <a:pt x="250" y="236"/>
                      <a:pt x="240" y="236"/>
                    </a:cubicBezTo>
                    <a:cubicBezTo>
                      <a:pt x="230" y="236"/>
                      <a:pt x="233" y="234"/>
                      <a:pt x="233" y="226"/>
                    </a:cubicBezTo>
                    <a:cubicBezTo>
                      <a:pt x="233" y="219"/>
                      <a:pt x="238" y="215"/>
                      <a:pt x="239" y="207"/>
                    </a:cubicBezTo>
                    <a:cubicBezTo>
                      <a:pt x="241" y="200"/>
                      <a:pt x="251" y="192"/>
                      <a:pt x="261" y="181"/>
                    </a:cubicBezTo>
                    <a:cubicBezTo>
                      <a:pt x="270" y="170"/>
                      <a:pt x="276" y="175"/>
                      <a:pt x="289" y="176"/>
                    </a:cubicBezTo>
                    <a:cubicBezTo>
                      <a:pt x="302" y="176"/>
                      <a:pt x="307" y="176"/>
                      <a:pt x="316" y="167"/>
                    </a:cubicBezTo>
                    <a:cubicBezTo>
                      <a:pt x="325" y="157"/>
                      <a:pt x="318" y="138"/>
                      <a:pt x="316" y="132"/>
                    </a:cubicBezTo>
                    <a:cubicBezTo>
                      <a:pt x="315" y="125"/>
                      <a:pt x="309" y="129"/>
                      <a:pt x="297" y="119"/>
                    </a:cubicBezTo>
                    <a:cubicBezTo>
                      <a:pt x="285" y="108"/>
                      <a:pt x="274" y="111"/>
                      <a:pt x="261" y="111"/>
                    </a:cubicBezTo>
                    <a:cubicBezTo>
                      <a:pt x="248" y="111"/>
                      <a:pt x="244" y="100"/>
                      <a:pt x="251" y="93"/>
                    </a:cubicBezTo>
                    <a:cubicBezTo>
                      <a:pt x="259" y="87"/>
                      <a:pt x="265" y="77"/>
                      <a:pt x="272" y="66"/>
                    </a:cubicBezTo>
                    <a:cubicBezTo>
                      <a:pt x="278" y="55"/>
                      <a:pt x="276" y="45"/>
                      <a:pt x="276" y="34"/>
                    </a:cubicBezTo>
                    <a:cubicBezTo>
                      <a:pt x="275" y="24"/>
                      <a:pt x="264" y="20"/>
                      <a:pt x="252" y="10"/>
                    </a:cubicBezTo>
                    <a:cubicBezTo>
                      <a:pt x="240" y="0"/>
                      <a:pt x="225" y="8"/>
                      <a:pt x="217" y="11"/>
                    </a:cubicBezTo>
                    <a:cubicBezTo>
                      <a:pt x="208" y="14"/>
                      <a:pt x="196" y="20"/>
                      <a:pt x="187" y="25"/>
                    </a:cubicBezTo>
                    <a:cubicBezTo>
                      <a:pt x="178" y="30"/>
                      <a:pt x="172" y="30"/>
                      <a:pt x="164" y="29"/>
                    </a:cubicBezTo>
                    <a:cubicBezTo>
                      <a:pt x="157" y="29"/>
                      <a:pt x="150" y="29"/>
                      <a:pt x="147" y="29"/>
                    </a:cubicBezTo>
                    <a:cubicBezTo>
                      <a:pt x="144" y="29"/>
                      <a:pt x="141" y="35"/>
                      <a:pt x="136" y="43"/>
                    </a:cubicBezTo>
                    <a:cubicBezTo>
                      <a:pt x="131" y="51"/>
                      <a:pt x="126" y="47"/>
                      <a:pt x="124" y="43"/>
                    </a:cubicBezTo>
                    <a:cubicBezTo>
                      <a:pt x="121" y="38"/>
                      <a:pt x="116" y="28"/>
                      <a:pt x="113" y="21"/>
                    </a:cubicBezTo>
                    <a:cubicBezTo>
                      <a:pt x="110" y="15"/>
                      <a:pt x="97" y="18"/>
                      <a:pt x="91" y="21"/>
                    </a:cubicBezTo>
                    <a:cubicBezTo>
                      <a:pt x="84" y="25"/>
                      <a:pt x="80" y="41"/>
                      <a:pt x="78" y="52"/>
                    </a:cubicBezTo>
                    <a:cubicBezTo>
                      <a:pt x="75" y="63"/>
                      <a:pt x="78" y="111"/>
                      <a:pt x="79" y="1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10" name="îşḷïḍe"/>
              <p:cNvSpPr/>
              <p:nvPr/>
            </p:nvSpPr>
            <p:spPr bwMode="auto">
              <a:xfrm>
                <a:off x="9461753" y="4939303"/>
                <a:ext cx="388938" cy="534988"/>
              </a:xfrm>
              <a:custGeom>
                <a:avLst/>
                <a:gdLst>
                  <a:gd name="T0" fmla="*/ 4 w 211"/>
                  <a:gd name="T1" fmla="*/ 137 h 290"/>
                  <a:gd name="T2" fmla="*/ 41 w 211"/>
                  <a:gd name="T3" fmla="*/ 117 h 290"/>
                  <a:gd name="T4" fmla="*/ 75 w 211"/>
                  <a:gd name="T5" fmla="*/ 83 h 290"/>
                  <a:gd name="T6" fmla="*/ 82 w 211"/>
                  <a:gd name="T7" fmla="*/ 29 h 290"/>
                  <a:gd name="T8" fmla="*/ 94 w 211"/>
                  <a:gd name="T9" fmla="*/ 6 h 290"/>
                  <a:gd name="T10" fmla="*/ 126 w 211"/>
                  <a:gd name="T11" fmla="*/ 27 h 290"/>
                  <a:gd name="T12" fmla="*/ 145 w 211"/>
                  <a:gd name="T13" fmla="*/ 65 h 290"/>
                  <a:gd name="T14" fmla="*/ 170 w 211"/>
                  <a:gd name="T15" fmla="*/ 93 h 290"/>
                  <a:gd name="T16" fmla="*/ 164 w 211"/>
                  <a:gd name="T17" fmla="*/ 119 h 290"/>
                  <a:gd name="T18" fmla="*/ 127 w 211"/>
                  <a:gd name="T19" fmla="*/ 151 h 290"/>
                  <a:gd name="T20" fmla="*/ 123 w 211"/>
                  <a:gd name="T21" fmla="*/ 165 h 290"/>
                  <a:gd name="T22" fmla="*/ 181 w 211"/>
                  <a:gd name="T23" fmla="*/ 187 h 290"/>
                  <a:gd name="T24" fmla="*/ 210 w 211"/>
                  <a:gd name="T25" fmla="*/ 231 h 290"/>
                  <a:gd name="T26" fmla="*/ 202 w 211"/>
                  <a:gd name="T27" fmla="*/ 281 h 290"/>
                  <a:gd name="T28" fmla="*/ 185 w 211"/>
                  <a:gd name="T29" fmla="*/ 289 h 290"/>
                  <a:gd name="T30" fmla="*/ 162 w 211"/>
                  <a:gd name="T31" fmla="*/ 267 h 290"/>
                  <a:gd name="T32" fmla="*/ 158 w 211"/>
                  <a:gd name="T33" fmla="*/ 217 h 290"/>
                  <a:gd name="T34" fmla="*/ 134 w 211"/>
                  <a:gd name="T35" fmla="*/ 188 h 290"/>
                  <a:gd name="T36" fmla="*/ 117 w 211"/>
                  <a:gd name="T37" fmla="*/ 183 h 290"/>
                  <a:gd name="T38" fmla="*/ 105 w 211"/>
                  <a:gd name="T39" fmla="*/ 191 h 290"/>
                  <a:gd name="T40" fmla="*/ 95 w 211"/>
                  <a:gd name="T41" fmla="*/ 225 h 290"/>
                  <a:gd name="T42" fmla="*/ 92 w 211"/>
                  <a:gd name="T43" fmla="*/ 251 h 290"/>
                  <a:gd name="T44" fmla="*/ 58 w 211"/>
                  <a:gd name="T45" fmla="*/ 261 h 290"/>
                  <a:gd name="T46" fmla="*/ 37 w 211"/>
                  <a:gd name="T47" fmla="*/ 235 h 290"/>
                  <a:gd name="T48" fmla="*/ 39 w 211"/>
                  <a:gd name="T49" fmla="*/ 205 h 290"/>
                  <a:gd name="T50" fmla="*/ 45 w 211"/>
                  <a:gd name="T51" fmla="*/ 177 h 290"/>
                  <a:gd name="T52" fmla="*/ 18 w 211"/>
                  <a:gd name="T53" fmla="*/ 155 h 290"/>
                  <a:gd name="T54" fmla="*/ 0 w 211"/>
                  <a:gd name="T55" fmla="*/ 147 h 290"/>
                  <a:gd name="T56" fmla="*/ 4 w 211"/>
                  <a:gd name="T57" fmla="*/ 137 h 2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211" h="290">
                    <a:moveTo>
                      <a:pt x="4" y="137"/>
                    </a:moveTo>
                    <a:cubicBezTo>
                      <a:pt x="4" y="137"/>
                      <a:pt x="32" y="120"/>
                      <a:pt x="41" y="117"/>
                    </a:cubicBezTo>
                    <a:cubicBezTo>
                      <a:pt x="50" y="115"/>
                      <a:pt x="69" y="103"/>
                      <a:pt x="75" y="83"/>
                    </a:cubicBezTo>
                    <a:cubicBezTo>
                      <a:pt x="81" y="63"/>
                      <a:pt x="82" y="39"/>
                      <a:pt x="82" y="29"/>
                    </a:cubicBezTo>
                    <a:cubicBezTo>
                      <a:pt x="82" y="19"/>
                      <a:pt x="76" y="0"/>
                      <a:pt x="94" y="6"/>
                    </a:cubicBezTo>
                    <a:cubicBezTo>
                      <a:pt x="112" y="12"/>
                      <a:pt x="124" y="15"/>
                      <a:pt x="126" y="27"/>
                    </a:cubicBezTo>
                    <a:cubicBezTo>
                      <a:pt x="129" y="39"/>
                      <a:pt x="131" y="55"/>
                      <a:pt x="145" y="65"/>
                    </a:cubicBezTo>
                    <a:cubicBezTo>
                      <a:pt x="159" y="75"/>
                      <a:pt x="168" y="83"/>
                      <a:pt x="170" y="93"/>
                    </a:cubicBezTo>
                    <a:cubicBezTo>
                      <a:pt x="172" y="103"/>
                      <a:pt x="172" y="114"/>
                      <a:pt x="164" y="119"/>
                    </a:cubicBezTo>
                    <a:cubicBezTo>
                      <a:pt x="157" y="123"/>
                      <a:pt x="132" y="147"/>
                      <a:pt x="127" y="151"/>
                    </a:cubicBezTo>
                    <a:cubicBezTo>
                      <a:pt x="121" y="154"/>
                      <a:pt x="119" y="165"/>
                      <a:pt x="123" y="165"/>
                    </a:cubicBezTo>
                    <a:cubicBezTo>
                      <a:pt x="127" y="165"/>
                      <a:pt x="163" y="172"/>
                      <a:pt x="181" y="187"/>
                    </a:cubicBezTo>
                    <a:cubicBezTo>
                      <a:pt x="198" y="202"/>
                      <a:pt x="209" y="216"/>
                      <a:pt x="210" y="231"/>
                    </a:cubicBezTo>
                    <a:cubicBezTo>
                      <a:pt x="211" y="247"/>
                      <a:pt x="210" y="273"/>
                      <a:pt x="202" y="281"/>
                    </a:cubicBezTo>
                    <a:cubicBezTo>
                      <a:pt x="194" y="288"/>
                      <a:pt x="192" y="290"/>
                      <a:pt x="185" y="289"/>
                    </a:cubicBezTo>
                    <a:cubicBezTo>
                      <a:pt x="178" y="288"/>
                      <a:pt x="164" y="279"/>
                      <a:pt x="162" y="267"/>
                    </a:cubicBezTo>
                    <a:cubicBezTo>
                      <a:pt x="160" y="255"/>
                      <a:pt x="164" y="239"/>
                      <a:pt x="158" y="217"/>
                    </a:cubicBezTo>
                    <a:cubicBezTo>
                      <a:pt x="153" y="196"/>
                      <a:pt x="139" y="191"/>
                      <a:pt x="134" y="188"/>
                    </a:cubicBezTo>
                    <a:cubicBezTo>
                      <a:pt x="129" y="186"/>
                      <a:pt x="117" y="183"/>
                      <a:pt x="117" y="183"/>
                    </a:cubicBezTo>
                    <a:cubicBezTo>
                      <a:pt x="117" y="183"/>
                      <a:pt x="108" y="182"/>
                      <a:pt x="105" y="191"/>
                    </a:cubicBezTo>
                    <a:cubicBezTo>
                      <a:pt x="102" y="199"/>
                      <a:pt x="96" y="215"/>
                      <a:pt x="95" y="225"/>
                    </a:cubicBezTo>
                    <a:cubicBezTo>
                      <a:pt x="94" y="235"/>
                      <a:pt x="96" y="247"/>
                      <a:pt x="92" y="251"/>
                    </a:cubicBezTo>
                    <a:cubicBezTo>
                      <a:pt x="87" y="256"/>
                      <a:pt x="77" y="267"/>
                      <a:pt x="58" y="261"/>
                    </a:cubicBezTo>
                    <a:cubicBezTo>
                      <a:pt x="39" y="255"/>
                      <a:pt x="41" y="238"/>
                      <a:pt x="37" y="235"/>
                    </a:cubicBezTo>
                    <a:cubicBezTo>
                      <a:pt x="33" y="231"/>
                      <a:pt x="39" y="211"/>
                      <a:pt x="39" y="205"/>
                    </a:cubicBezTo>
                    <a:cubicBezTo>
                      <a:pt x="39" y="200"/>
                      <a:pt x="47" y="182"/>
                      <a:pt x="45" y="177"/>
                    </a:cubicBezTo>
                    <a:cubicBezTo>
                      <a:pt x="44" y="173"/>
                      <a:pt x="25" y="153"/>
                      <a:pt x="18" y="155"/>
                    </a:cubicBezTo>
                    <a:cubicBezTo>
                      <a:pt x="11" y="157"/>
                      <a:pt x="1" y="155"/>
                      <a:pt x="0" y="147"/>
                    </a:cubicBezTo>
                    <a:cubicBezTo>
                      <a:pt x="0" y="140"/>
                      <a:pt x="4" y="137"/>
                      <a:pt x="4" y="13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 dirty="0"/>
              </a:p>
            </p:txBody>
          </p:sp>
          <p:sp>
            <p:nvSpPr>
              <p:cNvPr id="11" name="îṧļíďe"/>
              <p:cNvSpPr/>
              <p:nvPr/>
            </p:nvSpPr>
            <p:spPr bwMode="auto">
              <a:xfrm>
                <a:off x="8326691" y="4823415"/>
                <a:ext cx="746125" cy="695325"/>
              </a:xfrm>
              <a:custGeom>
                <a:avLst/>
                <a:gdLst>
                  <a:gd name="T0" fmla="*/ 159 w 405"/>
                  <a:gd name="T1" fmla="*/ 229 h 377"/>
                  <a:gd name="T2" fmla="*/ 218 w 405"/>
                  <a:gd name="T3" fmla="*/ 183 h 377"/>
                  <a:gd name="T4" fmla="*/ 234 w 405"/>
                  <a:gd name="T5" fmla="*/ 247 h 377"/>
                  <a:gd name="T6" fmla="*/ 260 w 405"/>
                  <a:gd name="T7" fmla="*/ 269 h 377"/>
                  <a:gd name="T8" fmla="*/ 209 w 405"/>
                  <a:gd name="T9" fmla="*/ 247 h 377"/>
                  <a:gd name="T10" fmla="*/ 108 w 405"/>
                  <a:gd name="T11" fmla="*/ 215 h 377"/>
                  <a:gd name="T12" fmla="*/ 73 w 405"/>
                  <a:gd name="T13" fmla="*/ 283 h 377"/>
                  <a:gd name="T14" fmla="*/ 43 w 405"/>
                  <a:gd name="T15" fmla="*/ 350 h 377"/>
                  <a:gd name="T16" fmla="*/ 91 w 405"/>
                  <a:gd name="T17" fmla="*/ 347 h 377"/>
                  <a:gd name="T18" fmla="*/ 118 w 405"/>
                  <a:gd name="T19" fmla="*/ 372 h 377"/>
                  <a:gd name="T20" fmla="*/ 136 w 405"/>
                  <a:gd name="T21" fmla="*/ 328 h 377"/>
                  <a:gd name="T22" fmla="*/ 147 w 405"/>
                  <a:gd name="T23" fmla="*/ 265 h 377"/>
                  <a:gd name="T24" fmla="*/ 242 w 405"/>
                  <a:gd name="T25" fmla="*/ 306 h 377"/>
                  <a:gd name="T26" fmla="*/ 186 w 405"/>
                  <a:gd name="T27" fmla="*/ 337 h 377"/>
                  <a:gd name="T28" fmla="*/ 172 w 405"/>
                  <a:gd name="T29" fmla="*/ 367 h 377"/>
                  <a:gd name="T30" fmla="*/ 272 w 405"/>
                  <a:gd name="T31" fmla="*/ 328 h 377"/>
                  <a:gd name="T32" fmla="*/ 352 w 405"/>
                  <a:gd name="T33" fmla="*/ 373 h 377"/>
                  <a:gd name="T34" fmla="*/ 389 w 405"/>
                  <a:gd name="T35" fmla="*/ 333 h 377"/>
                  <a:gd name="T36" fmla="*/ 292 w 405"/>
                  <a:gd name="T37" fmla="*/ 299 h 377"/>
                  <a:gd name="T38" fmla="*/ 291 w 405"/>
                  <a:gd name="T39" fmla="*/ 217 h 377"/>
                  <a:gd name="T40" fmla="*/ 261 w 405"/>
                  <a:gd name="T41" fmla="*/ 173 h 377"/>
                  <a:gd name="T42" fmla="*/ 297 w 405"/>
                  <a:gd name="T43" fmla="*/ 107 h 377"/>
                  <a:gd name="T44" fmla="*/ 283 w 405"/>
                  <a:gd name="T45" fmla="*/ 43 h 377"/>
                  <a:gd name="T46" fmla="*/ 241 w 405"/>
                  <a:gd name="T47" fmla="*/ 1 h 377"/>
                  <a:gd name="T48" fmla="*/ 241 w 405"/>
                  <a:gd name="T49" fmla="*/ 35 h 377"/>
                  <a:gd name="T50" fmla="*/ 245 w 405"/>
                  <a:gd name="T51" fmla="*/ 97 h 377"/>
                  <a:gd name="T52" fmla="*/ 194 w 405"/>
                  <a:gd name="T53" fmla="*/ 129 h 377"/>
                  <a:gd name="T54" fmla="*/ 161 w 405"/>
                  <a:gd name="T55" fmla="*/ 121 h 377"/>
                  <a:gd name="T56" fmla="*/ 150 w 405"/>
                  <a:gd name="T57" fmla="*/ 33 h 377"/>
                  <a:gd name="T58" fmla="*/ 122 w 405"/>
                  <a:gd name="T59" fmla="*/ 56 h 377"/>
                  <a:gd name="T60" fmla="*/ 121 w 405"/>
                  <a:gd name="T61" fmla="*/ 133 h 377"/>
                  <a:gd name="T62" fmla="*/ 30 w 405"/>
                  <a:gd name="T63" fmla="*/ 180 h 377"/>
                  <a:gd name="T64" fmla="*/ 22 w 405"/>
                  <a:gd name="T65" fmla="*/ 219 h 3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405" h="377">
                    <a:moveTo>
                      <a:pt x="174" y="243"/>
                    </a:moveTo>
                    <a:cubicBezTo>
                      <a:pt x="172" y="243"/>
                      <a:pt x="154" y="236"/>
                      <a:pt x="159" y="229"/>
                    </a:cubicBezTo>
                    <a:cubicBezTo>
                      <a:pt x="163" y="221"/>
                      <a:pt x="190" y="187"/>
                      <a:pt x="199" y="183"/>
                    </a:cubicBezTo>
                    <a:cubicBezTo>
                      <a:pt x="208" y="178"/>
                      <a:pt x="215" y="172"/>
                      <a:pt x="218" y="183"/>
                    </a:cubicBezTo>
                    <a:cubicBezTo>
                      <a:pt x="221" y="193"/>
                      <a:pt x="215" y="230"/>
                      <a:pt x="220" y="236"/>
                    </a:cubicBezTo>
                    <a:cubicBezTo>
                      <a:pt x="225" y="241"/>
                      <a:pt x="227" y="248"/>
                      <a:pt x="234" y="247"/>
                    </a:cubicBezTo>
                    <a:cubicBezTo>
                      <a:pt x="241" y="246"/>
                      <a:pt x="256" y="238"/>
                      <a:pt x="260" y="245"/>
                    </a:cubicBezTo>
                    <a:cubicBezTo>
                      <a:pt x="263" y="252"/>
                      <a:pt x="268" y="259"/>
                      <a:pt x="260" y="269"/>
                    </a:cubicBezTo>
                    <a:cubicBezTo>
                      <a:pt x="253" y="278"/>
                      <a:pt x="247" y="281"/>
                      <a:pt x="239" y="274"/>
                    </a:cubicBezTo>
                    <a:cubicBezTo>
                      <a:pt x="230" y="267"/>
                      <a:pt x="221" y="250"/>
                      <a:pt x="209" y="247"/>
                    </a:cubicBezTo>
                    <a:cubicBezTo>
                      <a:pt x="198" y="245"/>
                      <a:pt x="176" y="243"/>
                      <a:pt x="174" y="243"/>
                    </a:cubicBezTo>
                    <a:close/>
                    <a:moveTo>
                      <a:pt x="108" y="215"/>
                    </a:moveTo>
                    <a:cubicBezTo>
                      <a:pt x="109" y="216"/>
                      <a:pt x="102" y="238"/>
                      <a:pt x="93" y="254"/>
                    </a:cubicBezTo>
                    <a:cubicBezTo>
                      <a:pt x="84" y="271"/>
                      <a:pt x="81" y="271"/>
                      <a:pt x="73" y="283"/>
                    </a:cubicBezTo>
                    <a:cubicBezTo>
                      <a:pt x="65" y="295"/>
                      <a:pt x="45" y="309"/>
                      <a:pt x="44" y="316"/>
                    </a:cubicBezTo>
                    <a:cubicBezTo>
                      <a:pt x="43" y="323"/>
                      <a:pt x="41" y="343"/>
                      <a:pt x="43" y="350"/>
                    </a:cubicBezTo>
                    <a:cubicBezTo>
                      <a:pt x="44" y="357"/>
                      <a:pt x="61" y="358"/>
                      <a:pt x="69" y="357"/>
                    </a:cubicBezTo>
                    <a:cubicBezTo>
                      <a:pt x="77" y="355"/>
                      <a:pt x="84" y="347"/>
                      <a:pt x="91" y="347"/>
                    </a:cubicBezTo>
                    <a:cubicBezTo>
                      <a:pt x="98" y="347"/>
                      <a:pt x="96" y="355"/>
                      <a:pt x="97" y="361"/>
                    </a:cubicBezTo>
                    <a:cubicBezTo>
                      <a:pt x="97" y="366"/>
                      <a:pt x="101" y="368"/>
                      <a:pt x="118" y="372"/>
                    </a:cubicBezTo>
                    <a:cubicBezTo>
                      <a:pt x="136" y="377"/>
                      <a:pt x="140" y="364"/>
                      <a:pt x="144" y="352"/>
                    </a:cubicBezTo>
                    <a:cubicBezTo>
                      <a:pt x="148" y="339"/>
                      <a:pt x="140" y="339"/>
                      <a:pt x="136" y="328"/>
                    </a:cubicBezTo>
                    <a:cubicBezTo>
                      <a:pt x="133" y="316"/>
                      <a:pt x="136" y="302"/>
                      <a:pt x="136" y="292"/>
                    </a:cubicBezTo>
                    <a:cubicBezTo>
                      <a:pt x="135" y="281"/>
                      <a:pt x="141" y="272"/>
                      <a:pt x="147" y="265"/>
                    </a:cubicBezTo>
                    <a:cubicBezTo>
                      <a:pt x="153" y="258"/>
                      <a:pt x="160" y="248"/>
                      <a:pt x="186" y="258"/>
                    </a:cubicBezTo>
                    <a:cubicBezTo>
                      <a:pt x="212" y="267"/>
                      <a:pt x="239" y="298"/>
                      <a:pt x="242" y="306"/>
                    </a:cubicBezTo>
                    <a:cubicBezTo>
                      <a:pt x="245" y="313"/>
                      <a:pt x="232" y="318"/>
                      <a:pt x="227" y="325"/>
                    </a:cubicBezTo>
                    <a:cubicBezTo>
                      <a:pt x="222" y="332"/>
                      <a:pt x="196" y="338"/>
                      <a:pt x="186" y="337"/>
                    </a:cubicBezTo>
                    <a:cubicBezTo>
                      <a:pt x="175" y="336"/>
                      <a:pt x="172" y="344"/>
                      <a:pt x="167" y="348"/>
                    </a:cubicBezTo>
                    <a:cubicBezTo>
                      <a:pt x="162" y="351"/>
                      <a:pt x="167" y="361"/>
                      <a:pt x="172" y="367"/>
                    </a:cubicBezTo>
                    <a:cubicBezTo>
                      <a:pt x="177" y="373"/>
                      <a:pt x="211" y="373"/>
                      <a:pt x="224" y="364"/>
                    </a:cubicBezTo>
                    <a:cubicBezTo>
                      <a:pt x="237" y="354"/>
                      <a:pt x="272" y="328"/>
                      <a:pt x="272" y="328"/>
                    </a:cubicBezTo>
                    <a:cubicBezTo>
                      <a:pt x="272" y="328"/>
                      <a:pt x="285" y="340"/>
                      <a:pt x="293" y="348"/>
                    </a:cubicBezTo>
                    <a:cubicBezTo>
                      <a:pt x="301" y="357"/>
                      <a:pt x="319" y="369"/>
                      <a:pt x="352" y="373"/>
                    </a:cubicBezTo>
                    <a:cubicBezTo>
                      <a:pt x="385" y="377"/>
                      <a:pt x="398" y="356"/>
                      <a:pt x="401" y="352"/>
                    </a:cubicBezTo>
                    <a:cubicBezTo>
                      <a:pt x="405" y="348"/>
                      <a:pt x="399" y="342"/>
                      <a:pt x="389" y="333"/>
                    </a:cubicBezTo>
                    <a:cubicBezTo>
                      <a:pt x="379" y="323"/>
                      <a:pt x="353" y="312"/>
                      <a:pt x="337" y="313"/>
                    </a:cubicBezTo>
                    <a:cubicBezTo>
                      <a:pt x="321" y="315"/>
                      <a:pt x="303" y="305"/>
                      <a:pt x="292" y="299"/>
                    </a:cubicBezTo>
                    <a:cubicBezTo>
                      <a:pt x="282" y="293"/>
                      <a:pt x="287" y="293"/>
                      <a:pt x="291" y="277"/>
                    </a:cubicBezTo>
                    <a:cubicBezTo>
                      <a:pt x="295" y="261"/>
                      <a:pt x="294" y="231"/>
                      <a:pt x="291" y="217"/>
                    </a:cubicBezTo>
                    <a:cubicBezTo>
                      <a:pt x="287" y="204"/>
                      <a:pt x="269" y="200"/>
                      <a:pt x="264" y="192"/>
                    </a:cubicBezTo>
                    <a:cubicBezTo>
                      <a:pt x="258" y="184"/>
                      <a:pt x="251" y="180"/>
                      <a:pt x="261" y="173"/>
                    </a:cubicBezTo>
                    <a:cubicBezTo>
                      <a:pt x="272" y="166"/>
                      <a:pt x="282" y="146"/>
                      <a:pt x="290" y="135"/>
                    </a:cubicBezTo>
                    <a:cubicBezTo>
                      <a:pt x="298" y="123"/>
                      <a:pt x="305" y="117"/>
                      <a:pt x="297" y="107"/>
                    </a:cubicBezTo>
                    <a:cubicBezTo>
                      <a:pt x="289" y="97"/>
                      <a:pt x="283" y="94"/>
                      <a:pt x="281" y="86"/>
                    </a:cubicBezTo>
                    <a:cubicBezTo>
                      <a:pt x="280" y="79"/>
                      <a:pt x="283" y="57"/>
                      <a:pt x="283" y="43"/>
                    </a:cubicBezTo>
                    <a:cubicBezTo>
                      <a:pt x="283" y="29"/>
                      <a:pt x="285" y="30"/>
                      <a:pt x="272" y="15"/>
                    </a:cubicBezTo>
                    <a:cubicBezTo>
                      <a:pt x="260" y="0"/>
                      <a:pt x="248" y="2"/>
                      <a:pt x="241" y="1"/>
                    </a:cubicBezTo>
                    <a:cubicBezTo>
                      <a:pt x="235" y="0"/>
                      <a:pt x="231" y="21"/>
                      <a:pt x="233" y="26"/>
                    </a:cubicBezTo>
                    <a:cubicBezTo>
                      <a:pt x="235" y="31"/>
                      <a:pt x="239" y="31"/>
                      <a:pt x="241" y="35"/>
                    </a:cubicBezTo>
                    <a:cubicBezTo>
                      <a:pt x="242" y="39"/>
                      <a:pt x="239" y="36"/>
                      <a:pt x="243" y="53"/>
                    </a:cubicBezTo>
                    <a:cubicBezTo>
                      <a:pt x="247" y="70"/>
                      <a:pt x="245" y="91"/>
                      <a:pt x="245" y="97"/>
                    </a:cubicBezTo>
                    <a:cubicBezTo>
                      <a:pt x="245" y="103"/>
                      <a:pt x="240" y="107"/>
                      <a:pt x="234" y="114"/>
                    </a:cubicBezTo>
                    <a:cubicBezTo>
                      <a:pt x="228" y="121"/>
                      <a:pt x="206" y="123"/>
                      <a:pt x="194" y="129"/>
                    </a:cubicBezTo>
                    <a:cubicBezTo>
                      <a:pt x="181" y="135"/>
                      <a:pt x="179" y="146"/>
                      <a:pt x="170" y="149"/>
                    </a:cubicBezTo>
                    <a:cubicBezTo>
                      <a:pt x="161" y="151"/>
                      <a:pt x="157" y="138"/>
                      <a:pt x="161" y="121"/>
                    </a:cubicBezTo>
                    <a:cubicBezTo>
                      <a:pt x="164" y="109"/>
                      <a:pt x="168" y="79"/>
                      <a:pt x="168" y="64"/>
                    </a:cubicBezTo>
                    <a:cubicBezTo>
                      <a:pt x="167" y="54"/>
                      <a:pt x="158" y="40"/>
                      <a:pt x="150" y="33"/>
                    </a:cubicBezTo>
                    <a:cubicBezTo>
                      <a:pt x="142" y="25"/>
                      <a:pt x="136" y="30"/>
                      <a:pt x="131" y="32"/>
                    </a:cubicBezTo>
                    <a:cubicBezTo>
                      <a:pt x="126" y="35"/>
                      <a:pt x="120" y="43"/>
                      <a:pt x="122" y="56"/>
                    </a:cubicBezTo>
                    <a:cubicBezTo>
                      <a:pt x="124" y="70"/>
                      <a:pt x="127" y="72"/>
                      <a:pt x="127" y="82"/>
                    </a:cubicBezTo>
                    <a:cubicBezTo>
                      <a:pt x="128" y="92"/>
                      <a:pt x="124" y="113"/>
                      <a:pt x="121" y="133"/>
                    </a:cubicBezTo>
                    <a:cubicBezTo>
                      <a:pt x="117" y="152"/>
                      <a:pt x="104" y="151"/>
                      <a:pt x="90" y="158"/>
                    </a:cubicBezTo>
                    <a:cubicBezTo>
                      <a:pt x="76" y="165"/>
                      <a:pt x="48" y="175"/>
                      <a:pt x="30" y="180"/>
                    </a:cubicBezTo>
                    <a:cubicBezTo>
                      <a:pt x="13" y="184"/>
                      <a:pt x="0" y="191"/>
                      <a:pt x="0" y="200"/>
                    </a:cubicBezTo>
                    <a:cubicBezTo>
                      <a:pt x="0" y="209"/>
                      <a:pt x="9" y="210"/>
                      <a:pt x="22" y="219"/>
                    </a:cubicBezTo>
                    <a:cubicBezTo>
                      <a:pt x="35" y="228"/>
                      <a:pt x="107" y="215"/>
                      <a:pt x="108" y="21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12" name="íŝļïḓè"/>
              <p:cNvSpPr/>
              <p:nvPr/>
            </p:nvSpPr>
            <p:spPr bwMode="auto">
              <a:xfrm>
                <a:off x="6220078" y="4756740"/>
                <a:ext cx="627063" cy="793750"/>
              </a:xfrm>
              <a:custGeom>
                <a:avLst/>
                <a:gdLst>
                  <a:gd name="T0" fmla="*/ 194 w 340"/>
                  <a:gd name="T1" fmla="*/ 225 h 430"/>
                  <a:gd name="T2" fmla="*/ 189 w 340"/>
                  <a:gd name="T3" fmla="*/ 204 h 430"/>
                  <a:gd name="T4" fmla="*/ 222 w 340"/>
                  <a:gd name="T5" fmla="*/ 196 h 430"/>
                  <a:gd name="T6" fmla="*/ 234 w 340"/>
                  <a:gd name="T7" fmla="*/ 215 h 430"/>
                  <a:gd name="T8" fmla="*/ 217 w 340"/>
                  <a:gd name="T9" fmla="*/ 231 h 430"/>
                  <a:gd name="T10" fmla="*/ 194 w 340"/>
                  <a:gd name="T11" fmla="*/ 225 h 430"/>
                  <a:gd name="T12" fmla="*/ 33 w 340"/>
                  <a:gd name="T13" fmla="*/ 228 h 430"/>
                  <a:gd name="T14" fmla="*/ 67 w 340"/>
                  <a:gd name="T15" fmla="*/ 224 h 430"/>
                  <a:gd name="T16" fmla="*/ 105 w 340"/>
                  <a:gd name="T17" fmla="*/ 194 h 430"/>
                  <a:gd name="T18" fmla="*/ 164 w 340"/>
                  <a:gd name="T19" fmla="*/ 151 h 430"/>
                  <a:gd name="T20" fmla="*/ 170 w 340"/>
                  <a:gd name="T21" fmla="*/ 163 h 430"/>
                  <a:gd name="T22" fmla="*/ 144 w 340"/>
                  <a:gd name="T23" fmla="*/ 203 h 430"/>
                  <a:gd name="T24" fmla="*/ 142 w 340"/>
                  <a:gd name="T25" fmla="*/ 250 h 430"/>
                  <a:gd name="T26" fmla="*/ 166 w 340"/>
                  <a:gd name="T27" fmla="*/ 278 h 430"/>
                  <a:gd name="T28" fmla="*/ 170 w 340"/>
                  <a:gd name="T29" fmla="*/ 300 h 430"/>
                  <a:gd name="T30" fmla="*/ 132 w 340"/>
                  <a:gd name="T31" fmla="*/ 347 h 430"/>
                  <a:gd name="T32" fmla="*/ 133 w 340"/>
                  <a:gd name="T33" fmla="*/ 397 h 430"/>
                  <a:gd name="T34" fmla="*/ 181 w 340"/>
                  <a:gd name="T35" fmla="*/ 410 h 430"/>
                  <a:gd name="T36" fmla="*/ 184 w 340"/>
                  <a:gd name="T37" fmla="*/ 375 h 430"/>
                  <a:gd name="T38" fmla="*/ 198 w 340"/>
                  <a:gd name="T39" fmla="*/ 374 h 430"/>
                  <a:gd name="T40" fmla="*/ 215 w 340"/>
                  <a:gd name="T41" fmla="*/ 416 h 430"/>
                  <a:gd name="T42" fmla="*/ 240 w 340"/>
                  <a:gd name="T43" fmla="*/ 406 h 430"/>
                  <a:gd name="T44" fmla="*/ 230 w 340"/>
                  <a:gd name="T45" fmla="*/ 341 h 430"/>
                  <a:gd name="T46" fmla="*/ 250 w 340"/>
                  <a:gd name="T47" fmla="*/ 322 h 430"/>
                  <a:gd name="T48" fmla="*/ 268 w 340"/>
                  <a:gd name="T49" fmla="*/ 373 h 430"/>
                  <a:gd name="T50" fmla="*/ 316 w 340"/>
                  <a:gd name="T51" fmla="*/ 385 h 430"/>
                  <a:gd name="T52" fmla="*/ 295 w 340"/>
                  <a:gd name="T53" fmla="*/ 310 h 430"/>
                  <a:gd name="T54" fmla="*/ 263 w 340"/>
                  <a:gd name="T55" fmla="*/ 288 h 430"/>
                  <a:gd name="T56" fmla="*/ 264 w 340"/>
                  <a:gd name="T57" fmla="*/ 259 h 430"/>
                  <a:gd name="T58" fmla="*/ 265 w 340"/>
                  <a:gd name="T59" fmla="*/ 233 h 430"/>
                  <a:gd name="T60" fmla="*/ 300 w 340"/>
                  <a:gd name="T61" fmla="*/ 199 h 430"/>
                  <a:gd name="T62" fmla="*/ 275 w 340"/>
                  <a:gd name="T63" fmla="*/ 161 h 430"/>
                  <a:gd name="T64" fmla="*/ 217 w 340"/>
                  <a:gd name="T65" fmla="*/ 159 h 430"/>
                  <a:gd name="T66" fmla="*/ 270 w 340"/>
                  <a:gd name="T67" fmla="*/ 132 h 430"/>
                  <a:gd name="T68" fmla="*/ 316 w 340"/>
                  <a:gd name="T69" fmla="*/ 126 h 430"/>
                  <a:gd name="T70" fmla="*/ 332 w 340"/>
                  <a:gd name="T71" fmla="*/ 110 h 430"/>
                  <a:gd name="T72" fmla="*/ 321 w 340"/>
                  <a:gd name="T73" fmla="*/ 75 h 430"/>
                  <a:gd name="T74" fmla="*/ 256 w 340"/>
                  <a:gd name="T75" fmla="*/ 74 h 430"/>
                  <a:gd name="T76" fmla="*/ 240 w 340"/>
                  <a:gd name="T77" fmla="*/ 51 h 430"/>
                  <a:gd name="T78" fmla="*/ 212 w 340"/>
                  <a:gd name="T79" fmla="*/ 9 h 430"/>
                  <a:gd name="T80" fmla="*/ 190 w 340"/>
                  <a:gd name="T81" fmla="*/ 6 h 430"/>
                  <a:gd name="T82" fmla="*/ 174 w 340"/>
                  <a:gd name="T83" fmla="*/ 34 h 430"/>
                  <a:gd name="T84" fmla="*/ 183 w 340"/>
                  <a:gd name="T85" fmla="*/ 70 h 430"/>
                  <a:gd name="T86" fmla="*/ 172 w 340"/>
                  <a:gd name="T87" fmla="*/ 98 h 430"/>
                  <a:gd name="T88" fmla="*/ 65 w 340"/>
                  <a:gd name="T89" fmla="*/ 161 h 430"/>
                  <a:gd name="T90" fmla="*/ 21 w 340"/>
                  <a:gd name="T91" fmla="*/ 171 h 430"/>
                  <a:gd name="T92" fmla="*/ 10 w 340"/>
                  <a:gd name="T93" fmla="*/ 198 h 430"/>
                  <a:gd name="T94" fmla="*/ 33 w 340"/>
                  <a:gd name="T95" fmla="*/ 228 h 4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340" h="430">
                    <a:moveTo>
                      <a:pt x="194" y="225"/>
                    </a:moveTo>
                    <a:cubicBezTo>
                      <a:pt x="194" y="225"/>
                      <a:pt x="178" y="212"/>
                      <a:pt x="189" y="204"/>
                    </a:cubicBezTo>
                    <a:cubicBezTo>
                      <a:pt x="201" y="196"/>
                      <a:pt x="211" y="188"/>
                      <a:pt x="222" y="196"/>
                    </a:cubicBezTo>
                    <a:cubicBezTo>
                      <a:pt x="234" y="203"/>
                      <a:pt x="238" y="207"/>
                      <a:pt x="234" y="215"/>
                    </a:cubicBezTo>
                    <a:cubicBezTo>
                      <a:pt x="230" y="222"/>
                      <a:pt x="228" y="229"/>
                      <a:pt x="217" y="231"/>
                    </a:cubicBezTo>
                    <a:cubicBezTo>
                      <a:pt x="204" y="230"/>
                      <a:pt x="194" y="225"/>
                      <a:pt x="194" y="225"/>
                    </a:cubicBezTo>
                    <a:close/>
                    <a:moveTo>
                      <a:pt x="33" y="228"/>
                    </a:moveTo>
                    <a:cubicBezTo>
                      <a:pt x="40" y="229"/>
                      <a:pt x="52" y="231"/>
                      <a:pt x="67" y="224"/>
                    </a:cubicBezTo>
                    <a:cubicBezTo>
                      <a:pt x="82" y="216"/>
                      <a:pt x="91" y="208"/>
                      <a:pt x="105" y="194"/>
                    </a:cubicBezTo>
                    <a:cubicBezTo>
                      <a:pt x="119" y="180"/>
                      <a:pt x="153" y="155"/>
                      <a:pt x="164" y="151"/>
                    </a:cubicBezTo>
                    <a:cubicBezTo>
                      <a:pt x="176" y="146"/>
                      <a:pt x="176" y="155"/>
                      <a:pt x="170" y="163"/>
                    </a:cubicBezTo>
                    <a:cubicBezTo>
                      <a:pt x="164" y="171"/>
                      <a:pt x="150" y="188"/>
                      <a:pt x="144" y="203"/>
                    </a:cubicBezTo>
                    <a:cubicBezTo>
                      <a:pt x="139" y="218"/>
                      <a:pt x="134" y="224"/>
                      <a:pt x="142" y="250"/>
                    </a:cubicBezTo>
                    <a:cubicBezTo>
                      <a:pt x="149" y="275"/>
                      <a:pt x="160" y="275"/>
                      <a:pt x="166" y="278"/>
                    </a:cubicBezTo>
                    <a:cubicBezTo>
                      <a:pt x="172" y="281"/>
                      <a:pt x="176" y="301"/>
                      <a:pt x="170" y="300"/>
                    </a:cubicBezTo>
                    <a:cubicBezTo>
                      <a:pt x="164" y="299"/>
                      <a:pt x="136" y="327"/>
                      <a:pt x="132" y="347"/>
                    </a:cubicBezTo>
                    <a:cubicBezTo>
                      <a:pt x="127" y="366"/>
                      <a:pt x="123" y="375"/>
                      <a:pt x="133" y="397"/>
                    </a:cubicBezTo>
                    <a:cubicBezTo>
                      <a:pt x="144" y="419"/>
                      <a:pt x="174" y="413"/>
                      <a:pt x="181" y="410"/>
                    </a:cubicBezTo>
                    <a:cubicBezTo>
                      <a:pt x="189" y="407"/>
                      <a:pt x="185" y="395"/>
                      <a:pt x="184" y="375"/>
                    </a:cubicBezTo>
                    <a:cubicBezTo>
                      <a:pt x="182" y="355"/>
                      <a:pt x="192" y="364"/>
                      <a:pt x="198" y="374"/>
                    </a:cubicBezTo>
                    <a:cubicBezTo>
                      <a:pt x="204" y="384"/>
                      <a:pt x="203" y="402"/>
                      <a:pt x="215" y="416"/>
                    </a:cubicBezTo>
                    <a:cubicBezTo>
                      <a:pt x="226" y="430"/>
                      <a:pt x="235" y="419"/>
                      <a:pt x="240" y="406"/>
                    </a:cubicBezTo>
                    <a:cubicBezTo>
                      <a:pt x="245" y="393"/>
                      <a:pt x="232" y="357"/>
                      <a:pt x="230" y="341"/>
                    </a:cubicBezTo>
                    <a:cubicBezTo>
                      <a:pt x="229" y="326"/>
                      <a:pt x="238" y="322"/>
                      <a:pt x="250" y="322"/>
                    </a:cubicBezTo>
                    <a:cubicBezTo>
                      <a:pt x="262" y="322"/>
                      <a:pt x="248" y="347"/>
                      <a:pt x="268" y="373"/>
                    </a:cubicBezTo>
                    <a:cubicBezTo>
                      <a:pt x="287" y="399"/>
                      <a:pt x="292" y="396"/>
                      <a:pt x="316" y="385"/>
                    </a:cubicBezTo>
                    <a:cubicBezTo>
                      <a:pt x="340" y="375"/>
                      <a:pt x="311" y="327"/>
                      <a:pt x="295" y="310"/>
                    </a:cubicBezTo>
                    <a:cubicBezTo>
                      <a:pt x="279" y="294"/>
                      <a:pt x="263" y="294"/>
                      <a:pt x="263" y="288"/>
                    </a:cubicBezTo>
                    <a:cubicBezTo>
                      <a:pt x="263" y="282"/>
                      <a:pt x="266" y="267"/>
                      <a:pt x="264" y="259"/>
                    </a:cubicBezTo>
                    <a:cubicBezTo>
                      <a:pt x="262" y="251"/>
                      <a:pt x="258" y="239"/>
                      <a:pt x="265" y="233"/>
                    </a:cubicBezTo>
                    <a:cubicBezTo>
                      <a:pt x="273" y="226"/>
                      <a:pt x="301" y="222"/>
                      <a:pt x="300" y="199"/>
                    </a:cubicBezTo>
                    <a:cubicBezTo>
                      <a:pt x="299" y="177"/>
                      <a:pt x="294" y="175"/>
                      <a:pt x="275" y="161"/>
                    </a:cubicBezTo>
                    <a:cubicBezTo>
                      <a:pt x="257" y="148"/>
                      <a:pt x="216" y="168"/>
                      <a:pt x="217" y="159"/>
                    </a:cubicBezTo>
                    <a:cubicBezTo>
                      <a:pt x="218" y="150"/>
                      <a:pt x="250" y="138"/>
                      <a:pt x="270" y="132"/>
                    </a:cubicBezTo>
                    <a:cubicBezTo>
                      <a:pt x="290" y="125"/>
                      <a:pt x="306" y="126"/>
                      <a:pt x="316" y="126"/>
                    </a:cubicBezTo>
                    <a:cubicBezTo>
                      <a:pt x="326" y="126"/>
                      <a:pt x="326" y="118"/>
                      <a:pt x="332" y="110"/>
                    </a:cubicBezTo>
                    <a:cubicBezTo>
                      <a:pt x="337" y="102"/>
                      <a:pt x="334" y="88"/>
                      <a:pt x="321" y="75"/>
                    </a:cubicBezTo>
                    <a:cubicBezTo>
                      <a:pt x="308" y="61"/>
                      <a:pt x="263" y="74"/>
                      <a:pt x="256" y="74"/>
                    </a:cubicBezTo>
                    <a:cubicBezTo>
                      <a:pt x="250" y="74"/>
                      <a:pt x="250" y="63"/>
                      <a:pt x="240" y="51"/>
                    </a:cubicBezTo>
                    <a:cubicBezTo>
                      <a:pt x="229" y="38"/>
                      <a:pt x="220" y="18"/>
                      <a:pt x="212" y="9"/>
                    </a:cubicBezTo>
                    <a:cubicBezTo>
                      <a:pt x="205" y="0"/>
                      <a:pt x="203" y="8"/>
                      <a:pt x="190" y="6"/>
                    </a:cubicBezTo>
                    <a:cubicBezTo>
                      <a:pt x="176" y="3"/>
                      <a:pt x="165" y="15"/>
                      <a:pt x="174" y="34"/>
                    </a:cubicBezTo>
                    <a:cubicBezTo>
                      <a:pt x="183" y="53"/>
                      <a:pt x="183" y="56"/>
                      <a:pt x="183" y="70"/>
                    </a:cubicBezTo>
                    <a:cubicBezTo>
                      <a:pt x="183" y="84"/>
                      <a:pt x="197" y="88"/>
                      <a:pt x="172" y="98"/>
                    </a:cubicBezTo>
                    <a:cubicBezTo>
                      <a:pt x="147" y="108"/>
                      <a:pt x="75" y="152"/>
                      <a:pt x="65" y="161"/>
                    </a:cubicBezTo>
                    <a:cubicBezTo>
                      <a:pt x="55" y="170"/>
                      <a:pt x="26" y="169"/>
                      <a:pt x="21" y="171"/>
                    </a:cubicBezTo>
                    <a:cubicBezTo>
                      <a:pt x="15" y="173"/>
                      <a:pt x="0" y="170"/>
                      <a:pt x="10" y="198"/>
                    </a:cubicBezTo>
                    <a:cubicBezTo>
                      <a:pt x="24" y="238"/>
                      <a:pt x="26" y="227"/>
                      <a:pt x="33" y="22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13" name="ïs1îḋè"/>
              <p:cNvSpPr/>
              <p:nvPr/>
            </p:nvSpPr>
            <p:spPr bwMode="auto">
              <a:xfrm>
                <a:off x="7263066" y="4780553"/>
                <a:ext cx="674688" cy="863600"/>
              </a:xfrm>
              <a:custGeom>
                <a:avLst/>
                <a:gdLst>
                  <a:gd name="T0" fmla="*/ 258 w 366"/>
                  <a:gd name="T1" fmla="*/ 136 h 468"/>
                  <a:gd name="T2" fmla="*/ 270 w 366"/>
                  <a:gd name="T3" fmla="*/ 115 h 468"/>
                  <a:gd name="T4" fmla="*/ 287 w 366"/>
                  <a:gd name="T5" fmla="*/ 153 h 468"/>
                  <a:gd name="T6" fmla="*/ 200 w 366"/>
                  <a:gd name="T7" fmla="*/ 103 h 468"/>
                  <a:gd name="T8" fmla="*/ 227 w 366"/>
                  <a:gd name="T9" fmla="*/ 122 h 468"/>
                  <a:gd name="T10" fmla="*/ 225 w 366"/>
                  <a:gd name="T11" fmla="*/ 167 h 468"/>
                  <a:gd name="T12" fmla="*/ 215 w 366"/>
                  <a:gd name="T13" fmla="*/ 201 h 468"/>
                  <a:gd name="T14" fmla="*/ 197 w 366"/>
                  <a:gd name="T15" fmla="*/ 167 h 468"/>
                  <a:gd name="T16" fmla="*/ 204 w 366"/>
                  <a:gd name="T17" fmla="*/ 133 h 468"/>
                  <a:gd name="T18" fmla="*/ 200 w 366"/>
                  <a:gd name="T19" fmla="*/ 103 h 468"/>
                  <a:gd name="T20" fmla="*/ 271 w 366"/>
                  <a:gd name="T21" fmla="*/ 175 h 468"/>
                  <a:gd name="T22" fmla="*/ 286 w 366"/>
                  <a:gd name="T23" fmla="*/ 190 h 468"/>
                  <a:gd name="T24" fmla="*/ 146 w 366"/>
                  <a:gd name="T25" fmla="*/ 109 h 468"/>
                  <a:gd name="T26" fmla="*/ 87 w 366"/>
                  <a:gd name="T27" fmla="*/ 173 h 468"/>
                  <a:gd name="T28" fmla="*/ 7 w 366"/>
                  <a:gd name="T29" fmla="*/ 236 h 468"/>
                  <a:gd name="T30" fmla="*/ 111 w 366"/>
                  <a:gd name="T31" fmla="*/ 239 h 468"/>
                  <a:gd name="T32" fmla="*/ 108 w 366"/>
                  <a:gd name="T33" fmla="*/ 279 h 468"/>
                  <a:gd name="T34" fmla="*/ 110 w 366"/>
                  <a:gd name="T35" fmla="*/ 332 h 468"/>
                  <a:gd name="T36" fmla="*/ 139 w 366"/>
                  <a:gd name="T37" fmla="*/ 316 h 468"/>
                  <a:gd name="T38" fmla="*/ 159 w 366"/>
                  <a:gd name="T39" fmla="*/ 326 h 468"/>
                  <a:gd name="T40" fmla="*/ 189 w 366"/>
                  <a:gd name="T41" fmla="*/ 330 h 468"/>
                  <a:gd name="T42" fmla="*/ 217 w 366"/>
                  <a:gd name="T43" fmla="*/ 281 h 468"/>
                  <a:gd name="T44" fmla="*/ 284 w 366"/>
                  <a:gd name="T45" fmla="*/ 237 h 468"/>
                  <a:gd name="T46" fmla="*/ 287 w 366"/>
                  <a:gd name="T47" fmla="*/ 396 h 468"/>
                  <a:gd name="T48" fmla="*/ 284 w 366"/>
                  <a:gd name="T49" fmla="*/ 461 h 468"/>
                  <a:gd name="T50" fmla="*/ 319 w 366"/>
                  <a:gd name="T51" fmla="*/ 393 h 468"/>
                  <a:gd name="T52" fmla="*/ 327 w 366"/>
                  <a:gd name="T53" fmla="*/ 227 h 468"/>
                  <a:gd name="T54" fmla="*/ 363 w 366"/>
                  <a:gd name="T55" fmla="*/ 202 h 468"/>
                  <a:gd name="T56" fmla="*/ 324 w 366"/>
                  <a:gd name="T57" fmla="*/ 162 h 468"/>
                  <a:gd name="T58" fmla="*/ 330 w 366"/>
                  <a:gd name="T59" fmla="*/ 85 h 468"/>
                  <a:gd name="T60" fmla="*/ 324 w 366"/>
                  <a:gd name="T61" fmla="*/ 23 h 468"/>
                  <a:gd name="T62" fmla="*/ 275 w 366"/>
                  <a:gd name="T63" fmla="*/ 29 h 468"/>
                  <a:gd name="T64" fmla="*/ 286 w 366"/>
                  <a:gd name="T65" fmla="*/ 69 h 468"/>
                  <a:gd name="T66" fmla="*/ 253 w 366"/>
                  <a:gd name="T67" fmla="*/ 65 h 468"/>
                  <a:gd name="T68" fmla="*/ 212 w 366"/>
                  <a:gd name="T69" fmla="*/ 52 h 468"/>
                  <a:gd name="T70" fmla="*/ 115 w 366"/>
                  <a:gd name="T71" fmla="*/ 68 h 468"/>
                  <a:gd name="T72" fmla="*/ 30 w 366"/>
                  <a:gd name="T73" fmla="*/ 163 h 468"/>
                  <a:gd name="T74" fmla="*/ 96 w 366"/>
                  <a:gd name="T75" fmla="*/ 132 h 4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366" h="468">
                    <a:moveTo>
                      <a:pt x="270" y="152"/>
                    </a:moveTo>
                    <a:cubicBezTo>
                      <a:pt x="270" y="152"/>
                      <a:pt x="273" y="146"/>
                      <a:pt x="258" y="136"/>
                    </a:cubicBezTo>
                    <a:cubicBezTo>
                      <a:pt x="242" y="126"/>
                      <a:pt x="247" y="126"/>
                      <a:pt x="254" y="122"/>
                    </a:cubicBezTo>
                    <a:cubicBezTo>
                      <a:pt x="261" y="119"/>
                      <a:pt x="262" y="114"/>
                      <a:pt x="270" y="115"/>
                    </a:cubicBezTo>
                    <a:cubicBezTo>
                      <a:pt x="279" y="116"/>
                      <a:pt x="285" y="112"/>
                      <a:pt x="287" y="120"/>
                    </a:cubicBezTo>
                    <a:cubicBezTo>
                      <a:pt x="289" y="128"/>
                      <a:pt x="291" y="151"/>
                      <a:pt x="287" y="153"/>
                    </a:cubicBezTo>
                    <a:cubicBezTo>
                      <a:pt x="284" y="155"/>
                      <a:pt x="271" y="153"/>
                      <a:pt x="270" y="152"/>
                    </a:cubicBezTo>
                    <a:close/>
                    <a:moveTo>
                      <a:pt x="200" y="103"/>
                    </a:moveTo>
                    <a:cubicBezTo>
                      <a:pt x="200" y="99"/>
                      <a:pt x="207" y="96"/>
                      <a:pt x="216" y="102"/>
                    </a:cubicBezTo>
                    <a:cubicBezTo>
                      <a:pt x="225" y="108"/>
                      <a:pt x="228" y="113"/>
                      <a:pt x="227" y="122"/>
                    </a:cubicBezTo>
                    <a:cubicBezTo>
                      <a:pt x="225" y="131"/>
                      <a:pt x="222" y="135"/>
                      <a:pt x="223" y="145"/>
                    </a:cubicBezTo>
                    <a:cubicBezTo>
                      <a:pt x="223" y="156"/>
                      <a:pt x="217" y="162"/>
                      <a:pt x="225" y="167"/>
                    </a:cubicBezTo>
                    <a:cubicBezTo>
                      <a:pt x="232" y="173"/>
                      <a:pt x="235" y="171"/>
                      <a:pt x="233" y="185"/>
                    </a:cubicBezTo>
                    <a:cubicBezTo>
                      <a:pt x="231" y="202"/>
                      <a:pt x="214" y="210"/>
                      <a:pt x="215" y="201"/>
                    </a:cubicBezTo>
                    <a:cubicBezTo>
                      <a:pt x="215" y="192"/>
                      <a:pt x="220" y="185"/>
                      <a:pt x="213" y="176"/>
                    </a:cubicBezTo>
                    <a:cubicBezTo>
                      <a:pt x="205" y="167"/>
                      <a:pt x="204" y="178"/>
                      <a:pt x="197" y="167"/>
                    </a:cubicBezTo>
                    <a:cubicBezTo>
                      <a:pt x="191" y="155"/>
                      <a:pt x="195" y="154"/>
                      <a:pt x="199" y="152"/>
                    </a:cubicBezTo>
                    <a:cubicBezTo>
                      <a:pt x="204" y="149"/>
                      <a:pt x="209" y="147"/>
                      <a:pt x="204" y="133"/>
                    </a:cubicBezTo>
                    <a:cubicBezTo>
                      <a:pt x="199" y="119"/>
                      <a:pt x="198" y="127"/>
                      <a:pt x="197" y="119"/>
                    </a:cubicBezTo>
                    <a:cubicBezTo>
                      <a:pt x="196" y="112"/>
                      <a:pt x="200" y="107"/>
                      <a:pt x="200" y="103"/>
                    </a:cubicBezTo>
                    <a:close/>
                    <a:moveTo>
                      <a:pt x="246" y="206"/>
                    </a:moveTo>
                    <a:cubicBezTo>
                      <a:pt x="243" y="205"/>
                      <a:pt x="264" y="181"/>
                      <a:pt x="271" y="175"/>
                    </a:cubicBezTo>
                    <a:cubicBezTo>
                      <a:pt x="277" y="170"/>
                      <a:pt x="289" y="166"/>
                      <a:pt x="288" y="173"/>
                    </a:cubicBezTo>
                    <a:cubicBezTo>
                      <a:pt x="287" y="180"/>
                      <a:pt x="291" y="185"/>
                      <a:pt x="286" y="190"/>
                    </a:cubicBezTo>
                    <a:cubicBezTo>
                      <a:pt x="282" y="195"/>
                      <a:pt x="250" y="207"/>
                      <a:pt x="246" y="206"/>
                    </a:cubicBezTo>
                    <a:close/>
                    <a:moveTo>
                      <a:pt x="146" y="109"/>
                    </a:moveTo>
                    <a:cubicBezTo>
                      <a:pt x="146" y="114"/>
                      <a:pt x="141" y="124"/>
                      <a:pt x="134" y="134"/>
                    </a:cubicBezTo>
                    <a:cubicBezTo>
                      <a:pt x="127" y="144"/>
                      <a:pt x="103" y="162"/>
                      <a:pt x="87" y="173"/>
                    </a:cubicBezTo>
                    <a:cubicBezTo>
                      <a:pt x="70" y="183"/>
                      <a:pt x="23" y="206"/>
                      <a:pt x="16" y="212"/>
                    </a:cubicBezTo>
                    <a:cubicBezTo>
                      <a:pt x="10" y="218"/>
                      <a:pt x="0" y="213"/>
                      <a:pt x="7" y="236"/>
                    </a:cubicBezTo>
                    <a:cubicBezTo>
                      <a:pt x="13" y="258"/>
                      <a:pt x="24" y="253"/>
                      <a:pt x="55" y="252"/>
                    </a:cubicBezTo>
                    <a:cubicBezTo>
                      <a:pt x="85" y="250"/>
                      <a:pt x="106" y="237"/>
                      <a:pt x="111" y="239"/>
                    </a:cubicBezTo>
                    <a:cubicBezTo>
                      <a:pt x="116" y="242"/>
                      <a:pt x="119" y="251"/>
                      <a:pt x="119" y="259"/>
                    </a:cubicBezTo>
                    <a:cubicBezTo>
                      <a:pt x="120" y="266"/>
                      <a:pt x="116" y="270"/>
                      <a:pt x="108" y="279"/>
                    </a:cubicBezTo>
                    <a:cubicBezTo>
                      <a:pt x="100" y="288"/>
                      <a:pt x="100" y="303"/>
                      <a:pt x="100" y="311"/>
                    </a:cubicBezTo>
                    <a:cubicBezTo>
                      <a:pt x="101" y="318"/>
                      <a:pt x="104" y="325"/>
                      <a:pt x="110" y="332"/>
                    </a:cubicBezTo>
                    <a:cubicBezTo>
                      <a:pt x="117" y="338"/>
                      <a:pt x="119" y="333"/>
                      <a:pt x="127" y="333"/>
                    </a:cubicBezTo>
                    <a:cubicBezTo>
                      <a:pt x="134" y="332"/>
                      <a:pt x="138" y="323"/>
                      <a:pt x="139" y="316"/>
                    </a:cubicBezTo>
                    <a:cubicBezTo>
                      <a:pt x="140" y="308"/>
                      <a:pt x="148" y="313"/>
                      <a:pt x="155" y="314"/>
                    </a:cubicBezTo>
                    <a:cubicBezTo>
                      <a:pt x="161" y="316"/>
                      <a:pt x="158" y="318"/>
                      <a:pt x="159" y="326"/>
                    </a:cubicBezTo>
                    <a:cubicBezTo>
                      <a:pt x="159" y="334"/>
                      <a:pt x="159" y="336"/>
                      <a:pt x="168" y="339"/>
                    </a:cubicBezTo>
                    <a:cubicBezTo>
                      <a:pt x="177" y="343"/>
                      <a:pt x="178" y="342"/>
                      <a:pt x="189" y="330"/>
                    </a:cubicBezTo>
                    <a:cubicBezTo>
                      <a:pt x="199" y="319"/>
                      <a:pt x="187" y="291"/>
                      <a:pt x="193" y="292"/>
                    </a:cubicBezTo>
                    <a:cubicBezTo>
                      <a:pt x="198" y="293"/>
                      <a:pt x="209" y="289"/>
                      <a:pt x="217" y="281"/>
                    </a:cubicBezTo>
                    <a:cubicBezTo>
                      <a:pt x="225" y="273"/>
                      <a:pt x="232" y="272"/>
                      <a:pt x="243" y="263"/>
                    </a:cubicBezTo>
                    <a:cubicBezTo>
                      <a:pt x="253" y="254"/>
                      <a:pt x="278" y="233"/>
                      <a:pt x="284" y="237"/>
                    </a:cubicBezTo>
                    <a:cubicBezTo>
                      <a:pt x="290" y="240"/>
                      <a:pt x="285" y="282"/>
                      <a:pt x="286" y="321"/>
                    </a:cubicBezTo>
                    <a:cubicBezTo>
                      <a:pt x="288" y="361"/>
                      <a:pt x="286" y="379"/>
                      <a:pt x="287" y="396"/>
                    </a:cubicBezTo>
                    <a:cubicBezTo>
                      <a:pt x="289" y="413"/>
                      <a:pt x="278" y="425"/>
                      <a:pt x="278" y="434"/>
                    </a:cubicBezTo>
                    <a:cubicBezTo>
                      <a:pt x="277" y="443"/>
                      <a:pt x="278" y="454"/>
                      <a:pt x="284" y="461"/>
                    </a:cubicBezTo>
                    <a:cubicBezTo>
                      <a:pt x="291" y="468"/>
                      <a:pt x="296" y="458"/>
                      <a:pt x="305" y="449"/>
                    </a:cubicBezTo>
                    <a:cubicBezTo>
                      <a:pt x="314" y="440"/>
                      <a:pt x="315" y="424"/>
                      <a:pt x="319" y="393"/>
                    </a:cubicBezTo>
                    <a:cubicBezTo>
                      <a:pt x="323" y="362"/>
                      <a:pt x="318" y="269"/>
                      <a:pt x="320" y="252"/>
                    </a:cubicBezTo>
                    <a:cubicBezTo>
                      <a:pt x="321" y="236"/>
                      <a:pt x="323" y="232"/>
                      <a:pt x="327" y="227"/>
                    </a:cubicBezTo>
                    <a:cubicBezTo>
                      <a:pt x="332" y="222"/>
                      <a:pt x="332" y="212"/>
                      <a:pt x="340" y="211"/>
                    </a:cubicBezTo>
                    <a:cubicBezTo>
                      <a:pt x="349" y="210"/>
                      <a:pt x="360" y="212"/>
                      <a:pt x="363" y="202"/>
                    </a:cubicBezTo>
                    <a:cubicBezTo>
                      <a:pt x="366" y="192"/>
                      <a:pt x="364" y="182"/>
                      <a:pt x="358" y="177"/>
                    </a:cubicBezTo>
                    <a:cubicBezTo>
                      <a:pt x="352" y="172"/>
                      <a:pt x="326" y="167"/>
                      <a:pt x="324" y="162"/>
                    </a:cubicBezTo>
                    <a:cubicBezTo>
                      <a:pt x="322" y="158"/>
                      <a:pt x="323" y="119"/>
                      <a:pt x="322" y="108"/>
                    </a:cubicBezTo>
                    <a:cubicBezTo>
                      <a:pt x="322" y="96"/>
                      <a:pt x="324" y="98"/>
                      <a:pt x="330" y="85"/>
                    </a:cubicBezTo>
                    <a:cubicBezTo>
                      <a:pt x="336" y="73"/>
                      <a:pt x="333" y="65"/>
                      <a:pt x="334" y="48"/>
                    </a:cubicBezTo>
                    <a:cubicBezTo>
                      <a:pt x="334" y="32"/>
                      <a:pt x="334" y="33"/>
                      <a:pt x="324" y="23"/>
                    </a:cubicBezTo>
                    <a:cubicBezTo>
                      <a:pt x="315" y="14"/>
                      <a:pt x="306" y="6"/>
                      <a:pt x="292" y="3"/>
                    </a:cubicBezTo>
                    <a:cubicBezTo>
                      <a:pt x="278" y="0"/>
                      <a:pt x="274" y="12"/>
                      <a:pt x="275" y="29"/>
                    </a:cubicBezTo>
                    <a:cubicBezTo>
                      <a:pt x="275" y="47"/>
                      <a:pt x="278" y="37"/>
                      <a:pt x="282" y="43"/>
                    </a:cubicBezTo>
                    <a:cubicBezTo>
                      <a:pt x="286" y="49"/>
                      <a:pt x="285" y="62"/>
                      <a:pt x="286" y="69"/>
                    </a:cubicBezTo>
                    <a:cubicBezTo>
                      <a:pt x="287" y="76"/>
                      <a:pt x="283" y="77"/>
                      <a:pt x="274" y="77"/>
                    </a:cubicBezTo>
                    <a:cubicBezTo>
                      <a:pt x="265" y="78"/>
                      <a:pt x="268" y="69"/>
                      <a:pt x="253" y="65"/>
                    </a:cubicBezTo>
                    <a:cubicBezTo>
                      <a:pt x="238" y="60"/>
                      <a:pt x="225" y="74"/>
                      <a:pt x="218" y="72"/>
                    </a:cubicBezTo>
                    <a:cubicBezTo>
                      <a:pt x="212" y="71"/>
                      <a:pt x="215" y="68"/>
                      <a:pt x="212" y="52"/>
                    </a:cubicBezTo>
                    <a:cubicBezTo>
                      <a:pt x="209" y="36"/>
                      <a:pt x="191" y="26"/>
                      <a:pt x="177" y="26"/>
                    </a:cubicBezTo>
                    <a:cubicBezTo>
                      <a:pt x="164" y="26"/>
                      <a:pt x="135" y="52"/>
                      <a:pt x="115" y="68"/>
                    </a:cubicBezTo>
                    <a:cubicBezTo>
                      <a:pt x="96" y="84"/>
                      <a:pt x="55" y="129"/>
                      <a:pt x="47" y="139"/>
                    </a:cubicBezTo>
                    <a:cubicBezTo>
                      <a:pt x="39" y="149"/>
                      <a:pt x="30" y="156"/>
                      <a:pt x="30" y="163"/>
                    </a:cubicBezTo>
                    <a:cubicBezTo>
                      <a:pt x="30" y="170"/>
                      <a:pt x="28" y="170"/>
                      <a:pt x="39" y="172"/>
                    </a:cubicBezTo>
                    <a:cubicBezTo>
                      <a:pt x="49" y="174"/>
                      <a:pt x="64" y="154"/>
                      <a:pt x="96" y="132"/>
                    </a:cubicBezTo>
                    <a:cubicBezTo>
                      <a:pt x="128" y="110"/>
                      <a:pt x="147" y="103"/>
                      <a:pt x="146" y="10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14" name="îš1ïdè"/>
              <p:cNvSpPr/>
              <p:nvPr/>
            </p:nvSpPr>
            <p:spPr bwMode="auto">
              <a:xfrm>
                <a:off x="5180266" y="4845640"/>
                <a:ext cx="635000" cy="660400"/>
              </a:xfrm>
              <a:custGeom>
                <a:avLst/>
                <a:gdLst>
                  <a:gd name="T0" fmla="*/ 5 w 344"/>
                  <a:gd name="T1" fmla="*/ 147 h 358"/>
                  <a:gd name="T2" fmla="*/ 38 w 344"/>
                  <a:gd name="T3" fmla="*/ 142 h 358"/>
                  <a:gd name="T4" fmla="*/ 53 w 344"/>
                  <a:gd name="T5" fmla="*/ 125 h 358"/>
                  <a:gd name="T6" fmla="*/ 43 w 344"/>
                  <a:gd name="T7" fmla="*/ 70 h 358"/>
                  <a:gd name="T8" fmla="*/ 48 w 344"/>
                  <a:gd name="T9" fmla="*/ 43 h 358"/>
                  <a:gd name="T10" fmla="*/ 76 w 344"/>
                  <a:gd name="T11" fmla="*/ 45 h 358"/>
                  <a:gd name="T12" fmla="*/ 122 w 344"/>
                  <a:gd name="T13" fmla="*/ 89 h 358"/>
                  <a:gd name="T14" fmla="*/ 122 w 344"/>
                  <a:gd name="T15" fmla="*/ 185 h 358"/>
                  <a:gd name="T16" fmla="*/ 141 w 344"/>
                  <a:gd name="T17" fmla="*/ 192 h 358"/>
                  <a:gd name="T18" fmla="*/ 231 w 344"/>
                  <a:gd name="T19" fmla="*/ 135 h 358"/>
                  <a:gd name="T20" fmla="*/ 241 w 344"/>
                  <a:gd name="T21" fmla="*/ 87 h 358"/>
                  <a:gd name="T22" fmla="*/ 234 w 344"/>
                  <a:gd name="T23" fmla="*/ 48 h 358"/>
                  <a:gd name="T24" fmla="*/ 263 w 344"/>
                  <a:gd name="T25" fmla="*/ 17 h 358"/>
                  <a:gd name="T26" fmla="*/ 298 w 344"/>
                  <a:gd name="T27" fmla="*/ 76 h 358"/>
                  <a:gd name="T28" fmla="*/ 292 w 344"/>
                  <a:gd name="T29" fmla="*/ 111 h 358"/>
                  <a:gd name="T30" fmla="*/ 317 w 344"/>
                  <a:gd name="T31" fmla="*/ 138 h 358"/>
                  <a:gd name="T32" fmla="*/ 292 w 344"/>
                  <a:gd name="T33" fmla="*/ 181 h 358"/>
                  <a:gd name="T34" fmla="*/ 270 w 344"/>
                  <a:gd name="T35" fmla="*/ 217 h 358"/>
                  <a:gd name="T36" fmla="*/ 276 w 344"/>
                  <a:gd name="T37" fmla="*/ 252 h 358"/>
                  <a:gd name="T38" fmla="*/ 334 w 344"/>
                  <a:gd name="T39" fmla="*/ 270 h 358"/>
                  <a:gd name="T40" fmla="*/ 333 w 344"/>
                  <a:gd name="T41" fmla="*/ 304 h 358"/>
                  <a:gd name="T42" fmla="*/ 226 w 344"/>
                  <a:gd name="T43" fmla="*/ 338 h 358"/>
                  <a:gd name="T44" fmla="*/ 166 w 344"/>
                  <a:gd name="T45" fmla="*/ 352 h 358"/>
                  <a:gd name="T46" fmla="*/ 191 w 344"/>
                  <a:gd name="T47" fmla="*/ 319 h 358"/>
                  <a:gd name="T48" fmla="*/ 228 w 344"/>
                  <a:gd name="T49" fmla="*/ 287 h 358"/>
                  <a:gd name="T50" fmla="*/ 231 w 344"/>
                  <a:gd name="T51" fmla="*/ 223 h 358"/>
                  <a:gd name="T52" fmla="*/ 194 w 344"/>
                  <a:gd name="T53" fmla="*/ 194 h 358"/>
                  <a:gd name="T54" fmla="*/ 152 w 344"/>
                  <a:gd name="T55" fmla="*/ 228 h 358"/>
                  <a:gd name="T56" fmla="*/ 55 w 344"/>
                  <a:gd name="T57" fmla="*/ 337 h 358"/>
                  <a:gd name="T58" fmla="*/ 21 w 344"/>
                  <a:gd name="T59" fmla="*/ 316 h 358"/>
                  <a:gd name="T60" fmla="*/ 30 w 344"/>
                  <a:gd name="T61" fmla="*/ 260 h 358"/>
                  <a:gd name="T62" fmla="*/ 53 w 344"/>
                  <a:gd name="T63" fmla="*/ 228 h 358"/>
                  <a:gd name="T64" fmla="*/ 37 w 344"/>
                  <a:gd name="T65" fmla="*/ 201 h 358"/>
                  <a:gd name="T66" fmla="*/ 1 w 344"/>
                  <a:gd name="T67" fmla="*/ 170 h 358"/>
                  <a:gd name="T68" fmla="*/ 5 w 344"/>
                  <a:gd name="T69" fmla="*/ 147 h 3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344" h="358">
                    <a:moveTo>
                      <a:pt x="5" y="147"/>
                    </a:moveTo>
                    <a:cubicBezTo>
                      <a:pt x="6" y="143"/>
                      <a:pt x="22" y="140"/>
                      <a:pt x="38" y="142"/>
                    </a:cubicBezTo>
                    <a:cubicBezTo>
                      <a:pt x="54" y="144"/>
                      <a:pt x="53" y="137"/>
                      <a:pt x="53" y="125"/>
                    </a:cubicBezTo>
                    <a:cubicBezTo>
                      <a:pt x="53" y="112"/>
                      <a:pt x="60" y="89"/>
                      <a:pt x="43" y="70"/>
                    </a:cubicBezTo>
                    <a:cubicBezTo>
                      <a:pt x="25" y="52"/>
                      <a:pt x="48" y="43"/>
                      <a:pt x="48" y="43"/>
                    </a:cubicBezTo>
                    <a:cubicBezTo>
                      <a:pt x="48" y="43"/>
                      <a:pt x="55" y="32"/>
                      <a:pt x="76" y="45"/>
                    </a:cubicBezTo>
                    <a:cubicBezTo>
                      <a:pt x="97" y="58"/>
                      <a:pt x="115" y="74"/>
                      <a:pt x="122" y="89"/>
                    </a:cubicBezTo>
                    <a:cubicBezTo>
                      <a:pt x="129" y="104"/>
                      <a:pt x="118" y="174"/>
                      <a:pt x="122" y="185"/>
                    </a:cubicBezTo>
                    <a:cubicBezTo>
                      <a:pt x="125" y="195"/>
                      <a:pt x="130" y="200"/>
                      <a:pt x="141" y="192"/>
                    </a:cubicBezTo>
                    <a:cubicBezTo>
                      <a:pt x="153" y="183"/>
                      <a:pt x="214" y="138"/>
                      <a:pt x="231" y="135"/>
                    </a:cubicBezTo>
                    <a:cubicBezTo>
                      <a:pt x="249" y="132"/>
                      <a:pt x="241" y="103"/>
                      <a:pt x="241" y="87"/>
                    </a:cubicBezTo>
                    <a:cubicBezTo>
                      <a:pt x="242" y="70"/>
                      <a:pt x="234" y="59"/>
                      <a:pt x="234" y="48"/>
                    </a:cubicBezTo>
                    <a:cubicBezTo>
                      <a:pt x="234" y="36"/>
                      <a:pt x="247" y="0"/>
                      <a:pt x="263" y="17"/>
                    </a:cubicBezTo>
                    <a:cubicBezTo>
                      <a:pt x="279" y="35"/>
                      <a:pt x="303" y="58"/>
                      <a:pt x="298" y="76"/>
                    </a:cubicBezTo>
                    <a:cubicBezTo>
                      <a:pt x="294" y="95"/>
                      <a:pt x="283" y="92"/>
                      <a:pt x="292" y="111"/>
                    </a:cubicBezTo>
                    <a:cubicBezTo>
                      <a:pt x="301" y="129"/>
                      <a:pt x="320" y="117"/>
                      <a:pt x="317" y="138"/>
                    </a:cubicBezTo>
                    <a:cubicBezTo>
                      <a:pt x="315" y="160"/>
                      <a:pt x="321" y="149"/>
                      <a:pt x="292" y="181"/>
                    </a:cubicBezTo>
                    <a:cubicBezTo>
                      <a:pt x="268" y="209"/>
                      <a:pt x="270" y="208"/>
                      <a:pt x="270" y="217"/>
                    </a:cubicBezTo>
                    <a:cubicBezTo>
                      <a:pt x="270" y="226"/>
                      <a:pt x="266" y="249"/>
                      <a:pt x="276" y="252"/>
                    </a:cubicBezTo>
                    <a:cubicBezTo>
                      <a:pt x="287" y="254"/>
                      <a:pt x="325" y="250"/>
                      <a:pt x="334" y="270"/>
                    </a:cubicBezTo>
                    <a:cubicBezTo>
                      <a:pt x="344" y="290"/>
                      <a:pt x="344" y="295"/>
                      <a:pt x="333" y="304"/>
                    </a:cubicBezTo>
                    <a:cubicBezTo>
                      <a:pt x="321" y="312"/>
                      <a:pt x="288" y="320"/>
                      <a:pt x="226" y="338"/>
                    </a:cubicBezTo>
                    <a:cubicBezTo>
                      <a:pt x="180" y="351"/>
                      <a:pt x="168" y="358"/>
                      <a:pt x="166" y="352"/>
                    </a:cubicBezTo>
                    <a:cubicBezTo>
                      <a:pt x="164" y="346"/>
                      <a:pt x="175" y="331"/>
                      <a:pt x="191" y="319"/>
                    </a:cubicBezTo>
                    <a:cubicBezTo>
                      <a:pt x="207" y="307"/>
                      <a:pt x="224" y="304"/>
                      <a:pt x="228" y="287"/>
                    </a:cubicBezTo>
                    <a:cubicBezTo>
                      <a:pt x="232" y="270"/>
                      <a:pt x="235" y="234"/>
                      <a:pt x="231" y="223"/>
                    </a:cubicBezTo>
                    <a:cubicBezTo>
                      <a:pt x="227" y="212"/>
                      <a:pt x="213" y="188"/>
                      <a:pt x="194" y="194"/>
                    </a:cubicBezTo>
                    <a:cubicBezTo>
                      <a:pt x="176" y="200"/>
                      <a:pt x="166" y="210"/>
                      <a:pt x="152" y="228"/>
                    </a:cubicBezTo>
                    <a:cubicBezTo>
                      <a:pt x="138" y="247"/>
                      <a:pt x="66" y="336"/>
                      <a:pt x="55" y="337"/>
                    </a:cubicBezTo>
                    <a:cubicBezTo>
                      <a:pt x="45" y="338"/>
                      <a:pt x="22" y="340"/>
                      <a:pt x="21" y="316"/>
                    </a:cubicBezTo>
                    <a:cubicBezTo>
                      <a:pt x="20" y="292"/>
                      <a:pt x="16" y="285"/>
                      <a:pt x="30" y="260"/>
                    </a:cubicBezTo>
                    <a:cubicBezTo>
                      <a:pt x="44" y="234"/>
                      <a:pt x="53" y="241"/>
                      <a:pt x="53" y="228"/>
                    </a:cubicBezTo>
                    <a:cubicBezTo>
                      <a:pt x="53" y="216"/>
                      <a:pt x="47" y="207"/>
                      <a:pt x="37" y="201"/>
                    </a:cubicBezTo>
                    <a:cubicBezTo>
                      <a:pt x="27" y="195"/>
                      <a:pt x="2" y="182"/>
                      <a:pt x="1" y="170"/>
                    </a:cubicBezTo>
                    <a:cubicBezTo>
                      <a:pt x="0" y="157"/>
                      <a:pt x="4" y="150"/>
                      <a:pt x="5" y="14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15" name="ï$líḋé"/>
              <p:cNvSpPr/>
              <p:nvPr/>
            </p:nvSpPr>
            <p:spPr bwMode="auto">
              <a:xfrm>
                <a:off x="5596191" y="5675903"/>
                <a:ext cx="25400" cy="30163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16" name="işḷíḓè"/>
              <p:cNvSpPr/>
              <p:nvPr/>
            </p:nvSpPr>
            <p:spPr bwMode="auto">
              <a:xfrm>
                <a:off x="5596191" y="5733053"/>
                <a:ext cx="25400" cy="149225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19" name="ïSḷîḋé"/>
              <p:cNvSpPr/>
              <p:nvPr/>
            </p:nvSpPr>
            <p:spPr bwMode="auto">
              <a:xfrm>
                <a:off x="5645403" y="5733053"/>
                <a:ext cx="136525" cy="149225"/>
              </a:xfrm>
              <a:custGeom>
                <a:avLst/>
                <a:gdLst>
                  <a:gd name="T0" fmla="*/ 42 w 74"/>
                  <a:gd name="T1" fmla="*/ 50 h 81"/>
                  <a:gd name="T2" fmla="*/ 37 w 74"/>
                  <a:gd name="T3" fmla="*/ 65 h 81"/>
                  <a:gd name="T4" fmla="*/ 32 w 74"/>
                  <a:gd name="T5" fmla="*/ 49 h 81"/>
                  <a:gd name="T6" fmla="*/ 14 w 74"/>
                  <a:gd name="T7" fmla="*/ 0 h 81"/>
                  <a:gd name="T8" fmla="*/ 0 w 74"/>
                  <a:gd name="T9" fmla="*/ 0 h 81"/>
                  <a:gd name="T10" fmla="*/ 31 w 74"/>
                  <a:gd name="T11" fmla="*/ 81 h 81"/>
                  <a:gd name="T12" fmla="*/ 44 w 74"/>
                  <a:gd name="T13" fmla="*/ 81 h 81"/>
                  <a:gd name="T14" fmla="*/ 74 w 74"/>
                  <a:gd name="T15" fmla="*/ 0 h 81"/>
                  <a:gd name="T16" fmla="*/ 60 w 74"/>
                  <a:gd name="T17" fmla="*/ 0 h 81"/>
                  <a:gd name="T18" fmla="*/ 42 w 74"/>
                  <a:gd name="T19" fmla="*/ 50 h 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74" h="81">
                    <a:moveTo>
                      <a:pt x="42" y="50"/>
                    </a:moveTo>
                    <a:cubicBezTo>
                      <a:pt x="40" y="56"/>
                      <a:pt x="38" y="61"/>
                      <a:pt x="37" y="65"/>
                    </a:cubicBezTo>
                    <a:cubicBezTo>
                      <a:pt x="35" y="59"/>
                      <a:pt x="34" y="54"/>
                      <a:pt x="32" y="49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31" y="81"/>
                      <a:pt x="31" y="81"/>
                      <a:pt x="31" y="81"/>
                    </a:cubicBezTo>
                    <a:cubicBezTo>
                      <a:pt x="44" y="81"/>
                      <a:pt x="44" y="81"/>
                      <a:pt x="44" y="81"/>
                    </a:cubicBezTo>
                    <a:cubicBezTo>
                      <a:pt x="74" y="0"/>
                      <a:pt x="74" y="0"/>
                      <a:pt x="74" y="0"/>
                    </a:cubicBezTo>
                    <a:cubicBezTo>
                      <a:pt x="60" y="0"/>
                      <a:pt x="60" y="0"/>
                      <a:pt x="60" y="0"/>
                    </a:cubicBezTo>
                    <a:lnTo>
                      <a:pt x="42" y="5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20" name="išḷiḓé"/>
              <p:cNvSpPr/>
              <p:nvPr/>
            </p:nvSpPr>
            <p:spPr bwMode="auto">
              <a:xfrm>
                <a:off x="5796216" y="5729878"/>
                <a:ext cx="138113" cy="157163"/>
              </a:xfrm>
              <a:custGeom>
                <a:avLst/>
                <a:gdLst>
                  <a:gd name="T0" fmla="*/ 38 w 75"/>
                  <a:gd name="T1" fmla="*/ 0 h 85"/>
                  <a:gd name="T2" fmla="*/ 10 w 75"/>
                  <a:gd name="T3" fmla="*/ 12 h 85"/>
                  <a:gd name="T4" fmla="*/ 0 w 75"/>
                  <a:gd name="T5" fmla="*/ 43 h 85"/>
                  <a:gd name="T6" fmla="*/ 10 w 75"/>
                  <a:gd name="T7" fmla="*/ 74 h 85"/>
                  <a:gd name="T8" fmla="*/ 39 w 75"/>
                  <a:gd name="T9" fmla="*/ 85 h 85"/>
                  <a:gd name="T10" fmla="*/ 62 w 75"/>
                  <a:gd name="T11" fmla="*/ 78 h 85"/>
                  <a:gd name="T12" fmla="*/ 74 w 75"/>
                  <a:gd name="T13" fmla="*/ 59 h 85"/>
                  <a:gd name="T14" fmla="*/ 60 w 75"/>
                  <a:gd name="T15" fmla="*/ 57 h 85"/>
                  <a:gd name="T16" fmla="*/ 52 w 75"/>
                  <a:gd name="T17" fmla="*/ 70 h 85"/>
                  <a:gd name="T18" fmla="*/ 39 w 75"/>
                  <a:gd name="T19" fmla="*/ 74 h 85"/>
                  <a:gd name="T20" fmla="*/ 22 w 75"/>
                  <a:gd name="T21" fmla="*/ 67 h 85"/>
                  <a:gd name="T22" fmla="*/ 14 w 75"/>
                  <a:gd name="T23" fmla="*/ 46 h 85"/>
                  <a:gd name="T24" fmla="*/ 75 w 75"/>
                  <a:gd name="T25" fmla="*/ 46 h 85"/>
                  <a:gd name="T26" fmla="*/ 75 w 75"/>
                  <a:gd name="T27" fmla="*/ 43 h 85"/>
                  <a:gd name="T28" fmla="*/ 64 w 75"/>
                  <a:gd name="T29" fmla="*/ 11 h 85"/>
                  <a:gd name="T30" fmla="*/ 38 w 75"/>
                  <a:gd name="T31" fmla="*/ 0 h 85"/>
                  <a:gd name="T32" fmla="*/ 15 w 75"/>
                  <a:gd name="T33" fmla="*/ 35 h 85"/>
                  <a:gd name="T34" fmla="*/ 22 w 75"/>
                  <a:gd name="T35" fmla="*/ 18 h 85"/>
                  <a:gd name="T36" fmla="*/ 38 w 75"/>
                  <a:gd name="T37" fmla="*/ 12 h 85"/>
                  <a:gd name="T38" fmla="*/ 55 w 75"/>
                  <a:gd name="T39" fmla="*/ 20 h 85"/>
                  <a:gd name="T40" fmla="*/ 60 w 75"/>
                  <a:gd name="T41" fmla="*/ 35 h 85"/>
                  <a:gd name="T42" fmla="*/ 15 w 75"/>
                  <a:gd name="T43" fmla="*/ 35 h 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75" h="85">
                    <a:moveTo>
                      <a:pt x="38" y="0"/>
                    </a:moveTo>
                    <a:cubicBezTo>
                      <a:pt x="27" y="0"/>
                      <a:pt x="17" y="4"/>
                      <a:pt x="10" y="12"/>
                    </a:cubicBezTo>
                    <a:cubicBezTo>
                      <a:pt x="3" y="19"/>
                      <a:pt x="0" y="30"/>
                      <a:pt x="0" y="43"/>
                    </a:cubicBezTo>
                    <a:cubicBezTo>
                      <a:pt x="0" y="57"/>
                      <a:pt x="3" y="67"/>
                      <a:pt x="10" y="74"/>
                    </a:cubicBezTo>
                    <a:cubicBezTo>
                      <a:pt x="17" y="81"/>
                      <a:pt x="27" y="85"/>
                      <a:pt x="39" y="85"/>
                    </a:cubicBezTo>
                    <a:cubicBezTo>
                      <a:pt x="48" y="85"/>
                      <a:pt x="56" y="83"/>
                      <a:pt x="62" y="78"/>
                    </a:cubicBezTo>
                    <a:cubicBezTo>
                      <a:pt x="68" y="74"/>
                      <a:pt x="72" y="67"/>
                      <a:pt x="74" y="59"/>
                    </a:cubicBezTo>
                    <a:cubicBezTo>
                      <a:pt x="60" y="57"/>
                      <a:pt x="60" y="57"/>
                      <a:pt x="60" y="57"/>
                    </a:cubicBezTo>
                    <a:cubicBezTo>
                      <a:pt x="58" y="63"/>
                      <a:pt x="55" y="67"/>
                      <a:pt x="52" y="70"/>
                    </a:cubicBezTo>
                    <a:cubicBezTo>
                      <a:pt x="48" y="73"/>
                      <a:pt x="44" y="74"/>
                      <a:pt x="39" y="74"/>
                    </a:cubicBezTo>
                    <a:cubicBezTo>
                      <a:pt x="32" y="74"/>
                      <a:pt x="26" y="71"/>
                      <a:pt x="22" y="67"/>
                    </a:cubicBezTo>
                    <a:cubicBezTo>
                      <a:pt x="17" y="62"/>
                      <a:pt x="15" y="55"/>
                      <a:pt x="14" y="46"/>
                    </a:cubicBezTo>
                    <a:cubicBezTo>
                      <a:pt x="75" y="46"/>
                      <a:pt x="75" y="46"/>
                      <a:pt x="75" y="46"/>
                    </a:cubicBezTo>
                    <a:cubicBezTo>
                      <a:pt x="75" y="45"/>
                      <a:pt x="75" y="43"/>
                      <a:pt x="75" y="43"/>
                    </a:cubicBezTo>
                    <a:cubicBezTo>
                      <a:pt x="75" y="29"/>
                      <a:pt x="71" y="19"/>
                      <a:pt x="64" y="11"/>
                    </a:cubicBezTo>
                    <a:cubicBezTo>
                      <a:pt x="58" y="4"/>
                      <a:pt x="49" y="0"/>
                      <a:pt x="38" y="0"/>
                    </a:cubicBezTo>
                    <a:close/>
                    <a:moveTo>
                      <a:pt x="15" y="35"/>
                    </a:moveTo>
                    <a:cubicBezTo>
                      <a:pt x="15" y="28"/>
                      <a:pt x="18" y="22"/>
                      <a:pt x="22" y="18"/>
                    </a:cubicBezTo>
                    <a:cubicBezTo>
                      <a:pt x="26" y="14"/>
                      <a:pt x="32" y="12"/>
                      <a:pt x="38" y="12"/>
                    </a:cubicBezTo>
                    <a:cubicBezTo>
                      <a:pt x="45" y="12"/>
                      <a:pt x="51" y="14"/>
                      <a:pt x="55" y="20"/>
                    </a:cubicBezTo>
                    <a:cubicBezTo>
                      <a:pt x="58" y="23"/>
                      <a:pt x="60" y="28"/>
                      <a:pt x="60" y="35"/>
                    </a:cubicBezTo>
                    <a:lnTo>
                      <a:pt x="15" y="3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21" name="iṩľidè"/>
              <p:cNvSpPr/>
              <p:nvPr/>
            </p:nvSpPr>
            <p:spPr bwMode="auto">
              <a:xfrm>
                <a:off x="5964491" y="5729878"/>
                <a:ext cx="82550" cy="152400"/>
              </a:xfrm>
              <a:custGeom>
                <a:avLst/>
                <a:gdLst>
                  <a:gd name="T0" fmla="*/ 22 w 45"/>
                  <a:gd name="T1" fmla="*/ 3 h 83"/>
                  <a:gd name="T2" fmla="*/ 13 w 45"/>
                  <a:gd name="T3" fmla="*/ 14 h 83"/>
                  <a:gd name="T4" fmla="*/ 13 w 45"/>
                  <a:gd name="T5" fmla="*/ 2 h 83"/>
                  <a:gd name="T6" fmla="*/ 0 w 45"/>
                  <a:gd name="T7" fmla="*/ 2 h 83"/>
                  <a:gd name="T8" fmla="*/ 0 w 45"/>
                  <a:gd name="T9" fmla="*/ 83 h 83"/>
                  <a:gd name="T10" fmla="*/ 14 w 45"/>
                  <a:gd name="T11" fmla="*/ 83 h 83"/>
                  <a:gd name="T12" fmla="*/ 14 w 45"/>
                  <a:gd name="T13" fmla="*/ 41 h 83"/>
                  <a:gd name="T14" fmla="*/ 17 w 45"/>
                  <a:gd name="T15" fmla="*/ 25 h 83"/>
                  <a:gd name="T16" fmla="*/ 22 w 45"/>
                  <a:gd name="T17" fmla="*/ 17 h 83"/>
                  <a:gd name="T18" fmla="*/ 30 w 45"/>
                  <a:gd name="T19" fmla="*/ 14 h 83"/>
                  <a:gd name="T20" fmla="*/ 40 w 45"/>
                  <a:gd name="T21" fmla="*/ 17 h 83"/>
                  <a:gd name="T22" fmla="*/ 45 w 45"/>
                  <a:gd name="T23" fmla="*/ 5 h 83"/>
                  <a:gd name="T24" fmla="*/ 30 w 45"/>
                  <a:gd name="T25" fmla="*/ 0 h 83"/>
                  <a:gd name="T26" fmla="*/ 22 w 45"/>
                  <a:gd name="T27" fmla="*/ 3 h 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45" h="83">
                    <a:moveTo>
                      <a:pt x="22" y="3"/>
                    </a:moveTo>
                    <a:cubicBezTo>
                      <a:pt x="19" y="5"/>
                      <a:pt x="16" y="9"/>
                      <a:pt x="13" y="14"/>
                    </a:cubicBezTo>
                    <a:cubicBezTo>
                      <a:pt x="13" y="2"/>
                      <a:pt x="13" y="2"/>
                      <a:pt x="13" y="2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83"/>
                      <a:pt x="0" y="83"/>
                      <a:pt x="0" y="83"/>
                    </a:cubicBezTo>
                    <a:cubicBezTo>
                      <a:pt x="14" y="83"/>
                      <a:pt x="14" y="83"/>
                      <a:pt x="14" y="83"/>
                    </a:cubicBezTo>
                    <a:cubicBezTo>
                      <a:pt x="14" y="41"/>
                      <a:pt x="14" y="41"/>
                      <a:pt x="14" y="41"/>
                    </a:cubicBezTo>
                    <a:cubicBezTo>
                      <a:pt x="14" y="35"/>
                      <a:pt x="15" y="30"/>
                      <a:pt x="17" y="25"/>
                    </a:cubicBezTo>
                    <a:cubicBezTo>
                      <a:pt x="18" y="21"/>
                      <a:pt x="19" y="19"/>
                      <a:pt x="22" y="17"/>
                    </a:cubicBezTo>
                    <a:cubicBezTo>
                      <a:pt x="24" y="15"/>
                      <a:pt x="27" y="14"/>
                      <a:pt x="30" y="14"/>
                    </a:cubicBezTo>
                    <a:cubicBezTo>
                      <a:pt x="33" y="14"/>
                      <a:pt x="37" y="15"/>
                      <a:pt x="40" y="17"/>
                    </a:cubicBezTo>
                    <a:cubicBezTo>
                      <a:pt x="45" y="5"/>
                      <a:pt x="45" y="5"/>
                      <a:pt x="45" y="5"/>
                    </a:cubicBezTo>
                    <a:cubicBezTo>
                      <a:pt x="40" y="2"/>
                      <a:pt x="35" y="0"/>
                      <a:pt x="30" y="0"/>
                    </a:cubicBezTo>
                    <a:cubicBezTo>
                      <a:pt x="27" y="0"/>
                      <a:pt x="24" y="1"/>
                      <a:pt x="22" y="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22" name="îṡļiḑe"/>
              <p:cNvSpPr/>
              <p:nvPr/>
            </p:nvSpPr>
            <p:spPr bwMode="auto">
              <a:xfrm>
                <a:off x="6050216" y="5729878"/>
                <a:ext cx="125413" cy="157163"/>
              </a:xfrm>
              <a:custGeom>
                <a:avLst/>
                <a:gdLst>
                  <a:gd name="T0" fmla="*/ 55 w 68"/>
                  <a:gd name="T1" fmla="*/ 40 h 85"/>
                  <a:gd name="T2" fmla="*/ 35 w 68"/>
                  <a:gd name="T3" fmla="*/ 34 h 85"/>
                  <a:gd name="T4" fmla="*/ 23 w 68"/>
                  <a:gd name="T5" fmla="*/ 31 h 85"/>
                  <a:gd name="T6" fmla="*/ 18 w 68"/>
                  <a:gd name="T7" fmla="*/ 27 h 85"/>
                  <a:gd name="T8" fmla="*/ 16 w 68"/>
                  <a:gd name="T9" fmla="*/ 22 h 85"/>
                  <a:gd name="T10" fmla="*/ 20 w 68"/>
                  <a:gd name="T11" fmla="*/ 15 h 85"/>
                  <a:gd name="T12" fmla="*/ 34 w 68"/>
                  <a:gd name="T13" fmla="*/ 12 h 85"/>
                  <a:gd name="T14" fmla="*/ 46 w 68"/>
                  <a:gd name="T15" fmla="*/ 15 h 85"/>
                  <a:gd name="T16" fmla="*/ 51 w 68"/>
                  <a:gd name="T17" fmla="*/ 25 h 85"/>
                  <a:gd name="T18" fmla="*/ 65 w 68"/>
                  <a:gd name="T19" fmla="*/ 23 h 85"/>
                  <a:gd name="T20" fmla="*/ 60 w 68"/>
                  <a:gd name="T21" fmla="*/ 10 h 85"/>
                  <a:gd name="T22" fmla="*/ 49 w 68"/>
                  <a:gd name="T23" fmla="*/ 3 h 85"/>
                  <a:gd name="T24" fmla="*/ 33 w 68"/>
                  <a:gd name="T25" fmla="*/ 0 h 85"/>
                  <a:gd name="T26" fmla="*/ 21 w 68"/>
                  <a:gd name="T27" fmla="*/ 2 h 85"/>
                  <a:gd name="T28" fmla="*/ 12 w 68"/>
                  <a:gd name="T29" fmla="*/ 6 h 85"/>
                  <a:gd name="T30" fmla="*/ 5 w 68"/>
                  <a:gd name="T31" fmla="*/ 14 h 85"/>
                  <a:gd name="T32" fmla="*/ 3 w 68"/>
                  <a:gd name="T33" fmla="*/ 24 h 85"/>
                  <a:gd name="T34" fmla="*/ 6 w 68"/>
                  <a:gd name="T35" fmla="*/ 35 h 85"/>
                  <a:gd name="T36" fmla="*/ 15 w 68"/>
                  <a:gd name="T37" fmla="*/ 42 h 85"/>
                  <a:gd name="T38" fmla="*/ 36 w 68"/>
                  <a:gd name="T39" fmla="*/ 49 h 85"/>
                  <a:gd name="T40" fmla="*/ 50 w 68"/>
                  <a:gd name="T41" fmla="*/ 54 h 85"/>
                  <a:gd name="T42" fmla="*/ 54 w 68"/>
                  <a:gd name="T43" fmla="*/ 61 h 85"/>
                  <a:gd name="T44" fmla="*/ 49 w 68"/>
                  <a:gd name="T45" fmla="*/ 70 h 85"/>
                  <a:gd name="T46" fmla="*/ 35 w 68"/>
                  <a:gd name="T47" fmla="*/ 74 h 85"/>
                  <a:gd name="T48" fmla="*/ 20 w 68"/>
                  <a:gd name="T49" fmla="*/ 69 h 85"/>
                  <a:gd name="T50" fmla="*/ 14 w 68"/>
                  <a:gd name="T51" fmla="*/ 57 h 85"/>
                  <a:gd name="T52" fmla="*/ 0 w 68"/>
                  <a:gd name="T53" fmla="*/ 59 h 85"/>
                  <a:gd name="T54" fmla="*/ 11 w 68"/>
                  <a:gd name="T55" fmla="*/ 79 h 85"/>
                  <a:gd name="T56" fmla="*/ 35 w 68"/>
                  <a:gd name="T57" fmla="*/ 85 h 85"/>
                  <a:gd name="T58" fmla="*/ 52 w 68"/>
                  <a:gd name="T59" fmla="*/ 82 h 85"/>
                  <a:gd name="T60" fmla="*/ 64 w 68"/>
                  <a:gd name="T61" fmla="*/ 72 h 85"/>
                  <a:gd name="T62" fmla="*/ 68 w 68"/>
                  <a:gd name="T63" fmla="*/ 59 h 85"/>
                  <a:gd name="T64" fmla="*/ 65 w 68"/>
                  <a:gd name="T65" fmla="*/ 48 h 85"/>
                  <a:gd name="T66" fmla="*/ 55 w 68"/>
                  <a:gd name="T67" fmla="*/ 40 h 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68" h="85">
                    <a:moveTo>
                      <a:pt x="55" y="40"/>
                    </a:moveTo>
                    <a:cubicBezTo>
                      <a:pt x="52" y="39"/>
                      <a:pt x="45" y="37"/>
                      <a:pt x="35" y="34"/>
                    </a:cubicBezTo>
                    <a:cubicBezTo>
                      <a:pt x="28" y="32"/>
                      <a:pt x="24" y="31"/>
                      <a:pt x="23" y="31"/>
                    </a:cubicBezTo>
                    <a:cubicBezTo>
                      <a:pt x="20" y="30"/>
                      <a:pt x="19" y="28"/>
                      <a:pt x="18" y="27"/>
                    </a:cubicBezTo>
                    <a:cubicBezTo>
                      <a:pt x="16" y="25"/>
                      <a:pt x="16" y="24"/>
                      <a:pt x="16" y="22"/>
                    </a:cubicBezTo>
                    <a:cubicBezTo>
                      <a:pt x="16" y="19"/>
                      <a:pt x="17" y="17"/>
                      <a:pt x="20" y="15"/>
                    </a:cubicBezTo>
                    <a:cubicBezTo>
                      <a:pt x="23" y="13"/>
                      <a:pt x="27" y="12"/>
                      <a:pt x="34" y="12"/>
                    </a:cubicBezTo>
                    <a:cubicBezTo>
                      <a:pt x="39" y="12"/>
                      <a:pt x="43" y="13"/>
                      <a:pt x="46" y="15"/>
                    </a:cubicBezTo>
                    <a:cubicBezTo>
                      <a:pt x="49" y="17"/>
                      <a:pt x="51" y="21"/>
                      <a:pt x="51" y="25"/>
                    </a:cubicBezTo>
                    <a:cubicBezTo>
                      <a:pt x="65" y="23"/>
                      <a:pt x="65" y="23"/>
                      <a:pt x="65" y="23"/>
                    </a:cubicBezTo>
                    <a:cubicBezTo>
                      <a:pt x="64" y="18"/>
                      <a:pt x="62" y="14"/>
                      <a:pt x="60" y="10"/>
                    </a:cubicBezTo>
                    <a:cubicBezTo>
                      <a:pt x="58" y="7"/>
                      <a:pt x="54" y="5"/>
                      <a:pt x="49" y="3"/>
                    </a:cubicBezTo>
                    <a:cubicBezTo>
                      <a:pt x="44" y="1"/>
                      <a:pt x="39" y="0"/>
                      <a:pt x="33" y="0"/>
                    </a:cubicBezTo>
                    <a:cubicBezTo>
                      <a:pt x="28" y="0"/>
                      <a:pt x="24" y="1"/>
                      <a:pt x="21" y="2"/>
                    </a:cubicBezTo>
                    <a:cubicBezTo>
                      <a:pt x="17" y="3"/>
                      <a:pt x="14" y="4"/>
                      <a:pt x="12" y="6"/>
                    </a:cubicBezTo>
                    <a:cubicBezTo>
                      <a:pt x="9" y="8"/>
                      <a:pt x="7" y="10"/>
                      <a:pt x="5" y="14"/>
                    </a:cubicBezTo>
                    <a:cubicBezTo>
                      <a:pt x="3" y="17"/>
                      <a:pt x="3" y="20"/>
                      <a:pt x="3" y="24"/>
                    </a:cubicBezTo>
                    <a:cubicBezTo>
                      <a:pt x="3" y="28"/>
                      <a:pt x="4" y="31"/>
                      <a:pt x="6" y="35"/>
                    </a:cubicBezTo>
                    <a:cubicBezTo>
                      <a:pt x="8" y="38"/>
                      <a:pt x="11" y="40"/>
                      <a:pt x="15" y="42"/>
                    </a:cubicBezTo>
                    <a:cubicBezTo>
                      <a:pt x="18" y="44"/>
                      <a:pt x="25" y="46"/>
                      <a:pt x="36" y="49"/>
                    </a:cubicBezTo>
                    <a:cubicBezTo>
                      <a:pt x="43" y="51"/>
                      <a:pt x="48" y="52"/>
                      <a:pt x="50" y="54"/>
                    </a:cubicBezTo>
                    <a:cubicBezTo>
                      <a:pt x="52" y="55"/>
                      <a:pt x="54" y="58"/>
                      <a:pt x="54" y="61"/>
                    </a:cubicBezTo>
                    <a:cubicBezTo>
                      <a:pt x="54" y="64"/>
                      <a:pt x="52" y="67"/>
                      <a:pt x="49" y="70"/>
                    </a:cubicBezTo>
                    <a:cubicBezTo>
                      <a:pt x="46" y="73"/>
                      <a:pt x="41" y="74"/>
                      <a:pt x="35" y="74"/>
                    </a:cubicBezTo>
                    <a:cubicBezTo>
                      <a:pt x="29" y="74"/>
                      <a:pt x="24" y="72"/>
                      <a:pt x="20" y="69"/>
                    </a:cubicBezTo>
                    <a:cubicBezTo>
                      <a:pt x="17" y="67"/>
                      <a:pt x="15" y="62"/>
                      <a:pt x="14" y="57"/>
                    </a:cubicBezTo>
                    <a:cubicBezTo>
                      <a:pt x="0" y="59"/>
                      <a:pt x="0" y="59"/>
                      <a:pt x="0" y="59"/>
                    </a:cubicBezTo>
                    <a:cubicBezTo>
                      <a:pt x="2" y="68"/>
                      <a:pt x="5" y="74"/>
                      <a:pt x="11" y="79"/>
                    </a:cubicBezTo>
                    <a:cubicBezTo>
                      <a:pt x="16" y="83"/>
                      <a:pt x="24" y="85"/>
                      <a:pt x="35" y="85"/>
                    </a:cubicBezTo>
                    <a:cubicBezTo>
                      <a:pt x="41" y="85"/>
                      <a:pt x="47" y="84"/>
                      <a:pt x="52" y="82"/>
                    </a:cubicBezTo>
                    <a:cubicBezTo>
                      <a:pt x="57" y="80"/>
                      <a:pt x="61" y="76"/>
                      <a:pt x="64" y="72"/>
                    </a:cubicBezTo>
                    <a:cubicBezTo>
                      <a:pt x="66" y="68"/>
                      <a:pt x="68" y="64"/>
                      <a:pt x="68" y="59"/>
                    </a:cubicBezTo>
                    <a:cubicBezTo>
                      <a:pt x="68" y="55"/>
                      <a:pt x="67" y="51"/>
                      <a:pt x="65" y="48"/>
                    </a:cubicBezTo>
                    <a:cubicBezTo>
                      <a:pt x="62" y="45"/>
                      <a:pt x="59" y="42"/>
                      <a:pt x="55" y="4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23" name="ïśļíḓe"/>
              <p:cNvSpPr/>
              <p:nvPr/>
            </p:nvSpPr>
            <p:spPr bwMode="auto">
              <a:xfrm>
                <a:off x="6205791" y="5675903"/>
                <a:ext cx="25400" cy="30163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24" name="îṡľîdè"/>
              <p:cNvSpPr/>
              <p:nvPr/>
            </p:nvSpPr>
            <p:spPr bwMode="auto">
              <a:xfrm>
                <a:off x="6205791" y="5733053"/>
                <a:ext cx="25400" cy="149225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25" name="îś1iḋê"/>
              <p:cNvSpPr/>
              <p:nvPr/>
            </p:nvSpPr>
            <p:spPr bwMode="auto">
              <a:xfrm>
                <a:off x="6255003" y="5680665"/>
                <a:ext cx="74613" cy="203200"/>
              </a:xfrm>
              <a:custGeom>
                <a:avLst/>
                <a:gdLst>
                  <a:gd name="T0" fmla="*/ 32 w 40"/>
                  <a:gd name="T1" fmla="*/ 98 h 110"/>
                  <a:gd name="T2" fmla="*/ 27 w 40"/>
                  <a:gd name="T3" fmla="*/ 97 h 110"/>
                  <a:gd name="T4" fmla="*/ 25 w 40"/>
                  <a:gd name="T5" fmla="*/ 94 h 110"/>
                  <a:gd name="T6" fmla="*/ 24 w 40"/>
                  <a:gd name="T7" fmla="*/ 86 h 110"/>
                  <a:gd name="T8" fmla="*/ 24 w 40"/>
                  <a:gd name="T9" fmla="*/ 39 h 110"/>
                  <a:gd name="T10" fmla="*/ 38 w 40"/>
                  <a:gd name="T11" fmla="*/ 39 h 110"/>
                  <a:gd name="T12" fmla="*/ 38 w 40"/>
                  <a:gd name="T13" fmla="*/ 28 h 110"/>
                  <a:gd name="T14" fmla="*/ 24 w 40"/>
                  <a:gd name="T15" fmla="*/ 28 h 110"/>
                  <a:gd name="T16" fmla="*/ 24 w 40"/>
                  <a:gd name="T17" fmla="*/ 0 h 110"/>
                  <a:gd name="T18" fmla="*/ 11 w 40"/>
                  <a:gd name="T19" fmla="*/ 8 h 110"/>
                  <a:gd name="T20" fmla="*/ 11 w 40"/>
                  <a:gd name="T21" fmla="*/ 28 h 110"/>
                  <a:gd name="T22" fmla="*/ 0 w 40"/>
                  <a:gd name="T23" fmla="*/ 28 h 110"/>
                  <a:gd name="T24" fmla="*/ 0 w 40"/>
                  <a:gd name="T25" fmla="*/ 39 h 110"/>
                  <a:gd name="T26" fmla="*/ 11 w 40"/>
                  <a:gd name="T27" fmla="*/ 39 h 110"/>
                  <a:gd name="T28" fmla="*/ 11 w 40"/>
                  <a:gd name="T29" fmla="*/ 86 h 110"/>
                  <a:gd name="T30" fmla="*/ 12 w 40"/>
                  <a:gd name="T31" fmla="*/ 102 h 110"/>
                  <a:gd name="T32" fmla="*/ 18 w 40"/>
                  <a:gd name="T33" fmla="*/ 108 h 110"/>
                  <a:gd name="T34" fmla="*/ 30 w 40"/>
                  <a:gd name="T35" fmla="*/ 110 h 110"/>
                  <a:gd name="T36" fmla="*/ 40 w 40"/>
                  <a:gd name="T37" fmla="*/ 109 h 110"/>
                  <a:gd name="T38" fmla="*/ 38 w 40"/>
                  <a:gd name="T39" fmla="*/ 97 h 110"/>
                  <a:gd name="T40" fmla="*/ 32 w 40"/>
                  <a:gd name="T41" fmla="*/ 98 h 1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40" h="110">
                    <a:moveTo>
                      <a:pt x="32" y="98"/>
                    </a:moveTo>
                    <a:cubicBezTo>
                      <a:pt x="30" y="98"/>
                      <a:pt x="28" y="97"/>
                      <a:pt x="27" y="97"/>
                    </a:cubicBezTo>
                    <a:cubicBezTo>
                      <a:pt x="26" y="96"/>
                      <a:pt x="25" y="95"/>
                      <a:pt x="25" y="94"/>
                    </a:cubicBezTo>
                    <a:cubicBezTo>
                      <a:pt x="24" y="93"/>
                      <a:pt x="24" y="90"/>
                      <a:pt x="24" y="86"/>
                    </a:cubicBezTo>
                    <a:cubicBezTo>
                      <a:pt x="24" y="39"/>
                      <a:pt x="24" y="39"/>
                      <a:pt x="24" y="39"/>
                    </a:cubicBezTo>
                    <a:cubicBezTo>
                      <a:pt x="38" y="39"/>
                      <a:pt x="38" y="39"/>
                      <a:pt x="38" y="39"/>
                    </a:cubicBezTo>
                    <a:cubicBezTo>
                      <a:pt x="38" y="28"/>
                      <a:pt x="38" y="28"/>
                      <a:pt x="38" y="28"/>
                    </a:cubicBezTo>
                    <a:cubicBezTo>
                      <a:pt x="24" y="28"/>
                      <a:pt x="24" y="28"/>
                      <a:pt x="24" y="28"/>
                    </a:cubicBezTo>
                    <a:cubicBezTo>
                      <a:pt x="24" y="0"/>
                      <a:pt x="24" y="0"/>
                      <a:pt x="24" y="0"/>
                    </a:cubicBezTo>
                    <a:cubicBezTo>
                      <a:pt x="11" y="8"/>
                      <a:pt x="11" y="8"/>
                      <a:pt x="11" y="8"/>
                    </a:cubicBezTo>
                    <a:cubicBezTo>
                      <a:pt x="11" y="28"/>
                      <a:pt x="11" y="28"/>
                      <a:pt x="11" y="28"/>
                    </a:cubicBezTo>
                    <a:cubicBezTo>
                      <a:pt x="0" y="28"/>
                      <a:pt x="0" y="28"/>
                      <a:pt x="0" y="28"/>
                    </a:cubicBezTo>
                    <a:cubicBezTo>
                      <a:pt x="0" y="39"/>
                      <a:pt x="0" y="39"/>
                      <a:pt x="0" y="39"/>
                    </a:cubicBezTo>
                    <a:cubicBezTo>
                      <a:pt x="11" y="39"/>
                      <a:pt x="11" y="39"/>
                      <a:pt x="11" y="39"/>
                    </a:cubicBezTo>
                    <a:cubicBezTo>
                      <a:pt x="11" y="86"/>
                      <a:pt x="11" y="86"/>
                      <a:pt x="11" y="86"/>
                    </a:cubicBezTo>
                    <a:cubicBezTo>
                      <a:pt x="11" y="94"/>
                      <a:pt x="11" y="99"/>
                      <a:pt x="12" y="102"/>
                    </a:cubicBezTo>
                    <a:cubicBezTo>
                      <a:pt x="13" y="104"/>
                      <a:pt x="15" y="106"/>
                      <a:pt x="18" y="108"/>
                    </a:cubicBezTo>
                    <a:cubicBezTo>
                      <a:pt x="21" y="110"/>
                      <a:pt x="25" y="110"/>
                      <a:pt x="30" y="110"/>
                    </a:cubicBezTo>
                    <a:cubicBezTo>
                      <a:pt x="33" y="110"/>
                      <a:pt x="36" y="110"/>
                      <a:pt x="40" y="109"/>
                    </a:cubicBezTo>
                    <a:cubicBezTo>
                      <a:pt x="38" y="97"/>
                      <a:pt x="38" y="97"/>
                      <a:pt x="38" y="97"/>
                    </a:cubicBezTo>
                    <a:cubicBezTo>
                      <a:pt x="36" y="97"/>
                      <a:pt x="34" y="98"/>
                      <a:pt x="32" y="9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26" name="išľîḋê"/>
              <p:cNvSpPr/>
              <p:nvPr/>
            </p:nvSpPr>
            <p:spPr bwMode="auto">
              <a:xfrm>
                <a:off x="6335966" y="5733053"/>
                <a:ext cx="136525" cy="211138"/>
              </a:xfrm>
              <a:custGeom>
                <a:avLst/>
                <a:gdLst>
                  <a:gd name="T0" fmla="*/ 43 w 74"/>
                  <a:gd name="T1" fmla="*/ 47 h 114"/>
                  <a:gd name="T2" fmla="*/ 37 w 74"/>
                  <a:gd name="T3" fmla="*/ 66 h 114"/>
                  <a:gd name="T4" fmla="*/ 32 w 74"/>
                  <a:gd name="T5" fmla="*/ 47 h 114"/>
                  <a:gd name="T6" fmla="*/ 15 w 74"/>
                  <a:gd name="T7" fmla="*/ 0 h 114"/>
                  <a:gd name="T8" fmla="*/ 0 w 74"/>
                  <a:gd name="T9" fmla="*/ 0 h 114"/>
                  <a:gd name="T10" fmla="*/ 31 w 74"/>
                  <a:gd name="T11" fmla="*/ 81 h 114"/>
                  <a:gd name="T12" fmla="*/ 29 w 74"/>
                  <a:gd name="T13" fmla="*/ 85 h 114"/>
                  <a:gd name="T14" fmla="*/ 25 w 74"/>
                  <a:gd name="T15" fmla="*/ 95 h 114"/>
                  <a:gd name="T16" fmla="*/ 21 w 74"/>
                  <a:gd name="T17" fmla="*/ 99 h 114"/>
                  <a:gd name="T18" fmla="*/ 13 w 74"/>
                  <a:gd name="T19" fmla="*/ 101 h 114"/>
                  <a:gd name="T20" fmla="*/ 5 w 74"/>
                  <a:gd name="T21" fmla="*/ 100 h 114"/>
                  <a:gd name="T22" fmla="*/ 7 w 74"/>
                  <a:gd name="T23" fmla="*/ 113 h 114"/>
                  <a:gd name="T24" fmla="*/ 16 w 74"/>
                  <a:gd name="T25" fmla="*/ 114 h 114"/>
                  <a:gd name="T26" fmla="*/ 27 w 74"/>
                  <a:gd name="T27" fmla="*/ 111 h 114"/>
                  <a:gd name="T28" fmla="*/ 36 w 74"/>
                  <a:gd name="T29" fmla="*/ 101 h 114"/>
                  <a:gd name="T30" fmla="*/ 43 w 74"/>
                  <a:gd name="T31" fmla="*/ 83 h 114"/>
                  <a:gd name="T32" fmla="*/ 74 w 74"/>
                  <a:gd name="T33" fmla="*/ 0 h 114"/>
                  <a:gd name="T34" fmla="*/ 60 w 74"/>
                  <a:gd name="T35" fmla="*/ 0 h 114"/>
                  <a:gd name="T36" fmla="*/ 43 w 74"/>
                  <a:gd name="T37" fmla="*/ 47 h 1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74" h="114">
                    <a:moveTo>
                      <a:pt x="43" y="47"/>
                    </a:moveTo>
                    <a:cubicBezTo>
                      <a:pt x="41" y="53"/>
                      <a:pt x="39" y="60"/>
                      <a:pt x="37" y="66"/>
                    </a:cubicBezTo>
                    <a:cubicBezTo>
                      <a:pt x="36" y="59"/>
                      <a:pt x="34" y="53"/>
                      <a:pt x="32" y="47"/>
                    </a:cubicBezTo>
                    <a:cubicBezTo>
                      <a:pt x="15" y="0"/>
                      <a:pt x="15" y="0"/>
                      <a:pt x="15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31" y="81"/>
                      <a:pt x="31" y="81"/>
                      <a:pt x="31" y="81"/>
                    </a:cubicBezTo>
                    <a:cubicBezTo>
                      <a:pt x="30" y="83"/>
                      <a:pt x="30" y="84"/>
                      <a:pt x="29" y="85"/>
                    </a:cubicBezTo>
                    <a:cubicBezTo>
                      <a:pt x="27" y="90"/>
                      <a:pt x="26" y="94"/>
                      <a:pt x="25" y="95"/>
                    </a:cubicBezTo>
                    <a:cubicBezTo>
                      <a:pt x="24" y="97"/>
                      <a:pt x="22" y="98"/>
                      <a:pt x="21" y="99"/>
                    </a:cubicBezTo>
                    <a:cubicBezTo>
                      <a:pt x="19" y="100"/>
                      <a:pt x="16" y="101"/>
                      <a:pt x="13" y="101"/>
                    </a:cubicBezTo>
                    <a:cubicBezTo>
                      <a:pt x="11" y="101"/>
                      <a:pt x="8" y="101"/>
                      <a:pt x="5" y="100"/>
                    </a:cubicBezTo>
                    <a:cubicBezTo>
                      <a:pt x="7" y="113"/>
                      <a:pt x="7" y="113"/>
                      <a:pt x="7" y="113"/>
                    </a:cubicBezTo>
                    <a:cubicBezTo>
                      <a:pt x="10" y="114"/>
                      <a:pt x="13" y="114"/>
                      <a:pt x="16" y="114"/>
                    </a:cubicBezTo>
                    <a:cubicBezTo>
                      <a:pt x="20" y="114"/>
                      <a:pt x="24" y="113"/>
                      <a:pt x="27" y="111"/>
                    </a:cubicBezTo>
                    <a:cubicBezTo>
                      <a:pt x="30" y="109"/>
                      <a:pt x="33" y="106"/>
                      <a:pt x="36" y="101"/>
                    </a:cubicBezTo>
                    <a:cubicBezTo>
                      <a:pt x="37" y="98"/>
                      <a:pt x="40" y="92"/>
                      <a:pt x="43" y="83"/>
                    </a:cubicBezTo>
                    <a:cubicBezTo>
                      <a:pt x="74" y="0"/>
                      <a:pt x="74" y="0"/>
                      <a:pt x="74" y="0"/>
                    </a:cubicBezTo>
                    <a:cubicBezTo>
                      <a:pt x="60" y="0"/>
                      <a:pt x="60" y="0"/>
                      <a:pt x="60" y="0"/>
                    </a:cubicBezTo>
                    <a:lnTo>
                      <a:pt x="43" y="4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27" name="íSḷiḑè"/>
              <p:cNvSpPr/>
              <p:nvPr/>
            </p:nvSpPr>
            <p:spPr bwMode="auto">
              <a:xfrm>
                <a:off x="6564566" y="5729878"/>
                <a:ext cx="142875" cy="157163"/>
              </a:xfrm>
              <a:custGeom>
                <a:avLst/>
                <a:gdLst>
                  <a:gd name="T0" fmla="*/ 38 w 77"/>
                  <a:gd name="T1" fmla="*/ 0 h 85"/>
                  <a:gd name="T2" fmla="*/ 13 w 77"/>
                  <a:gd name="T3" fmla="*/ 9 h 85"/>
                  <a:gd name="T4" fmla="*/ 0 w 77"/>
                  <a:gd name="T5" fmla="*/ 43 h 85"/>
                  <a:gd name="T6" fmla="*/ 11 w 77"/>
                  <a:gd name="T7" fmla="*/ 74 h 85"/>
                  <a:gd name="T8" fmla="*/ 38 w 77"/>
                  <a:gd name="T9" fmla="*/ 85 h 85"/>
                  <a:gd name="T10" fmla="*/ 58 w 77"/>
                  <a:gd name="T11" fmla="*/ 80 h 85"/>
                  <a:gd name="T12" fmla="*/ 72 w 77"/>
                  <a:gd name="T13" fmla="*/ 66 h 85"/>
                  <a:gd name="T14" fmla="*/ 77 w 77"/>
                  <a:gd name="T15" fmla="*/ 42 h 85"/>
                  <a:gd name="T16" fmla="*/ 66 w 77"/>
                  <a:gd name="T17" fmla="*/ 11 h 85"/>
                  <a:gd name="T18" fmla="*/ 38 w 77"/>
                  <a:gd name="T19" fmla="*/ 0 h 85"/>
                  <a:gd name="T20" fmla="*/ 56 w 77"/>
                  <a:gd name="T21" fmla="*/ 66 h 85"/>
                  <a:gd name="T22" fmla="*/ 38 w 77"/>
                  <a:gd name="T23" fmla="*/ 74 h 85"/>
                  <a:gd name="T24" fmla="*/ 21 w 77"/>
                  <a:gd name="T25" fmla="*/ 66 h 85"/>
                  <a:gd name="T26" fmla="*/ 15 w 77"/>
                  <a:gd name="T27" fmla="*/ 43 h 85"/>
                  <a:gd name="T28" fmla="*/ 21 w 77"/>
                  <a:gd name="T29" fmla="*/ 19 h 85"/>
                  <a:gd name="T30" fmla="*/ 38 w 77"/>
                  <a:gd name="T31" fmla="*/ 12 h 85"/>
                  <a:gd name="T32" fmla="*/ 56 w 77"/>
                  <a:gd name="T33" fmla="*/ 19 h 85"/>
                  <a:gd name="T34" fmla="*/ 62 w 77"/>
                  <a:gd name="T35" fmla="*/ 42 h 85"/>
                  <a:gd name="T36" fmla="*/ 56 w 77"/>
                  <a:gd name="T37" fmla="*/ 66 h 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77" h="85">
                    <a:moveTo>
                      <a:pt x="38" y="0"/>
                    </a:moveTo>
                    <a:cubicBezTo>
                      <a:pt x="28" y="0"/>
                      <a:pt x="20" y="3"/>
                      <a:pt x="13" y="9"/>
                    </a:cubicBezTo>
                    <a:cubicBezTo>
                      <a:pt x="5" y="16"/>
                      <a:pt x="0" y="28"/>
                      <a:pt x="0" y="43"/>
                    </a:cubicBezTo>
                    <a:cubicBezTo>
                      <a:pt x="0" y="56"/>
                      <a:pt x="4" y="67"/>
                      <a:pt x="11" y="74"/>
                    </a:cubicBezTo>
                    <a:cubicBezTo>
                      <a:pt x="18" y="82"/>
                      <a:pt x="27" y="85"/>
                      <a:pt x="38" y="85"/>
                    </a:cubicBezTo>
                    <a:cubicBezTo>
                      <a:pt x="46" y="85"/>
                      <a:pt x="52" y="84"/>
                      <a:pt x="58" y="80"/>
                    </a:cubicBezTo>
                    <a:cubicBezTo>
                      <a:pt x="64" y="77"/>
                      <a:pt x="69" y="72"/>
                      <a:pt x="72" y="66"/>
                    </a:cubicBezTo>
                    <a:cubicBezTo>
                      <a:pt x="75" y="60"/>
                      <a:pt x="77" y="52"/>
                      <a:pt x="77" y="42"/>
                    </a:cubicBezTo>
                    <a:cubicBezTo>
                      <a:pt x="77" y="29"/>
                      <a:pt x="73" y="19"/>
                      <a:pt x="66" y="11"/>
                    </a:cubicBezTo>
                    <a:cubicBezTo>
                      <a:pt x="59" y="4"/>
                      <a:pt x="50" y="0"/>
                      <a:pt x="38" y="0"/>
                    </a:cubicBezTo>
                    <a:close/>
                    <a:moveTo>
                      <a:pt x="56" y="66"/>
                    </a:moveTo>
                    <a:cubicBezTo>
                      <a:pt x="51" y="71"/>
                      <a:pt x="45" y="74"/>
                      <a:pt x="38" y="74"/>
                    </a:cubicBezTo>
                    <a:cubicBezTo>
                      <a:pt x="32" y="74"/>
                      <a:pt x="26" y="71"/>
                      <a:pt x="21" y="66"/>
                    </a:cubicBezTo>
                    <a:cubicBezTo>
                      <a:pt x="17" y="61"/>
                      <a:pt x="15" y="53"/>
                      <a:pt x="15" y="43"/>
                    </a:cubicBezTo>
                    <a:cubicBezTo>
                      <a:pt x="15" y="32"/>
                      <a:pt x="17" y="24"/>
                      <a:pt x="21" y="19"/>
                    </a:cubicBezTo>
                    <a:cubicBezTo>
                      <a:pt x="26" y="14"/>
                      <a:pt x="32" y="12"/>
                      <a:pt x="38" y="12"/>
                    </a:cubicBezTo>
                    <a:cubicBezTo>
                      <a:pt x="45" y="12"/>
                      <a:pt x="51" y="14"/>
                      <a:pt x="56" y="19"/>
                    </a:cubicBezTo>
                    <a:cubicBezTo>
                      <a:pt x="60" y="25"/>
                      <a:pt x="62" y="32"/>
                      <a:pt x="62" y="42"/>
                    </a:cubicBezTo>
                    <a:cubicBezTo>
                      <a:pt x="62" y="53"/>
                      <a:pt x="60" y="61"/>
                      <a:pt x="56" y="6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28" name="ïṣľïḑe"/>
              <p:cNvSpPr/>
              <p:nvPr/>
            </p:nvSpPr>
            <p:spPr bwMode="auto">
              <a:xfrm>
                <a:off x="6720141" y="5672728"/>
                <a:ext cx="85725" cy="209550"/>
              </a:xfrm>
              <a:custGeom>
                <a:avLst/>
                <a:gdLst>
                  <a:gd name="T0" fmla="*/ 20 w 47"/>
                  <a:gd name="T1" fmla="*/ 4 h 114"/>
                  <a:gd name="T2" fmla="*/ 13 w 47"/>
                  <a:gd name="T3" fmla="*/ 12 h 114"/>
                  <a:gd name="T4" fmla="*/ 12 w 47"/>
                  <a:gd name="T5" fmla="*/ 24 h 114"/>
                  <a:gd name="T6" fmla="*/ 12 w 47"/>
                  <a:gd name="T7" fmla="*/ 33 h 114"/>
                  <a:gd name="T8" fmla="*/ 0 w 47"/>
                  <a:gd name="T9" fmla="*/ 33 h 114"/>
                  <a:gd name="T10" fmla="*/ 0 w 47"/>
                  <a:gd name="T11" fmla="*/ 44 h 114"/>
                  <a:gd name="T12" fmla="*/ 12 w 47"/>
                  <a:gd name="T13" fmla="*/ 44 h 114"/>
                  <a:gd name="T14" fmla="*/ 12 w 47"/>
                  <a:gd name="T15" fmla="*/ 114 h 114"/>
                  <a:gd name="T16" fmla="*/ 26 w 47"/>
                  <a:gd name="T17" fmla="*/ 114 h 114"/>
                  <a:gd name="T18" fmla="*/ 26 w 47"/>
                  <a:gd name="T19" fmla="*/ 44 h 114"/>
                  <a:gd name="T20" fmla="*/ 41 w 47"/>
                  <a:gd name="T21" fmla="*/ 44 h 114"/>
                  <a:gd name="T22" fmla="*/ 41 w 47"/>
                  <a:gd name="T23" fmla="*/ 33 h 114"/>
                  <a:gd name="T24" fmla="*/ 26 w 47"/>
                  <a:gd name="T25" fmla="*/ 33 h 114"/>
                  <a:gd name="T26" fmla="*/ 26 w 47"/>
                  <a:gd name="T27" fmla="*/ 26 h 114"/>
                  <a:gd name="T28" fmla="*/ 28 w 47"/>
                  <a:gd name="T29" fmla="*/ 16 h 114"/>
                  <a:gd name="T30" fmla="*/ 37 w 47"/>
                  <a:gd name="T31" fmla="*/ 13 h 114"/>
                  <a:gd name="T32" fmla="*/ 45 w 47"/>
                  <a:gd name="T33" fmla="*/ 14 h 114"/>
                  <a:gd name="T34" fmla="*/ 47 w 47"/>
                  <a:gd name="T35" fmla="*/ 2 h 114"/>
                  <a:gd name="T36" fmla="*/ 34 w 47"/>
                  <a:gd name="T37" fmla="*/ 0 h 114"/>
                  <a:gd name="T38" fmla="*/ 20 w 47"/>
                  <a:gd name="T39" fmla="*/ 4 h 1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47" h="114">
                    <a:moveTo>
                      <a:pt x="20" y="4"/>
                    </a:moveTo>
                    <a:cubicBezTo>
                      <a:pt x="17" y="6"/>
                      <a:pt x="15" y="9"/>
                      <a:pt x="13" y="12"/>
                    </a:cubicBezTo>
                    <a:cubicBezTo>
                      <a:pt x="12" y="15"/>
                      <a:pt x="12" y="19"/>
                      <a:pt x="12" y="24"/>
                    </a:cubicBezTo>
                    <a:cubicBezTo>
                      <a:pt x="12" y="33"/>
                      <a:pt x="12" y="33"/>
                      <a:pt x="12" y="33"/>
                    </a:cubicBezTo>
                    <a:cubicBezTo>
                      <a:pt x="0" y="33"/>
                      <a:pt x="0" y="33"/>
                      <a:pt x="0" y="33"/>
                    </a:cubicBezTo>
                    <a:cubicBezTo>
                      <a:pt x="0" y="44"/>
                      <a:pt x="0" y="44"/>
                      <a:pt x="0" y="44"/>
                    </a:cubicBezTo>
                    <a:cubicBezTo>
                      <a:pt x="12" y="44"/>
                      <a:pt x="12" y="44"/>
                      <a:pt x="12" y="44"/>
                    </a:cubicBezTo>
                    <a:cubicBezTo>
                      <a:pt x="12" y="114"/>
                      <a:pt x="12" y="114"/>
                      <a:pt x="12" y="114"/>
                    </a:cubicBezTo>
                    <a:cubicBezTo>
                      <a:pt x="26" y="114"/>
                      <a:pt x="26" y="114"/>
                      <a:pt x="26" y="114"/>
                    </a:cubicBezTo>
                    <a:cubicBezTo>
                      <a:pt x="26" y="44"/>
                      <a:pt x="26" y="44"/>
                      <a:pt x="26" y="44"/>
                    </a:cubicBezTo>
                    <a:cubicBezTo>
                      <a:pt x="41" y="44"/>
                      <a:pt x="41" y="44"/>
                      <a:pt x="41" y="44"/>
                    </a:cubicBezTo>
                    <a:cubicBezTo>
                      <a:pt x="41" y="33"/>
                      <a:pt x="41" y="33"/>
                      <a:pt x="41" y="33"/>
                    </a:cubicBezTo>
                    <a:cubicBezTo>
                      <a:pt x="26" y="33"/>
                      <a:pt x="26" y="33"/>
                      <a:pt x="26" y="33"/>
                    </a:cubicBezTo>
                    <a:cubicBezTo>
                      <a:pt x="26" y="26"/>
                      <a:pt x="26" y="26"/>
                      <a:pt x="26" y="26"/>
                    </a:cubicBezTo>
                    <a:cubicBezTo>
                      <a:pt x="26" y="21"/>
                      <a:pt x="27" y="17"/>
                      <a:pt x="28" y="16"/>
                    </a:cubicBezTo>
                    <a:cubicBezTo>
                      <a:pt x="30" y="14"/>
                      <a:pt x="33" y="13"/>
                      <a:pt x="37" y="13"/>
                    </a:cubicBezTo>
                    <a:cubicBezTo>
                      <a:pt x="40" y="13"/>
                      <a:pt x="42" y="13"/>
                      <a:pt x="45" y="14"/>
                    </a:cubicBezTo>
                    <a:cubicBezTo>
                      <a:pt x="47" y="2"/>
                      <a:pt x="47" y="2"/>
                      <a:pt x="47" y="2"/>
                    </a:cubicBezTo>
                    <a:cubicBezTo>
                      <a:pt x="43" y="1"/>
                      <a:pt x="38" y="0"/>
                      <a:pt x="34" y="0"/>
                    </a:cubicBezTo>
                    <a:cubicBezTo>
                      <a:pt x="28" y="0"/>
                      <a:pt x="24" y="1"/>
                      <a:pt x="20" y="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29" name="ïš1îḍè"/>
              <p:cNvSpPr/>
              <p:nvPr/>
            </p:nvSpPr>
            <p:spPr bwMode="auto">
              <a:xfrm>
                <a:off x="6890003" y="5672728"/>
                <a:ext cx="165100" cy="214313"/>
              </a:xfrm>
              <a:custGeom>
                <a:avLst/>
                <a:gdLst>
                  <a:gd name="T0" fmla="*/ 71 w 90"/>
                  <a:gd name="T1" fmla="*/ 55 h 116"/>
                  <a:gd name="T2" fmla="*/ 46 w 90"/>
                  <a:gd name="T3" fmla="*/ 48 h 116"/>
                  <a:gd name="T4" fmla="*/ 23 w 90"/>
                  <a:gd name="T5" fmla="*/ 40 h 116"/>
                  <a:gd name="T6" fmla="*/ 19 w 90"/>
                  <a:gd name="T7" fmla="*/ 30 h 116"/>
                  <a:gd name="T8" fmla="*/ 25 w 90"/>
                  <a:gd name="T9" fmla="*/ 18 h 116"/>
                  <a:gd name="T10" fmla="*/ 45 w 90"/>
                  <a:gd name="T11" fmla="*/ 13 h 116"/>
                  <a:gd name="T12" fmla="*/ 64 w 90"/>
                  <a:gd name="T13" fmla="*/ 19 h 116"/>
                  <a:gd name="T14" fmla="*/ 72 w 90"/>
                  <a:gd name="T15" fmla="*/ 35 h 116"/>
                  <a:gd name="T16" fmla="*/ 86 w 90"/>
                  <a:gd name="T17" fmla="*/ 34 h 116"/>
                  <a:gd name="T18" fmla="*/ 81 w 90"/>
                  <a:gd name="T19" fmla="*/ 16 h 116"/>
                  <a:gd name="T20" fmla="*/ 66 w 90"/>
                  <a:gd name="T21" fmla="*/ 4 h 116"/>
                  <a:gd name="T22" fmla="*/ 44 w 90"/>
                  <a:gd name="T23" fmla="*/ 0 h 116"/>
                  <a:gd name="T24" fmla="*/ 24 w 90"/>
                  <a:gd name="T25" fmla="*/ 4 h 116"/>
                  <a:gd name="T26" fmla="*/ 10 w 90"/>
                  <a:gd name="T27" fmla="*/ 15 h 116"/>
                  <a:gd name="T28" fmla="*/ 5 w 90"/>
                  <a:gd name="T29" fmla="*/ 31 h 116"/>
                  <a:gd name="T30" fmla="*/ 9 w 90"/>
                  <a:gd name="T31" fmla="*/ 45 h 116"/>
                  <a:gd name="T32" fmla="*/ 21 w 90"/>
                  <a:gd name="T33" fmla="*/ 56 h 116"/>
                  <a:gd name="T34" fmla="*/ 42 w 90"/>
                  <a:gd name="T35" fmla="*/ 63 h 116"/>
                  <a:gd name="T36" fmla="*/ 62 w 90"/>
                  <a:gd name="T37" fmla="*/ 68 h 116"/>
                  <a:gd name="T38" fmla="*/ 72 w 90"/>
                  <a:gd name="T39" fmla="*/ 75 h 116"/>
                  <a:gd name="T40" fmla="*/ 75 w 90"/>
                  <a:gd name="T41" fmla="*/ 84 h 116"/>
                  <a:gd name="T42" fmla="*/ 72 w 90"/>
                  <a:gd name="T43" fmla="*/ 93 h 116"/>
                  <a:gd name="T44" fmla="*/ 63 w 90"/>
                  <a:gd name="T45" fmla="*/ 100 h 116"/>
                  <a:gd name="T46" fmla="*/ 48 w 90"/>
                  <a:gd name="T47" fmla="*/ 103 h 116"/>
                  <a:gd name="T48" fmla="*/ 30 w 90"/>
                  <a:gd name="T49" fmla="*/ 100 h 116"/>
                  <a:gd name="T50" fmla="*/ 19 w 90"/>
                  <a:gd name="T51" fmla="*/ 91 h 116"/>
                  <a:gd name="T52" fmla="*/ 14 w 90"/>
                  <a:gd name="T53" fmla="*/ 77 h 116"/>
                  <a:gd name="T54" fmla="*/ 0 w 90"/>
                  <a:gd name="T55" fmla="*/ 78 h 116"/>
                  <a:gd name="T56" fmla="*/ 7 w 90"/>
                  <a:gd name="T57" fmla="*/ 98 h 116"/>
                  <a:gd name="T58" fmla="*/ 23 w 90"/>
                  <a:gd name="T59" fmla="*/ 112 h 116"/>
                  <a:gd name="T60" fmla="*/ 48 w 90"/>
                  <a:gd name="T61" fmla="*/ 116 h 116"/>
                  <a:gd name="T62" fmla="*/ 70 w 90"/>
                  <a:gd name="T63" fmla="*/ 112 h 116"/>
                  <a:gd name="T64" fmla="*/ 85 w 90"/>
                  <a:gd name="T65" fmla="*/ 100 h 116"/>
                  <a:gd name="T66" fmla="*/ 90 w 90"/>
                  <a:gd name="T67" fmla="*/ 83 h 116"/>
                  <a:gd name="T68" fmla="*/ 85 w 90"/>
                  <a:gd name="T69" fmla="*/ 67 h 116"/>
                  <a:gd name="T70" fmla="*/ 71 w 90"/>
                  <a:gd name="T71" fmla="*/ 55 h 1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90" h="116">
                    <a:moveTo>
                      <a:pt x="71" y="55"/>
                    </a:moveTo>
                    <a:cubicBezTo>
                      <a:pt x="66" y="53"/>
                      <a:pt x="58" y="51"/>
                      <a:pt x="46" y="48"/>
                    </a:cubicBezTo>
                    <a:cubicBezTo>
                      <a:pt x="34" y="45"/>
                      <a:pt x="26" y="43"/>
                      <a:pt x="23" y="40"/>
                    </a:cubicBezTo>
                    <a:cubicBezTo>
                      <a:pt x="21" y="38"/>
                      <a:pt x="19" y="34"/>
                      <a:pt x="19" y="30"/>
                    </a:cubicBezTo>
                    <a:cubicBezTo>
                      <a:pt x="19" y="26"/>
                      <a:pt x="21" y="22"/>
                      <a:pt x="25" y="18"/>
                    </a:cubicBezTo>
                    <a:cubicBezTo>
                      <a:pt x="29" y="15"/>
                      <a:pt x="36" y="13"/>
                      <a:pt x="45" y="13"/>
                    </a:cubicBezTo>
                    <a:cubicBezTo>
                      <a:pt x="53" y="13"/>
                      <a:pt x="60" y="15"/>
                      <a:pt x="64" y="19"/>
                    </a:cubicBezTo>
                    <a:cubicBezTo>
                      <a:pt x="69" y="22"/>
                      <a:pt x="71" y="28"/>
                      <a:pt x="72" y="35"/>
                    </a:cubicBezTo>
                    <a:cubicBezTo>
                      <a:pt x="86" y="34"/>
                      <a:pt x="86" y="34"/>
                      <a:pt x="86" y="34"/>
                    </a:cubicBezTo>
                    <a:cubicBezTo>
                      <a:pt x="86" y="27"/>
                      <a:pt x="84" y="21"/>
                      <a:pt x="81" y="16"/>
                    </a:cubicBezTo>
                    <a:cubicBezTo>
                      <a:pt x="77" y="11"/>
                      <a:pt x="73" y="7"/>
                      <a:pt x="66" y="4"/>
                    </a:cubicBezTo>
                    <a:cubicBezTo>
                      <a:pt x="60" y="2"/>
                      <a:pt x="53" y="0"/>
                      <a:pt x="44" y="0"/>
                    </a:cubicBezTo>
                    <a:cubicBezTo>
                      <a:pt x="37" y="0"/>
                      <a:pt x="30" y="1"/>
                      <a:pt x="24" y="4"/>
                    </a:cubicBezTo>
                    <a:cubicBezTo>
                      <a:pt x="17" y="7"/>
                      <a:pt x="13" y="10"/>
                      <a:pt x="10" y="15"/>
                    </a:cubicBezTo>
                    <a:cubicBezTo>
                      <a:pt x="6" y="20"/>
                      <a:pt x="5" y="25"/>
                      <a:pt x="5" y="31"/>
                    </a:cubicBezTo>
                    <a:cubicBezTo>
                      <a:pt x="5" y="36"/>
                      <a:pt x="6" y="41"/>
                      <a:pt x="9" y="45"/>
                    </a:cubicBezTo>
                    <a:cubicBezTo>
                      <a:pt x="11" y="49"/>
                      <a:pt x="15" y="53"/>
                      <a:pt x="21" y="56"/>
                    </a:cubicBezTo>
                    <a:cubicBezTo>
                      <a:pt x="25" y="58"/>
                      <a:pt x="32" y="60"/>
                      <a:pt x="42" y="63"/>
                    </a:cubicBezTo>
                    <a:cubicBezTo>
                      <a:pt x="53" y="65"/>
                      <a:pt x="59" y="67"/>
                      <a:pt x="62" y="68"/>
                    </a:cubicBezTo>
                    <a:cubicBezTo>
                      <a:pt x="67" y="70"/>
                      <a:pt x="70" y="72"/>
                      <a:pt x="72" y="75"/>
                    </a:cubicBezTo>
                    <a:cubicBezTo>
                      <a:pt x="74" y="77"/>
                      <a:pt x="75" y="80"/>
                      <a:pt x="75" y="84"/>
                    </a:cubicBezTo>
                    <a:cubicBezTo>
                      <a:pt x="75" y="87"/>
                      <a:pt x="74" y="91"/>
                      <a:pt x="72" y="93"/>
                    </a:cubicBezTo>
                    <a:cubicBezTo>
                      <a:pt x="70" y="96"/>
                      <a:pt x="67" y="99"/>
                      <a:pt x="63" y="100"/>
                    </a:cubicBezTo>
                    <a:cubicBezTo>
                      <a:pt x="58" y="102"/>
                      <a:pt x="53" y="103"/>
                      <a:pt x="48" y="103"/>
                    </a:cubicBezTo>
                    <a:cubicBezTo>
                      <a:pt x="41" y="103"/>
                      <a:pt x="35" y="102"/>
                      <a:pt x="30" y="100"/>
                    </a:cubicBezTo>
                    <a:cubicBezTo>
                      <a:pt x="25" y="97"/>
                      <a:pt x="22" y="94"/>
                      <a:pt x="19" y="91"/>
                    </a:cubicBezTo>
                    <a:cubicBezTo>
                      <a:pt x="17" y="87"/>
                      <a:pt x="15" y="83"/>
                      <a:pt x="14" y="77"/>
                    </a:cubicBezTo>
                    <a:cubicBezTo>
                      <a:pt x="0" y="78"/>
                      <a:pt x="0" y="78"/>
                      <a:pt x="0" y="78"/>
                    </a:cubicBezTo>
                    <a:cubicBezTo>
                      <a:pt x="1" y="86"/>
                      <a:pt x="3" y="93"/>
                      <a:pt x="7" y="98"/>
                    </a:cubicBezTo>
                    <a:cubicBezTo>
                      <a:pt x="11" y="104"/>
                      <a:pt x="16" y="109"/>
                      <a:pt x="23" y="112"/>
                    </a:cubicBezTo>
                    <a:cubicBezTo>
                      <a:pt x="30" y="115"/>
                      <a:pt x="38" y="116"/>
                      <a:pt x="48" y="116"/>
                    </a:cubicBezTo>
                    <a:cubicBezTo>
                      <a:pt x="56" y="116"/>
                      <a:pt x="64" y="115"/>
                      <a:pt x="70" y="112"/>
                    </a:cubicBezTo>
                    <a:cubicBezTo>
                      <a:pt x="76" y="109"/>
                      <a:pt x="81" y="105"/>
                      <a:pt x="85" y="100"/>
                    </a:cubicBezTo>
                    <a:cubicBezTo>
                      <a:pt x="88" y="94"/>
                      <a:pt x="90" y="89"/>
                      <a:pt x="90" y="83"/>
                    </a:cubicBezTo>
                    <a:cubicBezTo>
                      <a:pt x="90" y="77"/>
                      <a:pt x="88" y="71"/>
                      <a:pt x="85" y="67"/>
                    </a:cubicBezTo>
                    <a:cubicBezTo>
                      <a:pt x="82" y="62"/>
                      <a:pt x="77" y="58"/>
                      <a:pt x="71" y="5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30" name="iṥľïḍê"/>
              <p:cNvSpPr/>
              <p:nvPr/>
            </p:nvSpPr>
            <p:spPr bwMode="auto">
              <a:xfrm>
                <a:off x="7080503" y="5729878"/>
                <a:ext cx="131763" cy="157163"/>
              </a:xfrm>
              <a:custGeom>
                <a:avLst/>
                <a:gdLst>
                  <a:gd name="T0" fmla="*/ 50 w 71"/>
                  <a:gd name="T1" fmla="*/ 69 h 85"/>
                  <a:gd name="T2" fmla="*/ 37 w 71"/>
                  <a:gd name="T3" fmla="*/ 74 h 85"/>
                  <a:gd name="T4" fmla="*/ 21 w 71"/>
                  <a:gd name="T5" fmla="*/ 66 h 85"/>
                  <a:gd name="T6" fmla="*/ 14 w 71"/>
                  <a:gd name="T7" fmla="*/ 43 h 85"/>
                  <a:gd name="T8" fmla="*/ 21 w 71"/>
                  <a:gd name="T9" fmla="*/ 19 h 85"/>
                  <a:gd name="T10" fmla="*/ 38 w 71"/>
                  <a:gd name="T11" fmla="*/ 12 h 85"/>
                  <a:gd name="T12" fmla="*/ 49 w 71"/>
                  <a:gd name="T13" fmla="*/ 16 h 85"/>
                  <a:gd name="T14" fmla="*/ 56 w 71"/>
                  <a:gd name="T15" fmla="*/ 28 h 85"/>
                  <a:gd name="T16" fmla="*/ 70 w 71"/>
                  <a:gd name="T17" fmla="*/ 26 h 85"/>
                  <a:gd name="T18" fmla="*/ 59 w 71"/>
                  <a:gd name="T19" fmla="*/ 7 h 85"/>
                  <a:gd name="T20" fmla="*/ 37 w 71"/>
                  <a:gd name="T21" fmla="*/ 0 h 85"/>
                  <a:gd name="T22" fmla="*/ 18 w 71"/>
                  <a:gd name="T23" fmla="*/ 5 h 85"/>
                  <a:gd name="T24" fmla="*/ 4 w 71"/>
                  <a:gd name="T25" fmla="*/ 20 h 85"/>
                  <a:gd name="T26" fmla="*/ 0 w 71"/>
                  <a:gd name="T27" fmla="*/ 43 h 85"/>
                  <a:gd name="T28" fmla="*/ 10 w 71"/>
                  <a:gd name="T29" fmla="*/ 74 h 85"/>
                  <a:gd name="T30" fmla="*/ 37 w 71"/>
                  <a:gd name="T31" fmla="*/ 85 h 85"/>
                  <a:gd name="T32" fmla="*/ 60 w 71"/>
                  <a:gd name="T33" fmla="*/ 77 h 85"/>
                  <a:gd name="T34" fmla="*/ 71 w 71"/>
                  <a:gd name="T35" fmla="*/ 55 h 85"/>
                  <a:gd name="T36" fmla="*/ 57 w 71"/>
                  <a:gd name="T37" fmla="*/ 54 h 85"/>
                  <a:gd name="T38" fmla="*/ 50 w 71"/>
                  <a:gd name="T39" fmla="*/ 69 h 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71" h="85">
                    <a:moveTo>
                      <a:pt x="50" y="69"/>
                    </a:moveTo>
                    <a:cubicBezTo>
                      <a:pt x="47" y="72"/>
                      <a:pt x="42" y="74"/>
                      <a:pt x="37" y="74"/>
                    </a:cubicBezTo>
                    <a:cubicBezTo>
                      <a:pt x="30" y="74"/>
                      <a:pt x="25" y="71"/>
                      <a:pt x="21" y="66"/>
                    </a:cubicBezTo>
                    <a:cubicBezTo>
                      <a:pt x="16" y="61"/>
                      <a:pt x="14" y="54"/>
                      <a:pt x="14" y="43"/>
                    </a:cubicBezTo>
                    <a:cubicBezTo>
                      <a:pt x="14" y="32"/>
                      <a:pt x="16" y="24"/>
                      <a:pt x="21" y="19"/>
                    </a:cubicBezTo>
                    <a:cubicBezTo>
                      <a:pt x="25" y="14"/>
                      <a:pt x="31" y="12"/>
                      <a:pt x="38" y="12"/>
                    </a:cubicBezTo>
                    <a:cubicBezTo>
                      <a:pt x="42" y="12"/>
                      <a:pt x="46" y="13"/>
                      <a:pt x="49" y="16"/>
                    </a:cubicBezTo>
                    <a:cubicBezTo>
                      <a:pt x="53" y="18"/>
                      <a:pt x="55" y="23"/>
                      <a:pt x="56" y="28"/>
                    </a:cubicBezTo>
                    <a:cubicBezTo>
                      <a:pt x="70" y="26"/>
                      <a:pt x="70" y="26"/>
                      <a:pt x="70" y="26"/>
                    </a:cubicBezTo>
                    <a:cubicBezTo>
                      <a:pt x="68" y="18"/>
                      <a:pt x="64" y="11"/>
                      <a:pt x="59" y="7"/>
                    </a:cubicBezTo>
                    <a:cubicBezTo>
                      <a:pt x="53" y="2"/>
                      <a:pt x="46" y="0"/>
                      <a:pt x="37" y="0"/>
                    </a:cubicBezTo>
                    <a:cubicBezTo>
                      <a:pt x="30" y="0"/>
                      <a:pt x="24" y="2"/>
                      <a:pt x="18" y="5"/>
                    </a:cubicBezTo>
                    <a:cubicBezTo>
                      <a:pt x="12" y="8"/>
                      <a:pt x="7" y="13"/>
                      <a:pt x="4" y="20"/>
                    </a:cubicBezTo>
                    <a:cubicBezTo>
                      <a:pt x="2" y="27"/>
                      <a:pt x="0" y="34"/>
                      <a:pt x="0" y="43"/>
                    </a:cubicBezTo>
                    <a:cubicBezTo>
                      <a:pt x="0" y="57"/>
                      <a:pt x="3" y="67"/>
                      <a:pt x="10" y="74"/>
                    </a:cubicBezTo>
                    <a:cubicBezTo>
                      <a:pt x="17" y="82"/>
                      <a:pt x="26" y="85"/>
                      <a:pt x="37" y="85"/>
                    </a:cubicBezTo>
                    <a:cubicBezTo>
                      <a:pt x="46" y="85"/>
                      <a:pt x="53" y="83"/>
                      <a:pt x="60" y="77"/>
                    </a:cubicBezTo>
                    <a:cubicBezTo>
                      <a:pt x="66" y="72"/>
                      <a:pt x="69" y="65"/>
                      <a:pt x="71" y="55"/>
                    </a:cubicBezTo>
                    <a:cubicBezTo>
                      <a:pt x="57" y="54"/>
                      <a:pt x="57" y="54"/>
                      <a:pt x="57" y="54"/>
                    </a:cubicBezTo>
                    <a:cubicBezTo>
                      <a:pt x="56" y="60"/>
                      <a:pt x="54" y="66"/>
                      <a:pt x="50" y="6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31" name="íṥ1ïdê"/>
              <p:cNvSpPr/>
              <p:nvPr/>
            </p:nvSpPr>
            <p:spPr bwMode="auto">
              <a:xfrm>
                <a:off x="7234491" y="5675903"/>
                <a:ext cx="25400" cy="30163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32" name="îṡ1îďé"/>
              <p:cNvSpPr/>
              <p:nvPr/>
            </p:nvSpPr>
            <p:spPr bwMode="auto">
              <a:xfrm>
                <a:off x="7234491" y="5733053"/>
                <a:ext cx="25400" cy="149225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33" name="íṩḷïḑé"/>
              <p:cNvSpPr/>
              <p:nvPr/>
            </p:nvSpPr>
            <p:spPr bwMode="auto">
              <a:xfrm>
                <a:off x="7290053" y="5729878"/>
                <a:ext cx="138113" cy="157163"/>
              </a:xfrm>
              <a:custGeom>
                <a:avLst/>
                <a:gdLst>
                  <a:gd name="T0" fmla="*/ 38 w 75"/>
                  <a:gd name="T1" fmla="*/ 0 h 85"/>
                  <a:gd name="T2" fmla="*/ 10 w 75"/>
                  <a:gd name="T3" fmla="*/ 12 h 85"/>
                  <a:gd name="T4" fmla="*/ 0 w 75"/>
                  <a:gd name="T5" fmla="*/ 43 h 85"/>
                  <a:gd name="T6" fmla="*/ 10 w 75"/>
                  <a:gd name="T7" fmla="*/ 74 h 85"/>
                  <a:gd name="T8" fmla="*/ 39 w 75"/>
                  <a:gd name="T9" fmla="*/ 85 h 85"/>
                  <a:gd name="T10" fmla="*/ 62 w 75"/>
                  <a:gd name="T11" fmla="*/ 78 h 85"/>
                  <a:gd name="T12" fmla="*/ 74 w 75"/>
                  <a:gd name="T13" fmla="*/ 59 h 85"/>
                  <a:gd name="T14" fmla="*/ 60 w 75"/>
                  <a:gd name="T15" fmla="*/ 57 h 85"/>
                  <a:gd name="T16" fmla="*/ 52 w 75"/>
                  <a:gd name="T17" fmla="*/ 70 h 85"/>
                  <a:gd name="T18" fmla="*/ 39 w 75"/>
                  <a:gd name="T19" fmla="*/ 74 h 85"/>
                  <a:gd name="T20" fmla="*/ 22 w 75"/>
                  <a:gd name="T21" fmla="*/ 67 h 85"/>
                  <a:gd name="T22" fmla="*/ 14 w 75"/>
                  <a:gd name="T23" fmla="*/ 46 h 85"/>
                  <a:gd name="T24" fmla="*/ 75 w 75"/>
                  <a:gd name="T25" fmla="*/ 46 h 85"/>
                  <a:gd name="T26" fmla="*/ 75 w 75"/>
                  <a:gd name="T27" fmla="*/ 43 h 85"/>
                  <a:gd name="T28" fmla="*/ 65 w 75"/>
                  <a:gd name="T29" fmla="*/ 11 h 85"/>
                  <a:gd name="T30" fmla="*/ 38 w 75"/>
                  <a:gd name="T31" fmla="*/ 0 h 85"/>
                  <a:gd name="T32" fmla="*/ 15 w 75"/>
                  <a:gd name="T33" fmla="*/ 35 h 85"/>
                  <a:gd name="T34" fmla="*/ 22 w 75"/>
                  <a:gd name="T35" fmla="*/ 18 h 85"/>
                  <a:gd name="T36" fmla="*/ 38 w 75"/>
                  <a:gd name="T37" fmla="*/ 12 h 85"/>
                  <a:gd name="T38" fmla="*/ 55 w 75"/>
                  <a:gd name="T39" fmla="*/ 20 h 85"/>
                  <a:gd name="T40" fmla="*/ 60 w 75"/>
                  <a:gd name="T41" fmla="*/ 35 h 85"/>
                  <a:gd name="T42" fmla="*/ 15 w 75"/>
                  <a:gd name="T43" fmla="*/ 35 h 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75" h="85">
                    <a:moveTo>
                      <a:pt x="38" y="0"/>
                    </a:moveTo>
                    <a:cubicBezTo>
                      <a:pt x="27" y="0"/>
                      <a:pt x="18" y="4"/>
                      <a:pt x="10" y="12"/>
                    </a:cubicBezTo>
                    <a:cubicBezTo>
                      <a:pt x="3" y="19"/>
                      <a:pt x="0" y="30"/>
                      <a:pt x="0" y="43"/>
                    </a:cubicBezTo>
                    <a:cubicBezTo>
                      <a:pt x="0" y="57"/>
                      <a:pt x="3" y="67"/>
                      <a:pt x="10" y="74"/>
                    </a:cubicBezTo>
                    <a:cubicBezTo>
                      <a:pt x="17" y="81"/>
                      <a:pt x="27" y="85"/>
                      <a:pt x="39" y="85"/>
                    </a:cubicBezTo>
                    <a:cubicBezTo>
                      <a:pt x="48" y="85"/>
                      <a:pt x="56" y="83"/>
                      <a:pt x="62" y="78"/>
                    </a:cubicBezTo>
                    <a:cubicBezTo>
                      <a:pt x="68" y="74"/>
                      <a:pt x="72" y="67"/>
                      <a:pt x="74" y="59"/>
                    </a:cubicBezTo>
                    <a:cubicBezTo>
                      <a:pt x="60" y="57"/>
                      <a:pt x="60" y="57"/>
                      <a:pt x="60" y="57"/>
                    </a:cubicBezTo>
                    <a:cubicBezTo>
                      <a:pt x="58" y="63"/>
                      <a:pt x="55" y="67"/>
                      <a:pt x="52" y="70"/>
                    </a:cubicBezTo>
                    <a:cubicBezTo>
                      <a:pt x="48" y="73"/>
                      <a:pt x="44" y="74"/>
                      <a:pt x="39" y="74"/>
                    </a:cubicBezTo>
                    <a:cubicBezTo>
                      <a:pt x="32" y="74"/>
                      <a:pt x="26" y="71"/>
                      <a:pt x="22" y="67"/>
                    </a:cubicBezTo>
                    <a:cubicBezTo>
                      <a:pt x="17" y="62"/>
                      <a:pt x="15" y="55"/>
                      <a:pt x="14" y="46"/>
                    </a:cubicBezTo>
                    <a:cubicBezTo>
                      <a:pt x="75" y="46"/>
                      <a:pt x="75" y="46"/>
                      <a:pt x="75" y="46"/>
                    </a:cubicBezTo>
                    <a:cubicBezTo>
                      <a:pt x="75" y="45"/>
                      <a:pt x="75" y="43"/>
                      <a:pt x="75" y="43"/>
                    </a:cubicBezTo>
                    <a:cubicBezTo>
                      <a:pt x="75" y="29"/>
                      <a:pt x="71" y="19"/>
                      <a:pt x="65" y="11"/>
                    </a:cubicBezTo>
                    <a:cubicBezTo>
                      <a:pt x="58" y="4"/>
                      <a:pt x="49" y="0"/>
                      <a:pt x="38" y="0"/>
                    </a:cubicBezTo>
                    <a:close/>
                    <a:moveTo>
                      <a:pt x="15" y="35"/>
                    </a:moveTo>
                    <a:cubicBezTo>
                      <a:pt x="15" y="28"/>
                      <a:pt x="18" y="22"/>
                      <a:pt x="22" y="18"/>
                    </a:cubicBezTo>
                    <a:cubicBezTo>
                      <a:pt x="26" y="14"/>
                      <a:pt x="32" y="12"/>
                      <a:pt x="38" y="12"/>
                    </a:cubicBezTo>
                    <a:cubicBezTo>
                      <a:pt x="45" y="12"/>
                      <a:pt x="51" y="14"/>
                      <a:pt x="55" y="20"/>
                    </a:cubicBezTo>
                    <a:cubicBezTo>
                      <a:pt x="58" y="23"/>
                      <a:pt x="60" y="28"/>
                      <a:pt x="60" y="35"/>
                    </a:cubicBezTo>
                    <a:lnTo>
                      <a:pt x="15" y="3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34" name="ïşḷiḋè"/>
              <p:cNvSpPr/>
              <p:nvPr/>
            </p:nvSpPr>
            <p:spPr bwMode="auto">
              <a:xfrm>
                <a:off x="7458328" y="5729878"/>
                <a:ext cx="122238" cy="152400"/>
              </a:xfrm>
              <a:custGeom>
                <a:avLst/>
                <a:gdLst>
                  <a:gd name="T0" fmla="*/ 61 w 66"/>
                  <a:gd name="T1" fmla="*/ 10 h 83"/>
                  <a:gd name="T2" fmla="*/ 51 w 66"/>
                  <a:gd name="T3" fmla="*/ 3 h 83"/>
                  <a:gd name="T4" fmla="*/ 38 w 66"/>
                  <a:gd name="T5" fmla="*/ 0 h 83"/>
                  <a:gd name="T6" fmla="*/ 12 w 66"/>
                  <a:gd name="T7" fmla="*/ 14 h 83"/>
                  <a:gd name="T8" fmla="*/ 12 w 66"/>
                  <a:gd name="T9" fmla="*/ 2 h 83"/>
                  <a:gd name="T10" fmla="*/ 0 w 66"/>
                  <a:gd name="T11" fmla="*/ 2 h 83"/>
                  <a:gd name="T12" fmla="*/ 0 w 66"/>
                  <a:gd name="T13" fmla="*/ 83 h 83"/>
                  <a:gd name="T14" fmla="*/ 13 w 66"/>
                  <a:gd name="T15" fmla="*/ 83 h 83"/>
                  <a:gd name="T16" fmla="*/ 13 w 66"/>
                  <a:gd name="T17" fmla="*/ 39 h 83"/>
                  <a:gd name="T18" fmla="*/ 20 w 66"/>
                  <a:gd name="T19" fmla="*/ 18 h 83"/>
                  <a:gd name="T20" fmla="*/ 35 w 66"/>
                  <a:gd name="T21" fmla="*/ 12 h 83"/>
                  <a:gd name="T22" fmla="*/ 45 w 66"/>
                  <a:gd name="T23" fmla="*/ 15 h 83"/>
                  <a:gd name="T24" fmla="*/ 50 w 66"/>
                  <a:gd name="T25" fmla="*/ 21 h 83"/>
                  <a:gd name="T26" fmla="*/ 52 w 66"/>
                  <a:gd name="T27" fmla="*/ 34 h 83"/>
                  <a:gd name="T28" fmla="*/ 52 w 66"/>
                  <a:gd name="T29" fmla="*/ 83 h 83"/>
                  <a:gd name="T30" fmla="*/ 66 w 66"/>
                  <a:gd name="T31" fmla="*/ 83 h 83"/>
                  <a:gd name="T32" fmla="*/ 66 w 66"/>
                  <a:gd name="T33" fmla="*/ 33 h 83"/>
                  <a:gd name="T34" fmla="*/ 65 w 66"/>
                  <a:gd name="T35" fmla="*/ 20 h 83"/>
                  <a:gd name="T36" fmla="*/ 61 w 66"/>
                  <a:gd name="T37" fmla="*/ 10 h 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66" h="83">
                    <a:moveTo>
                      <a:pt x="61" y="10"/>
                    </a:moveTo>
                    <a:cubicBezTo>
                      <a:pt x="59" y="7"/>
                      <a:pt x="56" y="5"/>
                      <a:pt x="51" y="3"/>
                    </a:cubicBezTo>
                    <a:cubicBezTo>
                      <a:pt x="47" y="1"/>
                      <a:pt x="43" y="0"/>
                      <a:pt x="38" y="0"/>
                    </a:cubicBezTo>
                    <a:cubicBezTo>
                      <a:pt x="27" y="0"/>
                      <a:pt x="18" y="5"/>
                      <a:pt x="12" y="14"/>
                    </a:cubicBezTo>
                    <a:cubicBezTo>
                      <a:pt x="12" y="2"/>
                      <a:pt x="12" y="2"/>
                      <a:pt x="12" y="2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83"/>
                      <a:pt x="0" y="83"/>
                      <a:pt x="0" y="83"/>
                    </a:cubicBezTo>
                    <a:cubicBezTo>
                      <a:pt x="13" y="83"/>
                      <a:pt x="13" y="83"/>
                      <a:pt x="13" y="83"/>
                    </a:cubicBezTo>
                    <a:cubicBezTo>
                      <a:pt x="13" y="39"/>
                      <a:pt x="13" y="39"/>
                      <a:pt x="13" y="39"/>
                    </a:cubicBezTo>
                    <a:cubicBezTo>
                      <a:pt x="13" y="29"/>
                      <a:pt x="16" y="21"/>
                      <a:pt x="20" y="18"/>
                    </a:cubicBezTo>
                    <a:cubicBezTo>
                      <a:pt x="24" y="14"/>
                      <a:pt x="29" y="12"/>
                      <a:pt x="35" y="12"/>
                    </a:cubicBezTo>
                    <a:cubicBezTo>
                      <a:pt x="39" y="12"/>
                      <a:pt x="42" y="13"/>
                      <a:pt x="45" y="15"/>
                    </a:cubicBezTo>
                    <a:cubicBezTo>
                      <a:pt x="47" y="16"/>
                      <a:pt x="49" y="19"/>
                      <a:pt x="50" y="21"/>
                    </a:cubicBezTo>
                    <a:cubicBezTo>
                      <a:pt x="51" y="24"/>
                      <a:pt x="52" y="28"/>
                      <a:pt x="52" y="34"/>
                    </a:cubicBezTo>
                    <a:cubicBezTo>
                      <a:pt x="52" y="83"/>
                      <a:pt x="52" y="83"/>
                      <a:pt x="52" y="83"/>
                    </a:cubicBezTo>
                    <a:cubicBezTo>
                      <a:pt x="66" y="83"/>
                      <a:pt x="66" y="83"/>
                      <a:pt x="66" y="83"/>
                    </a:cubicBezTo>
                    <a:cubicBezTo>
                      <a:pt x="66" y="33"/>
                      <a:pt x="66" y="33"/>
                      <a:pt x="66" y="33"/>
                    </a:cubicBezTo>
                    <a:cubicBezTo>
                      <a:pt x="66" y="27"/>
                      <a:pt x="65" y="23"/>
                      <a:pt x="65" y="20"/>
                    </a:cubicBezTo>
                    <a:cubicBezTo>
                      <a:pt x="64" y="16"/>
                      <a:pt x="63" y="13"/>
                      <a:pt x="61" y="1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35" name="îṩľiḍé"/>
              <p:cNvSpPr/>
              <p:nvPr/>
            </p:nvSpPr>
            <p:spPr bwMode="auto">
              <a:xfrm>
                <a:off x="7612316" y="5729878"/>
                <a:ext cx="128588" cy="157163"/>
              </a:xfrm>
              <a:custGeom>
                <a:avLst/>
                <a:gdLst>
                  <a:gd name="T0" fmla="*/ 50 w 70"/>
                  <a:gd name="T1" fmla="*/ 69 h 85"/>
                  <a:gd name="T2" fmla="*/ 36 w 70"/>
                  <a:gd name="T3" fmla="*/ 74 h 85"/>
                  <a:gd name="T4" fmla="*/ 20 w 70"/>
                  <a:gd name="T5" fmla="*/ 66 h 85"/>
                  <a:gd name="T6" fmla="*/ 14 w 70"/>
                  <a:gd name="T7" fmla="*/ 43 h 85"/>
                  <a:gd name="T8" fmla="*/ 20 w 70"/>
                  <a:gd name="T9" fmla="*/ 19 h 85"/>
                  <a:gd name="T10" fmla="*/ 37 w 70"/>
                  <a:gd name="T11" fmla="*/ 12 h 85"/>
                  <a:gd name="T12" fmla="*/ 49 w 70"/>
                  <a:gd name="T13" fmla="*/ 16 h 85"/>
                  <a:gd name="T14" fmla="*/ 56 w 70"/>
                  <a:gd name="T15" fmla="*/ 28 h 85"/>
                  <a:gd name="T16" fmla="*/ 69 w 70"/>
                  <a:gd name="T17" fmla="*/ 26 h 85"/>
                  <a:gd name="T18" fmla="*/ 58 w 70"/>
                  <a:gd name="T19" fmla="*/ 7 h 85"/>
                  <a:gd name="T20" fmla="*/ 37 w 70"/>
                  <a:gd name="T21" fmla="*/ 0 h 85"/>
                  <a:gd name="T22" fmla="*/ 17 w 70"/>
                  <a:gd name="T23" fmla="*/ 5 h 85"/>
                  <a:gd name="T24" fmla="*/ 4 w 70"/>
                  <a:gd name="T25" fmla="*/ 20 h 85"/>
                  <a:gd name="T26" fmla="*/ 0 w 70"/>
                  <a:gd name="T27" fmla="*/ 43 h 85"/>
                  <a:gd name="T28" fmla="*/ 10 w 70"/>
                  <a:gd name="T29" fmla="*/ 74 h 85"/>
                  <a:gd name="T30" fmla="*/ 37 w 70"/>
                  <a:gd name="T31" fmla="*/ 85 h 85"/>
                  <a:gd name="T32" fmla="*/ 59 w 70"/>
                  <a:gd name="T33" fmla="*/ 77 h 85"/>
                  <a:gd name="T34" fmla="*/ 70 w 70"/>
                  <a:gd name="T35" fmla="*/ 55 h 85"/>
                  <a:gd name="T36" fmla="*/ 57 w 70"/>
                  <a:gd name="T37" fmla="*/ 54 h 85"/>
                  <a:gd name="T38" fmla="*/ 50 w 70"/>
                  <a:gd name="T39" fmla="*/ 69 h 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70" h="85">
                    <a:moveTo>
                      <a:pt x="50" y="69"/>
                    </a:moveTo>
                    <a:cubicBezTo>
                      <a:pt x="46" y="72"/>
                      <a:pt x="42" y="74"/>
                      <a:pt x="36" y="74"/>
                    </a:cubicBezTo>
                    <a:cubicBezTo>
                      <a:pt x="30" y="74"/>
                      <a:pt x="24" y="71"/>
                      <a:pt x="20" y="66"/>
                    </a:cubicBezTo>
                    <a:cubicBezTo>
                      <a:pt x="16" y="61"/>
                      <a:pt x="14" y="54"/>
                      <a:pt x="14" y="43"/>
                    </a:cubicBezTo>
                    <a:cubicBezTo>
                      <a:pt x="14" y="32"/>
                      <a:pt x="16" y="24"/>
                      <a:pt x="20" y="19"/>
                    </a:cubicBezTo>
                    <a:cubicBezTo>
                      <a:pt x="25" y="14"/>
                      <a:pt x="30" y="12"/>
                      <a:pt x="37" y="12"/>
                    </a:cubicBezTo>
                    <a:cubicBezTo>
                      <a:pt x="42" y="12"/>
                      <a:pt x="46" y="13"/>
                      <a:pt x="49" y="16"/>
                    </a:cubicBezTo>
                    <a:cubicBezTo>
                      <a:pt x="52" y="18"/>
                      <a:pt x="54" y="23"/>
                      <a:pt x="56" y="28"/>
                    </a:cubicBezTo>
                    <a:cubicBezTo>
                      <a:pt x="69" y="26"/>
                      <a:pt x="69" y="26"/>
                      <a:pt x="69" y="26"/>
                    </a:cubicBezTo>
                    <a:cubicBezTo>
                      <a:pt x="68" y="18"/>
                      <a:pt x="64" y="11"/>
                      <a:pt x="58" y="7"/>
                    </a:cubicBezTo>
                    <a:cubicBezTo>
                      <a:pt x="53" y="2"/>
                      <a:pt x="46" y="0"/>
                      <a:pt x="37" y="0"/>
                    </a:cubicBezTo>
                    <a:cubicBezTo>
                      <a:pt x="30" y="0"/>
                      <a:pt x="23" y="2"/>
                      <a:pt x="17" y="5"/>
                    </a:cubicBezTo>
                    <a:cubicBezTo>
                      <a:pt x="11" y="8"/>
                      <a:pt x="7" y="13"/>
                      <a:pt x="4" y="20"/>
                    </a:cubicBezTo>
                    <a:cubicBezTo>
                      <a:pt x="1" y="27"/>
                      <a:pt x="0" y="34"/>
                      <a:pt x="0" y="43"/>
                    </a:cubicBezTo>
                    <a:cubicBezTo>
                      <a:pt x="0" y="57"/>
                      <a:pt x="3" y="67"/>
                      <a:pt x="10" y="74"/>
                    </a:cubicBezTo>
                    <a:cubicBezTo>
                      <a:pt x="17" y="82"/>
                      <a:pt x="26" y="85"/>
                      <a:pt x="37" y="85"/>
                    </a:cubicBezTo>
                    <a:cubicBezTo>
                      <a:pt x="45" y="85"/>
                      <a:pt x="53" y="83"/>
                      <a:pt x="59" y="77"/>
                    </a:cubicBezTo>
                    <a:cubicBezTo>
                      <a:pt x="65" y="72"/>
                      <a:pt x="69" y="65"/>
                      <a:pt x="70" y="55"/>
                    </a:cubicBezTo>
                    <a:cubicBezTo>
                      <a:pt x="57" y="54"/>
                      <a:pt x="57" y="54"/>
                      <a:pt x="57" y="54"/>
                    </a:cubicBezTo>
                    <a:cubicBezTo>
                      <a:pt x="56" y="60"/>
                      <a:pt x="54" y="66"/>
                      <a:pt x="50" y="6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36" name="íṡḷïďe"/>
              <p:cNvSpPr/>
              <p:nvPr/>
            </p:nvSpPr>
            <p:spPr bwMode="auto">
              <a:xfrm>
                <a:off x="7755191" y="5729878"/>
                <a:ext cx="138113" cy="157163"/>
              </a:xfrm>
              <a:custGeom>
                <a:avLst/>
                <a:gdLst>
                  <a:gd name="T0" fmla="*/ 38 w 75"/>
                  <a:gd name="T1" fmla="*/ 0 h 85"/>
                  <a:gd name="T2" fmla="*/ 10 w 75"/>
                  <a:gd name="T3" fmla="*/ 12 h 85"/>
                  <a:gd name="T4" fmla="*/ 0 w 75"/>
                  <a:gd name="T5" fmla="*/ 43 h 85"/>
                  <a:gd name="T6" fmla="*/ 10 w 75"/>
                  <a:gd name="T7" fmla="*/ 74 h 85"/>
                  <a:gd name="T8" fmla="*/ 38 w 75"/>
                  <a:gd name="T9" fmla="*/ 85 h 85"/>
                  <a:gd name="T10" fmla="*/ 62 w 75"/>
                  <a:gd name="T11" fmla="*/ 78 h 85"/>
                  <a:gd name="T12" fmla="*/ 74 w 75"/>
                  <a:gd name="T13" fmla="*/ 59 h 85"/>
                  <a:gd name="T14" fmla="*/ 60 w 75"/>
                  <a:gd name="T15" fmla="*/ 57 h 85"/>
                  <a:gd name="T16" fmla="*/ 51 w 75"/>
                  <a:gd name="T17" fmla="*/ 70 h 85"/>
                  <a:gd name="T18" fmla="*/ 38 w 75"/>
                  <a:gd name="T19" fmla="*/ 74 h 85"/>
                  <a:gd name="T20" fmla="*/ 21 w 75"/>
                  <a:gd name="T21" fmla="*/ 67 h 85"/>
                  <a:gd name="T22" fmla="*/ 14 w 75"/>
                  <a:gd name="T23" fmla="*/ 46 h 85"/>
                  <a:gd name="T24" fmla="*/ 75 w 75"/>
                  <a:gd name="T25" fmla="*/ 46 h 85"/>
                  <a:gd name="T26" fmla="*/ 75 w 75"/>
                  <a:gd name="T27" fmla="*/ 43 h 85"/>
                  <a:gd name="T28" fmla="*/ 64 w 75"/>
                  <a:gd name="T29" fmla="*/ 11 h 85"/>
                  <a:gd name="T30" fmla="*/ 38 w 75"/>
                  <a:gd name="T31" fmla="*/ 0 h 85"/>
                  <a:gd name="T32" fmla="*/ 15 w 75"/>
                  <a:gd name="T33" fmla="*/ 35 h 85"/>
                  <a:gd name="T34" fmla="*/ 22 w 75"/>
                  <a:gd name="T35" fmla="*/ 18 h 85"/>
                  <a:gd name="T36" fmla="*/ 38 w 75"/>
                  <a:gd name="T37" fmla="*/ 12 h 85"/>
                  <a:gd name="T38" fmla="*/ 55 w 75"/>
                  <a:gd name="T39" fmla="*/ 20 h 85"/>
                  <a:gd name="T40" fmla="*/ 60 w 75"/>
                  <a:gd name="T41" fmla="*/ 35 h 85"/>
                  <a:gd name="T42" fmla="*/ 15 w 75"/>
                  <a:gd name="T43" fmla="*/ 35 h 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75" h="85">
                    <a:moveTo>
                      <a:pt x="38" y="0"/>
                    </a:moveTo>
                    <a:cubicBezTo>
                      <a:pt x="26" y="0"/>
                      <a:pt x="17" y="4"/>
                      <a:pt x="10" y="12"/>
                    </a:cubicBezTo>
                    <a:cubicBezTo>
                      <a:pt x="3" y="19"/>
                      <a:pt x="0" y="30"/>
                      <a:pt x="0" y="43"/>
                    </a:cubicBezTo>
                    <a:cubicBezTo>
                      <a:pt x="0" y="57"/>
                      <a:pt x="3" y="67"/>
                      <a:pt x="10" y="74"/>
                    </a:cubicBezTo>
                    <a:cubicBezTo>
                      <a:pt x="17" y="81"/>
                      <a:pt x="26" y="85"/>
                      <a:pt x="38" y="85"/>
                    </a:cubicBezTo>
                    <a:cubicBezTo>
                      <a:pt x="48" y="85"/>
                      <a:pt x="56" y="83"/>
                      <a:pt x="62" y="78"/>
                    </a:cubicBezTo>
                    <a:cubicBezTo>
                      <a:pt x="68" y="74"/>
                      <a:pt x="72" y="67"/>
                      <a:pt x="74" y="59"/>
                    </a:cubicBezTo>
                    <a:cubicBezTo>
                      <a:pt x="60" y="57"/>
                      <a:pt x="60" y="57"/>
                      <a:pt x="60" y="57"/>
                    </a:cubicBezTo>
                    <a:cubicBezTo>
                      <a:pt x="58" y="63"/>
                      <a:pt x="55" y="67"/>
                      <a:pt x="51" y="70"/>
                    </a:cubicBezTo>
                    <a:cubicBezTo>
                      <a:pt x="48" y="73"/>
                      <a:pt x="43" y="74"/>
                      <a:pt x="38" y="74"/>
                    </a:cubicBezTo>
                    <a:cubicBezTo>
                      <a:pt x="32" y="74"/>
                      <a:pt x="26" y="71"/>
                      <a:pt x="21" y="67"/>
                    </a:cubicBezTo>
                    <a:cubicBezTo>
                      <a:pt x="17" y="62"/>
                      <a:pt x="14" y="55"/>
                      <a:pt x="14" y="46"/>
                    </a:cubicBezTo>
                    <a:cubicBezTo>
                      <a:pt x="75" y="46"/>
                      <a:pt x="75" y="46"/>
                      <a:pt x="75" y="46"/>
                    </a:cubicBezTo>
                    <a:cubicBezTo>
                      <a:pt x="75" y="45"/>
                      <a:pt x="75" y="43"/>
                      <a:pt x="75" y="43"/>
                    </a:cubicBezTo>
                    <a:cubicBezTo>
                      <a:pt x="75" y="29"/>
                      <a:pt x="71" y="19"/>
                      <a:pt x="64" y="11"/>
                    </a:cubicBezTo>
                    <a:cubicBezTo>
                      <a:pt x="57" y="4"/>
                      <a:pt x="48" y="0"/>
                      <a:pt x="38" y="0"/>
                    </a:cubicBezTo>
                    <a:close/>
                    <a:moveTo>
                      <a:pt x="15" y="35"/>
                    </a:moveTo>
                    <a:cubicBezTo>
                      <a:pt x="15" y="28"/>
                      <a:pt x="17" y="22"/>
                      <a:pt x="22" y="18"/>
                    </a:cubicBezTo>
                    <a:cubicBezTo>
                      <a:pt x="26" y="14"/>
                      <a:pt x="31" y="12"/>
                      <a:pt x="38" y="12"/>
                    </a:cubicBezTo>
                    <a:cubicBezTo>
                      <a:pt x="45" y="12"/>
                      <a:pt x="50" y="14"/>
                      <a:pt x="55" y="20"/>
                    </a:cubicBezTo>
                    <a:cubicBezTo>
                      <a:pt x="58" y="23"/>
                      <a:pt x="59" y="28"/>
                      <a:pt x="60" y="35"/>
                    </a:cubicBezTo>
                    <a:lnTo>
                      <a:pt x="15" y="3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37" name="í$ľîde"/>
              <p:cNvSpPr/>
              <p:nvPr/>
            </p:nvSpPr>
            <p:spPr bwMode="auto">
              <a:xfrm>
                <a:off x="7994903" y="5729878"/>
                <a:ext cx="138113" cy="157163"/>
              </a:xfrm>
              <a:custGeom>
                <a:avLst/>
                <a:gdLst>
                  <a:gd name="T0" fmla="*/ 71 w 75"/>
                  <a:gd name="T1" fmla="*/ 49 h 85"/>
                  <a:gd name="T2" fmla="*/ 71 w 75"/>
                  <a:gd name="T3" fmla="*/ 31 h 85"/>
                  <a:gd name="T4" fmla="*/ 70 w 75"/>
                  <a:gd name="T5" fmla="*/ 18 h 85"/>
                  <a:gd name="T6" fmla="*/ 66 w 75"/>
                  <a:gd name="T7" fmla="*/ 9 h 85"/>
                  <a:gd name="T8" fmla="*/ 56 w 75"/>
                  <a:gd name="T9" fmla="*/ 3 h 85"/>
                  <a:gd name="T10" fmla="*/ 39 w 75"/>
                  <a:gd name="T11" fmla="*/ 0 h 85"/>
                  <a:gd name="T12" fmla="*/ 21 w 75"/>
                  <a:gd name="T13" fmla="*/ 3 h 85"/>
                  <a:gd name="T14" fmla="*/ 9 w 75"/>
                  <a:gd name="T15" fmla="*/ 11 h 85"/>
                  <a:gd name="T16" fmla="*/ 3 w 75"/>
                  <a:gd name="T17" fmla="*/ 25 h 85"/>
                  <a:gd name="T18" fmla="*/ 16 w 75"/>
                  <a:gd name="T19" fmla="*/ 27 h 85"/>
                  <a:gd name="T20" fmla="*/ 23 w 75"/>
                  <a:gd name="T21" fmla="*/ 15 h 85"/>
                  <a:gd name="T22" fmla="*/ 37 w 75"/>
                  <a:gd name="T23" fmla="*/ 12 h 85"/>
                  <a:gd name="T24" fmla="*/ 53 w 75"/>
                  <a:gd name="T25" fmla="*/ 16 h 85"/>
                  <a:gd name="T26" fmla="*/ 57 w 75"/>
                  <a:gd name="T27" fmla="*/ 28 h 85"/>
                  <a:gd name="T28" fmla="*/ 57 w 75"/>
                  <a:gd name="T29" fmla="*/ 32 h 85"/>
                  <a:gd name="T30" fmla="*/ 32 w 75"/>
                  <a:gd name="T31" fmla="*/ 36 h 85"/>
                  <a:gd name="T32" fmla="*/ 20 w 75"/>
                  <a:gd name="T33" fmla="*/ 39 h 85"/>
                  <a:gd name="T34" fmla="*/ 10 w 75"/>
                  <a:gd name="T35" fmla="*/ 43 h 85"/>
                  <a:gd name="T36" fmla="*/ 3 w 75"/>
                  <a:gd name="T37" fmla="*/ 51 h 85"/>
                  <a:gd name="T38" fmla="*/ 0 w 75"/>
                  <a:gd name="T39" fmla="*/ 62 h 85"/>
                  <a:gd name="T40" fmla="*/ 7 w 75"/>
                  <a:gd name="T41" fmla="*/ 79 h 85"/>
                  <a:gd name="T42" fmla="*/ 28 w 75"/>
                  <a:gd name="T43" fmla="*/ 85 h 85"/>
                  <a:gd name="T44" fmla="*/ 43 w 75"/>
                  <a:gd name="T45" fmla="*/ 82 h 85"/>
                  <a:gd name="T46" fmla="*/ 58 w 75"/>
                  <a:gd name="T47" fmla="*/ 73 h 85"/>
                  <a:gd name="T48" fmla="*/ 61 w 75"/>
                  <a:gd name="T49" fmla="*/ 83 h 85"/>
                  <a:gd name="T50" fmla="*/ 75 w 75"/>
                  <a:gd name="T51" fmla="*/ 83 h 85"/>
                  <a:gd name="T52" fmla="*/ 72 w 75"/>
                  <a:gd name="T53" fmla="*/ 74 h 85"/>
                  <a:gd name="T54" fmla="*/ 71 w 75"/>
                  <a:gd name="T55" fmla="*/ 49 h 85"/>
                  <a:gd name="T56" fmla="*/ 57 w 75"/>
                  <a:gd name="T57" fmla="*/ 48 h 85"/>
                  <a:gd name="T58" fmla="*/ 55 w 75"/>
                  <a:gd name="T59" fmla="*/ 61 h 85"/>
                  <a:gd name="T60" fmla="*/ 46 w 75"/>
                  <a:gd name="T61" fmla="*/ 71 h 85"/>
                  <a:gd name="T62" fmla="*/ 31 w 75"/>
                  <a:gd name="T63" fmla="*/ 74 h 85"/>
                  <a:gd name="T64" fmla="*/ 19 w 75"/>
                  <a:gd name="T65" fmla="*/ 71 h 85"/>
                  <a:gd name="T66" fmla="*/ 15 w 75"/>
                  <a:gd name="T67" fmla="*/ 62 h 85"/>
                  <a:gd name="T68" fmla="*/ 17 w 75"/>
                  <a:gd name="T69" fmla="*/ 55 h 85"/>
                  <a:gd name="T70" fmla="*/ 22 w 75"/>
                  <a:gd name="T71" fmla="*/ 50 h 85"/>
                  <a:gd name="T72" fmla="*/ 34 w 75"/>
                  <a:gd name="T73" fmla="*/ 48 h 85"/>
                  <a:gd name="T74" fmla="*/ 57 w 75"/>
                  <a:gd name="T75" fmla="*/ 43 h 85"/>
                  <a:gd name="T76" fmla="*/ 57 w 75"/>
                  <a:gd name="T77" fmla="*/ 48 h 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75" h="85">
                    <a:moveTo>
                      <a:pt x="71" y="49"/>
                    </a:moveTo>
                    <a:cubicBezTo>
                      <a:pt x="71" y="31"/>
                      <a:pt x="71" y="31"/>
                      <a:pt x="71" y="31"/>
                    </a:cubicBezTo>
                    <a:cubicBezTo>
                      <a:pt x="71" y="25"/>
                      <a:pt x="71" y="21"/>
                      <a:pt x="70" y="18"/>
                    </a:cubicBezTo>
                    <a:cubicBezTo>
                      <a:pt x="69" y="14"/>
                      <a:pt x="68" y="11"/>
                      <a:pt x="66" y="9"/>
                    </a:cubicBezTo>
                    <a:cubicBezTo>
                      <a:pt x="64" y="6"/>
                      <a:pt x="61" y="4"/>
                      <a:pt x="56" y="3"/>
                    </a:cubicBezTo>
                    <a:cubicBezTo>
                      <a:pt x="52" y="1"/>
                      <a:pt x="46" y="0"/>
                      <a:pt x="39" y="0"/>
                    </a:cubicBezTo>
                    <a:cubicBezTo>
                      <a:pt x="32" y="0"/>
                      <a:pt x="26" y="1"/>
                      <a:pt x="21" y="3"/>
                    </a:cubicBezTo>
                    <a:cubicBezTo>
                      <a:pt x="16" y="5"/>
                      <a:pt x="12" y="8"/>
                      <a:pt x="9" y="11"/>
                    </a:cubicBezTo>
                    <a:cubicBezTo>
                      <a:pt x="6" y="15"/>
                      <a:pt x="4" y="19"/>
                      <a:pt x="3" y="25"/>
                    </a:cubicBezTo>
                    <a:cubicBezTo>
                      <a:pt x="16" y="27"/>
                      <a:pt x="16" y="27"/>
                      <a:pt x="16" y="27"/>
                    </a:cubicBezTo>
                    <a:cubicBezTo>
                      <a:pt x="18" y="21"/>
                      <a:pt x="20" y="17"/>
                      <a:pt x="23" y="15"/>
                    </a:cubicBezTo>
                    <a:cubicBezTo>
                      <a:pt x="26" y="13"/>
                      <a:pt x="31" y="12"/>
                      <a:pt x="37" y="12"/>
                    </a:cubicBezTo>
                    <a:cubicBezTo>
                      <a:pt x="44" y="12"/>
                      <a:pt x="50" y="13"/>
                      <a:pt x="53" y="16"/>
                    </a:cubicBezTo>
                    <a:cubicBezTo>
                      <a:pt x="56" y="19"/>
                      <a:pt x="57" y="23"/>
                      <a:pt x="57" y="28"/>
                    </a:cubicBezTo>
                    <a:cubicBezTo>
                      <a:pt x="57" y="29"/>
                      <a:pt x="57" y="30"/>
                      <a:pt x="57" y="32"/>
                    </a:cubicBezTo>
                    <a:cubicBezTo>
                      <a:pt x="52" y="34"/>
                      <a:pt x="43" y="35"/>
                      <a:pt x="32" y="36"/>
                    </a:cubicBezTo>
                    <a:cubicBezTo>
                      <a:pt x="27" y="37"/>
                      <a:pt x="23" y="38"/>
                      <a:pt x="20" y="39"/>
                    </a:cubicBezTo>
                    <a:cubicBezTo>
                      <a:pt x="16" y="40"/>
                      <a:pt x="13" y="41"/>
                      <a:pt x="10" y="43"/>
                    </a:cubicBezTo>
                    <a:cubicBezTo>
                      <a:pt x="7" y="45"/>
                      <a:pt x="5" y="48"/>
                      <a:pt x="3" y="51"/>
                    </a:cubicBezTo>
                    <a:cubicBezTo>
                      <a:pt x="1" y="54"/>
                      <a:pt x="0" y="58"/>
                      <a:pt x="0" y="62"/>
                    </a:cubicBezTo>
                    <a:cubicBezTo>
                      <a:pt x="0" y="69"/>
                      <a:pt x="3" y="74"/>
                      <a:pt x="7" y="79"/>
                    </a:cubicBezTo>
                    <a:cubicBezTo>
                      <a:pt x="12" y="83"/>
                      <a:pt x="19" y="85"/>
                      <a:pt x="28" y="85"/>
                    </a:cubicBezTo>
                    <a:cubicBezTo>
                      <a:pt x="33" y="85"/>
                      <a:pt x="39" y="84"/>
                      <a:pt x="43" y="82"/>
                    </a:cubicBezTo>
                    <a:cubicBezTo>
                      <a:pt x="48" y="81"/>
                      <a:pt x="53" y="78"/>
                      <a:pt x="58" y="73"/>
                    </a:cubicBezTo>
                    <a:cubicBezTo>
                      <a:pt x="58" y="77"/>
                      <a:pt x="59" y="80"/>
                      <a:pt x="61" y="83"/>
                    </a:cubicBezTo>
                    <a:cubicBezTo>
                      <a:pt x="75" y="83"/>
                      <a:pt x="75" y="83"/>
                      <a:pt x="75" y="83"/>
                    </a:cubicBezTo>
                    <a:cubicBezTo>
                      <a:pt x="73" y="80"/>
                      <a:pt x="72" y="77"/>
                      <a:pt x="72" y="74"/>
                    </a:cubicBezTo>
                    <a:cubicBezTo>
                      <a:pt x="71" y="70"/>
                      <a:pt x="71" y="62"/>
                      <a:pt x="71" y="49"/>
                    </a:cubicBezTo>
                    <a:close/>
                    <a:moveTo>
                      <a:pt x="57" y="48"/>
                    </a:moveTo>
                    <a:cubicBezTo>
                      <a:pt x="57" y="54"/>
                      <a:pt x="56" y="58"/>
                      <a:pt x="55" y="61"/>
                    </a:cubicBezTo>
                    <a:cubicBezTo>
                      <a:pt x="53" y="65"/>
                      <a:pt x="50" y="69"/>
                      <a:pt x="46" y="71"/>
                    </a:cubicBezTo>
                    <a:cubicBezTo>
                      <a:pt x="41" y="73"/>
                      <a:pt x="37" y="74"/>
                      <a:pt x="31" y="74"/>
                    </a:cubicBezTo>
                    <a:cubicBezTo>
                      <a:pt x="26" y="74"/>
                      <a:pt x="22" y="73"/>
                      <a:pt x="19" y="71"/>
                    </a:cubicBezTo>
                    <a:cubicBezTo>
                      <a:pt x="16" y="68"/>
                      <a:pt x="15" y="65"/>
                      <a:pt x="15" y="62"/>
                    </a:cubicBezTo>
                    <a:cubicBezTo>
                      <a:pt x="15" y="59"/>
                      <a:pt x="16" y="57"/>
                      <a:pt x="17" y="55"/>
                    </a:cubicBezTo>
                    <a:cubicBezTo>
                      <a:pt x="18" y="53"/>
                      <a:pt x="20" y="52"/>
                      <a:pt x="22" y="50"/>
                    </a:cubicBezTo>
                    <a:cubicBezTo>
                      <a:pt x="25" y="49"/>
                      <a:pt x="29" y="49"/>
                      <a:pt x="34" y="48"/>
                    </a:cubicBezTo>
                    <a:cubicBezTo>
                      <a:pt x="44" y="46"/>
                      <a:pt x="52" y="45"/>
                      <a:pt x="57" y="43"/>
                    </a:cubicBezTo>
                    <a:lnTo>
                      <a:pt x="57" y="4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38" name="ï$ḻíḋê"/>
              <p:cNvSpPr/>
              <p:nvPr/>
            </p:nvSpPr>
            <p:spPr bwMode="auto">
              <a:xfrm>
                <a:off x="8164766" y="5729878"/>
                <a:ext cx="122238" cy="152400"/>
              </a:xfrm>
              <a:custGeom>
                <a:avLst/>
                <a:gdLst>
                  <a:gd name="T0" fmla="*/ 61 w 66"/>
                  <a:gd name="T1" fmla="*/ 10 h 83"/>
                  <a:gd name="T2" fmla="*/ 52 w 66"/>
                  <a:gd name="T3" fmla="*/ 3 h 83"/>
                  <a:gd name="T4" fmla="*/ 38 w 66"/>
                  <a:gd name="T5" fmla="*/ 0 h 83"/>
                  <a:gd name="T6" fmla="*/ 13 w 66"/>
                  <a:gd name="T7" fmla="*/ 14 h 83"/>
                  <a:gd name="T8" fmla="*/ 13 w 66"/>
                  <a:gd name="T9" fmla="*/ 2 h 83"/>
                  <a:gd name="T10" fmla="*/ 0 w 66"/>
                  <a:gd name="T11" fmla="*/ 2 h 83"/>
                  <a:gd name="T12" fmla="*/ 0 w 66"/>
                  <a:gd name="T13" fmla="*/ 83 h 83"/>
                  <a:gd name="T14" fmla="*/ 14 w 66"/>
                  <a:gd name="T15" fmla="*/ 83 h 83"/>
                  <a:gd name="T16" fmla="*/ 14 w 66"/>
                  <a:gd name="T17" fmla="*/ 39 h 83"/>
                  <a:gd name="T18" fmla="*/ 20 w 66"/>
                  <a:gd name="T19" fmla="*/ 18 h 83"/>
                  <a:gd name="T20" fmla="*/ 36 w 66"/>
                  <a:gd name="T21" fmla="*/ 12 h 83"/>
                  <a:gd name="T22" fmla="*/ 45 w 66"/>
                  <a:gd name="T23" fmla="*/ 15 h 83"/>
                  <a:gd name="T24" fmla="*/ 51 w 66"/>
                  <a:gd name="T25" fmla="*/ 21 h 83"/>
                  <a:gd name="T26" fmla="*/ 52 w 66"/>
                  <a:gd name="T27" fmla="*/ 34 h 83"/>
                  <a:gd name="T28" fmla="*/ 52 w 66"/>
                  <a:gd name="T29" fmla="*/ 83 h 83"/>
                  <a:gd name="T30" fmla="*/ 66 w 66"/>
                  <a:gd name="T31" fmla="*/ 83 h 83"/>
                  <a:gd name="T32" fmla="*/ 66 w 66"/>
                  <a:gd name="T33" fmla="*/ 33 h 83"/>
                  <a:gd name="T34" fmla="*/ 65 w 66"/>
                  <a:gd name="T35" fmla="*/ 20 h 83"/>
                  <a:gd name="T36" fmla="*/ 61 w 66"/>
                  <a:gd name="T37" fmla="*/ 10 h 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66" h="83">
                    <a:moveTo>
                      <a:pt x="61" y="10"/>
                    </a:moveTo>
                    <a:cubicBezTo>
                      <a:pt x="59" y="7"/>
                      <a:pt x="56" y="5"/>
                      <a:pt x="52" y="3"/>
                    </a:cubicBezTo>
                    <a:cubicBezTo>
                      <a:pt x="48" y="1"/>
                      <a:pt x="43" y="0"/>
                      <a:pt x="38" y="0"/>
                    </a:cubicBezTo>
                    <a:cubicBezTo>
                      <a:pt x="27" y="0"/>
                      <a:pt x="19" y="5"/>
                      <a:pt x="13" y="14"/>
                    </a:cubicBezTo>
                    <a:cubicBezTo>
                      <a:pt x="13" y="2"/>
                      <a:pt x="13" y="2"/>
                      <a:pt x="13" y="2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83"/>
                      <a:pt x="0" y="83"/>
                      <a:pt x="0" y="83"/>
                    </a:cubicBezTo>
                    <a:cubicBezTo>
                      <a:pt x="14" y="83"/>
                      <a:pt x="14" y="83"/>
                      <a:pt x="14" y="83"/>
                    </a:cubicBezTo>
                    <a:cubicBezTo>
                      <a:pt x="14" y="39"/>
                      <a:pt x="14" y="39"/>
                      <a:pt x="14" y="39"/>
                    </a:cubicBezTo>
                    <a:cubicBezTo>
                      <a:pt x="14" y="29"/>
                      <a:pt x="16" y="21"/>
                      <a:pt x="20" y="18"/>
                    </a:cubicBezTo>
                    <a:cubicBezTo>
                      <a:pt x="25" y="14"/>
                      <a:pt x="30" y="12"/>
                      <a:pt x="36" y="12"/>
                    </a:cubicBezTo>
                    <a:cubicBezTo>
                      <a:pt x="39" y="12"/>
                      <a:pt x="42" y="13"/>
                      <a:pt x="45" y="15"/>
                    </a:cubicBezTo>
                    <a:cubicBezTo>
                      <a:pt x="48" y="16"/>
                      <a:pt x="50" y="19"/>
                      <a:pt x="51" y="21"/>
                    </a:cubicBezTo>
                    <a:cubicBezTo>
                      <a:pt x="52" y="24"/>
                      <a:pt x="52" y="28"/>
                      <a:pt x="52" y="34"/>
                    </a:cubicBezTo>
                    <a:cubicBezTo>
                      <a:pt x="52" y="83"/>
                      <a:pt x="52" y="83"/>
                      <a:pt x="52" y="83"/>
                    </a:cubicBezTo>
                    <a:cubicBezTo>
                      <a:pt x="66" y="83"/>
                      <a:pt x="66" y="83"/>
                      <a:pt x="66" y="83"/>
                    </a:cubicBezTo>
                    <a:cubicBezTo>
                      <a:pt x="66" y="33"/>
                      <a:pt x="66" y="33"/>
                      <a:pt x="66" y="33"/>
                    </a:cubicBezTo>
                    <a:cubicBezTo>
                      <a:pt x="66" y="27"/>
                      <a:pt x="66" y="23"/>
                      <a:pt x="65" y="20"/>
                    </a:cubicBezTo>
                    <a:cubicBezTo>
                      <a:pt x="65" y="16"/>
                      <a:pt x="63" y="13"/>
                      <a:pt x="61" y="1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39" name="îśḻïďè"/>
              <p:cNvSpPr/>
              <p:nvPr/>
            </p:nvSpPr>
            <p:spPr bwMode="auto">
              <a:xfrm>
                <a:off x="8315578" y="5675903"/>
                <a:ext cx="131763" cy="211138"/>
              </a:xfrm>
              <a:custGeom>
                <a:avLst/>
                <a:gdLst>
                  <a:gd name="T0" fmla="*/ 57 w 71"/>
                  <a:gd name="T1" fmla="*/ 40 h 114"/>
                  <a:gd name="T2" fmla="*/ 48 w 71"/>
                  <a:gd name="T3" fmla="*/ 32 h 114"/>
                  <a:gd name="T4" fmla="*/ 35 w 71"/>
                  <a:gd name="T5" fmla="*/ 29 h 114"/>
                  <a:gd name="T6" fmla="*/ 17 w 71"/>
                  <a:gd name="T7" fmla="*/ 35 h 114"/>
                  <a:gd name="T8" fmla="*/ 4 w 71"/>
                  <a:gd name="T9" fmla="*/ 50 h 114"/>
                  <a:gd name="T10" fmla="*/ 0 w 71"/>
                  <a:gd name="T11" fmla="*/ 72 h 114"/>
                  <a:gd name="T12" fmla="*/ 5 w 71"/>
                  <a:gd name="T13" fmla="*/ 94 h 114"/>
                  <a:gd name="T14" fmla="*/ 17 w 71"/>
                  <a:gd name="T15" fmla="*/ 109 h 114"/>
                  <a:gd name="T16" fmla="*/ 35 w 71"/>
                  <a:gd name="T17" fmla="*/ 114 h 114"/>
                  <a:gd name="T18" fmla="*/ 58 w 71"/>
                  <a:gd name="T19" fmla="*/ 102 h 114"/>
                  <a:gd name="T20" fmla="*/ 58 w 71"/>
                  <a:gd name="T21" fmla="*/ 112 h 114"/>
                  <a:gd name="T22" fmla="*/ 71 w 71"/>
                  <a:gd name="T23" fmla="*/ 112 h 114"/>
                  <a:gd name="T24" fmla="*/ 71 w 71"/>
                  <a:gd name="T25" fmla="*/ 0 h 114"/>
                  <a:gd name="T26" fmla="*/ 57 w 71"/>
                  <a:gd name="T27" fmla="*/ 0 h 114"/>
                  <a:gd name="T28" fmla="*/ 57 w 71"/>
                  <a:gd name="T29" fmla="*/ 40 h 114"/>
                  <a:gd name="T30" fmla="*/ 52 w 71"/>
                  <a:gd name="T31" fmla="*/ 95 h 114"/>
                  <a:gd name="T32" fmla="*/ 37 w 71"/>
                  <a:gd name="T33" fmla="*/ 103 h 114"/>
                  <a:gd name="T34" fmla="*/ 21 w 71"/>
                  <a:gd name="T35" fmla="*/ 95 h 114"/>
                  <a:gd name="T36" fmla="*/ 15 w 71"/>
                  <a:gd name="T37" fmla="*/ 72 h 114"/>
                  <a:gd name="T38" fmla="*/ 21 w 71"/>
                  <a:gd name="T39" fmla="*/ 48 h 114"/>
                  <a:gd name="T40" fmla="*/ 36 w 71"/>
                  <a:gd name="T41" fmla="*/ 41 h 114"/>
                  <a:gd name="T42" fmla="*/ 52 w 71"/>
                  <a:gd name="T43" fmla="*/ 48 h 114"/>
                  <a:gd name="T44" fmla="*/ 58 w 71"/>
                  <a:gd name="T45" fmla="*/ 73 h 114"/>
                  <a:gd name="T46" fmla="*/ 52 w 71"/>
                  <a:gd name="T47" fmla="*/ 95 h 1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71" h="114">
                    <a:moveTo>
                      <a:pt x="57" y="40"/>
                    </a:moveTo>
                    <a:cubicBezTo>
                      <a:pt x="55" y="37"/>
                      <a:pt x="52" y="34"/>
                      <a:pt x="48" y="32"/>
                    </a:cubicBezTo>
                    <a:cubicBezTo>
                      <a:pt x="44" y="30"/>
                      <a:pt x="40" y="29"/>
                      <a:pt x="35" y="29"/>
                    </a:cubicBezTo>
                    <a:cubicBezTo>
                      <a:pt x="28" y="29"/>
                      <a:pt x="22" y="31"/>
                      <a:pt x="17" y="35"/>
                    </a:cubicBezTo>
                    <a:cubicBezTo>
                      <a:pt x="11" y="38"/>
                      <a:pt x="7" y="43"/>
                      <a:pt x="4" y="50"/>
                    </a:cubicBezTo>
                    <a:cubicBezTo>
                      <a:pt x="2" y="56"/>
                      <a:pt x="0" y="64"/>
                      <a:pt x="0" y="72"/>
                    </a:cubicBezTo>
                    <a:cubicBezTo>
                      <a:pt x="0" y="80"/>
                      <a:pt x="2" y="87"/>
                      <a:pt x="5" y="94"/>
                    </a:cubicBezTo>
                    <a:cubicBezTo>
                      <a:pt x="8" y="100"/>
                      <a:pt x="12" y="105"/>
                      <a:pt x="17" y="109"/>
                    </a:cubicBezTo>
                    <a:cubicBezTo>
                      <a:pt x="23" y="112"/>
                      <a:pt x="29" y="114"/>
                      <a:pt x="35" y="114"/>
                    </a:cubicBezTo>
                    <a:cubicBezTo>
                      <a:pt x="45" y="114"/>
                      <a:pt x="53" y="110"/>
                      <a:pt x="58" y="102"/>
                    </a:cubicBezTo>
                    <a:cubicBezTo>
                      <a:pt x="58" y="112"/>
                      <a:pt x="58" y="112"/>
                      <a:pt x="58" y="112"/>
                    </a:cubicBezTo>
                    <a:cubicBezTo>
                      <a:pt x="71" y="112"/>
                      <a:pt x="71" y="112"/>
                      <a:pt x="71" y="112"/>
                    </a:cubicBezTo>
                    <a:cubicBezTo>
                      <a:pt x="71" y="0"/>
                      <a:pt x="71" y="0"/>
                      <a:pt x="71" y="0"/>
                    </a:cubicBezTo>
                    <a:cubicBezTo>
                      <a:pt x="57" y="0"/>
                      <a:pt x="57" y="0"/>
                      <a:pt x="57" y="0"/>
                    </a:cubicBezTo>
                    <a:lnTo>
                      <a:pt x="57" y="40"/>
                    </a:lnTo>
                    <a:close/>
                    <a:moveTo>
                      <a:pt x="52" y="95"/>
                    </a:moveTo>
                    <a:cubicBezTo>
                      <a:pt x="48" y="100"/>
                      <a:pt x="43" y="103"/>
                      <a:pt x="37" y="103"/>
                    </a:cubicBezTo>
                    <a:cubicBezTo>
                      <a:pt x="31" y="103"/>
                      <a:pt x="25" y="100"/>
                      <a:pt x="21" y="95"/>
                    </a:cubicBezTo>
                    <a:cubicBezTo>
                      <a:pt x="17" y="90"/>
                      <a:pt x="15" y="82"/>
                      <a:pt x="15" y="72"/>
                    </a:cubicBezTo>
                    <a:cubicBezTo>
                      <a:pt x="15" y="61"/>
                      <a:pt x="17" y="53"/>
                      <a:pt x="21" y="48"/>
                    </a:cubicBezTo>
                    <a:cubicBezTo>
                      <a:pt x="25" y="43"/>
                      <a:pt x="30" y="41"/>
                      <a:pt x="36" y="41"/>
                    </a:cubicBezTo>
                    <a:cubicBezTo>
                      <a:pt x="42" y="41"/>
                      <a:pt x="48" y="43"/>
                      <a:pt x="52" y="48"/>
                    </a:cubicBezTo>
                    <a:cubicBezTo>
                      <a:pt x="56" y="54"/>
                      <a:pt x="58" y="62"/>
                      <a:pt x="58" y="73"/>
                    </a:cubicBezTo>
                    <a:cubicBezTo>
                      <a:pt x="58" y="83"/>
                      <a:pt x="56" y="91"/>
                      <a:pt x="52" y="9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40" name="iṡľîdé"/>
              <p:cNvSpPr/>
              <p:nvPr/>
            </p:nvSpPr>
            <p:spPr bwMode="auto">
              <a:xfrm>
                <a:off x="8550528" y="5675903"/>
                <a:ext cx="163513" cy="206375"/>
              </a:xfrm>
              <a:custGeom>
                <a:avLst/>
                <a:gdLst>
                  <a:gd name="T0" fmla="*/ 103 w 103"/>
                  <a:gd name="T1" fmla="*/ 0 h 130"/>
                  <a:gd name="T2" fmla="*/ 0 w 103"/>
                  <a:gd name="T3" fmla="*/ 0 h 130"/>
                  <a:gd name="T4" fmla="*/ 0 w 103"/>
                  <a:gd name="T5" fmla="*/ 15 h 130"/>
                  <a:gd name="T6" fmla="*/ 43 w 103"/>
                  <a:gd name="T7" fmla="*/ 15 h 130"/>
                  <a:gd name="T8" fmla="*/ 43 w 103"/>
                  <a:gd name="T9" fmla="*/ 130 h 130"/>
                  <a:gd name="T10" fmla="*/ 59 w 103"/>
                  <a:gd name="T11" fmla="*/ 130 h 130"/>
                  <a:gd name="T12" fmla="*/ 59 w 103"/>
                  <a:gd name="T13" fmla="*/ 15 h 130"/>
                  <a:gd name="T14" fmla="*/ 103 w 103"/>
                  <a:gd name="T15" fmla="*/ 15 h 130"/>
                  <a:gd name="T16" fmla="*/ 103 w 103"/>
                  <a:gd name="T17" fmla="*/ 0 h 1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03" h="130">
                    <a:moveTo>
                      <a:pt x="103" y="0"/>
                    </a:moveTo>
                    <a:lnTo>
                      <a:pt x="0" y="0"/>
                    </a:lnTo>
                    <a:lnTo>
                      <a:pt x="0" y="15"/>
                    </a:lnTo>
                    <a:lnTo>
                      <a:pt x="43" y="15"/>
                    </a:lnTo>
                    <a:lnTo>
                      <a:pt x="43" y="130"/>
                    </a:lnTo>
                    <a:lnTo>
                      <a:pt x="59" y="130"/>
                    </a:lnTo>
                    <a:lnTo>
                      <a:pt x="59" y="15"/>
                    </a:lnTo>
                    <a:lnTo>
                      <a:pt x="103" y="15"/>
                    </a:lnTo>
                    <a:lnTo>
                      <a:pt x="103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41" name="íṥḻíḋé"/>
              <p:cNvSpPr/>
              <p:nvPr/>
            </p:nvSpPr>
            <p:spPr bwMode="auto">
              <a:xfrm>
                <a:off x="8698166" y="5729878"/>
                <a:ext cx="138113" cy="157163"/>
              </a:xfrm>
              <a:custGeom>
                <a:avLst/>
                <a:gdLst>
                  <a:gd name="T0" fmla="*/ 38 w 75"/>
                  <a:gd name="T1" fmla="*/ 0 h 85"/>
                  <a:gd name="T2" fmla="*/ 11 w 75"/>
                  <a:gd name="T3" fmla="*/ 12 h 85"/>
                  <a:gd name="T4" fmla="*/ 0 w 75"/>
                  <a:gd name="T5" fmla="*/ 43 h 85"/>
                  <a:gd name="T6" fmla="*/ 10 w 75"/>
                  <a:gd name="T7" fmla="*/ 74 h 85"/>
                  <a:gd name="T8" fmla="*/ 39 w 75"/>
                  <a:gd name="T9" fmla="*/ 85 h 85"/>
                  <a:gd name="T10" fmla="*/ 62 w 75"/>
                  <a:gd name="T11" fmla="*/ 78 h 85"/>
                  <a:gd name="T12" fmla="*/ 74 w 75"/>
                  <a:gd name="T13" fmla="*/ 59 h 85"/>
                  <a:gd name="T14" fmla="*/ 60 w 75"/>
                  <a:gd name="T15" fmla="*/ 57 h 85"/>
                  <a:gd name="T16" fmla="*/ 52 w 75"/>
                  <a:gd name="T17" fmla="*/ 70 h 85"/>
                  <a:gd name="T18" fmla="*/ 39 w 75"/>
                  <a:gd name="T19" fmla="*/ 74 h 85"/>
                  <a:gd name="T20" fmla="*/ 22 w 75"/>
                  <a:gd name="T21" fmla="*/ 67 h 85"/>
                  <a:gd name="T22" fmla="*/ 14 w 75"/>
                  <a:gd name="T23" fmla="*/ 46 h 85"/>
                  <a:gd name="T24" fmla="*/ 75 w 75"/>
                  <a:gd name="T25" fmla="*/ 46 h 85"/>
                  <a:gd name="T26" fmla="*/ 75 w 75"/>
                  <a:gd name="T27" fmla="*/ 43 h 85"/>
                  <a:gd name="T28" fmla="*/ 65 w 75"/>
                  <a:gd name="T29" fmla="*/ 11 h 85"/>
                  <a:gd name="T30" fmla="*/ 38 w 75"/>
                  <a:gd name="T31" fmla="*/ 0 h 85"/>
                  <a:gd name="T32" fmla="*/ 15 w 75"/>
                  <a:gd name="T33" fmla="*/ 35 h 85"/>
                  <a:gd name="T34" fmla="*/ 22 w 75"/>
                  <a:gd name="T35" fmla="*/ 18 h 85"/>
                  <a:gd name="T36" fmla="*/ 38 w 75"/>
                  <a:gd name="T37" fmla="*/ 12 h 85"/>
                  <a:gd name="T38" fmla="*/ 55 w 75"/>
                  <a:gd name="T39" fmla="*/ 20 h 85"/>
                  <a:gd name="T40" fmla="*/ 60 w 75"/>
                  <a:gd name="T41" fmla="*/ 35 h 85"/>
                  <a:gd name="T42" fmla="*/ 15 w 75"/>
                  <a:gd name="T43" fmla="*/ 35 h 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75" h="85">
                    <a:moveTo>
                      <a:pt x="38" y="0"/>
                    </a:moveTo>
                    <a:cubicBezTo>
                      <a:pt x="27" y="0"/>
                      <a:pt x="18" y="4"/>
                      <a:pt x="11" y="12"/>
                    </a:cubicBezTo>
                    <a:cubicBezTo>
                      <a:pt x="4" y="19"/>
                      <a:pt x="0" y="30"/>
                      <a:pt x="0" y="43"/>
                    </a:cubicBezTo>
                    <a:cubicBezTo>
                      <a:pt x="0" y="57"/>
                      <a:pt x="3" y="67"/>
                      <a:pt x="10" y="74"/>
                    </a:cubicBezTo>
                    <a:cubicBezTo>
                      <a:pt x="17" y="81"/>
                      <a:pt x="27" y="85"/>
                      <a:pt x="39" y="85"/>
                    </a:cubicBezTo>
                    <a:cubicBezTo>
                      <a:pt x="48" y="85"/>
                      <a:pt x="56" y="83"/>
                      <a:pt x="62" y="78"/>
                    </a:cubicBezTo>
                    <a:cubicBezTo>
                      <a:pt x="68" y="74"/>
                      <a:pt x="72" y="67"/>
                      <a:pt x="74" y="59"/>
                    </a:cubicBezTo>
                    <a:cubicBezTo>
                      <a:pt x="60" y="57"/>
                      <a:pt x="60" y="57"/>
                      <a:pt x="60" y="57"/>
                    </a:cubicBezTo>
                    <a:cubicBezTo>
                      <a:pt x="58" y="63"/>
                      <a:pt x="55" y="67"/>
                      <a:pt x="52" y="70"/>
                    </a:cubicBezTo>
                    <a:cubicBezTo>
                      <a:pt x="48" y="73"/>
                      <a:pt x="44" y="74"/>
                      <a:pt x="39" y="74"/>
                    </a:cubicBezTo>
                    <a:cubicBezTo>
                      <a:pt x="32" y="74"/>
                      <a:pt x="26" y="71"/>
                      <a:pt x="22" y="67"/>
                    </a:cubicBezTo>
                    <a:cubicBezTo>
                      <a:pt x="17" y="62"/>
                      <a:pt x="15" y="55"/>
                      <a:pt x="14" y="46"/>
                    </a:cubicBezTo>
                    <a:cubicBezTo>
                      <a:pt x="75" y="46"/>
                      <a:pt x="75" y="46"/>
                      <a:pt x="75" y="46"/>
                    </a:cubicBezTo>
                    <a:cubicBezTo>
                      <a:pt x="75" y="45"/>
                      <a:pt x="75" y="43"/>
                      <a:pt x="75" y="43"/>
                    </a:cubicBezTo>
                    <a:cubicBezTo>
                      <a:pt x="75" y="29"/>
                      <a:pt x="72" y="19"/>
                      <a:pt x="65" y="11"/>
                    </a:cubicBezTo>
                    <a:cubicBezTo>
                      <a:pt x="58" y="4"/>
                      <a:pt x="49" y="0"/>
                      <a:pt x="38" y="0"/>
                    </a:cubicBezTo>
                    <a:close/>
                    <a:moveTo>
                      <a:pt x="15" y="35"/>
                    </a:moveTo>
                    <a:cubicBezTo>
                      <a:pt x="15" y="28"/>
                      <a:pt x="18" y="22"/>
                      <a:pt x="22" y="18"/>
                    </a:cubicBezTo>
                    <a:cubicBezTo>
                      <a:pt x="26" y="14"/>
                      <a:pt x="32" y="12"/>
                      <a:pt x="38" y="12"/>
                    </a:cubicBezTo>
                    <a:cubicBezTo>
                      <a:pt x="45" y="12"/>
                      <a:pt x="51" y="14"/>
                      <a:pt x="55" y="20"/>
                    </a:cubicBezTo>
                    <a:cubicBezTo>
                      <a:pt x="58" y="23"/>
                      <a:pt x="60" y="28"/>
                      <a:pt x="60" y="35"/>
                    </a:cubicBezTo>
                    <a:lnTo>
                      <a:pt x="15" y="3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42" name="ïṡļïḍè"/>
              <p:cNvSpPr/>
              <p:nvPr/>
            </p:nvSpPr>
            <p:spPr bwMode="auto">
              <a:xfrm>
                <a:off x="8860091" y="5729878"/>
                <a:ext cx="128588" cy="157163"/>
              </a:xfrm>
              <a:custGeom>
                <a:avLst/>
                <a:gdLst>
                  <a:gd name="T0" fmla="*/ 50 w 70"/>
                  <a:gd name="T1" fmla="*/ 69 h 85"/>
                  <a:gd name="T2" fmla="*/ 36 w 70"/>
                  <a:gd name="T3" fmla="*/ 74 h 85"/>
                  <a:gd name="T4" fmla="*/ 20 w 70"/>
                  <a:gd name="T5" fmla="*/ 66 h 85"/>
                  <a:gd name="T6" fmla="*/ 14 w 70"/>
                  <a:gd name="T7" fmla="*/ 43 h 85"/>
                  <a:gd name="T8" fmla="*/ 20 w 70"/>
                  <a:gd name="T9" fmla="*/ 19 h 85"/>
                  <a:gd name="T10" fmla="*/ 37 w 70"/>
                  <a:gd name="T11" fmla="*/ 12 h 85"/>
                  <a:gd name="T12" fmla="*/ 49 w 70"/>
                  <a:gd name="T13" fmla="*/ 16 h 85"/>
                  <a:gd name="T14" fmla="*/ 56 w 70"/>
                  <a:gd name="T15" fmla="*/ 28 h 85"/>
                  <a:gd name="T16" fmla="*/ 69 w 70"/>
                  <a:gd name="T17" fmla="*/ 26 h 85"/>
                  <a:gd name="T18" fmla="*/ 58 w 70"/>
                  <a:gd name="T19" fmla="*/ 7 h 85"/>
                  <a:gd name="T20" fmla="*/ 37 w 70"/>
                  <a:gd name="T21" fmla="*/ 0 h 85"/>
                  <a:gd name="T22" fmla="*/ 17 w 70"/>
                  <a:gd name="T23" fmla="*/ 5 h 85"/>
                  <a:gd name="T24" fmla="*/ 4 w 70"/>
                  <a:gd name="T25" fmla="*/ 20 h 85"/>
                  <a:gd name="T26" fmla="*/ 0 w 70"/>
                  <a:gd name="T27" fmla="*/ 43 h 85"/>
                  <a:gd name="T28" fmla="*/ 10 w 70"/>
                  <a:gd name="T29" fmla="*/ 74 h 85"/>
                  <a:gd name="T30" fmla="*/ 37 w 70"/>
                  <a:gd name="T31" fmla="*/ 85 h 85"/>
                  <a:gd name="T32" fmla="*/ 59 w 70"/>
                  <a:gd name="T33" fmla="*/ 77 h 85"/>
                  <a:gd name="T34" fmla="*/ 70 w 70"/>
                  <a:gd name="T35" fmla="*/ 55 h 85"/>
                  <a:gd name="T36" fmla="*/ 57 w 70"/>
                  <a:gd name="T37" fmla="*/ 54 h 85"/>
                  <a:gd name="T38" fmla="*/ 50 w 70"/>
                  <a:gd name="T39" fmla="*/ 69 h 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70" h="85">
                    <a:moveTo>
                      <a:pt x="50" y="69"/>
                    </a:moveTo>
                    <a:cubicBezTo>
                      <a:pt x="46" y="72"/>
                      <a:pt x="42" y="74"/>
                      <a:pt x="36" y="74"/>
                    </a:cubicBezTo>
                    <a:cubicBezTo>
                      <a:pt x="30" y="74"/>
                      <a:pt x="24" y="71"/>
                      <a:pt x="20" y="66"/>
                    </a:cubicBezTo>
                    <a:cubicBezTo>
                      <a:pt x="16" y="61"/>
                      <a:pt x="14" y="54"/>
                      <a:pt x="14" y="43"/>
                    </a:cubicBezTo>
                    <a:cubicBezTo>
                      <a:pt x="14" y="32"/>
                      <a:pt x="16" y="24"/>
                      <a:pt x="20" y="19"/>
                    </a:cubicBezTo>
                    <a:cubicBezTo>
                      <a:pt x="25" y="14"/>
                      <a:pt x="30" y="12"/>
                      <a:pt x="37" y="12"/>
                    </a:cubicBezTo>
                    <a:cubicBezTo>
                      <a:pt x="42" y="12"/>
                      <a:pt x="46" y="13"/>
                      <a:pt x="49" y="16"/>
                    </a:cubicBezTo>
                    <a:cubicBezTo>
                      <a:pt x="52" y="18"/>
                      <a:pt x="54" y="23"/>
                      <a:pt x="56" y="28"/>
                    </a:cubicBezTo>
                    <a:cubicBezTo>
                      <a:pt x="69" y="26"/>
                      <a:pt x="69" y="26"/>
                      <a:pt x="69" y="26"/>
                    </a:cubicBezTo>
                    <a:cubicBezTo>
                      <a:pt x="67" y="18"/>
                      <a:pt x="64" y="11"/>
                      <a:pt x="58" y="7"/>
                    </a:cubicBezTo>
                    <a:cubicBezTo>
                      <a:pt x="53" y="2"/>
                      <a:pt x="45" y="0"/>
                      <a:pt x="37" y="0"/>
                    </a:cubicBezTo>
                    <a:cubicBezTo>
                      <a:pt x="30" y="0"/>
                      <a:pt x="23" y="2"/>
                      <a:pt x="17" y="5"/>
                    </a:cubicBezTo>
                    <a:cubicBezTo>
                      <a:pt x="11" y="8"/>
                      <a:pt x="7" y="13"/>
                      <a:pt x="4" y="20"/>
                    </a:cubicBezTo>
                    <a:cubicBezTo>
                      <a:pt x="1" y="27"/>
                      <a:pt x="0" y="34"/>
                      <a:pt x="0" y="43"/>
                    </a:cubicBezTo>
                    <a:cubicBezTo>
                      <a:pt x="0" y="57"/>
                      <a:pt x="3" y="67"/>
                      <a:pt x="10" y="74"/>
                    </a:cubicBezTo>
                    <a:cubicBezTo>
                      <a:pt x="16" y="82"/>
                      <a:pt x="25" y="85"/>
                      <a:pt x="37" y="85"/>
                    </a:cubicBezTo>
                    <a:cubicBezTo>
                      <a:pt x="45" y="85"/>
                      <a:pt x="53" y="83"/>
                      <a:pt x="59" y="77"/>
                    </a:cubicBezTo>
                    <a:cubicBezTo>
                      <a:pt x="65" y="72"/>
                      <a:pt x="69" y="65"/>
                      <a:pt x="70" y="55"/>
                    </a:cubicBezTo>
                    <a:cubicBezTo>
                      <a:pt x="57" y="54"/>
                      <a:pt x="57" y="54"/>
                      <a:pt x="57" y="54"/>
                    </a:cubicBezTo>
                    <a:cubicBezTo>
                      <a:pt x="56" y="60"/>
                      <a:pt x="54" y="66"/>
                      <a:pt x="50" y="6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43" name="iṩḷídê"/>
              <p:cNvSpPr/>
              <p:nvPr/>
            </p:nvSpPr>
            <p:spPr bwMode="auto">
              <a:xfrm>
                <a:off x="9010903" y="5675903"/>
                <a:ext cx="122238" cy="206375"/>
              </a:xfrm>
              <a:custGeom>
                <a:avLst/>
                <a:gdLst>
                  <a:gd name="T0" fmla="*/ 54 w 66"/>
                  <a:gd name="T1" fmla="*/ 33 h 112"/>
                  <a:gd name="T2" fmla="*/ 38 w 66"/>
                  <a:gd name="T3" fmla="*/ 29 h 112"/>
                  <a:gd name="T4" fmla="*/ 14 w 66"/>
                  <a:gd name="T5" fmla="*/ 40 h 112"/>
                  <a:gd name="T6" fmla="*/ 14 w 66"/>
                  <a:gd name="T7" fmla="*/ 0 h 112"/>
                  <a:gd name="T8" fmla="*/ 0 w 66"/>
                  <a:gd name="T9" fmla="*/ 0 h 112"/>
                  <a:gd name="T10" fmla="*/ 0 w 66"/>
                  <a:gd name="T11" fmla="*/ 112 h 112"/>
                  <a:gd name="T12" fmla="*/ 14 w 66"/>
                  <a:gd name="T13" fmla="*/ 112 h 112"/>
                  <a:gd name="T14" fmla="*/ 14 w 66"/>
                  <a:gd name="T15" fmla="*/ 68 h 112"/>
                  <a:gd name="T16" fmla="*/ 16 w 66"/>
                  <a:gd name="T17" fmla="*/ 53 h 112"/>
                  <a:gd name="T18" fmla="*/ 24 w 66"/>
                  <a:gd name="T19" fmla="*/ 44 h 112"/>
                  <a:gd name="T20" fmla="*/ 35 w 66"/>
                  <a:gd name="T21" fmla="*/ 41 h 112"/>
                  <a:gd name="T22" fmla="*/ 48 w 66"/>
                  <a:gd name="T23" fmla="*/ 46 h 112"/>
                  <a:gd name="T24" fmla="*/ 53 w 66"/>
                  <a:gd name="T25" fmla="*/ 61 h 112"/>
                  <a:gd name="T26" fmla="*/ 53 w 66"/>
                  <a:gd name="T27" fmla="*/ 112 h 112"/>
                  <a:gd name="T28" fmla="*/ 66 w 66"/>
                  <a:gd name="T29" fmla="*/ 112 h 112"/>
                  <a:gd name="T30" fmla="*/ 66 w 66"/>
                  <a:gd name="T31" fmla="*/ 61 h 112"/>
                  <a:gd name="T32" fmla="*/ 63 w 66"/>
                  <a:gd name="T33" fmla="*/ 43 h 112"/>
                  <a:gd name="T34" fmla="*/ 54 w 66"/>
                  <a:gd name="T35" fmla="*/ 33 h 1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66" h="112">
                    <a:moveTo>
                      <a:pt x="54" y="33"/>
                    </a:moveTo>
                    <a:cubicBezTo>
                      <a:pt x="50" y="30"/>
                      <a:pt x="44" y="29"/>
                      <a:pt x="38" y="29"/>
                    </a:cubicBezTo>
                    <a:cubicBezTo>
                      <a:pt x="28" y="29"/>
                      <a:pt x="20" y="33"/>
                      <a:pt x="14" y="4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112"/>
                      <a:pt x="0" y="112"/>
                      <a:pt x="0" y="112"/>
                    </a:cubicBezTo>
                    <a:cubicBezTo>
                      <a:pt x="14" y="112"/>
                      <a:pt x="14" y="112"/>
                      <a:pt x="14" y="112"/>
                    </a:cubicBezTo>
                    <a:cubicBezTo>
                      <a:pt x="14" y="68"/>
                      <a:pt x="14" y="68"/>
                      <a:pt x="14" y="68"/>
                    </a:cubicBezTo>
                    <a:cubicBezTo>
                      <a:pt x="14" y="61"/>
                      <a:pt x="15" y="56"/>
                      <a:pt x="16" y="53"/>
                    </a:cubicBezTo>
                    <a:cubicBezTo>
                      <a:pt x="18" y="49"/>
                      <a:pt x="20" y="46"/>
                      <a:pt x="24" y="44"/>
                    </a:cubicBezTo>
                    <a:cubicBezTo>
                      <a:pt x="28" y="42"/>
                      <a:pt x="31" y="41"/>
                      <a:pt x="35" y="41"/>
                    </a:cubicBezTo>
                    <a:cubicBezTo>
                      <a:pt x="41" y="41"/>
                      <a:pt x="45" y="43"/>
                      <a:pt x="48" y="46"/>
                    </a:cubicBezTo>
                    <a:cubicBezTo>
                      <a:pt x="51" y="49"/>
                      <a:pt x="53" y="54"/>
                      <a:pt x="53" y="61"/>
                    </a:cubicBezTo>
                    <a:cubicBezTo>
                      <a:pt x="53" y="112"/>
                      <a:pt x="53" y="112"/>
                      <a:pt x="53" y="112"/>
                    </a:cubicBezTo>
                    <a:cubicBezTo>
                      <a:pt x="66" y="112"/>
                      <a:pt x="66" y="112"/>
                      <a:pt x="66" y="112"/>
                    </a:cubicBezTo>
                    <a:cubicBezTo>
                      <a:pt x="66" y="61"/>
                      <a:pt x="66" y="61"/>
                      <a:pt x="66" y="61"/>
                    </a:cubicBezTo>
                    <a:cubicBezTo>
                      <a:pt x="66" y="53"/>
                      <a:pt x="65" y="47"/>
                      <a:pt x="63" y="43"/>
                    </a:cubicBezTo>
                    <a:cubicBezTo>
                      <a:pt x="62" y="38"/>
                      <a:pt x="58" y="35"/>
                      <a:pt x="54" y="3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44" name="íslîḍe"/>
              <p:cNvSpPr/>
              <p:nvPr/>
            </p:nvSpPr>
            <p:spPr bwMode="auto">
              <a:xfrm>
                <a:off x="9171241" y="5729878"/>
                <a:ext cx="122238" cy="152400"/>
              </a:xfrm>
              <a:custGeom>
                <a:avLst/>
                <a:gdLst>
                  <a:gd name="T0" fmla="*/ 61 w 66"/>
                  <a:gd name="T1" fmla="*/ 10 h 83"/>
                  <a:gd name="T2" fmla="*/ 52 w 66"/>
                  <a:gd name="T3" fmla="*/ 3 h 83"/>
                  <a:gd name="T4" fmla="*/ 39 w 66"/>
                  <a:gd name="T5" fmla="*/ 0 h 83"/>
                  <a:gd name="T6" fmla="*/ 13 w 66"/>
                  <a:gd name="T7" fmla="*/ 14 h 83"/>
                  <a:gd name="T8" fmla="*/ 13 w 66"/>
                  <a:gd name="T9" fmla="*/ 2 h 83"/>
                  <a:gd name="T10" fmla="*/ 0 w 66"/>
                  <a:gd name="T11" fmla="*/ 2 h 83"/>
                  <a:gd name="T12" fmla="*/ 0 w 66"/>
                  <a:gd name="T13" fmla="*/ 83 h 83"/>
                  <a:gd name="T14" fmla="*/ 14 w 66"/>
                  <a:gd name="T15" fmla="*/ 83 h 83"/>
                  <a:gd name="T16" fmla="*/ 14 w 66"/>
                  <a:gd name="T17" fmla="*/ 39 h 83"/>
                  <a:gd name="T18" fmla="*/ 20 w 66"/>
                  <a:gd name="T19" fmla="*/ 18 h 83"/>
                  <a:gd name="T20" fmla="*/ 36 w 66"/>
                  <a:gd name="T21" fmla="*/ 12 h 83"/>
                  <a:gd name="T22" fmla="*/ 45 w 66"/>
                  <a:gd name="T23" fmla="*/ 15 h 83"/>
                  <a:gd name="T24" fmla="*/ 51 w 66"/>
                  <a:gd name="T25" fmla="*/ 21 h 83"/>
                  <a:gd name="T26" fmla="*/ 53 w 66"/>
                  <a:gd name="T27" fmla="*/ 34 h 83"/>
                  <a:gd name="T28" fmla="*/ 53 w 66"/>
                  <a:gd name="T29" fmla="*/ 83 h 83"/>
                  <a:gd name="T30" fmla="*/ 66 w 66"/>
                  <a:gd name="T31" fmla="*/ 83 h 83"/>
                  <a:gd name="T32" fmla="*/ 66 w 66"/>
                  <a:gd name="T33" fmla="*/ 33 h 83"/>
                  <a:gd name="T34" fmla="*/ 66 w 66"/>
                  <a:gd name="T35" fmla="*/ 20 h 83"/>
                  <a:gd name="T36" fmla="*/ 61 w 66"/>
                  <a:gd name="T37" fmla="*/ 10 h 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66" h="83">
                    <a:moveTo>
                      <a:pt x="61" y="10"/>
                    </a:moveTo>
                    <a:cubicBezTo>
                      <a:pt x="59" y="7"/>
                      <a:pt x="56" y="5"/>
                      <a:pt x="52" y="3"/>
                    </a:cubicBezTo>
                    <a:cubicBezTo>
                      <a:pt x="48" y="1"/>
                      <a:pt x="43" y="0"/>
                      <a:pt x="39" y="0"/>
                    </a:cubicBezTo>
                    <a:cubicBezTo>
                      <a:pt x="27" y="0"/>
                      <a:pt x="19" y="5"/>
                      <a:pt x="13" y="14"/>
                    </a:cubicBezTo>
                    <a:cubicBezTo>
                      <a:pt x="13" y="2"/>
                      <a:pt x="13" y="2"/>
                      <a:pt x="13" y="2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83"/>
                      <a:pt x="0" y="83"/>
                      <a:pt x="0" y="83"/>
                    </a:cubicBezTo>
                    <a:cubicBezTo>
                      <a:pt x="14" y="83"/>
                      <a:pt x="14" y="83"/>
                      <a:pt x="14" y="83"/>
                    </a:cubicBezTo>
                    <a:cubicBezTo>
                      <a:pt x="14" y="39"/>
                      <a:pt x="14" y="39"/>
                      <a:pt x="14" y="39"/>
                    </a:cubicBezTo>
                    <a:cubicBezTo>
                      <a:pt x="14" y="29"/>
                      <a:pt x="16" y="21"/>
                      <a:pt x="20" y="18"/>
                    </a:cubicBezTo>
                    <a:cubicBezTo>
                      <a:pt x="25" y="14"/>
                      <a:pt x="30" y="12"/>
                      <a:pt x="36" y="12"/>
                    </a:cubicBezTo>
                    <a:cubicBezTo>
                      <a:pt x="39" y="12"/>
                      <a:pt x="43" y="13"/>
                      <a:pt x="45" y="15"/>
                    </a:cubicBezTo>
                    <a:cubicBezTo>
                      <a:pt x="48" y="16"/>
                      <a:pt x="50" y="19"/>
                      <a:pt x="51" y="21"/>
                    </a:cubicBezTo>
                    <a:cubicBezTo>
                      <a:pt x="52" y="24"/>
                      <a:pt x="53" y="28"/>
                      <a:pt x="53" y="34"/>
                    </a:cubicBezTo>
                    <a:cubicBezTo>
                      <a:pt x="53" y="83"/>
                      <a:pt x="53" y="83"/>
                      <a:pt x="53" y="83"/>
                    </a:cubicBezTo>
                    <a:cubicBezTo>
                      <a:pt x="66" y="83"/>
                      <a:pt x="66" y="83"/>
                      <a:pt x="66" y="83"/>
                    </a:cubicBezTo>
                    <a:cubicBezTo>
                      <a:pt x="66" y="33"/>
                      <a:pt x="66" y="33"/>
                      <a:pt x="66" y="33"/>
                    </a:cubicBezTo>
                    <a:cubicBezTo>
                      <a:pt x="66" y="27"/>
                      <a:pt x="66" y="23"/>
                      <a:pt x="66" y="20"/>
                    </a:cubicBezTo>
                    <a:cubicBezTo>
                      <a:pt x="65" y="16"/>
                      <a:pt x="63" y="13"/>
                      <a:pt x="61" y="1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45" name="ïṣľíḓè"/>
              <p:cNvSpPr/>
              <p:nvPr/>
            </p:nvSpPr>
            <p:spPr bwMode="auto">
              <a:xfrm>
                <a:off x="9322053" y="5729878"/>
                <a:ext cx="142875" cy="157163"/>
              </a:xfrm>
              <a:custGeom>
                <a:avLst/>
                <a:gdLst>
                  <a:gd name="T0" fmla="*/ 38 w 77"/>
                  <a:gd name="T1" fmla="*/ 0 h 85"/>
                  <a:gd name="T2" fmla="*/ 13 w 77"/>
                  <a:gd name="T3" fmla="*/ 9 h 85"/>
                  <a:gd name="T4" fmla="*/ 0 w 77"/>
                  <a:gd name="T5" fmla="*/ 43 h 85"/>
                  <a:gd name="T6" fmla="*/ 11 w 77"/>
                  <a:gd name="T7" fmla="*/ 74 h 85"/>
                  <a:gd name="T8" fmla="*/ 38 w 77"/>
                  <a:gd name="T9" fmla="*/ 85 h 85"/>
                  <a:gd name="T10" fmla="*/ 58 w 77"/>
                  <a:gd name="T11" fmla="*/ 80 h 85"/>
                  <a:gd name="T12" fmla="*/ 72 w 77"/>
                  <a:gd name="T13" fmla="*/ 66 h 85"/>
                  <a:gd name="T14" fmla="*/ 77 w 77"/>
                  <a:gd name="T15" fmla="*/ 42 h 85"/>
                  <a:gd name="T16" fmla="*/ 66 w 77"/>
                  <a:gd name="T17" fmla="*/ 11 h 85"/>
                  <a:gd name="T18" fmla="*/ 38 w 77"/>
                  <a:gd name="T19" fmla="*/ 0 h 85"/>
                  <a:gd name="T20" fmla="*/ 56 w 77"/>
                  <a:gd name="T21" fmla="*/ 66 h 85"/>
                  <a:gd name="T22" fmla="*/ 38 w 77"/>
                  <a:gd name="T23" fmla="*/ 74 h 85"/>
                  <a:gd name="T24" fmla="*/ 21 w 77"/>
                  <a:gd name="T25" fmla="*/ 66 h 85"/>
                  <a:gd name="T26" fmla="*/ 15 w 77"/>
                  <a:gd name="T27" fmla="*/ 43 h 85"/>
                  <a:gd name="T28" fmla="*/ 21 w 77"/>
                  <a:gd name="T29" fmla="*/ 19 h 85"/>
                  <a:gd name="T30" fmla="*/ 38 w 77"/>
                  <a:gd name="T31" fmla="*/ 12 h 85"/>
                  <a:gd name="T32" fmla="*/ 56 w 77"/>
                  <a:gd name="T33" fmla="*/ 19 h 85"/>
                  <a:gd name="T34" fmla="*/ 62 w 77"/>
                  <a:gd name="T35" fmla="*/ 42 h 85"/>
                  <a:gd name="T36" fmla="*/ 56 w 77"/>
                  <a:gd name="T37" fmla="*/ 66 h 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77" h="85">
                    <a:moveTo>
                      <a:pt x="38" y="0"/>
                    </a:moveTo>
                    <a:cubicBezTo>
                      <a:pt x="28" y="0"/>
                      <a:pt x="20" y="3"/>
                      <a:pt x="13" y="9"/>
                    </a:cubicBezTo>
                    <a:cubicBezTo>
                      <a:pt x="5" y="16"/>
                      <a:pt x="0" y="28"/>
                      <a:pt x="0" y="43"/>
                    </a:cubicBezTo>
                    <a:cubicBezTo>
                      <a:pt x="0" y="56"/>
                      <a:pt x="4" y="67"/>
                      <a:pt x="11" y="74"/>
                    </a:cubicBezTo>
                    <a:cubicBezTo>
                      <a:pt x="18" y="82"/>
                      <a:pt x="27" y="85"/>
                      <a:pt x="38" y="85"/>
                    </a:cubicBezTo>
                    <a:cubicBezTo>
                      <a:pt x="46" y="85"/>
                      <a:pt x="52" y="84"/>
                      <a:pt x="58" y="80"/>
                    </a:cubicBezTo>
                    <a:cubicBezTo>
                      <a:pt x="64" y="77"/>
                      <a:pt x="69" y="72"/>
                      <a:pt x="72" y="66"/>
                    </a:cubicBezTo>
                    <a:cubicBezTo>
                      <a:pt x="75" y="60"/>
                      <a:pt x="77" y="52"/>
                      <a:pt x="77" y="42"/>
                    </a:cubicBezTo>
                    <a:cubicBezTo>
                      <a:pt x="77" y="29"/>
                      <a:pt x="73" y="19"/>
                      <a:pt x="66" y="11"/>
                    </a:cubicBezTo>
                    <a:cubicBezTo>
                      <a:pt x="59" y="4"/>
                      <a:pt x="50" y="0"/>
                      <a:pt x="38" y="0"/>
                    </a:cubicBezTo>
                    <a:close/>
                    <a:moveTo>
                      <a:pt x="56" y="66"/>
                    </a:moveTo>
                    <a:cubicBezTo>
                      <a:pt x="51" y="71"/>
                      <a:pt x="45" y="74"/>
                      <a:pt x="38" y="74"/>
                    </a:cubicBezTo>
                    <a:cubicBezTo>
                      <a:pt x="32" y="74"/>
                      <a:pt x="26" y="71"/>
                      <a:pt x="21" y="66"/>
                    </a:cubicBezTo>
                    <a:cubicBezTo>
                      <a:pt x="17" y="61"/>
                      <a:pt x="15" y="53"/>
                      <a:pt x="15" y="43"/>
                    </a:cubicBezTo>
                    <a:cubicBezTo>
                      <a:pt x="15" y="32"/>
                      <a:pt x="17" y="24"/>
                      <a:pt x="21" y="19"/>
                    </a:cubicBezTo>
                    <a:cubicBezTo>
                      <a:pt x="26" y="14"/>
                      <a:pt x="32" y="12"/>
                      <a:pt x="38" y="12"/>
                    </a:cubicBezTo>
                    <a:cubicBezTo>
                      <a:pt x="45" y="12"/>
                      <a:pt x="51" y="14"/>
                      <a:pt x="56" y="19"/>
                    </a:cubicBezTo>
                    <a:cubicBezTo>
                      <a:pt x="60" y="25"/>
                      <a:pt x="62" y="32"/>
                      <a:pt x="62" y="42"/>
                    </a:cubicBezTo>
                    <a:cubicBezTo>
                      <a:pt x="62" y="53"/>
                      <a:pt x="60" y="61"/>
                      <a:pt x="56" y="6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46" name="îš1ïḋé"/>
              <p:cNvSpPr/>
              <p:nvPr/>
            </p:nvSpPr>
            <p:spPr bwMode="auto">
              <a:xfrm>
                <a:off x="9491916" y="5675903"/>
                <a:ext cx="25400" cy="206375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47" name="íŝḻíḍê"/>
              <p:cNvSpPr/>
              <p:nvPr/>
            </p:nvSpPr>
            <p:spPr bwMode="auto">
              <a:xfrm>
                <a:off x="9547478" y="5729878"/>
                <a:ext cx="141288" cy="157163"/>
              </a:xfrm>
              <a:custGeom>
                <a:avLst/>
                <a:gdLst>
                  <a:gd name="T0" fmla="*/ 38 w 77"/>
                  <a:gd name="T1" fmla="*/ 0 h 85"/>
                  <a:gd name="T2" fmla="*/ 13 w 77"/>
                  <a:gd name="T3" fmla="*/ 9 h 85"/>
                  <a:gd name="T4" fmla="*/ 0 w 77"/>
                  <a:gd name="T5" fmla="*/ 43 h 85"/>
                  <a:gd name="T6" fmla="*/ 11 w 77"/>
                  <a:gd name="T7" fmla="*/ 74 h 85"/>
                  <a:gd name="T8" fmla="*/ 38 w 77"/>
                  <a:gd name="T9" fmla="*/ 85 h 85"/>
                  <a:gd name="T10" fmla="*/ 58 w 77"/>
                  <a:gd name="T11" fmla="*/ 80 h 85"/>
                  <a:gd name="T12" fmla="*/ 72 w 77"/>
                  <a:gd name="T13" fmla="*/ 66 h 85"/>
                  <a:gd name="T14" fmla="*/ 77 w 77"/>
                  <a:gd name="T15" fmla="*/ 42 h 85"/>
                  <a:gd name="T16" fmla="*/ 66 w 77"/>
                  <a:gd name="T17" fmla="*/ 11 h 85"/>
                  <a:gd name="T18" fmla="*/ 38 w 77"/>
                  <a:gd name="T19" fmla="*/ 0 h 85"/>
                  <a:gd name="T20" fmla="*/ 56 w 77"/>
                  <a:gd name="T21" fmla="*/ 66 h 85"/>
                  <a:gd name="T22" fmla="*/ 38 w 77"/>
                  <a:gd name="T23" fmla="*/ 74 h 85"/>
                  <a:gd name="T24" fmla="*/ 21 w 77"/>
                  <a:gd name="T25" fmla="*/ 66 h 85"/>
                  <a:gd name="T26" fmla="*/ 15 w 77"/>
                  <a:gd name="T27" fmla="*/ 43 h 85"/>
                  <a:gd name="T28" fmla="*/ 21 w 77"/>
                  <a:gd name="T29" fmla="*/ 19 h 85"/>
                  <a:gd name="T30" fmla="*/ 38 w 77"/>
                  <a:gd name="T31" fmla="*/ 12 h 85"/>
                  <a:gd name="T32" fmla="*/ 56 w 77"/>
                  <a:gd name="T33" fmla="*/ 19 h 85"/>
                  <a:gd name="T34" fmla="*/ 62 w 77"/>
                  <a:gd name="T35" fmla="*/ 42 h 85"/>
                  <a:gd name="T36" fmla="*/ 56 w 77"/>
                  <a:gd name="T37" fmla="*/ 66 h 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77" h="85">
                    <a:moveTo>
                      <a:pt x="38" y="0"/>
                    </a:moveTo>
                    <a:cubicBezTo>
                      <a:pt x="28" y="0"/>
                      <a:pt x="20" y="3"/>
                      <a:pt x="13" y="9"/>
                    </a:cubicBezTo>
                    <a:cubicBezTo>
                      <a:pt x="5" y="16"/>
                      <a:pt x="0" y="28"/>
                      <a:pt x="0" y="43"/>
                    </a:cubicBezTo>
                    <a:cubicBezTo>
                      <a:pt x="0" y="56"/>
                      <a:pt x="4" y="67"/>
                      <a:pt x="11" y="74"/>
                    </a:cubicBezTo>
                    <a:cubicBezTo>
                      <a:pt x="18" y="82"/>
                      <a:pt x="27" y="85"/>
                      <a:pt x="38" y="85"/>
                    </a:cubicBezTo>
                    <a:cubicBezTo>
                      <a:pt x="46" y="85"/>
                      <a:pt x="52" y="84"/>
                      <a:pt x="58" y="80"/>
                    </a:cubicBezTo>
                    <a:cubicBezTo>
                      <a:pt x="64" y="77"/>
                      <a:pt x="69" y="72"/>
                      <a:pt x="72" y="66"/>
                    </a:cubicBezTo>
                    <a:cubicBezTo>
                      <a:pt x="75" y="60"/>
                      <a:pt x="77" y="52"/>
                      <a:pt x="77" y="42"/>
                    </a:cubicBezTo>
                    <a:cubicBezTo>
                      <a:pt x="77" y="29"/>
                      <a:pt x="73" y="19"/>
                      <a:pt x="66" y="11"/>
                    </a:cubicBezTo>
                    <a:cubicBezTo>
                      <a:pt x="59" y="4"/>
                      <a:pt x="50" y="0"/>
                      <a:pt x="38" y="0"/>
                    </a:cubicBezTo>
                    <a:close/>
                    <a:moveTo>
                      <a:pt x="56" y="66"/>
                    </a:moveTo>
                    <a:cubicBezTo>
                      <a:pt x="51" y="71"/>
                      <a:pt x="45" y="74"/>
                      <a:pt x="38" y="74"/>
                    </a:cubicBezTo>
                    <a:cubicBezTo>
                      <a:pt x="32" y="74"/>
                      <a:pt x="26" y="71"/>
                      <a:pt x="21" y="66"/>
                    </a:cubicBezTo>
                    <a:cubicBezTo>
                      <a:pt x="17" y="61"/>
                      <a:pt x="15" y="53"/>
                      <a:pt x="15" y="43"/>
                    </a:cubicBezTo>
                    <a:cubicBezTo>
                      <a:pt x="15" y="32"/>
                      <a:pt x="17" y="24"/>
                      <a:pt x="21" y="19"/>
                    </a:cubicBezTo>
                    <a:cubicBezTo>
                      <a:pt x="26" y="14"/>
                      <a:pt x="32" y="12"/>
                      <a:pt x="38" y="12"/>
                    </a:cubicBezTo>
                    <a:cubicBezTo>
                      <a:pt x="45" y="12"/>
                      <a:pt x="51" y="14"/>
                      <a:pt x="56" y="19"/>
                    </a:cubicBezTo>
                    <a:cubicBezTo>
                      <a:pt x="60" y="25"/>
                      <a:pt x="62" y="32"/>
                      <a:pt x="62" y="42"/>
                    </a:cubicBezTo>
                    <a:cubicBezTo>
                      <a:pt x="62" y="53"/>
                      <a:pt x="60" y="61"/>
                      <a:pt x="56" y="6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48" name="íṧḷíḓé"/>
              <p:cNvSpPr/>
              <p:nvPr/>
            </p:nvSpPr>
            <p:spPr bwMode="auto">
              <a:xfrm>
                <a:off x="9707816" y="5729878"/>
                <a:ext cx="131763" cy="214313"/>
              </a:xfrm>
              <a:custGeom>
                <a:avLst/>
                <a:gdLst>
                  <a:gd name="T0" fmla="*/ 59 w 72"/>
                  <a:gd name="T1" fmla="*/ 12 h 116"/>
                  <a:gd name="T2" fmla="*/ 36 w 72"/>
                  <a:gd name="T3" fmla="*/ 0 h 116"/>
                  <a:gd name="T4" fmla="*/ 17 w 72"/>
                  <a:gd name="T5" fmla="*/ 6 h 116"/>
                  <a:gd name="T6" fmla="*/ 5 w 72"/>
                  <a:gd name="T7" fmla="*/ 21 h 116"/>
                  <a:gd name="T8" fmla="*/ 0 w 72"/>
                  <a:gd name="T9" fmla="*/ 42 h 116"/>
                  <a:gd name="T10" fmla="*/ 10 w 72"/>
                  <a:gd name="T11" fmla="*/ 71 h 116"/>
                  <a:gd name="T12" fmla="*/ 36 w 72"/>
                  <a:gd name="T13" fmla="*/ 83 h 116"/>
                  <a:gd name="T14" fmla="*/ 58 w 72"/>
                  <a:gd name="T15" fmla="*/ 73 h 116"/>
                  <a:gd name="T16" fmla="*/ 57 w 72"/>
                  <a:gd name="T17" fmla="*/ 90 h 116"/>
                  <a:gd name="T18" fmla="*/ 50 w 72"/>
                  <a:gd name="T19" fmla="*/ 101 h 116"/>
                  <a:gd name="T20" fmla="*/ 35 w 72"/>
                  <a:gd name="T21" fmla="*/ 105 h 116"/>
                  <a:gd name="T22" fmla="*/ 21 w 72"/>
                  <a:gd name="T23" fmla="*/ 101 h 116"/>
                  <a:gd name="T24" fmla="*/ 17 w 72"/>
                  <a:gd name="T25" fmla="*/ 92 h 116"/>
                  <a:gd name="T26" fmla="*/ 3 w 72"/>
                  <a:gd name="T27" fmla="*/ 90 h 116"/>
                  <a:gd name="T28" fmla="*/ 12 w 72"/>
                  <a:gd name="T29" fmla="*/ 110 h 116"/>
                  <a:gd name="T30" fmla="*/ 35 w 72"/>
                  <a:gd name="T31" fmla="*/ 116 h 116"/>
                  <a:gd name="T32" fmla="*/ 56 w 72"/>
                  <a:gd name="T33" fmla="*/ 112 h 116"/>
                  <a:gd name="T34" fmla="*/ 68 w 72"/>
                  <a:gd name="T35" fmla="*/ 99 h 116"/>
                  <a:gd name="T36" fmla="*/ 72 w 72"/>
                  <a:gd name="T37" fmla="*/ 72 h 116"/>
                  <a:gd name="T38" fmla="*/ 72 w 72"/>
                  <a:gd name="T39" fmla="*/ 2 h 116"/>
                  <a:gd name="T40" fmla="*/ 59 w 72"/>
                  <a:gd name="T41" fmla="*/ 2 h 116"/>
                  <a:gd name="T42" fmla="*/ 59 w 72"/>
                  <a:gd name="T43" fmla="*/ 12 h 116"/>
                  <a:gd name="T44" fmla="*/ 53 w 72"/>
                  <a:gd name="T45" fmla="*/ 65 h 116"/>
                  <a:gd name="T46" fmla="*/ 37 w 72"/>
                  <a:gd name="T47" fmla="*/ 72 h 116"/>
                  <a:gd name="T48" fmla="*/ 21 w 72"/>
                  <a:gd name="T49" fmla="*/ 65 h 116"/>
                  <a:gd name="T50" fmla="*/ 15 w 72"/>
                  <a:gd name="T51" fmla="*/ 41 h 116"/>
                  <a:gd name="T52" fmla="*/ 21 w 72"/>
                  <a:gd name="T53" fmla="*/ 19 h 116"/>
                  <a:gd name="T54" fmla="*/ 37 w 72"/>
                  <a:gd name="T55" fmla="*/ 12 h 116"/>
                  <a:gd name="T56" fmla="*/ 53 w 72"/>
                  <a:gd name="T57" fmla="*/ 19 h 116"/>
                  <a:gd name="T58" fmla="*/ 59 w 72"/>
                  <a:gd name="T59" fmla="*/ 42 h 116"/>
                  <a:gd name="T60" fmla="*/ 53 w 72"/>
                  <a:gd name="T61" fmla="*/ 65 h 1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72" h="116">
                    <a:moveTo>
                      <a:pt x="59" y="12"/>
                    </a:moveTo>
                    <a:cubicBezTo>
                      <a:pt x="53" y="4"/>
                      <a:pt x="45" y="0"/>
                      <a:pt x="36" y="0"/>
                    </a:cubicBezTo>
                    <a:cubicBezTo>
                      <a:pt x="28" y="0"/>
                      <a:pt x="22" y="2"/>
                      <a:pt x="17" y="6"/>
                    </a:cubicBezTo>
                    <a:cubicBezTo>
                      <a:pt x="11" y="9"/>
                      <a:pt x="7" y="14"/>
                      <a:pt x="5" y="21"/>
                    </a:cubicBezTo>
                    <a:cubicBezTo>
                      <a:pt x="2" y="27"/>
                      <a:pt x="0" y="34"/>
                      <a:pt x="0" y="42"/>
                    </a:cubicBezTo>
                    <a:cubicBezTo>
                      <a:pt x="0" y="53"/>
                      <a:pt x="3" y="63"/>
                      <a:pt x="10" y="71"/>
                    </a:cubicBezTo>
                    <a:cubicBezTo>
                      <a:pt x="16" y="79"/>
                      <a:pt x="24" y="83"/>
                      <a:pt x="36" y="83"/>
                    </a:cubicBezTo>
                    <a:cubicBezTo>
                      <a:pt x="45" y="83"/>
                      <a:pt x="52" y="80"/>
                      <a:pt x="58" y="73"/>
                    </a:cubicBezTo>
                    <a:cubicBezTo>
                      <a:pt x="58" y="82"/>
                      <a:pt x="58" y="88"/>
                      <a:pt x="57" y="90"/>
                    </a:cubicBezTo>
                    <a:cubicBezTo>
                      <a:pt x="56" y="95"/>
                      <a:pt x="53" y="99"/>
                      <a:pt x="50" y="101"/>
                    </a:cubicBezTo>
                    <a:cubicBezTo>
                      <a:pt x="47" y="104"/>
                      <a:pt x="42" y="105"/>
                      <a:pt x="35" y="105"/>
                    </a:cubicBezTo>
                    <a:cubicBezTo>
                      <a:pt x="29" y="105"/>
                      <a:pt x="25" y="104"/>
                      <a:pt x="21" y="101"/>
                    </a:cubicBezTo>
                    <a:cubicBezTo>
                      <a:pt x="19" y="99"/>
                      <a:pt x="17" y="96"/>
                      <a:pt x="17" y="92"/>
                    </a:cubicBezTo>
                    <a:cubicBezTo>
                      <a:pt x="3" y="90"/>
                      <a:pt x="3" y="90"/>
                      <a:pt x="3" y="90"/>
                    </a:cubicBezTo>
                    <a:cubicBezTo>
                      <a:pt x="3" y="99"/>
                      <a:pt x="6" y="105"/>
                      <a:pt x="12" y="110"/>
                    </a:cubicBezTo>
                    <a:cubicBezTo>
                      <a:pt x="18" y="114"/>
                      <a:pt x="26" y="116"/>
                      <a:pt x="35" y="116"/>
                    </a:cubicBezTo>
                    <a:cubicBezTo>
                      <a:pt x="43" y="116"/>
                      <a:pt x="50" y="115"/>
                      <a:pt x="56" y="112"/>
                    </a:cubicBezTo>
                    <a:cubicBezTo>
                      <a:pt x="62" y="109"/>
                      <a:pt x="66" y="104"/>
                      <a:pt x="68" y="99"/>
                    </a:cubicBezTo>
                    <a:cubicBezTo>
                      <a:pt x="71" y="94"/>
                      <a:pt x="72" y="85"/>
                      <a:pt x="72" y="72"/>
                    </a:cubicBezTo>
                    <a:cubicBezTo>
                      <a:pt x="72" y="2"/>
                      <a:pt x="72" y="2"/>
                      <a:pt x="72" y="2"/>
                    </a:cubicBezTo>
                    <a:cubicBezTo>
                      <a:pt x="59" y="2"/>
                      <a:pt x="59" y="2"/>
                      <a:pt x="59" y="2"/>
                    </a:cubicBezTo>
                    <a:lnTo>
                      <a:pt x="59" y="12"/>
                    </a:lnTo>
                    <a:close/>
                    <a:moveTo>
                      <a:pt x="53" y="65"/>
                    </a:moveTo>
                    <a:cubicBezTo>
                      <a:pt x="48" y="69"/>
                      <a:pt x="43" y="72"/>
                      <a:pt x="37" y="72"/>
                    </a:cubicBezTo>
                    <a:cubicBezTo>
                      <a:pt x="30" y="72"/>
                      <a:pt x="25" y="69"/>
                      <a:pt x="21" y="65"/>
                    </a:cubicBezTo>
                    <a:cubicBezTo>
                      <a:pt x="17" y="60"/>
                      <a:pt x="15" y="52"/>
                      <a:pt x="15" y="41"/>
                    </a:cubicBezTo>
                    <a:cubicBezTo>
                      <a:pt x="15" y="31"/>
                      <a:pt x="17" y="24"/>
                      <a:pt x="21" y="19"/>
                    </a:cubicBezTo>
                    <a:cubicBezTo>
                      <a:pt x="25" y="14"/>
                      <a:pt x="30" y="12"/>
                      <a:pt x="37" y="12"/>
                    </a:cubicBezTo>
                    <a:cubicBezTo>
                      <a:pt x="43" y="12"/>
                      <a:pt x="48" y="14"/>
                      <a:pt x="53" y="19"/>
                    </a:cubicBezTo>
                    <a:cubicBezTo>
                      <a:pt x="57" y="24"/>
                      <a:pt x="59" y="32"/>
                      <a:pt x="59" y="42"/>
                    </a:cubicBezTo>
                    <a:cubicBezTo>
                      <a:pt x="59" y="52"/>
                      <a:pt x="57" y="60"/>
                      <a:pt x="53" y="6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49" name="îŝlíde"/>
              <p:cNvSpPr/>
              <p:nvPr/>
            </p:nvSpPr>
            <p:spPr bwMode="auto">
              <a:xfrm>
                <a:off x="9864978" y="5733053"/>
                <a:ext cx="138113" cy="211138"/>
              </a:xfrm>
              <a:custGeom>
                <a:avLst/>
                <a:gdLst>
                  <a:gd name="T0" fmla="*/ 43 w 75"/>
                  <a:gd name="T1" fmla="*/ 47 h 114"/>
                  <a:gd name="T2" fmla="*/ 38 w 75"/>
                  <a:gd name="T3" fmla="*/ 66 h 114"/>
                  <a:gd name="T4" fmla="*/ 32 w 75"/>
                  <a:gd name="T5" fmla="*/ 47 h 114"/>
                  <a:gd name="T6" fmla="*/ 15 w 75"/>
                  <a:gd name="T7" fmla="*/ 0 h 114"/>
                  <a:gd name="T8" fmla="*/ 0 w 75"/>
                  <a:gd name="T9" fmla="*/ 0 h 114"/>
                  <a:gd name="T10" fmla="*/ 31 w 75"/>
                  <a:gd name="T11" fmla="*/ 81 h 114"/>
                  <a:gd name="T12" fmla="*/ 30 w 75"/>
                  <a:gd name="T13" fmla="*/ 85 h 114"/>
                  <a:gd name="T14" fmla="*/ 25 w 75"/>
                  <a:gd name="T15" fmla="*/ 95 h 114"/>
                  <a:gd name="T16" fmla="*/ 21 w 75"/>
                  <a:gd name="T17" fmla="*/ 99 h 114"/>
                  <a:gd name="T18" fmla="*/ 14 w 75"/>
                  <a:gd name="T19" fmla="*/ 101 h 114"/>
                  <a:gd name="T20" fmla="*/ 6 w 75"/>
                  <a:gd name="T21" fmla="*/ 100 h 114"/>
                  <a:gd name="T22" fmla="*/ 7 w 75"/>
                  <a:gd name="T23" fmla="*/ 113 h 114"/>
                  <a:gd name="T24" fmla="*/ 16 w 75"/>
                  <a:gd name="T25" fmla="*/ 114 h 114"/>
                  <a:gd name="T26" fmla="*/ 27 w 75"/>
                  <a:gd name="T27" fmla="*/ 111 h 114"/>
                  <a:gd name="T28" fmla="*/ 36 w 75"/>
                  <a:gd name="T29" fmla="*/ 101 h 114"/>
                  <a:gd name="T30" fmla="*/ 44 w 75"/>
                  <a:gd name="T31" fmla="*/ 83 h 114"/>
                  <a:gd name="T32" fmla="*/ 75 w 75"/>
                  <a:gd name="T33" fmla="*/ 0 h 114"/>
                  <a:gd name="T34" fmla="*/ 61 w 75"/>
                  <a:gd name="T35" fmla="*/ 0 h 114"/>
                  <a:gd name="T36" fmla="*/ 43 w 75"/>
                  <a:gd name="T37" fmla="*/ 47 h 1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75" h="114">
                    <a:moveTo>
                      <a:pt x="43" y="47"/>
                    </a:moveTo>
                    <a:cubicBezTo>
                      <a:pt x="41" y="53"/>
                      <a:pt x="39" y="60"/>
                      <a:pt x="38" y="66"/>
                    </a:cubicBezTo>
                    <a:cubicBezTo>
                      <a:pt x="36" y="59"/>
                      <a:pt x="34" y="53"/>
                      <a:pt x="32" y="47"/>
                    </a:cubicBezTo>
                    <a:cubicBezTo>
                      <a:pt x="15" y="0"/>
                      <a:pt x="15" y="0"/>
                      <a:pt x="15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31" y="81"/>
                      <a:pt x="31" y="81"/>
                      <a:pt x="31" y="81"/>
                    </a:cubicBezTo>
                    <a:cubicBezTo>
                      <a:pt x="30" y="83"/>
                      <a:pt x="30" y="84"/>
                      <a:pt x="30" y="85"/>
                    </a:cubicBezTo>
                    <a:cubicBezTo>
                      <a:pt x="28" y="90"/>
                      <a:pt x="26" y="94"/>
                      <a:pt x="25" y="95"/>
                    </a:cubicBezTo>
                    <a:cubicBezTo>
                      <a:pt x="24" y="97"/>
                      <a:pt x="23" y="98"/>
                      <a:pt x="21" y="99"/>
                    </a:cubicBezTo>
                    <a:cubicBezTo>
                      <a:pt x="19" y="100"/>
                      <a:pt x="17" y="101"/>
                      <a:pt x="14" y="101"/>
                    </a:cubicBezTo>
                    <a:cubicBezTo>
                      <a:pt x="11" y="101"/>
                      <a:pt x="9" y="101"/>
                      <a:pt x="6" y="100"/>
                    </a:cubicBezTo>
                    <a:cubicBezTo>
                      <a:pt x="7" y="113"/>
                      <a:pt x="7" y="113"/>
                      <a:pt x="7" y="113"/>
                    </a:cubicBezTo>
                    <a:cubicBezTo>
                      <a:pt x="11" y="114"/>
                      <a:pt x="13" y="114"/>
                      <a:pt x="16" y="114"/>
                    </a:cubicBezTo>
                    <a:cubicBezTo>
                      <a:pt x="21" y="114"/>
                      <a:pt x="24" y="113"/>
                      <a:pt x="27" y="111"/>
                    </a:cubicBezTo>
                    <a:cubicBezTo>
                      <a:pt x="31" y="109"/>
                      <a:pt x="33" y="106"/>
                      <a:pt x="36" y="101"/>
                    </a:cubicBezTo>
                    <a:cubicBezTo>
                      <a:pt x="38" y="98"/>
                      <a:pt x="40" y="92"/>
                      <a:pt x="44" y="83"/>
                    </a:cubicBezTo>
                    <a:cubicBezTo>
                      <a:pt x="75" y="0"/>
                      <a:pt x="75" y="0"/>
                      <a:pt x="75" y="0"/>
                    </a:cubicBezTo>
                    <a:cubicBezTo>
                      <a:pt x="61" y="0"/>
                      <a:pt x="61" y="0"/>
                      <a:pt x="61" y="0"/>
                    </a:cubicBezTo>
                    <a:lnTo>
                      <a:pt x="43" y="4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50" name="íṧ1ïḍé"/>
              <p:cNvSpPr/>
              <p:nvPr/>
            </p:nvSpPr>
            <p:spPr bwMode="auto">
              <a:xfrm>
                <a:off x="10106278" y="5675903"/>
                <a:ext cx="155575" cy="206375"/>
              </a:xfrm>
              <a:custGeom>
                <a:avLst/>
                <a:gdLst>
                  <a:gd name="T0" fmla="*/ 64 w 85"/>
                  <a:gd name="T1" fmla="*/ 53 h 112"/>
                  <a:gd name="T2" fmla="*/ 75 w 85"/>
                  <a:gd name="T3" fmla="*/ 42 h 112"/>
                  <a:gd name="T4" fmla="*/ 79 w 85"/>
                  <a:gd name="T5" fmla="*/ 29 h 112"/>
                  <a:gd name="T6" fmla="*/ 75 w 85"/>
                  <a:gd name="T7" fmla="*/ 14 h 112"/>
                  <a:gd name="T8" fmla="*/ 63 w 85"/>
                  <a:gd name="T9" fmla="*/ 4 h 112"/>
                  <a:gd name="T10" fmla="*/ 42 w 85"/>
                  <a:gd name="T11" fmla="*/ 0 h 112"/>
                  <a:gd name="T12" fmla="*/ 0 w 85"/>
                  <a:gd name="T13" fmla="*/ 0 h 112"/>
                  <a:gd name="T14" fmla="*/ 0 w 85"/>
                  <a:gd name="T15" fmla="*/ 112 h 112"/>
                  <a:gd name="T16" fmla="*/ 43 w 85"/>
                  <a:gd name="T17" fmla="*/ 112 h 112"/>
                  <a:gd name="T18" fmla="*/ 61 w 85"/>
                  <a:gd name="T19" fmla="*/ 110 h 112"/>
                  <a:gd name="T20" fmla="*/ 73 w 85"/>
                  <a:gd name="T21" fmla="*/ 105 h 112"/>
                  <a:gd name="T22" fmla="*/ 81 w 85"/>
                  <a:gd name="T23" fmla="*/ 94 h 112"/>
                  <a:gd name="T24" fmla="*/ 85 w 85"/>
                  <a:gd name="T25" fmla="*/ 80 h 112"/>
                  <a:gd name="T26" fmla="*/ 79 w 85"/>
                  <a:gd name="T27" fmla="*/ 63 h 112"/>
                  <a:gd name="T28" fmla="*/ 64 w 85"/>
                  <a:gd name="T29" fmla="*/ 53 h 112"/>
                  <a:gd name="T30" fmla="*/ 15 w 85"/>
                  <a:gd name="T31" fmla="*/ 13 h 112"/>
                  <a:gd name="T32" fmla="*/ 37 w 85"/>
                  <a:gd name="T33" fmla="*/ 13 h 112"/>
                  <a:gd name="T34" fmla="*/ 54 w 85"/>
                  <a:gd name="T35" fmla="*/ 15 h 112"/>
                  <a:gd name="T36" fmla="*/ 62 w 85"/>
                  <a:gd name="T37" fmla="*/ 21 h 112"/>
                  <a:gd name="T38" fmla="*/ 65 w 85"/>
                  <a:gd name="T39" fmla="*/ 31 h 112"/>
                  <a:gd name="T40" fmla="*/ 62 w 85"/>
                  <a:gd name="T41" fmla="*/ 40 h 112"/>
                  <a:gd name="T42" fmla="*/ 53 w 85"/>
                  <a:gd name="T43" fmla="*/ 46 h 112"/>
                  <a:gd name="T44" fmla="*/ 39 w 85"/>
                  <a:gd name="T45" fmla="*/ 47 h 112"/>
                  <a:gd name="T46" fmla="*/ 15 w 85"/>
                  <a:gd name="T47" fmla="*/ 47 h 112"/>
                  <a:gd name="T48" fmla="*/ 15 w 85"/>
                  <a:gd name="T49" fmla="*/ 13 h 112"/>
                  <a:gd name="T50" fmla="*/ 67 w 85"/>
                  <a:gd name="T51" fmla="*/ 89 h 112"/>
                  <a:gd name="T52" fmla="*/ 61 w 85"/>
                  <a:gd name="T53" fmla="*/ 95 h 112"/>
                  <a:gd name="T54" fmla="*/ 53 w 85"/>
                  <a:gd name="T55" fmla="*/ 99 h 112"/>
                  <a:gd name="T56" fmla="*/ 43 w 85"/>
                  <a:gd name="T57" fmla="*/ 99 h 112"/>
                  <a:gd name="T58" fmla="*/ 15 w 85"/>
                  <a:gd name="T59" fmla="*/ 99 h 112"/>
                  <a:gd name="T60" fmla="*/ 15 w 85"/>
                  <a:gd name="T61" fmla="*/ 61 h 112"/>
                  <a:gd name="T62" fmla="*/ 41 w 85"/>
                  <a:gd name="T63" fmla="*/ 61 h 112"/>
                  <a:gd name="T64" fmla="*/ 57 w 85"/>
                  <a:gd name="T65" fmla="*/ 62 h 112"/>
                  <a:gd name="T66" fmla="*/ 66 w 85"/>
                  <a:gd name="T67" fmla="*/ 69 h 112"/>
                  <a:gd name="T68" fmla="*/ 69 w 85"/>
                  <a:gd name="T69" fmla="*/ 80 h 112"/>
                  <a:gd name="T70" fmla="*/ 67 w 85"/>
                  <a:gd name="T71" fmla="*/ 89 h 1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85" h="112">
                    <a:moveTo>
                      <a:pt x="64" y="53"/>
                    </a:moveTo>
                    <a:cubicBezTo>
                      <a:pt x="69" y="50"/>
                      <a:pt x="73" y="47"/>
                      <a:pt x="75" y="42"/>
                    </a:cubicBezTo>
                    <a:cubicBezTo>
                      <a:pt x="78" y="38"/>
                      <a:pt x="79" y="34"/>
                      <a:pt x="79" y="29"/>
                    </a:cubicBezTo>
                    <a:cubicBezTo>
                      <a:pt x="79" y="24"/>
                      <a:pt x="78" y="19"/>
                      <a:pt x="75" y="14"/>
                    </a:cubicBezTo>
                    <a:cubicBezTo>
                      <a:pt x="72" y="9"/>
                      <a:pt x="68" y="6"/>
                      <a:pt x="63" y="4"/>
                    </a:cubicBezTo>
                    <a:cubicBezTo>
                      <a:pt x="57" y="1"/>
                      <a:pt x="51" y="0"/>
                      <a:pt x="42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112"/>
                      <a:pt x="0" y="112"/>
                      <a:pt x="0" y="112"/>
                    </a:cubicBezTo>
                    <a:cubicBezTo>
                      <a:pt x="43" y="112"/>
                      <a:pt x="43" y="112"/>
                      <a:pt x="43" y="112"/>
                    </a:cubicBezTo>
                    <a:cubicBezTo>
                      <a:pt x="50" y="112"/>
                      <a:pt x="56" y="112"/>
                      <a:pt x="61" y="110"/>
                    </a:cubicBezTo>
                    <a:cubicBezTo>
                      <a:pt x="66" y="109"/>
                      <a:pt x="70" y="107"/>
                      <a:pt x="73" y="105"/>
                    </a:cubicBezTo>
                    <a:cubicBezTo>
                      <a:pt x="76" y="102"/>
                      <a:pt x="79" y="99"/>
                      <a:pt x="81" y="94"/>
                    </a:cubicBezTo>
                    <a:cubicBezTo>
                      <a:pt x="84" y="90"/>
                      <a:pt x="85" y="85"/>
                      <a:pt x="85" y="80"/>
                    </a:cubicBezTo>
                    <a:cubicBezTo>
                      <a:pt x="85" y="73"/>
                      <a:pt x="83" y="68"/>
                      <a:pt x="79" y="63"/>
                    </a:cubicBezTo>
                    <a:cubicBezTo>
                      <a:pt x="76" y="58"/>
                      <a:pt x="70" y="55"/>
                      <a:pt x="64" y="53"/>
                    </a:cubicBezTo>
                    <a:close/>
                    <a:moveTo>
                      <a:pt x="15" y="13"/>
                    </a:moveTo>
                    <a:cubicBezTo>
                      <a:pt x="37" y="13"/>
                      <a:pt x="37" y="13"/>
                      <a:pt x="37" y="13"/>
                    </a:cubicBezTo>
                    <a:cubicBezTo>
                      <a:pt x="45" y="13"/>
                      <a:pt x="51" y="14"/>
                      <a:pt x="54" y="15"/>
                    </a:cubicBezTo>
                    <a:cubicBezTo>
                      <a:pt x="58" y="16"/>
                      <a:pt x="60" y="18"/>
                      <a:pt x="62" y="21"/>
                    </a:cubicBezTo>
                    <a:cubicBezTo>
                      <a:pt x="64" y="24"/>
                      <a:pt x="65" y="27"/>
                      <a:pt x="65" y="31"/>
                    </a:cubicBezTo>
                    <a:cubicBezTo>
                      <a:pt x="65" y="35"/>
                      <a:pt x="64" y="38"/>
                      <a:pt x="62" y="40"/>
                    </a:cubicBezTo>
                    <a:cubicBezTo>
                      <a:pt x="60" y="43"/>
                      <a:pt x="57" y="45"/>
                      <a:pt x="53" y="46"/>
                    </a:cubicBezTo>
                    <a:cubicBezTo>
                      <a:pt x="50" y="47"/>
                      <a:pt x="46" y="47"/>
                      <a:pt x="39" y="47"/>
                    </a:cubicBezTo>
                    <a:cubicBezTo>
                      <a:pt x="15" y="47"/>
                      <a:pt x="15" y="47"/>
                      <a:pt x="15" y="47"/>
                    </a:cubicBezTo>
                    <a:lnTo>
                      <a:pt x="15" y="13"/>
                    </a:lnTo>
                    <a:close/>
                    <a:moveTo>
                      <a:pt x="67" y="89"/>
                    </a:moveTo>
                    <a:cubicBezTo>
                      <a:pt x="66" y="92"/>
                      <a:pt x="64" y="94"/>
                      <a:pt x="61" y="95"/>
                    </a:cubicBezTo>
                    <a:cubicBezTo>
                      <a:pt x="59" y="97"/>
                      <a:pt x="56" y="98"/>
                      <a:pt x="53" y="99"/>
                    </a:cubicBezTo>
                    <a:cubicBezTo>
                      <a:pt x="51" y="99"/>
                      <a:pt x="48" y="99"/>
                      <a:pt x="43" y="99"/>
                    </a:cubicBezTo>
                    <a:cubicBezTo>
                      <a:pt x="15" y="99"/>
                      <a:pt x="15" y="99"/>
                      <a:pt x="15" y="99"/>
                    </a:cubicBezTo>
                    <a:cubicBezTo>
                      <a:pt x="15" y="61"/>
                      <a:pt x="15" y="61"/>
                      <a:pt x="15" y="61"/>
                    </a:cubicBezTo>
                    <a:cubicBezTo>
                      <a:pt x="41" y="61"/>
                      <a:pt x="41" y="61"/>
                      <a:pt x="41" y="61"/>
                    </a:cubicBezTo>
                    <a:cubicBezTo>
                      <a:pt x="48" y="61"/>
                      <a:pt x="53" y="61"/>
                      <a:pt x="57" y="62"/>
                    </a:cubicBezTo>
                    <a:cubicBezTo>
                      <a:pt x="61" y="64"/>
                      <a:pt x="64" y="66"/>
                      <a:pt x="66" y="69"/>
                    </a:cubicBezTo>
                    <a:cubicBezTo>
                      <a:pt x="68" y="72"/>
                      <a:pt x="69" y="76"/>
                      <a:pt x="69" y="80"/>
                    </a:cubicBezTo>
                    <a:cubicBezTo>
                      <a:pt x="69" y="83"/>
                      <a:pt x="69" y="87"/>
                      <a:pt x="67" y="8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51" name="iŝļidé"/>
              <p:cNvSpPr/>
              <p:nvPr/>
            </p:nvSpPr>
            <p:spPr bwMode="auto">
              <a:xfrm>
                <a:off x="10288841" y="5729878"/>
                <a:ext cx="138113" cy="157163"/>
              </a:xfrm>
              <a:custGeom>
                <a:avLst/>
                <a:gdLst>
                  <a:gd name="T0" fmla="*/ 38 w 75"/>
                  <a:gd name="T1" fmla="*/ 0 h 85"/>
                  <a:gd name="T2" fmla="*/ 10 w 75"/>
                  <a:gd name="T3" fmla="*/ 12 h 85"/>
                  <a:gd name="T4" fmla="*/ 0 w 75"/>
                  <a:gd name="T5" fmla="*/ 43 h 85"/>
                  <a:gd name="T6" fmla="*/ 10 w 75"/>
                  <a:gd name="T7" fmla="*/ 74 h 85"/>
                  <a:gd name="T8" fmla="*/ 38 w 75"/>
                  <a:gd name="T9" fmla="*/ 85 h 85"/>
                  <a:gd name="T10" fmla="*/ 62 w 75"/>
                  <a:gd name="T11" fmla="*/ 78 h 85"/>
                  <a:gd name="T12" fmla="*/ 74 w 75"/>
                  <a:gd name="T13" fmla="*/ 59 h 85"/>
                  <a:gd name="T14" fmla="*/ 60 w 75"/>
                  <a:gd name="T15" fmla="*/ 57 h 85"/>
                  <a:gd name="T16" fmla="*/ 51 w 75"/>
                  <a:gd name="T17" fmla="*/ 70 h 85"/>
                  <a:gd name="T18" fmla="*/ 39 w 75"/>
                  <a:gd name="T19" fmla="*/ 74 h 85"/>
                  <a:gd name="T20" fmla="*/ 22 w 75"/>
                  <a:gd name="T21" fmla="*/ 67 h 85"/>
                  <a:gd name="T22" fmla="*/ 14 w 75"/>
                  <a:gd name="T23" fmla="*/ 46 h 85"/>
                  <a:gd name="T24" fmla="*/ 75 w 75"/>
                  <a:gd name="T25" fmla="*/ 46 h 85"/>
                  <a:gd name="T26" fmla="*/ 75 w 75"/>
                  <a:gd name="T27" fmla="*/ 43 h 85"/>
                  <a:gd name="T28" fmla="*/ 64 w 75"/>
                  <a:gd name="T29" fmla="*/ 11 h 85"/>
                  <a:gd name="T30" fmla="*/ 38 w 75"/>
                  <a:gd name="T31" fmla="*/ 0 h 85"/>
                  <a:gd name="T32" fmla="*/ 15 w 75"/>
                  <a:gd name="T33" fmla="*/ 35 h 85"/>
                  <a:gd name="T34" fmla="*/ 22 w 75"/>
                  <a:gd name="T35" fmla="*/ 18 h 85"/>
                  <a:gd name="T36" fmla="*/ 38 w 75"/>
                  <a:gd name="T37" fmla="*/ 12 h 85"/>
                  <a:gd name="T38" fmla="*/ 55 w 75"/>
                  <a:gd name="T39" fmla="*/ 20 h 85"/>
                  <a:gd name="T40" fmla="*/ 60 w 75"/>
                  <a:gd name="T41" fmla="*/ 35 h 85"/>
                  <a:gd name="T42" fmla="*/ 15 w 75"/>
                  <a:gd name="T43" fmla="*/ 35 h 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75" h="85">
                    <a:moveTo>
                      <a:pt x="38" y="0"/>
                    </a:moveTo>
                    <a:cubicBezTo>
                      <a:pt x="26" y="0"/>
                      <a:pt x="17" y="4"/>
                      <a:pt x="10" y="12"/>
                    </a:cubicBezTo>
                    <a:cubicBezTo>
                      <a:pt x="3" y="19"/>
                      <a:pt x="0" y="30"/>
                      <a:pt x="0" y="43"/>
                    </a:cubicBezTo>
                    <a:cubicBezTo>
                      <a:pt x="0" y="57"/>
                      <a:pt x="3" y="67"/>
                      <a:pt x="10" y="74"/>
                    </a:cubicBezTo>
                    <a:cubicBezTo>
                      <a:pt x="17" y="81"/>
                      <a:pt x="27" y="85"/>
                      <a:pt x="38" y="85"/>
                    </a:cubicBezTo>
                    <a:cubicBezTo>
                      <a:pt x="48" y="85"/>
                      <a:pt x="56" y="83"/>
                      <a:pt x="62" y="78"/>
                    </a:cubicBezTo>
                    <a:cubicBezTo>
                      <a:pt x="68" y="74"/>
                      <a:pt x="72" y="67"/>
                      <a:pt x="74" y="59"/>
                    </a:cubicBezTo>
                    <a:cubicBezTo>
                      <a:pt x="60" y="57"/>
                      <a:pt x="60" y="57"/>
                      <a:pt x="60" y="57"/>
                    </a:cubicBezTo>
                    <a:cubicBezTo>
                      <a:pt x="58" y="63"/>
                      <a:pt x="55" y="67"/>
                      <a:pt x="51" y="70"/>
                    </a:cubicBezTo>
                    <a:cubicBezTo>
                      <a:pt x="48" y="73"/>
                      <a:pt x="44" y="74"/>
                      <a:pt x="39" y="74"/>
                    </a:cubicBezTo>
                    <a:cubicBezTo>
                      <a:pt x="32" y="74"/>
                      <a:pt x="26" y="71"/>
                      <a:pt x="22" y="67"/>
                    </a:cubicBezTo>
                    <a:cubicBezTo>
                      <a:pt x="17" y="62"/>
                      <a:pt x="14" y="55"/>
                      <a:pt x="14" y="46"/>
                    </a:cubicBezTo>
                    <a:cubicBezTo>
                      <a:pt x="75" y="46"/>
                      <a:pt x="75" y="46"/>
                      <a:pt x="75" y="46"/>
                    </a:cubicBezTo>
                    <a:cubicBezTo>
                      <a:pt x="75" y="45"/>
                      <a:pt x="75" y="43"/>
                      <a:pt x="75" y="43"/>
                    </a:cubicBezTo>
                    <a:cubicBezTo>
                      <a:pt x="75" y="29"/>
                      <a:pt x="71" y="19"/>
                      <a:pt x="64" y="11"/>
                    </a:cubicBezTo>
                    <a:cubicBezTo>
                      <a:pt x="57" y="4"/>
                      <a:pt x="49" y="0"/>
                      <a:pt x="38" y="0"/>
                    </a:cubicBezTo>
                    <a:close/>
                    <a:moveTo>
                      <a:pt x="15" y="35"/>
                    </a:moveTo>
                    <a:cubicBezTo>
                      <a:pt x="15" y="28"/>
                      <a:pt x="18" y="22"/>
                      <a:pt x="22" y="18"/>
                    </a:cubicBezTo>
                    <a:cubicBezTo>
                      <a:pt x="26" y="14"/>
                      <a:pt x="32" y="12"/>
                      <a:pt x="38" y="12"/>
                    </a:cubicBezTo>
                    <a:cubicBezTo>
                      <a:pt x="45" y="12"/>
                      <a:pt x="51" y="14"/>
                      <a:pt x="55" y="20"/>
                    </a:cubicBezTo>
                    <a:cubicBezTo>
                      <a:pt x="58" y="23"/>
                      <a:pt x="60" y="28"/>
                      <a:pt x="60" y="35"/>
                    </a:cubicBezTo>
                    <a:lnTo>
                      <a:pt x="15" y="3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52" name="í$lidè"/>
              <p:cNvSpPr/>
              <p:nvPr/>
            </p:nvSpPr>
            <p:spPr bwMode="auto">
              <a:xfrm>
                <a:off x="10457116" y="5675903"/>
                <a:ext cx="25400" cy="30163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53" name="iSļiḋé"/>
              <p:cNvSpPr/>
              <p:nvPr/>
            </p:nvSpPr>
            <p:spPr bwMode="auto">
              <a:xfrm>
                <a:off x="10457116" y="5733053"/>
                <a:ext cx="25400" cy="149225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54" name="íṩḷïḑe"/>
              <p:cNvSpPr/>
              <p:nvPr/>
            </p:nvSpPr>
            <p:spPr bwMode="auto">
              <a:xfrm>
                <a:off x="10520616" y="5675903"/>
                <a:ext cx="25400" cy="30163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55" name="i$ḷïḍè"/>
              <p:cNvSpPr/>
              <p:nvPr/>
            </p:nvSpPr>
            <p:spPr bwMode="auto">
              <a:xfrm>
                <a:off x="10488866" y="5733053"/>
                <a:ext cx="57150" cy="211138"/>
              </a:xfrm>
              <a:custGeom>
                <a:avLst/>
                <a:gdLst>
                  <a:gd name="T0" fmla="*/ 17 w 31"/>
                  <a:gd name="T1" fmla="*/ 85 h 114"/>
                  <a:gd name="T2" fmla="*/ 15 w 31"/>
                  <a:gd name="T3" fmla="*/ 99 h 114"/>
                  <a:gd name="T4" fmla="*/ 9 w 31"/>
                  <a:gd name="T5" fmla="*/ 102 h 114"/>
                  <a:gd name="T6" fmla="*/ 2 w 31"/>
                  <a:gd name="T7" fmla="*/ 101 h 114"/>
                  <a:gd name="T8" fmla="*/ 0 w 31"/>
                  <a:gd name="T9" fmla="*/ 113 h 114"/>
                  <a:gd name="T10" fmla="*/ 11 w 31"/>
                  <a:gd name="T11" fmla="*/ 114 h 114"/>
                  <a:gd name="T12" fmla="*/ 27 w 31"/>
                  <a:gd name="T13" fmla="*/ 107 h 114"/>
                  <a:gd name="T14" fmla="*/ 31 w 31"/>
                  <a:gd name="T15" fmla="*/ 86 h 114"/>
                  <a:gd name="T16" fmla="*/ 31 w 31"/>
                  <a:gd name="T17" fmla="*/ 0 h 114"/>
                  <a:gd name="T18" fmla="*/ 17 w 31"/>
                  <a:gd name="T19" fmla="*/ 0 h 114"/>
                  <a:gd name="T20" fmla="*/ 17 w 31"/>
                  <a:gd name="T21" fmla="*/ 85 h 1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31" h="114">
                    <a:moveTo>
                      <a:pt x="17" y="85"/>
                    </a:moveTo>
                    <a:cubicBezTo>
                      <a:pt x="17" y="93"/>
                      <a:pt x="17" y="98"/>
                      <a:pt x="15" y="99"/>
                    </a:cubicBezTo>
                    <a:cubicBezTo>
                      <a:pt x="14" y="101"/>
                      <a:pt x="12" y="102"/>
                      <a:pt x="9" y="102"/>
                    </a:cubicBezTo>
                    <a:cubicBezTo>
                      <a:pt x="7" y="102"/>
                      <a:pt x="5" y="102"/>
                      <a:pt x="2" y="101"/>
                    </a:cubicBezTo>
                    <a:cubicBezTo>
                      <a:pt x="0" y="113"/>
                      <a:pt x="0" y="113"/>
                      <a:pt x="0" y="113"/>
                    </a:cubicBezTo>
                    <a:cubicBezTo>
                      <a:pt x="3" y="114"/>
                      <a:pt x="7" y="114"/>
                      <a:pt x="11" y="114"/>
                    </a:cubicBezTo>
                    <a:cubicBezTo>
                      <a:pt x="18" y="114"/>
                      <a:pt x="24" y="112"/>
                      <a:pt x="27" y="107"/>
                    </a:cubicBezTo>
                    <a:cubicBezTo>
                      <a:pt x="30" y="103"/>
                      <a:pt x="31" y="96"/>
                      <a:pt x="31" y="86"/>
                    </a:cubicBezTo>
                    <a:cubicBezTo>
                      <a:pt x="31" y="0"/>
                      <a:pt x="31" y="0"/>
                      <a:pt x="31" y="0"/>
                    </a:cubicBezTo>
                    <a:cubicBezTo>
                      <a:pt x="17" y="0"/>
                      <a:pt x="17" y="0"/>
                      <a:pt x="17" y="0"/>
                    </a:cubicBezTo>
                    <a:lnTo>
                      <a:pt x="17" y="8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56" name="íṩliḋé"/>
              <p:cNvSpPr/>
              <p:nvPr/>
            </p:nvSpPr>
            <p:spPr bwMode="auto">
              <a:xfrm>
                <a:off x="10585703" y="5675903"/>
                <a:ext cx="25400" cy="30163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57" name="ísḷiďé"/>
              <p:cNvSpPr/>
              <p:nvPr/>
            </p:nvSpPr>
            <p:spPr bwMode="auto">
              <a:xfrm>
                <a:off x="10585703" y="5733053"/>
                <a:ext cx="25400" cy="149225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58" name="íṩļïḍe"/>
              <p:cNvSpPr/>
              <p:nvPr/>
            </p:nvSpPr>
            <p:spPr bwMode="auto">
              <a:xfrm>
                <a:off x="10649203" y="5729878"/>
                <a:ext cx="122238" cy="152400"/>
              </a:xfrm>
              <a:custGeom>
                <a:avLst/>
                <a:gdLst>
                  <a:gd name="T0" fmla="*/ 65 w 66"/>
                  <a:gd name="T1" fmla="*/ 20 h 83"/>
                  <a:gd name="T2" fmla="*/ 61 w 66"/>
                  <a:gd name="T3" fmla="*/ 10 h 83"/>
                  <a:gd name="T4" fmla="*/ 52 w 66"/>
                  <a:gd name="T5" fmla="*/ 3 h 83"/>
                  <a:gd name="T6" fmla="*/ 38 w 66"/>
                  <a:gd name="T7" fmla="*/ 0 h 83"/>
                  <a:gd name="T8" fmla="*/ 12 w 66"/>
                  <a:gd name="T9" fmla="*/ 14 h 83"/>
                  <a:gd name="T10" fmla="*/ 12 w 66"/>
                  <a:gd name="T11" fmla="*/ 2 h 83"/>
                  <a:gd name="T12" fmla="*/ 0 w 66"/>
                  <a:gd name="T13" fmla="*/ 2 h 83"/>
                  <a:gd name="T14" fmla="*/ 0 w 66"/>
                  <a:gd name="T15" fmla="*/ 83 h 83"/>
                  <a:gd name="T16" fmla="*/ 14 w 66"/>
                  <a:gd name="T17" fmla="*/ 83 h 83"/>
                  <a:gd name="T18" fmla="*/ 14 w 66"/>
                  <a:gd name="T19" fmla="*/ 39 h 83"/>
                  <a:gd name="T20" fmla="*/ 20 w 66"/>
                  <a:gd name="T21" fmla="*/ 18 h 83"/>
                  <a:gd name="T22" fmla="*/ 35 w 66"/>
                  <a:gd name="T23" fmla="*/ 12 h 83"/>
                  <a:gd name="T24" fmla="*/ 45 w 66"/>
                  <a:gd name="T25" fmla="*/ 15 h 83"/>
                  <a:gd name="T26" fmla="*/ 51 w 66"/>
                  <a:gd name="T27" fmla="*/ 21 h 83"/>
                  <a:gd name="T28" fmla="*/ 52 w 66"/>
                  <a:gd name="T29" fmla="*/ 34 h 83"/>
                  <a:gd name="T30" fmla="*/ 52 w 66"/>
                  <a:gd name="T31" fmla="*/ 83 h 83"/>
                  <a:gd name="T32" fmla="*/ 66 w 66"/>
                  <a:gd name="T33" fmla="*/ 83 h 83"/>
                  <a:gd name="T34" fmla="*/ 66 w 66"/>
                  <a:gd name="T35" fmla="*/ 33 h 83"/>
                  <a:gd name="T36" fmla="*/ 65 w 66"/>
                  <a:gd name="T37" fmla="*/ 20 h 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66" h="83">
                    <a:moveTo>
                      <a:pt x="65" y="20"/>
                    </a:moveTo>
                    <a:cubicBezTo>
                      <a:pt x="64" y="16"/>
                      <a:pt x="63" y="13"/>
                      <a:pt x="61" y="10"/>
                    </a:cubicBezTo>
                    <a:cubicBezTo>
                      <a:pt x="59" y="7"/>
                      <a:pt x="56" y="5"/>
                      <a:pt x="52" y="3"/>
                    </a:cubicBezTo>
                    <a:cubicBezTo>
                      <a:pt x="48" y="1"/>
                      <a:pt x="43" y="0"/>
                      <a:pt x="38" y="0"/>
                    </a:cubicBezTo>
                    <a:cubicBezTo>
                      <a:pt x="27" y="0"/>
                      <a:pt x="18" y="5"/>
                      <a:pt x="12" y="14"/>
                    </a:cubicBezTo>
                    <a:cubicBezTo>
                      <a:pt x="12" y="2"/>
                      <a:pt x="12" y="2"/>
                      <a:pt x="12" y="2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83"/>
                      <a:pt x="0" y="83"/>
                      <a:pt x="0" y="83"/>
                    </a:cubicBezTo>
                    <a:cubicBezTo>
                      <a:pt x="14" y="83"/>
                      <a:pt x="14" y="83"/>
                      <a:pt x="14" y="83"/>
                    </a:cubicBezTo>
                    <a:cubicBezTo>
                      <a:pt x="14" y="39"/>
                      <a:pt x="14" y="39"/>
                      <a:pt x="14" y="39"/>
                    </a:cubicBezTo>
                    <a:cubicBezTo>
                      <a:pt x="14" y="29"/>
                      <a:pt x="16" y="21"/>
                      <a:pt x="20" y="18"/>
                    </a:cubicBezTo>
                    <a:cubicBezTo>
                      <a:pt x="24" y="14"/>
                      <a:pt x="29" y="12"/>
                      <a:pt x="35" y="12"/>
                    </a:cubicBezTo>
                    <a:cubicBezTo>
                      <a:pt x="39" y="12"/>
                      <a:pt x="42" y="13"/>
                      <a:pt x="45" y="15"/>
                    </a:cubicBezTo>
                    <a:cubicBezTo>
                      <a:pt x="48" y="16"/>
                      <a:pt x="50" y="19"/>
                      <a:pt x="51" y="21"/>
                    </a:cubicBezTo>
                    <a:cubicBezTo>
                      <a:pt x="52" y="24"/>
                      <a:pt x="52" y="28"/>
                      <a:pt x="52" y="34"/>
                    </a:cubicBezTo>
                    <a:cubicBezTo>
                      <a:pt x="52" y="83"/>
                      <a:pt x="52" y="83"/>
                      <a:pt x="52" y="83"/>
                    </a:cubicBezTo>
                    <a:cubicBezTo>
                      <a:pt x="66" y="83"/>
                      <a:pt x="66" y="83"/>
                      <a:pt x="66" y="83"/>
                    </a:cubicBezTo>
                    <a:cubicBezTo>
                      <a:pt x="66" y="33"/>
                      <a:pt x="66" y="33"/>
                      <a:pt x="66" y="33"/>
                    </a:cubicBezTo>
                    <a:cubicBezTo>
                      <a:pt x="66" y="27"/>
                      <a:pt x="66" y="23"/>
                      <a:pt x="65" y="2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59" name="í$ľíḍê"/>
              <p:cNvSpPr/>
              <p:nvPr/>
            </p:nvSpPr>
            <p:spPr bwMode="auto">
              <a:xfrm>
                <a:off x="10800016" y="5729878"/>
                <a:ext cx="133350" cy="214313"/>
              </a:xfrm>
              <a:custGeom>
                <a:avLst/>
                <a:gdLst>
                  <a:gd name="T0" fmla="*/ 59 w 72"/>
                  <a:gd name="T1" fmla="*/ 2 h 116"/>
                  <a:gd name="T2" fmla="*/ 59 w 72"/>
                  <a:gd name="T3" fmla="*/ 12 h 116"/>
                  <a:gd name="T4" fmla="*/ 35 w 72"/>
                  <a:gd name="T5" fmla="*/ 0 h 116"/>
                  <a:gd name="T6" fmla="*/ 16 w 72"/>
                  <a:gd name="T7" fmla="*/ 6 h 116"/>
                  <a:gd name="T8" fmla="*/ 4 w 72"/>
                  <a:gd name="T9" fmla="*/ 21 h 116"/>
                  <a:gd name="T10" fmla="*/ 0 w 72"/>
                  <a:gd name="T11" fmla="*/ 42 h 116"/>
                  <a:gd name="T12" fmla="*/ 9 w 72"/>
                  <a:gd name="T13" fmla="*/ 71 h 116"/>
                  <a:gd name="T14" fmla="*/ 35 w 72"/>
                  <a:gd name="T15" fmla="*/ 83 h 116"/>
                  <a:gd name="T16" fmla="*/ 58 w 72"/>
                  <a:gd name="T17" fmla="*/ 73 h 116"/>
                  <a:gd name="T18" fmla="*/ 57 w 72"/>
                  <a:gd name="T19" fmla="*/ 90 h 116"/>
                  <a:gd name="T20" fmla="*/ 49 w 72"/>
                  <a:gd name="T21" fmla="*/ 101 h 116"/>
                  <a:gd name="T22" fmla="*/ 35 w 72"/>
                  <a:gd name="T23" fmla="*/ 105 h 116"/>
                  <a:gd name="T24" fmla="*/ 21 w 72"/>
                  <a:gd name="T25" fmla="*/ 101 h 116"/>
                  <a:gd name="T26" fmla="*/ 16 w 72"/>
                  <a:gd name="T27" fmla="*/ 92 h 116"/>
                  <a:gd name="T28" fmla="*/ 3 w 72"/>
                  <a:gd name="T29" fmla="*/ 90 h 116"/>
                  <a:gd name="T30" fmla="*/ 11 w 72"/>
                  <a:gd name="T31" fmla="*/ 110 h 116"/>
                  <a:gd name="T32" fmla="*/ 35 w 72"/>
                  <a:gd name="T33" fmla="*/ 116 h 116"/>
                  <a:gd name="T34" fmla="*/ 55 w 72"/>
                  <a:gd name="T35" fmla="*/ 112 h 116"/>
                  <a:gd name="T36" fmla="*/ 68 w 72"/>
                  <a:gd name="T37" fmla="*/ 99 h 116"/>
                  <a:gd name="T38" fmla="*/ 72 w 72"/>
                  <a:gd name="T39" fmla="*/ 72 h 116"/>
                  <a:gd name="T40" fmla="*/ 72 w 72"/>
                  <a:gd name="T41" fmla="*/ 2 h 116"/>
                  <a:gd name="T42" fmla="*/ 59 w 72"/>
                  <a:gd name="T43" fmla="*/ 2 h 116"/>
                  <a:gd name="T44" fmla="*/ 52 w 72"/>
                  <a:gd name="T45" fmla="*/ 65 h 116"/>
                  <a:gd name="T46" fmla="*/ 36 w 72"/>
                  <a:gd name="T47" fmla="*/ 72 h 116"/>
                  <a:gd name="T48" fmla="*/ 20 w 72"/>
                  <a:gd name="T49" fmla="*/ 65 h 116"/>
                  <a:gd name="T50" fmla="*/ 14 w 72"/>
                  <a:gd name="T51" fmla="*/ 41 h 116"/>
                  <a:gd name="T52" fmla="*/ 20 w 72"/>
                  <a:gd name="T53" fmla="*/ 19 h 116"/>
                  <a:gd name="T54" fmla="*/ 36 w 72"/>
                  <a:gd name="T55" fmla="*/ 12 h 116"/>
                  <a:gd name="T56" fmla="*/ 52 w 72"/>
                  <a:gd name="T57" fmla="*/ 19 h 116"/>
                  <a:gd name="T58" fmla="*/ 59 w 72"/>
                  <a:gd name="T59" fmla="*/ 42 h 116"/>
                  <a:gd name="T60" fmla="*/ 52 w 72"/>
                  <a:gd name="T61" fmla="*/ 65 h 1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72" h="116">
                    <a:moveTo>
                      <a:pt x="59" y="2"/>
                    </a:moveTo>
                    <a:cubicBezTo>
                      <a:pt x="59" y="12"/>
                      <a:pt x="59" y="12"/>
                      <a:pt x="59" y="12"/>
                    </a:cubicBezTo>
                    <a:cubicBezTo>
                      <a:pt x="53" y="4"/>
                      <a:pt x="45" y="0"/>
                      <a:pt x="35" y="0"/>
                    </a:cubicBezTo>
                    <a:cubicBezTo>
                      <a:pt x="28" y="0"/>
                      <a:pt x="22" y="2"/>
                      <a:pt x="16" y="6"/>
                    </a:cubicBezTo>
                    <a:cubicBezTo>
                      <a:pt x="11" y="9"/>
                      <a:pt x="7" y="14"/>
                      <a:pt x="4" y="21"/>
                    </a:cubicBezTo>
                    <a:cubicBezTo>
                      <a:pt x="1" y="27"/>
                      <a:pt x="0" y="34"/>
                      <a:pt x="0" y="42"/>
                    </a:cubicBezTo>
                    <a:cubicBezTo>
                      <a:pt x="0" y="53"/>
                      <a:pt x="3" y="63"/>
                      <a:pt x="9" y="71"/>
                    </a:cubicBezTo>
                    <a:cubicBezTo>
                      <a:pt x="15" y="79"/>
                      <a:pt x="24" y="83"/>
                      <a:pt x="35" y="83"/>
                    </a:cubicBezTo>
                    <a:cubicBezTo>
                      <a:pt x="44" y="83"/>
                      <a:pt x="51" y="80"/>
                      <a:pt x="58" y="73"/>
                    </a:cubicBezTo>
                    <a:cubicBezTo>
                      <a:pt x="58" y="82"/>
                      <a:pt x="57" y="88"/>
                      <a:pt x="57" y="90"/>
                    </a:cubicBezTo>
                    <a:cubicBezTo>
                      <a:pt x="55" y="95"/>
                      <a:pt x="53" y="99"/>
                      <a:pt x="49" y="101"/>
                    </a:cubicBezTo>
                    <a:cubicBezTo>
                      <a:pt x="46" y="104"/>
                      <a:pt x="41" y="105"/>
                      <a:pt x="35" y="105"/>
                    </a:cubicBezTo>
                    <a:cubicBezTo>
                      <a:pt x="29" y="105"/>
                      <a:pt x="24" y="104"/>
                      <a:pt x="21" y="101"/>
                    </a:cubicBezTo>
                    <a:cubicBezTo>
                      <a:pt x="18" y="99"/>
                      <a:pt x="17" y="96"/>
                      <a:pt x="16" y="92"/>
                    </a:cubicBezTo>
                    <a:cubicBezTo>
                      <a:pt x="3" y="90"/>
                      <a:pt x="3" y="90"/>
                      <a:pt x="3" y="90"/>
                    </a:cubicBezTo>
                    <a:cubicBezTo>
                      <a:pt x="2" y="99"/>
                      <a:pt x="5" y="105"/>
                      <a:pt x="11" y="110"/>
                    </a:cubicBezTo>
                    <a:cubicBezTo>
                      <a:pt x="17" y="114"/>
                      <a:pt x="25" y="116"/>
                      <a:pt x="35" y="116"/>
                    </a:cubicBezTo>
                    <a:cubicBezTo>
                      <a:pt x="43" y="116"/>
                      <a:pt x="50" y="115"/>
                      <a:pt x="55" y="112"/>
                    </a:cubicBezTo>
                    <a:cubicBezTo>
                      <a:pt x="61" y="109"/>
                      <a:pt x="65" y="104"/>
                      <a:pt x="68" y="99"/>
                    </a:cubicBezTo>
                    <a:cubicBezTo>
                      <a:pt x="70" y="94"/>
                      <a:pt x="72" y="85"/>
                      <a:pt x="72" y="72"/>
                    </a:cubicBezTo>
                    <a:cubicBezTo>
                      <a:pt x="72" y="2"/>
                      <a:pt x="72" y="2"/>
                      <a:pt x="72" y="2"/>
                    </a:cubicBezTo>
                    <a:lnTo>
                      <a:pt x="59" y="2"/>
                    </a:lnTo>
                    <a:close/>
                    <a:moveTo>
                      <a:pt x="52" y="65"/>
                    </a:moveTo>
                    <a:cubicBezTo>
                      <a:pt x="48" y="69"/>
                      <a:pt x="43" y="72"/>
                      <a:pt x="36" y="72"/>
                    </a:cubicBezTo>
                    <a:cubicBezTo>
                      <a:pt x="30" y="72"/>
                      <a:pt x="25" y="69"/>
                      <a:pt x="20" y="65"/>
                    </a:cubicBezTo>
                    <a:cubicBezTo>
                      <a:pt x="16" y="60"/>
                      <a:pt x="14" y="52"/>
                      <a:pt x="14" y="41"/>
                    </a:cubicBezTo>
                    <a:cubicBezTo>
                      <a:pt x="14" y="31"/>
                      <a:pt x="16" y="24"/>
                      <a:pt x="20" y="19"/>
                    </a:cubicBezTo>
                    <a:cubicBezTo>
                      <a:pt x="25" y="14"/>
                      <a:pt x="30" y="12"/>
                      <a:pt x="36" y="12"/>
                    </a:cubicBezTo>
                    <a:cubicBezTo>
                      <a:pt x="42" y="12"/>
                      <a:pt x="48" y="14"/>
                      <a:pt x="52" y="19"/>
                    </a:cubicBezTo>
                    <a:cubicBezTo>
                      <a:pt x="56" y="24"/>
                      <a:pt x="59" y="32"/>
                      <a:pt x="59" y="42"/>
                    </a:cubicBezTo>
                    <a:cubicBezTo>
                      <a:pt x="59" y="52"/>
                      <a:pt x="57" y="60"/>
                      <a:pt x="52" y="6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60" name="î$1ïḍè"/>
              <p:cNvSpPr/>
              <p:nvPr/>
            </p:nvSpPr>
            <p:spPr bwMode="auto">
              <a:xfrm>
                <a:off x="5231066" y="5675903"/>
                <a:ext cx="161925" cy="211138"/>
              </a:xfrm>
              <a:custGeom>
                <a:avLst/>
                <a:gdLst>
                  <a:gd name="T0" fmla="*/ 73 w 88"/>
                  <a:gd name="T1" fmla="*/ 65 h 114"/>
                  <a:gd name="T2" fmla="*/ 66 w 88"/>
                  <a:gd name="T3" fmla="*/ 93 h 114"/>
                  <a:gd name="T4" fmla="*/ 43 w 88"/>
                  <a:gd name="T5" fmla="*/ 101 h 114"/>
                  <a:gd name="T6" fmla="*/ 27 w 88"/>
                  <a:gd name="T7" fmla="*/ 97 h 114"/>
                  <a:gd name="T8" fmla="*/ 17 w 88"/>
                  <a:gd name="T9" fmla="*/ 86 h 114"/>
                  <a:gd name="T10" fmla="*/ 15 w 88"/>
                  <a:gd name="T11" fmla="*/ 65 h 114"/>
                  <a:gd name="T12" fmla="*/ 15 w 88"/>
                  <a:gd name="T13" fmla="*/ 0 h 114"/>
                  <a:gd name="T14" fmla="*/ 0 w 88"/>
                  <a:gd name="T15" fmla="*/ 0 h 114"/>
                  <a:gd name="T16" fmla="*/ 0 w 88"/>
                  <a:gd name="T17" fmla="*/ 65 h 114"/>
                  <a:gd name="T18" fmla="*/ 4 w 88"/>
                  <a:gd name="T19" fmla="*/ 93 h 114"/>
                  <a:gd name="T20" fmla="*/ 18 w 88"/>
                  <a:gd name="T21" fmla="*/ 109 h 114"/>
                  <a:gd name="T22" fmla="*/ 44 w 88"/>
                  <a:gd name="T23" fmla="*/ 114 h 114"/>
                  <a:gd name="T24" fmla="*/ 70 w 88"/>
                  <a:gd name="T25" fmla="*/ 108 h 114"/>
                  <a:gd name="T26" fmla="*/ 84 w 88"/>
                  <a:gd name="T27" fmla="*/ 92 h 114"/>
                  <a:gd name="T28" fmla="*/ 88 w 88"/>
                  <a:gd name="T29" fmla="*/ 65 h 114"/>
                  <a:gd name="T30" fmla="*/ 88 w 88"/>
                  <a:gd name="T31" fmla="*/ 0 h 114"/>
                  <a:gd name="T32" fmla="*/ 73 w 88"/>
                  <a:gd name="T33" fmla="*/ 0 h 114"/>
                  <a:gd name="T34" fmla="*/ 73 w 88"/>
                  <a:gd name="T35" fmla="*/ 65 h 1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88" h="114">
                    <a:moveTo>
                      <a:pt x="73" y="65"/>
                    </a:moveTo>
                    <a:cubicBezTo>
                      <a:pt x="73" y="79"/>
                      <a:pt x="71" y="88"/>
                      <a:pt x="66" y="93"/>
                    </a:cubicBezTo>
                    <a:cubicBezTo>
                      <a:pt x="62" y="98"/>
                      <a:pt x="54" y="101"/>
                      <a:pt x="43" y="101"/>
                    </a:cubicBezTo>
                    <a:cubicBezTo>
                      <a:pt x="37" y="101"/>
                      <a:pt x="31" y="100"/>
                      <a:pt x="27" y="97"/>
                    </a:cubicBezTo>
                    <a:cubicBezTo>
                      <a:pt x="22" y="95"/>
                      <a:pt x="19" y="91"/>
                      <a:pt x="17" y="86"/>
                    </a:cubicBezTo>
                    <a:cubicBezTo>
                      <a:pt x="16" y="82"/>
                      <a:pt x="15" y="75"/>
                      <a:pt x="15" y="65"/>
                    </a:cubicBezTo>
                    <a:cubicBezTo>
                      <a:pt x="15" y="0"/>
                      <a:pt x="15" y="0"/>
                      <a:pt x="15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65"/>
                      <a:pt x="0" y="65"/>
                      <a:pt x="0" y="65"/>
                    </a:cubicBezTo>
                    <a:cubicBezTo>
                      <a:pt x="0" y="77"/>
                      <a:pt x="1" y="86"/>
                      <a:pt x="4" y="93"/>
                    </a:cubicBezTo>
                    <a:cubicBezTo>
                      <a:pt x="7" y="100"/>
                      <a:pt x="12" y="105"/>
                      <a:pt x="18" y="109"/>
                    </a:cubicBezTo>
                    <a:cubicBezTo>
                      <a:pt x="25" y="112"/>
                      <a:pt x="34" y="114"/>
                      <a:pt x="44" y="114"/>
                    </a:cubicBezTo>
                    <a:cubicBezTo>
                      <a:pt x="55" y="114"/>
                      <a:pt x="64" y="112"/>
                      <a:pt x="70" y="108"/>
                    </a:cubicBezTo>
                    <a:cubicBezTo>
                      <a:pt x="77" y="104"/>
                      <a:pt x="82" y="98"/>
                      <a:pt x="84" y="92"/>
                    </a:cubicBezTo>
                    <a:cubicBezTo>
                      <a:pt x="87" y="85"/>
                      <a:pt x="88" y="76"/>
                      <a:pt x="88" y="65"/>
                    </a:cubicBezTo>
                    <a:cubicBezTo>
                      <a:pt x="88" y="0"/>
                      <a:pt x="88" y="0"/>
                      <a:pt x="88" y="0"/>
                    </a:cubicBezTo>
                    <a:cubicBezTo>
                      <a:pt x="73" y="0"/>
                      <a:pt x="73" y="0"/>
                      <a:pt x="73" y="0"/>
                    </a:cubicBezTo>
                    <a:lnTo>
                      <a:pt x="73" y="6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61" name="ïṡļîḑê"/>
              <p:cNvSpPr/>
              <p:nvPr/>
            </p:nvSpPr>
            <p:spPr bwMode="auto">
              <a:xfrm>
                <a:off x="5435853" y="5729878"/>
                <a:ext cx="120650" cy="152400"/>
              </a:xfrm>
              <a:custGeom>
                <a:avLst/>
                <a:gdLst>
                  <a:gd name="T0" fmla="*/ 61 w 66"/>
                  <a:gd name="T1" fmla="*/ 10 h 83"/>
                  <a:gd name="T2" fmla="*/ 52 w 66"/>
                  <a:gd name="T3" fmla="*/ 3 h 83"/>
                  <a:gd name="T4" fmla="*/ 38 w 66"/>
                  <a:gd name="T5" fmla="*/ 0 h 83"/>
                  <a:gd name="T6" fmla="*/ 12 w 66"/>
                  <a:gd name="T7" fmla="*/ 14 h 83"/>
                  <a:gd name="T8" fmla="*/ 12 w 66"/>
                  <a:gd name="T9" fmla="*/ 2 h 83"/>
                  <a:gd name="T10" fmla="*/ 0 w 66"/>
                  <a:gd name="T11" fmla="*/ 2 h 83"/>
                  <a:gd name="T12" fmla="*/ 0 w 66"/>
                  <a:gd name="T13" fmla="*/ 83 h 83"/>
                  <a:gd name="T14" fmla="*/ 14 w 66"/>
                  <a:gd name="T15" fmla="*/ 83 h 83"/>
                  <a:gd name="T16" fmla="*/ 14 w 66"/>
                  <a:gd name="T17" fmla="*/ 39 h 83"/>
                  <a:gd name="T18" fmla="*/ 20 w 66"/>
                  <a:gd name="T19" fmla="*/ 18 h 83"/>
                  <a:gd name="T20" fmla="*/ 35 w 66"/>
                  <a:gd name="T21" fmla="*/ 12 h 83"/>
                  <a:gd name="T22" fmla="*/ 45 w 66"/>
                  <a:gd name="T23" fmla="*/ 15 h 83"/>
                  <a:gd name="T24" fmla="*/ 51 w 66"/>
                  <a:gd name="T25" fmla="*/ 21 h 83"/>
                  <a:gd name="T26" fmla="*/ 52 w 66"/>
                  <a:gd name="T27" fmla="*/ 34 h 83"/>
                  <a:gd name="T28" fmla="*/ 52 w 66"/>
                  <a:gd name="T29" fmla="*/ 83 h 83"/>
                  <a:gd name="T30" fmla="*/ 66 w 66"/>
                  <a:gd name="T31" fmla="*/ 83 h 83"/>
                  <a:gd name="T32" fmla="*/ 66 w 66"/>
                  <a:gd name="T33" fmla="*/ 33 h 83"/>
                  <a:gd name="T34" fmla="*/ 65 w 66"/>
                  <a:gd name="T35" fmla="*/ 20 h 83"/>
                  <a:gd name="T36" fmla="*/ 61 w 66"/>
                  <a:gd name="T37" fmla="*/ 10 h 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66" h="83">
                    <a:moveTo>
                      <a:pt x="61" y="10"/>
                    </a:moveTo>
                    <a:cubicBezTo>
                      <a:pt x="59" y="7"/>
                      <a:pt x="56" y="5"/>
                      <a:pt x="52" y="3"/>
                    </a:cubicBezTo>
                    <a:cubicBezTo>
                      <a:pt x="48" y="1"/>
                      <a:pt x="43" y="0"/>
                      <a:pt x="38" y="0"/>
                    </a:cubicBezTo>
                    <a:cubicBezTo>
                      <a:pt x="27" y="0"/>
                      <a:pt x="18" y="5"/>
                      <a:pt x="12" y="14"/>
                    </a:cubicBezTo>
                    <a:cubicBezTo>
                      <a:pt x="12" y="2"/>
                      <a:pt x="12" y="2"/>
                      <a:pt x="12" y="2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83"/>
                      <a:pt x="0" y="83"/>
                      <a:pt x="0" y="83"/>
                    </a:cubicBezTo>
                    <a:cubicBezTo>
                      <a:pt x="14" y="83"/>
                      <a:pt x="14" y="83"/>
                      <a:pt x="14" y="83"/>
                    </a:cubicBezTo>
                    <a:cubicBezTo>
                      <a:pt x="14" y="39"/>
                      <a:pt x="14" y="39"/>
                      <a:pt x="14" y="39"/>
                    </a:cubicBezTo>
                    <a:cubicBezTo>
                      <a:pt x="14" y="29"/>
                      <a:pt x="16" y="21"/>
                      <a:pt x="20" y="18"/>
                    </a:cubicBezTo>
                    <a:cubicBezTo>
                      <a:pt x="25" y="14"/>
                      <a:pt x="30" y="12"/>
                      <a:pt x="35" y="12"/>
                    </a:cubicBezTo>
                    <a:cubicBezTo>
                      <a:pt x="39" y="12"/>
                      <a:pt x="42" y="13"/>
                      <a:pt x="45" y="15"/>
                    </a:cubicBezTo>
                    <a:cubicBezTo>
                      <a:pt x="48" y="16"/>
                      <a:pt x="50" y="19"/>
                      <a:pt x="51" y="21"/>
                    </a:cubicBezTo>
                    <a:cubicBezTo>
                      <a:pt x="52" y="24"/>
                      <a:pt x="52" y="28"/>
                      <a:pt x="52" y="34"/>
                    </a:cubicBezTo>
                    <a:cubicBezTo>
                      <a:pt x="52" y="83"/>
                      <a:pt x="52" y="83"/>
                      <a:pt x="52" y="83"/>
                    </a:cubicBezTo>
                    <a:cubicBezTo>
                      <a:pt x="66" y="83"/>
                      <a:pt x="66" y="83"/>
                      <a:pt x="66" y="83"/>
                    </a:cubicBezTo>
                    <a:cubicBezTo>
                      <a:pt x="66" y="33"/>
                      <a:pt x="66" y="33"/>
                      <a:pt x="66" y="33"/>
                    </a:cubicBezTo>
                    <a:cubicBezTo>
                      <a:pt x="66" y="27"/>
                      <a:pt x="66" y="23"/>
                      <a:pt x="65" y="20"/>
                    </a:cubicBezTo>
                    <a:cubicBezTo>
                      <a:pt x="65" y="16"/>
                      <a:pt x="63" y="13"/>
                      <a:pt x="61" y="1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</p:grpSp>
      </p:grpSp>
    </p:spTree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/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/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</p:txBody>
      </p:sp>
      <p:sp>
        <p:nvSpPr>
          <p:cNvPr id="4" name="日期占位符 3"/>
          <p:cNvSpPr/>
          <p:nvPr>
            <p:ph type="dt" sz="half" idx="10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5" name="页脚占位符 4"/>
          <p:cNvSpPr/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/>
          <p:nvPr>
            <p:ph type="sldNum" sz="quarter" idx="12"/>
          </p:nvPr>
        </p:nvSpPr>
        <p:spPr/>
        <p:txBody>
          <a:bodyPr/>
          <a:lstStyle/>
          <a:p>
            <a:fld id="{09023FE0-54EA-48D5-B9DF-51B02EDFFCD6}" type="slidenum">
              <a:rPr lang="en-US" altLang="zh-CN" smtClean="0"/>
            </a:fld>
            <a:endParaRPr lang="en-US" altLang="zh-CN"/>
          </a:p>
        </p:txBody>
      </p:sp>
    </p:spTree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/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/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zh-CN" altLang="en-US"/>
          </a:p>
        </p:txBody>
      </p:sp>
      <p:sp>
        <p:nvSpPr>
          <p:cNvPr id="4" name="内容占位符 3"/>
          <p:cNvSpPr/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zh-CN" altLang="en-US"/>
          </a:p>
        </p:txBody>
      </p:sp>
      <p:sp>
        <p:nvSpPr>
          <p:cNvPr id="5" name="日期占位符 4"/>
          <p:cNvSpPr/>
          <p:nvPr>
            <p:ph type="dt" sz="half" idx="10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页脚占位符 5"/>
          <p:cNvSpPr/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/>
          <p:cNvSpPr/>
          <p:nvPr>
            <p:ph type="sldNum" sz="quarter" idx="12"/>
          </p:nvPr>
        </p:nvSpPr>
        <p:spPr/>
        <p:txBody>
          <a:bodyPr/>
          <a:lstStyle/>
          <a:p>
            <a:fld id="{54A71E57-0578-4A23-A3CD-B1428700C920}" type="slidenum">
              <a:rPr lang="en-US" altLang="zh-CN" smtClean="0"/>
            </a:fld>
            <a:endParaRPr lang="en-US" altLang="zh-CN"/>
          </a:p>
        </p:txBody>
      </p:sp>
    </p:spTree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/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/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</p:txBody>
      </p:sp>
      <p:sp>
        <p:nvSpPr>
          <p:cNvPr id="4" name="内容占位符 3"/>
          <p:cNvSpPr/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zh-CN" altLang="en-US"/>
          </a:p>
        </p:txBody>
      </p:sp>
      <p:sp>
        <p:nvSpPr>
          <p:cNvPr id="5" name="文本占位符 4"/>
          <p:cNvSpPr/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</p:txBody>
      </p:sp>
      <p:sp>
        <p:nvSpPr>
          <p:cNvPr id="6" name="内容占位符 5"/>
          <p:cNvSpPr/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zh-CN" altLang="en-US"/>
          </a:p>
        </p:txBody>
      </p:sp>
      <p:sp>
        <p:nvSpPr>
          <p:cNvPr id="7" name="日期占位符 6"/>
          <p:cNvSpPr/>
          <p:nvPr>
            <p:ph type="dt" sz="half" idx="10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8" name="页脚占位符 7"/>
          <p:cNvSpPr/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9" name="灯片编号占位符 8"/>
          <p:cNvSpPr/>
          <p:nvPr>
            <p:ph type="sldNum" sz="quarter" idx="12"/>
          </p:nvPr>
        </p:nvSpPr>
        <p:spPr/>
        <p:txBody>
          <a:bodyPr/>
          <a:lstStyle/>
          <a:p>
            <a:fld id="{5CCE254C-9F48-45A0-8BA6-03055BE5FC0F}" type="slidenum">
              <a:rPr lang="en-US" altLang="zh-CN" smtClean="0"/>
            </a:fld>
            <a:endParaRPr lang="en-US" altLang="zh-CN"/>
          </a:p>
        </p:txBody>
      </p:sp>
    </p:spTree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/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3" name="日期占位符 2"/>
          <p:cNvSpPr/>
          <p:nvPr>
            <p:ph type="dt" sz="half" idx="10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页脚占位符 3"/>
          <p:cNvSpPr/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5" name="灯片编号占位符 4"/>
          <p:cNvSpPr/>
          <p:nvPr>
            <p:ph type="sldNum" sz="quarter" idx="12"/>
          </p:nvPr>
        </p:nvSpPr>
        <p:spPr/>
        <p:txBody>
          <a:bodyPr/>
          <a:lstStyle/>
          <a:p>
            <a:fld id="{D1595ABF-967E-497C-9510-A74E7142EDE3}" type="slidenum">
              <a:rPr lang="en-US" altLang="zh-CN" smtClean="0"/>
            </a:fld>
            <a:endParaRPr lang="en-US" altLang="zh-CN"/>
          </a:p>
        </p:txBody>
      </p:sp>
    </p:spTree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1"/>
          <p:cNvSpPr/>
          <p:nvPr>
            <p:ph type="dt" sz="half" idx="10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3" name="页脚占位符 2"/>
          <p:cNvSpPr/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/>
          <p:nvPr>
            <p:ph type="sldNum" sz="quarter" idx="12"/>
          </p:nvPr>
        </p:nvSpPr>
        <p:spPr/>
        <p:txBody>
          <a:bodyPr/>
          <a:lstStyle/>
          <a:p>
            <a:fld id="{C01B3F58-CA4D-4939-B8FB-135C75D2DC6C}" type="slidenum">
              <a:rPr lang="en-US" altLang="zh-CN" smtClean="0"/>
            </a:fld>
            <a:endParaRPr lang="en-US" altLang="zh-CN"/>
          </a:p>
        </p:txBody>
      </p:sp>
    </p:spTree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/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/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zh-CN" altLang="en-US"/>
          </a:p>
        </p:txBody>
      </p:sp>
      <p:sp>
        <p:nvSpPr>
          <p:cNvPr id="4" name="文本占位符 3"/>
          <p:cNvSpPr/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</p:txBody>
      </p:sp>
      <p:sp>
        <p:nvSpPr>
          <p:cNvPr id="5" name="日期占位符 4"/>
          <p:cNvSpPr/>
          <p:nvPr>
            <p:ph type="dt" sz="half" idx="10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页脚占位符 5"/>
          <p:cNvSpPr/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/>
          <p:cNvSpPr/>
          <p:nvPr>
            <p:ph type="sldNum" sz="quarter" idx="12"/>
          </p:nvPr>
        </p:nvSpPr>
        <p:spPr/>
        <p:txBody>
          <a:bodyPr/>
          <a:lstStyle/>
          <a:p>
            <a:fld id="{5571450D-DA25-4221-86B2-FBE23F8B94BF}" type="slidenum">
              <a:rPr lang="en-US" altLang="zh-CN" smtClean="0"/>
            </a:fld>
            <a:endParaRPr lang="en-US" altLang="zh-CN"/>
          </a:p>
        </p:txBody>
      </p:sp>
    </p:spTree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/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3" name="图片占位符 2"/>
          <p:cNvSpPr/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zh-CN" altLang="en-US"/>
          </a:p>
        </p:txBody>
      </p:sp>
      <p:sp>
        <p:nvSpPr>
          <p:cNvPr id="4" name="文本占位符 3"/>
          <p:cNvSpPr/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</p:txBody>
      </p:sp>
      <p:sp>
        <p:nvSpPr>
          <p:cNvPr id="5" name="日期占位符 4"/>
          <p:cNvSpPr/>
          <p:nvPr>
            <p:ph type="dt" sz="half" idx="10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页脚占位符 5"/>
          <p:cNvSpPr/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/>
          <p:cNvSpPr/>
          <p:nvPr>
            <p:ph type="sldNum" sz="quarter" idx="12"/>
          </p:nvPr>
        </p:nvSpPr>
        <p:spPr/>
        <p:txBody>
          <a:bodyPr/>
          <a:lstStyle/>
          <a:p>
            <a:fld id="{F4350D45-2C81-4F62-900E-2CCD0CB50662}" type="slidenum">
              <a:rPr lang="en-US" altLang="zh-CN" smtClean="0"/>
            </a:fld>
            <a:endParaRPr lang="en-US" altLang="zh-CN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竖排标题与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图片 2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9017" b="28961"/>
          <a:stretch>
            <a:fillRect/>
          </a:stretch>
        </p:blipFill>
        <p:spPr>
          <a:xfrm>
            <a:off x="0" y="1721216"/>
            <a:ext cx="9144000" cy="3415569"/>
          </a:xfrm>
          <a:prstGeom prst="rect">
            <a:avLst/>
          </a:prstGeom>
        </p:spPr>
      </p:pic>
      <p:sp>
        <p:nvSpPr>
          <p:cNvPr id="8" name="矩形 7"/>
          <p:cNvSpPr/>
          <p:nvPr userDrawn="1"/>
        </p:nvSpPr>
        <p:spPr>
          <a:xfrm>
            <a:off x="1" y="1715168"/>
            <a:ext cx="9144000" cy="3427664"/>
          </a:xfrm>
          <a:prstGeom prst="rect">
            <a:avLst/>
          </a:prstGeom>
          <a:gradFill flip="none" rotWithShape="1">
            <a:gsLst>
              <a:gs pos="0">
                <a:srgbClr val="A22B17">
                  <a:lumMod val="94000"/>
                  <a:lumOff val="6000"/>
                </a:srgbClr>
              </a:gs>
              <a:gs pos="100000">
                <a:srgbClr val="A22B17">
                  <a:alpha val="72000"/>
                  <a:lumMod val="85000"/>
                  <a:lumOff val="15000"/>
                </a:srgb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zh-CN" altLang="en-US" sz="1350" dirty="0"/>
          </a:p>
        </p:txBody>
      </p:sp>
      <p:grpSp>
        <p:nvGrpSpPr>
          <p:cNvPr id="10" name="组合 9"/>
          <p:cNvGrpSpPr/>
          <p:nvPr userDrawn="1"/>
        </p:nvGrpSpPr>
        <p:grpSpPr>
          <a:xfrm>
            <a:off x="2230940" y="304800"/>
            <a:ext cx="4682120" cy="6248400"/>
            <a:chOff x="2514433" y="-155765"/>
            <a:chExt cx="7163134" cy="7169530"/>
          </a:xfrm>
        </p:grpSpPr>
        <p:grpSp>
          <p:nvGrpSpPr>
            <p:cNvPr id="11" name="组合 10"/>
            <p:cNvGrpSpPr/>
            <p:nvPr/>
          </p:nvGrpSpPr>
          <p:grpSpPr>
            <a:xfrm>
              <a:off x="2514433" y="-155765"/>
              <a:ext cx="7163134" cy="7169530"/>
              <a:chOff x="1560409" y="2069897"/>
              <a:chExt cx="1776413" cy="1778000"/>
            </a:xfrm>
          </p:grpSpPr>
          <p:sp>
            <p:nvSpPr>
              <p:cNvPr id="70" name="îS1îḋé"/>
              <p:cNvSpPr/>
              <p:nvPr/>
            </p:nvSpPr>
            <p:spPr bwMode="auto">
              <a:xfrm>
                <a:off x="1560409" y="2069897"/>
                <a:ext cx="1776413" cy="1778000"/>
              </a:xfrm>
              <a:prstGeom prst="ellipse">
                <a:avLst/>
              </a:prstGeom>
              <a:noFill/>
              <a:ln w="98425" cap="flat">
                <a:solidFill>
                  <a:schemeClr val="bg1">
                    <a:alpha val="7000"/>
                  </a:schemeClr>
                </a:solidFill>
                <a:prstDash val="solid"/>
                <a:miter lim="800000"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71" name="îṣḷïďé"/>
              <p:cNvSpPr/>
              <p:nvPr/>
            </p:nvSpPr>
            <p:spPr bwMode="auto">
              <a:xfrm>
                <a:off x="1779484" y="2288972"/>
                <a:ext cx="1336675" cy="1338263"/>
              </a:xfrm>
              <a:prstGeom prst="ellipse">
                <a:avLst/>
              </a:prstGeom>
              <a:noFill/>
              <a:ln w="19050" cap="flat">
                <a:solidFill>
                  <a:schemeClr val="bg1">
                    <a:alpha val="7000"/>
                  </a:schemeClr>
                </a:solidFill>
                <a:prstDash val="solid"/>
                <a:miter lim="800000"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</p:grpSp>
        <p:grpSp>
          <p:nvGrpSpPr>
            <p:cNvPr id="12" name="组合 11"/>
            <p:cNvGrpSpPr/>
            <p:nvPr/>
          </p:nvGrpSpPr>
          <p:grpSpPr>
            <a:xfrm>
              <a:off x="2844102" y="77886"/>
              <a:ext cx="6503791" cy="6702232"/>
              <a:chOff x="1641372" y="4491628"/>
              <a:chExt cx="1612900" cy="1662113"/>
            </a:xfrm>
            <a:solidFill>
              <a:schemeClr val="bg1">
                <a:alpha val="7000"/>
              </a:schemeClr>
            </a:solidFill>
          </p:grpSpPr>
          <p:sp>
            <p:nvSpPr>
              <p:cNvPr id="13" name="ïś1íďê"/>
              <p:cNvSpPr/>
              <p:nvPr/>
            </p:nvSpPr>
            <p:spPr bwMode="auto">
              <a:xfrm>
                <a:off x="2889147" y="4701178"/>
                <a:ext cx="153988" cy="138113"/>
              </a:xfrm>
              <a:custGeom>
                <a:avLst/>
                <a:gdLst>
                  <a:gd name="T0" fmla="*/ 62 w 83"/>
                  <a:gd name="T1" fmla="*/ 8 h 75"/>
                  <a:gd name="T2" fmla="*/ 53 w 83"/>
                  <a:gd name="T3" fmla="*/ 10 h 75"/>
                  <a:gd name="T4" fmla="*/ 57 w 83"/>
                  <a:gd name="T5" fmla="*/ 0 h 75"/>
                  <a:gd name="T6" fmla="*/ 44 w 83"/>
                  <a:gd name="T7" fmla="*/ 21 h 75"/>
                  <a:gd name="T8" fmla="*/ 58 w 83"/>
                  <a:gd name="T9" fmla="*/ 11 h 75"/>
                  <a:gd name="T10" fmla="*/ 54 w 83"/>
                  <a:gd name="T11" fmla="*/ 18 h 75"/>
                  <a:gd name="T12" fmla="*/ 28 w 83"/>
                  <a:gd name="T13" fmla="*/ 18 h 75"/>
                  <a:gd name="T14" fmla="*/ 19 w 83"/>
                  <a:gd name="T15" fmla="*/ 17 h 75"/>
                  <a:gd name="T16" fmla="*/ 25 w 83"/>
                  <a:gd name="T17" fmla="*/ 12 h 75"/>
                  <a:gd name="T18" fmla="*/ 1 w 83"/>
                  <a:gd name="T19" fmla="*/ 30 h 75"/>
                  <a:gd name="T20" fmla="*/ 13 w 83"/>
                  <a:gd name="T21" fmla="*/ 24 h 75"/>
                  <a:gd name="T22" fmla="*/ 36 w 83"/>
                  <a:gd name="T23" fmla="*/ 28 h 75"/>
                  <a:gd name="T24" fmla="*/ 22 w 83"/>
                  <a:gd name="T25" fmla="*/ 35 h 75"/>
                  <a:gd name="T26" fmla="*/ 45 w 83"/>
                  <a:gd name="T27" fmla="*/ 41 h 75"/>
                  <a:gd name="T28" fmla="*/ 42 w 83"/>
                  <a:gd name="T29" fmla="*/ 41 h 75"/>
                  <a:gd name="T30" fmla="*/ 35 w 83"/>
                  <a:gd name="T31" fmla="*/ 40 h 75"/>
                  <a:gd name="T32" fmla="*/ 37 w 83"/>
                  <a:gd name="T33" fmla="*/ 45 h 75"/>
                  <a:gd name="T34" fmla="*/ 12 w 83"/>
                  <a:gd name="T35" fmla="*/ 34 h 75"/>
                  <a:gd name="T36" fmla="*/ 9 w 83"/>
                  <a:gd name="T37" fmla="*/ 35 h 75"/>
                  <a:gd name="T38" fmla="*/ 20 w 83"/>
                  <a:gd name="T39" fmla="*/ 64 h 75"/>
                  <a:gd name="T40" fmla="*/ 0 w 83"/>
                  <a:gd name="T41" fmla="*/ 57 h 75"/>
                  <a:gd name="T42" fmla="*/ 35 w 83"/>
                  <a:gd name="T43" fmla="*/ 58 h 75"/>
                  <a:gd name="T44" fmla="*/ 46 w 83"/>
                  <a:gd name="T45" fmla="*/ 57 h 75"/>
                  <a:gd name="T46" fmla="*/ 42 w 83"/>
                  <a:gd name="T47" fmla="*/ 48 h 75"/>
                  <a:gd name="T48" fmla="*/ 62 w 83"/>
                  <a:gd name="T49" fmla="*/ 57 h 75"/>
                  <a:gd name="T50" fmla="*/ 61 w 83"/>
                  <a:gd name="T51" fmla="*/ 35 h 75"/>
                  <a:gd name="T52" fmla="*/ 62 w 83"/>
                  <a:gd name="T53" fmla="*/ 34 h 75"/>
                  <a:gd name="T54" fmla="*/ 66 w 83"/>
                  <a:gd name="T55" fmla="*/ 16 h 75"/>
                  <a:gd name="T56" fmla="*/ 63 w 83"/>
                  <a:gd name="T57" fmla="*/ 44 h 75"/>
                  <a:gd name="T58" fmla="*/ 54 w 83"/>
                  <a:gd name="T59" fmla="*/ 32 h 75"/>
                  <a:gd name="T60" fmla="*/ 60 w 83"/>
                  <a:gd name="T61" fmla="*/ 27 h 75"/>
                  <a:gd name="T62" fmla="*/ 67 w 83"/>
                  <a:gd name="T63" fmla="*/ 18 h 75"/>
                  <a:gd name="T64" fmla="*/ 77 w 83"/>
                  <a:gd name="T65" fmla="*/ 23 h 75"/>
                  <a:gd name="T66" fmla="*/ 60 w 83"/>
                  <a:gd name="T67" fmla="*/ 27 h 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83" h="75">
                    <a:moveTo>
                      <a:pt x="66" y="16"/>
                    </a:moveTo>
                    <a:cubicBezTo>
                      <a:pt x="65" y="13"/>
                      <a:pt x="63" y="11"/>
                      <a:pt x="62" y="8"/>
                    </a:cubicBezTo>
                    <a:cubicBezTo>
                      <a:pt x="59" y="9"/>
                      <a:pt x="57" y="9"/>
                      <a:pt x="54" y="10"/>
                    </a:cubicBezTo>
                    <a:cubicBezTo>
                      <a:pt x="54" y="10"/>
                      <a:pt x="53" y="10"/>
                      <a:pt x="53" y="10"/>
                    </a:cubicBezTo>
                    <a:cubicBezTo>
                      <a:pt x="54" y="7"/>
                      <a:pt x="57" y="6"/>
                      <a:pt x="59" y="3"/>
                    </a:cubicBezTo>
                    <a:cubicBezTo>
                      <a:pt x="58" y="2"/>
                      <a:pt x="58" y="1"/>
                      <a:pt x="57" y="0"/>
                    </a:cubicBezTo>
                    <a:cubicBezTo>
                      <a:pt x="48" y="1"/>
                      <a:pt x="37" y="9"/>
                      <a:pt x="42" y="19"/>
                    </a:cubicBezTo>
                    <a:cubicBezTo>
                      <a:pt x="42" y="19"/>
                      <a:pt x="43" y="20"/>
                      <a:pt x="44" y="21"/>
                    </a:cubicBezTo>
                    <a:cubicBezTo>
                      <a:pt x="47" y="19"/>
                      <a:pt x="48" y="15"/>
                      <a:pt x="51" y="14"/>
                    </a:cubicBezTo>
                    <a:cubicBezTo>
                      <a:pt x="53" y="13"/>
                      <a:pt x="55" y="13"/>
                      <a:pt x="58" y="11"/>
                    </a:cubicBezTo>
                    <a:cubicBezTo>
                      <a:pt x="58" y="11"/>
                      <a:pt x="59" y="11"/>
                      <a:pt x="59" y="11"/>
                    </a:cubicBezTo>
                    <a:cubicBezTo>
                      <a:pt x="57" y="14"/>
                      <a:pt x="56" y="16"/>
                      <a:pt x="54" y="18"/>
                    </a:cubicBezTo>
                    <a:cubicBezTo>
                      <a:pt x="54" y="21"/>
                      <a:pt x="55" y="24"/>
                      <a:pt x="54" y="27"/>
                    </a:cubicBezTo>
                    <a:cubicBezTo>
                      <a:pt x="54" y="27"/>
                      <a:pt x="30" y="18"/>
                      <a:pt x="28" y="18"/>
                    </a:cubicBezTo>
                    <a:cubicBezTo>
                      <a:pt x="25" y="17"/>
                      <a:pt x="22" y="17"/>
                      <a:pt x="20" y="17"/>
                    </a:cubicBezTo>
                    <a:cubicBezTo>
                      <a:pt x="19" y="17"/>
                      <a:pt x="19" y="17"/>
                      <a:pt x="19" y="17"/>
                    </a:cubicBezTo>
                    <a:cubicBezTo>
                      <a:pt x="22" y="15"/>
                      <a:pt x="23" y="15"/>
                      <a:pt x="25" y="13"/>
                    </a:cubicBezTo>
                    <a:cubicBezTo>
                      <a:pt x="25" y="12"/>
                      <a:pt x="25" y="12"/>
                      <a:pt x="25" y="12"/>
                    </a:cubicBezTo>
                    <a:cubicBezTo>
                      <a:pt x="18" y="12"/>
                      <a:pt x="11" y="16"/>
                      <a:pt x="4" y="18"/>
                    </a:cubicBezTo>
                    <a:cubicBezTo>
                      <a:pt x="0" y="22"/>
                      <a:pt x="0" y="25"/>
                      <a:pt x="1" y="30"/>
                    </a:cubicBezTo>
                    <a:cubicBezTo>
                      <a:pt x="3" y="31"/>
                      <a:pt x="3" y="31"/>
                      <a:pt x="3" y="31"/>
                    </a:cubicBezTo>
                    <a:cubicBezTo>
                      <a:pt x="6" y="29"/>
                      <a:pt x="9" y="26"/>
                      <a:pt x="13" y="24"/>
                    </a:cubicBezTo>
                    <a:cubicBezTo>
                      <a:pt x="19" y="20"/>
                      <a:pt x="30" y="22"/>
                      <a:pt x="37" y="27"/>
                    </a:cubicBezTo>
                    <a:cubicBezTo>
                      <a:pt x="37" y="28"/>
                      <a:pt x="36" y="28"/>
                      <a:pt x="36" y="28"/>
                    </a:cubicBezTo>
                    <a:cubicBezTo>
                      <a:pt x="31" y="29"/>
                      <a:pt x="28" y="28"/>
                      <a:pt x="22" y="32"/>
                    </a:cubicBezTo>
                    <a:cubicBezTo>
                      <a:pt x="22" y="33"/>
                      <a:pt x="22" y="34"/>
                      <a:pt x="22" y="35"/>
                    </a:cubicBezTo>
                    <a:cubicBezTo>
                      <a:pt x="22" y="37"/>
                      <a:pt x="22" y="37"/>
                      <a:pt x="24" y="39"/>
                    </a:cubicBezTo>
                    <a:cubicBezTo>
                      <a:pt x="31" y="37"/>
                      <a:pt x="37" y="36"/>
                      <a:pt x="45" y="41"/>
                    </a:cubicBezTo>
                    <a:cubicBezTo>
                      <a:pt x="44" y="41"/>
                      <a:pt x="44" y="41"/>
                      <a:pt x="44" y="41"/>
                    </a:cubicBezTo>
                    <a:cubicBezTo>
                      <a:pt x="43" y="41"/>
                      <a:pt x="42" y="41"/>
                      <a:pt x="42" y="41"/>
                    </a:cubicBezTo>
                    <a:cubicBezTo>
                      <a:pt x="41" y="40"/>
                      <a:pt x="40" y="39"/>
                      <a:pt x="39" y="39"/>
                    </a:cubicBezTo>
                    <a:cubicBezTo>
                      <a:pt x="37" y="41"/>
                      <a:pt x="37" y="41"/>
                      <a:pt x="35" y="40"/>
                    </a:cubicBezTo>
                    <a:cubicBezTo>
                      <a:pt x="35" y="40"/>
                      <a:pt x="34" y="41"/>
                      <a:pt x="34" y="41"/>
                    </a:cubicBezTo>
                    <a:cubicBezTo>
                      <a:pt x="35" y="43"/>
                      <a:pt x="35" y="43"/>
                      <a:pt x="37" y="45"/>
                    </a:cubicBezTo>
                    <a:cubicBezTo>
                      <a:pt x="36" y="46"/>
                      <a:pt x="36" y="47"/>
                      <a:pt x="35" y="48"/>
                    </a:cubicBezTo>
                    <a:cubicBezTo>
                      <a:pt x="27" y="44"/>
                      <a:pt x="20" y="40"/>
                      <a:pt x="12" y="34"/>
                    </a:cubicBezTo>
                    <a:cubicBezTo>
                      <a:pt x="11" y="34"/>
                      <a:pt x="11" y="34"/>
                      <a:pt x="10" y="34"/>
                    </a:cubicBezTo>
                    <a:cubicBezTo>
                      <a:pt x="9" y="34"/>
                      <a:pt x="9" y="35"/>
                      <a:pt x="9" y="35"/>
                    </a:cubicBezTo>
                    <a:cubicBezTo>
                      <a:pt x="11" y="55"/>
                      <a:pt x="20" y="44"/>
                      <a:pt x="31" y="54"/>
                    </a:cubicBezTo>
                    <a:cubicBezTo>
                      <a:pt x="27" y="58"/>
                      <a:pt x="23" y="61"/>
                      <a:pt x="20" y="64"/>
                    </a:cubicBezTo>
                    <a:cubicBezTo>
                      <a:pt x="15" y="63"/>
                      <a:pt x="6" y="55"/>
                      <a:pt x="1" y="56"/>
                    </a:cubicBezTo>
                    <a:cubicBezTo>
                      <a:pt x="1" y="56"/>
                      <a:pt x="1" y="56"/>
                      <a:pt x="0" y="57"/>
                    </a:cubicBezTo>
                    <a:cubicBezTo>
                      <a:pt x="2" y="62"/>
                      <a:pt x="7" y="67"/>
                      <a:pt x="9" y="72"/>
                    </a:cubicBezTo>
                    <a:cubicBezTo>
                      <a:pt x="17" y="75"/>
                      <a:pt x="26" y="66"/>
                      <a:pt x="35" y="58"/>
                    </a:cubicBezTo>
                    <a:cubicBezTo>
                      <a:pt x="37" y="60"/>
                      <a:pt x="39" y="63"/>
                      <a:pt x="42" y="65"/>
                    </a:cubicBezTo>
                    <a:cubicBezTo>
                      <a:pt x="46" y="63"/>
                      <a:pt x="46" y="60"/>
                      <a:pt x="46" y="57"/>
                    </a:cubicBezTo>
                    <a:cubicBezTo>
                      <a:pt x="45" y="54"/>
                      <a:pt x="43" y="53"/>
                      <a:pt x="40" y="50"/>
                    </a:cubicBezTo>
                    <a:cubicBezTo>
                      <a:pt x="41" y="49"/>
                      <a:pt x="42" y="48"/>
                      <a:pt x="42" y="48"/>
                    </a:cubicBezTo>
                    <a:cubicBezTo>
                      <a:pt x="46" y="48"/>
                      <a:pt x="49" y="48"/>
                      <a:pt x="53" y="46"/>
                    </a:cubicBezTo>
                    <a:cubicBezTo>
                      <a:pt x="56" y="49"/>
                      <a:pt x="59" y="53"/>
                      <a:pt x="62" y="57"/>
                    </a:cubicBezTo>
                    <a:cubicBezTo>
                      <a:pt x="65" y="56"/>
                      <a:pt x="68" y="55"/>
                      <a:pt x="70" y="52"/>
                    </a:cubicBezTo>
                    <a:cubicBezTo>
                      <a:pt x="72" y="47"/>
                      <a:pt x="66" y="40"/>
                      <a:pt x="61" y="35"/>
                    </a:cubicBezTo>
                    <a:cubicBezTo>
                      <a:pt x="61" y="35"/>
                      <a:pt x="61" y="35"/>
                      <a:pt x="61" y="35"/>
                    </a:cubicBezTo>
                    <a:cubicBezTo>
                      <a:pt x="62" y="34"/>
                      <a:pt x="62" y="34"/>
                      <a:pt x="62" y="34"/>
                    </a:cubicBezTo>
                    <a:cubicBezTo>
                      <a:pt x="69" y="34"/>
                      <a:pt x="72" y="37"/>
                      <a:pt x="79" y="32"/>
                    </a:cubicBezTo>
                    <a:cubicBezTo>
                      <a:pt x="83" y="17"/>
                      <a:pt x="74" y="21"/>
                      <a:pt x="66" y="16"/>
                    </a:cubicBezTo>
                    <a:close/>
                    <a:moveTo>
                      <a:pt x="63" y="44"/>
                    </a:moveTo>
                    <a:cubicBezTo>
                      <a:pt x="63" y="44"/>
                      <a:pt x="63" y="44"/>
                      <a:pt x="63" y="44"/>
                    </a:cubicBezTo>
                    <a:cubicBezTo>
                      <a:pt x="55" y="42"/>
                      <a:pt x="46" y="34"/>
                      <a:pt x="38" y="32"/>
                    </a:cubicBezTo>
                    <a:cubicBezTo>
                      <a:pt x="43" y="28"/>
                      <a:pt x="48" y="31"/>
                      <a:pt x="54" y="32"/>
                    </a:cubicBezTo>
                    <a:cubicBezTo>
                      <a:pt x="57" y="36"/>
                      <a:pt x="60" y="40"/>
                      <a:pt x="63" y="44"/>
                    </a:cubicBezTo>
                    <a:close/>
                    <a:moveTo>
                      <a:pt x="60" y="27"/>
                    </a:moveTo>
                    <a:cubicBezTo>
                      <a:pt x="60" y="27"/>
                      <a:pt x="60" y="26"/>
                      <a:pt x="59" y="26"/>
                    </a:cubicBezTo>
                    <a:cubicBezTo>
                      <a:pt x="61" y="23"/>
                      <a:pt x="63" y="20"/>
                      <a:pt x="67" y="18"/>
                    </a:cubicBezTo>
                    <a:cubicBezTo>
                      <a:pt x="69" y="19"/>
                      <a:pt x="71" y="19"/>
                      <a:pt x="74" y="20"/>
                    </a:cubicBezTo>
                    <a:cubicBezTo>
                      <a:pt x="75" y="21"/>
                      <a:pt x="76" y="22"/>
                      <a:pt x="77" y="23"/>
                    </a:cubicBezTo>
                    <a:cubicBezTo>
                      <a:pt x="77" y="24"/>
                      <a:pt x="77" y="24"/>
                      <a:pt x="77" y="25"/>
                    </a:cubicBezTo>
                    <a:cubicBezTo>
                      <a:pt x="72" y="29"/>
                      <a:pt x="66" y="27"/>
                      <a:pt x="60" y="2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14" name="ïṩḻîḓé"/>
              <p:cNvSpPr/>
              <p:nvPr/>
            </p:nvSpPr>
            <p:spPr bwMode="auto">
              <a:xfrm>
                <a:off x="2728809" y="4582115"/>
                <a:ext cx="101600" cy="147638"/>
              </a:xfrm>
              <a:custGeom>
                <a:avLst/>
                <a:gdLst>
                  <a:gd name="T0" fmla="*/ 47 w 55"/>
                  <a:gd name="T1" fmla="*/ 0 h 80"/>
                  <a:gd name="T2" fmla="*/ 49 w 55"/>
                  <a:gd name="T3" fmla="*/ 20 h 80"/>
                  <a:gd name="T4" fmla="*/ 51 w 55"/>
                  <a:gd name="T5" fmla="*/ 34 h 80"/>
                  <a:gd name="T6" fmla="*/ 28 w 55"/>
                  <a:gd name="T7" fmla="*/ 38 h 80"/>
                  <a:gd name="T8" fmla="*/ 41 w 55"/>
                  <a:gd name="T9" fmla="*/ 68 h 80"/>
                  <a:gd name="T10" fmla="*/ 25 w 55"/>
                  <a:gd name="T11" fmla="*/ 74 h 80"/>
                  <a:gd name="T12" fmla="*/ 26 w 55"/>
                  <a:gd name="T13" fmla="*/ 39 h 80"/>
                  <a:gd name="T14" fmla="*/ 23 w 55"/>
                  <a:gd name="T15" fmla="*/ 40 h 80"/>
                  <a:gd name="T16" fmla="*/ 7 w 55"/>
                  <a:gd name="T17" fmla="*/ 54 h 80"/>
                  <a:gd name="T18" fmla="*/ 0 w 55"/>
                  <a:gd name="T19" fmla="*/ 43 h 80"/>
                  <a:gd name="T20" fmla="*/ 14 w 55"/>
                  <a:gd name="T21" fmla="*/ 28 h 80"/>
                  <a:gd name="T22" fmla="*/ 6 w 55"/>
                  <a:gd name="T23" fmla="*/ 15 h 80"/>
                  <a:gd name="T24" fmla="*/ 7 w 55"/>
                  <a:gd name="T25" fmla="*/ 15 h 80"/>
                  <a:gd name="T26" fmla="*/ 26 w 55"/>
                  <a:gd name="T27" fmla="*/ 18 h 80"/>
                  <a:gd name="T28" fmla="*/ 47 w 55"/>
                  <a:gd name="T29" fmla="*/ 0 h 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55" h="80">
                    <a:moveTo>
                      <a:pt x="47" y="0"/>
                    </a:moveTo>
                    <a:cubicBezTo>
                      <a:pt x="55" y="7"/>
                      <a:pt x="49" y="11"/>
                      <a:pt x="49" y="20"/>
                    </a:cubicBezTo>
                    <a:cubicBezTo>
                      <a:pt x="49" y="25"/>
                      <a:pt x="55" y="25"/>
                      <a:pt x="51" y="34"/>
                    </a:cubicBezTo>
                    <a:cubicBezTo>
                      <a:pt x="44" y="37"/>
                      <a:pt x="34" y="32"/>
                      <a:pt x="28" y="38"/>
                    </a:cubicBezTo>
                    <a:cubicBezTo>
                      <a:pt x="38" y="44"/>
                      <a:pt x="45" y="59"/>
                      <a:pt x="41" y="68"/>
                    </a:cubicBezTo>
                    <a:cubicBezTo>
                      <a:pt x="39" y="74"/>
                      <a:pt x="28" y="80"/>
                      <a:pt x="25" y="74"/>
                    </a:cubicBezTo>
                    <a:cubicBezTo>
                      <a:pt x="19" y="62"/>
                      <a:pt x="39" y="55"/>
                      <a:pt x="26" y="39"/>
                    </a:cubicBezTo>
                    <a:cubicBezTo>
                      <a:pt x="25" y="39"/>
                      <a:pt x="25" y="39"/>
                      <a:pt x="23" y="40"/>
                    </a:cubicBezTo>
                    <a:cubicBezTo>
                      <a:pt x="17" y="44"/>
                      <a:pt x="14" y="52"/>
                      <a:pt x="7" y="54"/>
                    </a:cubicBezTo>
                    <a:cubicBezTo>
                      <a:pt x="2" y="51"/>
                      <a:pt x="2" y="48"/>
                      <a:pt x="0" y="43"/>
                    </a:cubicBezTo>
                    <a:cubicBezTo>
                      <a:pt x="3" y="39"/>
                      <a:pt x="14" y="30"/>
                      <a:pt x="14" y="28"/>
                    </a:cubicBezTo>
                    <a:cubicBezTo>
                      <a:pt x="14" y="25"/>
                      <a:pt x="7" y="19"/>
                      <a:pt x="6" y="15"/>
                    </a:cubicBezTo>
                    <a:cubicBezTo>
                      <a:pt x="6" y="15"/>
                      <a:pt x="7" y="15"/>
                      <a:pt x="7" y="15"/>
                    </a:cubicBezTo>
                    <a:cubicBezTo>
                      <a:pt x="13" y="15"/>
                      <a:pt x="20" y="18"/>
                      <a:pt x="26" y="18"/>
                    </a:cubicBezTo>
                    <a:cubicBezTo>
                      <a:pt x="34" y="17"/>
                      <a:pt x="41" y="5"/>
                      <a:pt x="47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15" name="išḷïḓe"/>
              <p:cNvSpPr/>
              <p:nvPr/>
            </p:nvSpPr>
            <p:spPr bwMode="auto">
              <a:xfrm>
                <a:off x="2490684" y="4510678"/>
                <a:ext cx="144463" cy="160338"/>
              </a:xfrm>
              <a:custGeom>
                <a:avLst/>
                <a:gdLst>
                  <a:gd name="T0" fmla="*/ 55 w 78"/>
                  <a:gd name="T1" fmla="*/ 64 h 87"/>
                  <a:gd name="T2" fmla="*/ 62 w 78"/>
                  <a:gd name="T3" fmla="*/ 50 h 87"/>
                  <a:gd name="T4" fmla="*/ 54 w 78"/>
                  <a:gd name="T5" fmla="*/ 43 h 87"/>
                  <a:gd name="T6" fmla="*/ 69 w 78"/>
                  <a:gd name="T7" fmla="*/ 29 h 87"/>
                  <a:gd name="T8" fmla="*/ 67 w 78"/>
                  <a:gd name="T9" fmla="*/ 21 h 87"/>
                  <a:gd name="T10" fmla="*/ 70 w 78"/>
                  <a:gd name="T11" fmla="*/ 11 h 87"/>
                  <a:gd name="T12" fmla="*/ 69 w 78"/>
                  <a:gd name="T13" fmla="*/ 3 h 87"/>
                  <a:gd name="T14" fmla="*/ 64 w 78"/>
                  <a:gd name="T15" fmla="*/ 0 h 87"/>
                  <a:gd name="T16" fmla="*/ 63 w 78"/>
                  <a:gd name="T17" fmla="*/ 0 h 87"/>
                  <a:gd name="T18" fmla="*/ 63 w 78"/>
                  <a:gd name="T19" fmla="*/ 12 h 87"/>
                  <a:gd name="T20" fmla="*/ 42 w 78"/>
                  <a:gd name="T21" fmla="*/ 25 h 87"/>
                  <a:gd name="T22" fmla="*/ 42 w 78"/>
                  <a:gd name="T23" fmla="*/ 33 h 87"/>
                  <a:gd name="T24" fmla="*/ 33 w 78"/>
                  <a:gd name="T25" fmla="*/ 36 h 87"/>
                  <a:gd name="T26" fmla="*/ 39 w 78"/>
                  <a:gd name="T27" fmla="*/ 33 h 87"/>
                  <a:gd name="T28" fmla="*/ 39 w 78"/>
                  <a:gd name="T29" fmla="*/ 23 h 87"/>
                  <a:gd name="T30" fmla="*/ 36 w 78"/>
                  <a:gd name="T31" fmla="*/ 0 h 87"/>
                  <a:gd name="T32" fmla="*/ 36 w 78"/>
                  <a:gd name="T33" fmla="*/ 0 h 87"/>
                  <a:gd name="T34" fmla="*/ 36 w 78"/>
                  <a:gd name="T35" fmla="*/ 8 h 87"/>
                  <a:gd name="T36" fmla="*/ 30 w 78"/>
                  <a:gd name="T37" fmla="*/ 24 h 87"/>
                  <a:gd name="T38" fmla="*/ 1 w 78"/>
                  <a:gd name="T39" fmla="*/ 29 h 87"/>
                  <a:gd name="T40" fmla="*/ 0 w 78"/>
                  <a:gd name="T41" fmla="*/ 31 h 87"/>
                  <a:gd name="T42" fmla="*/ 18 w 78"/>
                  <a:gd name="T43" fmla="*/ 39 h 87"/>
                  <a:gd name="T44" fmla="*/ 25 w 78"/>
                  <a:gd name="T45" fmla="*/ 36 h 87"/>
                  <a:gd name="T46" fmla="*/ 25 w 78"/>
                  <a:gd name="T47" fmla="*/ 36 h 87"/>
                  <a:gd name="T48" fmla="*/ 3 w 78"/>
                  <a:gd name="T49" fmla="*/ 62 h 87"/>
                  <a:gd name="T50" fmla="*/ 5 w 78"/>
                  <a:gd name="T51" fmla="*/ 67 h 87"/>
                  <a:gd name="T52" fmla="*/ 12 w 78"/>
                  <a:gd name="T53" fmla="*/ 66 h 87"/>
                  <a:gd name="T54" fmla="*/ 22 w 78"/>
                  <a:gd name="T55" fmla="*/ 74 h 87"/>
                  <a:gd name="T56" fmla="*/ 25 w 78"/>
                  <a:gd name="T57" fmla="*/ 61 h 87"/>
                  <a:gd name="T58" fmla="*/ 30 w 78"/>
                  <a:gd name="T59" fmla="*/ 49 h 87"/>
                  <a:gd name="T60" fmla="*/ 48 w 78"/>
                  <a:gd name="T61" fmla="*/ 63 h 87"/>
                  <a:gd name="T62" fmla="*/ 24 w 78"/>
                  <a:gd name="T63" fmla="*/ 71 h 87"/>
                  <a:gd name="T64" fmla="*/ 48 w 78"/>
                  <a:gd name="T65" fmla="*/ 71 h 87"/>
                  <a:gd name="T66" fmla="*/ 51 w 78"/>
                  <a:gd name="T67" fmla="*/ 69 h 87"/>
                  <a:gd name="T68" fmla="*/ 77 w 78"/>
                  <a:gd name="T69" fmla="*/ 87 h 87"/>
                  <a:gd name="T70" fmla="*/ 78 w 78"/>
                  <a:gd name="T71" fmla="*/ 86 h 87"/>
                  <a:gd name="T72" fmla="*/ 55 w 78"/>
                  <a:gd name="T73" fmla="*/ 64 h 87"/>
                  <a:gd name="T74" fmla="*/ 15 w 78"/>
                  <a:gd name="T75" fmla="*/ 64 h 87"/>
                  <a:gd name="T76" fmla="*/ 15 w 78"/>
                  <a:gd name="T77" fmla="*/ 65 h 87"/>
                  <a:gd name="T78" fmla="*/ 11 w 78"/>
                  <a:gd name="T79" fmla="*/ 63 h 87"/>
                  <a:gd name="T80" fmla="*/ 12 w 78"/>
                  <a:gd name="T81" fmla="*/ 60 h 87"/>
                  <a:gd name="T82" fmla="*/ 15 w 78"/>
                  <a:gd name="T83" fmla="*/ 57 h 87"/>
                  <a:gd name="T84" fmla="*/ 17 w 78"/>
                  <a:gd name="T85" fmla="*/ 58 h 87"/>
                  <a:gd name="T86" fmla="*/ 15 w 78"/>
                  <a:gd name="T87" fmla="*/ 64 h 87"/>
                  <a:gd name="T88" fmla="*/ 32 w 78"/>
                  <a:gd name="T89" fmla="*/ 46 h 87"/>
                  <a:gd name="T90" fmla="*/ 44 w 78"/>
                  <a:gd name="T91" fmla="*/ 34 h 87"/>
                  <a:gd name="T92" fmla="*/ 52 w 78"/>
                  <a:gd name="T93" fmla="*/ 35 h 87"/>
                  <a:gd name="T94" fmla="*/ 46 w 78"/>
                  <a:gd name="T95" fmla="*/ 50 h 87"/>
                  <a:gd name="T96" fmla="*/ 48 w 78"/>
                  <a:gd name="T97" fmla="*/ 52 h 87"/>
                  <a:gd name="T98" fmla="*/ 56 w 78"/>
                  <a:gd name="T99" fmla="*/ 50 h 87"/>
                  <a:gd name="T100" fmla="*/ 52 w 78"/>
                  <a:gd name="T101" fmla="*/ 61 h 87"/>
                  <a:gd name="T102" fmla="*/ 32 w 78"/>
                  <a:gd name="T103" fmla="*/ 46 h 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78" h="87">
                    <a:moveTo>
                      <a:pt x="55" y="64"/>
                    </a:moveTo>
                    <a:cubicBezTo>
                      <a:pt x="58" y="60"/>
                      <a:pt x="60" y="55"/>
                      <a:pt x="62" y="50"/>
                    </a:cubicBezTo>
                    <a:cubicBezTo>
                      <a:pt x="61" y="47"/>
                      <a:pt x="58" y="44"/>
                      <a:pt x="54" y="43"/>
                    </a:cubicBezTo>
                    <a:cubicBezTo>
                      <a:pt x="57" y="36"/>
                      <a:pt x="64" y="33"/>
                      <a:pt x="69" y="29"/>
                    </a:cubicBezTo>
                    <a:cubicBezTo>
                      <a:pt x="69" y="25"/>
                      <a:pt x="67" y="24"/>
                      <a:pt x="67" y="21"/>
                    </a:cubicBezTo>
                    <a:cubicBezTo>
                      <a:pt x="68" y="18"/>
                      <a:pt x="69" y="15"/>
                      <a:pt x="70" y="11"/>
                    </a:cubicBezTo>
                    <a:cubicBezTo>
                      <a:pt x="70" y="9"/>
                      <a:pt x="69" y="6"/>
                      <a:pt x="69" y="3"/>
                    </a:cubicBezTo>
                    <a:cubicBezTo>
                      <a:pt x="68" y="2"/>
                      <a:pt x="67" y="1"/>
                      <a:pt x="64" y="0"/>
                    </a:cubicBezTo>
                    <a:cubicBezTo>
                      <a:pt x="64" y="0"/>
                      <a:pt x="63" y="0"/>
                      <a:pt x="63" y="0"/>
                    </a:cubicBezTo>
                    <a:cubicBezTo>
                      <a:pt x="61" y="5"/>
                      <a:pt x="63" y="8"/>
                      <a:pt x="63" y="12"/>
                    </a:cubicBezTo>
                    <a:cubicBezTo>
                      <a:pt x="63" y="24"/>
                      <a:pt x="52" y="26"/>
                      <a:pt x="42" y="25"/>
                    </a:cubicBezTo>
                    <a:cubicBezTo>
                      <a:pt x="41" y="28"/>
                      <a:pt x="41" y="31"/>
                      <a:pt x="42" y="33"/>
                    </a:cubicBezTo>
                    <a:cubicBezTo>
                      <a:pt x="39" y="34"/>
                      <a:pt x="36" y="35"/>
                      <a:pt x="33" y="36"/>
                    </a:cubicBezTo>
                    <a:cubicBezTo>
                      <a:pt x="34" y="32"/>
                      <a:pt x="36" y="32"/>
                      <a:pt x="39" y="33"/>
                    </a:cubicBezTo>
                    <a:cubicBezTo>
                      <a:pt x="41" y="29"/>
                      <a:pt x="38" y="27"/>
                      <a:pt x="39" y="23"/>
                    </a:cubicBezTo>
                    <a:cubicBezTo>
                      <a:pt x="39" y="14"/>
                      <a:pt x="53" y="6"/>
                      <a:pt x="36" y="0"/>
                    </a:cubicBezTo>
                    <a:cubicBezTo>
                      <a:pt x="36" y="0"/>
                      <a:pt x="36" y="0"/>
                      <a:pt x="36" y="0"/>
                    </a:cubicBezTo>
                    <a:cubicBezTo>
                      <a:pt x="35" y="3"/>
                      <a:pt x="36" y="5"/>
                      <a:pt x="36" y="8"/>
                    </a:cubicBezTo>
                    <a:cubicBezTo>
                      <a:pt x="34" y="14"/>
                      <a:pt x="32" y="19"/>
                      <a:pt x="30" y="24"/>
                    </a:cubicBezTo>
                    <a:cubicBezTo>
                      <a:pt x="22" y="26"/>
                      <a:pt x="9" y="26"/>
                      <a:pt x="1" y="29"/>
                    </a:cubicBezTo>
                    <a:cubicBezTo>
                      <a:pt x="1" y="30"/>
                      <a:pt x="1" y="30"/>
                      <a:pt x="0" y="31"/>
                    </a:cubicBezTo>
                    <a:cubicBezTo>
                      <a:pt x="1" y="35"/>
                      <a:pt x="12" y="39"/>
                      <a:pt x="18" y="39"/>
                    </a:cubicBezTo>
                    <a:cubicBezTo>
                      <a:pt x="20" y="38"/>
                      <a:pt x="22" y="37"/>
                      <a:pt x="25" y="36"/>
                    </a:cubicBezTo>
                    <a:cubicBezTo>
                      <a:pt x="25" y="36"/>
                      <a:pt x="25" y="36"/>
                      <a:pt x="25" y="36"/>
                    </a:cubicBezTo>
                    <a:cubicBezTo>
                      <a:pt x="21" y="52"/>
                      <a:pt x="9" y="50"/>
                      <a:pt x="3" y="62"/>
                    </a:cubicBezTo>
                    <a:cubicBezTo>
                      <a:pt x="4" y="63"/>
                      <a:pt x="4" y="65"/>
                      <a:pt x="5" y="67"/>
                    </a:cubicBezTo>
                    <a:cubicBezTo>
                      <a:pt x="7" y="67"/>
                      <a:pt x="10" y="67"/>
                      <a:pt x="12" y="66"/>
                    </a:cubicBezTo>
                    <a:cubicBezTo>
                      <a:pt x="17" y="68"/>
                      <a:pt x="17" y="72"/>
                      <a:pt x="22" y="74"/>
                    </a:cubicBezTo>
                    <a:cubicBezTo>
                      <a:pt x="25" y="71"/>
                      <a:pt x="24" y="66"/>
                      <a:pt x="25" y="61"/>
                    </a:cubicBezTo>
                    <a:cubicBezTo>
                      <a:pt x="25" y="56"/>
                      <a:pt x="28" y="52"/>
                      <a:pt x="30" y="49"/>
                    </a:cubicBezTo>
                    <a:cubicBezTo>
                      <a:pt x="40" y="53"/>
                      <a:pt x="42" y="58"/>
                      <a:pt x="48" y="63"/>
                    </a:cubicBezTo>
                    <a:cubicBezTo>
                      <a:pt x="44" y="74"/>
                      <a:pt x="29" y="63"/>
                      <a:pt x="24" y="71"/>
                    </a:cubicBezTo>
                    <a:cubicBezTo>
                      <a:pt x="39" y="78"/>
                      <a:pt x="36" y="74"/>
                      <a:pt x="48" y="71"/>
                    </a:cubicBezTo>
                    <a:cubicBezTo>
                      <a:pt x="49" y="70"/>
                      <a:pt x="50" y="70"/>
                      <a:pt x="51" y="69"/>
                    </a:cubicBezTo>
                    <a:cubicBezTo>
                      <a:pt x="58" y="79"/>
                      <a:pt x="58" y="87"/>
                      <a:pt x="77" y="87"/>
                    </a:cubicBezTo>
                    <a:cubicBezTo>
                      <a:pt x="77" y="87"/>
                      <a:pt x="78" y="86"/>
                      <a:pt x="78" y="86"/>
                    </a:cubicBezTo>
                    <a:cubicBezTo>
                      <a:pt x="74" y="76"/>
                      <a:pt x="60" y="73"/>
                      <a:pt x="55" y="64"/>
                    </a:cubicBezTo>
                    <a:close/>
                    <a:moveTo>
                      <a:pt x="15" y="64"/>
                    </a:moveTo>
                    <a:cubicBezTo>
                      <a:pt x="15" y="65"/>
                      <a:pt x="15" y="65"/>
                      <a:pt x="15" y="65"/>
                    </a:cubicBezTo>
                    <a:cubicBezTo>
                      <a:pt x="14" y="64"/>
                      <a:pt x="13" y="64"/>
                      <a:pt x="11" y="63"/>
                    </a:cubicBezTo>
                    <a:cubicBezTo>
                      <a:pt x="11" y="62"/>
                      <a:pt x="12" y="61"/>
                      <a:pt x="12" y="60"/>
                    </a:cubicBezTo>
                    <a:cubicBezTo>
                      <a:pt x="13" y="59"/>
                      <a:pt x="14" y="58"/>
                      <a:pt x="15" y="57"/>
                    </a:cubicBezTo>
                    <a:cubicBezTo>
                      <a:pt x="16" y="57"/>
                      <a:pt x="16" y="58"/>
                      <a:pt x="17" y="58"/>
                    </a:cubicBezTo>
                    <a:cubicBezTo>
                      <a:pt x="16" y="60"/>
                      <a:pt x="16" y="62"/>
                      <a:pt x="15" y="64"/>
                    </a:cubicBezTo>
                    <a:close/>
                    <a:moveTo>
                      <a:pt x="32" y="46"/>
                    </a:moveTo>
                    <a:cubicBezTo>
                      <a:pt x="35" y="43"/>
                      <a:pt x="44" y="37"/>
                      <a:pt x="44" y="34"/>
                    </a:cubicBezTo>
                    <a:cubicBezTo>
                      <a:pt x="47" y="34"/>
                      <a:pt x="49" y="35"/>
                      <a:pt x="52" y="35"/>
                    </a:cubicBezTo>
                    <a:cubicBezTo>
                      <a:pt x="50" y="40"/>
                      <a:pt x="45" y="44"/>
                      <a:pt x="46" y="50"/>
                    </a:cubicBezTo>
                    <a:cubicBezTo>
                      <a:pt x="46" y="51"/>
                      <a:pt x="47" y="51"/>
                      <a:pt x="48" y="52"/>
                    </a:cubicBezTo>
                    <a:cubicBezTo>
                      <a:pt x="50" y="51"/>
                      <a:pt x="53" y="49"/>
                      <a:pt x="56" y="50"/>
                    </a:cubicBezTo>
                    <a:cubicBezTo>
                      <a:pt x="55" y="54"/>
                      <a:pt x="53" y="57"/>
                      <a:pt x="52" y="61"/>
                    </a:cubicBezTo>
                    <a:cubicBezTo>
                      <a:pt x="45" y="56"/>
                      <a:pt x="44" y="49"/>
                      <a:pt x="32" y="4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16" name="ï$ľíḍe"/>
              <p:cNvSpPr/>
              <p:nvPr/>
            </p:nvSpPr>
            <p:spPr bwMode="auto">
              <a:xfrm>
                <a:off x="2255734" y="4491628"/>
                <a:ext cx="136525" cy="174625"/>
              </a:xfrm>
              <a:custGeom>
                <a:avLst/>
                <a:gdLst>
                  <a:gd name="T0" fmla="*/ 74 w 74"/>
                  <a:gd name="T1" fmla="*/ 41 h 94"/>
                  <a:gd name="T2" fmla="*/ 64 w 74"/>
                  <a:gd name="T3" fmla="*/ 35 h 94"/>
                  <a:gd name="T4" fmla="*/ 51 w 74"/>
                  <a:gd name="T5" fmla="*/ 5 h 94"/>
                  <a:gd name="T6" fmla="*/ 58 w 74"/>
                  <a:gd name="T7" fmla="*/ 39 h 94"/>
                  <a:gd name="T8" fmla="*/ 47 w 74"/>
                  <a:gd name="T9" fmla="*/ 47 h 94"/>
                  <a:gd name="T10" fmla="*/ 55 w 74"/>
                  <a:gd name="T11" fmla="*/ 34 h 94"/>
                  <a:gd name="T12" fmla="*/ 47 w 74"/>
                  <a:gd name="T13" fmla="*/ 29 h 94"/>
                  <a:gd name="T14" fmla="*/ 54 w 74"/>
                  <a:gd name="T15" fmla="*/ 22 h 94"/>
                  <a:gd name="T16" fmla="*/ 54 w 74"/>
                  <a:gd name="T17" fmla="*/ 20 h 94"/>
                  <a:gd name="T18" fmla="*/ 54 w 74"/>
                  <a:gd name="T19" fmla="*/ 19 h 94"/>
                  <a:gd name="T20" fmla="*/ 41 w 74"/>
                  <a:gd name="T21" fmla="*/ 19 h 94"/>
                  <a:gd name="T22" fmla="*/ 44 w 74"/>
                  <a:gd name="T23" fmla="*/ 22 h 94"/>
                  <a:gd name="T24" fmla="*/ 44 w 74"/>
                  <a:gd name="T25" fmla="*/ 32 h 94"/>
                  <a:gd name="T26" fmla="*/ 48 w 74"/>
                  <a:gd name="T27" fmla="*/ 37 h 94"/>
                  <a:gd name="T28" fmla="*/ 40 w 74"/>
                  <a:gd name="T29" fmla="*/ 58 h 94"/>
                  <a:gd name="T30" fmla="*/ 44 w 74"/>
                  <a:gd name="T31" fmla="*/ 61 h 94"/>
                  <a:gd name="T32" fmla="*/ 59 w 74"/>
                  <a:gd name="T33" fmla="*/ 46 h 94"/>
                  <a:gd name="T34" fmla="*/ 59 w 74"/>
                  <a:gd name="T35" fmla="*/ 46 h 94"/>
                  <a:gd name="T36" fmla="*/ 66 w 74"/>
                  <a:gd name="T37" fmla="*/ 93 h 94"/>
                  <a:gd name="T38" fmla="*/ 68 w 74"/>
                  <a:gd name="T39" fmla="*/ 93 h 94"/>
                  <a:gd name="T40" fmla="*/ 65 w 74"/>
                  <a:gd name="T41" fmla="*/ 42 h 94"/>
                  <a:gd name="T42" fmla="*/ 73 w 74"/>
                  <a:gd name="T43" fmla="*/ 41 h 94"/>
                  <a:gd name="T44" fmla="*/ 74 w 74"/>
                  <a:gd name="T45" fmla="*/ 41 h 94"/>
                  <a:gd name="T46" fmla="*/ 43 w 74"/>
                  <a:gd name="T47" fmla="*/ 42 h 94"/>
                  <a:gd name="T48" fmla="*/ 35 w 74"/>
                  <a:gd name="T49" fmla="*/ 48 h 94"/>
                  <a:gd name="T50" fmla="*/ 39 w 74"/>
                  <a:gd name="T51" fmla="*/ 38 h 94"/>
                  <a:gd name="T52" fmla="*/ 37 w 74"/>
                  <a:gd name="T53" fmla="*/ 29 h 94"/>
                  <a:gd name="T54" fmla="*/ 40 w 74"/>
                  <a:gd name="T55" fmla="*/ 27 h 94"/>
                  <a:gd name="T56" fmla="*/ 34 w 74"/>
                  <a:gd name="T57" fmla="*/ 16 h 94"/>
                  <a:gd name="T58" fmla="*/ 32 w 74"/>
                  <a:gd name="T59" fmla="*/ 15 h 94"/>
                  <a:gd name="T60" fmla="*/ 4 w 74"/>
                  <a:gd name="T61" fmla="*/ 46 h 94"/>
                  <a:gd name="T62" fmla="*/ 30 w 74"/>
                  <a:gd name="T63" fmla="*/ 29 h 94"/>
                  <a:gd name="T64" fmla="*/ 8 w 74"/>
                  <a:gd name="T65" fmla="*/ 52 h 94"/>
                  <a:gd name="T66" fmla="*/ 0 w 74"/>
                  <a:gd name="T67" fmla="*/ 56 h 94"/>
                  <a:gd name="T68" fmla="*/ 3 w 74"/>
                  <a:gd name="T69" fmla="*/ 61 h 94"/>
                  <a:gd name="T70" fmla="*/ 23 w 74"/>
                  <a:gd name="T71" fmla="*/ 54 h 94"/>
                  <a:gd name="T72" fmla="*/ 25 w 74"/>
                  <a:gd name="T73" fmla="*/ 53 h 94"/>
                  <a:gd name="T74" fmla="*/ 25 w 74"/>
                  <a:gd name="T75" fmla="*/ 53 h 94"/>
                  <a:gd name="T76" fmla="*/ 20 w 74"/>
                  <a:gd name="T77" fmla="*/ 72 h 94"/>
                  <a:gd name="T78" fmla="*/ 25 w 74"/>
                  <a:gd name="T79" fmla="*/ 76 h 94"/>
                  <a:gd name="T80" fmla="*/ 26 w 74"/>
                  <a:gd name="T81" fmla="*/ 76 h 94"/>
                  <a:gd name="T82" fmla="*/ 30 w 74"/>
                  <a:gd name="T83" fmla="*/ 67 h 94"/>
                  <a:gd name="T84" fmla="*/ 31 w 74"/>
                  <a:gd name="T85" fmla="*/ 66 h 94"/>
                  <a:gd name="T86" fmla="*/ 32 w 74"/>
                  <a:gd name="T87" fmla="*/ 75 h 94"/>
                  <a:gd name="T88" fmla="*/ 35 w 74"/>
                  <a:gd name="T89" fmla="*/ 76 h 94"/>
                  <a:gd name="T90" fmla="*/ 38 w 74"/>
                  <a:gd name="T91" fmla="*/ 76 h 94"/>
                  <a:gd name="T92" fmla="*/ 35 w 74"/>
                  <a:gd name="T93" fmla="*/ 61 h 94"/>
                  <a:gd name="T94" fmla="*/ 43 w 74"/>
                  <a:gd name="T95" fmla="*/ 42 h 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74" h="94">
                    <a:moveTo>
                      <a:pt x="74" y="41"/>
                    </a:moveTo>
                    <a:cubicBezTo>
                      <a:pt x="73" y="36"/>
                      <a:pt x="70" y="34"/>
                      <a:pt x="64" y="35"/>
                    </a:cubicBezTo>
                    <a:cubicBezTo>
                      <a:pt x="63" y="24"/>
                      <a:pt x="67" y="0"/>
                      <a:pt x="51" y="5"/>
                    </a:cubicBezTo>
                    <a:cubicBezTo>
                      <a:pt x="50" y="9"/>
                      <a:pt x="61" y="31"/>
                      <a:pt x="58" y="39"/>
                    </a:cubicBezTo>
                    <a:cubicBezTo>
                      <a:pt x="58" y="39"/>
                      <a:pt x="47" y="47"/>
                      <a:pt x="47" y="47"/>
                    </a:cubicBezTo>
                    <a:cubicBezTo>
                      <a:pt x="48" y="41"/>
                      <a:pt x="53" y="39"/>
                      <a:pt x="55" y="34"/>
                    </a:cubicBezTo>
                    <a:cubicBezTo>
                      <a:pt x="56" y="30"/>
                      <a:pt x="49" y="31"/>
                      <a:pt x="47" y="29"/>
                    </a:cubicBezTo>
                    <a:cubicBezTo>
                      <a:pt x="48" y="26"/>
                      <a:pt x="51" y="23"/>
                      <a:pt x="54" y="22"/>
                    </a:cubicBezTo>
                    <a:cubicBezTo>
                      <a:pt x="54" y="21"/>
                      <a:pt x="54" y="21"/>
                      <a:pt x="54" y="20"/>
                    </a:cubicBezTo>
                    <a:cubicBezTo>
                      <a:pt x="54" y="20"/>
                      <a:pt x="54" y="19"/>
                      <a:pt x="54" y="19"/>
                    </a:cubicBezTo>
                    <a:cubicBezTo>
                      <a:pt x="50" y="17"/>
                      <a:pt x="45" y="17"/>
                      <a:pt x="41" y="19"/>
                    </a:cubicBezTo>
                    <a:cubicBezTo>
                      <a:pt x="41" y="22"/>
                      <a:pt x="42" y="22"/>
                      <a:pt x="44" y="22"/>
                    </a:cubicBezTo>
                    <a:cubicBezTo>
                      <a:pt x="44" y="26"/>
                      <a:pt x="44" y="29"/>
                      <a:pt x="44" y="32"/>
                    </a:cubicBezTo>
                    <a:cubicBezTo>
                      <a:pt x="45" y="34"/>
                      <a:pt x="47" y="35"/>
                      <a:pt x="48" y="37"/>
                    </a:cubicBezTo>
                    <a:cubicBezTo>
                      <a:pt x="46" y="41"/>
                      <a:pt x="35" y="51"/>
                      <a:pt x="40" y="58"/>
                    </a:cubicBezTo>
                    <a:cubicBezTo>
                      <a:pt x="41" y="60"/>
                      <a:pt x="42" y="60"/>
                      <a:pt x="44" y="61"/>
                    </a:cubicBezTo>
                    <a:cubicBezTo>
                      <a:pt x="49" y="55"/>
                      <a:pt x="51" y="50"/>
                      <a:pt x="59" y="46"/>
                    </a:cubicBezTo>
                    <a:cubicBezTo>
                      <a:pt x="59" y="46"/>
                      <a:pt x="59" y="46"/>
                      <a:pt x="59" y="46"/>
                    </a:cubicBezTo>
                    <a:cubicBezTo>
                      <a:pt x="61" y="60"/>
                      <a:pt x="59" y="83"/>
                      <a:pt x="66" y="93"/>
                    </a:cubicBezTo>
                    <a:cubicBezTo>
                      <a:pt x="67" y="94"/>
                      <a:pt x="67" y="93"/>
                      <a:pt x="68" y="93"/>
                    </a:cubicBezTo>
                    <a:cubicBezTo>
                      <a:pt x="68" y="78"/>
                      <a:pt x="67" y="60"/>
                      <a:pt x="65" y="42"/>
                    </a:cubicBezTo>
                    <a:cubicBezTo>
                      <a:pt x="68" y="42"/>
                      <a:pt x="72" y="42"/>
                      <a:pt x="73" y="41"/>
                    </a:cubicBezTo>
                    <a:cubicBezTo>
                      <a:pt x="74" y="41"/>
                      <a:pt x="74" y="41"/>
                      <a:pt x="74" y="41"/>
                    </a:cubicBezTo>
                    <a:close/>
                    <a:moveTo>
                      <a:pt x="43" y="42"/>
                    </a:moveTo>
                    <a:cubicBezTo>
                      <a:pt x="39" y="44"/>
                      <a:pt x="38" y="46"/>
                      <a:pt x="35" y="48"/>
                    </a:cubicBezTo>
                    <a:cubicBezTo>
                      <a:pt x="35" y="42"/>
                      <a:pt x="39" y="42"/>
                      <a:pt x="39" y="38"/>
                    </a:cubicBezTo>
                    <a:cubicBezTo>
                      <a:pt x="40" y="35"/>
                      <a:pt x="37" y="33"/>
                      <a:pt x="37" y="29"/>
                    </a:cubicBezTo>
                    <a:cubicBezTo>
                      <a:pt x="38" y="28"/>
                      <a:pt x="39" y="28"/>
                      <a:pt x="40" y="27"/>
                    </a:cubicBezTo>
                    <a:cubicBezTo>
                      <a:pt x="41" y="24"/>
                      <a:pt x="36" y="16"/>
                      <a:pt x="34" y="16"/>
                    </a:cubicBezTo>
                    <a:cubicBezTo>
                      <a:pt x="33" y="16"/>
                      <a:pt x="32" y="15"/>
                      <a:pt x="32" y="15"/>
                    </a:cubicBezTo>
                    <a:cubicBezTo>
                      <a:pt x="22" y="28"/>
                      <a:pt x="10" y="30"/>
                      <a:pt x="4" y="46"/>
                    </a:cubicBezTo>
                    <a:cubicBezTo>
                      <a:pt x="13" y="41"/>
                      <a:pt x="17" y="31"/>
                      <a:pt x="30" y="29"/>
                    </a:cubicBezTo>
                    <a:cubicBezTo>
                      <a:pt x="29" y="39"/>
                      <a:pt x="16" y="48"/>
                      <a:pt x="8" y="52"/>
                    </a:cubicBezTo>
                    <a:cubicBezTo>
                      <a:pt x="4" y="54"/>
                      <a:pt x="2" y="52"/>
                      <a:pt x="0" y="56"/>
                    </a:cubicBezTo>
                    <a:cubicBezTo>
                      <a:pt x="0" y="59"/>
                      <a:pt x="1" y="60"/>
                      <a:pt x="3" y="61"/>
                    </a:cubicBezTo>
                    <a:cubicBezTo>
                      <a:pt x="10" y="63"/>
                      <a:pt x="22" y="58"/>
                      <a:pt x="23" y="54"/>
                    </a:cubicBezTo>
                    <a:cubicBezTo>
                      <a:pt x="24" y="54"/>
                      <a:pt x="24" y="53"/>
                      <a:pt x="25" y="53"/>
                    </a:cubicBezTo>
                    <a:cubicBezTo>
                      <a:pt x="25" y="53"/>
                      <a:pt x="25" y="53"/>
                      <a:pt x="25" y="53"/>
                    </a:cubicBezTo>
                    <a:cubicBezTo>
                      <a:pt x="23" y="59"/>
                      <a:pt x="22" y="66"/>
                      <a:pt x="20" y="72"/>
                    </a:cubicBezTo>
                    <a:cubicBezTo>
                      <a:pt x="21" y="74"/>
                      <a:pt x="23" y="75"/>
                      <a:pt x="25" y="76"/>
                    </a:cubicBezTo>
                    <a:cubicBezTo>
                      <a:pt x="25" y="76"/>
                      <a:pt x="26" y="76"/>
                      <a:pt x="26" y="76"/>
                    </a:cubicBezTo>
                    <a:cubicBezTo>
                      <a:pt x="28" y="73"/>
                      <a:pt x="29" y="70"/>
                      <a:pt x="30" y="67"/>
                    </a:cubicBezTo>
                    <a:cubicBezTo>
                      <a:pt x="31" y="67"/>
                      <a:pt x="31" y="67"/>
                      <a:pt x="31" y="66"/>
                    </a:cubicBezTo>
                    <a:cubicBezTo>
                      <a:pt x="32" y="69"/>
                      <a:pt x="32" y="72"/>
                      <a:pt x="32" y="75"/>
                    </a:cubicBezTo>
                    <a:cubicBezTo>
                      <a:pt x="33" y="75"/>
                      <a:pt x="34" y="76"/>
                      <a:pt x="35" y="76"/>
                    </a:cubicBezTo>
                    <a:cubicBezTo>
                      <a:pt x="36" y="76"/>
                      <a:pt x="37" y="76"/>
                      <a:pt x="38" y="76"/>
                    </a:cubicBezTo>
                    <a:cubicBezTo>
                      <a:pt x="37" y="71"/>
                      <a:pt x="36" y="66"/>
                      <a:pt x="35" y="61"/>
                    </a:cubicBezTo>
                    <a:cubicBezTo>
                      <a:pt x="38" y="54"/>
                      <a:pt x="40" y="48"/>
                      <a:pt x="43" y="4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17" name="î$ḻîḑe"/>
              <p:cNvSpPr/>
              <p:nvPr/>
            </p:nvSpPr>
            <p:spPr bwMode="auto">
              <a:xfrm>
                <a:off x="2055709" y="4566240"/>
                <a:ext cx="136525" cy="150813"/>
              </a:xfrm>
              <a:custGeom>
                <a:avLst/>
                <a:gdLst>
                  <a:gd name="T0" fmla="*/ 55 w 74"/>
                  <a:gd name="T1" fmla="*/ 53 h 82"/>
                  <a:gd name="T2" fmla="*/ 54 w 74"/>
                  <a:gd name="T3" fmla="*/ 51 h 82"/>
                  <a:gd name="T4" fmla="*/ 57 w 74"/>
                  <a:gd name="T5" fmla="*/ 49 h 82"/>
                  <a:gd name="T6" fmla="*/ 56 w 74"/>
                  <a:gd name="T7" fmla="*/ 45 h 82"/>
                  <a:gd name="T8" fmla="*/ 52 w 74"/>
                  <a:gd name="T9" fmla="*/ 45 h 82"/>
                  <a:gd name="T10" fmla="*/ 51 w 74"/>
                  <a:gd name="T11" fmla="*/ 44 h 82"/>
                  <a:gd name="T12" fmla="*/ 60 w 74"/>
                  <a:gd name="T13" fmla="*/ 32 h 82"/>
                  <a:gd name="T14" fmla="*/ 60 w 74"/>
                  <a:gd name="T15" fmla="*/ 30 h 82"/>
                  <a:gd name="T16" fmla="*/ 34 w 74"/>
                  <a:gd name="T17" fmla="*/ 38 h 82"/>
                  <a:gd name="T18" fmla="*/ 33 w 74"/>
                  <a:gd name="T19" fmla="*/ 38 h 82"/>
                  <a:gd name="T20" fmla="*/ 60 w 74"/>
                  <a:gd name="T21" fmla="*/ 16 h 82"/>
                  <a:gd name="T22" fmla="*/ 61 w 74"/>
                  <a:gd name="T23" fmla="*/ 10 h 82"/>
                  <a:gd name="T24" fmla="*/ 42 w 74"/>
                  <a:gd name="T25" fmla="*/ 11 h 82"/>
                  <a:gd name="T26" fmla="*/ 27 w 74"/>
                  <a:gd name="T27" fmla="*/ 0 h 82"/>
                  <a:gd name="T28" fmla="*/ 24 w 74"/>
                  <a:gd name="T29" fmla="*/ 0 h 82"/>
                  <a:gd name="T30" fmla="*/ 29 w 74"/>
                  <a:gd name="T31" fmla="*/ 21 h 82"/>
                  <a:gd name="T32" fmla="*/ 11 w 74"/>
                  <a:gd name="T33" fmla="*/ 39 h 82"/>
                  <a:gd name="T34" fmla="*/ 1 w 74"/>
                  <a:gd name="T35" fmla="*/ 44 h 82"/>
                  <a:gd name="T36" fmla="*/ 0 w 74"/>
                  <a:gd name="T37" fmla="*/ 47 h 82"/>
                  <a:gd name="T38" fmla="*/ 35 w 74"/>
                  <a:gd name="T39" fmla="*/ 26 h 82"/>
                  <a:gd name="T40" fmla="*/ 35 w 74"/>
                  <a:gd name="T41" fmla="*/ 26 h 82"/>
                  <a:gd name="T42" fmla="*/ 30 w 74"/>
                  <a:gd name="T43" fmla="*/ 48 h 82"/>
                  <a:gd name="T44" fmla="*/ 40 w 74"/>
                  <a:gd name="T45" fmla="*/ 57 h 82"/>
                  <a:gd name="T46" fmla="*/ 35 w 74"/>
                  <a:gd name="T47" fmla="*/ 78 h 82"/>
                  <a:gd name="T48" fmla="*/ 45 w 74"/>
                  <a:gd name="T49" fmla="*/ 82 h 82"/>
                  <a:gd name="T50" fmla="*/ 47 w 74"/>
                  <a:gd name="T51" fmla="*/ 80 h 82"/>
                  <a:gd name="T52" fmla="*/ 46 w 74"/>
                  <a:gd name="T53" fmla="*/ 67 h 82"/>
                  <a:gd name="T54" fmla="*/ 47 w 74"/>
                  <a:gd name="T55" fmla="*/ 66 h 82"/>
                  <a:gd name="T56" fmla="*/ 50 w 74"/>
                  <a:gd name="T57" fmla="*/ 73 h 82"/>
                  <a:gd name="T58" fmla="*/ 58 w 74"/>
                  <a:gd name="T59" fmla="*/ 79 h 82"/>
                  <a:gd name="T60" fmla="*/ 59 w 74"/>
                  <a:gd name="T61" fmla="*/ 79 h 82"/>
                  <a:gd name="T62" fmla="*/ 53 w 74"/>
                  <a:gd name="T63" fmla="*/ 57 h 82"/>
                  <a:gd name="T64" fmla="*/ 56 w 74"/>
                  <a:gd name="T65" fmla="*/ 55 h 82"/>
                  <a:gd name="T66" fmla="*/ 56 w 74"/>
                  <a:gd name="T67" fmla="*/ 55 h 82"/>
                  <a:gd name="T68" fmla="*/ 69 w 74"/>
                  <a:gd name="T69" fmla="*/ 69 h 82"/>
                  <a:gd name="T70" fmla="*/ 74 w 74"/>
                  <a:gd name="T71" fmla="*/ 64 h 82"/>
                  <a:gd name="T72" fmla="*/ 55 w 74"/>
                  <a:gd name="T73" fmla="*/ 53 h 82"/>
                  <a:gd name="T74" fmla="*/ 40 w 74"/>
                  <a:gd name="T75" fmla="*/ 46 h 82"/>
                  <a:gd name="T76" fmla="*/ 39 w 74"/>
                  <a:gd name="T77" fmla="*/ 46 h 82"/>
                  <a:gd name="T78" fmla="*/ 38 w 74"/>
                  <a:gd name="T79" fmla="*/ 46 h 82"/>
                  <a:gd name="T80" fmla="*/ 37 w 74"/>
                  <a:gd name="T81" fmla="*/ 44 h 82"/>
                  <a:gd name="T82" fmla="*/ 44 w 74"/>
                  <a:gd name="T83" fmla="*/ 36 h 82"/>
                  <a:gd name="T84" fmla="*/ 46 w 74"/>
                  <a:gd name="T85" fmla="*/ 35 h 82"/>
                  <a:gd name="T86" fmla="*/ 46 w 74"/>
                  <a:gd name="T87" fmla="*/ 35 h 82"/>
                  <a:gd name="T88" fmla="*/ 40 w 74"/>
                  <a:gd name="T89" fmla="*/ 46 h 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74" h="82">
                    <a:moveTo>
                      <a:pt x="55" y="53"/>
                    </a:moveTo>
                    <a:cubicBezTo>
                      <a:pt x="55" y="53"/>
                      <a:pt x="54" y="52"/>
                      <a:pt x="54" y="51"/>
                    </a:cubicBezTo>
                    <a:cubicBezTo>
                      <a:pt x="55" y="51"/>
                      <a:pt x="56" y="50"/>
                      <a:pt x="57" y="49"/>
                    </a:cubicBezTo>
                    <a:cubicBezTo>
                      <a:pt x="57" y="48"/>
                      <a:pt x="56" y="47"/>
                      <a:pt x="56" y="45"/>
                    </a:cubicBezTo>
                    <a:cubicBezTo>
                      <a:pt x="54" y="45"/>
                      <a:pt x="53" y="45"/>
                      <a:pt x="52" y="45"/>
                    </a:cubicBezTo>
                    <a:cubicBezTo>
                      <a:pt x="51" y="45"/>
                      <a:pt x="51" y="44"/>
                      <a:pt x="51" y="44"/>
                    </a:cubicBezTo>
                    <a:cubicBezTo>
                      <a:pt x="53" y="40"/>
                      <a:pt x="59" y="36"/>
                      <a:pt x="60" y="32"/>
                    </a:cubicBezTo>
                    <a:cubicBezTo>
                      <a:pt x="60" y="31"/>
                      <a:pt x="60" y="31"/>
                      <a:pt x="60" y="30"/>
                    </a:cubicBezTo>
                    <a:cubicBezTo>
                      <a:pt x="50" y="21"/>
                      <a:pt x="41" y="31"/>
                      <a:pt x="34" y="38"/>
                    </a:cubicBezTo>
                    <a:cubicBezTo>
                      <a:pt x="33" y="38"/>
                      <a:pt x="33" y="38"/>
                      <a:pt x="33" y="38"/>
                    </a:cubicBezTo>
                    <a:cubicBezTo>
                      <a:pt x="34" y="30"/>
                      <a:pt x="48" y="16"/>
                      <a:pt x="60" y="16"/>
                    </a:cubicBezTo>
                    <a:cubicBezTo>
                      <a:pt x="61" y="14"/>
                      <a:pt x="61" y="12"/>
                      <a:pt x="61" y="10"/>
                    </a:cubicBezTo>
                    <a:cubicBezTo>
                      <a:pt x="50" y="3"/>
                      <a:pt x="52" y="11"/>
                      <a:pt x="42" y="11"/>
                    </a:cubicBezTo>
                    <a:cubicBezTo>
                      <a:pt x="38" y="10"/>
                      <a:pt x="32" y="1"/>
                      <a:pt x="27" y="0"/>
                    </a:cubicBezTo>
                    <a:cubicBezTo>
                      <a:pt x="26" y="0"/>
                      <a:pt x="25" y="0"/>
                      <a:pt x="24" y="0"/>
                    </a:cubicBezTo>
                    <a:cubicBezTo>
                      <a:pt x="21" y="5"/>
                      <a:pt x="30" y="14"/>
                      <a:pt x="29" y="21"/>
                    </a:cubicBezTo>
                    <a:cubicBezTo>
                      <a:pt x="19" y="27"/>
                      <a:pt x="17" y="33"/>
                      <a:pt x="11" y="39"/>
                    </a:cubicBezTo>
                    <a:cubicBezTo>
                      <a:pt x="8" y="42"/>
                      <a:pt x="4" y="42"/>
                      <a:pt x="1" y="44"/>
                    </a:cubicBezTo>
                    <a:cubicBezTo>
                      <a:pt x="1" y="45"/>
                      <a:pt x="0" y="46"/>
                      <a:pt x="0" y="47"/>
                    </a:cubicBezTo>
                    <a:cubicBezTo>
                      <a:pt x="11" y="69"/>
                      <a:pt x="23" y="30"/>
                      <a:pt x="35" y="26"/>
                    </a:cubicBezTo>
                    <a:cubicBezTo>
                      <a:pt x="35" y="26"/>
                      <a:pt x="35" y="26"/>
                      <a:pt x="35" y="26"/>
                    </a:cubicBezTo>
                    <a:cubicBezTo>
                      <a:pt x="33" y="33"/>
                      <a:pt x="28" y="39"/>
                      <a:pt x="30" y="48"/>
                    </a:cubicBezTo>
                    <a:cubicBezTo>
                      <a:pt x="30" y="51"/>
                      <a:pt x="37" y="56"/>
                      <a:pt x="40" y="57"/>
                    </a:cubicBezTo>
                    <a:cubicBezTo>
                      <a:pt x="37" y="64"/>
                      <a:pt x="32" y="69"/>
                      <a:pt x="35" y="78"/>
                    </a:cubicBezTo>
                    <a:cubicBezTo>
                      <a:pt x="39" y="79"/>
                      <a:pt x="42" y="80"/>
                      <a:pt x="45" y="82"/>
                    </a:cubicBezTo>
                    <a:cubicBezTo>
                      <a:pt x="46" y="81"/>
                      <a:pt x="46" y="81"/>
                      <a:pt x="47" y="80"/>
                    </a:cubicBezTo>
                    <a:cubicBezTo>
                      <a:pt x="49" y="77"/>
                      <a:pt x="45" y="70"/>
                      <a:pt x="46" y="67"/>
                    </a:cubicBezTo>
                    <a:cubicBezTo>
                      <a:pt x="46" y="66"/>
                      <a:pt x="46" y="66"/>
                      <a:pt x="47" y="66"/>
                    </a:cubicBezTo>
                    <a:cubicBezTo>
                      <a:pt x="48" y="67"/>
                      <a:pt x="49" y="71"/>
                      <a:pt x="50" y="73"/>
                    </a:cubicBezTo>
                    <a:cubicBezTo>
                      <a:pt x="52" y="76"/>
                      <a:pt x="55" y="77"/>
                      <a:pt x="58" y="79"/>
                    </a:cubicBezTo>
                    <a:cubicBezTo>
                      <a:pt x="58" y="79"/>
                      <a:pt x="58" y="79"/>
                      <a:pt x="59" y="79"/>
                    </a:cubicBezTo>
                    <a:cubicBezTo>
                      <a:pt x="60" y="72"/>
                      <a:pt x="53" y="64"/>
                      <a:pt x="53" y="57"/>
                    </a:cubicBezTo>
                    <a:cubicBezTo>
                      <a:pt x="54" y="56"/>
                      <a:pt x="55" y="56"/>
                      <a:pt x="56" y="55"/>
                    </a:cubicBezTo>
                    <a:cubicBezTo>
                      <a:pt x="56" y="55"/>
                      <a:pt x="56" y="55"/>
                      <a:pt x="56" y="55"/>
                    </a:cubicBezTo>
                    <a:cubicBezTo>
                      <a:pt x="63" y="60"/>
                      <a:pt x="59" y="67"/>
                      <a:pt x="69" y="69"/>
                    </a:cubicBezTo>
                    <a:cubicBezTo>
                      <a:pt x="71" y="67"/>
                      <a:pt x="72" y="66"/>
                      <a:pt x="74" y="64"/>
                    </a:cubicBezTo>
                    <a:cubicBezTo>
                      <a:pt x="71" y="56"/>
                      <a:pt x="63" y="51"/>
                      <a:pt x="55" y="53"/>
                    </a:cubicBezTo>
                    <a:close/>
                    <a:moveTo>
                      <a:pt x="40" y="46"/>
                    </a:moveTo>
                    <a:cubicBezTo>
                      <a:pt x="40" y="46"/>
                      <a:pt x="39" y="46"/>
                      <a:pt x="39" y="46"/>
                    </a:cubicBezTo>
                    <a:cubicBezTo>
                      <a:pt x="38" y="46"/>
                      <a:pt x="38" y="46"/>
                      <a:pt x="38" y="46"/>
                    </a:cubicBezTo>
                    <a:cubicBezTo>
                      <a:pt x="38" y="45"/>
                      <a:pt x="37" y="45"/>
                      <a:pt x="37" y="44"/>
                    </a:cubicBezTo>
                    <a:cubicBezTo>
                      <a:pt x="39" y="41"/>
                      <a:pt x="42" y="39"/>
                      <a:pt x="44" y="36"/>
                    </a:cubicBezTo>
                    <a:cubicBezTo>
                      <a:pt x="45" y="36"/>
                      <a:pt x="45" y="35"/>
                      <a:pt x="46" y="35"/>
                    </a:cubicBezTo>
                    <a:cubicBezTo>
                      <a:pt x="46" y="35"/>
                      <a:pt x="46" y="35"/>
                      <a:pt x="46" y="35"/>
                    </a:cubicBezTo>
                    <a:cubicBezTo>
                      <a:pt x="44" y="39"/>
                      <a:pt x="42" y="42"/>
                      <a:pt x="40" y="4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18" name="ïşḻíḍe"/>
              <p:cNvSpPr/>
              <p:nvPr/>
            </p:nvSpPr>
            <p:spPr bwMode="auto">
              <a:xfrm>
                <a:off x="1882672" y="4669428"/>
                <a:ext cx="160338" cy="169863"/>
              </a:xfrm>
              <a:custGeom>
                <a:avLst/>
                <a:gdLst>
                  <a:gd name="T0" fmla="*/ 29 w 87"/>
                  <a:gd name="T1" fmla="*/ 8 h 92"/>
                  <a:gd name="T2" fmla="*/ 52 w 87"/>
                  <a:gd name="T3" fmla="*/ 17 h 92"/>
                  <a:gd name="T4" fmla="*/ 61 w 87"/>
                  <a:gd name="T5" fmla="*/ 16 h 92"/>
                  <a:gd name="T6" fmla="*/ 62 w 87"/>
                  <a:gd name="T7" fmla="*/ 17 h 92"/>
                  <a:gd name="T8" fmla="*/ 69 w 87"/>
                  <a:gd name="T9" fmla="*/ 42 h 92"/>
                  <a:gd name="T10" fmla="*/ 86 w 87"/>
                  <a:gd name="T11" fmla="*/ 35 h 92"/>
                  <a:gd name="T12" fmla="*/ 87 w 87"/>
                  <a:gd name="T13" fmla="*/ 39 h 92"/>
                  <a:gd name="T14" fmla="*/ 76 w 87"/>
                  <a:gd name="T15" fmla="*/ 55 h 92"/>
                  <a:gd name="T16" fmla="*/ 67 w 87"/>
                  <a:gd name="T17" fmla="*/ 76 h 92"/>
                  <a:gd name="T18" fmla="*/ 65 w 87"/>
                  <a:gd name="T19" fmla="*/ 74 h 92"/>
                  <a:gd name="T20" fmla="*/ 69 w 87"/>
                  <a:gd name="T21" fmla="*/ 53 h 92"/>
                  <a:gd name="T22" fmla="*/ 55 w 87"/>
                  <a:gd name="T23" fmla="*/ 40 h 92"/>
                  <a:gd name="T24" fmla="*/ 45 w 87"/>
                  <a:gd name="T25" fmla="*/ 44 h 92"/>
                  <a:gd name="T26" fmla="*/ 46 w 87"/>
                  <a:gd name="T27" fmla="*/ 89 h 92"/>
                  <a:gd name="T28" fmla="*/ 38 w 87"/>
                  <a:gd name="T29" fmla="*/ 92 h 92"/>
                  <a:gd name="T30" fmla="*/ 27 w 87"/>
                  <a:gd name="T31" fmla="*/ 68 h 92"/>
                  <a:gd name="T32" fmla="*/ 14 w 87"/>
                  <a:gd name="T33" fmla="*/ 70 h 92"/>
                  <a:gd name="T34" fmla="*/ 12 w 87"/>
                  <a:gd name="T35" fmla="*/ 65 h 92"/>
                  <a:gd name="T36" fmla="*/ 18 w 87"/>
                  <a:gd name="T37" fmla="*/ 58 h 92"/>
                  <a:gd name="T38" fmla="*/ 0 w 87"/>
                  <a:gd name="T39" fmla="*/ 42 h 92"/>
                  <a:gd name="T40" fmla="*/ 0 w 87"/>
                  <a:gd name="T41" fmla="*/ 42 h 92"/>
                  <a:gd name="T42" fmla="*/ 21 w 87"/>
                  <a:gd name="T43" fmla="*/ 39 h 92"/>
                  <a:gd name="T44" fmla="*/ 27 w 87"/>
                  <a:gd name="T45" fmla="*/ 48 h 92"/>
                  <a:gd name="T46" fmla="*/ 34 w 87"/>
                  <a:gd name="T47" fmla="*/ 52 h 92"/>
                  <a:gd name="T48" fmla="*/ 36 w 87"/>
                  <a:gd name="T49" fmla="*/ 62 h 92"/>
                  <a:gd name="T50" fmla="*/ 39 w 87"/>
                  <a:gd name="T51" fmla="*/ 44 h 92"/>
                  <a:gd name="T52" fmla="*/ 46 w 87"/>
                  <a:gd name="T53" fmla="*/ 28 h 92"/>
                  <a:gd name="T54" fmla="*/ 29 w 87"/>
                  <a:gd name="T55" fmla="*/ 8 h 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87" h="92">
                    <a:moveTo>
                      <a:pt x="29" y="8"/>
                    </a:moveTo>
                    <a:cubicBezTo>
                      <a:pt x="42" y="0"/>
                      <a:pt x="43" y="12"/>
                      <a:pt x="52" y="17"/>
                    </a:cubicBezTo>
                    <a:cubicBezTo>
                      <a:pt x="55" y="15"/>
                      <a:pt x="58" y="15"/>
                      <a:pt x="61" y="16"/>
                    </a:cubicBezTo>
                    <a:cubicBezTo>
                      <a:pt x="61" y="16"/>
                      <a:pt x="62" y="17"/>
                      <a:pt x="62" y="17"/>
                    </a:cubicBezTo>
                    <a:cubicBezTo>
                      <a:pt x="62" y="26"/>
                      <a:pt x="58" y="33"/>
                      <a:pt x="69" y="42"/>
                    </a:cubicBezTo>
                    <a:cubicBezTo>
                      <a:pt x="75" y="35"/>
                      <a:pt x="80" y="33"/>
                      <a:pt x="86" y="35"/>
                    </a:cubicBezTo>
                    <a:cubicBezTo>
                      <a:pt x="87" y="36"/>
                      <a:pt x="87" y="38"/>
                      <a:pt x="87" y="39"/>
                    </a:cubicBezTo>
                    <a:cubicBezTo>
                      <a:pt x="83" y="45"/>
                      <a:pt x="80" y="50"/>
                      <a:pt x="76" y="55"/>
                    </a:cubicBezTo>
                    <a:cubicBezTo>
                      <a:pt x="71" y="62"/>
                      <a:pt x="71" y="70"/>
                      <a:pt x="67" y="76"/>
                    </a:cubicBezTo>
                    <a:cubicBezTo>
                      <a:pt x="66" y="75"/>
                      <a:pt x="66" y="75"/>
                      <a:pt x="65" y="74"/>
                    </a:cubicBezTo>
                    <a:cubicBezTo>
                      <a:pt x="63" y="66"/>
                      <a:pt x="67" y="60"/>
                      <a:pt x="69" y="53"/>
                    </a:cubicBezTo>
                    <a:cubicBezTo>
                      <a:pt x="64" y="51"/>
                      <a:pt x="60" y="46"/>
                      <a:pt x="55" y="40"/>
                    </a:cubicBezTo>
                    <a:cubicBezTo>
                      <a:pt x="52" y="42"/>
                      <a:pt x="49" y="41"/>
                      <a:pt x="45" y="44"/>
                    </a:cubicBezTo>
                    <a:cubicBezTo>
                      <a:pt x="40" y="59"/>
                      <a:pt x="48" y="75"/>
                      <a:pt x="46" y="89"/>
                    </a:cubicBezTo>
                    <a:cubicBezTo>
                      <a:pt x="43" y="92"/>
                      <a:pt x="41" y="91"/>
                      <a:pt x="38" y="92"/>
                    </a:cubicBezTo>
                    <a:cubicBezTo>
                      <a:pt x="31" y="83"/>
                      <a:pt x="33" y="76"/>
                      <a:pt x="27" y="68"/>
                    </a:cubicBezTo>
                    <a:cubicBezTo>
                      <a:pt x="23" y="71"/>
                      <a:pt x="18" y="71"/>
                      <a:pt x="14" y="70"/>
                    </a:cubicBezTo>
                    <a:cubicBezTo>
                      <a:pt x="12" y="68"/>
                      <a:pt x="12" y="67"/>
                      <a:pt x="12" y="65"/>
                    </a:cubicBezTo>
                    <a:cubicBezTo>
                      <a:pt x="14" y="63"/>
                      <a:pt x="16" y="60"/>
                      <a:pt x="18" y="58"/>
                    </a:cubicBezTo>
                    <a:cubicBezTo>
                      <a:pt x="13" y="49"/>
                      <a:pt x="3" y="48"/>
                      <a:pt x="0" y="42"/>
                    </a:cubicBezTo>
                    <a:cubicBezTo>
                      <a:pt x="0" y="42"/>
                      <a:pt x="0" y="42"/>
                      <a:pt x="0" y="42"/>
                    </a:cubicBezTo>
                    <a:cubicBezTo>
                      <a:pt x="6" y="39"/>
                      <a:pt x="15" y="35"/>
                      <a:pt x="21" y="39"/>
                    </a:cubicBezTo>
                    <a:cubicBezTo>
                      <a:pt x="23" y="42"/>
                      <a:pt x="25" y="45"/>
                      <a:pt x="27" y="48"/>
                    </a:cubicBezTo>
                    <a:cubicBezTo>
                      <a:pt x="29" y="50"/>
                      <a:pt x="31" y="51"/>
                      <a:pt x="34" y="52"/>
                    </a:cubicBezTo>
                    <a:cubicBezTo>
                      <a:pt x="34" y="55"/>
                      <a:pt x="35" y="58"/>
                      <a:pt x="36" y="62"/>
                    </a:cubicBezTo>
                    <a:cubicBezTo>
                      <a:pt x="39" y="56"/>
                      <a:pt x="38" y="50"/>
                      <a:pt x="39" y="44"/>
                    </a:cubicBezTo>
                    <a:cubicBezTo>
                      <a:pt x="42" y="39"/>
                      <a:pt x="44" y="34"/>
                      <a:pt x="46" y="28"/>
                    </a:cubicBezTo>
                    <a:cubicBezTo>
                      <a:pt x="42" y="22"/>
                      <a:pt x="31" y="15"/>
                      <a:pt x="29" y="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19" name="íṩľíḑè"/>
              <p:cNvSpPr/>
              <p:nvPr/>
            </p:nvSpPr>
            <p:spPr bwMode="auto">
              <a:xfrm>
                <a:off x="2243034" y="6066428"/>
                <a:ext cx="22225" cy="25400"/>
              </a:xfrm>
              <a:custGeom>
                <a:avLst/>
                <a:gdLst>
                  <a:gd name="T0" fmla="*/ 0 w 14"/>
                  <a:gd name="T1" fmla="*/ 12 h 16"/>
                  <a:gd name="T2" fmla="*/ 2 w 14"/>
                  <a:gd name="T3" fmla="*/ 0 h 16"/>
                  <a:gd name="T4" fmla="*/ 14 w 14"/>
                  <a:gd name="T5" fmla="*/ 4 h 16"/>
                  <a:gd name="T6" fmla="*/ 11 w 14"/>
                  <a:gd name="T7" fmla="*/ 16 h 16"/>
                  <a:gd name="T8" fmla="*/ 0 w 14"/>
                  <a:gd name="T9" fmla="*/ 12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4" h="16">
                    <a:moveTo>
                      <a:pt x="0" y="12"/>
                    </a:moveTo>
                    <a:lnTo>
                      <a:pt x="2" y="0"/>
                    </a:lnTo>
                    <a:lnTo>
                      <a:pt x="14" y="4"/>
                    </a:lnTo>
                    <a:lnTo>
                      <a:pt x="11" y="16"/>
                    </a:lnTo>
                    <a:lnTo>
                      <a:pt x="0" y="1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20" name="îṣḷïḓê"/>
              <p:cNvSpPr/>
              <p:nvPr/>
            </p:nvSpPr>
            <p:spPr bwMode="auto">
              <a:xfrm>
                <a:off x="2292247" y="6042615"/>
                <a:ext cx="49213" cy="100013"/>
              </a:xfrm>
              <a:custGeom>
                <a:avLst/>
                <a:gdLst>
                  <a:gd name="T0" fmla="*/ 17 w 27"/>
                  <a:gd name="T1" fmla="*/ 54 h 54"/>
                  <a:gd name="T2" fmla="*/ 7 w 27"/>
                  <a:gd name="T3" fmla="*/ 52 h 54"/>
                  <a:gd name="T4" fmla="*/ 14 w 27"/>
                  <a:gd name="T5" fmla="*/ 15 h 54"/>
                  <a:gd name="T6" fmla="*/ 0 w 27"/>
                  <a:gd name="T7" fmla="*/ 20 h 54"/>
                  <a:gd name="T8" fmla="*/ 1 w 27"/>
                  <a:gd name="T9" fmla="*/ 11 h 54"/>
                  <a:gd name="T10" fmla="*/ 11 w 27"/>
                  <a:gd name="T11" fmla="*/ 7 h 54"/>
                  <a:gd name="T12" fmla="*/ 18 w 27"/>
                  <a:gd name="T13" fmla="*/ 0 h 54"/>
                  <a:gd name="T14" fmla="*/ 27 w 27"/>
                  <a:gd name="T15" fmla="*/ 2 h 54"/>
                  <a:gd name="T16" fmla="*/ 17 w 27"/>
                  <a:gd name="T17" fmla="*/ 54 h 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7" h="54">
                    <a:moveTo>
                      <a:pt x="17" y="54"/>
                    </a:moveTo>
                    <a:cubicBezTo>
                      <a:pt x="7" y="52"/>
                      <a:pt x="7" y="52"/>
                      <a:pt x="7" y="52"/>
                    </a:cubicBezTo>
                    <a:cubicBezTo>
                      <a:pt x="14" y="15"/>
                      <a:pt x="14" y="15"/>
                      <a:pt x="14" y="15"/>
                    </a:cubicBezTo>
                    <a:cubicBezTo>
                      <a:pt x="10" y="17"/>
                      <a:pt x="5" y="19"/>
                      <a:pt x="0" y="20"/>
                    </a:cubicBezTo>
                    <a:cubicBezTo>
                      <a:pt x="1" y="11"/>
                      <a:pt x="1" y="11"/>
                      <a:pt x="1" y="11"/>
                    </a:cubicBezTo>
                    <a:cubicBezTo>
                      <a:pt x="4" y="10"/>
                      <a:pt x="7" y="9"/>
                      <a:pt x="11" y="7"/>
                    </a:cubicBezTo>
                    <a:cubicBezTo>
                      <a:pt x="14" y="6"/>
                      <a:pt x="17" y="3"/>
                      <a:pt x="18" y="0"/>
                    </a:cubicBezTo>
                    <a:cubicBezTo>
                      <a:pt x="27" y="2"/>
                      <a:pt x="27" y="2"/>
                      <a:pt x="27" y="2"/>
                    </a:cubicBezTo>
                    <a:lnTo>
                      <a:pt x="17" y="5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21" name="i$ḻîḓé"/>
              <p:cNvSpPr/>
              <p:nvPr/>
            </p:nvSpPr>
            <p:spPr bwMode="auto">
              <a:xfrm>
                <a:off x="2363684" y="6052140"/>
                <a:ext cx="66675" cy="100013"/>
              </a:xfrm>
              <a:custGeom>
                <a:avLst/>
                <a:gdLst>
                  <a:gd name="T0" fmla="*/ 0 w 36"/>
                  <a:gd name="T1" fmla="*/ 40 h 54"/>
                  <a:gd name="T2" fmla="*/ 10 w 36"/>
                  <a:gd name="T3" fmla="*/ 39 h 54"/>
                  <a:gd name="T4" fmla="*/ 11 w 36"/>
                  <a:gd name="T5" fmla="*/ 44 h 54"/>
                  <a:gd name="T6" fmla="*/ 15 w 36"/>
                  <a:gd name="T7" fmla="*/ 46 h 54"/>
                  <a:gd name="T8" fmla="*/ 21 w 36"/>
                  <a:gd name="T9" fmla="*/ 43 h 54"/>
                  <a:gd name="T10" fmla="*/ 24 w 36"/>
                  <a:gd name="T11" fmla="*/ 31 h 54"/>
                  <a:gd name="T12" fmla="*/ 15 w 36"/>
                  <a:gd name="T13" fmla="*/ 35 h 54"/>
                  <a:gd name="T14" fmla="*/ 4 w 36"/>
                  <a:gd name="T15" fmla="*/ 30 h 54"/>
                  <a:gd name="T16" fmla="*/ 0 w 36"/>
                  <a:gd name="T17" fmla="*/ 17 h 54"/>
                  <a:gd name="T18" fmla="*/ 6 w 36"/>
                  <a:gd name="T19" fmla="*/ 4 h 54"/>
                  <a:gd name="T20" fmla="*/ 19 w 36"/>
                  <a:gd name="T21" fmla="*/ 0 h 54"/>
                  <a:gd name="T22" fmla="*/ 31 w 36"/>
                  <a:gd name="T23" fmla="*/ 7 h 54"/>
                  <a:gd name="T24" fmla="*/ 35 w 36"/>
                  <a:gd name="T25" fmla="*/ 28 h 54"/>
                  <a:gd name="T26" fmla="*/ 28 w 36"/>
                  <a:gd name="T27" fmla="*/ 49 h 54"/>
                  <a:gd name="T28" fmla="*/ 14 w 36"/>
                  <a:gd name="T29" fmla="*/ 54 h 54"/>
                  <a:gd name="T30" fmla="*/ 4 w 36"/>
                  <a:gd name="T31" fmla="*/ 50 h 54"/>
                  <a:gd name="T32" fmla="*/ 0 w 36"/>
                  <a:gd name="T33" fmla="*/ 40 h 54"/>
                  <a:gd name="T34" fmla="*/ 24 w 36"/>
                  <a:gd name="T35" fmla="*/ 19 h 54"/>
                  <a:gd name="T36" fmla="*/ 23 w 36"/>
                  <a:gd name="T37" fmla="*/ 11 h 54"/>
                  <a:gd name="T38" fmla="*/ 18 w 36"/>
                  <a:gd name="T39" fmla="*/ 8 h 54"/>
                  <a:gd name="T40" fmla="*/ 13 w 36"/>
                  <a:gd name="T41" fmla="*/ 10 h 54"/>
                  <a:gd name="T42" fmla="*/ 10 w 36"/>
                  <a:gd name="T43" fmla="*/ 17 h 54"/>
                  <a:gd name="T44" fmla="*/ 12 w 36"/>
                  <a:gd name="T45" fmla="*/ 25 h 54"/>
                  <a:gd name="T46" fmla="*/ 17 w 36"/>
                  <a:gd name="T47" fmla="*/ 28 h 54"/>
                  <a:gd name="T48" fmla="*/ 22 w 36"/>
                  <a:gd name="T49" fmla="*/ 26 h 54"/>
                  <a:gd name="T50" fmla="*/ 24 w 36"/>
                  <a:gd name="T51" fmla="*/ 19 h 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6" h="54">
                    <a:moveTo>
                      <a:pt x="0" y="40"/>
                    </a:moveTo>
                    <a:cubicBezTo>
                      <a:pt x="10" y="39"/>
                      <a:pt x="10" y="39"/>
                      <a:pt x="10" y="39"/>
                    </a:cubicBezTo>
                    <a:cubicBezTo>
                      <a:pt x="10" y="41"/>
                      <a:pt x="10" y="43"/>
                      <a:pt x="11" y="44"/>
                    </a:cubicBezTo>
                    <a:cubicBezTo>
                      <a:pt x="12" y="45"/>
                      <a:pt x="14" y="46"/>
                      <a:pt x="15" y="46"/>
                    </a:cubicBezTo>
                    <a:cubicBezTo>
                      <a:pt x="17" y="46"/>
                      <a:pt x="19" y="45"/>
                      <a:pt x="21" y="43"/>
                    </a:cubicBezTo>
                    <a:cubicBezTo>
                      <a:pt x="22" y="41"/>
                      <a:pt x="24" y="37"/>
                      <a:pt x="24" y="31"/>
                    </a:cubicBezTo>
                    <a:cubicBezTo>
                      <a:pt x="22" y="34"/>
                      <a:pt x="18" y="35"/>
                      <a:pt x="15" y="35"/>
                    </a:cubicBezTo>
                    <a:cubicBezTo>
                      <a:pt x="10" y="35"/>
                      <a:pt x="7" y="33"/>
                      <a:pt x="4" y="30"/>
                    </a:cubicBezTo>
                    <a:cubicBezTo>
                      <a:pt x="1" y="26"/>
                      <a:pt x="0" y="22"/>
                      <a:pt x="0" y="17"/>
                    </a:cubicBezTo>
                    <a:cubicBezTo>
                      <a:pt x="1" y="11"/>
                      <a:pt x="3" y="7"/>
                      <a:pt x="6" y="4"/>
                    </a:cubicBezTo>
                    <a:cubicBezTo>
                      <a:pt x="10" y="1"/>
                      <a:pt x="14" y="0"/>
                      <a:pt x="19" y="0"/>
                    </a:cubicBezTo>
                    <a:cubicBezTo>
                      <a:pt x="24" y="0"/>
                      <a:pt x="28" y="3"/>
                      <a:pt x="31" y="7"/>
                    </a:cubicBezTo>
                    <a:cubicBezTo>
                      <a:pt x="35" y="12"/>
                      <a:pt x="36" y="19"/>
                      <a:pt x="35" y="28"/>
                    </a:cubicBezTo>
                    <a:cubicBezTo>
                      <a:pt x="34" y="38"/>
                      <a:pt x="32" y="44"/>
                      <a:pt x="28" y="49"/>
                    </a:cubicBezTo>
                    <a:cubicBezTo>
                      <a:pt x="24" y="53"/>
                      <a:pt x="20" y="54"/>
                      <a:pt x="14" y="54"/>
                    </a:cubicBezTo>
                    <a:cubicBezTo>
                      <a:pt x="10" y="54"/>
                      <a:pt x="7" y="52"/>
                      <a:pt x="4" y="50"/>
                    </a:cubicBezTo>
                    <a:cubicBezTo>
                      <a:pt x="2" y="48"/>
                      <a:pt x="0" y="44"/>
                      <a:pt x="0" y="40"/>
                    </a:cubicBezTo>
                    <a:close/>
                    <a:moveTo>
                      <a:pt x="24" y="19"/>
                    </a:moveTo>
                    <a:cubicBezTo>
                      <a:pt x="25" y="16"/>
                      <a:pt x="24" y="13"/>
                      <a:pt x="23" y="11"/>
                    </a:cubicBezTo>
                    <a:cubicBezTo>
                      <a:pt x="21" y="10"/>
                      <a:pt x="20" y="9"/>
                      <a:pt x="18" y="8"/>
                    </a:cubicBezTo>
                    <a:cubicBezTo>
                      <a:pt x="16" y="8"/>
                      <a:pt x="14" y="9"/>
                      <a:pt x="13" y="10"/>
                    </a:cubicBezTo>
                    <a:cubicBezTo>
                      <a:pt x="11" y="12"/>
                      <a:pt x="11" y="14"/>
                      <a:pt x="10" y="17"/>
                    </a:cubicBezTo>
                    <a:cubicBezTo>
                      <a:pt x="10" y="21"/>
                      <a:pt x="11" y="23"/>
                      <a:pt x="12" y="25"/>
                    </a:cubicBezTo>
                    <a:cubicBezTo>
                      <a:pt x="13" y="27"/>
                      <a:pt x="15" y="28"/>
                      <a:pt x="17" y="28"/>
                    </a:cubicBezTo>
                    <a:cubicBezTo>
                      <a:pt x="19" y="28"/>
                      <a:pt x="20" y="27"/>
                      <a:pt x="22" y="26"/>
                    </a:cubicBezTo>
                    <a:cubicBezTo>
                      <a:pt x="23" y="24"/>
                      <a:pt x="24" y="22"/>
                      <a:pt x="24" y="1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22" name="îṧľîḋé"/>
              <p:cNvSpPr/>
              <p:nvPr/>
            </p:nvSpPr>
            <p:spPr bwMode="auto">
              <a:xfrm>
                <a:off x="2446234" y="6053728"/>
                <a:ext cx="66675" cy="100013"/>
              </a:xfrm>
              <a:custGeom>
                <a:avLst/>
                <a:gdLst>
                  <a:gd name="T0" fmla="*/ 0 w 36"/>
                  <a:gd name="T1" fmla="*/ 40 h 54"/>
                  <a:gd name="T2" fmla="*/ 10 w 36"/>
                  <a:gd name="T3" fmla="*/ 39 h 54"/>
                  <a:gd name="T4" fmla="*/ 13 w 36"/>
                  <a:gd name="T5" fmla="*/ 44 h 54"/>
                  <a:gd name="T6" fmla="*/ 18 w 36"/>
                  <a:gd name="T7" fmla="*/ 46 h 54"/>
                  <a:gd name="T8" fmla="*/ 23 w 36"/>
                  <a:gd name="T9" fmla="*/ 43 h 54"/>
                  <a:gd name="T10" fmla="*/ 25 w 36"/>
                  <a:gd name="T11" fmla="*/ 35 h 54"/>
                  <a:gd name="T12" fmla="*/ 23 w 36"/>
                  <a:gd name="T13" fmla="*/ 28 h 54"/>
                  <a:gd name="T14" fmla="*/ 17 w 36"/>
                  <a:gd name="T15" fmla="*/ 26 h 54"/>
                  <a:gd name="T16" fmla="*/ 9 w 36"/>
                  <a:gd name="T17" fmla="*/ 30 h 54"/>
                  <a:gd name="T18" fmla="*/ 1 w 36"/>
                  <a:gd name="T19" fmla="*/ 29 h 54"/>
                  <a:gd name="T20" fmla="*/ 5 w 36"/>
                  <a:gd name="T21" fmla="*/ 1 h 54"/>
                  <a:gd name="T22" fmla="*/ 32 w 36"/>
                  <a:gd name="T23" fmla="*/ 0 h 54"/>
                  <a:gd name="T24" fmla="*/ 32 w 36"/>
                  <a:gd name="T25" fmla="*/ 10 h 54"/>
                  <a:gd name="T26" fmla="*/ 13 w 36"/>
                  <a:gd name="T27" fmla="*/ 10 h 54"/>
                  <a:gd name="T28" fmla="*/ 12 w 36"/>
                  <a:gd name="T29" fmla="*/ 19 h 54"/>
                  <a:gd name="T30" fmla="*/ 19 w 36"/>
                  <a:gd name="T31" fmla="*/ 17 h 54"/>
                  <a:gd name="T32" fmla="*/ 30 w 36"/>
                  <a:gd name="T33" fmla="*/ 22 h 54"/>
                  <a:gd name="T34" fmla="*/ 36 w 36"/>
                  <a:gd name="T35" fmla="*/ 34 h 54"/>
                  <a:gd name="T36" fmla="*/ 32 w 36"/>
                  <a:gd name="T37" fmla="*/ 46 h 54"/>
                  <a:gd name="T38" fmla="*/ 18 w 36"/>
                  <a:gd name="T39" fmla="*/ 54 h 54"/>
                  <a:gd name="T40" fmla="*/ 6 w 36"/>
                  <a:gd name="T41" fmla="*/ 50 h 54"/>
                  <a:gd name="T42" fmla="*/ 0 w 36"/>
                  <a:gd name="T43" fmla="*/ 40 h 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36" h="54">
                    <a:moveTo>
                      <a:pt x="0" y="40"/>
                    </a:moveTo>
                    <a:cubicBezTo>
                      <a:pt x="10" y="39"/>
                      <a:pt x="10" y="39"/>
                      <a:pt x="10" y="39"/>
                    </a:cubicBezTo>
                    <a:cubicBezTo>
                      <a:pt x="11" y="41"/>
                      <a:pt x="11" y="43"/>
                      <a:pt x="13" y="44"/>
                    </a:cubicBezTo>
                    <a:cubicBezTo>
                      <a:pt x="14" y="45"/>
                      <a:pt x="16" y="46"/>
                      <a:pt x="18" y="46"/>
                    </a:cubicBezTo>
                    <a:cubicBezTo>
                      <a:pt x="20" y="46"/>
                      <a:pt x="22" y="45"/>
                      <a:pt x="23" y="43"/>
                    </a:cubicBezTo>
                    <a:cubicBezTo>
                      <a:pt x="25" y="41"/>
                      <a:pt x="25" y="38"/>
                      <a:pt x="25" y="35"/>
                    </a:cubicBezTo>
                    <a:cubicBezTo>
                      <a:pt x="25" y="32"/>
                      <a:pt x="24" y="29"/>
                      <a:pt x="23" y="28"/>
                    </a:cubicBezTo>
                    <a:cubicBezTo>
                      <a:pt x="21" y="26"/>
                      <a:pt x="19" y="25"/>
                      <a:pt x="17" y="26"/>
                    </a:cubicBezTo>
                    <a:cubicBezTo>
                      <a:pt x="14" y="26"/>
                      <a:pt x="11" y="27"/>
                      <a:pt x="9" y="30"/>
                    </a:cubicBezTo>
                    <a:cubicBezTo>
                      <a:pt x="1" y="29"/>
                      <a:pt x="1" y="29"/>
                      <a:pt x="1" y="29"/>
                    </a:cubicBezTo>
                    <a:cubicBezTo>
                      <a:pt x="5" y="1"/>
                      <a:pt x="5" y="1"/>
                      <a:pt x="5" y="1"/>
                    </a:cubicBezTo>
                    <a:cubicBezTo>
                      <a:pt x="32" y="0"/>
                      <a:pt x="32" y="0"/>
                      <a:pt x="32" y="0"/>
                    </a:cubicBezTo>
                    <a:cubicBezTo>
                      <a:pt x="32" y="10"/>
                      <a:pt x="32" y="10"/>
                      <a:pt x="32" y="10"/>
                    </a:cubicBezTo>
                    <a:cubicBezTo>
                      <a:pt x="13" y="10"/>
                      <a:pt x="13" y="10"/>
                      <a:pt x="13" y="10"/>
                    </a:cubicBezTo>
                    <a:cubicBezTo>
                      <a:pt x="12" y="19"/>
                      <a:pt x="12" y="19"/>
                      <a:pt x="12" y="19"/>
                    </a:cubicBezTo>
                    <a:cubicBezTo>
                      <a:pt x="14" y="18"/>
                      <a:pt x="16" y="17"/>
                      <a:pt x="19" y="17"/>
                    </a:cubicBezTo>
                    <a:cubicBezTo>
                      <a:pt x="23" y="17"/>
                      <a:pt x="27" y="19"/>
                      <a:pt x="30" y="22"/>
                    </a:cubicBezTo>
                    <a:cubicBezTo>
                      <a:pt x="34" y="25"/>
                      <a:pt x="35" y="29"/>
                      <a:pt x="36" y="34"/>
                    </a:cubicBezTo>
                    <a:cubicBezTo>
                      <a:pt x="36" y="39"/>
                      <a:pt x="35" y="43"/>
                      <a:pt x="32" y="46"/>
                    </a:cubicBezTo>
                    <a:cubicBezTo>
                      <a:pt x="29" y="51"/>
                      <a:pt x="24" y="54"/>
                      <a:pt x="18" y="54"/>
                    </a:cubicBezTo>
                    <a:cubicBezTo>
                      <a:pt x="13" y="54"/>
                      <a:pt x="9" y="53"/>
                      <a:pt x="6" y="50"/>
                    </a:cubicBezTo>
                    <a:cubicBezTo>
                      <a:pt x="3" y="48"/>
                      <a:pt x="1" y="44"/>
                      <a:pt x="0" y="4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23" name="i$ḻïḑê"/>
              <p:cNvSpPr/>
              <p:nvPr/>
            </p:nvSpPr>
            <p:spPr bwMode="auto">
              <a:xfrm>
                <a:off x="2522434" y="6045790"/>
                <a:ext cx="74613" cy="103188"/>
              </a:xfrm>
              <a:custGeom>
                <a:avLst/>
                <a:gdLst>
                  <a:gd name="T0" fmla="*/ 39 w 40"/>
                  <a:gd name="T1" fmla="*/ 42 h 56"/>
                  <a:gd name="T2" fmla="*/ 40 w 40"/>
                  <a:gd name="T3" fmla="*/ 51 h 56"/>
                  <a:gd name="T4" fmla="*/ 5 w 40"/>
                  <a:gd name="T5" fmla="*/ 56 h 56"/>
                  <a:gd name="T6" fmla="*/ 7 w 40"/>
                  <a:gd name="T7" fmla="*/ 46 h 56"/>
                  <a:gd name="T8" fmla="*/ 16 w 40"/>
                  <a:gd name="T9" fmla="*/ 32 h 56"/>
                  <a:gd name="T10" fmla="*/ 23 w 40"/>
                  <a:gd name="T11" fmla="*/ 22 h 56"/>
                  <a:gd name="T12" fmla="*/ 24 w 40"/>
                  <a:gd name="T13" fmla="*/ 15 h 56"/>
                  <a:gd name="T14" fmla="*/ 22 w 40"/>
                  <a:gd name="T15" fmla="*/ 10 h 56"/>
                  <a:gd name="T16" fmla="*/ 17 w 40"/>
                  <a:gd name="T17" fmla="*/ 9 h 56"/>
                  <a:gd name="T18" fmla="*/ 12 w 40"/>
                  <a:gd name="T19" fmla="*/ 12 h 56"/>
                  <a:gd name="T20" fmla="*/ 11 w 40"/>
                  <a:gd name="T21" fmla="*/ 19 h 56"/>
                  <a:gd name="T22" fmla="*/ 1 w 40"/>
                  <a:gd name="T23" fmla="*/ 19 h 56"/>
                  <a:gd name="T24" fmla="*/ 4 w 40"/>
                  <a:gd name="T25" fmla="*/ 6 h 56"/>
                  <a:gd name="T26" fmla="*/ 16 w 40"/>
                  <a:gd name="T27" fmla="*/ 1 h 56"/>
                  <a:gd name="T28" fmla="*/ 28 w 40"/>
                  <a:gd name="T29" fmla="*/ 3 h 56"/>
                  <a:gd name="T30" fmla="*/ 34 w 40"/>
                  <a:gd name="T31" fmla="*/ 13 h 56"/>
                  <a:gd name="T32" fmla="*/ 34 w 40"/>
                  <a:gd name="T33" fmla="*/ 20 h 56"/>
                  <a:gd name="T34" fmla="*/ 31 w 40"/>
                  <a:gd name="T35" fmla="*/ 27 h 56"/>
                  <a:gd name="T36" fmla="*/ 26 w 40"/>
                  <a:gd name="T37" fmla="*/ 35 h 56"/>
                  <a:gd name="T38" fmla="*/ 20 w 40"/>
                  <a:gd name="T39" fmla="*/ 42 h 56"/>
                  <a:gd name="T40" fmla="*/ 19 w 40"/>
                  <a:gd name="T41" fmla="*/ 45 h 56"/>
                  <a:gd name="T42" fmla="*/ 39 w 40"/>
                  <a:gd name="T43" fmla="*/ 42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40" h="56">
                    <a:moveTo>
                      <a:pt x="39" y="42"/>
                    </a:moveTo>
                    <a:cubicBezTo>
                      <a:pt x="40" y="51"/>
                      <a:pt x="40" y="51"/>
                      <a:pt x="40" y="51"/>
                    </a:cubicBezTo>
                    <a:cubicBezTo>
                      <a:pt x="5" y="56"/>
                      <a:pt x="5" y="56"/>
                      <a:pt x="5" y="56"/>
                    </a:cubicBezTo>
                    <a:cubicBezTo>
                      <a:pt x="5" y="53"/>
                      <a:pt x="5" y="49"/>
                      <a:pt x="7" y="46"/>
                    </a:cubicBezTo>
                    <a:cubicBezTo>
                      <a:pt x="8" y="42"/>
                      <a:pt x="11" y="38"/>
                      <a:pt x="16" y="32"/>
                    </a:cubicBezTo>
                    <a:cubicBezTo>
                      <a:pt x="20" y="27"/>
                      <a:pt x="22" y="23"/>
                      <a:pt x="23" y="22"/>
                    </a:cubicBezTo>
                    <a:cubicBezTo>
                      <a:pt x="24" y="19"/>
                      <a:pt x="25" y="17"/>
                      <a:pt x="24" y="15"/>
                    </a:cubicBezTo>
                    <a:cubicBezTo>
                      <a:pt x="24" y="13"/>
                      <a:pt x="23" y="11"/>
                      <a:pt x="22" y="10"/>
                    </a:cubicBezTo>
                    <a:cubicBezTo>
                      <a:pt x="21" y="9"/>
                      <a:pt x="19" y="9"/>
                      <a:pt x="17" y="9"/>
                    </a:cubicBezTo>
                    <a:cubicBezTo>
                      <a:pt x="15" y="10"/>
                      <a:pt x="13" y="11"/>
                      <a:pt x="12" y="12"/>
                    </a:cubicBezTo>
                    <a:cubicBezTo>
                      <a:pt x="11" y="13"/>
                      <a:pt x="10" y="16"/>
                      <a:pt x="11" y="19"/>
                    </a:cubicBezTo>
                    <a:cubicBezTo>
                      <a:pt x="1" y="19"/>
                      <a:pt x="1" y="19"/>
                      <a:pt x="1" y="19"/>
                    </a:cubicBezTo>
                    <a:cubicBezTo>
                      <a:pt x="0" y="13"/>
                      <a:pt x="2" y="9"/>
                      <a:pt x="4" y="6"/>
                    </a:cubicBezTo>
                    <a:cubicBezTo>
                      <a:pt x="7" y="3"/>
                      <a:pt x="11" y="2"/>
                      <a:pt x="16" y="1"/>
                    </a:cubicBezTo>
                    <a:cubicBezTo>
                      <a:pt x="21" y="0"/>
                      <a:pt x="25" y="1"/>
                      <a:pt x="28" y="3"/>
                    </a:cubicBezTo>
                    <a:cubicBezTo>
                      <a:pt x="32" y="6"/>
                      <a:pt x="34" y="9"/>
                      <a:pt x="34" y="13"/>
                    </a:cubicBezTo>
                    <a:cubicBezTo>
                      <a:pt x="35" y="15"/>
                      <a:pt x="35" y="18"/>
                      <a:pt x="34" y="20"/>
                    </a:cubicBezTo>
                    <a:cubicBezTo>
                      <a:pt x="34" y="22"/>
                      <a:pt x="33" y="25"/>
                      <a:pt x="31" y="27"/>
                    </a:cubicBezTo>
                    <a:cubicBezTo>
                      <a:pt x="30" y="29"/>
                      <a:pt x="28" y="32"/>
                      <a:pt x="26" y="35"/>
                    </a:cubicBezTo>
                    <a:cubicBezTo>
                      <a:pt x="23" y="38"/>
                      <a:pt x="21" y="41"/>
                      <a:pt x="20" y="42"/>
                    </a:cubicBezTo>
                    <a:cubicBezTo>
                      <a:pt x="20" y="43"/>
                      <a:pt x="19" y="44"/>
                      <a:pt x="19" y="45"/>
                    </a:cubicBezTo>
                    <a:lnTo>
                      <a:pt x="39" y="4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24" name="íṧlíḍe"/>
              <p:cNvSpPr/>
              <p:nvPr/>
            </p:nvSpPr>
            <p:spPr bwMode="auto">
              <a:xfrm>
                <a:off x="2611334" y="6072778"/>
                <a:ext cx="22225" cy="23813"/>
              </a:xfrm>
              <a:custGeom>
                <a:avLst/>
                <a:gdLst>
                  <a:gd name="T0" fmla="*/ 3 w 14"/>
                  <a:gd name="T1" fmla="*/ 15 h 15"/>
                  <a:gd name="T2" fmla="*/ 0 w 14"/>
                  <a:gd name="T3" fmla="*/ 3 h 15"/>
                  <a:gd name="T4" fmla="*/ 11 w 14"/>
                  <a:gd name="T5" fmla="*/ 0 h 15"/>
                  <a:gd name="T6" fmla="*/ 14 w 14"/>
                  <a:gd name="T7" fmla="*/ 12 h 15"/>
                  <a:gd name="T8" fmla="*/ 3 w 14"/>
                  <a:gd name="T9" fmla="*/ 15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4" h="15">
                    <a:moveTo>
                      <a:pt x="3" y="15"/>
                    </a:moveTo>
                    <a:lnTo>
                      <a:pt x="0" y="3"/>
                    </a:lnTo>
                    <a:lnTo>
                      <a:pt x="11" y="0"/>
                    </a:lnTo>
                    <a:lnTo>
                      <a:pt x="14" y="12"/>
                    </a:lnTo>
                    <a:lnTo>
                      <a:pt x="3" y="1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25" name="îŝľîḓê"/>
              <p:cNvSpPr/>
              <p:nvPr/>
            </p:nvSpPr>
            <p:spPr bwMode="auto">
              <a:xfrm>
                <a:off x="2108097" y="5261565"/>
                <a:ext cx="141288" cy="257175"/>
              </a:xfrm>
              <a:custGeom>
                <a:avLst/>
                <a:gdLst>
                  <a:gd name="T0" fmla="*/ 12 w 77"/>
                  <a:gd name="T1" fmla="*/ 25 h 139"/>
                  <a:gd name="T2" fmla="*/ 9 w 77"/>
                  <a:gd name="T3" fmla="*/ 21 h 139"/>
                  <a:gd name="T4" fmla="*/ 12 w 77"/>
                  <a:gd name="T5" fmla="*/ 17 h 139"/>
                  <a:gd name="T6" fmla="*/ 39 w 77"/>
                  <a:gd name="T7" fmla="*/ 21 h 139"/>
                  <a:gd name="T8" fmla="*/ 46 w 77"/>
                  <a:gd name="T9" fmla="*/ 36 h 139"/>
                  <a:gd name="T10" fmla="*/ 46 w 77"/>
                  <a:gd name="T11" fmla="*/ 39 h 139"/>
                  <a:gd name="T12" fmla="*/ 61 w 77"/>
                  <a:gd name="T13" fmla="*/ 33 h 139"/>
                  <a:gd name="T14" fmla="*/ 57 w 77"/>
                  <a:gd name="T15" fmla="*/ 16 h 139"/>
                  <a:gd name="T16" fmla="*/ 35 w 77"/>
                  <a:gd name="T17" fmla="*/ 9 h 139"/>
                  <a:gd name="T18" fmla="*/ 27 w 77"/>
                  <a:gd name="T19" fmla="*/ 3 h 139"/>
                  <a:gd name="T20" fmla="*/ 32 w 77"/>
                  <a:gd name="T21" fmla="*/ 0 h 139"/>
                  <a:gd name="T22" fmla="*/ 61 w 77"/>
                  <a:gd name="T23" fmla="*/ 9 h 139"/>
                  <a:gd name="T24" fmla="*/ 72 w 77"/>
                  <a:gd name="T25" fmla="*/ 30 h 139"/>
                  <a:gd name="T26" fmla="*/ 48 w 77"/>
                  <a:gd name="T27" fmla="*/ 45 h 139"/>
                  <a:gd name="T28" fmla="*/ 45 w 77"/>
                  <a:gd name="T29" fmla="*/ 46 h 139"/>
                  <a:gd name="T30" fmla="*/ 45 w 77"/>
                  <a:gd name="T31" fmla="*/ 54 h 139"/>
                  <a:gd name="T32" fmla="*/ 59 w 77"/>
                  <a:gd name="T33" fmla="*/ 61 h 139"/>
                  <a:gd name="T34" fmla="*/ 77 w 77"/>
                  <a:gd name="T35" fmla="*/ 80 h 139"/>
                  <a:gd name="T36" fmla="*/ 75 w 77"/>
                  <a:gd name="T37" fmla="*/ 84 h 139"/>
                  <a:gd name="T38" fmla="*/ 71 w 77"/>
                  <a:gd name="T39" fmla="*/ 83 h 139"/>
                  <a:gd name="T40" fmla="*/ 59 w 77"/>
                  <a:gd name="T41" fmla="*/ 70 h 139"/>
                  <a:gd name="T42" fmla="*/ 45 w 77"/>
                  <a:gd name="T43" fmla="*/ 63 h 139"/>
                  <a:gd name="T44" fmla="*/ 45 w 77"/>
                  <a:gd name="T45" fmla="*/ 77 h 139"/>
                  <a:gd name="T46" fmla="*/ 53 w 77"/>
                  <a:gd name="T47" fmla="*/ 83 h 139"/>
                  <a:gd name="T48" fmla="*/ 66 w 77"/>
                  <a:gd name="T49" fmla="*/ 102 h 139"/>
                  <a:gd name="T50" fmla="*/ 72 w 77"/>
                  <a:gd name="T51" fmla="*/ 121 h 139"/>
                  <a:gd name="T52" fmla="*/ 70 w 77"/>
                  <a:gd name="T53" fmla="*/ 124 h 139"/>
                  <a:gd name="T54" fmla="*/ 67 w 77"/>
                  <a:gd name="T55" fmla="*/ 122 h 139"/>
                  <a:gd name="T56" fmla="*/ 64 w 77"/>
                  <a:gd name="T57" fmla="*/ 115 h 139"/>
                  <a:gd name="T58" fmla="*/ 55 w 77"/>
                  <a:gd name="T59" fmla="*/ 97 h 139"/>
                  <a:gd name="T60" fmla="*/ 45 w 77"/>
                  <a:gd name="T61" fmla="*/ 87 h 139"/>
                  <a:gd name="T62" fmla="*/ 45 w 77"/>
                  <a:gd name="T63" fmla="*/ 102 h 139"/>
                  <a:gd name="T64" fmla="*/ 44 w 77"/>
                  <a:gd name="T65" fmla="*/ 136 h 139"/>
                  <a:gd name="T66" fmla="*/ 41 w 77"/>
                  <a:gd name="T67" fmla="*/ 139 h 139"/>
                  <a:gd name="T68" fmla="*/ 38 w 77"/>
                  <a:gd name="T69" fmla="*/ 137 h 139"/>
                  <a:gd name="T70" fmla="*/ 37 w 77"/>
                  <a:gd name="T71" fmla="*/ 103 h 139"/>
                  <a:gd name="T72" fmla="*/ 37 w 77"/>
                  <a:gd name="T73" fmla="*/ 86 h 139"/>
                  <a:gd name="T74" fmla="*/ 28 w 77"/>
                  <a:gd name="T75" fmla="*/ 92 h 139"/>
                  <a:gd name="T76" fmla="*/ 19 w 77"/>
                  <a:gd name="T77" fmla="*/ 109 h 139"/>
                  <a:gd name="T78" fmla="*/ 12 w 77"/>
                  <a:gd name="T79" fmla="*/ 121 h 139"/>
                  <a:gd name="T80" fmla="*/ 8 w 77"/>
                  <a:gd name="T81" fmla="*/ 122 h 139"/>
                  <a:gd name="T82" fmla="*/ 7 w 77"/>
                  <a:gd name="T83" fmla="*/ 120 h 139"/>
                  <a:gd name="T84" fmla="*/ 8 w 77"/>
                  <a:gd name="T85" fmla="*/ 117 h 139"/>
                  <a:gd name="T86" fmla="*/ 11 w 77"/>
                  <a:gd name="T87" fmla="*/ 106 h 139"/>
                  <a:gd name="T88" fmla="*/ 22 w 77"/>
                  <a:gd name="T89" fmla="*/ 86 h 139"/>
                  <a:gd name="T90" fmla="*/ 37 w 77"/>
                  <a:gd name="T91" fmla="*/ 76 h 139"/>
                  <a:gd name="T92" fmla="*/ 37 w 77"/>
                  <a:gd name="T93" fmla="*/ 68 h 139"/>
                  <a:gd name="T94" fmla="*/ 37 w 77"/>
                  <a:gd name="T95" fmla="*/ 63 h 139"/>
                  <a:gd name="T96" fmla="*/ 24 w 77"/>
                  <a:gd name="T97" fmla="*/ 69 h 139"/>
                  <a:gd name="T98" fmla="*/ 16 w 77"/>
                  <a:gd name="T99" fmla="*/ 77 h 139"/>
                  <a:gd name="T100" fmla="*/ 9 w 77"/>
                  <a:gd name="T101" fmla="*/ 85 h 139"/>
                  <a:gd name="T102" fmla="*/ 6 w 77"/>
                  <a:gd name="T103" fmla="*/ 86 h 139"/>
                  <a:gd name="T104" fmla="*/ 5 w 77"/>
                  <a:gd name="T105" fmla="*/ 82 h 139"/>
                  <a:gd name="T106" fmla="*/ 22 w 77"/>
                  <a:gd name="T107" fmla="*/ 60 h 139"/>
                  <a:gd name="T108" fmla="*/ 37 w 77"/>
                  <a:gd name="T109" fmla="*/ 54 h 139"/>
                  <a:gd name="T110" fmla="*/ 37 w 77"/>
                  <a:gd name="T111" fmla="*/ 47 h 139"/>
                  <a:gd name="T112" fmla="*/ 3 w 77"/>
                  <a:gd name="T113" fmla="*/ 45 h 139"/>
                  <a:gd name="T114" fmla="*/ 0 w 77"/>
                  <a:gd name="T115" fmla="*/ 40 h 139"/>
                  <a:gd name="T116" fmla="*/ 5 w 77"/>
                  <a:gd name="T117" fmla="*/ 38 h 139"/>
                  <a:gd name="T118" fmla="*/ 37 w 77"/>
                  <a:gd name="T119" fmla="*/ 39 h 139"/>
                  <a:gd name="T120" fmla="*/ 37 w 77"/>
                  <a:gd name="T121" fmla="*/ 39 h 139"/>
                  <a:gd name="T122" fmla="*/ 33 w 77"/>
                  <a:gd name="T123" fmla="*/ 28 h 139"/>
                  <a:gd name="T124" fmla="*/ 12 w 77"/>
                  <a:gd name="T125" fmla="*/ 25 h 1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77" h="139">
                    <a:moveTo>
                      <a:pt x="12" y="25"/>
                    </a:moveTo>
                    <a:cubicBezTo>
                      <a:pt x="10" y="25"/>
                      <a:pt x="9" y="24"/>
                      <a:pt x="9" y="21"/>
                    </a:cubicBezTo>
                    <a:cubicBezTo>
                      <a:pt x="9" y="18"/>
                      <a:pt x="10" y="17"/>
                      <a:pt x="12" y="17"/>
                    </a:cubicBezTo>
                    <a:cubicBezTo>
                      <a:pt x="24" y="17"/>
                      <a:pt x="33" y="18"/>
                      <a:pt x="39" y="21"/>
                    </a:cubicBezTo>
                    <a:cubicBezTo>
                      <a:pt x="45" y="24"/>
                      <a:pt x="47" y="28"/>
                      <a:pt x="46" y="36"/>
                    </a:cubicBezTo>
                    <a:cubicBezTo>
                      <a:pt x="46" y="37"/>
                      <a:pt x="46" y="38"/>
                      <a:pt x="46" y="39"/>
                    </a:cubicBezTo>
                    <a:cubicBezTo>
                      <a:pt x="53" y="38"/>
                      <a:pt x="58" y="35"/>
                      <a:pt x="61" y="33"/>
                    </a:cubicBezTo>
                    <a:cubicBezTo>
                      <a:pt x="65" y="27"/>
                      <a:pt x="64" y="22"/>
                      <a:pt x="57" y="16"/>
                    </a:cubicBezTo>
                    <a:cubicBezTo>
                      <a:pt x="52" y="12"/>
                      <a:pt x="44" y="9"/>
                      <a:pt x="35" y="9"/>
                    </a:cubicBezTo>
                    <a:cubicBezTo>
                      <a:pt x="30" y="8"/>
                      <a:pt x="28" y="6"/>
                      <a:pt x="27" y="3"/>
                    </a:cubicBezTo>
                    <a:cubicBezTo>
                      <a:pt x="27" y="1"/>
                      <a:pt x="29" y="0"/>
                      <a:pt x="32" y="0"/>
                    </a:cubicBezTo>
                    <a:cubicBezTo>
                      <a:pt x="44" y="0"/>
                      <a:pt x="53" y="3"/>
                      <a:pt x="61" y="9"/>
                    </a:cubicBezTo>
                    <a:cubicBezTo>
                      <a:pt x="69" y="16"/>
                      <a:pt x="73" y="23"/>
                      <a:pt x="72" y="30"/>
                    </a:cubicBezTo>
                    <a:cubicBezTo>
                      <a:pt x="68" y="37"/>
                      <a:pt x="60" y="43"/>
                      <a:pt x="48" y="45"/>
                    </a:cubicBezTo>
                    <a:cubicBezTo>
                      <a:pt x="47" y="46"/>
                      <a:pt x="46" y="46"/>
                      <a:pt x="45" y="46"/>
                    </a:cubicBezTo>
                    <a:cubicBezTo>
                      <a:pt x="45" y="48"/>
                      <a:pt x="45" y="51"/>
                      <a:pt x="45" y="54"/>
                    </a:cubicBezTo>
                    <a:cubicBezTo>
                      <a:pt x="49" y="54"/>
                      <a:pt x="54" y="57"/>
                      <a:pt x="59" y="61"/>
                    </a:cubicBezTo>
                    <a:cubicBezTo>
                      <a:pt x="66" y="66"/>
                      <a:pt x="72" y="72"/>
                      <a:pt x="77" y="80"/>
                    </a:cubicBezTo>
                    <a:cubicBezTo>
                      <a:pt x="77" y="82"/>
                      <a:pt x="77" y="83"/>
                      <a:pt x="75" y="84"/>
                    </a:cubicBezTo>
                    <a:cubicBezTo>
                      <a:pt x="74" y="85"/>
                      <a:pt x="72" y="85"/>
                      <a:pt x="71" y="83"/>
                    </a:cubicBezTo>
                    <a:cubicBezTo>
                      <a:pt x="69" y="80"/>
                      <a:pt x="65" y="76"/>
                      <a:pt x="59" y="70"/>
                    </a:cubicBezTo>
                    <a:cubicBezTo>
                      <a:pt x="54" y="66"/>
                      <a:pt x="49" y="64"/>
                      <a:pt x="45" y="63"/>
                    </a:cubicBezTo>
                    <a:cubicBezTo>
                      <a:pt x="45" y="77"/>
                      <a:pt x="45" y="77"/>
                      <a:pt x="45" y="77"/>
                    </a:cubicBezTo>
                    <a:cubicBezTo>
                      <a:pt x="48" y="78"/>
                      <a:pt x="51" y="80"/>
                      <a:pt x="53" y="83"/>
                    </a:cubicBezTo>
                    <a:cubicBezTo>
                      <a:pt x="59" y="88"/>
                      <a:pt x="63" y="94"/>
                      <a:pt x="66" y="102"/>
                    </a:cubicBezTo>
                    <a:cubicBezTo>
                      <a:pt x="71" y="109"/>
                      <a:pt x="73" y="116"/>
                      <a:pt x="72" y="121"/>
                    </a:cubicBezTo>
                    <a:cubicBezTo>
                      <a:pt x="72" y="122"/>
                      <a:pt x="72" y="123"/>
                      <a:pt x="70" y="124"/>
                    </a:cubicBezTo>
                    <a:cubicBezTo>
                      <a:pt x="69" y="124"/>
                      <a:pt x="68" y="124"/>
                      <a:pt x="67" y="122"/>
                    </a:cubicBezTo>
                    <a:cubicBezTo>
                      <a:pt x="67" y="121"/>
                      <a:pt x="66" y="118"/>
                      <a:pt x="64" y="115"/>
                    </a:cubicBezTo>
                    <a:cubicBezTo>
                      <a:pt x="60" y="107"/>
                      <a:pt x="57" y="102"/>
                      <a:pt x="55" y="97"/>
                    </a:cubicBezTo>
                    <a:cubicBezTo>
                      <a:pt x="51" y="91"/>
                      <a:pt x="48" y="88"/>
                      <a:pt x="45" y="87"/>
                    </a:cubicBezTo>
                    <a:cubicBezTo>
                      <a:pt x="45" y="102"/>
                      <a:pt x="45" y="102"/>
                      <a:pt x="45" y="102"/>
                    </a:cubicBezTo>
                    <a:cubicBezTo>
                      <a:pt x="45" y="117"/>
                      <a:pt x="45" y="128"/>
                      <a:pt x="44" y="136"/>
                    </a:cubicBezTo>
                    <a:cubicBezTo>
                      <a:pt x="43" y="137"/>
                      <a:pt x="42" y="138"/>
                      <a:pt x="41" y="139"/>
                    </a:cubicBezTo>
                    <a:cubicBezTo>
                      <a:pt x="40" y="139"/>
                      <a:pt x="39" y="139"/>
                      <a:pt x="38" y="137"/>
                    </a:cubicBezTo>
                    <a:cubicBezTo>
                      <a:pt x="37" y="135"/>
                      <a:pt x="37" y="123"/>
                      <a:pt x="37" y="103"/>
                    </a:cubicBezTo>
                    <a:cubicBezTo>
                      <a:pt x="37" y="97"/>
                      <a:pt x="37" y="92"/>
                      <a:pt x="37" y="86"/>
                    </a:cubicBezTo>
                    <a:cubicBezTo>
                      <a:pt x="34" y="87"/>
                      <a:pt x="31" y="89"/>
                      <a:pt x="28" y="92"/>
                    </a:cubicBezTo>
                    <a:cubicBezTo>
                      <a:pt x="24" y="98"/>
                      <a:pt x="21" y="103"/>
                      <a:pt x="19" y="109"/>
                    </a:cubicBezTo>
                    <a:cubicBezTo>
                      <a:pt x="17" y="113"/>
                      <a:pt x="15" y="117"/>
                      <a:pt x="12" y="121"/>
                    </a:cubicBezTo>
                    <a:cubicBezTo>
                      <a:pt x="11" y="122"/>
                      <a:pt x="9" y="122"/>
                      <a:pt x="8" y="122"/>
                    </a:cubicBezTo>
                    <a:cubicBezTo>
                      <a:pt x="7" y="122"/>
                      <a:pt x="7" y="121"/>
                      <a:pt x="7" y="120"/>
                    </a:cubicBezTo>
                    <a:cubicBezTo>
                      <a:pt x="7" y="119"/>
                      <a:pt x="7" y="118"/>
                      <a:pt x="8" y="117"/>
                    </a:cubicBezTo>
                    <a:cubicBezTo>
                      <a:pt x="9" y="112"/>
                      <a:pt x="10" y="108"/>
                      <a:pt x="11" y="106"/>
                    </a:cubicBezTo>
                    <a:cubicBezTo>
                      <a:pt x="13" y="101"/>
                      <a:pt x="17" y="94"/>
                      <a:pt x="22" y="86"/>
                    </a:cubicBezTo>
                    <a:cubicBezTo>
                      <a:pt x="27" y="80"/>
                      <a:pt x="32" y="77"/>
                      <a:pt x="37" y="76"/>
                    </a:cubicBezTo>
                    <a:cubicBezTo>
                      <a:pt x="37" y="68"/>
                      <a:pt x="37" y="68"/>
                      <a:pt x="37" y="68"/>
                    </a:cubicBezTo>
                    <a:cubicBezTo>
                      <a:pt x="37" y="63"/>
                      <a:pt x="37" y="63"/>
                      <a:pt x="37" y="63"/>
                    </a:cubicBezTo>
                    <a:cubicBezTo>
                      <a:pt x="33" y="64"/>
                      <a:pt x="29" y="66"/>
                      <a:pt x="24" y="69"/>
                    </a:cubicBezTo>
                    <a:cubicBezTo>
                      <a:pt x="23" y="70"/>
                      <a:pt x="20" y="72"/>
                      <a:pt x="16" y="77"/>
                    </a:cubicBezTo>
                    <a:cubicBezTo>
                      <a:pt x="13" y="81"/>
                      <a:pt x="11" y="83"/>
                      <a:pt x="9" y="85"/>
                    </a:cubicBezTo>
                    <a:cubicBezTo>
                      <a:pt x="8" y="86"/>
                      <a:pt x="7" y="87"/>
                      <a:pt x="6" y="86"/>
                    </a:cubicBezTo>
                    <a:cubicBezTo>
                      <a:pt x="5" y="86"/>
                      <a:pt x="5" y="84"/>
                      <a:pt x="5" y="82"/>
                    </a:cubicBezTo>
                    <a:cubicBezTo>
                      <a:pt x="10" y="73"/>
                      <a:pt x="15" y="65"/>
                      <a:pt x="22" y="60"/>
                    </a:cubicBezTo>
                    <a:cubicBezTo>
                      <a:pt x="27" y="56"/>
                      <a:pt x="32" y="54"/>
                      <a:pt x="37" y="54"/>
                    </a:cubicBezTo>
                    <a:cubicBezTo>
                      <a:pt x="37" y="47"/>
                      <a:pt x="37" y="47"/>
                      <a:pt x="37" y="47"/>
                    </a:cubicBezTo>
                    <a:cubicBezTo>
                      <a:pt x="22" y="49"/>
                      <a:pt x="10" y="48"/>
                      <a:pt x="3" y="45"/>
                    </a:cubicBezTo>
                    <a:cubicBezTo>
                      <a:pt x="1" y="44"/>
                      <a:pt x="0" y="42"/>
                      <a:pt x="0" y="40"/>
                    </a:cubicBezTo>
                    <a:cubicBezTo>
                      <a:pt x="1" y="38"/>
                      <a:pt x="3" y="38"/>
                      <a:pt x="5" y="38"/>
                    </a:cubicBezTo>
                    <a:cubicBezTo>
                      <a:pt x="12" y="40"/>
                      <a:pt x="22" y="40"/>
                      <a:pt x="37" y="39"/>
                    </a:cubicBezTo>
                    <a:cubicBezTo>
                      <a:pt x="37" y="39"/>
                      <a:pt x="37" y="39"/>
                      <a:pt x="37" y="39"/>
                    </a:cubicBezTo>
                    <a:cubicBezTo>
                      <a:pt x="38" y="32"/>
                      <a:pt x="36" y="29"/>
                      <a:pt x="33" y="28"/>
                    </a:cubicBezTo>
                    <a:cubicBezTo>
                      <a:pt x="26" y="25"/>
                      <a:pt x="19" y="24"/>
                      <a:pt x="12" y="2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26" name="íṣlíḑe"/>
              <p:cNvSpPr/>
              <p:nvPr/>
            </p:nvSpPr>
            <p:spPr bwMode="auto">
              <a:xfrm>
                <a:off x="2273197" y="5255215"/>
                <a:ext cx="163513" cy="263525"/>
              </a:xfrm>
              <a:custGeom>
                <a:avLst/>
                <a:gdLst>
                  <a:gd name="T0" fmla="*/ 47 w 88"/>
                  <a:gd name="T1" fmla="*/ 8 h 143"/>
                  <a:gd name="T2" fmla="*/ 74 w 88"/>
                  <a:gd name="T3" fmla="*/ 14 h 143"/>
                  <a:gd name="T4" fmla="*/ 82 w 88"/>
                  <a:gd name="T5" fmla="*/ 26 h 143"/>
                  <a:gd name="T6" fmla="*/ 79 w 88"/>
                  <a:gd name="T7" fmla="*/ 75 h 143"/>
                  <a:gd name="T8" fmla="*/ 86 w 88"/>
                  <a:gd name="T9" fmla="*/ 136 h 143"/>
                  <a:gd name="T10" fmla="*/ 73 w 88"/>
                  <a:gd name="T11" fmla="*/ 45 h 143"/>
                  <a:gd name="T12" fmla="*/ 67 w 88"/>
                  <a:gd name="T13" fmla="*/ 44 h 143"/>
                  <a:gd name="T14" fmla="*/ 54 w 88"/>
                  <a:gd name="T15" fmla="*/ 58 h 143"/>
                  <a:gd name="T16" fmla="*/ 22 w 88"/>
                  <a:gd name="T17" fmla="*/ 54 h 143"/>
                  <a:gd name="T18" fmla="*/ 15 w 88"/>
                  <a:gd name="T19" fmla="*/ 45 h 143"/>
                  <a:gd name="T20" fmla="*/ 11 w 88"/>
                  <a:gd name="T21" fmla="*/ 91 h 143"/>
                  <a:gd name="T22" fmla="*/ 9 w 88"/>
                  <a:gd name="T23" fmla="*/ 118 h 143"/>
                  <a:gd name="T24" fmla="*/ 2 w 88"/>
                  <a:gd name="T25" fmla="*/ 139 h 143"/>
                  <a:gd name="T26" fmla="*/ 6 w 88"/>
                  <a:gd name="T27" fmla="*/ 80 h 143"/>
                  <a:gd name="T28" fmla="*/ 2 w 88"/>
                  <a:gd name="T29" fmla="*/ 26 h 143"/>
                  <a:gd name="T30" fmla="*/ 32 w 88"/>
                  <a:gd name="T31" fmla="*/ 10 h 143"/>
                  <a:gd name="T32" fmla="*/ 39 w 88"/>
                  <a:gd name="T33" fmla="*/ 0 h 143"/>
                  <a:gd name="T34" fmla="*/ 24 w 88"/>
                  <a:gd name="T35" fmla="*/ 23 h 143"/>
                  <a:gd name="T36" fmla="*/ 66 w 88"/>
                  <a:gd name="T37" fmla="*/ 29 h 143"/>
                  <a:gd name="T38" fmla="*/ 67 w 88"/>
                  <a:gd name="T39" fmla="*/ 37 h 143"/>
                  <a:gd name="T40" fmla="*/ 73 w 88"/>
                  <a:gd name="T41" fmla="*/ 34 h 143"/>
                  <a:gd name="T42" fmla="*/ 66 w 88"/>
                  <a:gd name="T43" fmla="*/ 20 h 143"/>
                  <a:gd name="T44" fmla="*/ 13 w 88"/>
                  <a:gd name="T45" fmla="*/ 21 h 143"/>
                  <a:gd name="T46" fmla="*/ 12 w 88"/>
                  <a:gd name="T47" fmla="*/ 32 h 143"/>
                  <a:gd name="T48" fmla="*/ 17 w 88"/>
                  <a:gd name="T49" fmla="*/ 38 h 143"/>
                  <a:gd name="T50" fmla="*/ 24 w 88"/>
                  <a:gd name="T51" fmla="*/ 23 h 143"/>
                  <a:gd name="T52" fmla="*/ 61 w 88"/>
                  <a:gd name="T53" fmla="*/ 64 h 143"/>
                  <a:gd name="T54" fmla="*/ 66 w 88"/>
                  <a:gd name="T55" fmla="*/ 96 h 143"/>
                  <a:gd name="T56" fmla="*/ 61 w 88"/>
                  <a:gd name="T57" fmla="*/ 136 h 143"/>
                  <a:gd name="T58" fmla="*/ 59 w 88"/>
                  <a:gd name="T59" fmla="*/ 143 h 143"/>
                  <a:gd name="T60" fmla="*/ 46 w 88"/>
                  <a:gd name="T61" fmla="*/ 105 h 143"/>
                  <a:gd name="T62" fmla="*/ 30 w 88"/>
                  <a:gd name="T63" fmla="*/ 140 h 143"/>
                  <a:gd name="T64" fmla="*/ 26 w 88"/>
                  <a:gd name="T65" fmla="*/ 137 h 143"/>
                  <a:gd name="T66" fmla="*/ 32 w 88"/>
                  <a:gd name="T67" fmla="*/ 121 h 143"/>
                  <a:gd name="T68" fmla="*/ 35 w 88"/>
                  <a:gd name="T69" fmla="*/ 105 h 143"/>
                  <a:gd name="T70" fmla="*/ 18 w 88"/>
                  <a:gd name="T71" fmla="*/ 75 h 143"/>
                  <a:gd name="T72" fmla="*/ 24 w 88"/>
                  <a:gd name="T73" fmla="*/ 35 h 143"/>
                  <a:gd name="T74" fmla="*/ 39 w 88"/>
                  <a:gd name="T75" fmla="*/ 37 h 143"/>
                  <a:gd name="T76" fmla="*/ 34 w 88"/>
                  <a:gd name="T77" fmla="*/ 29 h 143"/>
                  <a:gd name="T78" fmla="*/ 24 w 88"/>
                  <a:gd name="T79" fmla="*/ 35 h 143"/>
                  <a:gd name="T80" fmla="*/ 62 w 88"/>
                  <a:gd name="T81" fmla="*/ 84 h 143"/>
                  <a:gd name="T82" fmla="*/ 43 w 88"/>
                  <a:gd name="T83" fmla="*/ 81 h 143"/>
                  <a:gd name="T84" fmla="*/ 25 w 88"/>
                  <a:gd name="T85" fmla="*/ 87 h 143"/>
                  <a:gd name="T86" fmla="*/ 26 w 88"/>
                  <a:gd name="T87" fmla="*/ 48 h 143"/>
                  <a:gd name="T88" fmla="*/ 38 w 88"/>
                  <a:gd name="T89" fmla="*/ 52 h 143"/>
                  <a:gd name="T90" fmla="*/ 25 w 88"/>
                  <a:gd name="T91" fmla="*/ 44 h 143"/>
                  <a:gd name="T92" fmla="*/ 32 w 88"/>
                  <a:gd name="T93" fmla="*/ 69 h 143"/>
                  <a:gd name="T94" fmla="*/ 41 w 88"/>
                  <a:gd name="T95" fmla="*/ 75 h 143"/>
                  <a:gd name="T96" fmla="*/ 57 w 88"/>
                  <a:gd name="T97" fmla="*/ 70 h 143"/>
                  <a:gd name="T98" fmla="*/ 56 w 88"/>
                  <a:gd name="T99" fmla="*/ 98 h 143"/>
                  <a:gd name="T100" fmla="*/ 54 w 88"/>
                  <a:gd name="T101" fmla="*/ 93 h 143"/>
                  <a:gd name="T102" fmla="*/ 36 w 88"/>
                  <a:gd name="T103" fmla="*/ 93 h 143"/>
                  <a:gd name="T104" fmla="*/ 32 w 88"/>
                  <a:gd name="T105" fmla="*/ 98 h 143"/>
                  <a:gd name="T106" fmla="*/ 56 w 88"/>
                  <a:gd name="T107" fmla="*/ 29 h 143"/>
                  <a:gd name="T108" fmla="*/ 46 w 88"/>
                  <a:gd name="T109" fmla="*/ 29 h 143"/>
                  <a:gd name="T110" fmla="*/ 60 w 88"/>
                  <a:gd name="T111" fmla="*/ 37 h 143"/>
                  <a:gd name="T112" fmla="*/ 56 w 88"/>
                  <a:gd name="T113" fmla="*/ 29 h 143"/>
                  <a:gd name="T114" fmla="*/ 60 w 88"/>
                  <a:gd name="T115" fmla="*/ 43 h 143"/>
                  <a:gd name="T116" fmla="*/ 46 w 88"/>
                  <a:gd name="T117" fmla="*/ 52 h 143"/>
                  <a:gd name="T118" fmla="*/ 59 w 88"/>
                  <a:gd name="T119" fmla="*/ 48 h 1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88" h="143">
                    <a:moveTo>
                      <a:pt x="43" y="2"/>
                    </a:moveTo>
                    <a:cubicBezTo>
                      <a:pt x="45" y="3"/>
                      <a:pt x="47" y="6"/>
                      <a:pt x="47" y="8"/>
                    </a:cubicBezTo>
                    <a:cubicBezTo>
                      <a:pt x="47" y="9"/>
                      <a:pt x="48" y="10"/>
                      <a:pt x="49" y="10"/>
                    </a:cubicBezTo>
                    <a:cubicBezTo>
                      <a:pt x="57" y="10"/>
                      <a:pt x="66" y="12"/>
                      <a:pt x="74" y="14"/>
                    </a:cubicBezTo>
                    <a:cubicBezTo>
                      <a:pt x="78" y="16"/>
                      <a:pt x="81" y="18"/>
                      <a:pt x="81" y="19"/>
                    </a:cubicBezTo>
                    <a:cubicBezTo>
                      <a:pt x="82" y="21"/>
                      <a:pt x="82" y="24"/>
                      <a:pt x="82" y="26"/>
                    </a:cubicBezTo>
                    <a:cubicBezTo>
                      <a:pt x="82" y="27"/>
                      <a:pt x="82" y="27"/>
                      <a:pt x="82" y="28"/>
                    </a:cubicBezTo>
                    <a:cubicBezTo>
                      <a:pt x="79" y="39"/>
                      <a:pt x="78" y="55"/>
                      <a:pt x="79" y="75"/>
                    </a:cubicBezTo>
                    <a:cubicBezTo>
                      <a:pt x="80" y="87"/>
                      <a:pt x="83" y="106"/>
                      <a:pt x="87" y="131"/>
                    </a:cubicBezTo>
                    <a:cubicBezTo>
                      <a:pt x="88" y="134"/>
                      <a:pt x="87" y="135"/>
                      <a:pt x="86" y="136"/>
                    </a:cubicBezTo>
                    <a:cubicBezTo>
                      <a:pt x="84" y="137"/>
                      <a:pt x="82" y="136"/>
                      <a:pt x="82" y="133"/>
                    </a:cubicBezTo>
                    <a:cubicBezTo>
                      <a:pt x="74" y="106"/>
                      <a:pt x="71" y="76"/>
                      <a:pt x="73" y="45"/>
                    </a:cubicBezTo>
                    <a:cubicBezTo>
                      <a:pt x="72" y="45"/>
                      <a:pt x="71" y="44"/>
                      <a:pt x="70" y="44"/>
                    </a:cubicBezTo>
                    <a:cubicBezTo>
                      <a:pt x="69" y="44"/>
                      <a:pt x="68" y="44"/>
                      <a:pt x="67" y="44"/>
                    </a:cubicBezTo>
                    <a:cubicBezTo>
                      <a:pt x="67" y="48"/>
                      <a:pt x="66" y="51"/>
                      <a:pt x="64" y="54"/>
                    </a:cubicBezTo>
                    <a:cubicBezTo>
                      <a:pt x="62" y="57"/>
                      <a:pt x="59" y="59"/>
                      <a:pt x="54" y="58"/>
                    </a:cubicBezTo>
                    <a:cubicBezTo>
                      <a:pt x="47" y="58"/>
                      <a:pt x="39" y="58"/>
                      <a:pt x="32" y="58"/>
                    </a:cubicBezTo>
                    <a:cubicBezTo>
                      <a:pt x="28" y="59"/>
                      <a:pt x="25" y="58"/>
                      <a:pt x="22" y="54"/>
                    </a:cubicBezTo>
                    <a:cubicBezTo>
                      <a:pt x="20" y="51"/>
                      <a:pt x="19" y="48"/>
                      <a:pt x="18" y="45"/>
                    </a:cubicBezTo>
                    <a:cubicBezTo>
                      <a:pt x="17" y="45"/>
                      <a:pt x="16" y="45"/>
                      <a:pt x="15" y="45"/>
                    </a:cubicBezTo>
                    <a:cubicBezTo>
                      <a:pt x="14" y="45"/>
                      <a:pt x="13" y="45"/>
                      <a:pt x="13" y="45"/>
                    </a:cubicBezTo>
                    <a:cubicBezTo>
                      <a:pt x="13" y="60"/>
                      <a:pt x="13" y="75"/>
                      <a:pt x="11" y="91"/>
                    </a:cubicBezTo>
                    <a:cubicBezTo>
                      <a:pt x="11" y="95"/>
                      <a:pt x="11" y="102"/>
                      <a:pt x="10" y="111"/>
                    </a:cubicBezTo>
                    <a:cubicBezTo>
                      <a:pt x="10" y="108"/>
                      <a:pt x="10" y="111"/>
                      <a:pt x="9" y="118"/>
                    </a:cubicBezTo>
                    <a:cubicBezTo>
                      <a:pt x="9" y="124"/>
                      <a:pt x="8" y="130"/>
                      <a:pt x="6" y="134"/>
                    </a:cubicBezTo>
                    <a:cubicBezTo>
                      <a:pt x="5" y="138"/>
                      <a:pt x="3" y="139"/>
                      <a:pt x="2" y="139"/>
                    </a:cubicBezTo>
                    <a:cubicBezTo>
                      <a:pt x="0" y="139"/>
                      <a:pt x="0" y="137"/>
                      <a:pt x="0" y="133"/>
                    </a:cubicBezTo>
                    <a:cubicBezTo>
                      <a:pt x="3" y="112"/>
                      <a:pt x="5" y="94"/>
                      <a:pt x="6" y="80"/>
                    </a:cubicBezTo>
                    <a:cubicBezTo>
                      <a:pt x="8" y="64"/>
                      <a:pt x="7" y="51"/>
                      <a:pt x="6" y="38"/>
                    </a:cubicBezTo>
                    <a:cubicBezTo>
                      <a:pt x="5" y="34"/>
                      <a:pt x="4" y="30"/>
                      <a:pt x="2" y="26"/>
                    </a:cubicBezTo>
                    <a:cubicBezTo>
                      <a:pt x="0" y="21"/>
                      <a:pt x="1" y="17"/>
                      <a:pt x="6" y="16"/>
                    </a:cubicBezTo>
                    <a:cubicBezTo>
                      <a:pt x="14" y="12"/>
                      <a:pt x="23" y="11"/>
                      <a:pt x="32" y="10"/>
                    </a:cubicBezTo>
                    <a:cubicBezTo>
                      <a:pt x="36" y="9"/>
                      <a:pt x="38" y="7"/>
                      <a:pt x="38" y="4"/>
                    </a:cubicBezTo>
                    <a:cubicBezTo>
                      <a:pt x="38" y="2"/>
                      <a:pt x="38" y="1"/>
                      <a:pt x="39" y="0"/>
                    </a:cubicBezTo>
                    <a:cubicBezTo>
                      <a:pt x="41" y="0"/>
                      <a:pt x="42" y="0"/>
                      <a:pt x="43" y="2"/>
                    </a:cubicBezTo>
                    <a:close/>
                    <a:moveTo>
                      <a:pt x="24" y="23"/>
                    </a:moveTo>
                    <a:cubicBezTo>
                      <a:pt x="33" y="22"/>
                      <a:pt x="44" y="22"/>
                      <a:pt x="58" y="23"/>
                    </a:cubicBezTo>
                    <a:cubicBezTo>
                      <a:pt x="63" y="24"/>
                      <a:pt x="66" y="26"/>
                      <a:pt x="66" y="29"/>
                    </a:cubicBezTo>
                    <a:cubicBezTo>
                      <a:pt x="66" y="30"/>
                      <a:pt x="66" y="30"/>
                      <a:pt x="67" y="31"/>
                    </a:cubicBezTo>
                    <a:cubicBezTo>
                      <a:pt x="67" y="33"/>
                      <a:pt x="67" y="35"/>
                      <a:pt x="67" y="37"/>
                    </a:cubicBezTo>
                    <a:cubicBezTo>
                      <a:pt x="69" y="38"/>
                      <a:pt x="71" y="38"/>
                      <a:pt x="73" y="38"/>
                    </a:cubicBezTo>
                    <a:cubicBezTo>
                      <a:pt x="73" y="37"/>
                      <a:pt x="73" y="36"/>
                      <a:pt x="73" y="34"/>
                    </a:cubicBezTo>
                    <a:cubicBezTo>
                      <a:pt x="73" y="32"/>
                      <a:pt x="73" y="30"/>
                      <a:pt x="74" y="29"/>
                    </a:cubicBezTo>
                    <a:cubicBezTo>
                      <a:pt x="75" y="25"/>
                      <a:pt x="72" y="21"/>
                      <a:pt x="66" y="20"/>
                    </a:cubicBezTo>
                    <a:cubicBezTo>
                      <a:pt x="58" y="17"/>
                      <a:pt x="50" y="16"/>
                      <a:pt x="40" y="16"/>
                    </a:cubicBezTo>
                    <a:cubicBezTo>
                      <a:pt x="29" y="16"/>
                      <a:pt x="20" y="18"/>
                      <a:pt x="13" y="21"/>
                    </a:cubicBezTo>
                    <a:cubicBezTo>
                      <a:pt x="11" y="22"/>
                      <a:pt x="11" y="24"/>
                      <a:pt x="11" y="26"/>
                    </a:cubicBezTo>
                    <a:cubicBezTo>
                      <a:pt x="11" y="28"/>
                      <a:pt x="12" y="30"/>
                      <a:pt x="12" y="32"/>
                    </a:cubicBezTo>
                    <a:cubicBezTo>
                      <a:pt x="12" y="35"/>
                      <a:pt x="12" y="37"/>
                      <a:pt x="12" y="38"/>
                    </a:cubicBezTo>
                    <a:cubicBezTo>
                      <a:pt x="14" y="38"/>
                      <a:pt x="15" y="38"/>
                      <a:pt x="17" y="38"/>
                    </a:cubicBezTo>
                    <a:cubicBezTo>
                      <a:pt x="17" y="35"/>
                      <a:pt x="17" y="32"/>
                      <a:pt x="17" y="30"/>
                    </a:cubicBezTo>
                    <a:cubicBezTo>
                      <a:pt x="18" y="26"/>
                      <a:pt x="20" y="24"/>
                      <a:pt x="24" y="23"/>
                    </a:cubicBezTo>
                    <a:close/>
                    <a:moveTo>
                      <a:pt x="28" y="64"/>
                    </a:moveTo>
                    <a:cubicBezTo>
                      <a:pt x="39" y="62"/>
                      <a:pt x="50" y="62"/>
                      <a:pt x="61" y="64"/>
                    </a:cubicBezTo>
                    <a:cubicBezTo>
                      <a:pt x="65" y="65"/>
                      <a:pt x="67" y="67"/>
                      <a:pt x="67" y="71"/>
                    </a:cubicBezTo>
                    <a:cubicBezTo>
                      <a:pt x="69" y="79"/>
                      <a:pt x="68" y="88"/>
                      <a:pt x="66" y="96"/>
                    </a:cubicBezTo>
                    <a:cubicBezTo>
                      <a:pt x="65" y="102"/>
                      <a:pt x="61" y="105"/>
                      <a:pt x="54" y="105"/>
                    </a:cubicBezTo>
                    <a:cubicBezTo>
                      <a:pt x="55" y="115"/>
                      <a:pt x="57" y="125"/>
                      <a:pt x="61" y="136"/>
                    </a:cubicBezTo>
                    <a:cubicBezTo>
                      <a:pt x="63" y="138"/>
                      <a:pt x="63" y="140"/>
                      <a:pt x="61" y="142"/>
                    </a:cubicBezTo>
                    <a:cubicBezTo>
                      <a:pt x="60" y="142"/>
                      <a:pt x="59" y="143"/>
                      <a:pt x="59" y="143"/>
                    </a:cubicBezTo>
                    <a:cubicBezTo>
                      <a:pt x="58" y="143"/>
                      <a:pt x="57" y="142"/>
                      <a:pt x="57" y="141"/>
                    </a:cubicBezTo>
                    <a:cubicBezTo>
                      <a:pt x="52" y="131"/>
                      <a:pt x="48" y="120"/>
                      <a:pt x="46" y="105"/>
                    </a:cubicBezTo>
                    <a:cubicBezTo>
                      <a:pt x="41" y="105"/>
                      <a:pt x="41" y="105"/>
                      <a:pt x="41" y="105"/>
                    </a:cubicBezTo>
                    <a:cubicBezTo>
                      <a:pt x="40" y="120"/>
                      <a:pt x="37" y="131"/>
                      <a:pt x="30" y="140"/>
                    </a:cubicBezTo>
                    <a:cubicBezTo>
                      <a:pt x="29" y="141"/>
                      <a:pt x="27" y="142"/>
                      <a:pt x="26" y="142"/>
                    </a:cubicBezTo>
                    <a:cubicBezTo>
                      <a:pt x="25" y="141"/>
                      <a:pt x="25" y="139"/>
                      <a:pt x="26" y="137"/>
                    </a:cubicBezTo>
                    <a:cubicBezTo>
                      <a:pt x="26" y="137"/>
                      <a:pt x="26" y="135"/>
                      <a:pt x="28" y="132"/>
                    </a:cubicBezTo>
                    <a:cubicBezTo>
                      <a:pt x="30" y="127"/>
                      <a:pt x="32" y="123"/>
                      <a:pt x="32" y="121"/>
                    </a:cubicBezTo>
                    <a:cubicBezTo>
                      <a:pt x="33" y="118"/>
                      <a:pt x="34" y="113"/>
                      <a:pt x="35" y="107"/>
                    </a:cubicBezTo>
                    <a:cubicBezTo>
                      <a:pt x="35" y="106"/>
                      <a:pt x="35" y="106"/>
                      <a:pt x="35" y="105"/>
                    </a:cubicBezTo>
                    <a:cubicBezTo>
                      <a:pt x="29" y="105"/>
                      <a:pt x="25" y="103"/>
                      <a:pt x="22" y="98"/>
                    </a:cubicBezTo>
                    <a:cubicBezTo>
                      <a:pt x="19" y="93"/>
                      <a:pt x="17" y="85"/>
                      <a:pt x="18" y="75"/>
                    </a:cubicBezTo>
                    <a:cubicBezTo>
                      <a:pt x="19" y="68"/>
                      <a:pt x="22" y="65"/>
                      <a:pt x="28" y="64"/>
                    </a:cubicBezTo>
                    <a:close/>
                    <a:moveTo>
                      <a:pt x="24" y="35"/>
                    </a:moveTo>
                    <a:cubicBezTo>
                      <a:pt x="24" y="36"/>
                      <a:pt x="24" y="36"/>
                      <a:pt x="24" y="37"/>
                    </a:cubicBezTo>
                    <a:cubicBezTo>
                      <a:pt x="29" y="37"/>
                      <a:pt x="34" y="37"/>
                      <a:pt x="39" y="37"/>
                    </a:cubicBezTo>
                    <a:cubicBezTo>
                      <a:pt x="39" y="34"/>
                      <a:pt x="38" y="31"/>
                      <a:pt x="38" y="29"/>
                    </a:cubicBezTo>
                    <a:cubicBezTo>
                      <a:pt x="37" y="29"/>
                      <a:pt x="36" y="29"/>
                      <a:pt x="34" y="29"/>
                    </a:cubicBezTo>
                    <a:cubicBezTo>
                      <a:pt x="31" y="29"/>
                      <a:pt x="30" y="29"/>
                      <a:pt x="28" y="29"/>
                    </a:cubicBezTo>
                    <a:cubicBezTo>
                      <a:pt x="25" y="31"/>
                      <a:pt x="24" y="32"/>
                      <a:pt x="24" y="35"/>
                    </a:cubicBezTo>
                    <a:close/>
                    <a:moveTo>
                      <a:pt x="61" y="87"/>
                    </a:moveTo>
                    <a:cubicBezTo>
                      <a:pt x="61" y="86"/>
                      <a:pt x="62" y="85"/>
                      <a:pt x="62" y="84"/>
                    </a:cubicBezTo>
                    <a:cubicBezTo>
                      <a:pt x="62" y="83"/>
                      <a:pt x="62" y="82"/>
                      <a:pt x="62" y="82"/>
                    </a:cubicBezTo>
                    <a:cubicBezTo>
                      <a:pt x="56" y="81"/>
                      <a:pt x="50" y="80"/>
                      <a:pt x="43" y="81"/>
                    </a:cubicBezTo>
                    <a:cubicBezTo>
                      <a:pt x="37" y="81"/>
                      <a:pt x="31" y="82"/>
                      <a:pt x="24" y="83"/>
                    </a:cubicBezTo>
                    <a:cubicBezTo>
                      <a:pt x="25" y="87"/>
                      <a:pt x="25" y="87"/>
                      <a:pt x="25" y="87"/>
                    </a:cubicBezTo>
                    <a:cubicBezTo>
                      <a:pt x="35" y="86"/>
                      <a:pt x="48" y="86"/>
                      <a:pt x="61" y="87"/>
                    </a:cubicBezTo>
                    <a:close/>
                    <a:moveTo>
                      <a:pt x="26" y="48"/>
                    </a:moveTo>
                    <a:cubicBezTo>
                      <a:pt x="28" y="51"/>
                      <a:pt x="30" y="52"/>
                      <a:pt x="35" y="52"/>
                    </a:cubicBezTo>
                    <a:cubicBezTo>
                      <a:pt x="38" y="52"/>
                      <a:pt x="38" y="52"/>
                      <a:pt x="38" y="52"/>
                    </a:cubicBezTo>
                    <a:cubicBezTo>
                      <a:pt x="38" y="49"/>
                      <a:pt x="39" y="46"/>
                      <a:pt x="39" y="44"/>
                    </a:cubicBezTo>
                    <a:cubicBezTo>
                      <a:pt x="34" y="44"/>
                      <a:pt x="30" y="44"/>
                      <a:pt x="25" y="44"/>
                    </a:cubicBezTo>
                    <a:cubicBezTo>
                      <a:pt x="25" y="46"/>
                      <a:pt x="25" y="47"/>
                      <a:pt x="26" y="48"/>
                    </a:cubicBezTo>
                    <a:close/>
                    <a:moveTo>
                      <a:pt x="32" y="69"/>
                    </a:moveTo>
                    <a:cubicBezTo>
                      <a:pt x="28" y="70"/>
                      <a:pt x="25" y="72"/>
                      <a:pt x="25" y="76"/>
                    </a:cubicBezTo>
                    <a:cubicBezTo>
                      <a:pt x="30" y="75"/>
                      <a:pt x="35" y="75"/>
                      <a:pt x="41" y="75"/>
                    </a:cubicBezTo>
                    <a:cubicBezTo>
                      <a:pt x="46" y="74"/>
                      <a:pt x="53" y="74"/>
                      <a:pt x="61" y="75"/>
                    </a:cubicBezTo>
                    <a:cubicBezTo>
                      <a:pt x="61" y="72"/>
                      <a:pt x="59" y="71"/>
                      <a:pt x="57" y="70"/>
                    </a:cubicBezTo>
                    <a:cubicBezTo>
                      <a:pt x="49" y="68"/>
                      <a:pt x="40" y="68"/>
                      <a:pt x="32" y="69"/>
                    </a:cubicBezTo>
                    <a:close/>
                    <a:moveTo>
                      <a:pt x="56" y="98"/>
                    </a:moveTo>
                    <a:cubicBezTo>
                      <a:pt x="59" y="97"/>
                      <a:pt x="60" y="96"/>
                      <a:pt x="61" y="93"/>
                    </a:cubicBezTo>
                    <a:cubicBezTo>
                      <a:pt x="60" y="93"/>
                      <a:pt x="57" y="93"/>
                      <a:pt x="54" y="93"/>
                    </a:cubicBezTo>
                    <a:cubicBezTo>
                      <a:pt x="48" y="92"/>
                      <a:pt x="44" y="92"/>
                      <a:pt x="41" y="92"/>
                    </a:cubicBezTo>
                    <a:cubicBezTo>
                      <a:pt x="40" y="92"/>
                      <a:pt x="38" y="92"/>
                      <a:pt x="36" y="93"/>
                    </a:cubicBezTo>
                    <a:cubicBezTo>
                      <a:pt x="31" y="93"/>
                      <a:pt x="28" y="94"/>
                      <a:pt x="26" y="94"/>
                    </a:cubicBezTo>
                    <a:cubicBezTo>
                      <a:pt x="27" y="96"/>
                      <a:pt x="29" y="98"/>
                      <a:pt x="32" y="98"/>
                    </a:cubicBezTo>
                    <a:cubicBezTo>
                      <a:pt x="39" y="99"/>
                      <a:pt x="47" y="99"/>
                      <a:pt x="56" y="98"/>
                    </a:cubicBezTo>
                    <a:close/>
                    <a:moveTo>
                      <a:pt x="56" y="29"/>
                    </a:moveTo>
                    <a:cubicBezTo>
                      <a:pt x="55" y="29"/>
                      <a:pt x="53" y="29"/>
                      <a:pt x="51" y="29"/>
                    </a:cubicBezTo>
                    <a:cubicBezTo>
                      <a:pt x="49" y="29"/>
                      <a:pt x="47" y="29"/>
                      <a:pt x="46" y="29"/>
                    </a:cubicBezTo>
                    <a:cubicBezTo>
                      <a:pt x="46" y="31"/>
                      <a:pt x="46" y="34"/>
                      <a:pt x="46" y="37"/>
                    </a:cubicBezTo>
                    <a:cubicBezTo>
                      <a:pt x="50" y="37"/>
                      <a:pt x="55" y="37"/>
                      <a:pt x="60" y="37"/>
                    </a:cubicBezTo>
                    <a:cubicBezTo>
                      <a:pt x="60" y="35"/>
                      <a:pt x="60" y="35"/>
                      <a:pt x="60" y="35"/>
                    </a:cubicBezTo>
                    <a:cubicBezTo>
                      <a:pt x="60" y="32"/>
                      <a:pt x="58" y="30"/>
                      <a:pt x="56" y="29"/>
                    </a:cubicBezTo>
                    <a:close/>
                    <a:moveTo>
                      <a:pt x="59" y="48"/>
                    </a:moveTo>
                    <a:cubicBezTo>
                      <a:pt x="59" y="47"/>
                      <a:pt x="59" y="45"/>
                      <a:pt x="60" y="43"/>
                    </a:cubicBezTo>
                    <a:cubicBezTo>
                      <a:pt x="55" y="43"/>
                      <a:pt x="51" y="43"/>
                      <a:pt x="46" y="43"/>
                    </a:cubicBezTo>
                    <a:cubicBezTo>
                      <a:pt x="46" y="52"/>
                      <a:pt x="46" y="52"/>
                      <a:pt x="46" y="52"/>
                    </a:cubicBezTo>
                    <a:cubicBezTo>
                      <a:pt x="48" y="52"/>
                      <a:pt x="51" y="52"/>
                      <a:pt x="54" y="52"/>
                    </a:cubicBezTo>
                    <a:cubicBezTo>
                      <a:pt x="57" y="51"/>
                      <a:pt x="59" y="49"/>
                      <a:pt x="59" y="4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27" name="îSḻide"/>
              <p:cNvSpPr/>
              <p:nvPr/>
            </p:nvSpPr>
            <p:spPr bwMode="auto">
              <a:xfrm>
                <a:off x="2449409" y="5256803"/>
                <a:ext cx="139700" cy="265113"/>
              </a:xfrm>
              <a:custGeom>
                <a:avLst/>
                <a:gdLst>
                  <a:gd name="T0" fmla="*/ 56 w 76"/>
                  <a:gd name="T1" fmla="*/ 3 h 144"/>
                  <a:gd name="T2" fmla="*/ 61 w 76"/>
                  <a:gd name="T3" fmla="*/ 45 h 144"/>
                  <a:gd name="T4" fmla="*/ 50 w 76"/>
                  <a:gd name="T5" fmla="*/ 74 h 144"/>
                  <a:gd name="T6" fmla="*/ 68 w 76"/>
                  <a:gd name="T7" fmla="*/ 65 h 144"/>
                  <a:gd name="T8" fmla="*/ 70 w 76"/>
                  <a:gd name="T9" fmla="*/ 31 h 144"/>
                  <a:gd name="T10" fmla="*/ 74 w 76"/>
                  <a:gd name="T11" fmla="*/ 31 h 144"/>
                  <a:gd name="T12" fmla="*/ 74 w 76"/>
                  <a:gd name="T13" fmla="*/ 64 h 144"/>
                  <a:gd name="T14" fmla="*/ 50 w 76"/>
                  <a:gd name="T15" fmla="*/ 81 h 144"/>
                  <a:gd name="T16" fmla="*/ 69 w 76"/>
                  <a:gd name="T17" fmla="*/ 103 h 144"/>
                  <a:gd name="T18" fmla="*/ 74 w 76"/>
                  <a:gd name="T19" fmla="*/ 140 h 144"/>
                  <a:gd name="T20" fmla="*/ 63 w 76"/>
                  <a:gd name="T21" fmla="*/ 105 h 144"/>
                  <a:gd name="T22" fmla="*/ 52 w 76"/>
                  <a:gd name="T23" fmla="*/ 138 h 144"/>
                  <a:gd name="T24" fmla="*/ 46 w 76"/>
                  <a:gd name="T25" fmla="*/ 139 h 144"/>
                  <a:gd name="T26" fmla="*/ 42 w 76"/>
                  <a:gd name="T27" fmla="*/ 57 h 144"/>
                  <a:gd name="T28" fmla="*/ 35 w 76"/>
                  <a:gd name="T29" fmla="*/ 132 h 144"/>
                  <a:gd name="T30" fmla="*/ 27 w 76"/>
                  <a:gd name="T31" fmla="*/ 136 h 144"/>
                  <a:gd name="T32" fmla="*/ 29 w 76"/>
                  <a:gd name="T33" fmla="*/ 95 h 144"/>
                  <a:gd name="T34" fmla="*/ 5 w 76"/>
                  <a:gd name="T35" fmla="*/ 135 h 144"/>
                  <a:gd name="T36" fmla="*/ 0 w 76"/>
                  <a:gd name="T37" fmla="*/ 135 h 144"/>
                  <a:gd name="T38" fmla="*/ 30 w 76"/>
                  <a:gd name="T39" fmla="*/ 86 h 144"/>
                  <a:gd name="T40" fmla="*/ 26 w 76"/>
                  <a:gd name="T41" fmla="*/ 80 h 144"/>
                  <a:gd name="T42" fmla="*/ 5 w 76"/>
                  <a:gd name="T43" fmla="*/ 66 h 144"/>
                  <a:gd name="T44" fmla="*/ 3 w 76"/>
                  <a:gd name="T45" fmla="*/ 29 h 144"/>
                  <a:gd name="T46" fmla="*/ 9 w 76"/>
                  <a:gd name="T47" fmla="*/ 59 h 144"/>
                  <a:gd name="T48" fmla="*/ 31 w 76"/>
                  <a:gd name="T49" fmla="*/ 74 h 144"/>
                  <a:gd name="T50" fmla="*/ 32 w 76"/>
                  <a:gd name="T51" fmla="*/ 57 h 144"/>
                  <a:gd name="T52" fmla="*/ 16 w 76"/>
                  <a:gd name="T53" fmla="*/ 14 h 144"/>
                  <a:gd name="T54" fmla="*/ 22 w 76"/>
                  <a:gd name="T55" fmla="*/ 19 h 144"/>
                  <a:gd name="T56" fmla="*/ 57 w 76"/>
                  <a:gd name="T57" fmla="*/ 19 h 144"/>
                  <a:gd name="T58" fmla="*/ 50 w 76"/>
                  <a:gd name="T59" fmla="*/ 9 h 144"/>
                  <a:gd name="T60" fmla="*/ 22 w 76"/>
                  <a:gd name="T61" fmla="*/ 19 h 144"/>
                  <a:gd name="T62" fmla="*/ 23 w 76"/>
                  <a:gd name="T63" fmla="*/ 31 h 144"/>
                  <a:gd name="T64" fmla="*/ 57 w 76"/>
                  <a:gd name="T65" fmla="*/ 34 h 144"/>
                  <a:gd name="T66" fmla="*/ 22 w 76"/>
                  <a:gd name="T67" fmla="*/ 27 h 144"/>
                  <a:gd name="T68" fmla="*/ 48 w 76"/>
                  <a:gd name="T69" fmla="*/ 50 h 144"/>
                  <a:gd name="T70" fmla="*/ 57 w 76"/>
                  <a:gd name="T71" fmla="*/ 41 h 144"/>
                  <a:gd name="T72" fmla="*/ 25 w 76"/>
                  <a:gd name="T73" fmla="*/ 44 h 1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76" h="144">
                    <a:moveTo>
                      <a:pt x="27" y="2"/>
                    </a:moveTo>
                    <a:cubicBezTo>
                      <a:pt x="37" y="0"/>
                      <a:pt x="47" y="0"/>
                      <a:pt x="56" y="3"/>
                    </a:cubicBezTo>
                    <a:cubicBezTo>
                      <a:pt x="60" y="3"/>
                      <a:pt x="62" y="7"/>
                      <a:pt x="63" y="15"/>
                    </a:cubicBezTo>
                    <a:cubicBezTo>
                      <a:pt x="65" y="25"/>
                      <a:pt x="64" y="35"/>
                      <a:pt x="61" y="45"/>
                    </a:cubicBezTo>
                    <a:cubicBezTo>
                      <a:pt x="60" y="53"/>
                      <a:pt x="55" y="56"/>
                      <a:pt x="49" y="57"/>
                    </a:cubicBezTo>
                    <a:cubicBezTo>
                      <a:pt x="49" y="62"/>
                      <a:pt x="50" y="68"/>
                      <a:pt x="50" y="74"/>
                    </a:cubicBezTo>
                    <a:cubicBezTo>
                      <a:pt x="53" y="74"/>
                      <a:pt x="56" y="74"/>
                      <a:pt x="58" y="74"/>
                    </a:cubicBezTo>
                    <a:cubicBezTo>
                      <a:pt x="62" y="75"/>
                      <a:pt x="66" y="72"/>
                      <a:pt x="68" y="65"/>
                    </a:cubicBezTo>
                    <a:cubicBezTo>
                      <a:pt x="69" y="62"/>
                      <a:pt x="70" y="53"/>
                      <a:pt x="70" y="39"/>
                    </a:cubicBezTo>
                    <a:cubicBezTo>
                      <a:pt x="70" y="35"/>
                      <a:pt x="70" y="32"/>
                      <a:pt x="70" y="31"/>
                    </a:cubicBezTo>
                    <a:cubicBezTo>
                      <a:pt x="71" y="31"/>
                      <a:pt x="71" y="30"/>
                      <a:pt x="72" y="30"/>
                    </a:cubicBezTo>
                    <a:cubicBezTo>
                      <a:pt x="73" y="30"/>
                      <a:pt x="74" y="30"/>
                      <a:pt x="74" y="31"/>
                    </a:cubicBezTo>
                    <a:cubicBezTo>
                      <a:pt x="75" y="33"/>
                      <a:pt x="76" y="36"/>
                      <a:pt x="76" y="41"/>
                    </a:cubicBezTo>
                    <a:cubicBezTo>
                      <a:pt x="76" y="49"/>
                      <a:pt x="75" y="56"/>
                      <a:pt x="74" y="64"/>
                    </a:cubicBezTo>
                    <a:cubicBezTo>
                      <a:pt x="72" y="75"/>
                      <a:pt x="67" y="81"/>
                      <a:pt x="58" y="81"/>
                    </a:cubicBezTo>
                    <a:cubicBezTo>
                      <a:pt x="50" y="81"/>
                      <a:pt x="50" y="81"/>
                      <a:pt x="50" y="81"/>
                    </a:cubicBezTo>
                    <a:cubicBezTo>
                      <a:pt x="50" y="87"/>
                      <a:pt x="50" y="87"/>
                      <a:pt x="50" y="87"/>
                    </a:cubicBezTo>
                    <a:cubicBezTo>
                      <a:pt x="60" y="87"/>
                      <a:pt x="66" y="92"/>
                      <a:pt x="69" y="103"/>
                    </a:cubicBezTo>
                    <a:cubicBezTo>
                      <a:pt x="72" y="112"/>
                      <a:pt x="74" y="122"/>
                      <a:pt x="76" y="134"/>
                    </a:cubicBezTo>
                    <a:cubicBezTo>
                      <a:pt x="76" y="138"/>
                      <a:pt x="75" y="140"/>
                      <a:pt x="74" y="140"/>
                    </a:cubicBezTo>
                    <a:cubicBezTo>
                      <a:pt x="72" y="141"/>
                      <a:pt x="71" y="139"/>
                      <a:pt x="70" y="136"/>
                    </a:cubicBezTo>
                    <a:cubicBezTo>
                      <a:pt x="68" y="126"/>
                      <a:pt x="66" y="116"/>
                      <a:pt x="63" y="105"/>
                    </a:cubicBezTo>
                    <a:cubicBezTo>
                      <a:pt x="61" y="98"/>
                      <a:pt x="57" y="95"/>
                      <a:pt x="50" y="95"/>
                    </a:cubicBezTo>
                    <a:cubicBezTo>
                      <a:pt x="50" y="109"/>
                      <a:pt x="51" y="123"/>
                      <a:pt x="52" y="138"/>
                    </a:cubicBezTo>
                    <a:cubicBezTo>
                      <a:pt x="52" y="141"/>
                      <a:pt x="51" y="143"/>
                      <a:pt x="49" y="144"/>
                    </a:cubicBezTo>
                    <a:cubicBezTo>
                      <a:pt x="47" y="144"/>
                      <a:pt x="46" y="142"/>
                      <a:pt x="46" y="139"/>
                    </a:cubicBezTo>
                    <a:cubicBezTo>
                      <a:pt x="44" y="134"/>
                      <a:pt x="43" y="118"/>
                      <a:pt x="43" y="92"/>
                    </a:cubicBezTo>
                    <a:cubicBezTo>
                      <a:pt x="43" y="76"/>
                      <a:pt x="43" y="64"/>
                      <a:pt x="42" y="57"/>
                    </a:cubicBezTo>
                    <a:cubicBezTo>
                      <a:pt x="38" y="57"/>
                      <a:pt x="38" y="57"/>
                      <a:pt x="38" y="57"/>
                    </a:cubicBezTo>
                    <a:cubicBezTo>
                      <a:pt x="36" y="88"/>
                      <a:pt x="35" y="113"/>
                      <a:pt x="35" y="132"/>
                    </a:cubicBezTo>
                    <a:cubicBezTo>
                      <a:pt x="35" y="138"/>
                      <a:pt x="33" y="142"/>
                      <a:pt x="31" y="142"/>
                    </a:cubicBezTo>
                    <a:cubicBezTo>
                      <a:pt x="29" y="142"/>
                      <a:pt x="27" y="140"/>
                      <a:pt x="27" y="136"/>
                    </a:cubicBezTo>
                    <a:cubicBezTo>
                      <a:pt x="27" y="136"/>
                      <a:pt x="27" y="134"/>
                      <a:pt x="27" y="132"/>
                    </a:cubicBezTo>
                    <a:cubicBezTo>
                      <a:pt x="28" y="118"/>
                      <a:pt x="29" y="105"/>
                      <a:pt x="29" y="95"/>
                    </a:cubicBezTo>
                    <a:cubicBezTo>
                      <a:pt x="19" y="95"/>
                      <a:pt x="14" y="98"/>
                      <a:pt x="13" y="105"/>
                    </a:cubicBezTo>
                    <a:cubicBezTo>
                      <a:pt x="10" y="114"/>
                      <a:pt x="7" y="124"/>
                      <a:pt x="5" y="135"/>
                    </a:cubicBezTo>
                    <a:cubicBezTo>
                      <a:pt x="4" y="137"/>
                      <a:pt x="3" y="139"/>
                      <a:pt x="2" y="139"/>
                    </a:cubicBezTo>
                    <a:cubicBezTo>
                      <a:pt x="1" y="140"/>
                      <a:pt x="0" y="138"/>
                      <a:pt x="0" y="135"/>
                    </a:cubicBezTo>
                    <a:cubicBezTo>
                      <a:pt x="0" y="125"/>
                      <a:pt x="2" y="115"/>
                      <a:pt x="7" y="104"/>
                    </a:cubicBezTo>
                    <a:cubicBezTo>
                      <a:pt x="11" y="92"/>
                      <a:pt x="18" y="86"/>
                      <a:pt x="30" y="86"/>
                    </a:cubicBezTo>
                    <a:cubicBezTo>
                      <a:pt x="30" y="85"/>
                      <a:pt x="30" y="83"/>
                      <a:pt x="31" y="80"/>
                    </a:cubicBezTo>
                    <a:cubicBezTo>
                      <a:pt x="29" y="81"/>
                      <a:pt x="28" y="81"/>
                      <a:pt x="26" y="80"/>
                    </a:cubicBezTo>
                    <a:cubicBezTo>
                      <a:pt x="24" y="80"/>
                      <a:pt x="23" y="80"/>
                      <a:pt x="22" y="80"/>
                    </a:cubicBezTo>
                    <a:cubicBezTo>
                      <a:pt x="14" y="81"/>
                      <a:pt x="8" y="76"/>
                      <a:pt x="5" y="66"/>
                    </a:cubicBezTo>
                    <a:cubicBezTo>
                      <a:pt x="2" y="59"/>
                      <a:pt x="0" y="49"/>
                      <a:pt x="0" y="37"/>
                    </a:cubicBezTo>
                    <a:cubicBezTo>
                      <a:pt x="0" y="32"/>
                      <a:pt x="1" y="29"/>
                      <a:pt x="3" y="29"/>
                    </a:cubicBezTo>
                    <a:cubicBezTo>
                      <a:pt x="6" y="31"/>
                      <a:pt x="8" y="35"/>
                      <a:pt x="8" y="39"/>
                    </a:cubicBezTo>
                    <a:cubicBezTo>
                      <a:pt x="7" y="45"/>
                      <a:pt x="7" y="52"/>
                      <a:pt x="9" y="59"/>
                    </a:cubicBezTo>
                    <a:cubicBezTo>
                      <a:pt x="10" y="68"/>
                      <a:pt x="16" y="73"/>
                      <a:pt x="24" y="74"/>
                    </a:cubicBezTo>
                    <a:cubicBezTo>
                      <a:pt x="26" y="74"/>
                      <a:pt x="29" y="74"/>
                      <a:pt x="31" y="74"/>
                    </a:cubicBezTo>
                    <a:cubicBezTo>
                      <a:pt x="31" y="72"/>
                      <a:pt x="31" y="69"/>
                      <a:pt x="31" y="65"/>
                    </a:cubicBezTo>
                    <a:cubicBezTo>
                      <a:pt x="31" y="61"/>
                      <a:pt x="32" y="58"/>
                      <a:pt x="32" y="57"/>
                    </a:cubicBezTo>
                    <a:cubicBezTo>
                      <a:pt x="25" y="56"/>
                      <a:pt x="20" y="53"/>
                      <a:pt x="19" y="48"/>
                    </a:cubicBezTo>
                    <a:cubicBezTo>
                      <a:pt x="15" y="36"/>
                      <a:pt x="14" y="25"/>
                      <a:pt x="16" y="14"/>
                    </a:cubicBezTo>
                    <a:cubicBezTo>
                      <a:pt x="17" y="6"/>
                      <a:pt x="21" y="2"/>
                      <a:pt x="27" y="2"/>
                    </a:cubicBezTo>
                    <a:close/>
                    <a:moveTo>
                      <a:pt x="22" y="19"/>
                    </a:moveTo>
                    <a:cubicBezTo>
                      <a:pt x="22" y="20"/>
                      <a:pt x="22" y="20"/>
                      <a:pt x="22" y="20"/>
                    </a:cubicBezTo>
                    <a:cubicBezTo>
                      <a:pt x="30" y="20"/>
                      <a:pt x="42" y="19"/>
                      <a:pt x="57" y="19"/>
                    </a:cubicBezTo>
                    <a:cubicBezTo>
                      <a:pt x="57" y="18"/>
                      <a:pt x="57" y="17"/>
                      <a:pt x="57" y="16"/>
                    </a:cubicBezTo>
                    <a:cubicBezTo>
                      <a:pt x="56" y="13"/>
                      <a:pt x="54" y="10"/>
                      <a:pt x="50" y="9"/>
                    </a:cubicBezTo>
                    <a:cubicBezTo>
                      <a:pt x="44" y="8"/>
                      <a:pt x="37" y="7"/>
                      <a:pt x="31" y="9"/>
                    </a:cubicBezTo>
                    <a:cubicBezTo>
                      <a:pt x="25" y="11"/>
                      <a:pt x="22" y="14"/>
                      <a:pt x="22" y="19"/>
                    </a:cubicBezTo>
                    <a:close/>
                    <a:moveTo>
                      <a:pt x="22" y="27"/>
                    </a:moveTo>
                    <a:cubicBezTo>
                      <a:pt x="22" y="28"/>
                      <a:pt x="22" y="29"/>
                      <a:pt x="23" y="31"/>
                    </a:cubicBezTo>
                    <a:cubicBezTo>
                      <a:pt x="23" y="32"/>
                      <a:pt x="23" y="33"/>
                      <a:pt x="23" y="34"/>
                    </a:cubicBezTo>
                    <a:cubicBezTo>
                      <a:pt x="57" y="34"/>
                      <a:pt x="57" y="34"/>
                      <a:pt x="57" y="34"/>
                    </a:cubicBezTo>
                    <a:cubicBezTo>
                      <a:pt x="57" y="27"/>
                      <a:pt x="57" y="27"/>
                      <a:pt x="57" y="27"/>
                    </a:cubicBezTo>
                    <a:cubicBezTo>
                      <a:pt x="45" y="26"/>
                      <a:pt x="33" y="26"/>
                      <a:pt x="22" y="27"/>
                    </a:cubicBezTo>
                    <a:close/>
                    <a:moveTo>
                      <a:pt x="35" y="50"/>
                    </a:moveTo>
                    <a:cubicBezTo>
                      <a:pt x="48" y="50"/>
                      <a:pt x="48" y="50"/>
                      <a:pt x="48" y="50"/>
                    </a:cubicBezTo>
                    <a:cubicBezTo>
                      <a:pt x="53" y="50"/>
                      <a:pt x="55" y="47"/>
                      <a:pt x="57" y="42"/>
                    </a:cubicBezTo>
                    <a:cubicBezTo>
                      <a:pt x="57" y="41"/>
                      <a:pt x="57" y="41"/>
                      <a:pt x="57" y="41"/>
                    </a:cubicBezTo>
                    <a:cubicBezTo>
                      <a:pt x="43" y="41"/>
                      <a:pt x="32" y="41"/>
                      <a:pt x="24" y="42"/>
                    </a:cubicBezTo>
                    <a:cubicBezTo>
                      <a:pt x="24" y="43"/>
                      <a:pt x="24" y="43"/>
                      <a:pt x="25" y="44"/>
                    </a:cubicBezTo>
                    <a:cubicBezTo>
                      <a:pt x="27" y="48"/>
                      <a:pt x="30" y="50"/>
                      <a:pt x="35" y="5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28" name="iṣlîḋè"/>
              <p:cNvSpPr/>
              <p:nvPr/>
            </p:nvSpPr>
            <p:spPr bwMode="auto">
              <a:xfrm>
                <a:off x="2604984" y="5259978"/>
                <a:ext cx="177800" cy="255588"/>
              </a:xfrm>
              <a:custGeom>
                <a:avLst/>
                <a:gdLst>
                  <a:gd name="T0" fmla="*/ 5 w 96"/>
                  <a:gd name="T1" fmla="*/ 37 h 138"/>
                  <a:gd name="T2" fmla="*/ 24 w 96"/>
                  <a:gd name="T3" fmla="*/ 49 h 138"/>
                  <a:gd name="T4" fmla="*/ 7 w 96"/>
                  <a:gd name="T5" fmla="*/ 26 h 138"/>
                  <a:gd name="T6" fmla="*/ 0 w 96"/>
                  <a:gd name="T7" fmla="*/ 22 h 138"/>
                  <a:gd name="T8" fmla="*/ 44 w 96"/>
                  <a:gd name="T9" fmla="*/ 19 h 138"/>
                  <a:gd name="T10" fmla="*/ 40 w 96"/>
                  <a:gd name="T11" fmla="*/ 26 h 138"/>
                  <a:gd name="T12" fmla="*/ 29 w 96"/>
                  <a:gd name="T13" fmla="*/ 49 h 138"/>
                  <a:gd name="T14" fmla="*/ 42 w 96"/>
                  <a:gd name="T15" fmla="*/ 39 h 138"/>
                  <a:gd name="T16" fmla="*/ 36 w 96"/>
                  <a:gd name="T17" fmla="*/ 64 h 138"/>
                  <a:gd name="T18" fmla="*/ 44 w 96"/>
                  <a:gd name="T19" fmla="*/ 70 h 138"/>
                  <a:gd name="T20" fmla="*/ 30 w 96"/>
                  <a:gd name="T21" fmla="*/ 78 h 138"/>
                  <a:gd name="T22" fmla="*/ 48 w 96"/>
                  <a:gd name="T23" fmla="*/ 111 h 138"/>
                  <a:gd name="T24" fmla="*/ 42 w 96"/>
                  <a:gd name="T25" fmla="*/ 124 h 138"/>
                  <a:gd name="T26" fmla="*/ 33 w 96"/>
                  <a:gd name="T27" fmla="*/ 93 h 138"/>
                  <a:gd name="T28" fmla="*/ 30 w 96"/>
                  <a:gd name="T29" fmla="*/ 116 h 138"/>
                  <a:gd name="T30" fmla="*/ 24 w 96"/>
                  <a:gd name="T31" fmla="*/ 133 h 138"/>
                  <a:gd name="T32" fmla="*/ 20 w 96"/>
                  <a:gd name="T33" fmla="*/ 93 h 138"/>
                  <a:gd name="T34" fmla="*/ 11 w 96"/>
                  <a:gd name="T35" fmla="*/ 122 h 138"/>
                  <a:gd name="T36" fmla="*/ 8 w 96"/>
                  <a:gd name="T37" fmla="*/ 102 h 138"/>
                  <a:gd name="T38" fmla="*/ 24 w 96"/>
                  <a:gd name="T39" fmla="*/ 81 h 138"/>
                  <a:gd name="T40" fmla="*/ 3 w 96"/>
                  <a:gd name="T41" fmla="*/ 77 h 138"/>
                  <a:gd name="T42" fmla="*/ 14 w 96"/>
                  <a:gd name="T43" fmla="*/ 70 h 138"/>
                  <a:gd name="T44" fmla="*/ 20 w 96"/>
                  <a:gd name="T45" fmla="*/ 65 h 138"/>
                  <a:gd name="T46" fmla="*/ 2 w 96"/>
                  <a:gd name="T47" fmla="*/ 37 h 138"/>
                  <a:gd name="T48" fmla="*/ 40 w 96"/>
                  <a:gd name="T49" fmla="*/ 3 h 138"/>
                  <a:gd name="T50" fmla="*/ 14 w 96"/>
                  <a:gd name="T51" fmla="*/ 11 h 138"/>
                  <a:gd name="T52" fmla="*/ 5 w 96"/>
                  <a:gd name="T53" fmla="*/ 6 h 138"/>
                  <a:gd name="T54" fmla="*/ 33 w 96"/>
                  <a:gd name="T55" fmla="*/ 26 h 138"/>
                  <a:gd name="T56" fmla="*/ 27 w 96"/>
                  <a:gd name="T57" fmla="*/ 45 h 138"/>
                  <a:gd name="T58" fmla="*/ 54 w 96"/>
                  <a:gd name="T59" fmla="*/ 2 h 138"/>
                  <a:gd name="T60" fmla="*/ 58 w 96"/>
                  <a:gd name="T61" fmla="*/ 10 h 138"/>
                  <a:gd name="T62" fmla="*/ 88 w 96"/>
                  <a:gd name="T63" fmla="*/ 22 h 138"/>
                  <a:gd name="T64" fmla="*/ 74 w 96"/>
                  <a:gd name="T65" fmla="*/ 37 h 138"/>
                  <a:gd name="T66" fmla="*/ 62 w 96"/>
                  <a:gd name="T67" fmla="*/ 66 h 138"/>
                  <a:gd name="T68" fmla="*/ 53 w 96"/>
                  <a:gd name="T69" fmla="*/ 136 h 138"/>
                  <a:gd name="T70" fmla="*/ 48 w 96"/>
                  <a:gd name="T71" fmla="*/ 130 h 138"/>
                  <a:gd name="T72" fmla="*/ 55 w 96"/>
                  <a:gd name="T73" fmla="*/ 48 h 138"/>
                  <a:gd name="T74" fmla="*/ 76 w 96"/>
                  <a:gd name="T75" fmla="*/ 31 h 138"/>
                  <a:gd name="T76" fmla="*/ 65 w 96"/>
                  <a:gd name="T77" fmla="*/ 18 h 138"/>
                  <a:gd name="T78" fmla="*/ 52 w 96"/>
                  <a:gd name="T79" fmla="*/ 13 h 138"/>
                  <a:gd name="T80" fmla="*/ 94 w 96"/>
                  <a:gd name="T81" fmla="*/ 74 h 138"/>
                  <a:gd name="T82" fmla="*/ 76 w 96"/>
                  <a:gd name="T83" fmla="*/ 54 h 138"/>
                  <a:gd name="T84" fmla="*/ 83 w 96"/>
                  <a:gd name="T85" fmla="*/ 119 h 138"/>
                  <a:gd name="T86" fmla="*/ 88 w 96"/>
                  <a:gd name="T87" fmla="*/ 133 h 138"/>
                  <a:gd name="T88" fmla="*/ 70 w 96"/>
                  <a:gd name="T89" fmla="*/ 93 h 138"/>
                  <a:gd name="T90" fmla="*/ 70 w 96"/>
                  <a:gd name="T91" fmla="*/ 42 h 138"/>
                  <a:gd name="T92" fmla="*/ 95 w 96"/>
                  <a:gd name="T93" fmla="*/ 70 h 1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96" h="138">
                    <a:moveTo>
                      <a:pt x="2" y="37"/>
                    </a:moveTo>
                    <a:cubicBezTo>
                      <a:pt x="2" y="36"/>
                      <a:pt x="2" y="35"/>
                      <a:pt x="3" y="35"/>
                    </a:cubicBezTo>
                    <a:cubicBezTo>
                      <a:pt x="4" y="35"/>
                      <a:pt x="5" y="36"/>
                      <a:pt x="5" y="37"/>
                    </a:cubicBezTo>
                    <a:cubicBezTo>
                      <a:pt x="9" y="49"/>
                      <a:pt x="14" y="56"/>
                      <a:pt x="21" y="59"/>
                    </a:cubicBezTo>
                    <a:cubicBezTo>
                      <a:pt x="21" y="59"/>
                      <a:pt x="22" y="60"/>
                      <a:pt x="24" y="60"/>
                    </a:cubicBezTo>
                    <a:cubicBezTo>
                      <a:pt x="24" y="56"/>
                      <a:pt x="24" y="53"/>
                      <a:pt x="24" y="49"/>
                    </a:cubicBezTo>
                    <a:cubicBezTo>
                      <a:pt x="21" y="48"/>
                      <a:pt x="18" y="46"/>
                      <a:pt x="16" y="42"/>
                    </a:cubicBezTo>
                    <a:cubicBezTo>
                      <a:pt x="13" y="38"/>
                      <a:pt x="12" y="33"/>
                      <a:pt x="12" y="26"/>
                    </a:cubicBezTo>
                    <a:cubicBezTo>
                      <a:pt x="9" y="26"/>
                      <a:pt x="8" y="26"/>
                      <a:pt x="7" y="26"/>
                    </a:cubicBezTo>
                    <a:cubicBezTo>
                      <a:pt x="4" y="27"/>
                      <a:pt x="2" y="27"/>
                      <a:pt x="1" y="25"/>
                    </a:cubicBezTo>
                    <a:cubicBezTo>
                      <a:pt x="0" y="24"/>
                      <a:pt x="0" y="23"/>
                      <a:pt x="0" y="22"/>
                    </a:cubicBezTo>
                    <a:cubicBezTo>
                      <a:pt x="0" y="22"/>
                      <a:pt x="0" y="22"/>
                      <a:pt x="0" y="22"/>
                    </a:cubicBezTo>
                    <a:cubicBezTo>
                      <a:pt x="1" y="19"/>
                      <a:pt x="2" y="18"/>
                      <a:pt x="4" y="19"/>
                    </a:cubicBezTo>
                    <a:cubicBezTo>
                      <a:pt x="6" y="19"/>
                      <a:pt x="8" y="19"/>
                      <a:pt x="11" y="19"/>
                    </a:cubicBezTo>
                    <a:cubicBezTo>
                      <a:pt x="44" y="19"/>
                      <a:pt x="44" y="19"/>
                      <a:pt x="44" y="19"/>
                    </a:cubicBezTo>
                    <a:cubicBezTo>
                      <a:pt x="46" y="19"/>
                      <a:pt x="48" y="20"/>
                      <a:pt x="48" y="23"/>
                    </a:cubicBezTo>
                    <a:cubicBezTo>
                      <a:pt x="47" y="25"/>
                      <a:pt x="45" y="26"/>
                      <a:pt x="42" y="26"/>
                    </a:cubicBezTo>
                    <a:cubicBezTo>
                      <a:pt x="42" y="26"/>
                      <a:pt x="41" y="26"/>
                      <a:pt x="40" y="26"/>
                    </a:cubicBezTo>
                    <a:cubicBezTo>
                      <a:pt x="40" y="26"/>
                      <a:pt x="40" y="26"/>
                      <a:pt x="40" y="26"/>
                    </a:cubicBezTo>
                    <a:cubicBezTo>
                      <a:pt x="39" y="34"/>
                      <a:pt x="38" y="39"/>
                      <a:pt x="37" y="42"/>
                    </a:cubicBezTo>
                    <a:cubicBezTo>
                      <a:pt x="34" y="46"/>
                      <a:pt x="32" y="49"/>
                      <a:pt x="29" y="49"/>
                    </a:cubicBezTo>
                    <a:cubicBezTo>
                      <a:pt x="30" y="53"/>
                      <a:pt x="30" y="56"/>
                      <a:pt x="30" y="60"/>
                    </a:cubicBezTo>
                    <a:cubicBezTo>
                      <a:pt x="31" y="60"/>
                      <a:pt x="32" y="59"/>
                      <a:pt x="33" y="58"/>
                    </a:cubicBezTo>
                    <a:cubicBezTo>
                      <a:pt x="39" y="56"/>
                      <a:pt x="42" y="49"/>
                      <a:pt x="42" y="39"/>
                    </a:cubicBezTo>
                    <a:cubicBezTo>
                      <a:pt x="43" y="37"/>
                      <a:pt x="44" y="36"/>
                      <a:pt x="46" y="36"/>
                    </a:cubicBezTo>
                    <a:cubicBezTo>
                      <a:pt x="47" y="36"/>
                      <a:pt x="48" y="37"/>
                      <a:pt x="48" y="39"/>
                    </a:cubicBezTo>
                    <a:cubicBezTo>
                      <a:pt x="49" y="49"/>
                      <a:pt x="45" y="57"/>
                      <a:pt x="36" y="64"/>
                    </a:cubicBezTo>
                    <a:cubicBezTo>
                      <a:pt x="34" y="65"/>
                      <a:pt x="32" y="66"/>
                      <a:pt x="30" y="66"/>
                    </a:cubicBezTo>
                    <a:cubicBezTo>
                      <a:pt x="30" y="70"/>
                      <a:pt x="30" y="70"/>
                      <a:pt x="30" y="70"/>
                    </a:cubicBezTo>
                    <a:cubicBezTo>
                      <a:pt x="44" y="70"/>
                      <a:pt x="44" y="70"/>
                      <a:pt x="44" y="70"/>
                    </a:cubicBezTo>
                    <a:cubicBezTo>
                      <a:pt x="47" y="70"/>
                      <a:pt x="49" y="71"/>
                      <a:pt x="49" y="73"/>
                    </a:cubicBezTo>
                    <a:cubicBezTo>
                      <a:pt x="49" y="76"/>
                      <a:pt x="47" y="77"/>
                      <a:pt x="43" y="77"/>
                    </a:cubicBezTo>
                    <a:cubicBezTo>
                      <a:pt x="37" y="77"/>
                      <a:pt x="33" y="77"/>
                      <a:pt x="30" y="78"/>
                    </a:cubicBezTo>
                    <a:cubicBezTo>
                      <a:pt x="30" y="80"/>
                      <a:pt x="30" y="82"/>
                      <a:pt x="30" y="84"/>
                    </a:cubicBezTo>
                    <a:cubicBezTo>
                      <a:pt x="34" y="84"/>
                      <a:pt x="37" y="87"/>
                      <a:pt x="40" y="91"/>
                    </a:cubicBezTo>
                    <a:cubicBezTo>
                      <a:pt x="44" y="96"/>
                      <a:pt x="46" y="103"/>
                      <a:pt x="48" y="111"/>
                    </a:cubicBezTo>
                    <a:cubicBezTo>
                      <a:pt x="49" y="116"/>
                      <a:pt x="49" y="120"/>
                      <a:pt x="48" y="124"/>
                    </a:cubicBezTo>
                    <a:cubicBezTo>
                      <a:pt x="47" y="125"/>
                      <a:pt x="46" y="125"/>
                      <a:pt x="45" y="125"/>
                    </a:cubicBezTo>
                    <a:cubicBezTo>
                      <a:pt x="44" y="125"/>
                      <a:pt x="43" y="125"/>
                      <a:pt x="42" y="124"/>
                    </a:cubicBezTo>
                    <a:cubicBezTo>
                      <a:pt x="42" y="123"/>
                      <a:pt x="42" y="121"/>
                      <a:pt x="42" y="118"/>
                    </a:cubicBezTo>
                    <a:cubicBezTo>
                      <a:pt x="41" y="116"/>
                      <a:pt x="41" y="114"/>
                      <a:pt x="41" y="113"/>
                    </a:cubicBezTo>
                    <a:cubicBezTo>
                      <a:pt x="40" y="104"/>
                      <a:pt x="37" y="97"/>
                      <a:pt x="33" y="93"/>
                    </a:cubicBezTo>
                    <a:cubicBezTo>
                      <a:pt x="33" y="92"/>
                      <a:pt x="32" y="91"/>
                      <a:pt x="30" y="91"/>
                    </a:cubicBezTo>
                    <a:cubicBezTo>
                      <a:pt x="31" y="97"/>
                      <a:pt x="31" y="101"/>
                      <a:pt x="31" y="105"/>
                    </a:cubicBezTo>
                    <a:cubicBezTo>
                      <a:pt x="31" y="107"/>
                      <a:pt x="31" y="111"/>
                      <a:pt x="30" y="116"/>
                    </a:cubicBezTo>
                    <a:cubicBezTo>
                      <a:pt x="30" y="124"/>
                      <a:pt x="30" y="129"/>
                      <a:pt x="29" y="133"/>
                    </a:cubicBezTo>
                    <a:cubicBezTo>
                      <a:pt x="29" y="136"/>
                      <a:pt x="28" y="137"/>
                      <a:pt x="27" y="137"/>
                    </a:cubicBezTo>
                    <a:cubicBezTo>
                      <a:pt x="26" y="137"/>
                      <a:pt x="25" y="136"/>
                      <a:pt x="24" y="133"/>
                    </a:cubicBezTo>
                    <a:cubicBezTo>
                      <a:pt x="24" y="120"/>
                      <a:pt x="24" y="111"/>
                      <a:pt x="24" y="105"/>
                    </a:cubicBezTo>
                    <a:cubicBezTo>
                      <a:pt x="24" y="100"/>
                      <a:pt x="24" y="95"/>
                      <a:pt x="24" y="90"/>
                    </a:cubicBezTo>
                    <a:cubicBezTo>
                      <a:pt x="22" y="91"/>
                      <a:pt x="21" y="92"/>
                      <a:pt x="20" y="93"/>
                    </a:cubicBezTo>
                    <a:cubicBezTo>
                      <a:pt x="18" y="94"/>
                      <a:pt x="16" y="98"/>
                      <a:pt x="14" y="102"/>
                    </a:cubicBezTo>
                    <a:cubicBezTo>
                      <a:pt x="13" y="104"/>
                      <a:pt x="13" y="104"/>
                      <a:pt x="13" y="104"/>
                    </a:cubicBezTo>
                    <a:cubicBezTo>
                      <a:pt x="12" y="108"/>
                      <a:pt x="11" y="114"/>
                      <a:pt x="11" y="122"/>
                    </a:cubicBezTo>
                    <a:cubicBezTo>
                      <a:pt x="10" y="124"/>
                      <a:pt x="9" y="125"/>
                      <a:pt x="7" y="125"/>
                    </a:cubicBezTo>
                    <a:cubicBezTo>
                      <a:pt x="6" y="125"/>
                      <a:pt x="5" y="124"/>
                      <a:pt x="5" y="122"/>
                    </a:cubicBezTo>
                    <a:cubicBezTo>
                      <a:pt x="6" y="115"/>
                      <a:pt x="7" y="108"/>
                      <a:pt x="8" y="102"/>
                    </a:cubicBezTo>
                    <a:cubicBezTo>
                      <a:pt x="9" y="97"/>
                      <a:pt x="11" y="92"/>
                      <a:pt x="14" y="89"/>
                    </a:cubicBezTo>
                    <a:cubicBezTo>
                      <a:pt x="17" y="86"/>
                      <a:pt x="20" y="84"/>
                      <a:pt x="24" y="84"/>
                    </a:cubicBezTo>
                    <a:cubicBezTo>
                      <a:pt x="24" y="81"/>
                      <a:pt x="24" y="81"/>
                      <a:pt x="24" y="81"/>
                    </a:cubicBezTo>
                    <a:cubicBezTo>
                      <a:pt x="24" y="80"/>
                      <a:pt x="24" y="79"/>
                      <a:pt x="24" y="78"/>
                    </a:cubicBezTo>
                    <a:cubicBezTo>
                      <a:pt x="14" y="78"/>
                      <a:pt x="9" y="78"/>
                      <a:pt x="9" y="78"/>
                    </a:cubicBezTo>
                    <a:cubicBezTo>
                      <a:pt x="6" y="79"/>
                      <a:pt x="4" y="79"/>
                      <a:pt x="3" y="77"/>
                    </a:cubicBezTo>
                    <a:cubicBezTo>
                      <a:pt x="2" y="76"/>
                      <a:pt x="2" y="74"/>
                      <a:pt x="3" y="72"/>
                    </a:cubicBezTo>
                    <a:cubicBezTo>
                      <a:pt x="3" y="70"/>
                      <a:pt x="4" y="70"/>
                      <a:pt x="7" y="70"/>
                    </a:cubicBezTo>
                    <a:cubicBezTo>
                      <a:pt x="8" y="70"/>
                      <a:pt x="10" y="70"/>
                      <a:pt x="14" y="70"/>
                    </a:cubicBezTo>
                    <a:cubicBezTo>
                      <a:pt x="24" y="70"/>
                      <a:pt x="24" y="70"/>
                      <a:pt x="24" y="70"/>
                    </a:cubicBezTo>
                    <a:cubicBezTo>
                      <a:pt x="24" y="66"/>
                      <a:pt x="24" y="66"/>
                      <a:pt x="24" y="66"/>
                    </a:cubicBezTo>
                    <a:cubicBezTo>
                      <a:pt x="22" y="66"/>
                      <a:pt x="21" y="66"/>
                      <a:pt x="20" y="65"/>
                    </a:cubicBezTo>
                    <a:cubicBezTo>
                      <a:pt x="12" y="62"/>
                      <a:pt x="6" y="56"/>
                      <a:pt x="2" y="46"/>
                    </a:cubicBezTo>
                    <a:cubicBezTo>
                      <a:pt x="2" y="46"/>
                      <a:pt x="2" y="43"/>
                      <a:pt x="2" y="40"/>
                    </a:cubicBezTo>
                    <a:cubicBezTo>
                      <a:pt x="2" y="39"/>
                      <a:pt x="2" y="38"/>
                      <a:pt x="2" y="37"/>
                    </a:cubicBezTo>
                    <a:close/>
                    <a:moveTo>
                      <a:pt x="9" y="3"/>
                    </a:moveTo>
                    <a:cubicBezTo>
                      <a:pt x="11" y="3"/>
                      <a:pt x="15" y="3"/>
                      <a:pt x="19" y="3"/>
                    </a:cubicBezTo>
                    <a:cubicBezTo>
                      <a:pt x="40" y="3"/>
                      <a:pt x="40" y="3"/>
                      <a:pt x="40" y="3"/>
                    </a:cubicBezTo>
                    <a:cubicBezTo>
                      <a:pt x="43" y="3"/>
                      <a:pt x="44" y="5"/>
                      <a:pt x="44" y="7"/>
                    </a:cubicBezTo>
                    <a:cubicBezTo>
                      <a:pt x="44" y="9"/>
                      <a:pt x="42" y="10"/>
                      <a:pt x="39" y="10"/>
                    </a:cubicBezTo>
                    <a:cubicBezTo>
                      <a:pt x="34" y="10"/>
                      <a:pt x="25" y="10"/>
                      <a:pt x="14" y="11"/>
                    </a:cubicBezTo>
                    <a:cubicBezTo>
                      <a:pt x="13" y="11"/>
                      <a:pt x="12" y="11"/>
                      <a:pt x="11" y="11"/>
                    </a:cubicBezTo>
                    <a:cubicBezTo>
                      <a:pt x="7" y="11"/>
                      <a:pt x="5" y="11"/>
                      <a:pt x="5" y="9"/>
                    </a:cubicBezTo>
                    <a:cubicBezTo>
                      <a:pt x="5" y="9"/>
                      <a:pt x="4" y="8"/>
                      <a:pt x="5" y="6"/>
                    </a:cubicBezTo>
                    <a:cubicBezTo>
                      <a:pt x="5" y="5"/>
                      <a:pt x="5" y="5"/>
                      <a:pt x="5" y="5"/>
                    </a:cubicBezTo>
                    <a:cubicBezTo>
                      <a:pt x="5" y="3"/>
                      <a:pt x="6" y="3"/>
                      <a:pt x="9" y="3"/>
                    </a:cubicBezTo>
                    <a:close/>
                    <a:moveTo>
                      <a:pt x="33" y="26"/>
                    </a:moveTo>
                    <a:cubicBezTo>
                      <a:pt x="28" y="26"/>
                      <a:pt x="23" y="26"/>
                      <a:pt x="17" y="26"/>
                    </a:cubicBezTo>
                    <a:cubicBezTo>
                      <a:pt x="18" y="32"/>
                      <a:pt x="20" y="38"/>
                      <a:pt x="24" y="42"/>
                    </a:cubicBezTo>
                    <a:cubicBezTo>
                      <a:pt x="25" y="44"/>
                      <a:pt x="26" y="45"/>
                      <a:pt x="27" y="45"/>
                    </a:cubicBezTo>
                    <a:cubicBezTo>
                      <a:pt x="28" y="45"/>
                      <a:pt x="29" y="44"/>
                      <a:pt x="29" y="42"/>
                    </a:cubicBezTo>
                    <a:cubicBezTo>
                      <a:pt x="32" y="38"/>
                      <a:pt x="33" y="33"/>
                      <a:pt x="33" y="26"/>
                    </a:cubicBezTo>
                    <a:close/>
                    <a:moveTo>
                      <a:pt x="54" y="2"/>
                    </a:moveTo>
                    <a:cubicBezTo>
                      <a:pt x="55" y="0"/>
                      <a:pt x="57" y="0"/>
                      <a:pt x="58" y="1"/>
                    </a:cubicBezTo>
                    <a:cubicBezTo>
                      <a:pt x="59" y="2"/>
                      <a:pt x="60" y="4"/>
                      <a:pt x="59" y="6"/>
                    </a:cubicBezTo>
                    <a:cubicBezTo>
                      <a:pt x="57" y="8"/>
                      <a:pt x="57" y="9"/>
                      <a:pt x="58" y="10"/>
                    </a:cubicBezTo>
                    <a:cubicBezTo>
                      <a:pt x="59" y="11"/>
                      <a:pt x="61" y="12"/>
                      <a:pt x="63" y="11"/>
                    </a:cubicBezTo>
                    <a:cubicBezTo>
                      <a:pt x="67" y="9"/>
                      <a:pt x="73" y="9"/>
                      <a:pt x="80" y="11"/>
                    </a:cubicBezTo>
                    <a:cubicBezTo>
                      <a:pt x="84" y="13"/>
                      <a:pt x="87" y="16"/>
                      <a:pt x="88" y="22"/>
                    </a:cubicBezTo>
                    <a:cubicBezTo>
                      <a:pt x="89" y="27"/>
                      <a:pt x="88" y="32"/>
                      <a:pt x="85" y="35"/>
                    </a:cubicBezTo>
                    <a:cubicBezTo>
                      <a:pt x="84" y="38"/>
                      <a:pt x="81" y="39"/>
                      <a:pt x="75" y="37"/>
                    </a:cubicBezTo>
                    <a:cubicBezTo>
                      <a:pt x="75" y="37"/>
                      <a:pt x="74" y="37"/>
                      <a:pt x="74" y="37"/>
                    </a:cubicBezTo>
                    <a:cubicBezTo>
                      <a:pt x="69" y="37"/>
                      <a:pt x="66" y="37"/>
                      <a:pt x="63" y="38"/>
                    </a:cubicBezTo>
                    <a:cubicBezTo>
                      <a:pt x="62" y="38"/>
                      <a:pt x="61" y="40"/>
                      <a:pt x="61" y="43"/>
                    </a:cubicBezTo>
                    <a:cubicBezTo>
                      <a:pt x="62" y="48"/>
                      <a:pt x="62" y="56"/>
                      <a:pt x="62" y="66"/>
                    </a:cubicBezTo>
                    <a:cubicBezTo>
                      <a:pt x="62" y="70"/>
                      <a:pt x="61" y="76"/>
                      <a:pt x="61" y="84"/>
                    </a:cubicBezTo>
                    <a:cubicBezTo>
                      <a:pt x="59" y="99"/>
                      <a:pt x="58" y="110"/>
                      <a:pt x="57" y="116"/>
                    </a:cubicBezTo>
                    <a:cubicBezTo>
                      <a:pt x="57" y="122"/>
                      <a:pt x="55" y="128"/>
                      <a:pt x="53" y="136"/>
                    </a:cubicBezTo>
                    <a:cubicBezTo>
                      <a:pt x="52" y="137"/>
                      <a:pt x="51" y="138"/>
                      <a:pt x="50" y="138"/>
                    </a:cubicBezTo>
                    <a:cubicBezTo>
                      <a:pt x="48" y="138"/>
                      <a:pt x="48" y="137"/>
                      <a:pt x="48" y="136"/>
                    </a:cubicBezTo>
                    <a:cubicBezTo>
                      <a:pt x="48" y="135"/>
                      <a:pt x="48" y="133"/>
                      <a:pt x="48" y="130"/>
                    </a:cubicBezTo>
                    <a:cubicBezTo>
                      <a:pt x="49" y="127"/>
                      <a:pt x="49" y="126"/>
                      <a:pt x="49" y="125"/>
                    </a:cubicBezTo>
                    <a:cubicBezTo>
                      <a:pt x="53" y="104"/>
                      <a:pt x="55" y="85"/>
                      <a:pt x="55" y="68"/>
                    </a:cubicBezTo>
                    <a:cubicBezTo>
                      <a:pt x="56" y="60"/>
                      <a:pt x="56" y="54"/>
                      <a:pt x="55" y="48"/>
                    </a:cubicBezTo>
                    <a:cubicBezTo>
                      <a:pt x="54" y="45"/>
                      <a:pt x="53" y="42"/>
                      <a:pt x="52" y="40"/>
                    </a:cubicBezTo>
                    <a:cubicBezTo>
                      <a:pt x="50" y="38"/>
                      <a:pt x="51" y="36"/>
                      <a:pt x="54" y="34"/>
                    </a:cubicBezTo>
                    <a:cubicBezTo>
                      <a:pt x="58" y="30"/>
                      <a:pt x="66" y="29"/>
                      <a:pt x="76" y="31"/>
                    </a:cubicBezTo>
                    <a:cubicBezTo>
                      <a:pt x="81" y="32"/>
                      <a:pt x="83" y="30"/>
                      <a:pt x="83" y="25"/>
                    </a:cubicBezTo>
                    <a:cubicBezTo>
                      <a:pt x="83" y="21"/>
                      <a:pt x="81" y="18"/>
                      <a:pt x="77" y="18"/>
                    </a:cubicBezTo>
                    <a:cubicBezTo>
                      <a:pt x="70" y="17"/>
                      <a:pt x="66" y="17"/>
                      <a:pt x="65" y="18"/>
                    </a:cubicBezTo>
                    <a:cubicBezTo>
                      <a:pt x="63" y="19"/>
                      <a:pt x="60" y="19"/>
                      <a:pt x="57" y="19"/>
                    </a:cubicBezTo>
                    <a:cubicBezTo>
                      <a:pt x="57" y="18"/>
                      <a:pt x="55" y="17"/>
                      <a:pt x="53" y="15"/>
                    </a:cubicBezTo>
                    <a:cubicBezTo>
                      <a:pt x="53" y="14"/>
                      <a:pt x="52" y="14"/>
                      <a:pt x="52" y="13"/>
                    </a:cubicBezTo>
                    <a:cubicBezTo>
                      <a:pt x="50" y="10"/>
                      <a:pt x="51" y="6"/>
                      <a:pt x="54" y="2"/>
                    </a:cubicBezTo>
                    <a:close/>
                    <a:moveTo>
                      <a:pt x="95" y="70"/>
                    </a:moveTo>
                    <a:cubicBezTo>
                      <a:pt x="96" y="72"/>
                      <a:pt x="95" y="73"/>
                      <a:pt x="94" y="74"/>
                    </a:cubicBezTo>
                    <a:cubicBezTo>
                      <a:pt x="92" y="74"/>
                      <a:pt x="91" y="74"/>
                      <a:pt x="90" y="72"/>
                    </a:cubicBezTo>
                    <a:cubicBezTo>
                      <a:pt x="88" y="67"/>
                      <a:pt x="84" y="62"/>
                      <a:pt x="78" y="56"/>
                    </a:cubicBezTo>
                    <a:cubicBezTo>
                      <a:pt x="77" y="55"/>
                      <a:pt x="76" y="54"/>
                      <a:pt x="76" y="54"/>
                    </a:cubicBezTo>
                    <a:cubicBezTo>
                      <a:pt x="75" y="56"/>
                      <a:pt x="75" y="56"/>
                      <a:pt x="75" y="56"/>
                    </a:cubicBezTo>
                    <a:cubicBezTo>
                      <a:pt x="75" y="61"/>
                      <a:pt x="75" y="73"/>
                      <a:pt x="77" y="93"/>
                    </a:cubicBezTo>
                    <a:cubicBezTo>
                      <a:pt x="78" y="99"/>
                      <a:pt x="80" y="107"/>
                      <a:pt x="83" y="119"/>
                    </a:cubicBezTo>
                    <a:cubicBezTo>
                      <a:pt x="84" y="122"/>
                      <a:pt x="85" y="124"/>
                      <a:pt x="85" y="124"/>
                    </a:cubicBezTo>
                    <a:cubicBezTo>
                      <a:pt x="86" y="126"/>
                      <a:pt x="86" y="128"/>
                      <a:pt x="87" y="131"/>
                    </a:cubicBezTo>
                    <a:cubicBezTo>
                      <a:pt x="88" y="132"/>
                      <a:pt x="88" y="133"/>
                      <a:pt x="88" y="133"/>
                    </a:cubicBezTo>
                    <a:cubicBezTo>
                      <a:pt x="88" y="135"/>
                      <a:pt x="88" y="136"/>
                      <a:pt x="86" y="136"/>
                    </a:cubicBezTo>
                    <a:cubicBezTo>
                      <a:pt x="84" y="136"/>
                      <a:pt x="83" y="135"/>
                      <a:pt x="82" y="133"/>
                    </a:cubicBezTo>
                    <a:cubicBezTo>
                      <a:pt x="77" y="123"/>
                      <a:pt x="73" y="110"/>
                      <a:pt x="70" y="93"/>
                    </a:cubicBezTo>
                    <a:cubicBezTo>
                      <a:pt x="69" y="79"/>
                      <a:pt x="68" y="68"/>
                      <a:pt x="68" y="58"/>
                    </a:cubicBezTo>
                    <a:cubicBezTo>
                      <a:pt x="68" y="51"/>
                      <a:pt x="68" y="46"/>
                      <a:pt x="68" y="44"/>
                    </a:cubicBezTo>
                    <a:cubicBezTo>
                      <a:pt x="68" y="43"/>
                      <a:pt x="69" y="42"/>
                      <a:pt x="70" y="42"/>
                    </a:cubicBezTo>
                    <a:cubicBezTo>
                      <a:pt x="71" y="41"/>
                      <a:pt x="71" y="41"/>
                      <a:pt x="72" y="42"/>
                    </a:cubicBezTo>
                    <a:cubicBezTo>
                      <a:pt x="76" y="45"/>
                      <a:pt x="78" y="48"/>
                      <a:pt x="80" y="49"/>
                    </a:cubicBezTo>
                    <a:cubicBezTo>
                      <a:pt x="86" y="54"/>
                      <a:pt x="91" y="61"/>
                      <a:pt x="95" y="7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29" name="íṣ1ïḑe"/>
              <p:cNvSpPr/>
              <p:nvPr/>
            </p:nvSpPr>
            <p:spPr bwMode="auto">
              <a:xfrm>
                <a:off x="1750909" y="4905965"/>
                <a:ext cx="93663" cy="87313"/>
              </a:xfrm>
              <a:custGeom>
                <a:avLst/>
                <a:gdLst>
                  <a:gd name="T0" fmla="*/ 51 w 51"/>
                  <a:gd name="T1" fmla="*/ 17 h 47"/>
                  <a:gd name="T2" fmla="*/ 46 w 51"/>
                  <a:gd name="T3" fmla="*/ 25 h 47"/>
                  <a:gd name="T4" fmla="*/ 26 w 51"/>
                  <a:gd name="T5" fmla="*/ 13 h 47"/>
                  <a:gd name="T6" fmla="*/ 20 w 51"/>
                  <a:gd name="T7" fmla="*/ 9 h 47"/>
                  <a:gd name="T8" fmla="*/ 14 w 51"/>
                  <a:gd name="T9" fmla="*/ 9 h 47"/>
                  <a:gd name="T10" fmla="*/ 10 w 51"/>
                  <a:gd name="T11" fmla="*/ 13 h 47"/>
                  <a:gd name="T12" fmla="*/ 8 w 51"/>
                  <a:gd name="T13" fmla="*/ 19 h 47"/>
                  <a:gd name="T14" fmla="*/ 10 w 51"/>
                  <a:gd name="T15" fmla="*/ 23 h 47"/>
                  <a:gd name="T16" fmla="*/ 17 w 51"/>
                  <a:gd name="T17" fmla="*/ 27 h 47"/>
                  <a:gd name="T18" fmla="*/ 37 w 51"/>
                  <a:gd name="T19" fmla="*/ 40 h 47"/>
                  <a:gd name="T20" fmla="*/ 33 w 51"/>
                  <a:gd name="T21" fmla="*/ 47 h 47"/>
                  <a:gd name="T22" fmla="*/ 13 w 51"/>
                  <a:gd name="T23" fmla="*/ 35 h 47"/>
                  <a:gd name="T24" fmla="*/ 4 w 51"/>
                  <a:gd name="T25" fmla="*/ 29 h 47"/>
                  <a:gd name="T26" fmla="*/ 1 w 51"/>
                  <a:gd name="T27" fmla="*/ 24 h 47"/>
                  <a:gd name="T28" fmla="*/ 0 w 51"/>
                  <a:gd name="T29" fmla="*/ 18 h 47"/>
                  <a:gd name="T30" fmla="*/ 3 w 51"/>
                  <a:gd name="T31" fmla="*/ 10 h 47"/>
                  <a:gd name="T32" fmla="*/ 10 w 51"/>
                  <a:gd name="T33" fmla="*/ 2 h 47"/>
                  <a:gd name="T34" fmla="*/ 15 w 51"/>
                  <a:gd name="T35" fmla="*/ 0 h 47"/>
                  <a:gd name="T36" fmla="*/ 21 w 51"/>
                  <a:gd name="T37" fmla="*/ 0 h 47"/>
                  <a:gd name="T38" fmla="*/ 31 w 51"/>
                  <a:gd name="T39" fmla="*/ 5 h 47"/>
                  <a:gd name="T40" fmla="*/ 51 w 51"/>
                  <a:gd name="T41" fmla="*/ 17 h 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51" h="47">
                    <a:moveTo>
                      <a:pt x="51" y="17"/>
                    </a:moveTo>
                    <a:cubicBezTo>
                      <a:pt x="46" y="25"/>
                      <a:pt x="46" y="25"/>
                      <a:pt x="46" y="25"/>
                    </a:cubicBezTo>
                    <a:cubicBezTo>
                      <a:pt x="26" y="13"/>
                      <a:pt x="26" y="13"/>
                      <a:pt x="26" y="13"/>
                    </a:cubicBezTo>
                    <a:cubicBezTo>
                      <a:pt x="23" y="11"/>
                      <a:pt x="21" y="10"/>
                      <a:pt x="20" y="9"/>
                    </a:cubicBezTo>
                    <a:cubicBezTo>
                      <a:pt x="18" y="9"/>
                      <a:pt x="16" y="9"/>
                      <a:pt x="14" y="9"/>
                    </a:cubicBezTo>
                    <a:cubicBezTo>
                      <a:pt x="13" y="10"/>
                      <a:pt x="11" y="11"/>
                      <a:pt x="10" y="13"/>
                    </a:cubicBezTo>
                    <a:cubicBezTo>
                      <a:pt x="9" y="16"/>
                      <a:pt x="8" y="17"/>
                      <a:pt x="8" y="19"/>
                    </a:cubicBezTo>
                    <a:cubicBezTo>
                      <a:pt x="9" y="21"/>
                      <a:pt x="9" y="22"/>
                      <a:pt x="10" y="23"/>
                    </a:cubicBezTo>
                    <a:cubicBezTo>
                      <a:pt x="12" y="24"/>
                      <a:pt x="14" y="25"/>
                      <a:pt x="17" y="27"/>
                    </a:cubicBezTo>
                    <a:cubicBezTo>
                      <a:pt x="37" y="40"/>
                      <a:pt x="37" y="40"/>
                      <a:pt x="37" y="40"/>
                    </a:cubicBezTo>
                    <a:cubicBezTo>
                      <a:pt x="33" y="47"/>
                      <a:pt x="33" y="47"/>
                      <a:pt x="33" y="47"/>
                    </a:cubicBezTo>
                    <a:cubicBezTo>
                      <a:pt x="13" y="35"/>
                      <a:pt x="13" y="35"/>
                      <a:pt x="13" y="35"/>
                    </a:cubicBezTo>
                    <a:cubicBezTo>
                      <a:pt x="9" y="33"/>
                      <a:pt x="6" y="31"/>
                      <a:pt x="4" y="29"/>
                    </a:cubicBezTo>
                    <a:cubicBezTo>
                      <a:pt x="2" y="28"/>
                      <a:pt x="1" y="26"/>
                      <a:pt x="1" y="24"/>
                    </a:cubicBezTo>
                    <a:cubicBezTo>
                      <a:pt x="0" y="22"/>
                      <a:pt x="0" y="20"/>
                      <a:pt x="0" y="18"/>
                    </a:cubicBezTo>
                    <a:cubicBezTo>
                      <a:pt x="0" y="15"/>
                      <a:pt x="2" y="13"/>
                      <a:pt x="3" y="10"/>
                    </a:cubicBezTo>
                    <a:cubicBezTo>
                      <a:pt x="6" y="6"/>
                      <a:pt x="8" y="4"/>
                      <a:pt x="10" y="2"/>
                    </a:cubicBezTo>
                    <a:cubicBezTo>
                      <a:pt x="11" y="1"/>
                      <a:pt x="13" y="0"/>
                      <a:pt x="15" y="0"/>
                    </a:cubicBezTo>
                    <a:cubicBezTo>
                      <a:pt x="17" y="0"/>
                      <a:pt x="19" y="0"/>
                      <a:pt x="21" y="0"/>
                    </a:cubicBezTo>
                    <a:cubicBezTo>
                      <a:pt x="23" y="1"/>
                      <a:pt x="27" y="3"/>
                      <a:pt x="31" y="5"/>
                    </a:cubicBezTo>
                    <a:lnTo>
                      <a:pt x="51" y="1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30" name="íṧḷîde"/>
              <p:cNvSpPr/>
              <p:nvPr/>
            </p:nvSpPr>
            <p:spPr bwMode="auto">
              <a:xfrm>
                <a:off x="1704872" y="4971053"/>
                <a:ext cx="100013" cy="92075"/>
              </a:xfrm>
              <a:custGeom>
                <a:avLst/>
                <a:gdLst>
                  <a:gd name="T0" fmla="*/ 17 w 63"/>
                  <a:gd name="T1" fmla="*/ 0 h 58"/>
                  <a:gd name="T2" fmla="*/ 63 w 63"/>
                  <a:gd name="T3" fmla="*/ 21 h 58"/>
                  <a:gd name="T4" fmla="*/ 59 w 63"/>
                  <a:gd name="T5" fmla="*/ 30 h 58"/>
                  <a:gd name="T6" fmla="*/ 19 w 63"/>
                  <a:gd name="T7" fmla="*/ 35 h 58"/>
                  <a:gd name="T8" fmla="*/ 50 w 63"/>
                  <a:gd name="T9" fmla="*/ 50 h 58"/>
                  <a:gd name="T10" fmla="*/ 46 w 63"/>
                  <a:gd name="T11" fmla="*/ 58 h 58"/>
                  <a:gd name="T12" fmla="*/ 0 w 63"/>
                  <a:gd name="T13" fmla="*/ 37 h 58"/>
                  <a:gd name="T14" fmla="*/ 4 w 63"/>
                  <a:gd name="T15" fmla="*/ 26 h 58"/>
                  <a:gd name="T16" fmla="*/ 43 w 63"/>
                  <a:gd name="T17" fmla="*/ 22 h 58"/>
                  <a:gd name="T18" fmla="*/ 12 w 63"/>
                  <a:gd name="T19" fmla="*/ 8 h 58"/>
                  <a:gd name="T20" fmla="*/ 17 w 63"/>
                  <a:gd name="T21" fmla="*/ 0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63" h="58">
                    <a:moveTo>
                      <a:pt x="17" y="0"/>
                    </a:moveTo>
                    <a:lnTo>
                      <a:pt x="63" y="21"/>
                    </a:lnTo>
                    <a:lnTo>
                      <a:pt x="59" y="30"/>
                    </a:lnTo>
                    <a:lnTo>
                      <a:pt x="19" y="35"/>
                    </a:lnTo>
                    <a:lnTo>
                      <a:pt x="50" y="50"/>
                    </a:lnTo>
                    <a:lnTo>
                      <a:pt x="46" y="58"/>
                    </a:lnTo>
                    <a:lnTo>
                      <a:pt x="0" y="37"/>
                    </a:lnTo>
                    <a:lnTo>
                      <a:pt x="4" y="26"/>
                    </a:lnTo>
                    <a:lnTo>
                      <a:pt x="43" y="22"/>
                    </a:lnTo>
                    <a:lnTo>
                      <a:pt x="12" y="8"/>
                    </a:lnTo>
                    <a:lnTo>
                      <a:pt x="17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31" name="íS1îḍé"/>
              <p:cNvSpPr/>
              <p:nvPr/>
            </p:nvSpPr>
            <p:spPr bwMode="auto">
              <a:xfrm>
                <a:off x="1690584" y="5045665"/>
                <a:ext cx="84138" cy="44450"/>
              </a:xfrm>
              <a:custGeom>
                <a:avLst/>
                <a:gdLst>
                  <a:gd name="T0" fmla="*/ 5 w 53"/>
                  <a:gd name="T1" fmla="*/ 0 h 28"/>
                  <a:gd name="T2" fmla="*/ 53 w 53"/>
                  <a:gd name="T3" fmla="*/ 19 h 28"/>
                  <a:gd name="T4" fmla="*/ 49 w 53"/>
                  <a:gd name="T5" fmla="*/ 28 h 28"/>
                  <a:gd name="T6" fmla="*/ 0 w 53"/>
                  <a:gd name="T7" fmla="*/ 10 h 28"/>
                  <a:gd name="T8" fmla="*/ 5 w 53"/>
                  <a:gd name="T9" fmla="*/ 0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3" h="28">
                    <a:moveTo>
                      <a:pt x="5" y="0"/>
                    </a:moveTo>
                    <a:lnTo>
                      <a:pt x="53" y="19"/>
                    </a:lnTo>
                    <a:lnTo>
                      <a:pt x="49" y="28"/>
                    </a:lnTo>
                    <a:lnTo>
                      <a:pt x="0" y="10"/>
                    </a:lnTo>
                    <a:lnTo>
                      <a:pt x="5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32" name="íṧļïḋè"/>
              <p:cNvSpPr/>
              <p:nvPr/>
            </p:nvSpPr>
            <p:spPr bwMode="auto">
              <a:xfrm>
                <a:off x="1674709" y="5091703"/>
                <a:ext cx="92075" cy="73025"/>
              </a:xfrm>
              <a:custGeom>
                <a:avLst/>
                <a:gdLst>
                  <a:gd name="T0" fmla="*/ 4 w 58"/>
                  <a:gd name="T1" fmla="*/ 3 h 46"/>
                  <a:gd name="T2" fmla="*/ 58 w 58"/>
                  <a:gd name="T3" fmla="*/ 0 h 46"/>
                  <a:gd name="T4" fmla="*/ 55 w 58"/>
                  <a:gd name="T5" fmla="*/ 11 h 46"/>
                  <a:gd name="T6" fmla="*/ 14 w 58"/>
                  <a:gd name="T7" fmla="*/ 13 h 46"/>
                  <a:gd name="T8" fmla="*/ 46 w 58"/>
                  <a:gd name="T9" fmla="*/ 35 h 46"/>
                  <a:gd name="T10" fmla="*/ 44 w 58"/>
                  <a:gd name="T11" fmla="*/ 46 h 46"/>
                  <a:gd name="T12" fmla="*/ 0 w 58"/>
                  <a:gd name="T13" fmla="*/ 14 h 46"/>
                  <a:gd name="T14" fmla="*/ 4 w 58"/>
                  <a:gd name="T15" fmla="*/ 3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58" h="46">
                    <a:moveTo>
                      <a:pt x="4" y="3"/>
                    </a:moveTo>
                    <a:lnTo>
                      <a:pt x="58" y="0"/>
                    </a:lnTo>
                    <a:lnTo>
                      <a:pt x="55" y="11"/>
                    </a:lnTo>
                    <a:lnTo>
                      <a:pt x="14" y="13"/>
                    </a:lnTo>
                    <a:lnTo>
                      <a:pt x="46" y="35"/>
                    </a:lnTo>
                    <a:lnTo>
                      <a:pt x="44" y="46"/>
                    </a:lnTo>
                    <a:lnTo>
                      <a:pt x="0" y="14"/>
                    </a:lnTo>
                    <a:lnTo>
                      <a:pt x="4" y="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33" name="ïṡḷiḋé"/>
              <p:cNvSpPr/>
              <p:nvPr/>
            </p:nvSpPr>
            <p:spPr bwMode="auto">
              <a:xfrm>
                <a:off x="1652484" y="5153615"/>
                <a:ext cx="90488" cy="73025"/>
              </a:xfrm>
              <a:custGeom>
                <a:avLst/>
                <a:gdLst>
                  <a:gd name="T0" fmla="*/ 7 w 57"/>
                  <a:gd name="T1" fmla="*/ 0 h 46"/>
                  <a:gd name="T2" fmla="*/ 57 w 57"/>
                  <a:gd name="T3" fmla="*/ 10 h 46"/>
                  <a:gd name="T4" fmla="*/ 50 w 57"/>
                  <a:gd name="T5" fmla="*/ 46 h 46"/>
                  <a:gd name="T6" fmla="*/ 42 w 57"/>
                  <a:gd name="T7" fmla="*/ 45 h 46"/>
                  <a:gd name="T8" fmla="*/ 47 w 57"/>
                  <a:gd name="T9" fmla="*/ 18 h 46"/>
                  <a:gd name="T10" fmla="*/ 36 w 57"/>
                  <a:gd name="T11" fmla="*/ 16 h 46"/>
                  <a:gd name="T12" fmla="*/ 30 w 57"/>
                  <a:gd name="T13" fmla="*/ 40 h 46"/>
                  <a:gd name="T14" fmla="*/ 22 w 57"/>
                  <a:gd name="T15" fmla="*/ 39 h 46"/>
                  <a:gd name="T16" fmla="*/ 27 w 57"/>
                  <a:gd name="T17" fmla="*/ 14 h 46"/>
                  <a:gd name="T18" fmla="*/ 14 w 57"/>
                  <a:gd name="T19" fmla="*/ 11 h 46"/>
                  <a:gd name="T20" fmla="*/ 8 w 57"/>
                  <a:gd name="T21" fmla="*/ 39 h 46"/>
                  <a:gd name="T22" fmla="*/ 0 w 57"/>
                  <a:gd name="T23" fmla="*/ 38 h 46"/>
                  <a:gd name="T24" fmla="*/ 7 w 57"/>
                  <a:gd name="T25" fmla="*/ 0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57" h="46">
                    <a:moveTo>
                      <a:pt x="7" y="0"/>
                    </a:moveTo>
                    <a:lnTo>
                      <a:pt x="57" y="10"/>
                    </a:lnTo>
                    <a:lnTo>
                      <a:pt x="50" y="46"/>
                    </a:lnTo>
                    <a:lnTo>
                      <a:pt x="42" y="45"/>
                    </a:lnTo>
                    <a:lnTo>
                      <a:pt x="47" y="18"/>
                    </a:lnTo>
                    <a:lnTo>
                      <a:pt x="36" y="16"/>
                    </a:lnTo>
                    <a:lnTo>
                      <a:pt x="30" y="40"/>
                    </a:lnTo>
                    <a:lnTo>
                      <a:pt x="22" y="39"/>
                    </a:lnTo>
                    <a:lnTo>
                      <a:pt x="27" y="14"/>
                    </a:lnTo>
                    <a:lnTo>
                      <a:pt x="14" y="11"/>
                    </a:lnTo>
                    <a:lnTo>
                      <a:pt x="8" y="39"/>
                    </a:lnTo>
                    <a:lnTo>
                      <a:pt x="0" y="38"/>
                    </a:lnTo>
                    <a:lnTo>
                      <a:pt x="7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34" name="ïşļiḋe"/>
              <p:cNvSpPr/>
              <p:nvPr/>
            </p:nvSpPr>
            <p:spPr bwMode="auto">
              <a:xfrm>
                <a:off x="1641372" y="5231403"/>
                <a:ext cx="88900" cy="71438"/>
              </a:xfrm>
              <a:custGeom>
                <a:avLst/>
                <a:gdLst>
                  <a:gd name="T0" fmla="*/ 4 w 48"/>
                  <a:gd name="T1" fmla="*/ 0 h 39"/>
                  <a:gd name="T2" fmla="*/ 48 w 48"/>
                  <a:gd name="T3" fmla="*/ 4 h 39"/>
                  <a:gd name="T4" fmla="*/ 46 w 48"/>
                  <a:gd name="T5" fmla="*/ 23 h 39"/>
                  <a:gd name="T6" fmla="*/ 44 w 48"/>
                  <a:gd name="T7" fmla="*/ 33 h 39"/>
                  <a:gd name="T8" fmla="*/ 39 w 48"/>
                  <a:gd name="T9" fmla="*/ 38 h 39"/>
                  <a:gd name="T10" fmla="*/ 32 w 48"/>
                  <a:gd name="T11" fmla="*/ 39 h 39"/>
                  <a:gd name="T12" fmla="*/ 24 w 48"/>
                  <a:gd name="T13" fmla="*/ 35 h 39"/>
                  <a:gd name="T14" fmla="*/ 21 w 48"/>
                  <a:gd name="T15" fmla="*/ 26 h 39"/>
                  <a:gd name="T16" fmla="*/ 17 w 48"/>
                  <a:gd name="T17" fmla="*/ 30 h 39"/>
                  <a:gd name="T18" fmla="*/ 9 w 48"/>
                  <a:gd name="T19" fmla="*/ 35 h 39"/>
                  <a:gd name="T20" fmla="*/ 0 w 48"/>
                  <a:gd name="T21" fmla="*/ 39 h 39"/>
                  <a:gd name="T22" fmla="*/ 1 w 48"/>
                  <a:gd name="T23" fmla="*/ 29 h 39"/>
                  <a:gd name="T24" fmla="*/ 12 w 48"/>
                  <a:gd name="T25" fmla="*/ 23 h 39"/>
                  <a:gd name="T26" fmla="*/ 18 w 48"/>
                  <a:gd name="T27" fmla="*/ 19 h 39"/>
                  <a:gd name="T28" fmla="*/ 20 w 48"/>
                  <a:gd name="T29" fmla="*/ 17 h 39"/>
                  <a:gd name="T30" fmla="*/ 21 w 48"/>
                  <a:gd name="T31" fmla="*/ 12 h 39"/>
                  <a:gd name="T32" fmla="*/ 22 w 48"/>
                  <a:gd name="T33" fmla="*/ 11 h 39"/>
                  <a:gd name="T34" fmla="*/ 3 w 48"/>
                  <a:gd name="T35" fmla="*/ 9 h 39"/>
                  <a:gd name="T36" fmla="*/ 4 w 48"/>
                  <a:gd name="T37" fmla="*/ 0 h 39"/>
                  <a:gd name="T38" fmla="*/ 29 w 48"/>
                  <a:gd name="T39" fmla="*/ 11 h 39"/>
                  <a:gd name="T40" fmla="*/ 28 w 48"/>
                  <a:gd name="T41" fmla="*/ 18 h 39"/>
                  <a:gd name="T42" fmla="*/ 28 w 48"/>
                  <a:gd name="T43" fmla="*/ 26 h 39"/>
                  <a:gd name="T44" fmla="*/ 29 w 48"/>
                  <a:gd name="T45" fmla="*/ 28 h 39"/>
                  <a:gd name="T46" fmla="*/ 32 w 48"/>
                  <a:gd name="T47" fmla="*/ 30 h 39"/>
                  <a:gd name="T48" fmla="*/ 36 w 48"/>
                  <a:gd name="T49" fmla="*/ 29 h 39"/>
                  <a:gd name="T50" fmla="*/ 38 w 48"/>
                  <a:gd name="T51" fmla="*/ 26 h 39"/>
                  <a:gd name="T52" fmla="*/ 39 w 48"/>
                  <a:gd name="T53" fmla="*/ 19 h 39"/>
                  <a:gd name="T54" fmla="*/ 40 w 48"/>
                  <a:gd name="T55" fmla="*/ 12 h 39"/>
                  <a:gd name="T56" fmla="*/ 29 w 48"/>
                  <a:gd name="T57" fmla="*/ 11 h 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48" h="39">
                    <a:moveTo>
                      <a:pt x="4" y="0"/>
                    </a:moveTo>
                    <a:cubicBezTo>
                      <a:pt x="48" y="4"/>
                      <a:pt x="48" y="4"/>
                      <a:pt x="48" y="4"/>
                    </a:cubicBezTo>
                    <a:cubicBezTo>
                      <a:pt x="46" y="23"/>
                      <a:pt x="46" y="23"/>
                      <a:pt x="46" y="23"/>
                    </a:cubicBezTo>
                    <a:cubicBezTo>
                      <a:pt x="46" y="27"/>
                      <a:pt x="45" y="31"/>
                      <a:pt x="44" y="33"/>
                    </a:cubicBezTo>
                    <a:cubicBezTo>
                      <a:pt x="43" y="35"/>
                      <a:pt x="41" y="36"/>
                      <a:pt x="39" y="38"/>
                    </a:cubicBezTo>
                    <a:cubicBezTo>
                      <a:pt x="37" y="39"/>
                      <a:pt x="35" y="39"/>
                      <a:pt x="32" y="39"/>
                    </a:cubicBezTo>
                    <a:cubicBezTo>
                      <a:pt x="29" y="38"/>
                      <a:pt x="26" y="37"/>
                      <a:pt x="24" y="35"/>
                    </a:cubicBezTo>
                    <a:cubicBezTo>
                      <a:pt x="22" y="33"/>
                      <a:pt x="21" y="30"/>
                      <a:pt x="21" y="26"/>
                    </a:cubicBezTo>
                    <a:cubicBezTo>
                      <a:pt x="20" y="28"/>
                      <a:pt x="18" y="29"/>
                      <a:pt x="17" y="30"/>
                    </a:cubicBezTo>
                    <a:cubicBezTo>
                      <a:pt x="16" y="32"/>
                      <a:pt x="13" y="33"/>
                      <a:pt x="9" y="35"/>
                    </a:cubicBezTo>
                    <a:cubicBezTo>
                      <a:pt x="0" y="39"/>
                      <a:pt x="0" y="39"/>
                      <a:pt x="0" y="39"/>
                    </a:cubicBezTo>
                    <a:cubicBezTo>
                      <a:pt x="1" y="29"/>
                      <a:pt x="1" y="29"/>
                      <a:pt x="1" y="29"/>
                    </a:cubicBezTo>
                    <a:cubicBezTo>
                      <a:pt x="12" y="23"/>
                      <a:pt x="12" y="23"/>
                      <a:pt x="12" y="23"/>
                    </a:cubicBezTo>
                    <a:cubicBezTo>
                      <a:pt x="15" y="21"/>
                      <a:pt x="17" y="20"/>
                      <a:pt x="18" y="19"/>
                    </a:cubicBezTo>
                    <a:cubicBezTo>
                      <a:pt x="19" y="18"/>
                      <a:pt x="20" y="18"/>
                      <a:pt x="20" y="17"/>
                    </a:cubicBezTo>
                    <a:cubicBezTo>
                      <a:pt x="21" y="16"/>
                      <a:pt x="21" y="14"/>
                      <a:pt x="21" y="12"/>
                    </a:cubicBezTo>
                    <a:cubicBezTo>
                      <a:pt x="22" y="11"/>
                      <a:pt x="22" y="11"/>
                      <a:pt x="22" y="11"/>
                    </a:cubicBezTo>
                    <a:cubicBezTo>
                      <a:pt x="3" y="9"/>
                      <a:pt x="3" y="9"/>
                      <a:pt x="3" y="9"/>
                    </a:cubicBezTo>
                    <a:lnTo>
                      <a:pt x="4" y="0"/>
                    </a:lnTo>
                    <a:close/>
                    <a:moveTo>
                      <a:pt x="29" y="11"/>
                    </a:moveTo>
                    <a:cubicBezTo>
                      <a:pt x="28" y="18"/>
                      <a:pt x="28" y="18"/>
                      <a:pt x="28" y="18"/>
                    </a:cubicBezTo>
                    <a:cubicBezTo>
                      <a:pt x="28" y="22"/>
                      <a:pt x="27" y="25"/>
                      <a:pt x="28" y="26"/>
                    </a:cubicBezTo>
                    <a:cubicBezTo>
                      <a:pt x="28" y="27"/>
                      <a:pt x="28" y="28"/>
                      <a:pt x="29" y="28"/>
                    </a:cubicBezTo>
                    <a:cubicBezTo>
                      <a:pt x="30" y="29"/>
                      <a:pt x="31" y="30"/>
                      <a:pt x="32" y="30"/>
                    </a:cubicBezTo>
                    <a:cubicBezTo>
                      <a:pt x="34" y="30"/>
                      <a:pt x="35" y="30"/>
                      <a:pt x="36" y="29"/>
                    </a:cubicBezTo>
                    <a:cubicBezTo>
                      <a:pt x="37" y="28"/>
                      <a:pt x="38" y="27"/>
                      <a:pt x="38" y="26"/>
                    </a:cubicBezTo>
                    <a:cubicBezTo>
                      <a:pt x="38" y="25"/>
                      <a:pt x="39" y="23"/>
                      <a:pt x="39" y="19"/>
                    </a:cubicBezTo>
                    <a:cubicBezTo>
                      <a:pt x="40" y="12"/>
                      <a:pt x="40" y="12"/>
                      <a:pt x="40" y="12"/>
                    </a:cubicBezTo>
                    <a:lnTo>
                      <a:pt x="29" y="1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35" name="îś1iḓê"/>
              <p:cNvSpPr/>
              <p:nvPr/>
            </p:nvSpPr>
            <p:spPr bwMode="auto">
              <a:xfrm>
                <a:off x="1641372" y="5312365"/>
                <a:ext cx="82550" cy="66675"/>
              </a:xfrm>
              <a:custGeom>
                <a:avLst/>
                <a:gdLst>
                  <a:gd name="T0" fmla="*/ 15 w 45"/>
                  <a:gd name="T1" fmla="*/ 0 h 36"/>
                  <a:gd name="T2" fmla="*/ 16 w 45"/>
                  <a:gd name="T3" fmla="*/ 8 h 36"/>
                  <a:gd name="T4" fmla="*/ 9 w 45"/>
                  <a:gd name="T5" fmla="*/ 12 h 36"/>
                  <a:gd name="T6" fmla="*/ 7 w 45"/>
                  <a:gd name="T7" fmla="*/ 18 h 36"/>
                  <a:gd name="T8" fmla="*/ 9 w 45"/>
                  <a:gd name="T9" fmla="*/ 25 h 36"/>
                  <a:gd name="T10" fmla="*/ 13 w 45"/>
                  <a:gd name="T11" fmla="*/ 27 h 36"/>
                  <a:gd name="T12" fmla="*/ 16 w 45"/>
                  <a:gd name="T13" fmla="*/ 26 h 36"/>
                  <a:gd name="T14" fmla="*/ 18 w 45"/>
                  <a:gd name="T15" fmla="*/ 23 h 36"/>
                  <a:gd name="T16" fmla="*/ 20 w 45"/>
                  <a:gd name="T17" fmla="*/ 15 h 36"/>
                  <a:gd name="T18" fmla="*/ 24 w 45"/>
                  <a:gd name="T19" fmla="*/ 5 h 36"/>
                  <a:gd name="T20" fmla="*/ 33 w 45"/>
                  <a:gd name="T21" fmla="*/ 1 h 36"/>
                  <a:gd name="T22" fmla="*/ 39 w 45"/>
                  <a:gd name="T23" fmla="*/ 3 h 36"/>
                  <a:gd name="T24" fmla="*/ 44 w 45"/>
                  <a:gd name="T25" fmla="*/ 9 h 36"/>
                  <a:gd name="T26" fmla="*/ 45 w 45"/>
                  <a:gd name="T27" fmla="*/ 17 h 36"/>
                  <a:gd name="T28" fmla="*/ 42 w 45"/>
                  <a:gd name="T29" fmla="*/ 30 h 36"/>
                  <a:gd name="T30" fmla="*/ 32 w 45"/>
                  <a:gd name="T31" fmla="*/ 34 h 36"/>
                  <a:gd name="T32" fmla="*/ 31 w 45"/>
                  <a:gd name="T33" fmla="*/ 25 h 36"/>
                  <a:gd name="T34" fmla="*/ 36 w 45"/>
                  <a:gd name="T35" fmla="*/ 23 h 36"/>
                  <a:gd name="T36" fmla="*/ 38 w 45"/>
                  <a:gd name="T37" fmla="*/ 17 h 36"/>
                  <a:gd name="T38" fmla="*/ 36 w 45"/>
                  <a:gd name="T39" fmla="*/ 11 h 36"/>
                  <a:gd name="T40" fmla="*/ 33 w 45"/>
                  <a:gd name="T41" fmla="*/ 10 h 36"/>
                  <a:gd name="T42" fmla="*/ 31 w 45"/>
                  <a:gd name="T43" fmla="*/ 11 h 36"/>
                  <a:gd name="T44" fmla="*/ 28 w 45"/>
                  <a:gd name="T45" fmla="*/ 19 h 36"/>
                  <a:gd name="T46" fmla="*/ 25 w 45"/>
                  <a:gd name="T47" fmla="*/ 29 h 36"/>
                  <a:gd name="T48" fmla="*/ 20 w 45"/>
                  <a:gd name="T49" fmla="*/ 34 h 36"/>
                  <a:gd name="T50" fmla="*/ 13 w 45"/>
                  <a:gd name="T51" fmla="*/ 36 h 36"/>
                  <a:gd name="T52" fmla="*/ 6 w 45"/>
                  <a:gd name="T53" fmla="*/ 33 h 36"/>
                  <a:gd name="T54" fmla="*/ 1 w 45"/>
                  <a:gd name="T55" fmla="*/ 28 h 36"/>
                  <a:gd name="T56" fmla="*/ 0 w 45"/>
                  <a:gd name="T57" fmla="*/ 18 h 36"/>
                  <a:gd name="T58" fmla="*/ 3 w 45"/>
                  <a:gd name="T59" fmla="*/ 5 h 36"/>
                  <a:gd name="T60" fmla="*/ 15 w 45"/>
                  <a:gd name="T61" fmla="*/ 0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45" h="36">
                    <a:moveTo>
                      <a:pt x="15" y="0"/>
                    </a:moveTo>
                    <a:cubicBezTo>
                      <a:pt x="16" y="8"/>
                      <a:pt x="16" y="8"/>
                      <a:pt x="16" y="8"/>
                    </a:cubicBezTo>
                    <a:cubicBezTo>
                      <a:pt x="13" y="9"/>
                      <a:pt x="10" y="10"/>
                      <a:pt x="9" y="12"/>
                    </a:cubicBezTo>
                    <a:cubicBezTo>
                      <a:pt x="8" y="13"/>
                      <a:pt x="7" y="15"/>
                      <a:pt x="7" y="18"/>
                    </a:cubicBezTo>
                    <a:cubicBezTo>
                      <a:pt x="7" y="21"/>
                      <a:pt x="8" y="23"/>
                      <a:pt x="9" y="25"/>
                    </a:cubicBezTo>
                    <a:cubicBezTo>
                      <a:pt x="10" y="26"/>
                      <a:pt x="12" y="27"/>
                      <a:pt x="13" y="27"/>
                    </a:cubicBezTo>
                    <a:cubicBezTo>
                      <a:pt x="14" y="27"/>
                      <a:pt x="15" y="26"/>
                      <a:pt x="16" y="26"/>
                    </a:cubicBezTo>
                    <a:cubicBezTo>
                      <a:pt x="17" y="25"/>
                      <a:pt x="17" y="24"/>
                      <a:pt x="18" y="23"/>
                    </a:cubicBezTo>
                    <a:cubicBezTo>
                      <a:pt x="18" y="22"/>
                      <a:pt x="19" y="19"/>
                      <a:pt x="20" y="15"/>
                    </a:cubicBezTo>
                    <a:cubicBezTo>
                      <a:pt x="21" y="11"/>
                      <a:pt x="22" y="7"/>
                      <a:pt x="24" y="5"/>
                    </a:cubicBezTo>
                    <a:cubicBezTo>
                      <a:pt x="26" y="3"/>
                      <a:pt x="29" y="1"/>
                      <a:pt x="33" y="1"/>
                    </a:cubicBezTo>
                    <a:cubicBezTo>
                      <a:pt x="35" y="1"/>
                      <a:pt x="37" y="2"/>
                      <a:pt x="39" y="3"/>
                    </a:cubicBezTo>
                    <a:cubicBezTo>
                      <a:pt x="41" y="4"/>
                      <a:pt x="43" y="6"/>
                      <a:pt x="44" y="9"/>
                    </a:cubicBezTo>
                    <a:cubicBezTo>
                      <a:pt x="45" y="11"/>
                      <a:pt x="45" y="14"/>
                      <a:pt x="45" y="17"/>
                    </a:cubicBezTo>
                    <a:cubicBezTo>
                      <a:pt x="45" y="23"/>
                      <a:pt x="44" y="27"/>
                      <a:pt x="42" y="30"/>
                    </a:cubicBezTo>
                    <a:cubicBezTo>
                      <a:pt x="39" y="33"/>
                      <a:pt x="36" y="34"/>
                      <a:pt x="32" y="34"/>
                    </a:cubicBezTo>
                    <a:cubicBezTo>
                      <a:pt x="31" y="25"/>
                      <a:pt x="31" y="25"/>
                      <a:pt x="31" y="25"/>
                    </a:cubicBezTo>
                    <a:cubicBezTo>
                      <a:pt x="34" y="25"/>
                      <a:pt x="35" y="24"/>
                      <a:pt x="36" y="23"/>
                    </a:cubicBezTo>
                    <a:cubicBezTo>
                      <a:pt x="37" y="22"/>
                      <a:pt x="38" y="20"/>
                      <a:pt x="38" y="17"/>
                    </a:cubicBezTo>
                    <a:cubicBezTo>
                      <a:pt x="38" y="15"/>
                      <a:pt x="37" y="13"/>
                      <a:pt x="36" y="11"/>
                    </a:cubicBezTo>
                    <a:cubicBezTo>
                      <a:pt x="35" y="10"/>
                      <a:pt x="35" y="10"/>
                      <a:pt x="33" y="10"/>
                    </a:cubicBezTo>
                    <a:cubicBezTo>
                      <a:pt x="32" y="10"/>
                      <a:pt x="31" y="10"/>
                      <a:pt x="31" y="11"/>
                    </a:cubicBezTo>
                    <a:cubicBezTo>
                      <a:pt x="30" y="12"/>
                      <a:pt x="29" y="15"/>
                      <a:pt x="28" y="19"/>
                    </a:cubicBezTo>
                    <a:cubicBezTo>
                      <a:pt x="27" y="24"/>
                      <a:pt x="26" y="27"/>
                      <a:pt x="25" y="29"/>
                    </a:cubicBezTo>
                    <a:cubicBezTo>
                      <a:pt x="24" y="31"/>
                      <a:pt x="22" y="33"/>
                      <a:pt x="20" y="34"/>
                    </a:cubicBezTo>
                    <a:cubicBezTo>
                      <a:pt x="18" y="35"/>
                      <a:pt x="16" y="36"/>
                      <a:pt x="13" y="36"/>
                    </a:cubicBezTo>
                    <a:cubicBezTo>
                      <a:pt x="11" y="36"/>
                      <a:pt x="8" y="35"/>
                      <a:pt x="6" y="33"/>
                    </a:cubicBezTo>
                    <a:cubicBezTo>
                      <a:pt x="4" y="32"/>
                      <a:pt x="2" y="30"/>
                      <a:pt x="1" y="28"/>
                    </a:cubicBezTo>
                    <a:cubicBezTo>
                      <a:pt x="0" y="25"/>
                      <a:pt x="0" y="22"/>
                      <a:pt x="0" y="18"/>
                    </a:cubicBezTo>
                    <a:cubicBezTo>
                      <a:pt x="0" y="12"/>
                      <a:pt x="1" y="8"/>
                      <a:pt x="3" y="5"/>
                    </a:cubicBezTo>
                    <a:cubicBezTo>
                      <a:pt x="6" y="2"/>
                      <a:pt x="10" y="0"/>
                      <a:pt x="15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36" name="íş1ïḓe"/>
              <p:cNvSpPr/>
              <p:nvPr/>
            </p:nvSpPr>
            <p:spPr bwMode="auto">
              <a:xfrm>
                <a:off x="1642959" y="5385390"/>
                <a:ext cx="84138" cy="22225"/>
              </a:xfrm>
              <a:custGeom>
                <a:avLst/>
                <a:gdLst>
                  <a:gd name="T0" fmla="*/ 0 w 53"/>
                  <a:gd name="T1" fmla="*/ 5 h 14"/>
                  <a:gd name="T2" fmla="*/ 51 w 53"/>
                  <a:gd name="T3" fmla="*/ 0 h 14"/>
                  <a:gd name="T4" fmla="*/ 53 w 53"/>
                  <a:gd name="T5" fmla="*/ 11 h 14"/>
                  <a:gd name="T6" fmla="*/ 1 w 53"/>
                  <a:gd name="T7" fmla="*/ 14 h 14"/>
                  <a:gd name="T8" fmla="*/ 0 w 53"/>
                  <a:gd name="T9" fmla="*/ 5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3" h="14">
                    <a:moveTo>
                      <a:pt x="0" y="5"/>
                    </a:moveTo>
                    <a:lnTo>
                      <a:pt x="51" y="0"/>
                    </a:lnTo>
                    <a:lnTo>
                      <a:pt x="53" y="11"/>
                    </a:lnTo>
                    <a:lnTo>
                      <a:pt x="1" y="14"/>
                    </a:lnTo>
                    <a:lnTo>
                      <a:pt x="0" y="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37" name="ïṩlîḋè"/>
              <p:cNvSpPr/>
              <p:nvPr/>
            </p:nvSpPr>
            <p:spPr bwMode="auto">
              <a:xfrm>
                <a:off x="1649309" y="5407615"/>
                <a:ext cx="84138" cy="66675"/>
              </a:xfrm>
              <a:custGeom>
                <a:avLst/>
                <a:gdLst>
                  <a:gd name="T0" fmla="*/ 0 w 53"/>
                  <a:gd name="T1" fmla="*/ 22 h 42"/>
                  <a:gd name="T2" fmla="*/ 42 w 53"/>
                  <a:gd name="T3" fmla="*/ 17 h 42"/>
                  <a:gd name="T4" fmla="*/ 39 w 53"/>
                  <a:gd name="T5" fmla="*/ 1 h 42"/>
                  <a:gd name="T6" fmla="*/ 49 w 53"/>
                  <a:gd name="T7" fmla="*/ 0 h 42"/>
                  <a:gd name="T8" fmla="*/ 53 w 53"/>
                  <a:gd name="T9" fmla="*/ 41 h 42"/>
                  <a:gd name="T10" fmla="*/ 45 w 53"/>
                  <a:gd name="T11" fmla="*/ 42 h 42"/>
                  <a:gd name="T12" fmla="*/ 43 w 53"/>
                  <a:gd name="T13" fmla="*/ 27 h 42"/>
                  <a:gd name="T14" fmla="*/ 1 w 53"/>
                  <a:gd name="T15" fmla="*/ 33 h 42"/>
                  <a:gd name="T16" fmla="*/ 0 w 53"/>
                  <a:gd name="T17" fmla="*/ 22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3" h="42">
                    <a:moveTo>
                      <a:pt x="0" y="22"/>
                    </a:moveTo>
                    <a:lnTo>
                      <a:pt x="42" y="17"/>
                    </a:lnTo>
                    <a:lnTo>
                      <a:pt x="39" y="1"/>
                    </a:lnTo>
                    <a:lnTo>
                      <a:pt x="49" y="0"/>
                    </a:lnTo>
                    <a:lnTo>
                      <a:pt x="53" y="41"/>
                    </a:lnTo>
                    <a:lnTo>
                      <a:pt x="45" y="42"/>
                    </a:lnTo>
                    <a:lnTo>
                      <a:pt x="43" y="27"/>
                    </a:lnTo>
                    <a:lnTo>
                      <a:pt x="1" y="33"/>
                    </a:lnTo>
                    <a:lnTo>
                      <a:pt x="0" y="2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38" name="ïṣľîďe"/>
              <p:cNvSpPr/>
              <p:nvPr/>
            </p:nvSpPr>
            <p:spPr bwMode="auto">
              <a:xfrm>
                <a:off x="1662009" y="5471115"/>
                <a:ext cx="90488" cy="73025"/>
              </a:xfrm>
              <a:custGeom>
                <a:avLst/>
                <a:gdLst>
                  <a:gd name="T0" fmla="*/ 0 w 57"/>
                  <a:gd name="T1" fmla="*/ 29 h 46"/>
                  <a:gd name="T2" fmla="*/ 21 w 57"/>
                  <a:gd name="T3" fmla="*/ 24 h 46"/>
                  <a:gd name="T4" fmla="*/ 45 w 57"/>
                  <a:gd name="T5" fmla="*/ 0 h 46"/>
                  <a:gd name="T6" fmla="*/ 49 w 57"/>
                  <a:gd name="T7" fmla="*/ 11 h 46"/>
                  <a:gd name="T8" fmla="*/ 31 w 57"/>
                  <a:gd name="T9" fmla="*/ 28 h 46"/>
                  <a:gd name="T10" fmla="*/ 53 w 57"/>
                  <a:gd name="T11" fmla="*/ 35 h 46"/>
                  <a:gd name="T12" fmla="*/ 57 w 57"/>
                  <a:gd name="T13" fmla="*/ 46 h 46"/>
                  <a:gd name="T14" fmla="*/ 23 w 57"/>
                  <a:gd name="T15" fmla="*/ 35 h 46"/>
                  <a:gd name="T16" fmla="*/ 2 w 57"/>
                  <a:gd name="T17" fmla="*/ 39 h 46"/>
                  <a:gd name="T18" fmla="*/ 0 w 57"/>
                  <a:gd name="T19" fmla="*/ 29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57" h="46">
                    <a:moveTo>
                      <a:pt x="0" y="29"/>
                    </a:moveTo>
                    <a:lnTo>
                      <a:pt x="21" y="24"/>
                    </a:lnTo>
                    <a:lnTo>
                      <a:pt x="45" y="0"/>
                    </a:lnTo>
                    <a:lnTo>
                      <a:pt x="49" y="11"/>
                    </a:lnTo>
                    <a:lnTo>
                      <a:pt x="31" y="28"/>
                    </a:lnTo>
                    <a:lnTo>
                      <a:pt x="53" y="35"/>
                    </a:lnTo>
                    <a:lnTo>
                      <a:pt x="57" y="46"/>
                    </a:lnTo>
                    <a:lnTo>
                      <a:pt x="23" y="35"/>
                    </a:lnTo>
                    <a:lnTo>
                      <a:pt x="2" y="39"/>
                    </a:lnTo>
                    <a:lnTo>
                      <a:pt x="0" y="2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39" name="íśļiḓe"/>
              <p:cNvSpPr/>
              <p:nvPr/>
            </p:nvSpPr>
            <p:spPr bwMode="auto">
              <a:xfrm>
                <a:off x="1704872" y="5609228"/>
                <a:ext cx="85725" cy="80963"/>
              </a:xfrm>
              <a:custGeom>
                <a:avLst/>
                <a:gdLst>
                  <a:gd name="T0" fmla="*/ 15 w 47"/>
                  <a:gd name="T1" fmla="*/ 2 h 44"/>
                  <a:gd name="T2" fmla="*/ 26 w 47"/>
                  <a:gd name="T3" fmla="*/ 0 h 44"/>
                  <a:gd name="T4" fmla="*/ 33 w 47"/>
                  <a:gd name="T5" fmla="*/ 1 h 44"/>
                  <a:gd name="T6" fmla="*/ 39 w 47"/>
                  <a:gd name="T7" fmla="*/ 4 h 44"/>
                  <a:gd name="T8" fmla="*/ 44 w 47"/>
                  <a:gd name="T9" fmla="*/ 12 h 44"/>
                  <a:gd name="T10" fmla="*/ 45 w 47"/>
                  <a:gd name="T11" fmla="*/ 29 h 44"/>
                  <a:gd name="T12" fmla="*/ 32 w 47"/>
                  <a:gd name="T13" fmla="*/ 41 h 44"/>
                  <a:gd name="T14" fmla="*/ 15 w 47"/>
                  <a:gd name="T15" fmla="*/ 43 h 44"/>
                  <a:gd name="T16" fmla="*/ 3 w 47"/>
                  <a:gd name="T17" fmla="*/ 31 h 44"/>
                  <a:gd name="T18" fmla="*/ 2 w 47"/>
                  <a:gd name="T19" fmla="*/ 14 h 44"/>
                  <a:gd name="T20" fmla="*/ 15 w 47"/>
                  <a:gd name="T21" fmla="*/ 2 h 44"/>
                  <a:gd name="T22" fmla="*/ 19 w 47"/>
                  <a:gd name="T23" fmla="*/ 10 h 44"/>
                  <a:gd name="T24" fmla="*/ 10 w 47"/>
                  <a:gd name="T25" fmla="*/ 18 h 44"/>
                  <a:gd name="T26" fmla="*/ 10 w 47"/>
                  <a:gd name="T27" fmla="*/ 28 h 44"/>
                  <a:gd name="T28" fmla="*/ 17 w 47"/>
                  <a:gd name="T29" fmla="*/ 34 h 44"/>
                  <a:gd name="T30" fmla="*/ 29 w 47"/>
                  <a:gd name="T31" fmla="*/ 33 h 44"/>
                  <a:gd name="T32" fmla="*/ 38 w 47"/>
                  <a:gd name="T33" fmla="*/ 25 h 44"/>
                  <a:gd name="T34" fmla="*/ 37 w 47"/>
                  <a:gd name="T35" fmla="*/ 16 h 44"/>
                  <a:gd name="T36" fmla="*/ 30 w 47"/>
                  <a:gd name="T37" fmla="*/ 9 h 44"/>
                  <a:gd name="T38" fmla="*/ 19 w 47"/>
                  <a:gd name="T39" fmla="*/ 10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47" h="44">
                    <a:moveTo>
                      <a:pt x="15" y="2"/>
                    </a:moveTo>
                    <a:cubicBezTo>
                      <a:pt x="19" y="0"/>
                      <a:pt x="23" y="0"/>
                      <a:pt x="26" y="0"/>
                    </a:cubicBezTo>
                    <a:cubicBezTo>
                      <a:pt x="28" y="0"/>
                      <a:pt x="31" y="0"/>
                      <a:pt x="33" y="1"/>
                    </a:cubicBezTo>
                    <a:cubicBezTo>
                      <a:pt x="35" y="2"/>
                      <a:pt x="37" y="3"/>
                      <a:pt x="39" y="4"/>
                    </a:cubicBezTo>
                    <a:cubicBezTo>
                      <a:pt x="41" y="6"/>
                      <a:pt x="43" y="9"/>
                      <a:pt x="44" y="12"/>
                    </a:cubicBezTo>
                    <a:cubicBezTo>
                      <a:pt x="47" y="18"/>
                      <a:pt x="47" y="24"/>
                      <a:pt x="45" y="29"/>
                    </a:cubicBezTo>
                    <a:cubicBezTo>
                      <a:pt x="43" y="34"/>
                      <a:pt x="39" y="38"/>
                      <a:pt x="32" y="41"/>
                    </a:cubicBezTo>
                    <a:cubicBezTo>
                      <a:pt x="26" y="44"/>
                      <a:pt x="20" y="44"/>
                      <a:pt x="15" y="43"/>
                    </a:cubicBezTo>
                    <a:cubicBezTo>
                      <a:pt x="9" y="41"/>
                      <a:pt x="5" y="37"/>
                      <a:pt x="3" y="31"/>
                    </a:cubicBezTo>
                    <a:cubicBezTo>
                      <a:pt x="0" y="25"/>
                      <a:pt x="0" y="19"/>
                      <a:pt x="2" y="14"/>
                    </a:cubicBezTo>
                    <a:cubicBezTo>
                      <a:pt x="4" y="9"/>
                      <a:pt x="8" y="5"/>
                      <a:pt x="15" y="2"/>
                    </a:cubicBezTo>
                    <a:close/>
                    <a:moveTo>
                      <a:pt x="19" y="10"/>
                    </a:moveTo>
                    <a:cubicBezTo>
                      <a:pt x="14" y="12"/>
                      <a:pt x="11" y="15"/>
                      <a:pt x="10" y="18"/>
                    </a:cubicBezTo>
                    <a:cubicBezTo>
                      <a:pt x="8" y="21"/>
                      <a:pt x="8" y="24"/>
                      <a:pt x="10" y="28"/>
                    </a:cubicBezTo>
                    <a:cubicBezTo>
                      <a:pt x="11" y="31"/>
                      <a:pt x="13" y="33"/>
                      <a:pt x="17" y="34"/>
                    </a:cubicBezTo>
                    <a:cubicBezTo>
                      <a:pt x="20" y="35"/>
                      <a:pt x="24" y="35"/>
                      <a:pt x="29" y="33"/>
                    </a:cubicBezTo>
                    <a:cubicBezTo>
                      <a:pt x="33" y="31"/>
                      <a:pt x="36" y="28"/>
                      <a:pt x="38" y="25"/>
                    </a:cubicBezTo>
                    <a:cubicBezTo>
                      <a:pt x="39" y="22"/>
                      <a:pt x="39" y="19"/>
                      <a:pt x="37" y="16"/>
                    </a:cubicBezTo>
                    <a:cubicBezTo>
                      <a:pt x="36" y="12"/>
                      <a:pt x="34" y="10"/>
                      <a:pt x="30" y="9"/>
                    </a:cubicBezTo>
                    <a:cubicBezTo>
                      <a:pt x="27" y="8"/>
                      <a:pt x="23" y="8"/>
                      <a:pt x="19" y="1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40" name="î$ḷïďe"/>
              <p:cNvSpPr/>
              <p:nvPr/>
            </p:nvSpPr>
            <p:spPr bwMode="auto">
              <a:xfrm>
                <a:off x="1733447" y="5675903"/>
                <a:ext cx="98425" cy="66675"/>
              </a:xfrm>
              <a:custGeom>
                <a:avLst/>
                <a:gdLst>
                  <a:gd name="T0" fmla="*/ 0 w 62"/>
                  <a:gd name="T1" fmla="*/ 26 h 42"/>
                  <a:gd name="T2" fmla="*/ 45 w 62"/>
                  <a:gd name="T3" fmla="*/ 0 h 42"/>
                  <a:gd name="T4" fmla="*/ 62 w 62"/>
                  <a:gd name="T5" fmla="*/ 30 h 42"/>
                  <a:gd name="T6" fmla="*/ 55 w 62"/>
                  <a:gd name="T7" fmla="*/ 35 h 42"/>
                  <a:gd name="T8" fmla="*/ 43 w 62"/>
                  <a:gd name="T9" fmla="*/ 14 h 42"/>
                  <a:gd name="T10" fmla="*/ 32 w 62"/>
                  <a:gd name="T11" fmla="*/ 20 h 42"/>
                  <a:gd name="T12" fmla="*/ 43 w 62"/>
                  <a:gd name="T13" fmla="*/ 38 h 42"/>
                  <a:gd name="T14" fmla="*/ 35 w 62"/>
                  <a:gd name="T15" fmla="*/ 42 h 42"/>
                  <a:gd name="T16" fmla="*/ 25 w 62"/>
                  <a:gd name="T17" fmla="*/ 23 h 42"/>
                  <a:gd name="T18" fmla="*/ 6 w 62"/>
                  <a:gd name="T19" fmla="*/ 35 h 42"/>
                  <a:gd name="T20" fmla="*/ 0 w 62"/>
                  <a:gd name="T21" fmla="*/ 26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62" h="42">
                    <a:moveTo>
                      <a:pt x="0" y="26"/>
                    </a:moveTo>
                    <a:lnTo>
                      <a:pt x="45" y="0"/>
                    </a:lnTo>
                    <a:lnTo>
                      <a:pt x="62" y="30"/>
                    </a:lnTo>
                    <a:lnTo>
                      <a:pt x="55" y="35"/>
                    </a:lnTo>
                    <a:lnTo>
                      <a:pt x="43" y="14"/>
                    </a:lnTo>
                    <a:lnTo>
                      <a:pt x="32" y="20"/>
                    </a:lnTo>
                    <a:lnTo>
                      <a:pt x="43" y="38"/>
                    </a:lnTo>
                    <a:lnTo>
                      <a:pt x="35" y="42"/>
                    </a:lnTo>
                    <a:lnTo>
                      <a:pt x="25" y="23"/>
                    </a:lnTo>
                    <a:lnTo>
                      <a:pt x="6" y="35"/>
                    </a:lnTo>
                    <a:lnTo>
                      <a:pt x="0" y="26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41" name="îśḻîḍe"/>
              <p:cNvSpPr/>
              <p:nvPr/>
            </p:nvSpPr>
            <p:spPr bwMode="auto">
              <a:xfrm>
                <a:off x="1812822" y="5785440"/>
                <a:ext cx="85725" cy="82550"/>
              </a:xfrm>
              <a:custGeom>
                <a:avLst/>
                <a:gdLst>
                  <a:gd name="T0" fmla="*/ 6 w 46"/>
                  <a:gd name="T1" fmla="*/ 13 h 45"/>
                  <a:gd name="T2" fmla="*/ 12 w 46"/>
                  <a:gd name="T3" fmla="*/ 19 h 45"/>
                  <a:gd name="T4" fmla="*/ 9 w 46"/>
                  <a:gd name="T5" fmla="*/ 26 h 45"/>
                  <a:gd name="T6" fmla="*/ 11 w 46"/>
                  <a:gd name="T7" fmla="*/ 32 h 45"/>
                  <a:gd name="T8" fmla="*/ 17 w 46"/>
                  <a:gd name="T9" fmla="*/ 36 h 45"/>
                  <a:gd name="T10" fmla="*/ 22 w 46"/>
                  <a:gd name="T11" fmla="*/ 35 h 45"/>
                  <a:gd name="T12" fmla="*/ 23 w 46"/>
                  <a:gd name="T13" fmla="*/ 32 h 45"/>
                  <a:gd name="T14" fmla="*/ 22 w 46"/>
                  <a:gd name="T15" fmla="*/ 29 h 45"/>
                  <a:gd name="T16" fmla="*/ 19 w 46"/>
                  <a:gd name="T17" fmla="*/ 22 h 45"/>
                  <a:gd name="T18" fmla="*/ 16 w 46"/>
                  <a:gd name="T19" fmla="*/ 12 h 45"/>
                  <a:gd name="T20" fmla="*/ 21 w 46"/>
                  <a:gd name="T21" fmla="*/ 3 h 45"/>
                  <a:gd name="T22" fmla="*/ 27 w 46"/>
                  <a:gd name="T23" fmla="*/ 0 h 45"/>
                  <a:gd name="T24" fmla="*/ 34 w 46"/>
                  <a:gd name="T25" fmla="*/ 2 h 45"/>
                  <a:gd name="T26" fmla="*/ 40 w 46"/>
                  <a:gd name="T27" fmla="*/ 8 h 45"/>
                  <a:gd name="T28" fmla="*/ 45 w 46"/>
                  <a:gd name="T29" fmla="*/ 19 h 45"/>
                  <a:gd name="T30" fmla="*/ 41 w 46"/>
                  <a:gd name="T31" fmla="*/ 29 h 45"/>
                  <a:gd name="T32" fmla="*/ 35 w 46"/>
                  <a:gd name="T33" fmla="*/ 22 h 45"/>
                  <a:gd name="T34" fmla="*/ 37 w 46"/>
                  <a:gd name="T35" fmla="*/ 17 h 45"/>
                  <a:gd name="T36" fmla="*/ 35 w 46"/>
                  <a:gd name="T37" fmla="*/ 12 h 45"/>
                  <a:gd name="T38" fmla="*/ 30 w 46"/>
                  <a:gd name="T39" fmla="*/ 8 h 45"/>
                  <a:gd name="T40" fmla="*/ 27 w 46"/>
                  <a:gd name="T41" fmla="*/ 9 h 45"/>
                  <a:gd name="T42" fmla="*/ 25 w 46"/>
                  <a:gd name="T43" fmla="*/ 12 h 45"/>
                  <a:gd name="T44" fmla="*/ 28 w 46"/>
                  <a:gd name="T45" fmla="*/ 20 h 45"/>
                  <a:gd name="T46" fmla="*/ 32 w 46"/>
                  <a:gd name="T47" fmla="*/ 29 h 45"/>
                  <a:gd name="T48" fmla="*/ 31 w 46"/>
                  <a:gd name="T49" fmla="*/ 36 h 45"/>
                  <a:gd name="T50" fmla="*/ 27 w 46"/>
                  <a:gd name="T51" fmla="*/ 42 h 45"/>
                  <a:gd name="T52" fmla="*/ 20 w 46"/>
                  <a:gd name="T53" fmla="*/ 45 h 45"/>
                  <a:gd name="T54" fmla="*/ 13 w 46"/>
                  <a:gd name="T55" fmla="*/ 43 h 45"/>
                  <a:gd name="T56" fmla="*/ 6 w 46"/>
                  <a:gd name="T57" fmla="*/ 37 h 45"/>
                  <a:gd name="T58" fmla="*/ 0 w 46"/>
                  <a:gd name="T59" fmla="*/ 24 h 45"/>
                  <a:gd name="T60" fmla="*/ 6 w 46"/>
                  <a:gd name="T61" fmla="*/ 13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46" h="45">
                    <a:moveTo>
                      <a:pt x="6" y="13"/>
                    </a:moveTo>
                    <a:cubicBezTo>
                      <a:pt x="12" y="19"/>
                      <a:pt x="12" y="19"/>
                      <a:pt x="12" y="19"/>
                    </a:cubicBezTo>
                    <a:cubicBezTo>
                      <a:pt x="10" y="21"/>
                      <a:pt x="9" y="24"/>
                      <a:pt x="9" y="26"/>
                    </a:cubicBezTo>
                    <a:cubicBezTo>
                      <a:pt x="9" y="28"/>
                      <a:pt x="10" y="30"/>
                      <a:pt x="11" y="32"/>
                    </a:cubicBezTo>
                    <a:cubicBezTo>
                      <a:pt x="13" y="34"/>
                      <a:pt x="15" y="35"/>
                      <a:pt x="17" y="36"/>
                    </a:cubicBezTo>
                    <a:cubicBezTo>
                      <a:pt x="19" y="36"/>
                      <a:pt x="20" y="36"/>
                      <a:pt x="22" y="35"/>
                    </a:cubicBezTo>
                    <a:cubicBezTo>
                      <a:pt x="22" y="34"/>
                      <a:pt x="23" y="33"/>
                      <a:pt x="23" y="32"/>
                    </a:cubicBezTo>
                    <a:cubicBezTo>
                      <a:pt x="23" y="32"/>
                      <a:pt x="23" y="30"/>
                      <a:pt x="22" y="29"/>
                    </a:cubicBezTo>
                    <a:cubicBezTo>
                      <a:pt x="22" y="28"/>
                      <a:pt x="21" y="26"/>
                      <a:pt x="19" y="22"/>
                    </a:cubicBezTo>
                    <a:cubicBezTo>
                      <a:pt x="17" y="18"/>
                      <a:pt x="16" y="14"/>
                      <a:pt x="16" y="12"/>
                    </a:cubicBezTo>
                    <a:cubicBezTo>
                      <a:pt x="17" y="8"/>
                      <a:pt x="18" y="5"/>
                      <a:pt x="21" y="3"/>
                    </a:cubicBezTo>
                    <a:cubicBezTo>
                      <a:pt x="23" y="1"/>
                      <a:pt x="25" y="1"/>
                      <a:pt x="27" y="0"/>
                    </a:cubicBezTo>
                    <a:cubicBezTo>
                      <a:pt x="29" y="0"/>
                      <a:pt x="31" y="1"/>
                      <a:pt x="34" y="2"/>
                    </a:cubicBezTo>
                    <a:cubicBezTo>
                      <a:pt x="36" y="3"/>
                      <a:pt x="38" y="5"/>
                      <a:pt x="40" y="8"/>
                    </a:cubicBezTo>
                    <a:cubicBezTo>
                      <a:pt x="44" y="12"/>
                      <a:pt x="46" y="16"/>
                      <a:pt x="45" y="19"/>
                    </a:cubicBezTo>
                    <a:cubicBezTo>
                      <a:pt x="45" y="23"/>
                      <a:pt x="44" y="26"/>
                      <a:pt x="41" y="29"/>
                    </a:cubicBezTo>
                    <a:cubicBezTo>
                      <a:pt x="35" y="22"/>
                      <a:pt x="35" y="22"/>
                      <a:pt x="35" y="22"/>
                    </a:cubicBezTo>
                    <a:cubicBezTo>
                      <a:pt x="36" y="21"/>
                      <a:pt x="37" y="19"/>
                      <a:pt x="37" y="17"/>
                    </a:cubicBezTo>
                    <a:cubicBezTo>
                      <a:pt x="37" y="16"/>
                      <a:pt x="36" y="14"/>
                      <a:pt x="35" y="12"/>
                    </a:cubicBezTo>
                    <a:cubicBezTo>
                      <a:pt x="33" y="10"/>
                      <a:pt x="31" y="9"/>
                      <a:pt x="30" y="8"/>
                    </a:cubicBezTo>
                    <a:cubicBezTo>
                      <a:pt x="28" y="8"/>
                      <a:pt x="27" y="8"/>
                      <a:pt x="27" y="9"/>
                    </a:cubicBezTo>
                    <a:cubicBezTo>
                      <a:pt x="26" y="10"/>
                      <a:pt x="25" y="11"/>
                      <a:pt x="25" y="12"/>
                    </a:cubicBezTo>
                    <a:cubicBezTo>
                      <a:pt x="25" y="13"/>
                      <a:pt x="26" y="16"/>
                      <a:pt x="28" y="20"/>
                    </a:cubicBezTo>
                    <a:cubicBezTo>
                      <a:pt x="30" y="24"/>
                      <a:pt x="31" y="27"/>
                      <a:pt x="32" y="29"/>
                    </a:cubicBezTo>
                    <a:cubicBezTo>
                      <a:pt x="32" y="32"/>
                      <a:pt x="32" y="34"/>
                      <a:pt x="31" y="36"/>
                    </a:cubicBezTo>
                    <a:cubicBezTo>
                      <a:pt x="31" y="38"/>
                      <a:pt x="29" y="40"/>
                      <a:pt x="27" y="42"/>
                    </a:cubicBezTo>
                    <a:cubicBezTo>
                      <a:pt x="25" y="43"/>
                      <a:pt x="23" y="44"/>
                      <a:pt x="20" y="45"/>
                    </a:cubicBezTo>
                    <a:cubicBezTo>
                      <a:pt x="18" y="45"/>
                      <a:pt x="15" y="44"/>
                      <a:pt x="13" y="43"/>
                    </a:cubicBezTo>
                    <a:cubicBezTo>
                      <a:pt x="10" y="42"/>
                      <a:pt x="8" y="40"/>
                      <a:pt x="6" y="37"/>
                    </a:cubicBezTo>
                    <a:cubicBezTo>
                      <a:pt x="2" y="32"/>
                      <a:pt x="0" y="28"/>
                      <a:pt x="0" y="24"/>
                    </a:cubicBezTo>
                    <a:cubicBezTo>
                      <a:pt x="1" y="20"/>
                      <a:pt x="2" y="17"/>
                      <a:pt x="6" y="1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42" name="í$ļîḋê"/>
              <p:cNvSpPr/>
              <p:nvPr/>
            </p:nvSpPr>
            <p:spPr bwMode="auto">
              <a:xfrm>
                <a:off x="1868384" y="5844178"/>
                <a:ext cx="82550" cy="82550"/>
              </a:xfrm>
              <a:custGeom>
                <a:avLst/>
                <a:gdLst>
                  <a:gd name="T0" fmla="*/ 25 w 45"/>
                  <a:gd name="T1" fmla="*/ 33 h 45"/>
                  <a:gd name="T2" fmla="*/ 29 w 45"/>
                  <a:gd name="T3" fmla="*/ 41 h 45"/>
                  <a:gd name="T4" fmla="*/ 17 w 45"/>
                  <a:gd name="T5" fmla="*/ 44 h 45"/>
                  <a:gd name="T6" fmla="*/ 6 w 45"/>
                  <a:gd name="T7" fmla="*/ 38 h 45"/>
                  <a:gd name="T8" fmla="*/ 0 w 45"/>
                  <a:gd name="T9" fmla="*/ 24 h 45"/>
                  <a:gd name="T10" fmla="*/ 8 w 45"/>
                  <a:gd name="T11" fmla="*/ 8 h 45"/>
                  <a:gd name="T12" fmla="*/ 24 w 45"/>
                  <a:gd name="T13" fmla="*/ 0 h 45"/>
                  <a:gd name="T14" fmla="*/ 39 w 45"/>
                  <a:gd name="T15" fmla="*/ 7 h 45"/>
                  <a:gd name="T16" fmla="*/ 45 w 45"/>
                  <a:gd name="T17" fmla="*/ 19 h 45"/>
                  <a:gd name="T18" fmla="*/ 42 w 45"/>
                  <a:gd name="T19" fmla="*/ 28 h 45"/>
                  <a:gd name="T20" fmla="*/ 34 w 45"/>
                  <a:gd name="T21" fmla="*/ 23 h 45"/>
                  <a:gd name="T22" fmla="*/ 36 w 45"/>
                  <a:gd name="T23" fmla="*/ 17 h 45"/>
                  <a:gd name="T24" fmla="*/ 33 w 45"/>
                  <a:gd name="T25" fmla="*/ 12 h 45"/>
                  <a:gd name="T26" fmla="*/ 25 w 45"/>
                  <a:gd name="T27" fmla="*/ 9 h 45"/>
                  <a:gd name="T28" fmla="*/ 15 w 45"/>
                  <a:gd name="T29" fmla="*/ 14 h 45"/>
                  <a:gd name="T30" fmla="*/ 8 w 45"/>
                  <a:gd name="T31" fmla="*/ 25 h 45"/>
                  <a:gd name="T32" fmla="*/ 11 w 45"/>
                  <a:gd name="T33" fmla="*/ 33 h 45"/>
                  <a:gd name="T34" fmla="*/ 17 w 45"/>
                  <a:gd name="T35" fmla="*/ 36 h 45"/>
                  <a:gd name="T36" fmla="*/ 25 w 45"/>
                  <a:gd name="T37" fmla="*/ 33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45" h="45">
                    <a:moveTo>
                      <a:pt x="25" y="33"/>
                    </a:moveTo>
                    <a:cubicBezTo>
                      <a:pt x="29" y="41"/>
                      <a:pt x="29" y="41"/>
                      <a:pt x="29" y="41"/>
                    </a:cubicBezTo>
                    <a:cubicBezTo>
                      <a:pt x="25" y="44"/>
                      <a:pt x="21" y="45"/>
                      <a:pt x="17" y="44"/>
                    </a:cubicBezTo>
                    <a:cubicBezTo>
                      <a:pt x="13" y="44"/>
                      <a:pt x="9" y="42"/>
                      <a:pt x="6" y="38"/>
                    </a:cubicBezTo>
                    <a:cubicBezTo>
                      <a:pt x="2" y="34"/>
                      <a:pt x="0" y="29"/>
                      <a:pt x="0" y="24"/>
                    </a:cubicBezTo>
                    <a:cubicBezTo>
                      <a:pt x="0" y="19"/>
                      <a:pt x="3" y="13"/>
                      <a:pt x="8" y="8"/>
                    </a:cubicBezTo>
                    <a:cubicBezTo>
                      <a:pt x="13" y="3"/>
                      <a:pt x="18" y="1"/>
                      <a:pt x="24" y="0"/>
                    </a:cubicBezTo>
                    <a:cubicBezTo>
                      <a:pt x="29" y="0"/>
                      <a:pt x="34" y="2"/>
                      <a:pt x="39" y="7"/>
                    </a:cubicBezTo>
                    <a:cubicBezTo>
                      <a:pt x="42" y="10"/>
                      <a:pt x="44" y="15"/>
                      <a:pt x="45" y="19"/>
                    </a:cubicBezTo>
                    <a:cubicBezTo>
                      <a:pt x="45" y="22"/>
                      <a:pt x="44" y="25"/>
                      <a:pt x="42" y="28"/>
                    </a:cubicBezTo>
                    <a:cubicBezTo>
                      <a:pt x="34" y="23"/>
                      <a:pt x="34" y="23"/>
                      <a:pt x="34" y="23"/>
                    </a:cubicBezTo>
                    <a:cubicBezTo>
                      <a:pt x="36" y="21"/>
                      <a:pt x="36" y="19"/>
                      <a:pt x="36" y="17"/>
                    </a:cubicBezTo>
                    <a:cubicBezTo>
                      <a:pt x="36" y="15"/>
                      <a:pt x="35" y="13"/>
                      <a:pt x="33" y="12"/>
                    </a:cubicBezTo>
                    <a:cubicBezTo>
                      <a:pt x="31" y="9"/>
                      <a:pt x="28" y="8"/>
                      <a:pt x="25" y="9"/>
                    </a:cubicBezTo>
                    <a:cubicBezTo>
                      <a:pt x="22" y="9"/>
                      <a:pt x="18" y="11"/>
                      <a:pt x="15" y="14"/>
                    </a:cubicBezTo>
                    <a:cubicBezTo>
                      <a:pt x="11" y="18"/>
                      <a:pt x="9" y="22"/>
                      <a:pt x="8" y="25"/>
                    </a:cubicBezTo>
                    <a:cubicBezTo>
                      <a:pt x="8" y="28"/>
                      <a:pt x="9" y="31"/>
                      <a:pt x="11" y="33"/>
                    </a:cubicBezTo>
                    <a:cubicBezTo>
                      <a:pt x="13" y="35"/>
                      <a:pt x="15" y="36"/>
                      <a:pt x="17" y="36"/>
                    </a:cubicBezTo>
                    <a:cubicBezTo>
                      <a:pt x="20" y="36"/>
                      <a:pt x="22" y="35"/>
                      <a:pt x="25" y="3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43" name="íṩḷiḋé"/>
              <p:cNvSpPr/>
              <p:nvPr/>
            </p:nvSpPr>
            <p:spPr bwMode="auto">
              <a:xfrm>
                <a:off x="1916009" y="5887040"/>
                <a:ext cx="65088" cy="71438"/>
              </a:xfrm>
              <a:custGeom>
                <a:avLst/>
                <a:gdLst>
                  <a:gd name="T0" fmla="*/ 0 w 41"/>
                  <a:gd name="T1" fmla="*/ 38 h 45"/>
                  <a:gd name="T2" fmla="*/ 34 w 41"/>
                  <a:gd name="T3" fmla="*/ 0 h 45"/>
                  <a:gd name="T4" fmla="*/ 41 w 41"/>
                  <a:gd name="T5" fmla="*/ 6 h 45"/>
                  <a:gd name="T6" fmla="*/ 8 w 41"/>
                  <a:gd name="T7" fmla="*/ 45 h 45"/>
                  <a:gd name="T8" fmla="*/ 0 w 41"/>
                  <a:gd name="T9" fmla="*/ 38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1" h="45">
                    <a:moveTo>
                      <a:pt x="0" y="38"/>
                    </a:moveTo>
                    <a:lnTo>
                      <a:pt x="34" y="0"/>
                    </a:lnTo>
                    <a:lnTo>
                      <a:pt x="41" y="6"/>
                    </a:lnTo>
                    <a:lnTo>
                      <a:pt x="8" y="45"/>
                    </a:lnTo>
                    <a:lnTo>
                      <a:pt x="0" y="3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44" name="îsľïďé"/>
              <p:cNvSpPr/>
              <p:nvPr/>
            </p:nvSpPr>
            <p:spPr bwMode="auto">
              <a:xfrm>
                <a:off x="1941409" y="5904503"/>
                <a:ext cx="96838" cy="101600"/>
              </a:xfrm>
              <a:custGeom>
                <a:avLst/>
                <a:gdLst>
                  <a:gd name="T0" fmla="*/ 0 w 61"/>
                  <a:gd name="T1" fmla="*/ 41 h 64"/>
                  <a:gd name="T2" fmla="*/ 31 w 61"/>
                  <a:gd name="T3" fmla="*/ 0 h 64"/>
                  <a:gd name="T4" fmla="*/ 61 w 61"/>
                  <a:gd name="T5" fmla="*/ 22 h 64"/>
                  <a:gd name="T6" fmla="*/ 56 w 61"/>
                  <a:gd name="T7" fmla="*/ 29 h 64"/>
                  <a:gd name="T8" fmla="*/ 34 w 61"/>
                  <a:gd name="T9" fmla="*/ 13 h 64"/>
                  <a:gd name="T10" fmla="*/ 27 w 61"/>
                  <a:gd name="T11" fmla="*/ 22 h 64"/>
                  <a:gd name="T12" fmla="*/ 47 w 61"/>
                  <a:gd name="T13" fmla="*/ 37 h 64"/>
                  <a:gd name="T14" fmla="*/ 42 w 61"/>
                  <a:gd name="T15" fmla="*/ 44 h 64"/>
                  <a:gd name="T16" fmla="*/ 21 w 61"/>
                  <a:gd name="T17" fmla="*/ 29 h 64"/>
                  <a:gd name="T18" fmla="*/ 13 w 61"/>
                  <a:gd name="T19" fmla="*/ 40 h 64"/>
                  <a:gd name="T20" fmla="*/ 36 w 61"/>
                  <a:gd name="T21" fmla="*/ 57 h 64"/>
                  <a:gd name="T22" fmla="*/ 31 w 61"/>
                  <a:gd name="T23" fmla="*/ 64 h 64"/>
                  <a:gd name="T24" fmla="*/ 0 w 61"/>
                  <a:gd name="T25" fmla="*/ 41 h 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1" h="64">
                    <a:moveTo>
                      <a:pt x="0" y="41"/>
                    </a:moveTo>
                    <a:lnTo>
                      <a:pt x="31" y="0"/>
                    </a:lnTo>
                    <a:lnTo>
                      <a:pt x="61" y="22"/>
                    </a:lnTo>
                    <a:lnTo>
                      <a:pt x="56" y="29"/>
                    </a:lnTo>
                    <a:lnTo>
                      <a:pt x="34" y="13"/>
                    </a:lnTo>
                    <a:lnTo>
                      <a:pt x="27" y="22"/>
                    </a:lnTo>
                    <a:lnTo>
                      <a:pt x="47" y="37"/>
                    </a:lnTo>
                    <a:lnTo>
                      <a:pt x="42" y="44"/>
                    </a:lnTo>
                    <a:lnTo>
                      <a:pt x="21" y="29"/>
                    </a:lnTo>
                    <a:lnTo>
                      <a:pt x="13" y="40"/>
                    </a:lnTo>
                    <a:lnTo>
                      <a:pt x="36" y="57"/>
                    </a:lnTo>
                    <a:lnTo>
                      <a:pt x="31" y="64"/>
                    </a:lnTo>
                    <a:lnTo>
                      <a:pt x="0" y="4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45" name="íśliḋé"/>
              <p:cNvSpPr/>
              <p:nvPr/>
            </p:nvSpPr>
            <p:spPr bwMode="auto">
              <a:xfrm>
                <a:off x="2004909" y="5947365"/>
                <a:ext cx="96838" cy="101600"/>
              </a:xfrm>
              <a:custGeom>
                <a:avLst/>
                <a:gdLst>
                  <a:gd name="T0" fmla="*/ 0 w 61"/>
                  <a:gd name="T1" fmla="*/ 43 h 64"/>
                  <a:gd name="T2" fmla="*/ 27 w 61"/>
                  <a:gd name="T3" fmla="*/ 0 h 64"/>
                  <a:gd name="T4" fmla="*/ 35 w 61"/>
                  <a:gd name="T5" fmla="*/ 5 h 64"/>
                  <a:gd name="T6" fmla="*/ 36 w 61"/>
                  <a:gd name="T7" fmla="*/ 45 h 64"/>
                  <a:gd name="T8" fmla="*/ 53 w 61"/>
                  <a:gd name="T9" fmla="*/ 15 h 64"/>
                  <a:gd name="T10" fmla="*/ 61 w 61"/>
                  <a:gd name="T11" fmla="*/ 21 h 64"/>
                  <a:gd name="T12" fmla="*/ 35 w 61"/>
                  <a:gd name="T13" fmla="*/ 64 h 64"/>
                  <a:gd name="T14" fmla="*/ 27 w 61"/>
                  <a:gd name="T15" fmla="*/ 59 h 64"/>
                  <a:gd name="T16" fmla="*/ 25 w 61"/>
                  <a:gd name="T17" fmla="*/ 20 h 64"/>
                  <a:gd name="T18" fmla="*/ 8 w 61"/>
                  <a:gd name="T19" fmla="*/ 49 h 64"/>
                  <a:gd name="T20" fmla="*/ 0 w 61"/>
                  <a:gd name="T21" fmla="*/ 43 h 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61" h="64">
                    <a:moveTo>
                      <a:pt x="0" y="43"/>
                    </a:moveTo>
                    <a:lnTo>
                      <a:pt x="27" y="0"/>
                    </a:lnTo>
                    <a:lnTo>
                      <a:pt x="35" y="5"/>
                    </a:lnTo>
                    <a:lnTo>
                      <a:pt x="36" y="45"/>
                    </a:lnTo>
                    <a:lnTo>
                      <a:pt x="53" y="15"/>
                    </a:lnTo>
                    <a:lnTo>
                      <a:pt x="61" y="21"/>
                    </a:lnTo>
                    <a:lnTo>
                      <a:pt x="35" y="64"/>
                    </a:lnTo>
                    <a:lnTo>
                      <a:pt x="27" y="59"/>
                    </a:lnTo>
                    <a:lnTo>
                      <a:pt x="25" y="20"/>
                    </a:lnTo>
                    <a:lnTo>
                      <a:pt x="8" y="49"/>
                    </a:lnTo>
                    <a:lnTo>
                      <a:pt x="0" y="4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46" name="iSļiďê"/>
              <p:cNvSpPr/>
              <p:nvPr/>
            </p:nvSpPr>
            <p:spPr bwMode="auto">
              <a:xfrm>
                <a:off x="2087459" y="5993403"/>
                <a:ext cx="79375" cy="87313"/>
              </a:xfrm>
              <a:custGeom>
                <a:avLst/>
                <a:gdLst>
                  <a:gd name="T0" fmla="*/ 28 w 43"/>
                  <a:gd name="T1" fmla="*/ 33 h 47"/>
                  <a:gd name="T2" fmla="*/ 34 w 43"/>
                  <a:gd name="T3" fmla="*/ 39 h 47"/>
                  <a:gd name="T4" fmla="*/ 24 w 43"/>
                  <a:gd name="T5" fmla="*/ 46 h 47"/>
                  <a:gd name="T6" fmla="*/ 12 w 43"/>
                  <a:gd name="T7" fmla="*/ 44 h 47"/>
                  <a:gd name="T8" fmla="*/ 1 w 43"/>
                  <a:gd name="T9" fmla="*/ 33 h 47"/>
                  <a:gd name="T10" fmla="*/ 3 w 43"/>
                  <a:gd name="T11" fmla="*/ 15 h 47"/>
                  <a:gd name="T12" fmla="*/ 15 w 43"/>
                  <a:gd name="T13" fmla="*/ 2 h 47"/>
                  <a:gd name="T14" fmla="*/ 32 w 43"/>
                  <a:gd name="T15" fmla="*/ 3 h 47"/>
                  <a:gd name="T16" fmla="*/ 41 w 43"/>
                  <a:gd name="T17" fmla="*/ 13 h 47"/>
                  <a:gd name="T18" fmla="*/ 42 w 43"/>
                  <a:gd name="T19" fmla="*/ 22 h 47"/>
                  <a:gd name="T20" fmla="*/ 33 w 43"/>
                  <a:gd name="T21" fmla="*/ 20 h 47"/>
                  <a:gd name="T22" fmla="*/ 33 w 43"/>
                  <a:gd name="T23" fmla="*/ 14 h 47"/>
                  <a:gd name="T24" fmla="*/ 28 w 43"/>
                  <a:gd name="T25" fmla="*/ 10 h 47"/>
                  <a:gd name="T26" fmla="*/ 19 w 43"/>
                  <a:gd name="T27" fmla="*/ 10 h 47"/>
                  <a:gd name="T28" fmla="*/ 12 w 43"/>
                  <a:gd name="T29" fmla="*/ 19 h 47"/>
                  <a:gd name="T30" fmla="*/ 9 w 43"/>
                  <a:gd name="T31" fmla="*/ 31 h 47"/>
                  <a:gd name="T32" fmla="*/ 15 w 43"/>
                  <a:gd name="T33" fmla="*/ 37 h 47"/>
                  <a:gd name="T34" fmla="*/ 22 w 43"/>
                  <a:gd name="T35" fmla="*/ 38 h 47"/>
                  <a:gd name="T36" fmla="*/ 28 w 43"/>
                  <a:gd name="T37" fmla="*/ 33 h 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43" h="47">
                    <a:moveTo>
                      <a:pt x="28" y="33"/>
                    </a:moveTo>
                    <a:cubicBezTo>
                      <a:pt x="34" y="39"/>
                      <a:pt x="34" y="39"/>
                      <a:pt x="34" y="39"/>
                    </a:cubicBezTo>
                    <a:cubicBezTo>
                      <a:pt x="31" y="43"/>
                      <a:pt x="28" y="45"/>
                      <a:pt x="24" y="46"/>
                    </a:cubicBezTo>
                    <a:cubicBezTo>
                      <a:pt x="20" y="47"/>
                      <a:pt x="16" y="46"/>
                      <a:pt x="12" y="44"/>
                    </a:cubicBezTo>
                    <a:cubicBezTo>
                      <a:pt x="7" y="42"/>
                      <a:pt x="3" y="38"/>
                      <a:pt x="1" y="33"/>
                    </a:cubicBezTo>
                    <a:cubicBezTo>
                      <a:pt x="0" y="27"/>
                      <a:pt x="0" y="22"/>
                      <a:pt x="3" y="15"/>
                    </a:cubicBezTo>
                    <a:cubicBezTo>
                      <a:pt x="6" y="9"/>
                      <a:pt x="10" y="4"/>
                      <a:pt x="15" y="2"/>
                    </a:cubicBezTo>
                    <a:cubicBezTo>
                      <a:pt x="21" y="0"/>
                      <a:pt x="26" y="1"/>
                      <a:pt x="32" y="3"/>
                    </a:cubicBezTo>
                    <a:cubicBezTo>
                      <a:pt x="36" y="5"/>
                      <a:pt x="40" y="9"/>
                      <a:pt x="41" y="13"/>
                    </a:cubicBezTo>
                    <a:cubicBezTo>
                      <a:pt x="42" y="16"/>
                      <a:pt x="43" y="19"/>
                      <a:pt x="42" y="22"/>
                    </a:cubicBezTo>
                    <a:cubicBezTo>
                      <a:pt x="33" y="20"/>
                      <a:pt x="33" y="20"/>
                      <a:pt x="33" y="20"/>
                    </a:cubicBezTo>
                    <a:cubicBezTo>
                      <a:pt x="34" y="18"/>
                      <a:pt x="34" y="16"/>
                      <a:pt x="33" y="14"/>
                    </a:cubicBezTo>
                    <a:cubicBezTo>
                      <a:pt x="32" y="12"/>
                      <a:pt x="30" y="11"/>
                      <a:pt x="28" y="10"/>
                    </a:cubicBezTo>
                    <a:cubicBezTo>
                      <a:pt x="25" y="8"/>
                      <a:pt x="22" y="8"/>
                      <a:pt x="19" y="10"/>
                    </a:cubicBezTo>
                    <a:cubicBezTo>
                      <a:pt x="16" y="11"/>
                      <a:pt x="14" y="14"/>
                      <a:pt x="12" y="19"/>
                    </a:cubicBezTo>
                    <a:cubicBezTo>
                      <a:pt x="9" y="24"/>
                      <a:pt x="9" y="28"/>
                      <a:pt x="9" y="31"/>
                    </a:cubicBezTo>
                    <a:cubicBezTo>
                      <a:pt x="10" y="34"/>
                      <a:pt x="12" y="36"/>
                      <a:pt x="15" y="37"/>
                    </a:cubicBezTo>
                    <a:cubicBezTo>
                      <a:pt x="17" y="38"/>
                      <a:pt x="19" y="38"/>
                      <a:pt x="22" y="38"/>
                    </a:cubicBezTo>
                    <a:cubicBezTo>
                      <a:pt x="24" y="37"/>
                      <a:pt x="26" y="35"/>
                      <a:pt x="28" y="3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47" name="íSliḋé"/>
              <p:cNvSpPr/>
              <p:nvPr/>
            </p:nvSpPr>
            <p:spPr bwMode="auto">
              <a:xfrm>
                <a:off x="2157309" y="6017215"/>
                <a:ext cx="82550" cy="96838"/>
              </a:xfrm>
              <a:custGeom>
                <a:avLst/>
                <a:gdLst>
                  <a:gd name="T0" fmla="*/ 0 w 52"/>
                  <a:gd name="T1" fmla="*/ 49 h 61"/>
                  <a:gd name="T2" fmla="*/ 16 w 52"/>
                  <a:gd name="T3" fmla="*/ 0 h 61"/>
                  <a:gd name="T4" fmla="*/ 52 w 52"/>
                  <a:gd name="T5" fmla="*/ 13 h 61"/>
                  <a:gd name="T6" fmla="*/ 50 w 52"/>
                  <a:gd name="T7" fmla="*/ 21 h 61"/>
                  <a:gd name="T8" fmla="*/ 23 w 52"/>
                  <a:gd name="T9" fmla="*/ 12 h 61"/>
                  <a:gd name="T10" fmla="*/ 20 w 52"/>
                  <a:gd name="T11" fmla="*/ 22 h 61"/>
                  <a:gd name="T12" fmla="*/ 44 w 52"/>
                  <a:gd name="T13" fmla="*/ 30 h 61"/>
                  <a:gd name="T14" fmla="*/ 41 w 52"/>
                  <a:gd name="T15" fmla="*/ 38 h 61"/>
                  <a:gd name="T16" fmla="*/ 18 w 52"/>
                  <a:gd name="T17" fmla="*/ 30 h 61"/>
                  <a:gd name="T18" fmla="*/ 13 w 52"/>
                  <a:gd name="T19" fmla="*/ 43 h 61"/>
                  <a:gd name="T20" fmla="*/ 40 w 52"/>
                  <a:gd name="T21" fmla="*/ 52 h 61"/>
                  <a:gd name="T22" fmla="*/ 36 w 52"/>
                  <a:gd name="T23" fmla="*/ 61 h 61"/>
                  <a:gd name="T24" fmla="*/ 0 w 52"/>
                  <a:gd name="T25" fmla="*/ 49 h 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52" h="61">
                    <a:moveTo>
                      <a:pt x="0" y="49"/>
                    </a:moveTo>
                    <a:lnTo>
                      <a:pt x="16" y="0"/>
                    </a:lnTo>
                    <a:lnTo>
                      <a:pt x="52" y="13"/>
                    </a:lnTo>
                    <a:lnTo>
                      <a:pt x="50" y="21"/>
                    </a:lnTo>
                    <a:lnTo>
                      <a:pt x="23" y="12"/>
                    </a:lnTo>
                    <a:lnTo>
                      <a:pt x="20" y="22"/>
                    </a:lnTo>
                    <a:lnTo>
                      <a:pt x="44" y="30"/>
                    </a:lnTo>
                    <a:lnTo>
                      <a:pt x="41" y="38"/>
                    </a:lnTo>
                    <a:lnTo>
                      <a:pt x="18" y="30"/>
                    </a:lnTo>
                    <a:lnTo>
                      <a:pt x="13" y="43"/>
                    </a:lnTo>
                    <a:lnTo>
                      <a:pt x="40" y="52"/>
                    </a:lnTo>
                    <a:lnTo>
                      <a:pt x="36" y="61"/>
                    </a:lnTo>
                    <a:lnTo>
                      <a:pt x="0" y="4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48" name="îŝ1îḑè"/>
              <p:cNvSpPr/>
              <p:nvPr/>
            </p:nvSpPr>
            <p:spPr bwMode="auto">
              <a:xfrm>
                <a:off x="2663722" y="6026740"/>
                <a:ext cx="77788" cy="92075"/>
              </a:xfrm>
              <a:custGeom>
                <a:avLst/>
                <a:gdLst>
                  <a:gd name="T0" fmla="*/ 49 w 49"/>
                  <a:gd name="T1" fmla="*/ 42 h 58"/>
                  <a:gd name="T2" fmla="*/ 39 w 49"/>
                  <a:gd name="T3" fmla="*/ 45 h 58"/>
                  <a:gd name="T4" fmla="*/ 31 w 49"/>
                  <a:gd name="T5" fmla="*/ 36 h 58"/>
                  <a:gd name="T6" fmla="*/ 11 w 49"/>
                  <a:gd name="T7" fmla="*/ 43 h 58"/>
                  <a:gd name="T8" fmla="*/ 11 w 49"/>
                  <a:gd name="T9" fmla="*/ 55 h 58"/>
                  <a:gd name="T10" fmla="*/ 0 w 49"/>
                  <a:gd name="T11" fmla="*/ 58 h 58"/>
                  <a:gd name="T12" fmla="*/ 3 w 49"/>
                  <a:gd name="T13" fmla="*/ 3 h 58"/>
                  <a:gd name="T14" fmla="*/ 13 w 49"/>
                  <a:gd name="T15" fmla="*/ 0 h 58"/>
                  <a:gd name="T16" fmla="*/ 49 w 49"/>
                  <a:gd name="T17" fmla="*/ 42 h 58"/>
                  <a:gd name="T18" fmla="*/ 25 w 49"/>
                  <a:gd name="T19" fmla="*/ 29 h 58"/>
                  <a:gd name="T20" fmla="*/ 12 w 49"/>
                  <a:gd name="T21" fmla="*/ 14 h 58"/>
                  <a:gd name="T22" fmla="*/ 11 w 49"/>
                  <a:gd name="T23" fmla="*/ 34 h 58"/>
                  <a:gd name="T24" fmla="*/ 25 w 49"/>
                  <a:gd name="T25" fmla="*/ 29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49" h="58">
                    <a:moveTo>
                      <a:pt x="49" y="42"/>
                    </a:moveTo>
                    <a:lnTo>
                      <a:pt x="39" y="45"/>
                    </a:lnTo>
                    <a:lnTo>
                      <a:pt x="31" y="36"/>
                    </a:lnTo>
                    <a:lnTo>
                      <a:pt x="11" y="43"/>
                    </a:lnTo>
                    <a:lnTo>
                      <a:pt x="11" y="55"/>
                    </a:lnTo>
                    <a:lnTo>
                      <a:pt x="0" y="58"/>
                    </a:lnTo>
                    <a:lnTo>
                      <a:pt x="3" y="3"/>
                    </a:lnTo>
                    <a:lnTo>
                      <a:pt x="13" y="0"/>
                    </a:lnTo>
                    <a:lnTo>
                      <a:pt x="49" y="42"/>
                    </a:lnTo>
                    <a:close/>
                    <a:moveTo>
                      <a:pt x="25" y="29"/>
                    </a:moveTo>
                    <a:lnTo>
                      <a:pt x="12" y="14"/>
                    </a:lnTo>
                    <a:lnTo>
                      <a:pt x="11" y="34"/>
                    </a:lnTo>
                    <a:lnTo>
                      <a:pt x="25" y="2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49" name="íṩḻiḋê"/>
              <p:cNvSpPr/>
              <p:nvPr/>
            </p:nvSpPr>
            <p:spPr bwMode="auto">
              <a:xfrm>
                <a:off x="2714522" y="5990228"/>
                <a:ext cx="92075" cy="101600"/>
              </a:xfrm>
              <a:custGeom>
                <a:avLst/>
                <a:gdLst>
                  <a:gd name="T0" fmla="*/ 21 w 58"/>
                  <a:gd name="T1" fmla="*/ 64 h 64"/>
                  <a:gd name="T2" fmla="*/ 0 w 58"/>
                  <a:gd name="T3" fmla="*/ 17 h 64"/>
                  <a:gd name="T4" fmla="*/ 9 w 58"/>
                  <a:gd name="T5" fmla="*/ 12 h 64"/>
                  <a:gd name="T6" fmla="*/ 43 w 58"/>
                  <a:gd name="T7" fmla="*/ 36 h 64"/>
                  <a:gd name="T8" fmla="*/ 29 w 58"/>
                  <a:gd name="T9" fmla="*/ 4 h 64"/>
                  <a:gd name="T10" fmla="*/ 37 w 58"/>
                  <a:gd name="T11" fmla="*/ 0 h 64"/>
                  <a:gd name="T12" fmla="*/ 58 w 58"/>
                  <a:gd name="T13" fmla="*/ 46 h 64"/>
                  <a:gd name="T14" fmla="*/ 49 w 58"/>
                  <a:gd name="T15" fmla="*/ 51 h 64"/>
                  <a:gd name="T16" fmla="*/ 16 w 58"/>
                  <a:gd name="T17" fmla="*/ 29 h 64"/>
                  <a:gd name="T18" fmla="*/ 30 w 58"/>
                  <a:gd name="T19" fmla="*/ 59 h 64"/>
                  <a:gd name="T20" fmla="*/ 21 w 58"/>
                  <a:gd name="T21" fmla="*/ 64 h 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58" h="64">
                    <a:moveTo>
                      <a:pt x="21" y="64"/>
                    </a:moveTo>
                    <a:lnTo>
                      <a:pt x="0" y="17"/>
                    </a:lnTo>
                    <a:lnTo>
                      <a:pt x="9" y="12"/>
                    </a:lnTo>
                    <a:lnTo>
                      <a:pt x="43" y="36"/>
                    </a:lnTo>
                    <a:lnTo>
                      <a:pt x="29" y="4"/>
                    </a:lnTo>
                    <a:lnTo>
                      <a:pt x="37" y="0"/>
                    </a:lnTo>
                    <a:lnTo>
                      <a:pt x="58" y="46"/>
                    </a:lnTo>
                    <a:lnTo>
                      <a:pt x="49" y="51"/>
                    </a:lnTo>
                    <a:lnTo>
                      <a:pt x="16" y="29"/>
                    </a:lnTo>
                    <a:lnTo>
                      <a:pt x="30" y="59"/>
                    </a:lnTo>
                    <a:lnTo>
                      <a:pt x="21" y="6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50" name="îṧľíḍe"/>
              <p:cNvSpPr/>
              <p:nvPr/>
            </p:nvSpPr>
            <p:spPr bwMode="auto">
              <a:xfrm>
                <a:off x="2781197" y="5963240"/>
                <a:ext cx="85725" cy="95250"/>
              </a:xfrm>
              <a:custGeom>
                <a:avLst/>
                <a:gdLst>
                  <a:gd name="T0" fmla="*/ 0 w 47"/>
                  <a:gd name="T1" fmla="*/ 13 h 51"/>
                  <a:gd name="T2" fmla="*/ 14 w 47"/>
                  <a:gd name="T3" fmla="*/ 4 h 51"/>
                  <a:gd name="T4" fmla="*/ 22 w 47"/>
                  <a:gd name="T5" fmla="*/ 1 h 51"/>
                  <a:gd name="T6" fmla="*/ 29 w 47"/>
                  <a:gd name="T7" fmla="*/ 1 h 51"/>
                  <a:gd name="T8" fmla="*/ 37 w 47"/>
                  <a:gd name="T9" fmla="*/ 5 h 51"/>
                  <a:gd name="T10" fmla="*/ 43 w 47"/>
                  <a:gd name="T11" fmla="*/ 14 h 51"/>
                  <a:gd name="T12" fmla="*/ 47 w 47"/>
                  <a:gd name="T13" fmla="*/ 22 h 51"/>
                  <a:gd name="T14" fmla="*/ 46 w 47"/>
                  <a:gd name="T15" fmla="*/ 31 h 51"/>
                  <a:gd name="T16" fmla="*/ 43 w 47"/>
                  <a:gd name="T17" fmla="*/ 38 h 51"/>
                  <a:gd name="T18" fmla="*/ 36 w 47"/>
                  <a:gd name="T19" fmla="*/ 42 h 51"/>
                  <a:gd name="T20" fmla="*/ 22 w 47"/>
                  <a:gd name="T21" fmla="*/ 51 h 51"/>
                  <a:gd name="T22" fmla="*/ 0 w 47"/>
                  <a:gd name="T23" fmla="*/ 13 h 51"/>
                  <a:gd name="T24" fmla="*/ 11 w 47"/>
                  <a:gd name="T25" fmla="*/ 15 h 51"/>
                  <a:gd name="T26" fmla="*/ 26 w 47"/>
                  <a:gd name="T27" fmla="*/ 40 h 51"/>
                  <a:gd name="T28" fmla="*/ 32 w 47"/>
                  <a:gd name="T29" fmla="*/ 37 h 51"/>
                  <a:gd name="T30" fmla="*/ 36 w 47"/>
                  <a:gd name="T31" fmla="*/ 33 h 51"/>
                  <a:gd name="T32" fmla="*/ 38 w 47"/>
                  <a:gd name="T33" fmla="*/ 30 h 51"/>
                  <a:gd name="T34" fmla="*/ 38 w 47"/>
                  <a:gd name="T35" fmla="*/ 25 h 51"/>
                  <a:gd name="T36" fmla="*/ 35 w 47"/>
                  <a:gd name="T37" fmla="*/ 18 h 51"/>
                  <a:gd name="T38" fmla="*/ 30 w 47"/>
                  <a:gd name="T39" fmla="*/ 11 h 51"/>
                  <a:gd name="T40" fmla="*/ 26 w 47"/>
                  <a:gd name="T41" fmla="*/ 9 h 51"/>
                  <a:gd name="T42" fmla="*/ 21 w 47"/>
                  <a:gd name="T43" fmla="*/ 9 h 51"/>
                  <a:gd name="T44" fmla="*/ 15 w 47"/>
                  <a:gd name="T45" fmla="*/ 13 h 51"/>
                  <a:gd name="T46" fmla="*/ 11 w 47"/>
                  <a:gd name="T47" fmla="*/ 15 h 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47" h="51">
                    <a:moveTo>
                      <a:pt x="0" y="13"/>
                    </a:moveTo>
                    <a:cubicBezTo>
                      <a:pt x="14" y="4"/>
                      <a:pt x="14" y="4"/>
                      <a:pt x="14" y="4"/>
                    </a:cubicBezTo>
                    <a:cubicBezTo>
                      <a:pt x="17" y="3"/>
                      <a:pt x="20" y="1"/>
                      <a:pt x="22" y="1"/>
                    </a:cubicBezTo>
                    <a:cubicBezTo>
                      <a:pt x="24" y="0"/>
                      <a:pt x="27" y="0"/>
                      <a:pt x="29" y="1"/>
                    </a:cubicBezTo>
                    <a:cubicBezTo>
                      <a:pt x="32" y="2"/>
                      <a:pt x="34" y="3"/>
                      <a:pt x="37" y="5"/>
                    </a:cubicBezTo>
                    <a:cubicBezTo>
                      <a:pt x="39" y="7"/>
                      <a:pt x="41" y="10"/>
                      <a:pt x="43" y="14"/>
                    </a:cubicBezTo>
                    <a:cubicBezTo>
                      <a:pt x="45" y="17"/>
                      <a:pt x="46" y="20"/>
                      <a:pt x="47" y="22"/>
                    </a:cubicBezTo>
                    <a:cubicBezTo>
                      <a:pt x="47" y="26"/>
                      <a:pt x="47" y="29"/>
                      <a:pt x="46" y="31"/>
                    </a:cubicBezTo>
                    <a:cubicBezTo>
                      <a:pt x="46" y="34"/>
                      <a:pt x="45" y="36"/>
                      <a:pt x="43" y="38"/>
                    </a:cubicBezTo>
                    <a:cubicBezTo>
                      <a:pt x="41" y="39"/>
                      <a:pt x="39" y="41"/>
                      <a:pt x="36" y="42"/>
                    </a:cubicBezTo>
                    <a:cubicBezTo>
                      <a:pt x="22" y="51"/>
                      <a:pt x="22" y="51"/>
                      <a:pt x="22" y="51"/>
                    </a:cubicBezTo>
                    <a:lnTo>
                      <a:pt x="0" y="13"/>
                    </a:lnTo>
                    <a:close/>
                    <a:moveTo>
                      <a:pt x="11" y="15"/>
                    </a:moveTo>
                    <a:cubicBezTo>
                      <a:pt x="26" y="40"/>
                      <a:pt x="26" y="40"/>
                      <a:pt x="26" y="40"/>
                    </a:cubicBezTo>
                    <a:cubicBezTo>
                      <a:pt x="32" y="37"/>
                      <a:pt x="32" y="37"/>
                      <a:pt x="32" y="37"/>
                    </a:cubicBezTo>
                    <a:cubicBezTo>
                      <a:pt x="34" y="35"/>
                      <a:pt x="35" y="34"/>
                      <a:pt x="36" y="33"/>
                    </a:cubicBezTo>
                    <a:cubicBezTo>
                      <a:pt x="37" y="32"/>
                      <a:pt x="38" y="31"/>
                      <a:pt x="38" y="30"/>
                    </a:cubicBezTo>
                    <a:cubicBezTo>
                      <a:pt x="39" y="29"/>
                      <a:pt x="39" y="27"/>
                      <a:pt x="38" y="25"/>
                    </a:cubicBezTo>
                    <a:cubicBezTo>
                      <a:pt x="38" y="23"/>
                      <a:pt x="37" y="21"/>
                      <a:pt x="35" y="18"/>
                    </a:cubicBezTo>
                    <a:cubicBezTo>
                      <a:pt x="33" y="15"/>
                      <a:pt x="32" y="13"/>
                      <a:pt x="30" y="11"/>
                    </a:cubicBezTo>
                    <a:cubicBezTo>
                      <a:pt x="29" y="10"/>
                      <a:pt x="27" y="9"/>
                      <a:pt x="26" y="9"/>
                    </a:cubicBezTo>
                    <a:cubicBezTo>
                      <a:pt x="25" y="9"/>
                      <a:pt x="23" y="9"/>
                      <a:pt x="21" y="9"/>
                    </a:cubicBezTo>
                    <a:cubicBezTo>
                      <a:pt x="20" y="10"/>
                      <a:pt x="18" y="11"/>
                      <a:pt x="15" y="13"/>
                    </a:cubicBezTo>
                    <a:lnTo>
                      <a:pt x="11" y="1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51" name="ïṩḻiḍe"/>
              <p:cNvSpPr/>
              <p:nvPr/>
            </p:nvSpPr>
            <p:spPr bwMode="auto">
              <a:xfrm>
                <a:off x="2876447" y="5888628"/>
                <a:ext cx="80963" cy="88900"/>
              </a:xfrm>
              <a:custGeom>
                <a:avLst/>
                <a:gdLst>
                  <a:gd name="T0" fmla="*/ 43 w 51"/>
                  <a:gd name="T1" fmla="*/ 56 h 56"/>
                  <a:gd name="T2" fmla="*/ 16 w 51"/>
                  <a:gd name="T3" fmla="*/ 22 h 56"/>
                  <a:gd name="T4" fmla="*/ 5 w 51"/>
                  <a:gd name="T5" fmla="*/ 31 h 56"/>
                  <a:gd name="T6" fmla="*/ 0 w 51"/>
                  <a:gd name="T7" fmla="*/ 25 h 56"/>
                  <a:gd name="T8" fmla="*/ 31 w 51"/>
                  <a:gd name="T9" fmla="*/ 0 h 56"/>
                  <a:gd name="T10" fmla="*/ 37 w 51"/>
                  <a:gd name="T11" fmla="*/ 7 h 56"/>
                  <a:gd name="T12" fmla="*/ 24 w 51"/>
                  <a:gd name="T13" fmla="*/ 16 h 56"/>
                  <a:gd name="T14" fmla="*/ 51 w 51"/>
                  <a:gd name="T15" fmla="*/ 49 h 56"/>
                  <a:gd name="T16" fmla="*/ 43 w 51"/>
                  <a:gd name="T17" fmla="*/ 56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1" h="56">
                    <a:moveTo>
                      <a:pt x="43" y="56"/>
                    </a:moveTo>
                    <a:lnTo>
                      <a:pt x="16" y="22"/>
                    </a:lnTo>
                    <a:lnTo>
                      <a:pt x="5" y="31"/>
                    </a:lnTo>
                    <a:lnTo>
                      <a:pt x="0" y="25"/>
                    </a:lnTo>
                    <a:lnTo>
                      <a:pt x="31" y="0"/>
                    </a:lnTo>
                    <a:lnTo>
                      <a:pt x="37" y="7"/>
                    </a:lnTo>
                    <a:lnTo>
                      <a:pt x="24" y="16"/>
                    </a:lnTo>
                    <a:lnTo>
                      <a:pt x="51" y="49"/>
                    </a:lnTo>
                    <a:lnTo>
                      <a:pt x="43" y="56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52" name="íśļïḓè"/>
              <p:cNvSpPr/>
              <p:nvPr/>
            </p:nvSpPr>
            <p:spPr bwMode="auto">
              <a:xfrm>
                <a:off x="2925659" y="5845765"/>
                <a:ext cx="101600" cy="100013"/>
              </a:xfrm>
              <a:custGeom>
                <a:avLst/>
                <a:gdLst>
                  <a:gd name="T0" fmla="*/ 36 w 64"/>
                  <a:gd name="T1" fmla="*/ 63 h 63"/>
                  <a:gd name="T2" fmla="*/ 0 w 64"/>
                  <a:gd name="T3" fmla="*/ 26 h 63"/>
                  <a:gd name="T4" fmla="*/ 28 w 64"/>
                  <a:gd name="T5" fmla="*/ 0 h 63"/>
                  <a:gd name="T6" fmla="*/ 34 w 64"/>
                  <a:gd name="T7" fmla="*/ 6 h 63"/>
                  <a:gd name="T8" fmla="*/ 14 w 64"/>
                  <a:gd name="T9" fmla="*/ 26 h 63"/>
                  <a:gd name="T10" fmla="*/ 22 w 64"/>
                  <a:gd name="T11" fmla="*/ 34 h 63"/>
                  <a:gd name="T12" fmla="*/ 41 w 64"/>
                  <a:gd name="T13" fmla="*/ 16 h 63"/>
                  <a:gd name="T14" fmla="*/ 47 w 64"/>
                  <a:gd name="T15" fmla="*/ 22 h 63"/>
                  <a:gd name="T16" fmla="*/ 28 w 64"/>
                  <a:gd name="T17" fmla="*/ 39 h 63"/>
                  <a:gd name="T18" fmla="*/ 38 w 64"/>
                  <a:gd name="T19" fmla="*/ 50 h 63"/>
                  <a:gd name="T20" fmla="*/ 58 w 64"/>
                  <a:gd name="T21" fmla="*/ 30 h 63"/>
                  <a:gd name="T22" fmla="*/ 64 w 64"/>
                  <a:gd name="T23" fmla="*/ 36 h 63"/>
                  <a:gd name="T24" fmla="*/ 36 w 64"/>
                  <a:gd name="T25" fmla="*/ 63 h 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4" h="63">
                    <a:moveTo>
                      <a:pt x="36" y="63"/>
                    </a:moveTo>
                    <a:lnTo>
                      <a:pt x="0" y="26"/>
                    </a:lnTo>
                    <a:lnTo>
                      <a:pt x="28" y="0"/>
                    </a:lnTo>
                    <a:lnTo>
                      <a:pt x="34" y="6"/>
                    </a:lnTo>
                    <a:lnTo>
                      <a:pt x="14" y="26"/>
                    </a:lnTo>
                    <a:lnTo>
                      <a:pt x="22" y="34"/>
                    </a:lnTo>
                    <a:lnTo>
                      <a:pt x="41" y="16"/>
                    </a:lnTo>
                    <a:lnTo>
                      <a:pt x="47" y="22"/>
                    </a:lnTo>
                    <a:lnTo>
                      <a:pt x="28" y="39"/>
                    </a:lnTo>
                    <a:lnTo>
                      <a:pt x="38" y="50"/>
                    </a:lnTo>
                    <a:lnTo>
                      <a:pt x="58" y="30"/>
                    </a:lnTo>
                    <a:lnTo>
                      <a:pt x="64" y="36"/>
                    </a:lnTo>
                    <a:lnTo>
                      <a:pt x="36" y="6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53" name="íṩḻîde"/>
              <p:cNvSpPr/>
              <p:nvPr/>
            </p:nvSpPr>
            <p:spPr bwMode="auto">
              <a:xfrm>
                <a:off x="2985984" y="5801315"/>
                <a:ext cx="82550" cy="80963"/>
              </a:xfrm>
              <a:custGeom>
                <a:avLst/>
                <a:gdLst>
                  <a:gd name="T0" fmla="*/ 34 w 45"/>
                  <a:gd name="T1" fmla="*/ 19 h 44"/>
                  <a:gd name="T2" fmla="*/ 41 w 45"/>
                  <a:gd name="T3" fmla="*/ 14 h 44"/>
                  <a:gd name="T4" fmla="*/ 45 w 45"/>
                  <a:gd name="T5" fmla="*/ 26 h 44"/>
                  <a:gd name="T6" fmla="*/ 40 w 45"/>
                  <a:gd name="T7" fmla="*/ 37 h 44"/>
                  <a:gd name="T8" fmla="*/ 26 w 45"/>
                  <a:gd name="T9" fmla="*/ 44 h 44"/>
                  <a:gd name="T10" fmla="*/ 10 w 45"/>
                  <a:gd name="T11" fmla="*/ 38 h 44"/>
                  <a:gd name="T12" fmla="*/ 1 w 45"/>
                  <a:gd name="T13" fmla="*/ 22 h 44"/>
                  <a:gd name="T14" fmla="*/ 6 w 45"/>
                  <a:gd name="T15" fmla="*/ 7 h 44"/>
                  <a:gd name="T16" fmla="*/ 18 w 45"/>
                  <a:gd name="T17" fmla="*/ 0 h 44"/>
                  <a:gd name="T18" fmla="*/ 27 w 45"/>
                  <a:gd name="T19" fmla="*/ 2 h 44"/>
                  <a:gd name="T20" fmla="*/ 23 w 45"/>
                  <a:gd name="T21" fmla="*/ 10 h 44"/>
                  <a:gd name="T22" fmla="*/ 17 w 45"/>
                  <a:gd name="T23" fmla="*/ 9 h 44"/>
                  <a:gd name="T24" fmla="*/ 11 w 45"/>
                  <a:gd name="T25" fmla="*/ 12 h 44"/>
                  <a:gd name="T26" fmla="*/ 9 w 45"/>
                  <a:gd name="T27" fmla="*/ 21 h 44"/>
                  <a:gd name="T28" fmla="*/ 15 w 45"/>
                  <a:gd name="T29" fmla="*/ 30 h 44"/>
                  <a:gd name="T30" fmla="*/ 26 w 45"/>
                  <a:gd name="T31" fmla="*/ 36 h 44"/>
                  <a:gd name="T32" fmla="*/ 34 w 45"/>
                  <a:gd name="T33" fmla="*/ 32 h 44"/>
                  <a:gd name="T34" fmla="*/ 36 w 45"/>
                  <a:gd name="T35" fmla="*/ 26 h 44"/>
                  <a:gd name="T36" fmla="*/ 34 w 45"/>
                  <a:gd name="T37" fmla="*/ 19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45" h="44">
                    <a:moveTo>
                      <a:pt x="34" y="19"/>
                    </a:moveTo>
                    <a:cubicBezTo>
                      <a:pt x="41" y="14"/>
                      <a:pt x="41" y="14"/>
                      <a:pt x="41" y="14"/>
                    </a:cubicBezTo>
                    <a:cubicBezTo>
                      <a:pt x="44" y="18"/>
                      <a:pt x="45" y="22"/>
                      <a:pt x="45" y="26"/>
                    </a:cubicBezTo>
                    <a:cubicBezTo>
                      <a:pt x="45" y="30"/>
                      <a:pt x="43" y="34"/>
                      <a:pt x="40" y="37"/>
                    </a:cubicBezTo>
                    <a:cubicBezTo>
                      <a:pt x="36" y="42"/>
                      <a:pt x="31" y="44"/>
                      <a:pt x="26" y="44"/>
                    </a:cubicBezTo>
                    <a:cubicBezTo>
                      <a:pt x="21" y="44"/>
                      <a:pt x="15" y="42"/>
                      <a:pt x="10" y="38"/>
                    </a:cubicBezTo>
                    <a:cubicBezTo>
                      <a:pt x="4" y="33"/>
                      <a:pt x="1" y="28"/>
                      <a:pt x="1" y="22"/>
                    </a:cubicBezTo>
                    <a:cubicBezTo>
                      <a:pt x="0" y="17"/>
                      <a:pt x="2" y="12"/>
                      <a:pt x="6" y="7"/>
                    </a:cubicBezTo>
                    <a:cubicBezTo>
                      <a:pt x="10" y="3"/>
                      <a:pt x="14" y="1"/>
                      <a:pt x="18" y="0"/>
                    </a:cubicBezTo>
                    <a:cubicBezTo>
                      <a:pt x="21" y="0"/>
                      <a:pt x="24" y="1"/>
                      <a:pt x="27" y="2"/>
                    </a:cubicBezTo>
                    <a:cubicBezTo>
                      <a:pt x="23" y="10"/>
                      <a:pt x="23" y="10"/>
                      <a:pt x="23" y="10"/>
                    </a:cubicBezTo>
                    <a:cubicBezTo>
                      <a:pt x="21" y="9"/>
                      <a:pt x="19" y="9"/>
                      <a:pt x="17" y="9"/>
                    </a:cubicBezTo>
                    <a:cubicBezTo>
                      <a:pt x="15" y="9"/>
                      <a:pt x="13" y="11"/>
                      <a:pt x="11" y="12"/>
                    </a:cubicBezTo>
                    <a:cubicBezTo>
                      <a:pt x="9" y="15"/>
                      <a:pt x="8" y="18"/>
                      <a:pt x="9" y="21"/>
                    </a:cubicBezTo>
                    <a:cubicBezTo>
                      <a:pt x="9" y="24"/>
                      <a:pt x="12" y="27"/>
                      <a:pt x="15" y="30"/>
                    </a:cubicBezTo>
                    <a:cubicBezTo>
                      <a:pt x="20" y="34"/>
                      <a:pt x="23" y="36"/>
                      <a:pt x="26" y="36"/>
                    </a:cubicBezTo>
                    <a:cubicBezTo>
                      <a:pt x="29" y="36"/>
                      <a:pt x="32" y="35"/>
                      <a:pt x="34" y="32"/>
                    </a:cubicBezTo>
                    <a:cubicBezTo>
                      <a:pt x="36" y="31"/>
                      <a:pt x="36" y="29"/>
                      <a:pt x="36" y="26"/>
                    </a:cubicBezTo>
                    <a:cubicBezTo>
                      <a:pt x="36" y="24"/>
                      <a:pt x="35" y="22"/>
                      <a:pt x="34" y="1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54" name="îŝḷïḓê"/>
              <p:cNvSpPr/>
              <p:nvPr/>
            </p:nvSpPr>
            <p:spPr bwMode="auto">
              <a:xfrm>
                <a:off x="3022497" y="5733053"/>
                <a:ext cx="103188" cy="101600"/>
              </a:xfrm>
              <a:custGeom>
                <a:avLst/>
                <a:gdLst>
                  <a:gd name="T0" fmla="*/ 42 w 65"/>
                  <a:gd name="T1" fmla="*/ 64 h 64"/>
                  <a:gd name="T2" fmla="*/ 0 w 65"/>
                  <a:gd name="T3" fmla="*/ 34 h 64"/>
                  <a:gd name="T4" fmla="*/ 6 w 65"/>
                  <a:gd name="T5" fmla="*/ 26 h 64"/>
                  <a:gd name="T6" fmla="*/ 22 w 65"/>
                  <a:gd name="T7" fmla="*/ 37 h 64"/>
                  <a:gd name="T8" fmla="*/ 33 w 65"/>
                  <a:gd name="T9" fmla="*/ 21 h 64"/>
                  <a:gd name="T10" fmla="*/ 17 w 65"/>
                  <a:gd name="T11" fmla="*/ 9 h 64"/>
                  <a:gd name="T12" fmla="*/ 23 w 65"/>
                  <a:gd name="T13" fmla="*/ 0 h 64"/>
                  <a:gd name="T14" fmla="*/ 65 w 65"/>
                  <a:gd name="T15" fmla="*/ 30 h 64"/>
                  <a:gd name="T16" fmla="*/ 59 w 65"/>
                  <a:gd name="T17" fmla="*/ 38 h 64"/>
                  <a:gd name="T18" fmla="*/ 40 w 65"/>
                  <a:gd name="T19" fmla="*/ 26 h 64"/>
                  <a:gd name="T20" fmla="*/ 29 w 65"/>
                  <a:gd name="T21" fmla="*/ 42 h 64"/>
                  <a:gd name="T22" fmla="*/ 47 w 65"/>
                  <a:gd name="T23" fmla="*/ 55 h 64"/>
                  <a:gd name="T24" fmla="*/ 42 w 65"/>
                  <a:gd name="T25" fmla="*/ 64 h 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5" h="64">
                    <a:moveTo>
                      <a:pt x="42" y="64"/>
                    </a:moveTo>
                    <a:lnTo>
                      <a:pt x="0" y="34"/>
                    </a:lnTo>
                    <a:lnTo>
                      <a:pt x="6" y="26"/>
                    </a:lnTo>
                    <a:lnTo>
                      <a:pt x="22" y="37"/>
                    </a:lnTo>
                    <a:lnTo>
                      <a:pt x="33" y="21"/>
                    </a:lnTo>
                    <a:lnTo>
                      <a:pt x="17" y="9"/>
                    </a:lnTo>
                    <a:lnTo>
                      <a:pt x="23" y="0"/>
                    </a:lnTo>
                    <a:lnTo>
                      <a:pt x="65" y="30"/>
                    </a:lnTo>
                    <a:lnTo>
                      <a:pt x="59" y="38"/>
                    </a:lnTo>
                    <a:lnTo>
                      <a:pt x="40" y="26"/>
                    </a:lnTo>
                    <a:lnTo>
                      <a:pt x="29" y="42"/>
                    </a:lnTo>
                    <a:lnTo>
                      <a:pt x="47" y="55"/>
                    </a:lnTo>
                    <a:lnTo>
                      <a:pt x="42" y="6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55" name="îşḷîḑe"/>
              <p:cNvSpPr/>
              <p:nvPr/>
            </p:nvSpPr>
            <p:spPr bwMode="auto">
              <a:xfrm>
                <a:off x="3062184" y="5672728"/>
                <a:ext cx="103188" cy="95250"/>
              </a:xfrm>
              <a:custGeom>
                <a:avLst/>
                <a:gdLst>
                  <a:gd name="T0" fmla="*/ 44 w 65"/>
                  <a:gd name="T1" fmla="*/ 60 h 60"/>
                  <a:gd name="T2" fmla="*/ 0 w 65"/>
                  <a:gd name="T3" fmla="*/ 34 h 60"/>
                  <a:gd name="T4" fmla="*/ 5 w 65"/>
                  <a:gd name="T5" fmla="*/ 26 h 60"/>
                  <a:gd name="T6" fmla="*/ 46 w 65"/>
                  <a:gd name="T7" fmla="*/ 24 h 60"/>
                  <a:gd name="T8" fmla="*/ 15 w 65"/>
                  <a:gd name="T9" fmla="*/ 8 h 60"/>
                  <a:gd name="T10" fmla="*/ 20 w 65"/>
                  <a:gd name="T11" fmla="*/ 0 h 60"/>
                  <a:gd name="T12" fmla="*/ 65 w 65"/>
                  <a:gd name="T13" fmla="*/ 24 h 60"/>
                  <a:gd name="T14" fmla="*/ 59 w 65"/>
                  <a:gd name="T15" fmla="*/ 33 h 60"/>
                  <a:gd name="T16" fmla="*/ 20 w 65"/>
                  <a:gd name="T17" fmla="*/ 34 h 60"/>
                  <a:gd name="T18" fmla="*/ 49 w 65"/>
                  <a:gd name="T19" fmla="*/ 52 h 60"/>
                  <a:gd name="T20" fmla="*/ 44 w 65"/>
                  <a:gd name="T21" fmla="*/ 60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65" h="60">
                    <a:moveTo>
                      <a:pt x="44" y="60"/>
                    </a:moveTo>
                    <a:lnTo>
                      <a:pt x="0" y="34"/>
                    </a:lnTo>
                    <a:lnTo>
                      <a:pt x="5" y="26"/>
                    </a:lnTo>
                    <a:lnTo>
                      <a:pt x="46" y="24"/>
                    </a:lnTo>
                    <a:lnTo>
                      <a:pt x="15" y="8"/>
                    </a:lnTo>
                    <a:lnTo>
                      <a:pt x="20" y="0"/>
                    </a:lnTo>
                    <a:lnTo>
                      <a:pt x="65" y="24"/>
                    </a:lnTo>
                    <a:lnTo>
                      <a:pt x="59" y="33"/>
                    </a:lnTo>
                    <a:lnTo>
                      <a:pt x="20" y="34"/>
                    </a:lnTo>
                    <a:lnTo>
                      <a:pt x="49" y="52"/>
                    </a:lnTo>
                    <a:lnTo>
                      <a:pt x="44" y="6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56" name="îşḷïḋê"/>
              <p:cNvSpPr/>
              <p:nvPr/>
            </p:nvSpPr>
            <p:spPr bwMode="auto">
              <a:xfrm>
                <a:off x="3106634" y="5606053"/>
                <a:ext cx="87313" cy="84138"/>
              </a:xfrm>
              <a:custGeom>
                <a:avLst/>
                <a:gdLst>
                  <a:gd name="T0" fmla="*/ 15 w 47"/>
                  <a:gd name="T1" fmla="*/ 43 h 46"/>
                  <a:gd name="T2" fmla="*/ 5 w 47"/>
                  <a:gd name="T3" fmla="*/ 36 h 46"/>
                  <a:gd name="T4" fmla="*/ 2 w 47"/>
                  <a:gd name="T5" fmla="*/ 30 h 46"/>
                  <a:gd name="T6" fmla="*/ 0 w 47"/>
                  <a:gd name="T7" fmla="*/ 23 h 46"/>
                  <a:gd name="T8" fmla="*/ 2 w 47"/>
                  <a:gd name="T9" fmla="*/ 14 h 46"/>
                  <a:gd name="T10" fmla="*/ 14 w 47"/>
                  <a:gd name="T11" fmla="*/ 2 h 46"/>
                  <a:gd name="T12" fmla="*/ 32 w 47"/>
                  <a:gd name="T13" fmla="*/ 3 h 46"/>
                  <a:gd name="T14" fmla="*/ 45 w 47"/>
                  <a:gd name="T15" fmla="*/ 15 h 46"/>
                  <a:gd name="T16" fmla="*/ 44 w 47"/>
                  <a:gd name="T17" fmla="*/ 32 h 46"/>
                  <a:gd name="T18" fmla="*/ 32 w 47"/>
                  <a:gd name="T19" fmla="*/ 44 h 46"/>
                  <a:gd name="T20" fmla="*/ 15 w 47"/>
                  <a:gd name="T21" fmla="*/ 43 h 46"/>
                  <a:gd name="T22" fmla="*/ 18 w 47"/>
                  <a:gd name="T23" fmla="*/ 34 h 46"/>
                  <a:gd name="T24" fmla="*/ 30 w 47"/>
                  <a:gd name="T25" fmla="*/ 35 h 46"/>
                  <a:gd name="T26" fmla="*/ 37 w 47"/>
                  <a:gd name="T27" fmla="*/ 29 h 46"/>
                  <a:gd name="T28" fmla="*/ 37 w 47"/>
                  <a:gd name="T29" fmla="*/ 19 h 46"/>
                  <a:gd name="T30" fmla="*/ 28 w 47"/>
                  <a:gd name="T31" fmla="*/ 12 h 46"/>
                  <a:gd name="T32" fmla="*/ 16 w 47"/>
                  <a:gd name="T33" fmla="*/ 10 h 46"/>
                  <a:gd name="T34" fmla="*/ 9 w 47"/>
                  <a:gd name="T35" fmla="*/ 17 h 46"/>
                  <a:gd name="T36" fmla="*/ 9 w 47"/>
                  <a:gd name="T37" fmla="*/ 27 h 46"/>
                  <a:gd name="T38" fmla="*/ 18 w 47"/>
                  <a:gd name="T39" fmla="*/ 34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47" h="46">
                    <a:moveTo>
                      <a:pt x="15" y="43"/>
                    </a:moveTo>
                    <a:cubicBezTo>
                      <a:pt x="11" y="41"/>
                      <a:pt x="8" y="39"/>
                      <a:pt x="5" y="36"/>
                    </a:cubicBezTo>
                    <a:cubicBezTo>
                      <a:pt x="4" y="34"/>
                      <a:pt x="2" y="32"/>
                      <a:pt x="2" y="30"/>
                    </a:cubicBezTo>
                    <a:cubicBezTo>
                      <a:pt x="1" y="28"/>
                      <a:pt x="0" y="26"/>
                      <a:pt x="0" y="23"/>
                    </a:cubicBezTo>
                    <a:cubicBezTo>
                      <a:pt x="0" y="20"/>
                      <a:pt x="1" y="17"/>
                      <a:pt x="2" y="14"/>
                    </a:cubicBezTo>
                    <a:cubicBezTo>
                      <a:pt x="5" y="8"/>
                      <a:pt x="9" y="4"/>
                      <a:pt x="14" y="2"/>
                    </a:cubicBezTo>
                    <a:cubicBezTo>
                      <a:pt x="19" y="0"/>
                      <a:pt x="25" y="1"/>
                      <a:pt x="32" y="3"/>
                    </a:cubicBezTo>
                    <a:cubicBezTo>
                      <a:pt x="38" y="6"/>
                      <a:pt x="43" y="10"/>
                      <a:pt x="45" y="15"/>
                    </a:cubicBezTo>
                    <a:cubicBezTo>
                      <a:pt x="47" y="21"/>
                      <a:pt x="47" y="26"/>
                      <a:pt x="44" y="32"/>
                    </a:cubicBezTo>
                    <a:cubicBezTo>
                      <a:pt x="41" y="38"/>
                      <a:pt x="38" y="42"/>
                      <a:pt x="32" y="44"/>
                    </a:cubicBezTo>
                    <a:cubicBezTo>
                      <a:pt x="27" y="46"/>
                      <a:pt x="21" y="45"/>
                      <a:pt x="15" y="43"/>
                    </a:cubicBezTo>
                    <a:close/>
                    <a:moveTo>
                      <a:pt x="18" y="34"/>
                    </a:moveTo>
                    <a:cubicBezTo>
                      <a:pt x="23" y="36"/>
                      <a:pt x="27" y="37"/>
                      <a:pt x="30" y="35"/>
                    </a:cubicBezTo>
                    <a:cubicBezTo>
                      <a:pt x="33" y="34"/>
                      <a:pt x="36" y="32"/>
                      <a:pt x="37" y="29"/>
                    </a:cubicBezTo>
                    <a:cubicBezTo>
                      <a:pt x="39" y="26"/>
                      <a:pt x="39" y="23"/>
                      <a:pt x="37" y="19"/>
                    </a:cubicBezTo>
                    <a:cubicBezTo>
                      <a:pt x="36" y="16"/>
                      <a:pt x="33" y="14"/>
                      <a:pt x="28" y="12"/>
                    </a:cubicBezTo>
                    <a:cubicBezTo>
                      <a:pt x="23" y="10"/>
                      <a:pt x="19" y="9"/>
                      <a:pt x="16" y="10"/>
                    </a:cubicBezTo>
                    <a:cubicBezTo>
                      <a:pt x="13" y="11"/>
                      <a:pt x="11" y="14"/>
                      <a:pt x="9" y="17"/>
                    </a:cubicBezTo>
                    <a:cubicBezTo>
                      <a:pt x="8" y="20"/>
                      <a:pt x="8" y="23"/>
                      <a:pt x="9" y="27"/>
                    </a:cubicBezTo>
                    <a:cubicBezTo>
                      <a:pt x="11" y="30"/>
                      <a:pt x="14" y="32"/>
                      <a:pt x="18" y="3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57" name="îṣlïḍè"/>
              <p:cNvSpPr/>
              <p:nvPr/>
            </p:nvSpPr>
            <p:spPr bwMode="auto">
              <a:xfrm>
                <a:off x="3128859" y="5560015"/>
                <a:ext cx="93663" cy="57150"/>
              </a:xfrm>
              <a:custGeom>
                <a:avLst/>
                <a:gdLst>
                  <a:gd name="T0" fmla="*/ 49 w 59"/>
                  <a:gd name="T1" fmla="*/ 36 h 36"/>
                  <a:gd name="T2" fmla="*/ 0 w 59"/>
                  <a:gd name="T3" fmla="*/ 21 h 36"/>
                  <a:gd name="T4" fmla="*/ 4 w 59"/>
                  <a:gd name="T5" fmla="*/ 10 h 36"/>
                  <a:gd name="T6" fmla="*/ 43 w 59"/>
                  <a:gd name="T7" fmla="*/ 24 h 36"/>
                  <a:gd name="T8" fmla="*/ 51 w 59"/>
                  <a:gd name="T9" fmla="*/ 0 h 36"/>
                  <a:gd name="T10" fmla="*/ 59 w 59"/>
                  <a:gd name="T11" fmla="*/ 2 h 36"/>
                  <a:gd name="T12" fmla="*/ 49 w 59"/>
                  <a:gd name="T13" fmla="*/ 36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59" h="36">
                    <a:moveTo>
                      <a:pt x="49" y="36"/>
                    </a:moveTo>
                    <a:lnTo>
                      <a:pt x="0" y="21"/>
                    </a:lnTo>
                    <a:lnTo>
                      <a:pt x="4" y="10"/>
                    </a:lnTo>
                    <a:lnTo>
                      <a:pt x="43" y="24"/>
                    </a:lnTo>
                    <a:lnTo>
                      <a:pt x="51" y="0"/>
                    </a:lnTo>
                    <a:lnTo>
                      <a:pt x="59" y="2"/>
                    </a:lnTo>
                    <a:lnTo>
                      <a:pt x="49" y="36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58" name="ïṩḷîḓê"/>
              <p:cNvSpPr/>
              <p:nvPr/>
            </p:nvSpPr>
            <p:spPr bwMode="auto">
              <a:xfrm>
                <a:off x="3152672" y="5469528"/>
                <a:ext cx="85725" cy="80963"/>
              </a:xfrm>
              <a:custGeom>
                <a:avLst/>
                <a:gdLst>
                  <a:gd name="T0" fmla="*/ 18 w 46"/>
                  <a:gd name="T1" fmla="*/ 43 h 44"/>
                  <a:gd name="T2" fmla="*/ 8 w 46"/>
                  <a:gd name="T3" fmla="*/ 38 h 44"/>
                  <a:gd name="T4" fmla="*/ 3 w 46"/>
                  <a:gd name="T5" fmla="*/ 33 h 44"/>
                  <a:gd name="T6" fmla="*/ 0 w 46"/>
                  <a:gd name="T7" fmla="*/ 27 h 44"/>
                  <a:gd name="T8" fmla="*/ 1 w 46"/>
                  <a:gd name="T9" fmla="*/ 17 h 44"/>
                  <a:gd name="T10" fmla="*/ 10 w 46"/>
                  <a:gd name="T11" fmla="*/ 3 h 44"/>
                  <a:gd name="T12" fmla="*/ 28 w 46"/>
                  <a:gd name="T13" fmla="*/ 1 h 44"/>
                  <a:gd name="T14" fmla="*/ 43 w 46"/>
                  <a:gd name="T15" fmla="*/ 11 h 44"/>
                  <a:gd name="T16" fmla="*/ 45 w 46"/>
                  <a:gd name="T17" fmla="*/ 27 h 44"/>
                  <a:gd name="T18" fmla="*/ 36 w 46"/>
                  <a:gd name="T19" fmla="*/ 41 h 44"/>
                  <a:gd name="T20" fmla="*/ 18 w 46"/>
                  <a:gd name="T21" fmla="*/ 43 h 44"/>
                  <a:gd name="T22" fmla="*/ 20 w 46"/>
                  <a:gd name="T23" fmla="*/ 34 h 44"/>
                  <a:gd name="T24" fmla="*/ 32 w 46"/>
                  <a:gd name="T25" fmla="*/ 33 h 44"/>
                  <a:gd name="T26" fmla="*/ 38 w 46"/>
                  <a:gd name="T27" fmla="*/ 25 h 44"/>
                  <a:gd name="T28" fmla="*/ 36 w 46"/>
                  <a:gd name="T29" fmla="*/ 16 h 44"/>
                  <a:gd name="T30" fmla="*/ 25 w 46"/>
                  <a:gd name="T31" fmla="*/ 10 h 44"/>
                  <a:gd name="T32" fmla="*/ 14 w 46"/>
                  <a:gd name="T33" fmla="*/ 11 h 44"/>
                  <a:gd name="T34" fmla="*/ 8 w 46"/>
                  <a:gd name="T35" fmla="*/ 19 h 44"/>
                  <a:gd name="T36" fmla="*/ 10 w 46"/>
                  <a:gd name="T37" fmla="*/ 28 h 44"/>
                  <a:gd name="T38" fmla="*/ 20 w 46"/>
                  <a:gd name="T39" fmla="*/ 34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46" h="44">
                    <a:moveTo>
                      <a:pt x="18" y="43"/>
                    </a:moveTo>
                    <a:cubicBezTo>
                      <a:pt x="14" y="42"/>
                      <a:pt x="10" y="40"/>
                      <a:pt x="8" y="38"/>
                    </a:cubicBezTo>
                    <a:cubicBezTo>
                      <a:pt x="6" y="37"/>
                      <a:pt x="4" y="35"/>
                      <a:pt x="3" y="33"/>
                    </a:cubicBezTo>
                    <a:cubicBezTo>
                      <a:pt x="1" y="31"/>
                      <a:pt x="1" y="29"/>
                      <a:pt x="0" y="27"/>
                    </a:cubicBezTo>
                    <a:cubicBezTo>
                      <a:pt x="0" y="24"/>
                      <a:pt x="0" y="21"/>
                      <a:pt x="1" y="17"/>
                    </a:cubicBezTo>
                    <a:cubicBezTo>
                      <a:pt x="2" y="11"/>
                      <a:pt x="5" y="6"/>
                      <a:pt x="10" y="3"/>
                    </a:cubicBezTo>
                    <a:cubicBezTo>
                      <a:pt x="15" y="0"/>
                      <a:pt x="21" y="0"/>
                      <a:pt x="28" y="1"/>
                    </a:cubicBezTo>
                    <a:cubicBezTo>
                      <a:pt x="34" y="3"/>
                      <a:pt x="39" y="6"/>
                      <a:pt x="43" y="11"/>
                    </a:cubicBezTo>
                    <a:cubicBezTo>
                      <a:pt x="46" y="15"/>
                      <a:pt x="46" y="21"/>
                      <a:pt x="45" y="27"/>
                    </a:cubicBezTo>
                    <a:cubicBezTo>
                      <a:pt x="44" y="33"/>
                      <a:pt x="40" y="38"/>
                      <a:pt x="36" y="41"/>
                    </a:cubicBezTo>
                    <a:cubicBezTo>
                      <a:pt x="31" y="44"/>
                      <a:pt x="25" y="44"/>
                      <a:pt x="18" y="43"/>
                    </a:cubicBezTo>
                    <a:close/>
                    <a:moveTo>
                      <a:pt x="20" y="34"/>
                    </a:moveTo>
                    <a:cubicBezTo>
                      <a:pt x="25" y="35"/>
                      <a:pt x="29" y="35"/>
                      <a:pt x="32" y="33"/>
                    </a:cubicBezTo>
                    <a:cubicBezTo>
                      <a:pt x="35" y="31"/>
                      <a:pt x="37" y="29"/>
                      <a:pt x="38" y="25"/>
                    </a:cubicBezTo>
                    <a:cubicBezTo>
                      <a:pt x="38" y="22"/>
                      <a:pt x="38" y="19"/>
                      <a:pt x="36" y="16"/>
                    </a:cubicBezTo>
                    <a:cubicBezTo>
                      <a:pt x="34" y="13"/>
                      <a:pt x="30" y="11"/>
                      <a:pt x="25" y="10"/>
                    </a:cubicBezTo>
                    <a:cubicBezTo>
                      <a:pt x="20" y="9"/>
                      <a:pt x="16" y="9"/>
                      <a:pt x="14" y="11"/>
                    </a:cubicBezTo>
                    <a:cubicBezTo>
                      <a:pt x="11" y="13"/>
                      <a:pt x="9" y="15"/>
                      <a:pt x="8" y="19"/>
                    </a:cubicBezTo>
                    <a:cubicBezTo>
                      <a:pt x="7" y="22"/>
                      <a:pt x="8" y="25"/>
                      <a:pt x="10" y="28"/>
                    </a:cubicBezTo>
                    <a:cubicBezTo>
                      <a:pt x="12" y="31"/>
                      <a:pt x="15" y="33"/>
                      <a:pt x="20" y="3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59" name="ïSļiďé"/>
              <p:cNvSpPr/>
              <p:nvPr/>
            </p:nvSpPr>
            <p:spPr bwMode="auto">
              <a:xfrm>
                <a:off x="3165372" y="5390153"/>
                <a:ext cx="85725" cy="77788"/>
              </a:xfrm>
              <a:custGeom>
                <a:avLst/>
                <a:gdLst>
                  <a:gd name="T0" fmla="*/ 29 w 46"/>
                  <a:gd name="T1" fmla="*/ 21 h 42"/>
                  <a:gd name="T2" fmla="*/ 22 w 46"/>
                  <a:gd name="T3" fmla="*/ 20 h 42"/>
                  <a:gd name="T4" fmla="*/ 24 w 46"/>
                  <a:gd name="T5" fmla="*/ 1 h 42"/>
                  <a:gd name="T6" fmla="*/ 41 w 46"/>
                  <a:gd name="T7" fmla="*/ 3 h 42"/>
                  <a:gd name="T8" fmla="*/ 45 w 46"/>
                  <a:gd name="T9" fmla="*/ 11 h 42"/>
                  <a:gd name="T10" fmla="*/ 46 w 46"/>
                  <a:gd name="T11" fmla="*/ 22 h 42"/>
                  <a:gd name="T12" fmla="*/ 42 w 46"/>
                  <a:gd name="T13" fmla="*/ 34 h 42"/>
                  <a:gd name="T14" fmla="*/ 33 w 46"/>
                  <a:gd name="T15" fmla="*/ 41 h 42"/>
                  <a:gd name="T16" fmla="*/ 21 w 46"/>
                  <a:gd name="T17" fmla="*/ 42 h 42"/>
                  <a:gd name="T18" fmla="*/ 9 w 46"/>
                  <a:gd name="T19" fmla="*/ 38 h 42"/>
                  <a:gd name="T20" fmla="*/ 2 w 46"/>
                  <a:gd name="T21" fmla="*/ 28 h 42"/>
                  <a:gd name="T22" fmla="*/ 1 w 46"/>
                  <a:gd name="T23" fmla="*/ 18 h 42"/>
                  <a:gd name="T24" fmla="*/ 6 w 46"/>
                  <a:gd name="T25" fmla="*/ 5 h 42"/>
                  <a:gd name="T26" fmla="*/ 16 w 46"/>
                  <a:gd name="T27" fmla="*/ 0 h 42"/>
                  <a:gd name="T28" fmla="*/ 16 w 46"/>
                  <a:gd name="T29" fmla="*/ 9 h 42"/>
                  <a:gd name="T30" fmla="*/ 11 w 46"/>
                  <a:gd name="T31" fmla="*/ 12 h 42"/>
                  <a:gd name="T32" fmla="*/ 8 w 46"/>
                  <a:gd name="T33" fmla="*/ 18 h 42"/>
                  <a:gd name="T34" fmla="*/ 11 w 46"/>
                  <a:gd name="T35" fmla="*/ 28 h 42"/>
                  <a:gd name="T36" fmla="*/ 21 w 46"/>
                  <a:gd name="T37" fmla="*/ 33 h 42"/>
                  <a:gd name="T38" fmla="*/ 34 w 46"/>
                  <a:gd name="T39" fmla="*/ 31 h 42"/>
                  <a:gd name="T40" fmla="*/ 38 w 46"/>
                  <a:gd name="T41" fmla="*/ 22 h 42"/>
                  <a:gd name="T42" fmla="*/ 38 w 46"/>
                  <a:gd name="T43" fmla="*/ 16 h 42"/>
                  <a:gd name="T44" fmla="*/ 36 w 46"/>
                  <a:gd name="T45" fmla="*/ 11 h 42"/>
                  <a:gd name="T46" fmla="*/ 30 w 46"/>
                  <a:gd name="T47" fmla="*/ 11 h 42"/>
                  <a:gd name="T48" fmla="*/ 29 w 46"/>
                  <a:gd name="T49" fmla="*/ 21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46" h="42">
                    <a:moveTo>
                      <a:pt x="29" y="21"/>
                    </a:moveTo>
                    <a:cubicBezTo>
                      <a:pt x="22" y="20"/>
                      <a:pt x="22" y="20"/>
                      <a:pt x="22" y="20"/>
                    </a:cubicBezTo>
                    <a:cubicBezTo>
                      <a:pt x="24" y="1"/>
                      <a:pt x="24" y="1"/>
                      <a:pt x="24" y="1"/>
                    </a:cubicBezTo>
                    <a:cubicBezTo>
                      <a:pt x="41" y="3"/>
                      <a:pt x="41" y="3"/>
                      <a:pt x="41" y="3"/>
                    </a:cubicBezTo>
                    <a:cubicBezTo>
                      <a:pt x="43" y="5"/>
                      <a:pt x="44" y="8"/>
                      <a:pt x="45" y="11"/>
                    </a:cubicBezTo>
                    <a:cubicBezTo>
                      <a:pt x="46" y="15"/>
                      <a:pt x="46" y="19"/>
                      <a:pt x="46" y="22"/>
                    </a:cubicBezTo>
                    <a:cubicBezTo>
                      <a:pt x="46" y="27"/>
                      <a:pt x="44" y="31"/>
                      <a:pt x="42" y="34"/>
                    </a:cubicBezTo>
                    <a:cubicBezTo>
                      <a:pt x="39" y="37"/>
                      <a:pt x="36" y="39"/>
                      <a:pt x="33" y="41"/>
                    </a:cubicBezTo>
                    <a:cubicBezTo>
                      <a:pt x="29" y="42"/>
                      <a:pt x="25" y="42"/>
                      <a:pt x="21" y="42"/>
                    </a:cubicBezTo>
                    <a:cubicBezTo>
                      <a:pt x="16" y="41"/>
                      <a:pt x="12" y="40"/>
                      <a:pt x="9" y="38"/>
                    </a:cubicBezTo>
                    <a:cubicBezTo>
                      <a:pt x="6" y="35"/>
                      <a:pt x="3" y="32"/>
                      <a:pt x="2" y="28"/>
                    </a:cubicBezTo>
                    <a:cubicBezTo>
                      <a:pt x="1" y="25"/>
                      <a:pt x="0" y="22"/>
                      <a:pt x="1" y="18"/>
                    </a:cubicBezTo>
                    <a:cubicBezTo>
                      <a:pt x="1" y="12"/>
                      <a:pt x="3" y="8"/>
                      <a:pt x="6" y="5"/>
                    </a:cubicBezTo>
                    <a:cubicBezTo>
                      <a:pt x="8" y="2"/>
                      <a:pt x="12" y="1"/>
                      <a:pt x="16" y="0"/>
                    </a:cubicBezTo>
                    <a:cubicBezTo>
                      <a:pt x="16" y="9"/>
                      <a:pt x="16" y="9"/>
                      <a:pt x="16" y="9"/>
                    </a:cubicBezTo>
                    <a:cubicBezTo>
                      <a:pt x="14" y="10"/>
                      <a:pt x="12" y="11"/>
                      <a:pt x="11" y="12"/>
                    </a:cubicBezTo>
                    <a:cubicBezTo>
                      <a:pt x="10" y="14"/>
                      <a:pt x="9" y="16"/>
                      <a:pt x="8" y="18"/>
                    </a:cubicBezTo>
                    <a:cubicBezTo>
                      <a:pt x="8" y="22"/>
                      <a:pt x="9" y="25"/>
                      <a:pt x="11" y="28"/>
                    </a:cubicBezTo>
                    <a:cubicBezTo>
                      <a:pt x="13" y="31"/>
                      <a:pt x="17" y="32"/>
                      <a:pt x="21" y="33"/>
                    </a:cubicBezTo>
                    <a:cubicBezTo>
                      <a:pt x="27" y="33"/>
                      <a:pt x="31" y="33"/>
                      <a:pt x="34" y="31"/>
                    </a:cubicBezTo>
                    <a:cubicBezTo>
                      <a:pt x="36" y="29"/>
                      <a:pt x="38" y="26"/>
                      <a:pt x="38" y="22"/>
                    </a:cubicBezTo>
                    <a:cubicBezTo>
                      <a:pt x="39" y="20"/>
                      <a:pt x="39" y="18"/>
                      <a:pt x="38" y="16"/>
                    </a:cubicBezTo>
                    <a:cubicBezTo>
                      <a:pt x="37" y="14"/>
                      <a:pt x="37" y="13"/>
                      <a:pt x="36" y="11"/>
                    </a:cubicBezTo>
                    <a:cubicBezTo>
                      <a:pt x="30" y="11"/>
                      <a:pt x="30" y="11"/>
                      <a:pt x="30" y="11"/>
                    </a:cubicBezTo>
                    <a:lnTo>
                      <a:pt x="29" y="2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60" name="îSḷiḋè"/>
              <p:cNvSpPr/>
              <p:nvPr/>
            </p:nvSpPr>
            <p:spPr bwMode="auto">
              <a:xfrm>
                <a:off x="3173309" y="5313953"/>
                <a:ext cx="80963" cy="76200"/>
              </a:xfrm>
              <a:custGeom>
                <a:avLst/>
                <a:gdLst>
                  <a:gd name="T0" fmla="*/ 51 w 51"/>
                  <a:gd name="T1" fmla="*/ 30 h 48"/>
                  <a:gd name="T2" fmla="*/ 29 w 51"/>
                  <a:gd name="T3" fmla="*/ 29 h 48"/>
                  <a:gd name="T4" fmla="*/ 0 w 51"/>
                  <a:gd name="T5" fmla="*/ 48 h 48"/>
                  <a:gd name="T6" fmla="*/ 0 w 51"/>
                  <a:gd name="T7" fmla="*/ 36 h 48"/>
                  <a:gd name="T8" fmla="*/ 20 w 51"/>
                  <a:gd name="T9" fmla="*/ 24 h 48"/>
                  <a:gd name="T10" fmla="*/ 0 w 51"/>
                  <a:gd name="T11" fmla="*/ 12 h 48"/>
                  <a:gd name="T12" fmla="*/ 0 w 51"/>
                  <a:gd name="T13" fmla="*/ 0 h 48"/>
                  <a:gd name="T14" fmla="*/ 30 w 51"/>
                  <a:gd name="T15" fmla="*/ 20 h 48"/>
                  <a:gd name="T16" fmla="*/ 51 w 51"/>
                  <a:gd name="T17" fmla="*/ 20 h 48"/>
                  <a:gd name="T18" fmla="*/ 51 w 51"/>
                  <a:gd name="T19" fmla="*/ 30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51" h="48">
                    <a:moveTo>
                      <a:pt x="51" y="30"/>
                    </a:moveTo>
                    <a:lnTo>
                      <a:pt x="29" y="29"/>
                    </a:lnTo>
                    <a:lnTo>
                      <a:pt x="0" y="48"/>
                    </a:lnTo>
                    <a:lnTo>
                      <a:pt x="0" y="36"/>
                    </a:lnTo>
                    <a:lnTo>
                      <a:pt x="20" y="24"/>
                    </a:lnTo>
                    <a:lnTo>
                      <a:pt x="0" y="12"/>
                    </a:lnTo>
                    <a:lnTo>
                      <a:pt x="0" y="0"/>
                    </a:lnTo>
                    <a:lnTo>
                      <a:pt x="30" y="20"/>
                    </a:lnTo>
                    <a:lnTo>
                      <a:pt x="51" y="20"/>
                    </a:lnTo>
                    <a:lnTo>
                      <a:pt x="51" y="3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61" name="îṣḷíḋé"/>
              <p:cNvSpPr/>
              <p:nvPr/>
            </p:nvSpPr>
            <p:spPr bwMode="auto">
              <a:xfrm>
                <a:off x="3163784" y="5193303"/>
                <a:ext cx="87313" cy="76200"/>
              </a:xfrm>
              <a:custGeom>
                <a:avLst/>
                <a:gdLst>
                  <a:gd name="T0" fmla="*/ 4 w 47"/>
                  <a:gd name="T1" fmla="*/ 41 h 41"/>
                  <a:gd name="T2" fmla="*/ 1 w 47"/>
                  <a:gd name="T3" fmla="*/ 24 h 41"/>
                  <a:gd name="T4" fmla="*/ 0 w 47"/>
                  <a:gd name="T5" fmla="*/ 16 h 41"/>
                  <a:gd name="T6" fmla="*/ 2 w 47"/>
                  <a:gd name="T7" fmla="*/ 11 h 41"/>
                  <a:gd name="T8" fmla="*/ 5 w 47"/>
                  <a:gd name="T9" fmla="*/ 7 h 41"/>
                  <a:gd name="T10" fmla="*/ 10 w 47"/>
                  <a:gd name="T11" fmla="*/ 5 h 41"/>
                  <a:gd name="T12" fmla="*/ 16 w 47"/>
                  <a:gd name="T13" fmla="*/ 6 h 41"/>
                  <a:gd name="T14" fmla="*/ 20 w 47"/>
                  <a:gd name="T15" fmla="*/ 10 h 41"/>
                  <a:gd name="T16" fmla="*/ 23 w 47"/>
                  <a:gd name="T17" fmla="*/ 3 h 41"/>
                  <a:gd name="T18" fmla="*/ 29 w 47"/>
                  <a:gd name="T19" fmla="*/ 0 h 41"/>
                  <a:gd name="T20" fmla="*/ 35 w 47"/>
                  <a:gd name="T21" fmla="*/ 1 h 41"/>
                  <a:gd name="T22" fmla="*/ 40 w 47"/>
                  <a:gd name="T23" fmla="*/ 4 h 41"/>
                  <a:gd name="T24" fmla="*/ 43 w 47"/>
                  <a:gd name="T25" fmla="*/ 10 h 41"/>
                  <a:gd name="T26" fmla="*/ 45 w 47"/>
                  <a:gd name="T27" fmla="*/ 20 h 41"/>
                  <a:gd name="T28" fmla="*/ 47 w 47"/>
                  <a:gd name="T29" fmla="*/ 35 h 41"/>
                  <a:gd name="T30" fmla="*/ 4 w 47"/>
                  <a:gd name="T31" fmla="*/ 41 h 41"/>
                  <a:gd name="T32" fmla="*/ 10 w 47"/>
                  <a:gd name="T33" fmla="*/ 31 h 41"/>
                  <a:gd name="T34" fmla="*/ 20 w 47"/>
                  <a:gd name="T35" fmla="*/ 30 h 41"/>
                  <a:gd name="T36" fmla="*/ 19 w 47"/>
                  <a:gd name="T37" fmla="*/ 24 h 41"/>
                  <a:gd name="T38" fmla="*/ 18 w 47"/>
                  <a:gd name="T39" fmla="*/ 18 h 41"/>
                  <a:gd name="T40" fmla="*/ 16 w 47"/>
                  <a:gd name="T41" fmla="*/ 15 h 41"/>
                  <a:gd name="T42" fmla="*/ 12 w 47"/>
                  <a:gd name="T43" fmla="*/ 14 h 41"/>
                  <a:gd name="T44" fmla="*/ 9 w 47"/>
                  <a:gd name="T45" fmla="*/ 15 h 41"/>
                  <a:gd name="T46" fmla="*/ 8 w 47"/>
                  <a:gd name="T47" fmla="*/ 19 h 41"/>
                  <a:gd name="T48" fmla="*/ 9 w 47"/>
                  <a:gd name="T49" fmla="*/ 26 h 41"/>
                  <a:gd name="T50" fmla="*/ 10 w 47"/>
                  <a:gd name="T51" fmla="*/ 31 h 41"/>
                  <a:gd name="T52" fmla="*/ 27 w 47"/>
                  <a:gd name="T53" fmla="*/ 29 h 41"/>
                  <a:gd name="T54" fmla="*/ 39 w 47"/>
                  <a:gd name="T55" fmla="*/ 27 h 41"/>
                  <a:gd name="T56" fmla="*/ 37 w 47"/>
                  <a:gd name="T57" fmla="*/ 19 h 41"/>
                  <a:gd name="T58" fmla="*/ 36 w 47"/>
                  <a:gd name="T59" fmla="*/ 13 h 41"/>
                  <a:gd name="T60" fmla="*/ 34 w 47"/>
                  <a:gd name="T61" fmla="*/ 10 h 41"/>
                  <a:gd name="T62" fmla="*/ 30 w 47"/>
                  <a:gd name="T63" fmla="*/ 10 h 41"/>
                  <a:gd name="T64" fmla="*/ 27 w 47"/>
                  <a:gd name="T65" fmla="*/ 11 h 41"/>
                  <a:gd name="T66" fmla="*/ 25 w 47"/>
                  <a:gd name="T67" fmla="*/ 14 h 41"/>
                  <a:gd name="T68" fmla="*/ 26 w 47"/>
                  <a:gd name="T69" fmla="*/ 22 h 41"/>
                  <a:gd name="T70" fmla="*/ 27 w 47"/>
                  <a:gd name="T71" fmla="*/ 29 h 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47" h="41">
                    <a:moveTo>
                      <a:pt x="4" y="41"/>
                    </a:moveTo>
                    <a:cubicBezTo>
                      <a:pt x="1" y="24"/>
                      <a:pt x="1" y="24"/>
                      <a:pt x="1" y="24"/>
                    </a:cubicBezTo>
                    <a:cubicBezTo>
                      <a:pt x="1" y="20"/>
                      <a:pt x="0" y="18"/>
                      <a:pt x="0" y="16"/>
                    </a:cubicBezTo>
                    <a:cubicBezTo>
                      <a:pt x="1" y="14"/>
                      <a:pt x="1" y="13"/>
                      <a:pt x="2" y="11"/>
                    </a:cubicBezTo>
                    <a:cubicBezTo>
                      <a:pt x="2" y="10"/>
                      <a:pt x="3" y="9"/>
                      <a:pt x="5" y="7"/>
                    </a:cubicBezTo>
                    <a:cubicBezTo>
                      <a:pt x="6" y="6"/>
                      <a:pt x="8" y="6"/>
                      <a:pt x="10" y="5"/>
                    </a:cubicBezTo>
                    <a:cubicBezTo>
                      <a:pt x="12" y="5"/>
                      <a:pt x="14" y="5"/>
                      <a:pt x="16" y="6"/>
                    </a:cubicBezTo>
                    <a:cubicBezTo>
                      <a:pt x="17" y="7"/>
                      <a:pt x="19" y="8"/>
                      <a:pt x="20" y="10"/>
                    </a:cubicBezTo>
                    <a:cubicBezTo>
                      <a:pt x="20" y="7"/>
                      <a:pt x="21" y="5"/>
                      <a:pt x="23" y="3"/>
                    </a:cubicBezTo>
                    <a:cubicBezTo>
                      <a:pt x="25" y="2"/>
                      <a:pt x="27" y="1"/>
                      <a:pt x="29" y="0"/>
                    </a:cubicBezTo>
                    <a:cubicBezTo>
                      <a:pt x="31" y="0"/>
                      <a:pt x="33" y="0"/>
                      <a:pt x="35" y="1"/>
                    </a:cubicBezTo>
                    <a:cubicBezTo>
                      <a:pt x="37" y="2"/>
                      <a:pt x="39" y="3"/>
                      <a:pt x="40" y="4"/>
                    </a:cubicBezTo>
                    <a:cubicBezTo>
                      <a:pt x="42" y="5"/>
                      <a:pt x="43" y="7"/>
                      <a:pt x="43" y="10"/>
                    </a:cubicBezTo>
                    <a:cubicBezTo>
                      <a:pt x="44" y="11"/>
                      <a:pt x="44" y="15"/>
                      <a:pt x="45" y="20"/>
                    </a:cubicBezTo>
                    <a:cubicBezTo>
                      <a:pt x="47" y="35"/>
                      <a:pt x="47" y="35"/>
                      <a:pt x="47" y="35"/>
                    </a:cubicBezTo>
                    <a:lnTo>
                      <a:pt x="4" y="41"/>
                    </a:lnTo>
                    <a:close/>
                    <a:moveTo>
                      <a:pt x="10" y="31"/>
                    </a:moveTo>
                    <a:cubicBezTo>
                      <a:pt x="20" y="30"/>
                      <a:pt x="20" y="30"/>
                      <a:pt x="20" y="30"/>
                    </a:cubicBezTo>
                    <a:cubicBezTo>
                      <a:pt x="19" y="24"/>
                      <a:pt x="19" y="24"/>
                      <a:pt x="19" y="24"/>
                    </a:cubicBezTo>
                    <a:cubicBezTo>
                      <a:pt x="18" y="21"/>
                      <a:pt x="18" y="19"/>
                      <a:pt x="18" y="18"/>
                    </a:cubicBezTo>
                    <a:cubicBezTo>
                      <a:pt x="17" y="16"/>
                      <a:pt x="17" y="15"/>
                      <a:pt x="16" y="15"/>
                    </a:cubicBezTo>
                    <a:cubicBezTo>
                      <a:pt x="15" y="14"/>
                      <a:pt x="14" y="14"/>
                      <a:pt x="12" y="14"/>
                    </a:cubicBezTo>
                    <a:cubicBezTo>
                      <a:pt x="11" y="14"/>
                      <a:pt x="10" y="14"/>
                      <a:pt x="9" y="15"/>
                    </a:cubicBezTo>
                    <a:cubicBezTo>
                      <a:pt x="8" y="16"/>
                      <a:pt x="8" y="17"/>
                      <a:pt x="8" y="19"/>
                    </a:cubicBezTo>
                    <a:cubicBezTo>
                      <a:pt x="8" y="20"/>
                      <a:pt x="8" y="22"/>
                      <a:pt x="9" y="26"/>
                    </a:cubicBezTo>
                    <a:lnTo>
                      <a:pt x="10" y="31"/>
                    </a:lnTo>
                    <a:close/>
                    <a:moveTo>
                      <a:pt x="27" y="29"/>
                    </a:moveTo>
                    <a:cubicBezTo>
                      <a:pt x="39" y="27"/>
                      <a:pt x="39" y="27"/>
                      <a:pt x="39" y="27"/>
                    </a:cubicBezTo>
                    <a:cubicBezTo>
                      <a:pt x="37" y="19"/>
                      <a:pt x="37" y="19"/>
                      <a:pt x="37" y="19"/>
                    </a:cubicBezTo>
                    <a:cubicBezTo>
                      <a:pt x="37" y="16"/>
                      <a:pt x="37" y="14"/>
                      <a:pt x="36" y="13"/>
                    </a:cubicBezTo>
                    <a:cubicBezTo>
                      <a:pt x="36" y="12"/>
                      <a:pt x="35" y="11"/>
                      <a:pt x="34" y="10"/>
                    </a:cubicBezTo>
                    <a:cubicBezTo>
                      <a:pt x="33" y="10"/>
                      <a:pt x="32" y="9"/>
                      <a:pt x="30" y="10"/>
                    </a:cubicBezTo>
                    <a:cubicBezTo>
                      <a:pt x="29" y="10"/>
                      <a:pt x="28" y="10"/>
                      <a:pt x="27" y="11"/>
                    </a:cubicBezTo>
                    <a:cubicBezTo>
                      <a:pt x="26" y="12"/>
                      <a:pt x="26" y="13"/>
                      <a:pt x="25" y="14"/>
                    </a:cubicBezTo>
                    <a:cubicBezTo>
                      <a:pt x="25" y="15"/>
                      <a:pt x="25" y="18"/>
                      <a:pt x="26" y="22"/>
                    </a:cubicBezTo>
                    <a:lnTo>
                      <a:pt x="27" y="2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62" name="îṩliďè"/>
              <p:cNvSpPr/>
              <p:nvPr/>
            </p:nvSpPr>
            <p:spPr bwMode="auto">
              <a:xfrm>
                <a:off x="3146322" y="5120278"/>
                <a:ext cx="93663" cy="79375"/>
              </a:xfrm>
              <a:custGeom>
                <a:avLst/>
                <a:gdLst>
                  <a:gd name="T0" fmla="*/ 59 w 59"/>
                  <a:gd name="T1" fmla="*/ 37 h 50"/>
                  <a:gd name="T2" fmla="*/ 9 w 59"/>
                  <a:gd name="T3" fmla="*/ 50 h 50"/>
                  <a:gd name="T4" fmla="*/ 0 w 59"/>
                  <a:gd name="T5" fmla="*/ 13 h 50"/>
                  <a:gd name="T6" fmla="*/ 8 w 59"/>
                  <a:gd name="T7" fmla="*/ 10 h 50"/>
                  <a:gd name="T8" fmla="*/ 15 w 59"/>
                  <a:gd name="T9" fmla="*/ 37 h 50"/>
                  <a:gd name="T10" fmla="*/ 25 w 59"/>
                  <a:gd name="T11" fmla="*/ 35 h 50"/>
                  <a:gd name="T12" fmla="*/ 19 w 59"/>
                  <a:gd name="T13" fmla="*/ 9 h 50"/>
                  <a:gd name="T14" fmla="*/ 27 w 59"/>
                  <a:gd name="T15" fmla="*/ 8 h 50"/>
                  <a:gd name="T16" fmla="*/ 34 w 59"/>
                  <a:gd name="T17" fmla="*/ 32 h 50"/>
                  <a:gd name="T18" fmla="*/ 47 w 59"/>
                  <a:gd name="T19" fmla="*/ 29 h 50"/>
                  <a:gd name="T20" fmla="*/ 40 w 59"/>
                  <a:gd name="T21" fmla="*/ 1 h 50"/>
                  <a:gd name="T22" fmla="*/ 49 w 59"/>
                  <a:gd name="T23" fmla="*/ 0 h 50"/>
                  <a:gd name="T24" fmla="*/ 59 w 59"/>
                  <a:gd name="T25" fmla="*/ 37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59" h="50">
                    <a:moveTo>
                      <a:pt x="59" y="37"/>
                    </a:moveTo>
                    <a:lnTo>
                      <a:pt x="9" y="50"/>
                    </a:lnTo>
                    <a:lnTo>
                      <a:pt x="0" y="13"/>
                    </a:lnTo>
                    <a:lnTo>
                      <a:pt x="8" y="10"/>
                    </a:lnTo>
                    <a:lnTo>
                      <a:pt x="15" y="37"/>
                    </a:lnTo>
                    <a:lnTo>
                      <a:pt x="25" y="35"/>
                    </a:lnTo>
                    <a:lnTo>
                      <a:pt x="19" y="9"/>
                    </a:lnTo>
                    <a:lnTo>
                      <a:pt x="27" y="8"/>
                    </a:lnTo>
                    <a:lnTo>
                      <a:pt x="34" y="32"/>
                    </a:lnTo>
                    <a:lnTo>
                      <a:pt x="47" y="29"/>
                    </a:lnTo>
                    <a:lnTo>
                      <a:pt x="40" y="1"/>
                    </a:lnTo>
                    <a:lnTo>
                      <a:pt x="49" y="0"/>
                    </a:lnTo>
                    <a:lnTo>
                      <a:pt x="59" y="3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63" name="iṧlíḋè"/>
              <p:cNvSpPr/>
              <p:nvPr/>
            </p:nvSpPr>
            <p:spPr bwMode="auto">
              <a:xfrm>
                <a:off x="3138384" y="5096465"/>
                <a:ext cx="82550" cy="38100"/>
              </a:xfrm>
              <a:custGeom>
                <a:avLst/>
                <a:gdLst>
                  <a:gd name="T0" fmla="*/ 52 w 52"/>
                  <a:gd name="T1" fmla="*/ 9 h 24"/>
                  <a:gd name="T2" fmla="*/ 3 w 52"/>
                  <a:gd name="T3" fmla="*/ 24 h 24"/>
                  <a:gd name="T4" fmla="*/ 0 w 52"/>
                  <a:gd name="T5" fmla="*/ 15 h 24"/>
                  <a:gd name="T6" fmla="*/ 49 w 52"/>
                  <a:gd name="T7" fmla="*/ 0 h 24"/>
                  <a:gd name="T8" fmla="*/ 52 w 52"/>
                  <a:gd name="T9" fmla="*/ 9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2" h="24">
                    <a:moveTo>
                      <a:pt x="52" y="9"/>
                    </a:moveTo>
                    <a:lnTo>
                      <a:pt x="3" y="24"/>
                    </a:lnTo>
                    <a:lnTo>
                      <a:pt x="0" y="15"/>
                    </a:lnTo>
                    <a:lnTo>
                      <a:pt x="49" y="0"/>
                    </a:lnTo>
                    <a:lnTo>
                      <a:pt x="52" y="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64" name="islïḓè"/>
              <p:cNvSpPr/>
              <p:nvPr/>
            </p:nvSpPr>
            <p:spPr bwMode="auto">
              <a:xfrm>
                <a:off x="3120922" y="5047253"/>
                <a:ext cx="88900" cy="52388"/>
              </a:xfrm>
              <a:custGeom>
                <a:avLst/>
                <a:gdLst>
                  <a:gd name="T0" fmla="*/ 3 w 48"/>
                  <a:gd name="T1" fmla="*/ 20 h 28"/>
                  <a:gd name="T2" fmla="*/ 0 w 48"/>
                  <a:gd name="T3" fmla="*/ 12 h 28"/>
                  <a:gd name="T4" fmla="*/ 26 w 48"/>
                  <a:gd name="T5" fmla="*/ 2 h 28"/>
                  <a:gd name="T6" fmla="*/ 34 w 48"/>
                  <a:gd name="T7" fmla="*/ 0 h 28"/>
                  <a:gd name="T8" fmla="*/ 42 w 48"/>
                  <a:gd name="T9" fmla="*/ 3 h 28"/>
                  <a:gd name="T10" fmla="*/ 47 w 48"/>
                  <a:gd name="T11" fmla="*/ 10 h 28"/>
                  <a:gd name="T12" fmla="*/ 47 w 48"/>
                  <a:gd name="T13" fmla="*/ 21 h 28"/>
                  <a:gd name="T14" fmla="*/ 38 w 48"/>
                  <a:gd name="T15" fmla="*/ 28 h 28"/>
                  <a:gd name="T16" fmla="*/ 34 w 48"/>
                  <a:gd name="T17" fmla="*/ 20 h 28"/>
                  <a:gd name="T18" fmla="*/ 39 w 48"/>
                  <a:gd name="T19" fmla="*/ 17 h 28"/>
                  <a:gd name="T20" fmla="*/ 40 w 48"/>
                  <a:gd name="T21" fmla="*/ 13 h 28"/>
                  <a:gd name="T22" fmla="*/ 37 w 48"/>
                  <a:gd name="T23" fmla="*/ 9 h 28"/>
                  <a:gd name="T24" fmla="*/ 30 w 48"/>
                  <a:gd name="T25" fmla="*/ 10 h 28"/>
                  <a:gd name="T26" fmla="*/ 3 w 48"/>
                  <a:gd name="T27" fmla="*/ 20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48" h="28">
                    <a:moveTo>
                      <a:pt x="3" y="20"/>
                    </a:moveTo>
                    <a:cubicBezTo>
                      <a:pt x="0" y="12"/>
                      <a:pt x="0" y="12"/>
                      <a:pt x="0" y="12"/>
                    </a:cubicBezTo>
                    <a:cubicBezTo>
                      <a:pt x="26" y="2"/>
                      <a:pt x="26" y="2"/>
                      <a:pt x="26" y="2"/>
                    </a:cubicBezTo>
                    <a:cubicBezTo>
                      <a:pt x="29" y="1"/>
                      <a:pt x="32" y="0"/>
                      <a:pt x="34" y="0"/>
                    </a:cubicBezTo>
                    <a:cubicBezTo>
                      <a:pt x="37" y="0"/>
                      <a:pt x="39" y="1"/>
                      <a:pt x="42" y="3"/>
                    </a:cubicBezTo>
                    <a:cubicBezTo>
                      <a:pt x="44" y="4"/>
                      <a:pt x="46" y="7"/>
                      <a:pt x="47" y="10"/>
                    </a:cubicBezTo>
                    <a:cubicBezTo>
                      <a:pt x="48" y="14"/>
                      <a:pt x="48" y="18"/>
                      <a:pt x="47" y="21"/>
                    </a:cubicBezTo>
                    <a:cubicBezTo>
                      <a:pt x="45" y="24"/>
                      <a:pt x="42" y="26"/>
                      <a:pt x="38" y="28"/>
                    </a:cubicBezTo>
                    <a:cubicBezTo>
                      <a:pt x="34" y="20"/>
                      <a:pt x="34" y="20"/>
                      <a:pt x="34" y="20"/>
                    </a:cubicBezTo>
                    <a:cubicBezTo>
                      <a:pt x="37" y="19"/>
                      <a:pt x="38" y="18"/>
                      <a:pt x="39" y="17"/>
                    </a:cubicBezTo>
                    <a:cubicBezTo>
                      <a:pt x="40" y="16"/>
                      <a:pt x="40" y="14"/>
                      <a:pt x="40" y="13"/>
                    </a:cubicBezTo>
                    <a:cubicBezTo>
                      <a:pt x="39" y="11"/>
                      <a:pt x="38" y="10"/>
                      <a:pt x="37" y="9"/>
                    </a:cubicBezTo>
                    <a:cubicBezTo>
                      <a:pt x="35" y="9"/>
                      <a:pt x="33" y="9"/>
                      <a:pt x="30" y="10"/>
                    </a:cubicBezTo>
                    <a:lnTo>
                      <a:pt x="3" y="2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65" name="íṥ1iḍe"/>
              <p:cNvSpPr/>
              <p:nvPr/>
            </p:nvSpPr>
            <p:spPr bwMode="auto">
              <a:xfrm>
                <a:off x="3112984" y="5017090"/>
                <a:ext cx="80963" cy="46038"/>
              </a:xfrm>
              <a:custGeom>
                <a:avLst/>
                <a:gdLst>
                  <a:gd name="T0" fmla="*/ 51 w 51"/>
                  <a:gd name="T1" fmla="*/ 9 h 29"/>
                  <a:gd name="T2" fmla="*/ 3 w 51"/>
                  <a:gd name="T3" fmla="*/ 29 h 29"/>
                  <a:gd name="T4" fmla="*/ 0 w 51"/>
                  <a:gd name="T5" fmla="*/ 19 h 29"/>
                  <a:gd name="T6" fmla="*/ 46 w 51"/>
                  <a:gd name="T7" fmla="*/ 0 h 29"/>
                  <a:gd name="T8" fmla="*/ 51 w 51"/>
                  <a:gd name="T9" fmla="*/ 9 h 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1" h="29">
                    <a:moveTo>
                      <a:pt x="51" y="9"/>
                    </a:moveTo>
                    <a:lnTo>
                      <a:pt x="3" y="29"/>
                    </a:lnTo>
                    <a:lnTo>
                      <a:pt x="0" y="19"/>
                    </a:lnTo>
                    <a:lnTo>
                      <a:pt x="46" y="0"/>
                    </a:lnTo>
                    <a:lnTo>
                      <a:pt x="51" y="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66" name="iṥľîḋé"/>
              <p:cNvSpPr/>
              <p:nvPr/>
            </p:nvSpPr>
            <p:spPr bwMode="auto">
              <a:xfrm>
                <a:off x="3081234" y="4948828"/>
                <a:ext cx="101600" cy="93663"/>
              </a:xfrm>
              <a:custGeom>
                <a:avLst/>
                <a:gdLst>
                  <a:gd name="T0" fmla="*/ 64 w 64"/>
                  <a:gd name="T1" fmla="*/ 36 h 59"/>
                  <a:gd name="T2" fmla="*/ 18 w 64"/>
                  <a:gd name="T3" fmla="*/ 59 h 59"/>
                  <a:gd name="T4" fmla="*/ 14 w 64"/>
                  <a:gd name="T5" fmla="*/ 50 h 59"/>
                  <a:gd name="T6" fmla="*/ 35 w 64"/>
                  <a:gd name="T7" fmla="*/ 16 h 59"/>
                  <a:gd name="T8" fmla="*/ 3 w 64"/>
                  <a:gd name="T9" fmla="*/ 31 h 59"/>
                  <a:gd name="T10" fmla="*/ 0 w 64"/>
                  <a:gd name="T11" fmla="*/ 22 h 59"/>
                  <a:gd name="T12" fmla="*/ 45 w 64"/>
                  <a:gd name="T13" fmla="*/ 0 h 59"/>
                  <a:gd name="T14" fmla="*/ 50 w 64"/>
                  <a:gd name="T15" fmla="*/ 8 h 59"/>
                  <a:gd name="T16" fmla="*/ 29 w 64"/>
                  <a:gd name="T17" fmla="*/ 42 h 59"/>
                  <a:gd name="T18" fmla="*/ 59 w 64"/>
                  <a:gd name="T19" fmla="*/ 26 h 59"/>
                  <a:gd name="T20" fmla="*/ 64 w 64"/>
                  <a:gd name="T21" fmla="*/ 36 h 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64" h="59">
                    <a:moveTo>
                      <a:pt x="64" y="36"/>
                    </a:moveTo>
                    <a:lnTo>
                      <a:pt x="18" y="59"/>
                    </a:lnTo>
                    <a:lnTo>
                      <a:pt x="14" y="50"/>
                    </a:lnTo>
                    <a:lnTo>
                      <a:pt x="35" y="16"/>
                    </a:lnTo>
                    <a:lnTo>
                      <a:pt x="3" y="31"/>
                    </a:lnTo>
                    <a:lnTo>
                      <a:pt x="0" y="22"/>
                    </a:lnTo>
                    <a:lnTo>
                      <a:pt x="45" y="0"/>
                    </a:lnTo>
                    <a:lnTo>
                      <a:pt x="50" y="8"/>
                    </a:lnTo>
                    <a:lnTo>
                      <a:pt x="29" y="42"/>
                    </a:lnTo>
                    <a:lnTo>
                      <a:pt x="59" y="26"/>
                    </a:lnTo>
                    <a:lnTo>
                      <a:pt x="64" y="36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67" name="îślidè"/>
              <p:cNvSpPr/>
              <p:nvPr/>
            </p:nvSpPr>
            <p:spPr bwMode="auto">
              <a:xfrm>
                <a:off x="3047897" y="4877390"/>
                <a:ext cx="84138" cy="88900"/>
              </a:xfrm>
              <a:custGeom>
                <a:avLst/>
                <a:gdLst>
                  <a:gd name="T0" fmla="*/ 28 w 46"/>
                  <a:gd name="T1" fmla="*/ 21 h 48"/>
                  <a:gd name="T2" fmla="*/ 22 w 46"/>
                  <a:gd name="T3" fmla="*/ 25 h 48"/>
                  <a:gd name="T4" fmla="*/ 11 w 46"/>
                  <a:gd name="T5" fmla="*/ 9 h 48"/>
                  <a:gd name="T6" fmla="*/ 26 w 46"/>
                  <a:gd name="T7" fmla="*/ 0 h 48"/>
                  <a:gd name="T8" fmla="*/ 35 w 46"/>
                  <a:gd name="T9" fmla="*/ 4 h 48"/>
                  <a:gd name="T10" fmla="*/ 42 w 46"/>
                  <a:gd name="T11" fmla="*/ 12 h 48"/>
                  <a:gd name="T12" fmla="*/ 46 w 46"/>
                  <a:gd name="T13" fmla="*/ 24 h 48"/>
                  <a:gd name="T14" fmla="*/ 43 w 46"/>
                  <a:gd name="T15" fmla="*/ 35 h 48"/>
                  <a:gd name="T16" fmla="*/ 35 w 46"/>
                  <a:gd name="T17" fmla="*/ 43 h 48"/>
                  <a:gd name="T18" fmla="*/ 23 w 46"/>
                  <a:gd name="T19" fmla="*/ 47 h 48"/>
                  <a:gd name="T20" fmla="*/ 12 w 46"/>
                  <a:gd name="T21" fmla="*/ 45 h 48"/>
                  <a:gd name="T22" fmla="*/ 4 w 46"/>
                  <a:gd name="T23" fmla="*/ 37 h 48"/>
                  <a:gd name="T24" fmla="*/ 0 w 46"/>
                  <a:gd name="T25" fmla="*/ 24 h 48"/>
                  <a:gd name="T26" fmla="*/ 5 w 46"/>
                  <a:gd name="T27" fmla="*/ 14 h 48"/>
                  <a:gd name="T28" fmla="*/ 11 w 46"/>
                  <a:gd name="T29" fmla="*/ 21 h 48"/>
                  <a:gd name="T30" fmla="*/ 9 w 46"/>
                  <a:gd name="T31" fmla="*/ 27 h 48"/>
                  <a:gd name="T32" fmla="*/ 11 w 46"/>
                  <a:gd name="T33" fmla="*/ 33 h 48"/>
                  <a:gd name="T34" fmla="*/ 19 w 46"/>
                  <a:gd name="T35" fmla="*/ 39 h 48"/>
                  <a:gd name="T36" fmla="*/ 30 w 46"/>
                  <a:gd name="T37" fmla="*/ 36 h 48"/>
                  <a:gd name="T38" fmla="*/ 38 w 46"/>
                  <a:gd name="T39" fmla="*/ 26 h 48"/>
                  <a:gd name="T40" fmla="*/ 36 w 46"/>
                  <a:gd name="T41" fmla="*/ 17 h 48"/>
                  <a:gd name="T42" fmla="*/ 32 w 46"/>
                  <a:gd name="T43" fmla="*/ 13 h 48"/>
                  <a:gd name="T44" fmla="*/ 27 w 46"/>
                  <a:gd name="T45" fmla="*/ 10 h 48"/>
                  <a:gd name="T46" fmla="*/ 23 w 46"/>
                  <a:gd name="T47" fmla="*/ 13 h 48"/>
                  <a:gd name="T48" fmla="*/ 28 w 46"/>
                  <a:gd name="T49" fmla="*/ 21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46" h="48">
                    <a:moveTo>
                      <a:pt x="28" y="21"/>
                    </a:moveTo>
                    <a:cubicBezTo>
                      <a:pt x="22" y="25"/>
                      <a:pt x="22" y="25"/>
                      <a:pt x="22" y="25"/>
                    </a:cubicBezTo>
                    <a:cubicBezTo>
                      <a:pt x="11" y="9"/>
                      <a:pt x="11" y="9"/>
                      <a:pt x="11" y="9"/>
                    </a:cubicBezTo>
                    <a:cubicBezTo>
                      <a:pt x="26" y="0"/>
                      <a:pt x="26" y="0"/>
                      <a:pt x="26" y="0"/>
                    </a:cubicBezTo>
                    <a:cubicBezTo>
                      <a:pt x="29" y="1"/>
                      <a:pt x="31" y="2"/>
                      <a:pt x="35" y="4"/>
                    </a:cubicBezTo>
                    <a:cubicBezTo>
                      <a:pt x="38" y="6"/>
                      <a:pt x="40" y="9"/>
                      <a:pt x="42" y="12"/>
                    </a:cubicBezTo>
                    <a:cubicBezTo>
                      <a:pt x="45" y="16"/>
                      <a:pt x="46" y="20"/>
                      <a:pt x="46" y="24"/>
                    </a:cubicBezTo>
                    <a:cubicBezTo>
                      <a:pt x="46" y="28"/>
                      <a:pt x="45" y="31"/>
                      <a:pt x="43" y="35"/>
                    </a:cubicBezTo>
                    <a:cubicBezTo>
                      <a:pt x="41" y="38"/>
                      <a:pt x="38" y="41"/>
                      <a:pt x="35" y="43"/>
                    </a:cubicBezTo>
                    <a:cubicBezTo>
                      <a:pt x="31" y="46"/>
                      <a:pt x="27" y="47"/>
                      <a:pt x="23" y="47"/>
                    </a:cubicBezTo>
                    <a:cubicBezTo>
                      <a:pt x="19" y="48"/>
                      <a:pt x="15" y="47"/>
                      <a:pt x="12" y="45"/>
                    </a:cubicBezTo>
                    <a:cubicBezTo>
                      <a:pt x="9" y="43"/>
                      <a:pt x="6" y="41"/>
                      <a:pt x="4" y="37"/>
                    </a:cubicBezTo>
                    <a:cubicBezTo>
                      <a:pt x="1" y="32"/>
                      <a:pt x="0" y="28"/>
                      <a:pt x="0" y="24"/>
                    </a:cubicBezTo>
                    <a:cubicBezTo>
                      <a:pt x="0" y="21"/>
                      <a:pt x="2" y="17"/>
                      <a:pt x="5" y="14"/>
                    </a:cubicBezTo>
                    <a:cubicBezTo>
                      <a:pt x="11" y="21"/>
                      <a:pt x="11" y="21"/>
                      <a:pt x="11" y="21"/>
                    </a:cubicBezTo>
                    <a:cubicBezTo>
                      <a:pt x="10" y="23"/>
                      <a:pt x="9" y="24"/>
                      <a:pt x="9" y="27"/>
                    </a:cubicBezTo>
                    <a:cubicBezTo>
                      <a:pt x="8" y="29"/>
                      <a:pt x="9" y="31"/>
                      <a:pt x="11" y="33"/>
                    </a:cubicBezTo>
                    <a:cubicBezTo>
                      <a:pt x="13" y="36"/>
                      <a:pt x="15" y="38"/>
                      <a:pt x="19" y="39"/>
                    </a:cubicBezTo>
                    <a:cubicBezTo>
                      <a:pt x="22" y="39"/>
                      <a:pt x="26" y="38"/>
                      <a:pt x="30" y="36"/>
                    </a:cubicBezTo>
                    <a:cubicBezTo>
                      <a:pt x="34" y="33"/>
                      <a:pt x="37" y="30"/>
                      <a:pt x="38" y="26"/>
                    </a:cubicBezTo>
                    <a:cubicBezTo>
                      <a:pt x="39" y="23"/>
                      <a:pt x="38" y="20"/>
                      <a:pt x="36" y="17"/>
                    </a:cubicBezTo>
                    <a:cubicBezTo>
                      <a:pt x="35" y="15"/>
                      <a:pt x="34" y="14"/>
                      <a:pt x="32" y="13"/>
                    </a:cubicBezTo>
                    <a:cubicBezTo>
                      <a:pt x="30" y="11"/>
                      <a:pt x="29" y="10"/>
                      <a:pt x="27" y="10"/>
                    </a:cubicBezTo>
                    <a:cubicBezTo>
                      <a:pt x="23" y="13"/>
                      <a:pt x="23" y="13"/>
                      <a:pt x="23" y="13"/>
                    </a:cubicBezTo>
                    <a:lnTo>
                      <a:pt x="28" y="2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68" name="îŝ1ide"/>
              <p:cNvSpPr/>
              <p:nvPr/>
            </p:nvSpPr>
            <p:spPr bwMode="auto">
              <a:xfrm>
                <a:off x="1981097" y="4907553"/>
                <a:ext cx="931863" cy="969963"/>
              </a:xfrm>
              <a:custGeom>
                <a:avLst/>
                <a:gdLst>
                  <a:gd name="T0" fmla="*/ 488 w 506"/>
                  <a:gd name="T1" fmla="*/ 144 h 525"/>
                  <a:gd name="T2" fmla="*/ 449 w 506"/>
                  <a:gd name="T3" fmla="*/ 161 h 525"/>
                  <a:gd name="T4" fmla="*/ 473 w 506"/>
                  <a:gd name="T5" fmla="*/ 361 h 525"/>
                  <a:gd name="T6" fmla="*/ 434 w 506"/>
                  <a:gd name="T7" fmla="*/ 382 h 525"/>
                  <a:gd name="T8" fmla="*/ 463 w 506"/>
                  <a:gd name="T9" fmla="*/ 392 h 525"/>
                  <a:gd name="T10" fmla="*/ 434 w 506"/>
                  <a:gd name="T11" fmla="*/ 455 h 525"/>
                  <a:gd name="T12" fmla="*/ 418 w 506"/>
                  <a:gd name="T13" fmla="*/ 525 h 525"/>
                  <a:gd name="T14" fmla="*/ 328 w 506"/>
                  <a:gd name="T15" fmla="*/ 392 h 525"/>
                  <a:gd name="T16" fmla="*/ 200 w 506"/>
                  <a:gd name="T17" fmla="*/ 376 h 525"/>
                  <a:gd name="T18" fmla="*/ 179 w 506"/>
                  <a:gd name="T19" fmla="*/ 525 h 525"/>
                  <a:gd name="T20" fmla="*/ 72 w 506"/>
                  <a:gd name="T21" fmla="*/ 510 h 525"/>
                  <a:gd name="T22" fmla="*/ 44 w 506"/>
                  <a:gd name="T23" fmla="*/ 439 h 525"/>
                  <a:gd name="T24" fmla="*/ 72 w 506"/>
                  <a:gd name="T25" fmla="*/ 392 h 525"/>
                  <a:gd name="T26" fmla="*/ 57 w 506"/>
                  <a:gd name="T27" fmla="*/ 382 h 525"/>
                  <a:gd name="T28" fmla="*/ 18 w 506"/>
                  <a:gd name="T29" fmla="*/ 161 h 525"/>
                  <a:gd name="T30" fmla="*/ 56 w 506"/>
                  <a:gd name="T31" fmla="*/ 144 h 525"/>
                  <a:gd name="T32" fmla="*/ 0 w 506"/>
                  <a:gd name="T33" fmla="*/ 21 h 525"/>
                  <a:gd name="T34" fmla="*/ 92 w 506"/>
                  <a:gd name="T35" fmla="*/ 21 h 525"/>
                  <a:gd name="T36" fmla="*/ 403 w 506"/>
                  <a:gd name="T37" fmla="*/ 82 h 525"/>
                  <a:gd name="T38" fmla="*/ 457 w 506"/>
                  <a:gd name="T39" fmla="*/ 0 h 525"/>
                  <a:gd name="T40" fmla="*/ 461 w 506"/>
                  <a:gd name="T41" fmla="*/ 82 h 525"/>
                  <a:gd name="T42" fmla="*/ 455 w 506"/>
                  <a:gd name="T43" fmla="*/ 24 h 525"/>
                  <a:gd name="T44" fmla="*/ 435 w 506"/>
                  <a:gd name="T45" fmla="*/ 82 h 525"/>
                  <a:gd name="T46" fmla="*/ 454 w 506"/>
                  <a:gd name="T47" fmla="*/ 127 h 525"/>
                  <a:gd name="T48" fmla="*/ 49 w 506"/>
                  <a:gd name="T49" fmla="*/ 112 h 525"/>
                  <a:gd name="T50" fmla="*/ 78 w 506"/>
                  <a:gd name="T51" fmla="*/ 127 h 525"/>
                  <a:gd name="T52" fmla="*/ 81 w 506"/>
                  <a:gd name="T53" fmla="*/ 161 h 525"/>
                  <a:gd name="T54" fmla="*/ 426 w 506"/>
                  <a:gd name="T55" fmla="*/ 145 h 525"/>
                  <a:gd name="T56" fmla="*/ 454 w 506"/>
                  <a:gd name="T57" fmla="*/ 127 h 525"/>
                  <a:gd name="T58" fmla="*/ 450 w 506"/>
                  <a:gd name="T59" fmla="*/ 178 h 525"/>
                  <a:gd name="T60" fmla="*/ 65 w 506"/>
                  <a:gd name="T61" fmla="*/ 335 h 525"/>
                  <a:gd name="T62" fmla="*/ 421 w 506"/>
                  <a:gd name="T63" fmla="*/ 349 h 525"/>
                  <a:gd name="T64" fmla="*/ 398 w 506"/>
                  <a:gd name="T65" fmla="*/ 490 h 525"/>
                  <a:gd name="T66" fmla="*/ 356 w 506"/>
                  <a:gd name="T67" fmla="*/ 371 h 525"/>
                  <a:gd name="T68" fmla="*/ 389 w 506"/>
                  <a:gd name="T69" fmla="*/ 496 h 525"/>
                  <a:gd name="T70" fmla="*/ 150 w 506"/>
                  <a:gd name="T71" fmla="*/ 496 h 525"/>
                  <a:gd name="T72" fmla="*/ 108 w 506"/>
                  <a:gd name="T73" fmla="*/ 371 h 525"/>
                  <a:gd name="T74" fmla="*/ 117 w 506"/>
                  <a:gd name="T75" fmla="*/ 496 h 525"/>
                  <a:gd name="T76" fmla="*/ 71 w 506"/>
                  <a:gd name="T77" fmla="*/ 82 h 525"/>
                  <a:gd name="T78" fmla="*/ 51 w 506"/>
                  <a:gd name="T79" fmla="*/ 24 h 525"/>
                  <a:gd name="T80" fmla="*/ 45 w 506"/>
                  <a:gd name="T81" fmla="*/ 82 h 5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506" h="525">
                    <a:moveTo>
                      <a:pt x="506" y="21"/>
                    </a:moveTo>
                    <a:cubicBezTo>
                      <a:pt x="488" y="144"/>
                      <a:pt x="488" y="144"/>
                      <a:pt x="488" y="144"/>
                    </a:cubicBezTo>
                    <a:cubicBezTo>
                      <a:pt x="450" y="144"/>
                      <a:pt x="450" y="144"/>
                      <a:pt x="450" y="144"/>
                    </a:cubicBezTo>
                    <a:cubicBezTo>
                      <a:pt x="449" y="161"/>
                      <a:pt x="449" y="161"/>
                      <a:pt x="449" y="161"/>
                    </a:cubicBezTo>
                    <a:cubicBezTo>
                      <a:pt x="488" y="161"/>
                      <a:pt x="488" y="161"/>
                      <a:pt x="488" y="161"/>
                    </a:cubicBezTo>
                    <a:cubicBezTo>
                      <a:pt x="473" y="361"/>
                      <a:pt x="473" y="361"/>
                      <a:pt x="473" y="361"/>
                    </a:cubicBezTo>
                    <a:cubicBezTo>
                      <a:pt x="473" y="372"/>
                      <a:pt x="462" y="382"/>
                      <a:pt x="450" y="382"/>
                    </a:cubicBezTo>
                    <a:cubicBezTo>
                      <a:pt x="434" y="382"/>
                      <a:pt x="434" y="382"/>
                      <a:pt x="434" y="382"/>
                    </a:cubicBezTo>
                    <a:cubicBezTo>
                      <a:pt x="434" y="392"/>
                      <a:pt x="434" y="392"/>
                      <a:pt x="434" y="392"/>
                    </a:cubicBezTo>
                    <a:cubicBezTo>
                      <a:pt x="463" y="392"/>
                      <a:pt x="463" y="392"/>
                      <a:pt x="463" y="392"/>
                    </a:cubicBezTo>
                    <a:cubicBezTo>
                      <a:pt x="463" y="439"/>
                      <a:pt x="463" y="439"/>
                      <a:pt x="463" y="439"/>
                    </a:cubicBezTo>
                    <a:cubicBezTo>
                      <a:pt x="463" y="448"/>
                      <a:pt x="450" y="455"/>
                      <a:pt x="434" y="455"/>
                    </a:cubicBezTo>
                    <a:cubicBezTo>
                      <a:pt x="434" y="510"/>
                      <a:pt x="434" y="510"/>
                      <a:pt x="434" y="510"/>
                    </a:cubicBezTo>
                    <a:cubicBezTo>
                      <a:pt x="434" y="518"/>
                      <a:pt x="427" y="525"/>
                      <a:pt x="418" y="525"/>
                    </a:cubicBezTo>
                    <a:cubicBezTo>
                      <a:pt x="328" y="525"/>
                      <a:pt x="328" y="525"/>
                      <a:pt x="328" y="525"/>
                    </a:cubicBezTo>
                    <a:cubicBezTo>
                      <a:pt x="328" y="392"/>
                      <a:pt x="328" y="392"/>
                      <a:pt x="328" y="392"/>
                    </a:cubicBezTo>
                    <a:cubicBezTo>
                      <a:pt x="328" y="383"/>
                      <a:pt x="318" y="376"/>
                      <a:pt x="307" y="376"/>
                    </a:cubicBezTo>
                    <a:cubicBezTo>
                      <a:pt x="200" y="376"/>
                      <a:pt x="200" y="376"/>
                      <a:pt x="200" y="376"/>
                    </a:cubicBezTo>
                    <a:cubicBezTo>
                      <a:pt x="188" y="376"/>
                      <a:pt x="179" y="383"/>
                      <a:pt x="179" y="392"/>
                    </a:cubicBezTo>
                    <a:cubicBezTo>
                      <a:pt x="179" y="525"/>
                      <a:pt x="179" y="525"/>
                      <a:pt x="179" y="525"/>
                    </a:cubicBezTo>
                    <a:cubicBezTo>
                      <a:pt x="89" y="525"/>
                      <a:pt x="89" y="525"/>
                      <a:pt x="89" y="525"/>
                    </a:cubicBezTo>
                    <a:cubicBezTo>
                      <a:pt x="80" y="525"/>
                      <a:pt x="72" y="518"/>
                      <a:pt x="72" y="510"/>
                    </a:cubicBezTo>
                    <a:cubicBezTo>
                      <a:pt x="72" y="455"/>
                      <a:pt x="72" y="455"/>
                      <a:pt x="72" y="455"/>
                    </a:cubicBezTo>
                    <a:cubicBezTo>
                      <a:pt x="56" y="455"/>
                      <a:pt x="44" y="448"/>
                      <a:pt x="44" y="439"/>
                    </a:cubicBezTo>
                    <a:cubicBezTo>
                      <a:pt x="44" y="392"/>
                      <a:pt x="44" y="392"/>
                      <a:pt x="44" y="392"/>
                    </a:cubicBezTo>
                    <a:cubicBezTo>
                      <a:pt x="72" y="392"/>
                      <a:pt x="72" y="392"/>
                      <a:pt x="72" y="392"/>
                    </a:cubicBezTo>
                    <a:cubicBezTo>
                      <a:pt x="72" y="382"/>
                      <a:pt x="72" y="382"/>
                      <a:pt x="72" y="382"/>
                    </a:cubicBezTo>
                    <a:cubicBezTo>
                      <a:pt x="57" y="382"/>
                      <a:pt x="57" y="382"/>
                      <a:pt x="57" y="382"/>
                    </a:cubicBezTo>
                    <a:cubicBezTo>
                      <a:pt x="44" y="382"/>
                      <a:pt x="34" y="372"/>
                      <a:pt x="34" y="361"/>
                    </a:cubicBezTo>
                    <a:cubicBezTo>
                      <a:pt x="18" y="161"/>
                      <a:pt x="18" y="161"/>
                      <a:pt x="18" y="161"/>
                    </a:cubicBezTo>
                    <a:cubicBezTo>
                      <a:pt x="58" y="161"/>
                      <a:pt x="58" y="161"/>
                      <a:pt x="58" y="161"/>
                    </a:cubicBezTo>
                    <a:cubicBezTo>
                      <a:pt x="56" y="144"/>
                      <a:pt x="56" y="144"/>
                      <a:pt x="56" y="144"/>
                    </a:cubicBezTo>
                    <a:cubicBezTo>
                      <a:pt x="18" y="144"/>
                      <a:pt x="18" y="144"/>
                      <a:pt x="18" y="144"/>
                    </a:cubicBezTo>
                    <a:cubicBezTo>
                      <a:pt x="0" y="21"/>
                      <a:pt x="0" y="21"/>
                      <a:pt x="0" y="21"/>
                    </a:cubicBezTo>
                    <a:cubicBezTo>
                      <a:pt x="2" y="7"/>
                      <a:pt x="31" y="0"/>
                      <a:pt x="49" y="0"/>
                    </a:cubicBezTo>
                    <a:cubicBezTo>
                      <a:pt x="73" y="0"/>
                      <a:pt x="80" y="3"/>
                      <a:pt x="92" y="21"/>
                    </a:cubicBezTo>
                    <a:cubicBezTo>
                      <a:pt x="103" y="82"/>
                      <a:pt x="103" y="82"/>
                      <a:pt x="103" y="82"/>
                    </a:cubicBezTo>
                    <a:cubicBezTo>
                      <a:pt x="403" y="82"/>
                      <a:pt x="403" y="82"/>
                      <a:pt x="403" y="82"/>
                    </a:cubicBezTo>
                    <a:cubicBezTo>
                      <a:pt x="415" y="21"/>
                      <a:pt x="415" y="21"/>
                      <a:pt x="415" y="21"/>
                    </a:cubicBezTo>
                    <a:cubicBezTo>
                      <a:pt x="426" y="3"/>
                      <a:pt x="433" y="0"/>
                      <a:pt x="457" y="0"/>
                    </a:cubicBezTo>
                    <a:cubicBezTo>
                      <a:pt x="475" y="0"/>
                      <a:pt x="504" y="7"/>
                      <a:pt x="506" y="21"/>
                    </a:cubicBezTo>
                    <a:close/>
                    <a:moveTo>
                      <a:pt x="461" y="82"/>
                    </a:moveTo>
                    <a:cubicBezTo>
                      <a:pt x="469" y="32"/>
                      <a:pt x="469" y="32"/>
                      <a:pt x="469" y="32"/>
                    </a:cubicBezTo>
                    <a:cubicBezTo>
                      <a:pt x="469" y="24"/>
                      <a:pt x="463" y="24"/>
                      <a:pt x="455" y="24"/>
                    </a:cubicBezTo>
                    <a:cubicBezTo>
                      <a:pt x="450" y="24"/>
                      <a:pt x="447" y="26"/>
                      <a:pt x="445" y="32"/>
                    </a:cubicBezTo>
                    <a:cubicBezTo>
                      <a:pt x="435" y="82"/>
                      <a:pt x="435" y="82"/>
                      <a:pt x="435" y="82"/>
                    </a:cubicBezTo>
                    <a:lnTo>
                      <a:pt x="461" y="82"/>
                    </a:lnTo>
                    <a:close/>
                    <a:moveTo>
                      <a:pt x="454" y="127"/>
                    </a:moveTo>
                    <a:cubicBezTo>
                      <a:pt x="457" y="112"/>
                      <a:pt x="457" y="112"/>
                      <a:pt x="457" y="112"/>
                    </a:cubicBezTo>
                    <a:cubicBezTo>
                      <a:pt x="49" y="112"/>
                      <a:pt x="49" y="112"/>
                      <a:pt x="49" y="112"/>
                    </a:cubicBezTo>
                    <a:cubicBezTo>
                      <a:pt x="52" y="127"/>
                      <a:pt x="52" y="127"/>
                      <a:pt x="52" y="127"/>
                    </a:cubicBezTo>
                    <a:cubicBezTo>
                      <a:pt x="78" y="127"/>
                      <a:pt x="78" y="127"/>
                      <a:pt x="78" y="127"/>
                    </a:cubicBezTo>
                    <a:cubicBezTo>
                      <a:pt x="80" y="145"/>
                      <a:pt x="80" y="145"/>
                      <a:pt x="80" y="145"/>
                    </a:cubicBezTo>
                    <a:cubicBezTo>
                      <a:pt x="81" y="161"/>
                      <a:pt x="81" y="161"/>
                      <a:pt x="81" y="161"/>
                    </a:cubicBezTo>
                    <a:cubicBezTo>
                      <a:pt x="425" y="161"/>
                      <a:pt x="425" y="161"/>
                      <a:pt x="425" y="161"/>
                    </a:cubicBezTo>
                    <a:cubicBezTo>
                      <a:pt x="426" y="145"/>
                      <a:pt x="426" y="145"/>
                      <a:pt x="426" y="145"/>
                    </a:cubicBezTo>
                    <a:cubicBezTo>
                      <a:pt x="428" y="127"/>
                      <a:pt x="428" y="127"/>
                      <a:pt x="428" y="127"/>
                    </a:cubicBezTo>
                    <a:lnTo>
                      <a:pt x="454" y="127"/>
                    </a:lnTo>
                    <a:close/>
                    <a:moveTo>
                      <a:pt x="441" y="335"/>
                    </a:moveTo>
                    <a:cubicBezTo>
                      <a:pt x="450" y="178"/>
                      <a:pt x="450" y="178"/>
                      <a:pt x="450" y="178"/>
                    </a:cubicBezTo>
                    <a:cubicBezTo>
                      <a:pt x="56" y="178"/>
                      <a:pt x="56" y="178"/>
                      <a:pt x="56" y="178"/>
                    </a:cubicBezTo>
                    <a:cubicBezTo>
                      <a:pt x="65" y="335"/>
                      <a:pt x="65" y="335"/>
                      <a:pt x="65" y="335"/>
                    </a:cubicBezTo>
                    <a:cubicBezTo>
                      <a:pt x="65" y="343"/>
                      <a:pt x="74" y="349"/>
                      <a:pt x="85" y="349"/>
                    </a:cubicBezTo>
                    <a:cubicBezTo>
                      <a:pt x="421" y="349"/>
                      <a:pt x="421" y="349"/>
                      <a:pt x="421" y="349"/>
                    </a:cubicBezTo>
                    <a:cubicBezTo>
                      <a:pt x="432" y="349"/>
                      <a:pt x="441" y="343"/>
                      <a:pt x="441" y="335"/>
                    </a:cubicBezTo>
                    <a:close/>
                    <a:moveTo>
                      <a:pt x="398" y="490"/>
                    </a:moveTo>
                    <a:cubicBezTo>
                      <a:pt x="398" y="371"/>
                      <a:pt x="398" y="371"/>
                      <a:pt x="398" y="371"/>
                    </a:cubicBezTo>
                    <a:cubicBezTo>
                      <a:pt x="356" y="371"/>
                      <a:pt x="356" y="371"/>
                      <a:pt x="356" y="371"/>
                    </a:cubicBezTo>
                    <a:cubicBezTo>
                      <a:pt x="356" y="496"/>
                      <a:pt x="356" y="496"/>
                      <a:pt x="356" y="496"/>
                    </a:cubicBezTo>
                    <a:cubicBezTo>
                      <a:pt x="389" y="496"/>
                      <a:pt x="389" y="496"/>
                      <a:pt x="389" y="496"/>
                    </a:cubicBezTo>
                    <a:cubicBezTo>
                      <a:pt x="394" y="496"/>
                      <a:pt x="398" y="496"/>
                      <a:pt x="398" y="490"/>
                    </a:cubicBezTo>
                    <a:close/>
                    <a:moveTo>
                      <a:pt x="150" y="496"/>
                    </a:moveTo>
                    <a:cubicBezTo>
                      <a:pt x="150" y="371"/>
                      <a:pt x="150" y="371"/>
                      <a:pt x="150" y="371"/>
                    </a:cubicBezTo>
                    <a:cubicBezTo>
                      <a:pt x="108" y="371"/>
                      <a:pt x="108" y="371"/>
                      <a:pt x="108" y="371"/>
                    </a:cubicBezTo>
                    <a:cubicBezTo>
                      <a:pt x="108" y="490"/>
                      <a:pt x="108" y="490"/>
                      <a:pt x="108" y="490"/>
                    </a:cubicBezTo>
                    <a:cubicBezTo>
                      <a:pt x="108" y="496"/>
                      <a:pt x="112" y="496"/>
                      <a:pt x="117" y="496"/>
                    </a:cubicBezTo>
                    <a:lnTo>
                      <a:pt x="150" y="496"/>
                    </a:lnTo>
                    <a:close/>
                    <a:moveTo>
                      <a:pt x="71" y="82"/>
                    </a:moveTo>
                    <a:cubicBezTo>
                      <a:pt x="61" y="32"/>
                      <a:pt x="61" y="32"/>
                      <a:pt x="61" y="32"/>
                    </a:cubicBezTo>
                    <a:cubicBezTo>
                      <a:pt x="60" y="26"/>
                      <a:pt x="57" y="24"/>
                      <a:pt x="51" y="24"/>
                    </a:cubicBezTo>
                    <a:cubicBezTo>
                      <a:pt x="43" y="24"/>
                      <a:pt x="37" y="24"/>
                      <a:pt x="37" y="32"/>
                    </a:cubicBezTo>
                    <a:cubicBezTo>
                      <a:pt x="45" y="82"/>
                      <a:pt x="45" y="82"/>
                      <a:pt x="45" y="82"/>
                    </a:cubicBezTo>
                    <a:lnTo>
                      <a:pt x="71" y="8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69" name="í$ḻíde"/>
              <p:cNvSpPr/>
              <p:nvPr/>
            </p:nvSpPr>
            <p:spPr bwMode="auto">
              <a:xfrm>
                <a:off x="2144609" y="5142503"/>
                <a:ext cx="604838" cy="31750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</p:grpSp>
      </p:grpSp>
    </p:spTree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/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3" name="竖排文字占位符 2"/>
          <p:cNvSpPr/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zh-CN" altLang="en-US"/>
          </a:p>
        </p:txBody>
      </p:sp>
      <p:sp>
        <p:nvSpPr>
          <p:cNvPr id="4" name="日期占位符 3"/>
          <p:cNvSpPr/>
          <p:nvPr>
            <p:ph type="dt" sz="half" idx="10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5" name="页脚占位符 4"/>
          <p:cNvSpPr/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/>
          <p:nvPr>
            <p:ph type="sldNum" sz="quarter" idx="12"/>
          </p:nvPr>
        </p:nvSpPr>
        <p:spPr/>
        <p:txBody>
          <a:bodyPr/>
          <a:lstStyle/>
          <a:p>
            <a:fld id="{FD62AE7F-91BC-46A8-923A-2FFE59703368}" type="slidenum">
              <a:rPr lang="en-US" altLang="zh-CN" smtClean="0"/>
            </a:fld>
            <a:endParaRPr lang="en-US" altLang="zh-CN"/>
          </a:p>
        </p:txBody>
      </p:sp>
    </p:spTree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垂直排列标题与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/>
          <p:cNvSpPr/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3" name="竖排文字占位符 2"/>
          <p:cNvSpPr/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zh-CN" altLang="en-US"/>
          </a:p>
        </p:txBody>
      </p:sp>
      <p:sp>
        <p:nvSpPr>
          <p:cNvPr id="4" name="日期占位符 3"/>
          <p:cNvSpPr/>
          <p:nvPr>
            <p:ph type="dt" sz="half" idx="10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5" name="页脚占位符 4"/>
          <p:cNvSpPr/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/>
          <p:nvPr>
            <p:ph type="sldNum" sz="quarter" idx="12"/>
          </p:nvPr>
        </p:nvSpPr>
        <p:spPr/>
        <p:txBody>
          <a:bodyPr/>
          <a:lstStyle/>
          <a:p>
            <a:fld id="{345A3E52-B309-4112-95D7-74EFCDBE49F7}" type="slidenum">
              <a:rPr lang="en-US" altLang="zh-CN" smtClean="0"/>
            </a:fld>
            <a:endParaRPr lang="en-US" altLang="zh-CN"/>
          </a:p>
        </p:txBody>
      </p:sp>
    </p:spTree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图片 16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796" b="7796"/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18" name="矩形 17"/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bg1">
              <a:alpha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350"/>
          </a:p>
        </p:txBody>
      </p:sp>
      <p:sp>
        <p:nvSpPr>
          <p:cNvPr id="128" name="矩形 127"/>
          <p:cNvSpPr/>
          <p:nvPr userDrawn="1"/>
        </p:nvSpPr>
        <p:spPr>
          <a:xfrm>
            <a:off x="9064520" y="319741"/>
            <a:ext cx="89822" cy="274912"/>
          </a:xfrm>
          <a:prstGeom prst="rect">
            <a:avLst/>
          </a:prstGeom>
          <a:gradFill flip="none" rotWithShape="1">
            <a:gsLst>
              <a:gs pos="0">
                <a:srgbClr val="A22B17">
                  <a:lumMod val="94000"/>
                  <a:lumOff val="6000"/>
                </a:srgbClr>
              </a:gs>
              <a:gs pos="100000">
                <a:srgbClr val="A22B17">
                  <a:alpha val="72000"/>
                  <a:lumMod val="85000"/>
                  <a:lumOff val="15000"/>
                </a:srgb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zh-CN" altLang="en-US" sz="1350"/>
          </a:p>
        </p:txBody>
      </p:sp>
      <p:grpSp>
        <p:nvGrpSpPr>
          <p:cNvPr id="242" name="组合 241"/>
          <p:cNvGrpSpPr/>
          <p:nvPr userDrawn="1"/>
        </p:nvGrpSpPr>
        <p:grpSpPr>
          <a:xfrm>
            <a:off x="6906260" y="225425"/>
            <a:ext cx="2011680" cy="453390"/>
            <a:chOff x="9721458" y="225521"/>
            <a:chExt cx="2169381" cy="453584"/>
          </a:xfrm>
        </p:grpSpPr>
        <p:sp>
          <p:nvSpPr>
            <p:cNvPr id="243" name="îS1îḋé"/>
            <p:cNvSpPr/>
            <p:nvPr/>
          </p:nvSpPr>
          <p:spPr bwMode="auto">
            <a:xfrm>
              <a:off x="9721458" y="225521"/>
              <a:ext cx="453179" cy="453584"/>
            </a:xfrm>
            <a:prstGeom prst="ellipse">
              <a:avLst/>
            </a:prstGeom>
            <a:noFill/>
            <a:ln w="15875" cap="flat">
              <a:solidFill>
                <a:srgbClr val="CA351C"/>
              </a:solidFill>
              <a:prstDash val="solid"/>
              <a:miter lim="800000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anchor="ctr"/>
            <a:lstStyle/>
            <a:p>
              <a:pPr algn="r"/>
              <a:endParaRPr sz="1350"/>
            </a:p>
          </p:txBody>
        </p:sp>
        <p:sp>
          <p:nvSpPr>
            <p:cNvPr id="244" name="îṣḷïďé"/>
            <p:cNvSpPr/>
            <p:nvPr/>
          </p:nvSpPr>
          <p:spPr bwMode="auto">
            <a:xfrm>
              <a:off x="9777346" y="281409"/>
              <a:ext cx="340998" cy="341403"/>
            </a:xfrm>
            <a:prstGeom prst="ellipse">
              <a:avLst/>
            </a:prstGeom>
            <a:noFill/>
            <a:ln w="9525" cap="flat">
              <a:solidFill>
                <a:srgbClr val="B8311A"/>
              </a:solidFill>
              <a:prstDash val="solid"/>
              <a:miter lim="800000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anchor="ctr"/>
            <a:lstStyle/>
            <a:p>
              <a:pPr algn="r"/>
              <a:endParaRPr sz="1350"/>
            </a:p>
          </p:txBody>
        </p:sp>
        <p:grpSp>
          <p:nvGrpSpPr>
            <p:cNvPr id="245" name="组合 244"/>
            <p:cNvGrpSpPr/>
            <p:nvPr userDrawn="1"/>
          </p:nvGrpSpPr>
          <p:grpSpPr>
            <a:xfrm>
              <a:off x="9742315" y="240303"/>
              <a:ext cx="411466" cy="424020"/>
              <a:chOff x="1641372" y="4491628"/>
              <a:chExt cx="1612900" cy="1662113"/>
            </a:xfrm>
            <a:solidFill>
              <a:srgbClr val="CA351C"/>
            </a:solidFill>
          </p:grpSpPr>
          <p:sp>
            <p:nvSpPr>
              <p:cNvPr id="298" name="ïś1íďê"/>
              <p:cNvSpPr/>
              <p:nvPr/>
            </p:nvSpPr>
            <p:spPr bwMode="auto">
              <a:xfrm>
                <a:off x="2889147" y="4701178"/>
                <a:ext cx="153988" cy="138113"/>
              </a:xfrm>
              <a:custGeom>
                <a:avLst/>
                <a:gdLst>
                  <a:gd name="T0" fmla="*/ 62 w 83"/>
                  <a:gd name="T1" fmla="*/ 8 h 75"/>
                  <a:gd name="T2" fmla="*/ 53 w 83"/>
                  <a:gd name="T3" fmla="*/ 10 h 75"/>
                  <a:gd name="T4" fmla="*/ 57 w 83"/>
                  <a:gd name="T5" fmla="*/ 0 h 75"/>
                  <a:gd name="T6" fmla="*/ 44 w 83"/>
                  <a:gd name="T7" fmla="*/ 21 h 75"/>
                  <a:gd name="T8" fmla="*/ 58 w 83"/>
                  <a:gd name="T9" fmla="*/ 11 h 75"/>
                  <a:gd name="T10" fmla="*/ 54 w 83"/>
                  <a:gd name="T11" fmla="*/ 18 h 75"/>
                  <a:gd name="T12" fmla="*/ 28 w 83"/>
                  <a:gd name="T13" fmla="*/ 18 h 75"/>
                  <a:gd name="T14" fmla="*/ 19 w 83"/>
                  <a:gd name="T15" fmla="*/ 17 h 75"/>
                  <a:gd name="T16" fmla="*/ 25 w 83"/>
                  <a:gd name="T17" fmla="*/ 12 h 75"/>
                  <a:gd name="T18" fmla="*/ 1 w 83"/>
                  <a:gd name="T19" fmla="*/ 30 h 75"/>
                  <a:gd name="T20" fmla="*/ 13 w 83"/>
                  <a:gd name="T21" fmla="*/ 24 h 75"/>
                  <a:gd name="T22" fmla="*/ 36 w 83"/>
                  <a:gd name="T23" fmla="*/ 28 h 75"/>
                  <a:gd name="T24" fmla="*/ 22 w 83"/>
                  <a:gd name="T25" fmla="*/ 35 h 75"/>
                  <a:gd name="T26" fmla="*/ 45 w 83"/>
                  <a:gd name="T27" fmla="*/ 41 h 75"/>
                  <a:gd name="T28" fmla="*/ 42 w 83"/>
                  <a:gd name="T29" fmla="*/ 41 h 75"/>
                  <a:gd name="T30" fmla="*/ 35 w 83"/>
                  <a:gd name="T31" fmla="*/ 40 h 75"/>
                  <a:gd name="T32" fmla="*/ 37 w 83"/>
                  <a:gd name="T33" fmla="*/ 45 h 75"/>
                  <a:gd name="T34" fmla="*/ 12 w 83"/>
                  <a:gd name="T35" fmla="*/ 34 h 75"/>
                  <a:gd name="T36" fmla="*/ 9 w 83"/>
                  <a:gd name="T37" fmla="*/ 35 h 75"/>
                  <a:gd name="T38" fmla="*/ 20 w 83"/>
                  <a:gd name="T39" fmla="*/ 64 h 75"/>
                  <a:gd name="T40" fmla="*/ 0 w 83"/>
                  <a:gd name="T41" fmla="*/ 57 h 75"/>
                  <a:gd name="T42" fmla="*/ 35 w 83"/>
                  <a:gd name="T43" fmla="*/ 58 h 75"/>
                  <a:gd name="T44" fmla="*/ 46 w 83"/>
                  <a:gd name="T45" fmla="*/ 57 h 75"/>
                  <a:gd name="T46" fmla="*/ 42 w 83"/>
                  <a:gd name="T47" fmla="*/ 48 h 75"/>
                  <a:gd name="T48" fmla="*/ 62 w 83"/>
                  <a:gd name="T49" fmla="*/ 57 h 75"/>
                  <a:gd name="T50" fmla="*/ 61 w 83"/>
                  <a:gd name="T51" fmla="*/ 35 h 75"/>
                  <a:gd name="T52" fmla="*/ 62 w 83"/>
                  <a:gd name="T53" fmla="*/ 34 h 75"/>
                  <a:gd name="T54" fmla="*/ 66 w 83"/>
                  <a:gd name="T55" fmla="*/ 16 h 75"/>
                  <a:gd name="T56" fmla="*/ 63 w 83"/>
                  <a:gd name="T57" fmla="*/ 44 h 75"/>
                  <a:gd name="T58" fmla="*/ 54 w 83"/>
                  <a:gd name="T59" fmla="*/ 32 h 75"/>
                  <a:gd name="T60" fmla="*/ 60 w 83"/>
                  <a:gd name="T61" fmla="*/ 27 h 75"/>
                  <a:gd name="T62" fmla="*/ 67 w 83"/>
                  <a:gd name="T63" fmla="*/ 18 h 75"/>
                  <a:gd name="T64" fmla="*/ 77 w 83"/>
                  <a:gd name="T65" fmla="*/ 23 h 75"/>
                  <a:gd name="T66" fmla="*/ 60 w 83"/>
                  <a:gd name="T67" fmla="*/ 27 h 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83" h="75">
                    <a:moveTo>
                      <a:pt x="66" y="16"/>
                    </a:moveTo>
                    <a:cubicBezTo>
                      <a:pt x="65" y="13"/>
                      <a:pt x="63" y="11"/>
                      <a:pt x="62" y="8"/>
                    </a:cubicBezTo>
                    <a:cubicBezTo>
                      <a:pt x="59" y="9"/>
                      <a:pt x="57" y="9"/>
                      <a:pt x="54" y="10"/>
                    </a:cubicBezTo>
                    <a:cubicBezTo>
                      <a:pt x="54" y="10"/>
                      <a:pt x="53" y="10"/>
                      <a:pt x="53" y="10"/>
                    </a:cubicBezTo>
                    <a:cubicBezTo>
                      <a:pt x="54" y="7"/>
                      <a:pt x="57" y="6"/>
                      <a:pt x="59" y="3"/>
                    </a:cubicBezTo>
                    <a:cubicBezTo>
                      <a:pt x="58" y="2"/>
                      <a:pt x="58" y="1"/>
                      <a:pt x="57" y="0"/>
                    </a:cubicBezTo>
                    <a:cubicBezTo>
                      <a:pt x="48" y="1"/>
                      <a:pt x="37" y="9"/>
                      <a:pt x="42" y="19"/>
                    </a:cubicBezTo>
                    <a:cubicBezTo>
                      <a:pt x="42" y="19"/>
                      <a:pt x="43" y="20"/>
                      <a:pt x="44" y="21"/>
                    </a:cubicBezTo>
                    <a:cubicBezTo>
                      <a:pt x="47" y="19"/>
                      <a:pt x="48" y="15"/>
                      <a:pt x="51" y="14"/>
                    </a:cubicBezTo>
                    <a:cubicBezTo>
                      <a:pt x="53" y="13"/>
                      <a:pt x="55" y="13"/>
                      <a:pt x="58" y="11"/>
                    </a:cubicBezTo>
                    <a:cubicBezTo>
                      <a:pt x="58" y="11"/>
                      <a:pt x="59" y="11"/>
                      <a:pt x="59" y="11"/>
                    </a:cubicBezTo>
                    <a:cubicBezTo>
                      <a:pt x="57" y="14"/>
                      <a:pt x="56" y="16"/>
                      <a:pt x="54" y="18"/>
                    </a:cubicBezTo>
                    <a:cubicBezTo>
                      <a:pt x="54" y="21"/>
                      <a:pt x="55" y="24"/>
                      <a:pt x="54" y="27"/>
                    </a:cubicBezTo>
                    <a:cubicBezTo>
                      <a:pt x="54" y="27"/>
                      <a:pt x="30" y="18"/>
                      <a:pt x="28" y="18"/>
                    </a:cubicBezTo>
                    <a:cubicBezTo>
                      <a:pt x="25" y="17"/>
                      <a:pt x="22" y="17"/>
                      <a:pt x="20" y="17"/>
                    </a:cubicBezTo>
                    <a:cubicBezTo>
                      <a:pt x="19" y="17"/>
                      <a:pt x="19" y="17"/>
                      <a:pt x="19" y="17"/>
                    </a:cubicBezTo>
                    <a:cubicBezTo>
                      <a:pt x="22" y="15"/>
                      <a:pt x="23" y="15"/>
                      <a:pt x="25" y="13"/>
                    </a:cubicBezTo>
                    <a:cubicBezTo>
                      <a:pt x="25" y="12"/>
                      <a:pt x="25" y="12"/>
                      <a:pt x="25" y="12"/>
                    </a:cubicBezTo>
                    <a:cubicBezTo>
                      <a:pt x="18" y="12"/>
                      <a:pt x="11" y="16"/>
                      <a:pt x="4" y="18"/>
                    </a:cubicBezTo>
                    <a:cubicBezTo>
                      <a:pt x="0" y="22"/>
                      <a:pt x="0" y="25"/>
                      <a:pt x="1" y="30"/>
                    </a:cubicBezTo>
                    <a:cubicBezTo>
                      <a:pt x="3" y="31"/>
                      <a:pt x="3" y="31"/>
                      <a:pt x="3" y="31"/>
                    </a:cubicBezTo>
                    <a:cubicBezTo>
                      <a:pt x="6" y="29"/>
                      <a:pt x="9" y="26"/>
                      <a:pt x="13" y="24"/>
                    </a:cubicBezTo>
                    <a:cubicBezTo>
                      <a:pt x="19" y="20"/>
                      <a:pt x="30" y="22"/>
                      <a:pt x="37" y="27"/>
                    </a:cubicBezTo>
                    <a:cubicBezTo>
                      <a:pt x="37" y="28"/>
                      <a:pt x="36" y="28"/>
                      <a:pt x="36" y="28"/>
                    </a:cubicBezTo>
                    <a:cubicBezTo>
                      <a:pt x="31" y="29"/>
                      <a:pt x="28" y="28"/>
                      <a:pt x="22" y="32"/>
                    </a:cubicBezTo>
                    <a:cubicBezTo>
                      <a:pt x="22" y="33"/>
                      <a:pt x="22" y="34"/>
                      <a:pt x="22" y="35"/>
                    </a:cubicBezTo>
                    <a:cubicBezTo>
                      <a:pt x="22" y="37"/>
                      <a:pt x="22" y="37"/>
                      <a:pt x="24" y="39"/>
                    </a:cubicBezTo>
                    <a:cubicBezTo>
                      <a:pt x="31" y="37"/>
                      <a:pt x="37" y="36"/>
                      <a:pt x="45" y="41"/>
                    </a:cubicBezTo>
                    <a:cubicBezTo>
                      <a:pt x="44" y="41"/>
                      <a:pt x="44" y="41"/>
                      <a:pt x="44" y="41"/>
                    </a:cubicBezTo>
                    <a:cubicBezTo>
                      <a:pt x="43" y="41"/>
                      <a:pt x="42" y="41"/>
                      <a:pt x="42" y="41"/>
                    </a:cubicBezTo>
                    <a:cubicBezTo>
                      <a:pt x="41" y="40"/>
                      <a:pt x="40" y="39"/>
                      <a:pt x="39" y="39"/>
                    </a:cubicBezTo>
                    <a:cubicBezTo>
                      <a:pt x="37" y="41"/>
                      <a:pt x="37" y="41"/>
                      <a:pt x="35" y="40"/>
                    </a:cubicBezTo>
                    <a:cubicBezTo>
                      <a:pt x="35" y="40"/>
                      <a:pt x="34" y="41"/>
                      <a:pt x="34" y="41"/>
                    </a:cubicBezTo>
                    <a:cubicBezTo>
                      <a:pt x="35" y="43"/>
                      <a:pt x="35" y="43"/>
                      <a:pt x="37" y="45"/>
                    </a:cubicBezTo>
                    <a:cubicBezTo>
                      <a:pt x="36" y="46"/>
                      <a:pt x="36" y="47"/>
                      <a:pt x="35" y="48"/>
                    </a:cubicBezTo>
                    <a:cubicBezTo>
                      <a:pt x="27" y="44"/>
                      <a:pt x="20" y="40"/>
                      <a:pt x="12" y="34"/>
                    </a:cubicBezTo>
                    <a:cubicBezTo>
                      <a:pt x="11" y="34"/>
                      <a:pt x="11" y="34"/>
                      <a:pt x="10" y="34"/>
                    </a:cubicBezTo>
                    <a:cubicBezTo>
                      <a:pt x="9" y="34"/>
                      <a:pt x="9" y="35"/>
                      <a:pt x="9" y="35"/>
                    </a:cubicBezTo>
                    <a:cubicBezTo>
                      <a:pt x="11" y="55"/>
                      <a:pt x="20" y="44"/>
                      <a:pt x="31" y="54"/>
                    </a:cubicBezTo>
                    <a:cubicBezTo>
                      <a:pt x="27" y="58"/>
                      <a:pt x="23" y="61"/>
                      <a:pt x="20" y="64"/>
                    </a:cubicBezTo>
                    <a:cubicBezTo>
                      <a:pt x="15" y="63"/>
                      <a:pt x="6" y="55"/>
                      <a:pt x="1" y="56"/>
                    </a:cubicBezTo>
                    <a:cubicBezTo>
                      <a:pt x="1" y="56"/>
                      <a:pt x="1" y="56"/>
                      <a:pt x="0" y="57"/>
                    </a:cubicBezTo>
                    <a:cubicBezTo>
                      <a:pt x="2" y="62"/>
                      <a:pt x="7" y="67"/>
                      <a:pt x="9" y="72"/>
                    </a:cubicBezTo>
                    <a:cubicBezTo>
                      <a:pt x="17" y="75"/>
                      <a:pt x="26" y="66"/>
                      <a:pt x="35" y="58"/>
                    </a:cubicBezTo>
                    <a:cubicBezTo>
                      <a:pt x="37" y="60"/>
                      <a:pt x="39" y="63"/>
                      <a:pt x="42" y="65"/>
                    </a:cubicBezTo>
                    <a:cubicBezTo>
                      <a:pt x="46" y="63"/>
                      <a:pt x="46" y="60"/>
                      <a:pt x="46" y="57"/>
                    </a:cubicBezTo>
                    <a:cubicBezTo>
                      <a:pt x="45" y="54"/>
                      <a:pt x="43" y="53"/>
                      <a:pt x="40" y="50"/>
                    </a:cubicBezTo>
                    <a:cubicBezTo>
                      <a:pt x="41" y="49"/>
                      <a:pt x="42" y="48"/>
                      <a:pt x="42" y="48"/>
                    </a:cubicBezTo>
                    <a:cubicBezTo>
                      <a:pt x="46" y="48"/>
                      <a:pt x="49" y="48"/>
                      <a:pt x="53" y="46"/>
                    </a:cubicBezTo>
                    <a:cubicBezTo>
                      <a:pt x="56" y="49"/>
                      <a:pt x="59" y="53"/>
                      <a:pt x="62" y="57"/>
                    </a:cubicBezTo>
                    <a:cubicBezTo>
                      <a:pt x="65" y="56"/>
                      <a:pt x="68" y="55"/>
                      <a:pt x="70" y="52"/>
                    </a:cubicBezTo>
                    <a:cubicBezTo>
                      <a:pt x="72" y="47"/>
                      <a:pt x="66" y="40"/>
                      <a:pt x="61" y="35"/>
                    </a:cubicBezTo>
                    <a:cubicBezTo>
                      <a:pt x="61" y="35"/>
                      <a:pt x="61" y="35"/>
                      <a:pt x="61" y="35"/>
                    </a:cubicBezTo>
                    <a:cubicBezTo>
                      <a:pt x="62" y="34"/>
                      <a:pt x="62" y="34"/>
                      <a:pt x="62" y="34"/>
                    </a:cubicBezTo>
                    <a:cubicBezTo>
                      <a:pt x="69" y="34"/>
                      <a:pt x="72" y="37"/>
                      <a:pt x="79" y="32"/>
                    </a:cubicBezTo>
                    <a:cubicBezTo>
                      <a:pt x="83" y="17"/>
                      <a:pt x="74" y="21"/>
                      <a:pt x="66" y="16"/>
                    </a:cubicBezTo>
                    <a:close/>
                    <a:moveTo>
                      <a:pt x="63" y="44"/>
                    </a:moveTo>
                    <a:cubicBezTo>
                      <a:pt x="63" y="44"/>
                      <a:pt x="63" y="44"/>
                      <a:pt x="63" y="44"/>
                    </a:cubicBezTo>
                    <a:cubicBezTo>
                      <a:pt x="55" y="42"/>
                      <a:pt x="46" y="34"/>
                      <a:pt x="38" y="32"/>
                    </a:cubicBezTo>
                    <a:cubicBezTo>
                      <a:pt x="43" y="28"/>
                      <a:pt x="48" y="31"/>
                      <a:pt x="54" y="32"/>
                    </a:cubicBezTo>
                    <a:cubicBezTo>
                      <a:pt x="57" y="36"/>
                      <a:pt x="60" y="40"/>
                      <a:pt x="63" y="44"/>
                    </a:cubicBezTo>
                    <a:close/>
                    <a:moveTo>
                      <a:pt x="60" y="27"/>
                    </a:moveTo>
                    <a:cubicBezTo>
                      <a:pt x="60" y="27"/>
                      <a:pt x="60" y="26"/>
                      <a:pt x="59" y="26"/>
                    </a:cubicBezTo>
                    <a:cubicBezTo>
                      <a:pt x="61" y="23"/>
                      <a:pt x="63" y="20"/>
                      <a:pt x="67" y="18"/>
                    </a:cubicBezTo>
                    <a:cubicBezTo>
                      <a:pt x="69" y="19"/>
                      <a:pt x="71" y="19"/>
                      <a:pt x="74" y="20"/>
                    </a:cubicBezTo>
                    <a:cubicBezTo>
                      <a:pt x="75" y="21"/>
                      <a:pt x="76" y="22"/>
                      <a:pt x="77" y="23"/>
                    </a:cubicBezTo>
                    <a:cubicBezTo>
                      <a:pt x="77" y="24"/>
                      <a:pt x="77" y="24"/>
                      <a:pt x="77" y="25"/>
                    </a:cubicBezTo>
                    <a:cubicBezTo>
                      <a:pt x="72" y="29"/>
                      <a:pt x="66" y="27"/>
                      <a:pt x="60" y="2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299" name="ïṩḻîḓé"/>
              <p:cNvSpPr/>
              <p:nvPr/>
            </p:nvSpPr>
            <p:spPr bwMode="auto">
              <a:xfrm>
                <a:off x="2728809" y="4582115"/>
                <a:ext cx="101600" cy="147638"/>
              </a:xfrm>
              <a:custGeom>
                <a:avLst/>
                <a:gdLst>
                  <a:gd name="T0" fmla="*/ 47 w 55"/>
                  <a:gd name="T1" fmla="*/ 0 h 80"/>
                  <a:gd name="T2" fmla="*/ 49 w 55"/>
                  <a:gd name="T3" fmla="*/ 20 h 80"/>
                  <a:gd name="T4" fmla="*/ 51 w 55"/>
                  <a:gd name="T5" fmla="*/ 34 h 80"/>
                  <a:gd name="T6" fmla="*/ 28 w 55"/>
                  <a:gd name="T7" fmla="*/ 38 h 80"/>
                  <a:gd name="T8" fmla="*/ 41 w 55"/>
                  <a:gd name="T9" fmla="*/ 68 h 80"/>
                  <a:gd name="T10" fmla="*/ 25 w 55"/>
                  <a:gd name="T11" fmla="*/ 74 h 80"/>
                  <a:gd name="T12" fmla="*/ 26 w 55"/>
                  <a:gd name="T13" fmla="*/ 39 h 80"/>
                  <a:gd name="T14" fmla="*/ 23 w 55"/>
                  <a:gd name="T15" fmla="*/ 40 h 80"/>
                  <a:gd name="T16" fmla="*/ 7 w 55"/>
                  <a:gd name="T17" fmla="*/ 54 h 80"/>
                  <a:gd name="T18" fmla="*/ 0 w 55"/>
                  <a:gd name="T19" fmla="*/ 43 h 80"/>
                  <a:gd name="T20" fmla="*/ 14 w 55"/>
                  <a:gd name="T21" fmla="*/ 28 h 80"/>
                  <a:gd name="T22" fmla="*/ 6 w 55"/>
                  <a:gd name="T23" fmla="*/ 15 h 80"/>
                  <a:gd name="T24" fmla="*/ 7 w 55"/>
                  <a:gd name="T25" fmla="*/ 15 h 80"/>
                  <a:gd name="T26" fmla="*/ 26 w 55"/>
                  <a:gd name="T27" fmla="*/ 18 h 80"/>
                  <a:gd name="T28" fmla="*/ 47 w 55"/>
                  <a:gd name="T29" fmla="*/ 0 h 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55" h="80">
                    <a:moveTo>
                      <a:pt x="47" y="0"/>
                    </a:moveTo>
                    <a:cubicBezTo>
                      <a:pt x="55" y="7"/>
                      <a:pt x="49" y="11"/>
                      <a:pt x="49" y="20"/>
                    </a:cubicBezTo>
                    <a:cubicBezTo>
                      <a:pt x="49" y="25"/>
                      <a:pt x="55" y="25"/>
                      <a:pt x="51" y="34"/>
                    </a:cubicBezTo>
                    <a:cubicBezTo>
                      <a:pt x="44" y="37"/>
                      <a:pt x="34" y="32"/>
                      <a:pt x="28" y="38"/>
                    </a:cubicBezTo>
                    <a:cubicBezTo>
                      <a:pt x="38" y="44"/>
                      <a:pt x="45" y="59"/>
                      <a:pt x="41" y="68"/>
                    </a:cubicBezTo>
                    <a:cubicBezTo>
                      <a:pt x="39" y="74"/>
                      <a:pt x="28" y="80"/>
                      <a:pt x="25" y="74"/>
                    </a:cubicBezTo>
                    <a:cubicBezTo>
                      <a:pt x="19" y="62"/>
                      <a:pt x="39" y="55"/>
                      <a:pt x="26" y="39"/>
                    </a:cubicBezTo>
                    <a:cubicBezTo>
                      <a:pt x="25" y="39"/>
                      <a:pt x="25" y="39"/>
                      <a:pt x="23" y="40"/>
                    </a:cubicBezTo>
                    <a:cubicBezTo>
                      <a:pt x="17" y="44"/>
                      <a:pt x="14" y="52"/>
                      <a:pt x="7" y="54"/>
                    </a:cubicBezTo>
                    <a:cubicBezTo>
                      <a:pt x="2" y="51"/>
                      <a:pt x="2" y="48"/>
                      <a:pt x="0" y="43"/>
                    </a:cubicBezTo>
                    <a:cubicBezTo>
                      <a:pt x="3" y="39"/>
                      <a:pt x="14" y="30"/>
                      <a:pt x="14" y="28"/>
                    </a:cubicBezTo>
                    <a:cubicBezTo>
                      <a:pt x="14" y="25"/>
                      <a:pt x="7" y="19"/>
                      <a:pt x="6" y="15"/>
                    </a:cubicBezTo>
                    <a:cubicBezTo>
                      <a:pt x="6" y="15"/>
                      <a:pt x="7" y="15"/>
                      <a:pt x="7" y="15"/>
                    </a:cubicBezTo>
                    <a:cubicBezTo>
                      <a:pt x="13" y="15"/>
                      <a:pt x="20" y="18"/>
                      <a:pt x="26" y="18"/>
                    </a:cubicBezTo>
                    <a:cubicBezTo>
                      <a:pt x="34" y="17"/>
                      <a:pt x="41" y="5"/>
                      <a:pt x="47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300" name="išḷïḓe"/>
              <p:cNvSpPr/>
              <p:nvPr/>
            </p:nvSpPr>
            <p:spPr bwMode="auto">
              <a:xfrm>
                <a:off x="2490684" y="4510678"/>
                <a:ext cx="144463" cy="160338"/>
              </a:xfrm>
              <a:custGeom>
                <a:avLst/>
                <a:gdLst>
                  <a:gd name="T0" fmla="*/ 55 w 78"/>
                  <a:gd name="T1" fmla="*/ 64 h 87"/>
                  <a:gd name="T2" fmla="*/ 62 w 78"/>
                  <a:gd name="T3" fmla="*/ 50 h 87"/>
                  <a:gd name="T4" fmla="*/ 54 w 78"/>
                  <a:gd name="T5" fmla="*/ 43 h 87"/>
                  <a:gd name="T6" fmla="*/ 69 w 78"/>
                  <a:gd name="T7" fmla="*/ 29 h 87"/>
                  <a:gd name="T8" fmla="*/ 67 w 78"/>
                  <a:gd name="T9" fmla="*/ 21 h 87"/>
                  <a:gd name="T10" fmla="*/ 70 w 78"/>
                  <a:gd name="T11" fmla="*/ 11 h 87"/>
                  <a:gd name="T12" fmla="*/ 69 w 78"/>
                  <a:gd name="T13" fmla="*/ 3 h 87"/>
                  <a:gd name="T14" fmla="*/ 64 w 78"/>
                  <a:gd name="T15" fmla="*/ 0 h 87"/>
                  <a:gd name="T16" fmla="*/ 63 w 78"/>
                  <a:gd name="T17" fmla="*/ 0 h 87"/>
                  <a:gd name="T18" fmla="*/ 63 w 78"/>
                  <a:gd name="T19" fmla="*/ 12 h 87"/>
                  <a:gd name="T20" fmla="*/ 42 w 78"/>
                  <a:gd name="T21" fmla="*/ 25 h 87"/>
                  <a:gd name="T22" fmla="*/ 42 w 78"/>
                  <a:gd name="T23" fmla="*/ 33 h 87"/>
                  <a:gd name="T24" fmla="*/ 33 w 78"/>
                  <a:gd name="T25" fmla="*/ 36 h 87"/>
                  <a:gd name="T26" fmla="*/ 39 w 78"/>
                  <a:gd name="T27" fmla="*/ 33 h 87"/>
                  <a:gd name="T28" fmla="*/ 39 w 78"/>
                  <a:gd name="T29" fmla="*/ 23 h 87"/>
                  <a:gd name="T30" fmla="*/ 36 w 78"/>
                  <a:gd name="T31" fmla="*/ 0 h 87"/>
                  <a:gd name="T32" fmla="*/ 36 w 78"/>
                  <a:gd name="T33" fmla="*/ 0 h 87"/>
                  <a:gd name="T34" fmla="*/ 36 w 78"/>
                  <a:gd name="T35" fmla="*/ 8 h 87"/>
                  <a:gd name="T36" fmla="*/ 30 w 78"/>
                  <a:gd name="T37" fmla="*/ 24 h 87"/>
                  <a:gd name="T38" fmla="*/ 1 w 78"/>
                  <a:gd name="T39" fmla="*/ 29 h 87"/>
                  <a:gd name="T40" fmla="*/ 0 w 78"/>
                  <a:gd name="T41" fmla="*/ 31 h 87"/>
                  <a:gd name="T42" fmla="*/ 18 w 78"/>
                  <a:gd name="T43" fmla="*/ 39 h 87"/>
                  <a:gd name="T44" fmla="*/ 25 w 78"/>
                  <a:gd name="T45" fmla="*/ 36 h 87"/>
                  <a:gd name="T46" fmla="*/ 25 w 78"/>
                  <a:gd name="T47" fmla="*/ 36 h 87"/>
                  <a:gd name="T48" fmla="*/ 3 w 78"/>
                  <a:gd name="T49" fmla="*/ 62 h 87"/>
                  <a:gd name="T50" fmla="*/ 5 w 78"/>
                  <a:gd name="T51" fmla="*/ 67 h 87"/>
                  <a:gd name="T52" fmla="*/ 12 w 78"/>
                  <a:gd name="T53" fmla="*/ 66 h 87"/>
                  <a:gd name="T54" fmla="*/ 22 w 78"/>
                  <a:gd name="T55" fmla="*/ 74 h 87"/>
                  <a:gd name="T56" fmla="*/ 25 w 78"/>
                  <a:gd name="T57" fmla="*/ 61 h 87"/>
                  <a:gd name="T58" fmla="*/ 30 w 78"/>
                  <a:gd name="T59" fmla="*/ 49 h 87"/>
                  <a:gd name="T60" fmla="*/ 48 w 78"/>
                  <a:gd name="T61" fmla="*/ 63 h 87"/>
                  <a:gd name="T62" fmla="*/ 24 w 78"/>
                  <a:gd name="T63" fmla="*/ 71 h 87"/>
                  <a:gd name="T64" fmla="*/ 48 w 78"/>
                  <a:gd name="T65" fmla="*/ 71 h 87"/>
                  <a:gd name="T66" fmla="*/ 51 w 78"/>
                  <a:gd name="T67" fmla="*/ 69 h 87"/>
                  <a:gd name="T68" fmla="*/ 77 w 78"/>
                  <a:gd name="T69" fmla="*/ 87 h 87"/>
                  <a:gd name="T70" fmla="*/ 78 w 78"/>
                  <a:gd name="T71" fmla="*/ 86 h 87"/>
                  <a:gd name="T72" fmla="*/ 55 w 78"/>
                  <a:gd name="T73" fmla="*/ 64 h 87"/>
                  <a:gd name="T74" fmla="*/ 15 w 78"/>
                  <a:gd name="T75" fmla="*/ 64 h 87"/>
                  <a:gd name="T76" fmla="*/ 15 w 78"/>
                  <a:gd name="T77" fmla="*/ 65 h 87"/>
                  <a:gd name="T78" fmla="*/ 11 w 78"/>
                  <a:gd name="T79" fmla="*/ 63 h 87"/>
                  <a:gd name="T80" fmla="*/ 12 w 78"/>
                  <a:gd name="T81" fmla="*/ 60 h 87"/>
                  <a:gd name="T82" fmla="*/ 15 w 78"/>
                  <a:gd name="T83" fmla="*/ 57 h 87"/>
                  <a:gd name="T84" fmla="*/ 17 w 78"/>
                  <a:gd name="T85" fmla="*/ 58 h 87"/>
                  <a:gd name="T86" fmla="*/ 15 w 78"/>
                  <a:gd name="T87" fmla="*/ 64 h 87"/>
                  <a:gd name="T88" fmla="*/ 32 w 78"/>
                  <a:gd name="T89" fmla="*/ 46 h 87"/>
                  <a:gd name="T90" fmla="*/ 44 w 78"/>
                  <a:gd name="T91" fmla="*/ 34 h 87"/>
                  <a:gd name="T92" fmla="*/ 52 w 78"/>
                  <a:gd name="T93" fmla="*/ 35 h 87"/>
                  <a:gd name="T94" fmla="*/ 46 w 78"/>
                  <a:gd name="T95" fmla="*/ 50 h 87"/>
                  <a:gd name="T96" fmla="*/ 48 w 78"/>
                  <a:gd name="T97" fmla="*/ 52 h 87"/>
                  <a:gd name="T98" fmla="*/ 56 w 78"/>
                  <a:gd name="T99" fmla="*/ 50 h 87"/>
                  <a:gd name="T100" fmla="*/ 52 w 78"/>
                  <a:gd name="T101" fmla="*/ 61 h 87"/>
                  <a:gd name="T102" fmla="*/ 32 w 78"/>
                  <a:gd name="T103" fmla="*/ 46 h 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78" h="87">
                    <a:moveTo>
                      <a:pt x="55" y="64"/>
                    </a:moveTo>
                    <a:cubicBezTo>
                      <a:pt x="58" y="60"/>
                      <a:pt x="60" y="55"/>
                      <a:pt x="62" y="50"/>
                    </a:cubicBezTo>
                    <a:cubicBezTo>
                      <a:pt x="61" y="47"/>
                      <a:pt x="58" y="44"/>
                      <a:pt x="54" y="43"/>
                    </a:cubicBezTo>
                    <a:cubicBezTo>
                      <a:pt x="57" y="36"/>
                      <a:pt x="64" y="33"/>
                      <a:pt x="69" y="29"/>
                    </a:cubicBezTo>
                    <a:cubicBezTo>
                      <a:pt x="69" y="25"/>
                      <a:pt x="67" y="24"/>
                      <a:pt x="67" y="21"/>
                    </a:cubicBezTo>
                    <a:cubicBezTo>
                      <a:pt x="68" y="18"/>
                      <a:pt x="69" y="15"/>
                      <a:pt x="70" y="11"/>
                    </a:cubicBezTo>
                    <a:cubicBezTo>
                      <a:pt x="70" y="9"/>
                      <a:pt x="69" y="6"/>
                      <a:pt x="69" y="3"/>
                    </a:cubicBezTo>
                    <a:cubicBezTo>
                      <a:pt x="68" y="2"/>
                      <a:pt x="67" y="1"/>
                      <a:pt x="64" y="0"/>
                    </a:cubicBezTo>
                    <a:cubicBezTo>
                      <a:pt x="64" y="0"/>
                      <a:pt x="63" y="0"/>
                      <a:pt x="63" y="0"/>
                    </a:cubicBezTo>
                    <a:cubicBezTo>
                      <a:pt x="61" y="5"/>
                      <a:pt x="63" y="8"/>
                      <a:pt x="63" y="12"/>
                    </a:cubicBezTo>
                    <a:cubicBezTo>
                      <a:pt x="63" y="24"/>
                      <a:pt x="52" y="26"/>
                      <a:pt x="42" y="25"/>
                    </a:cubicBezTo>
                    <a:cubicBezTo>
                      <a:pt x="41" y="28"/>
                      <a:pt x="41" y="31"/>
                      <a:pt x="42" y="33"/>
                    </a:cubicBezTo>
                    <a:cubicBezTo>
                      <a:pt x="39" y="34"/>
                      <a:pt x="36" y="35"/>
                      <a:pt x="33" y="36"/>
                    </a:cubicBezTo>
                    <a:cubicBezTo>
                      <a:pt x="34" y="32"/>
                      <a:pt x="36" y="32"/>
                      <a:pt x="39" y="33"/>
                    </a:cubicBezTo>
                    <a:cubicBezTo>
                      <a:pt x="41" y="29"/>
                      <a:pt x="38" y="27"/>
                      <a:pt x="39" y="23"/>
                    </a:cubicBezTo>
                    <a:cubicBezTo>
                      <a:pt x="39" y="14"/>
                      <a:pt x="53" y="6"/>
                      <a:pt x="36" y="0"/>
                    </a:cubicBezTo>
                    <a:cubicBezTo>
                      <a:pt x="36" y="0"/>
                      <a:pt x="36" y="0"/>
                      <a:pt x="36" y="0"/>
                    </a:cubicBezTo>
                    <a:cubicBezTo>
                      <a:pt x="35" y="3"/>
                      <a:pt x="36" y="5"/>
                      <a:pt x="36" y="8"/>
                    </a:cubicBezTo>
                    <a:cubicBezTo>
                      <a:pt x="34" y="14"/>
                      <a:pt x="32" y="19"/>
                      <a:pt x="30" y="24"/>
                    </a:cubicBezTo>
                    <a:cubicBezTo>
                      <a:pt x="22" y="26"/>
                      <a:pt x="9" y="26"/>
                      <a:pt x="1" y="29"/>
                    </a:cubicBezTo>
                    <a:cubicBezTo>
                      <a:pt x="1" y="30"/>
                      <a:pt x="1" y="30"/>
                      <a:pt x="0" y="31"/>
                    </a:cubicBezTo>
                    <a:cubicBezTo>
                      <a:pt x="1" y="35"/>
                      <a:pt x="12" y="39"/>
                      <a:pt x="18" y="39"/>
                    </a:cubicBezTo>
                    <a:cubicBezTo>
                      <a:pt x="20" y="38"/>
                      <a:pt x="22" y="37"/>
                      <a:pt x="25" y="36"/>
                    </a:cubicBezTo>
                    <a:cubicBezTo>
                      <a:pt x="25" y="36"/>
                      <a:pt x="25" y="36"/>
                      <a:pt x="25" y="36"/>
                    </a:cubicBezTo>
                    <a:cubicBezTo>
                      <a:pt x="21" y="52"/>
                      <a:pt x="9" y="50"/>
                      <a:pt x="3" y="62"/>
                    </a:cubicBezTo>
                    <a:cubicBezTo>
                      <a:pt x="4" y="63"/>
                      <a:pt x="4" y="65"/>
                      <a:pt x="5" y="67"/>
                    </a:cubicBezTo>
                    <a:cubicBezTo>
                      <a:pt x="7" y="67"/>
                      <a:pt x="10" y="67"/>
                      <a:pt x="12" y="66"/>
                    </a:cubicBezTo>
                    <a:cubicBezTo>
                      <a:pt x="17" y="68"/>
                      <a:pt x="17" y="72"/>
                      <a:pt x="22" y="74"/>
                    </a:cubicBezTo>
                    <a:cubicBezTo>
                      <a:pt x="25" y="71"/>
                      <a:pt x="24" y="66"/>
                      <a:pt x="25" y="61"/>
                    </a:cubicBezTo>
                    <a:cubicBezTo>
                      <a:pt x="25" y="56"/>
                      <a:pt x="28" y="52"/>
                      <a:pt x="30" y="49"/>
                    </a:cubicBezTo>
                    <a:cubicBezTo>
                      <a:pt x="40" y="53"/>
                      <a:pt x="42" y="58"/>
                      <a:pt x="48" y="63"/>
                    </a:cubicBezTo>
                    <a:cubicBezTo>
                      <a:pt x="44" y="74"/>
                      <a:pt x="29" y="63"/>
                      <a:pt x="24" y="71"/>
                    </a:cubicBezTo>
                    <a:cubicBezTo>
                      <a:pt x="39" y="78"/>
                      <a:pt x="36" y="74"/>
                      <a:pt x="48" y="71"/>
                    </a:cubicBezTo>
                    <a:cubicBezTo>
                      <a:pt x="49" y="70"/>
                      <a:pt x="50" y="70"/>
                      <a:pt x="51" y="69"/>
                    </a:cubicBezTo>
                    <a:cubicBezTo>
                      <a:pt x="58" y="79"/>
                      <a:pt x="58" y="87"/>
                      <a:pt x="77" y="87"/>
                    </a:cubicBezTo>
                    <a:cubicBezTo>
                      <a:pt x="77" y="87"/>
                      <a:pt x="78" y="86"/>
                      <a:pt x="78" y="86"/>
                    </a:cubicBezTo>
                    <a:cubicBezTo>
                      <a:pt x="74" y="76"/>
                      <a:pt x="60" y="73"/>
                      <a:pt x="55" y="64"/>
                    </a:cubicBezTo>
                    <a:close/>
                    <a:moveTo>
                      <a:pt x="15" y="64"/>
                    </a:moveTo>
                    <a:cubicBezTo>
                      <a:pt x="15" y="65"/>
                      <a:pt x="15" y="65"/>
                      <a:pt x="15" y="65"/>
                    </a:cubicBezTo>
                    <a:cubicBezTo>
                      <a:pt x="14" y="64"/>
                      <a:pt x="13" y="64"/>
                      <a:pt x="11" y="63"/>
                    </a:cubicBezTo>
                    <a:cubicBezTo>
                      <a:pt x="11" y="62"/>
                      <a:pt x="12" y="61"/>
                      <a:pt x="12" y="60"/>
                    </a:cubicBezTo>
                    <a:cubicBezTo>
                      <a:pt x="13" y="59"/>
                      <a:pt x="14" y="58"/>
                      <a:pt x="15" y="57"/>
                    </a:cubicBezTo>
                    <a:cubicBezTo>
                      <a:pt x="16" y="57"/>
                      <a:pt x="16" y="58"/>
                      <a:pt x="17" y="58"/>
                    </a:cubicBezTo>
                    <a:cubicBezTo>
                      <a:pt x="16" y="60"/>
                      <a:pt x="16" y="62"/>
                      <a:pt x="15" y="64"/>
                    </a:cubicBezTo>
                    <a:close/>
                    <a:moveTo>
                      <a:pt x="32" y="46"/>
                    </a:moveTo>
                    <a:cubicBezTo>
                      <a:pt x="35" y="43"/>
                      <a:pt x="44" y="37"/>
                      <a:pt x="44" y="34"/>
                    </a:cubicBezTo>
                    <a:cubicBezTo>
                      <a:pt x="47" y="34"/>
                      <a:pt x="49" y="35"/>
                      <a:pt x="52" y="35"/>
                    </a:cubicBezTo>
                    <a:cubicBezTo>
                      <a:pt x="50" y="40"/>
                      <a:pt x="45" y="44"/>
                      <a:pt x="46" y="50"/>
                    </a:cubicBezTo>
                    <a:cubicBezTo>
                      <a:pt x="46" y="51"/>
                      <a:pt x="47" y="51"/>
                      <a:pt x="48" y="52"/>
                    </a:cubicBezTo>
                    <a:cubicBezTo>
                      <a:pt x="50" y="51"/>
                      <a:pt x="53" y="49"/>
                      <a:pt x="56" y="50"/>
                    </a:cubicBezTo>
                    <a:cubicBezTo>
                      <a:pt x="55" y="54"/>
                      <a:pt x="53" y="57"/>
                      <a:pt x="52" y="61"/>
                    </a:cubicBezTo>
                    <a:cubicBezTo>
                      <a:pt x="45" y="56"/>
                      <a:pt x="44" y="49"/>
                      <a:pt x="32" y="4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301" name="ï$ľíḍe"/>
              <p:cNvSpPr/>
              <p:nvPr/>
            </p:nvSpPr>
            <p:spPr bwMode="auto">
              <a:xfrm>
                <a:off x="2255734" y="4491628"/>
                <a:ext cx="136525" cy="174625"/>
              </a:xfrm>
              <a:custGeom>
                <a:avLst/>
                <a:gdLst>
                  <a:gd name="T0" fmla="*/ 74 w 74"/>
                  <a:gd name="T1" fmla="*/ 41 h 94"/>
                  <a:gd name="T2" fmla="*/ 64 w 74"/>
                  <a:gd name="T3" fmla="*/ 35 h 94"/>
                  <a:gd name="T4" fmla="*/ 51 w 74"/>
                  <a:gd name="T5" fmla="*/ 5 h 94"/>
                  <a:gd name="T6" fmla="*/ 58 w 74"/>
                  <a:gd name="T7" fmla="*/ 39 h 94"/>
                  <a:gd name="T8" fmla="*/ 47 w 74"/>
                  <a:gd name="T9" fmla="*/ 47 h 94"/>
                  <a:gd name="T10" fmla="*/ 55 w 74"/>
                  <a:gd name="T11" fmla="*/ 34 h 94"/>
                  <a:gd name="T12" fmla="*/ 47 w 74"/>
                  <a:gd name="T13" fmla="*/ 29 h 94"/>
                  <a:gd name="T14" fmla="*/ 54 w 74"/>
                  <a:gd name="T15" fmla="*/ 22 h 94"/>
                  <a:gd name="T16" fmla="*/ 54 w 74"/>
                  <a:gd name="T17" fmla="*/ 20 h 94"/>
                  <a:gd name="T18" fmla="*/ 54 w 74"/>
                  <a:gd name="T19" fmla="*/ 19 h 94"/>
                  <a:gd name="T20" fmla="*/ 41 w 74"/>
                  <a:gd name="T21" fmla="*/ 19 h 94"/>
                  <a:gd name="T22" fmla="*/ 44 w 74"/>
                  <a:gd name="T23" fmla="*/ 22 h 94"/>
                  <a:gd name="T24" fmla="*/ 44 w 74"/>
                  <a:gd name="T25" fmla="*/ 32 h 94"/>
                  <a:gd name="T26" fmla="*/ 48 w 74"/>
                  <a:gd name="T27" fmla="*/ 37 h 94"/>
                  <a:gd name="T28" fmla="*/ 40 w 74"/>
                  <a:gd name="T29" fmla="*/ 58 h 94"/>
                  <a:gd name="T30" fmla="*/ 44 w 74"/>
                  <a:gd name="T31" fmla="*/ 61 h 94"/>
                  <a:gd name="T32" fmla="*/ 59 w 74"/>
                  <a:gd name="T33" fmla="*/ 46 h 94"/>
                  <a:gd name="T34" fmla="*/ 59 w 74"/>
                  <a:gd name="T35" fmla="*/ 46 h 94"/>
                  <a:gd name="T36" fmla="*/ 66 w 74"/>
                  <a:gd name="T37" fmla="*/ 93 h 94"/>
                  <a:gd name="T38" fmla="*/ 68 w 74"/>
                  <a:gd name="T39" fmla="*/ 93 h 94"/>
                  <a:gd name="T40" fmla="*/ 65 w 74"/>
                  <a:gd name="T41" fmla="*/ 42 h 94"/>
                  <a:gd name="T42" fmla="*/ 73 w 74"/>
                  <a:gd name="T43" fmla="*/ 41 h 94"/>
                  <a:gd name="T44" fmla="*/ 74 w 74"/>
                  <a:gd name="T45" fmla="*/ 41 h 94"/>
                  <a:gd name="T46" fmla="*/ 43 w 74"/>
                  <a:gd name="T47" fmla="*/ 42 h 94"/>
                  <a:gd name="T48" fmla="*/ 35 w 74"/>
                  <a:gd name="T49" fmla="*/ 48 h 94"/>
                  <a:gd name="T50" fmla="*/ 39 w 74"/>
                  <a:gd name="T51" fmla="*/ 38 h 94"/>
                  <a:gd name="T52" fmla="*/ 37 w 74"/>
                  <a:gd name="T53" fmla="*/ 29 h 94"/>
                  <a:gd name="T54" fmla="*/ 40 w 74"/>
                  <a:gd name="T55" fmla="*/ 27 h 94"/>
                  <a:gd name="T56" fmla="*/ 34 w 74"/>
                  <a:gd name="T57" fmla="*/ 16 h 94"/>
                  <a:gd name="T58" fmla="*/ 32 w 74"/>
                  <a:gd name="T59" fmla="*/ 15 h 94"/>
                  <a:gd name="T60" fmla="*/ 4 w 74"/>
                  <a:gd name="T61" fmla="*/ 46 h 94"/>
                  <a:gd name="T62" fmla="*/ 30 w 74"/>
                  <a:gd name="T63" fmla="*/ 29 h 94"/>
                  <a:gd name="T64" fmla="*/ 8 w 74"/>
                  <a:gd name="T65" fmla="*/ 52 h 94"/>
                  <a:gd name="T66" fmla="*/ 0 w 74"/>
                  <a:gd name="T67" fmla="*/ 56 h 94"/>
                  <a:gd name="T68" fmla="*/ 3 w 74"/>
                  <a:gd name="T69" fmla="*/ 61 h 94"/>
                  <a:gd name="T70" fmla="*/ 23 w 74"/>
                  <a:gd name="T71" fmla="*/ 54 h 94"/>
                  <a:gd name="T72" fmla="*/ 25 w 74"/>
                  <a:gd name="T73" fmla="*/ 53 h 94"/>
                  <a:gd name="T74" fmla="*/ 25 w 74"/>
                  <a:gd name="T75" fmla="*/ 53 h 94"/>
                  <a:gd name="T76" fmla="*/ 20 w 74"/>
                  <a:gd name="T77" fmla="*/ 72 h 94"/>
                  <a:gd name="T78" fmla="*/ 25 w 74"/>
                  <a:gd name="T79" fmla="*/ 76 h 94"/>
                  <a:gd name="T80" fmla="*/ 26 w 74"/>
                  <a:gd name="T81" fmla="*/ 76 h 94"/>
                  <a:gd name="T82" fmla="*/ 30 w 74"/>
                  <a:gd name="T83" fmla="*/ 67 h 94"/>
                  <a:gd name="T84" fmla="*/ 31 w 74"/>
                  <a:gd name="T85" fmla="*/ 66 h 94"/>
                  <a:gd name="T86" fmla="*/ 32 w 74"/>
                  <a:gd name="T87" fmla="*/ 75 h 94"/>
                  <a:gd name="T88" fmla="*/ 35 w 74"/>
                  <a:gd name="T89" fmla="*/ 76 h 94"/>
                  <a:gd name="T90" fmla="*/ 38 w 74"/>
                  <a:gd name="T91" fmla="*/ 76 h 94"/>
                  <a:gd name="T92" fmla="*/ 35 w 74"/>
                  <a:gd name="T93" fmla="*/ 61 h 94"/>
                  <a:gd name="T94" fmla="*/ 43 w 74"/>
                  <a:gd name="T95" fmla="*/ 42 h 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74" h="94">
                    <a:moveTo>
                      <a:pt x="74" y="41"/>
                    </a:moveTo>
                    <a:cubicBezTo>
                      <a:pt x="73" y="36"/>
                      <a:pt x="70" y="34"/>
                      <a:pt x="64" y="35"/>
                    </a:cubicBezTo>
                    <a:cubicBezTo>
                      <a:pt x="63" y="24"/>
                      <a:pt x="67" y="0"/>
                      <a:pt x="51" y="5"/>
                    </a:cubicBezTo>
                    <a:cubicBezTo>
                      <a:pt x="50" y="9"/>
                      <a:pt x="61" y="31"/>
                      <a:pt x="58" y="39"/>
                    </a:cubicBezTo>
                    <a:cubicBezTo>
                      <a:pt x="58" y="39"/>
                      <a:pt x="47" y="47"/>
                      <a:pt x="47" y="47"/>
                    </a:cubicBezTo>
                    <a:cubicBezTo>
                      <a:pt x="48" y="41"/>
                      <a:pt x="53" y="39"/>
                      <a:pt x="55" y="34"/>
                    </a:cubicBezTo>
                    <a:cubicBezTo>
                      <a:pt x="56" y="30"/>
                      <a:pt x="49" y="31"/>
                      <a:pt x="47" y="29"/>
                    </a:cubicBezTo>
                    <a:cubicBezTo>
                      <a:pt x="48" y="26"/>
                      <a:pt x="51" y="23"/>
                      <a:pt x="54" y="22"/>
                    </a:cubicBezTo>
                    <a:cubicBezTo>
                      <a:pt x="54" y="21"/>
                      <a:pt x="54" y="21"/>
                      <a:pt x="54" y="20"/>
                    </a:cubicBezTo>
                    <a:cubicBezTo>
                      <a:pt x="54" y="20"/>
                      <a:pt x="54" y="19"/>
                      <a:pt x="54" y="19"/>
                    </a:cubicBezTo>
                    <a:cubicBezTo>
                      <a:pt x="50" y="17"/>
                      <a:pt x="45" y="17"/>
                      <a:pt x="41" y="19"/>
                    </a:cubicBezTo>
                    <a:cubicBezTo>
                      <a:pt x="41" y="22"/>
                      <a:pt x="42" y="22"/>
                      <a:pt x="44" y="22"/>
                    </a:cubicBezTo>
                    <a:cubicBezTo>
                      <a:pt x="44" y="26"/>
                      <a:pt x="44" y="29"/>
                      <a:pt x="44" y="32"/>
                    </a:cubicBezTo>
                    <a:cubicBezTo>
                      <a:pt x="45" y="34"/>
                      <a:pt x="47" y="35"/>
                      <a:pt x="48" y="37"/>
                    </a:cubicBezTo>
                    <a:cubicBezTo>
                      <a:pt x="46" y="41"/>
                      <a:pt x="35" y="51"/>
                      <a:pt x="40" y="58"/>
                    </a:cubicBezTo>
                    <a:cubicBezTo>
                      <a:pt x="41" y="60"/>
                      <a:pt x="42" y="60"/>
                      <a:pt x="44" y="61"/>
                    </a:cubicBezTo>
                    <a:cubicBezTo>
                      <a:pt x="49" y="55"/>
                      <a:pt x="51" y="50"/>
                      <a:pt x="59" y="46"/>
                    </a:cubicBezTo>
                    <a:cubicBezTo>
                      <a:pt x="59" y="46"/>
                      <a:pt x="59" y="46"/>
                      <a:pt x="59" y="46"/>
                    </a:cubicBezTo>
                    <a:cubicBezTo>
                      <a:pt x="61" y="60"/>
                      <a:pt x="59" y="83"/>
                      <a:pt x="66" y="93"/>
                    </a:cubicBezTo>
                    <a:cubicBezTo>
                      <a:pt x="67" y="94"/>
                      <a:pt x="67" y="93"/>
                      <a:pt x="68" y="93"/>
                    </a:cubicBezTo>
                    <a:cubicBezTo>
                      <a:pt x="68" y="78"/>
                      <a:pt x="67" y="60"/>
                      <a:pt x="65" y="42"/>
                    </a:cubicBezTo>
                    <a:cubicBezTo>
                      <a:pt x="68" y="42"/>
                      <a:pt x="72" y="42"/>
                      <a:pt x="73" y="41"/>
                    </a:cubicBezTo>
                    <a:cubicBezTo>
                      <a:pt x="74" y="41"/>
                      <a:pt x="74" y="41"/>
                      <a:pt x="74" y="41"/>
                    </a:cubicBezTo>
                    <a:close/>
                    <a:moveTo>
                      <a:pt x="43" y="42"/>
                    </a:moveTo>
                    <a:cubicBezTo>
                      <a:pt x="39" y="44"/>
                      <a:pt x="38" y="46"/>
                      <a:pt x="35" y="48"/>
                    </a:cubicBezTo>
                    <a:cubicBezTo>
                      <a:pt x="35" y="42"/>
                      <a:pt x="39" y="42"/>
                      <a:pt x="39" y="38"/>
                    </a:cubicBezTo>
                    <a:cubicBezTo>
                      <a:pt x="40" y="35"/>
                      <a:pt x="37" y="33"/>
                      <a:pt x="37" y="29"/>
                    </a:cubicBezTo>
                    <a:cubicBezTo>
                      <a:pt x="38" y="28"/>
                      <a:pt x="39" y="28"/>
                      <a:pt x="40" y="27"/>
                    </a:cubicBezTo>
                    <a:cubicBezTo>
                      <a:pt x="41" y="24"/>
                      <a:pt x="36" y="16"/>
                      <a:pt x="34" y="16"/>
                    </a:cubicBezTo>
                    <a:cubicBezTo>
                      <a:pt x="33" y="16"/>
                      <a:pt x="32" y="15"/>
                      <a:pt x="32" y="15"/>
                    </a:cubicBezTo>
                    <a:cubicBezTo>
                      <a:pt x="22" y="28"/>
                      <a:pt x="10" y="30"/>
                      <a:pt x="4" y="46"/>
                    </a:cubicBezTo>
                    <a:cubicBezTo>
                      <a:pt x="13" y="41"/>
                      <a:pt x="17" y="31"/>
                      <a:pt x="30" y="29"/>
                    </a:cubicBezTo>
                    <a:cubicBezTo>
                      <a:pt x="29" y="39"/>
                      <a:pt x="16" y="48"/>
                      <a:pt x="8" y="52"/>
                    </a:cubicBezTo>
                    <a:cubicBezTo>
                      <a:pt x="4" y="54"/>
                      <a:pt x="2" y="52"/>
                      <a:pt x="0" y="56"/>
                    </a:cubicBezTo>
                    <a:cubicBezTo>
                      <a:pt x="0" y="59"/>
                      <a:pt x="1" y="60"/>
                      <a:pt x="3" y="61"/>
                    </a:cubicBezTo>
                    <a:cubicBezTo>
                      <a:pt x="10" y="63"/>
                      <a:pt x="22" y="58"/>
                      <a:pt x="23" y="54"/>
                    </a:cubicBezTo>
                    <a:cubicBezTo>
                      <a:pt x="24" y="54"/>
                      <a:pt x="24" y="53"/>
                      <a:pt x="25" y="53"/>
                    </a:cubicBezTo>
                    <a:cubicBezTo>
                      <a:pt x="25" y="53"/>
                      <a:pt x="25" y="53"/>
                      <a:pt x="25" y="53"/>
                    </a:cubicBezTo>
                    <a:cubicBezTo>
                      <a:pt x="23" y="59"/>
                      <a:pt x="22" y="66"/>
                      <a:pt x="20" y="72"/>
                    </a:cubicBezTo>
                    <a:cubicBezTo>
                      <a:pt x="21" y="74"/>
                      <a:pt x="23" y="75"/>
                      <a:pt x="25" y="76"/>
                    </a:cubicBezTo>
                    <a:cubicBezTo>
                      <a:pt x="25" y="76"/>
                      <a:pt x="26" y="76"/>
                      <a:pt x="26" y="76"/>
                    </a:cubicBezTo>
                    <a:cubicBezTo>
                      <a:pt x="28" y="73"/>
                      <a:pt x="29" y="70"/>
                      <a:pt x="30" y="67"/>
                    </a:cubicBezTo>
                    <a:cubicBezTo>
                      <a:pt x="31" y="67"/>
                      <a:pt x="31" y="67"/>
                      <a:pt x="31" y="66"/>
                    </a:cubicBezTo>
                    <a:cubicBezTo>
                      <a:pt x="32" y="69"/>
                      <a:pt x="32" y="72"/>
                      <a:pt x="32" y="75"/>
                    </a:cubicBezTo>
                    <a:cubicBezTo>
                      <a:pt x="33" y="75"/>
                      <a:pt x="34" y="76"/>
                      <a:pt x="35" y="76"/>
                    </a:cubicBezTo>
                    <a:cubicBezTo>
                      <a:pt x="36" y="76"/>
                      <a:pt x="37" y="76"/>
                      <a:pt x="38" y="76"/>
                    </a:cubicBezTo>
                    <a:cubicBezTo>
                      <a:pt x="37" y="71"/>
                      <a:pt x="36" y="66"/>
                      <a:pt x="35" y="61"/>
                    </a:cubicBezTo>
                    <a:cubicBezTo>
                      <a:pt x="38" y="54"/>
                      <a:pt x="40" y="48"/>
                      <a:pt x="43" y="4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302" name="î$ḻîḑe"/>
              <p:cNvSpPr/>
              <p:nvPr/>
            </p:nvSpPr>
            <p:spPr bwMode="auto">
              <a:xfrm>
                <a:off x="2055709" y="4566240"/>
                <a:ext cx="136525" cy="150813"/>
              </a:xfrm>
              <a:custGeom>
                <a:avLst/>
                <a:gdLst>
                  <a:gd name="T0" fmla="*/ 55 w 74"/>
                  <a:gd name="T1" fmla="*/ 53 h 82"/>
                  <a:gd name="T2" fmla="*/ 54 w 74"/>
                  <a:gd name="T3" fmla="*/ 51 h 82"/>
                  <a:gd name="T4" fmla="*/ 57 w 74"/>
                  <a:gd name="T5" fmla="*/ 49 h 82"/>
                  <a:gd name="T6" fmla="*/ 56 w 74"/>
                  <a:gd name="T7" fmla="*/ 45 h 82"/>
                  <a:gd name="T8" fmla="*/ 52 w 74"/>
                  <a:gd name="T9" fmla="*/ 45 h 82"/>
                  <a:gd name="T10" fmla="*/ 51 w 74"/>
                  <a:gd name="T11" fmla="*/ 44 h 82"/>
                  <a:gd name="T12" fmla="*/ 60 w 74"/>
                  <a:gd name="T13" fmla="*/ 32 h 82"/>
                  <a:gd name="T14" fmla="*/ 60 w 74"/>
                  <a:gd name="T15" fmla="*/ 30 h 82"/>
                  <a:gd name="T16" fmla="*/ 34 w 74"/>
                  <a:gd name="T17" fmla="*/ 38 h 82"/>
                  <a:gd name="T18" fmla="*/ 33 w 74"/>
                  <a:gd name="T19" fmla="*/ 38 h 82"/>
                  <a:gd name="T20" fmla="*/ 60 w 74"/>
                  <a:gd name="T21" fmla="*/ 16 h 82"/>
                  <a:gd name="T22" fmla="*/ 61 w 74"/>
                  <a:gd name="T23" fmla="*/ 10 h 82"/>
                  <a:gd name="T24" fmla="*/ 42 w 74"/>
                  <a:gd name="T25" fmla="*/ 11 h 82"/>
                  <a:gd name="T26" fmla="*/ 27 w 74"/>
                  <a:gd name="T27" fmla="*/ 0 h 82"/>
                  <a:gd name="T28" fmla="*/ 24 w 74"/>
                  <a:gd name="T29" fmla="*/ 0 h 82"/>
                  <a:gd name="T30" fmla="*/ 29 w 74"/>
                  <a:gd name="T31" fmla="*/ 21 h 82"/>
                  <a:gd name="T32" fmla="*/ 11 w 74"/>
                  <a:gd name="T33" fmla="*/ 39 h 82"/>
                  <a:gd name="T34" fmla="*/ 1 w 74"/>
                  <a:gd name="T35" fmla="*/ 44 h 82"/>
                  <a:gd name="T36" fmla="*/ 0 w 74"/>
                  <a:gd name="T37" fmla="*/ 47 h 82"/>
                  <a:gd name="T38" fmla="*/ 35 w 74"/>
                  <a:gd name="T39" fmla="*/ 26 h 82"/>
                  <a:gd name="T40" fmla="*/ 35 w 74"/>
                  <a:gd name="T41" fmla="*/ 26 h 82"/>
                  <a:gd name="T42" fmla="*/ 30 w 74"/>
                  <a:gd name="T43" fmla="*/ 48 h 82"/>
                  <a:gd name="T44" fmla="*/ 40 w 74"/>
                  <a:gd name="T45" fmla="*/ 57 h 82"/>
                  <a:gd name="T46" fmla="*/ 35 w 74"/>
                  <a:gd name="T47" fmla="*/ 78 h 82"/>
                  <a:gd name="T48" fmla="*/ 45 w 74"/>
                  <a:gd name="T49" fmla="*/ 82 h 82"/>
                  <a:gd name="T50" fmla="*/ 47 w 74"/>
                  <a:gd name="T51" fmla="*/ 80 h 82"/>
                  <a:gd name="T52" fmla="*/ 46 w 74"/>
                  <a:gd name="T53" fmla="*/ 67 h 82"/>
                  <a:gd name="T54" fmla="*/ 47 w 74"/>
                  <a:gd name="T55" fmla="*/ 66 h 82"/>
                  <a:gd name="T56" fmla="*/ 50 w 74"/>
                  <a:gd name="T57" fmla="*/ 73 h 82"/>
                  <a:gd name="T58" fmla="*/ 58 w 74"/>
                  <a:gd name="T59" fmla="*/ 79 h 82"/>
                  <a:gd name="T60" fmla="*/ 59 w 74"/>
                  <a:gd name="T61" fmla="*/ 79 h 82"/>
                  <a:gd name="T62" fmla="*/ 53 w 74"/>
                  <a:gd name="T63" fmla="*/ 57 h 82"/>
                  <a:gd name="T64" fmla="*/ 56 w 74"/>
                  <a:gd name="T65" fmla="*/ 55 h 82"/>
                  <a:gd name="T66" fmla="*/ 56 w 74"/>
                  <a:gd name="T67" fmla="*/ 55 h 82"/>
                  <a:gd name="T68" fmla="*/ 69 w 74"/>
                  <a:gd name="T69" fmla="*/ 69 h 82"/>
                  <a:gd name="T70" fmla="*/ 74 w 74"/>
                  <a:gd name="T71" fmla="*/ 64 h 82"/>
                  <a:gd name="T72" fmla="*/ 55 w 74"/>
                  <a:gd name="T73" fmla="*/ 53 h 82"/>
                  <a:gd name="T74" fmla="*/ 40 w 74"/>
                  <a:gd name="T75" fmla="*/ 46 h 82"/>
                  <a:gd name="T76" fmla="*/ 39 w 74"/>
                  <a:gd name="T77" fmla="*/ 46 h 82"/>
                  <a:gd name="T78" fmla="*/ 38 w 74"/>
                  <a:gd name="T79" fmla="*/ 46 h 82"/>
                  <a:gd name="T80" fmla="*/ 37 w 74"/>
                  <a:gd name="T81" fmla="*/ 44 h 82"/>
                  <a:gd name="T82" fmla="*/ 44 w 74"/>
                  <a:gd name="T83" fmla="*/ 36 h 82"/>
                  <a:gd name="T84" fmla="*/ 46 w 74"/>
                  <a:gd name="T85" fmla="*/ 35 h 82"/>
                  <a:gd name="T86" fmla="*/ 46 w 74"/>
                  <a:gd name="T87" fmla="*/ 35 h 82"/>
                  <a:gd name="T88" fmla="*/ 40 w 74"/>
                  <a:gd name="T89" fmla="*/ 46 h 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74" h="82">
                    <a:moveTo>
                      <a:pt x="55" y="53"/>
                    </a:moveTo>
                    <a:cubicBezTo>
                      <a:pt x="55" y="53"/>
                      <a:pt x="54" y="52"/>
                      <a:pt x="54" y="51"/>
                    </a:cubicBezTo>
                    <a:cubicBezTo>
                      <a:pt x="55" y="51"/>
                      <a:pt x="56" y="50"/>
                      <a:pt x="57" y="49"/>
                    </a:cubicBezTo>
                    <a:cubicBezTo>
                      <a:pt x="57" y="48"/>
                      <a:pt x="56" y="47"/>
                      <a:pt x="56" y="45"/>
                    </a:cubicBezTo>
                    <a:cubicBezTo>
                      <a:pt x="54" y="45"/>
                      <a:pt x="53" y="45"/>
                      <a:pt x="52" y="45"/>
                    </a:cubicBezTo>
                    <a:cubicBezTo>
                      <a:pt x="51" y="45"/>
                      <a:pt x="51" y="44"/>
                      <a:pt x="51" y="44"/>
                    </a:cubicBezTo>
                    <a:cubicBezTo>
                      <a:pt x="53" y="40"/>
                      <a:pt x="59" y="36"/>
                      <a:pt x="60" y="32"/>
                    </a:cubicBezTo>
                    <a:cubicBezTo>
                      <a:pt x="60" y="31"/>
                      <a:pt x="60" y="31"/>
                      <a:pt x="60" y="30"/>
                    </a:cubicBezTo>
                    <a:cubicBezTo>
                      <a:pt x="50" y="21"/>
                      <a:pt x="41" y="31"/>
                      <a:pt x="34" y="38"/>
                    </a:cubicBezTo>
                    <a:cubicBezTo>
                      <a:pt x="33" y="38"/>
                      <a:pt x="33" y="38"/>
                      <a:pt x="33" y="38"/>
                    </a:cubicBezTo>
                    <a:cubicBezTo>
                      <a:pt x="34" y="30"/>
                      <a:pt x="48" y="16"/>
                      <a:pt x="60" y="16"/>
                    </a:cubicBezTo>
                    <a:cubicBezTo>
                      <a:pt x="61" y="14"/>
                      <a:pt x="61" y="12"/>
                      <a:pt x="61" y="10"/>
                    </a:cubicBezTo>
                    <a:cubicBezTo>
                      <a:pt x="50" y="3"/>
                      <a:pt x="52" y="11"/>
                      <a:pt x="42" y="11"/>
                    </a:cubicBezTo>
                    <a:cubicBezTo>
                      <a:pt x="38" y="10"/>
                      <a:pt x="32" y="1"/>
                      <a:pt x="27" y="0"/>
                    </a:cubicBezTo>
                    <a:cubicBezTo>
                      <a:pt x="26" y="0"/>
                      <a:pt x="25" y="0"/>
                      <a:pt x="24" y="0"/>
                    </a:cubicBezTo>
                    <a:cubicBezTo>
                      <a:pt x="21" y="5"/>
                      <a:pt x="30" y="14"/>
                      <a:pt x="29" y="21"/>
                    </a:cubicBezTo>
                    <a:cubicBezTo>
                      <a:pt x="19" y="27"/>
                      <a:pt x="17" y="33"/>
                      <a:pt x="11" y="39"/>
                    </a:cubicBezTo>
                    <a:cubicBezTo>
                      <a:pt x="8" y="42"/>
                      <a:pt x="4" y="42"/>
                      <a:pt x="1" y="44"/>
                    </a:cubicBezTo>
                    <a:cubicBezTo>
                      <a:pt x="1" y="45"/>
                      <a:pt x="0" y="46"/>
                      <a:pt x="0" y="47"/>
                    </a:cubicBezTo>
                    <a:cubicBezTo>
                      <a:pt x="11" y="69"/>
                      <a:pt x="23" y="30"/>
                      <a:pt x="35" y="26"/>
                    </a:cubicBezTo>
                    <a:cubicBezTo>
                      <a:pt x="35" y="26"/>
                      <a:pt x="35" y="26"/>
                      <a:pt x="35" y="26"/>
                    </a:cubicBezTo>
                    <a:cubicBezTo>
                      <a:pt x="33" y="33"/>
                      <a:pt x="28" y="39"/>
                      <a:pt x="30" y="48"/>
                    </a:cubicBezTo>
                    <a:cubicBezTo>
                      <a:pt x="30" y="51"/>
                      <a:pt x="37" y="56"/>
                      <a:pt x="40" y="57"/>
                    </a:cubicBezTo>
                    <a:cubicBezTo>
                      <a:pt x="37" y="64"/>
                      <a:pt x="32" y="69"/>
                      <a:pt x="35" y="78"/>
                    </a:cubicBezTo>
                    <a:cubicBezTo>
                      <a:pt x="39" y="79"/>
                      <a:pt x="42" y="80"/>
                      <a:pt x="45" y="82"/>
                    </a:cubicBezTo>
                    <a:cubicBezTo>
                      <a:pt x="46" y="81"/>
                      <a:pt x="46" y="81"/>
                      <a:pt x="47" y="80"/>
                    </a:cubicBezTo>
                    <a:cubicBezTo>
                      <a:pt x="49" y="77"/>
                      <a:pt x="45" y="70"/>
                      <a:pt x="46" y="67"/>
                    </a:cubicBezTo>
                    <a:cubicBezTo>
                      <a:pt x="46" y="66"/>
                      <a:pt x="46" y="66"/>
                      <a:pt x="47" y="66"/>
                    </a:cubicBezTo>
                    <a:cubicBezTo>
                      <a:pt x="48" y="67"/>
                      <a:pt x="49" y="71"/>
                      <a:pt x="50" y="73"/>
                    </a:cubicBezTo>
                    <a:cubicBezTo>
                      <a:pt x="52" y="76"/>
                      <a:pt x="55" y="77"/>
                      <a:pt x="58" y="79"/>
                    </a:cubicBezTo>
                    <a:cubicBezTo>
                      <a:pt x="58" y="79"/>
                      <a:pt x="58" y="79"/>
                      <a:pt x="59" y="79"/>
                    </a:cubicBezTo>
                    <a:cubicBezTo>
                      <a:pt x="60" y="72"/>
                      <a:pt x="53" y="64"/>
                      <a:pt x="53" y="57"/>
                    </a:cubicBezTo>
                    <a:cubicBezTo>
                      <a:pt x="54" y="56"/>
                      <a:pt x="55" y="56"/>
                      <a:pt x="56" y="55"/>
                    </a:cubicBezTo>
                    <a:cubicBezTo>
                      <a:pt x="56" y="55"/>
                      <a:pt x="56" y="55"/>
                      <a:pt x="56" y="55"/>
                    </a:cubicBezTo>
                    <a:cubicBezTo>
                      <a:pt x="63" y="60"/>
                      <a:pt x="59" y="67"/>
                      <a:pt x="69" y="69"/>
                    </a:cubicBezTo>
                    <a:cubicBezTo>
                      <a:pt x="71" y="67"/>
                      <a:pt x="72" y="66"/>
                      <a:pt x="74" y="64"/>
                    </a:cubicBezTo>
                    <a:cubicBezTo>
                      <a:pt x="71" y="56"/>
                      <a:pt x="63" y="51"/>
                      <a:pt x="55" y="53"/>
                    </a:cubicBezTo>
                    <a:close/>
                    <a:moveTo>
                      <a:pt x="40" y="46"/>
                    </a:moveTo>
                    <a:cubicBezTo>
                      <a:pt x="40" y="46"/>
                      <a:pt x="39" y="46"/>
                      <a:pt x="39" y="46"/>
                    </a:cubicBezTo>
                    <a:cubicBezTo>
                      <a:pt x="38" y="46"/>
                      <a:pt x="38" y="46"/>
                      <a:pt x="38" y="46"/>
                    </a:cubicBezTo>
                    <a:cubicBezTo>
                      <a:pt x="38" y="45"/>
                      <a:pt x="37" y="45"/>
                      <a:pt x="37" y="44"/>
                    </a:cubicBezTo>
                    <a:cubicBezTo>
                      <a:pt x="39" y="41"/>
                      <a:pt x="42" y="39"/>
                      <a:pt x="44" y="36"/>
                    </a:cubicBezTo>
                    <a:cubicBezTo>
                      <a:pt x="45" y="36"/>
                      <a:pt x="45" y="35"/>
                      <a:pt x="46" y="35"/>
                    </a:cubicBezTo>
                    <a:cubicBezTo>
                      <a:pt x="46" y="35"/>
                      <a:pt x="46" y="35"/>
                      <a:pt x="46" y="35"/>
                    </a:cubicBezTo>
                    <a:cubicBezTo>
                      <a:pt x="44" y="39"/>
                      <a:pt x="42" y="42"/>
                      <a:pt x="40" y="4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303" name="ïşḻíḍe"/>
              <p:cNvSpPr/>
              <p:nvPr/>
            </p:nvSpPr>
            <p:spPr bwMode="auto">
              <a:xfrm>
                <a:off x="1882672" y="4669428"/>
                <a:ext cx="160338" cy="169863"/>
              </a:xfrm>
              <a:custGeom>
                <a:avLst/>
                <a:gdLst>
                  <a:gd name="T0" fmla="*/ 29 w 87"/>
                  <a:gd name="T1" fmla="*/ 8 h 92"/>
                  <a:gd name="T2" fmla="*/ 52 w 87"/>
                  <a:gd name="T3" fmla="*/ 17 h 92"/>
                  <a:gd name="T4" fmla="*/ 61 w 87"/>
                  <a:gd name="T5" fmla="*/ 16 h 92"/>
                  <a:gd name="T6" fmla="*/ 62 w 87"/>
                  <a:gd name="T7" fmla="*/ 17 h 92"/>
                  <a:gd name="T8" fmla="*/ 69 w 87"/>
                  <a:gd name="T9" fmla="*/ 42 h 92"/>
                  <a:gd name="T10" fmla="*/ 86 w 87"/>
                  <a:gd name="T11" fmla="*/ 35 h 92"/>
                  <a:gd name="T12" fmla="*/ 87 w 87"/>
                  <a:gd name="T13" fmla="*/ 39 h 92"/>
                  <a:gd name="T14" fmla="*/ 76 w 87"/>
                  <a:gd name="T15" fmla="*/ 55 h 92"/>
                  <a:gd name="T16" fmla="*/ 67 w 87"/>
                  <a:gd name="T17" fmla="*/ 76 h 92"/>
                  <a:gd name="T18" fmla="*/ 65 w 87"/>
                  <a:gd name="T19" fmla="*/ 74 h 92"/>
                  <a:gd name="T20" fmla="*/ 69 w 87"/>
                  <a:gd name="T21" fmla="*/ 53 h 92"/>
                  <a:gd name="T22" fmla="*/ 55 w 87"/>
                  <a:gd name="T23" fmla="*/ 40 h 92"/>
                  <a:gd name="T24" fmla="*/ 45 w 87"/>
                  <a:gd name="T25" fmla="*/ 44 h 92"/>
                  <a:gd name="T26" fmla="*/ 46 w 87"/>
                  <a:gd name="T27" fmla="*/ 89 h 92"/>
                  <a:gd name="T28" fmla="*/ 38 w 87"/>
                  <a:gd name="T29" fmla="*/ 92 h 92"/>
                  <a:gd name="T30" fmla="*/ 27 w 87"/>
                  <a:gd name="T31" fmla="*/ 68 h 92"/>
                  <a:gd name="T32" fmla="*/ 14 w 87"/>
                  <a:gd name="T33" fmla="*/ 70 h 92"/>
                  <a:gd name="T34" fmla="*/ 12 w 87"/>
                  <a:gd name="T35" fmla="*/ 65 h 92"/>
                  <a:gd name="T36" fmla="*/ 18 w 87"/>
                  <a:gd name="T37" fmla="*/ 58 h 92"/>
                  <a:gd name="T38" fmla="*/ 0 w 87"/>
                  <a:gd name="T39" fmla="*/ 42 h 92"/>
                  <a:gd name="T40" fmla="*/ 0 w 87"/>
                  <a:gd name="T41" fmla="*/ 42 h 92"/>
                  <a:gd name="T42" fmla="*/ 21 w 87"/>
                  <a:gd name="T43" fmla="*/ 39 h 92"/>
                  <a:gd name="T44" fmla="*/ 27 w 87"/>
                  <a:gd name="T45" fmla="*/ 48 h 92"/>
                  <a:gd name="T46" fmla="*/ 34 w 87"/>
                  <a:gd name="T47" fmla="*/ 52 h 92"/>
                  <a:gd name="T48" fmla="*/ 36 w 87"/>
                  <a:gd name="T49" fmla="*/ 62 h 92"/>
                  <a:gd name="T50" fmla="*/ 39 w 87"/>
                  <a:gd name="T51" fmla="*/ 44 h 92"/>
                  <a:gd name="T52" fmla="*/ 46 w 87"/>
                  <a:gd name="T53" fmla="*/ 28 h 92"/>
                  <a:gd name="T54" fmla="*/ 29 w 87"/>
                  <a:gd name="T55" fmla="*/ 8 h 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87" h="92">
                    <a:moveTo>
                      <a:pt x="29" y="8"/>
                    </a:moveTo>
                    <a:cubicBezTo>
                      <a:pt x="42" y="0"/>
                      <a:pt x="43" y="12"/>
                      <a:pt x="52" y="17"/>
                    </a:cubicBezTo>
                    <a:cubicBezTo>
                      <a:pt x="55" y="15"/>
                      <a:pt x="58" y="15"/>
                      <a:pt x="61" y="16"/>
                    </a:cubicBezTo>
                    <a:cubicBezTo>
                      <a:pt x="61" y="16"/>
                      <a:pt x="62" y="17"/>
                      <a:pt x="62" y="17"/>
                    </a:cubicBezTo>
                    <a:cubicBezTo>
                      <a:pt x="62" y="26"/>
                      <a:pt x="58" y="33"/>
                      <a:pt x="69" y="42"/>
                    </a:cubicBezTo>
                    <a:cubicBezTo>
                      <a:pt x="75" y="35"/>
                      <a:pt x="80" y="33"/>
                      <a:pt x="86" y="35"/>
                    </a:cubicBezTo>
                    <a:cubicBezTo>
                      <a:pt x="87" y="36"/>
                      <a:pt x="87" y="38"/>
                      <a:pt x="87" y="39"/>
                    </a:cubicBezTo>
                    <a:cubicBezTo>
                      <a:pt x="83" y="45"/>
                      <a:pt x="80" y="50"/>
                      <a:pt x="76" y="55"/>
                    </a:cubicBezTo>
                    <a:cubicBezTo>
                      <a:pt x="71" y="62"/>
                      <a:pt x="71" y="70"/>
                      <a:pt x="67" y="76"/>
                    </a:cubicBezTo>
                    <a:cubicBezTo>
                      <a:pt x="66" y="75"/>
                      <a:pt x="66" y="75"/>
                      <a:pt x="65" y="74"/>
                    </a:cubicBezTo>
                    <a:cubicBezTo>
                      <a:pt x="63" y="66"/>
                      <a:pt x="67" y="60"/>
                      <a:pt x="69" y="53"/>
                    </a:cubicBezTo>
                    <a:cubicBezTo>
                      <a:pt x="64" y="51"/>
                      <a:pt x="60" y="46"/>
                      <a:pt x="55" y="40"/>
                    </a:cubicBezTo>
                    <a:cubicBezTo>
                      <a:pt x="52" y="42"/>
                      <a:pt x="49" y="41"/>
                      <a:pt x="45" y="44"/>
                    </a:cubicBezTo>
                    <a:cubicBezTo>
                      <a:pt x="40" y="59"/>
                      <a:pt x="48" y="75"/>
                      <a:pt x="46" y="89"/>
                    </a:cubicBezTo>
                    <a:cubicBezTo>
                      <a:pt x="43" y="92"/>
                      <a:pt x="41" y="91"/>
                      <a:pt x="38" y="92"/>
                    </a:cubicBezTo>
                    <a:cubicBezTo>
                      <a:pt x="31" y="83"/>
                      <a:pt x="33" y="76"/>
                      <a:pt x="27" y="68"/>
                    </a:cubicBezTo>
                    <a:cubicBezTo>
                      <a:pt x="23" y="71"/>
                      <a:pt x="18" y="71"/>
                      <a:pt x="14" y="70"/>
                    </a:cubicBezTo>
                    <a:cubicBezTo>
                      <a:pt x="12" y="68"/>
                      <a:pt x="12" y="67"/>
                      <a:pt x="12" y="65"/>
                    </a:cubicBezTo>
                    <a:cubicBezTo>
                      <a:pt x="14" y="63"/>
                      <a:pt x="16" y="60"/>
                      <a:pt x="18" y="58"/>
                    </a:cubicBezTo>
                    <a:cubicBezTo>
                      <a:pt x="13" y="49"/>
                      <a:pt x="3" y="48"/>
                      <a:pt x="0" y="42"/>
                    </a:cubicBezTo>
                    <a:cubicBezTo>
                      <a:pt x="0" y="42"/>
                      <a:pt x="0" y="42"/>
                      <a:pt x="0" y="42"/>
                    </a:cubicBezTo>
                    <a:cubicBezTo>
                      <a:pt x="6" y="39"/>
                      <a:pt x="15" y="35"/>
                      <a:pt x="21" y="39"/>
                    </a:cubicBezTo>
                    <a:cubicBezTo>
                      <a:pt x="23" y="42"/>
                      <a:pt x="25" y="45"/>
                      <a:pt x="27" y="48"/>
                    </a:cubicBezTo>
                    <a:cubicBezTo>
                      <a:pt x="29" y="50"/>
                      <a:pt x="31" y="51"/>
                      <a:pt x="34" y="52"/>
                    </a:cubicBezTo>
                    <a:cubicBezTo>
                      <a:pt x="34" y="55"/>
                      <a:pt x="35" y="58"/>
                      <a:pt x="36" y="62"/>
                    </a:cubicBezTo>
                    <a:cubicBezTo>
                      <a:pt x="39" y="56"/>
                      <a:pt x="38" y="50"/>
                      <a:pt x="39" y="44"/>
                    </a:cubicBezTo>
                    <a:cubicBezTo>
                      <a:pt x="42" y="39"/>
                      <a:pt x="44" y="34"/>
                      <a:pt x="46" y="28"/>
                    </a:cubicBezTo>
                    <a:cubicBezTo>
                      <a:pt x="42" y="22"/>
                      <a:pt x="31" y="15"/>
                      <a:pt x="29" y="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304" name="íṩľíḑè"/>
              <p:cNvSpPr/>
              <p:nvPr/>
            </p:nvSpPr>
            <p:spPr bwMode="auto">
              <a:xfrm>
                <a:off x="2243034" y="6066428"/>
                <a:ext cx="22225" cy="25400"/>
              </a:xfrm>
              <a:custGeom>
                <a:avLst/>
                <a:gdLst>
                  <a:gd name="T0" fmla="*/ 0 w 14"/>
                  <a:gd name="T1" fmla="*/ 12 h 16"/>
                  <a:gd name="T2" fmla="*/ 2 w 14"/>
                  <a:gd name="T3" fmla="*/ 0 h 16"/>
                  <a:gd name="T4" fmla="*/ 14 w 14"/>
                  <a:gd name="T5" fmla="*/ 4 h 16"/>
                  <a:gd name="T6" fmla="*/ 11 w 14"/>
                  <a:gd name="T7" fmla="*/ 16 h 16"/>
                  <a:gd name="T8" fmla="*/ 0 w 14"/>
                  <a:gd name="T9" fmla="*/ 12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4" h="16">
                    <a:moveTo>
                      <a:pt x="0" y="12"/>
                    </a:moveTo>
                    <a:lnTo>
                      <a:pt x="2" y="0"/>
                    </a:lnTo>
                    <a:lnTo>
                      <a:pt x="14" y="4"/>
                    </a:lnTo>
                    <a:lnTo>
                      <a:pt x="11" y="16"/>
                    </a:lnTo>
                    <a:lnTo>
                      <a:pt x="0" y="1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305" name="îṣḷïḓê"/>
              <p:cNvSpPr/>
              <p:nvPr/>
            </p:nvSpPr>
            <p:spPr bwMode="auto">
              <a:xfrm>
                <a:off x="2292247" y="6042615"/>
                <a:ext cx="49213" cy="100013"/>
              </a:xfrm>
              <a:custGeom>
                <a:avLst/>
                <a:gdLst>
                  <a:gd name="T0" fmla="*/ 17 w 27"/>
                  <a:gd name="T1" fmla="*/ 54 h 54"/>
                  <a:gd name="T2" fmla="*/ 7 w 27"/>
                  <a:gd name="T3" fmla="*/ 52 h 54"/>
                  <a:gd name="T4" fmla="*/ 14 w 27"/>
                  <a:gd name="T5" fmla="*/ 15 h 54"/>
                  <a:gd name="T6" fmla="*/ 0 w 27"/>
                  <a:gd name="T7" fmla="*/ 20 h 54"/>
                  <a:gd name="T8" fmla="*/ 1 w 27"/>
                  <a:gd name="T9" fmla="*/ 11 h 54"/>
                  <a:gd name="T10" fmla="*/ 11 w 27"/>
                  <a:gd name="T11" fmla="*/ 7 h 54"/>
                  <a:gd name="T12" fmla="*/ 18 w 27"/>
                  <a:gd name="T13" fmla="*/ 0 h 54"/>
                  <a:gd name="T14" fmla="*/ 27 w 27"/>
                  <a:gd name="T15" fmla="*/ 2 h 54"/>
                  <a:gd name="T16" fmla="*/ 17 w 27"/>
                  <a:gd name="T17" fmla="*/ 54 h 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7" h="54">
                    <a:moveTo>
                      <a:pt x="17" y="54"/>
                    </a:moveTo>
                    <a:cubicBezTo>
                      <a:pt x="7" y="52"/>
                      <a:pt x="7" y="52"/>
                      <a:pt x="7" y="52"/>
                    </a:cubicBezTo>
                    <a:cubicBezTo>
                      <a:pt x="14" y="15"/>
                      <a:pt x="14" y="15"/>
                      <a:pt x="14" y="15"/>
                    </a:cubicBezTo>
                    <a:cubicBezTo>
                      <a:pt x="10" y="17"/>
                      <a:pt x="5" y="19"/>
                      <a:pt x="0" y="20"/>
                    </a:cubicBezTo>
                    <a:cubicBezTo>
                      <a:pt x="1" y="11"/>
                      <a:pt x="1" y="11"/>
                      <a:pt x="1" y="11"/>
                    </a:cubicBezTo>
                    <a:cubicBezTo>
                      <a:pt x="4" y="10"/>
                      <a:pt x="7" y="9"/>
                      <a:pt x="11" y="7"/>
                    </a:cubicBezTo>
                    <a:cubicBezTo>
                      <a:pt x="14" y="6"/>
                      <a:pt x="17" y="3"/>
                      <a:pt x="18" y="0"/>
                    </a:cubicBezTo>
                    <a:cubicBezTo>
                      <a:pt x="27" y="2"/>
                      <a:pt x="27" y="2"/>
                      <a:pt x="27" y="2"/>
                    </a:cubicBezTo>
                    <a:lnTo>
                      <a:pt x="17" y="5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306" name="i$ḻîḓé"/>
              <p:cNvSpPr/>
              <p:nvPr/>
            </p:nvSpPr>
            <p:spPr bwMode="auto">
              <a:xfrm>
                <a:off x="2363684" y="6052140"/>
                <a:ext cx="66675" cy="100013"/>
              </a:xfrm>
              <a:custGeom>
                <a:avLst/>
                <a:gdLst>
                  <a:gd name="T0" fmla="*/ 0 w 36"/>
                  <a:gd name="T1" fmla="*/ 40 h 54"/>
                  <a:gd name="T2" fmla="*/ 10 w 36"/>
                  <a:gd name="T3" fmla="*/ 39 h 54"/>
                  <a:gd name="T4" fmla="*/ 11 w 36"/>
                  <a:gd name="T5" fmla="*/ 44 h 54"/>
                  <a:gd name="T6" fmla="*/ 15 w 36"/>
                  <a:gd name="T7" fmla="*/ 46 h 54"/>
                  <a:gd name="T8" fmla="*/ 21 w 36"/>
                  <a:gd name="T9" fmla="*/ 43 h 54"/>
                  <a:gd name="T10" fmla="*/ 24 w 36"/>
                  <a:gd name="T11" fmla="*/ 31 h 54"/>
                  <a:gd name="T12" fmla="*/ 15 w 36"/>
                  <a:gd name="T13" fmla="*/ 35 h 54"/>
                  <a:gd name="T14" fmla="*/ 4 w 36"/>
                  <a:gd name="T15" fmla="*/ 30 h 54"/>
                  <a:gd name="T16" fmla="*/ 0 w 36"/>
                  <a:gd name="T17" fmla="*/ 17 h 54"/>
                  <a:gd name="T18" fmla="*/ 6 w 36"/>
                  <a:gd name="T19" fmla="*/ 4 h 54"/>
                  <a:gd name="T20" fmla="*/ 19 w 36"/>
                  <a:gd name="T21" fmla="*/ 0 h 54"/>
                  <a:gd name="T22" fmla="*/ 31 w 36"/>
                  <a:gd name="T23" fmla="*/ 7 h 54"/>
                  <a:gd name="T24" fmla="*/ 35 w 36"/>
                  <a:gd name="T25" fmla="*/ 28 h 54"/>
                  <a:gd name="T26" fmla="*/ 28 w 36"/>
                  <a:gd name="T27" fmla="*/ 49 h 54"/>
                  <a:gd name="T28" fmla="*/ 14 w 36"/>
                  <a:gd name="T29" fmla="*/ 54 h 54"/>
                  <a:gd name="T30" fmla="*/ 4 w 36"/>
                  <a:gd name="T31" fmla="*/ 50 h 54"/>
                  <a:gd name="T32" fmla="*/ 0 w 36"/>
                  <a:gd name="T33" fmla="*/ 40 h 54"/>
                  <a:gd name="T34" fmla="*/ 24 w 36"/>
                  <a:gd name="T35" fmla="*/ 19 h 54"/>
                  <a:gd name="T36" fmla="*/ 23 w 36"/>
                  <a:gd name="T37" fmla="*/ 11 h 54"/>
                  <a:gd name="T38" fmla="*/ 18 w 36"/>
                  <a:gd name="T39" fmla="*/ 8 h 54"/>
                  <a:gd name="T40" fmla="*/ 13 w 36"/>
                  <a:gd name="T41" fmla="*/ 10 h 54"/>
                  <a:gd name="T42" fmla="*/ 10 w 36"/>
                  <a:gd name="T43" fmla="*/ 17 h 54"/>
                  <a:gd name="T44" fmla="*/ 12 w 36"/>
                  <a:gd name="T45" fmla="*/ 25 h 54"/>
                  <a:gd name="T46" fmla="*/ 17 w 36"/>
                  <a:gd name="T47" fmla="*/ 28 h 54"/>
                  <a:gd name="T48" fmla="*/ 22 w 36"/>
                  <a:gd name="T49" fmla="*/ 26 h 54"/>
                  <a:gd name="T50" fmla="*/ 24 w 36"/>
                  <a:gd name="T51" fmla="*/ 19 h 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6" h="54">
                    <a:moveTo>
                      <a:pt x="0" y="40"/>
                    </a:moveTo>
                    <a:cubicBezTo>
                      <a:pt x="10" y="39"/>
                      <a:pt x="10" y="39"/>
                      <a:pt x="10" y="39"/>
                    </a:cubicBezTo>
                    <a:cubicBezTo>
                      <a:pt x="10" y="41"/>
                      <a:pt x="10" y="43"/>
                      <a:pt x="11" y="44"/>
                    </a:cubicBezTo>
                    <a:cubicBezTo>
                      <a:pt x="12" y="45"/>
                      <a:pt x="14" y="46"/>
                      <a:pt x="15" y="46"/>
                    </a:cubicBezTo>
                    <a:cubicBezTo>
                      <a:pt x="17" y="46"/>
                      <a:pt x="19" y="45"/>
                      <a:pt x="21" y="43"/>
                    </a:cubicBezTo>
                    <a:cubicBezTo>
                      <a:pt x="22" y="41"/>
                      <a:pt x="24" y="37"/>
                      <a:pt x="24" y="31"/>
                    </a:cubicBezTo>
                    <a:cubicBezTo>
                      <a:pt x="22" y="34"/>
                      <a:pt x="18" y="35"/>
                      <a:pt x="15" y="35"/>
                    </a:cubicBezTo>
                    <a:cubicBezTo>
                      <a:pt x="10" y="35"/>
                      <a:pt x="7" y="33"/>
                      <a:pt x="4" y="30"/>
                    </a:cubicBezTo>
                    <a:cubicBezTo>
                      <a:pt x="1" y="26"/>
                      <a:pt x="0" y="22"/>
                      <a:pt x="0" y="17"/>
                    </a:cubicBezTo>
                    <a:cubicBezTo>
                      <a:pt x="1" y="11"/>
                      <a:pt x="3" y="7"/>
                      <a:pt x="6" y="4"/>
                    </a:cubicBezTo>
                    <a:cubicBezTo>
                      <a:pt x="10" y="1"/>
                      <a:pt x="14" y="0"/>
                      <a:pt x="19" y="0"/>
                    </a:cubicBezTo>
                    <a:cubicBezTo>
                      <a:pt x="24" y="0"/>
                      <a:pt x="28" y="3"/>
                      <a:pt x="31" y="7"/>
                    </a:cubicBezTo>
                    <a:cubicBezTo>
                      <a:pt x="35" y="12"/>
                      <a:pt x="36" y="19"/>
                      <a:pt x="35" y="28"/>
                    </a:cubicBezTo>
                    <a:cubicBezTo>
                      <a:pt x="34" y="38"/>
                      <a:pt x="32" y="44"/>
                      <a:pt x="28" y="49"/>
                    </a:cubicBezTo>
                    <a:cubicBezTo>
                      <a:pt x="24" y="53"/>
                      <a:pt x="20" y="54"/>
                      <a:pt x="14" y="54"/>
                    </a:cubicBezTo>
                    <a:cubicBezTo>
                      <a:pt x="10" y="54"/>
                      <a:pt x="7" y="52"/>
                      <a:pt x="4" y="50"/>
                    </a:cubicBezTo>
                    <a:cubicBezTo>
                      <a:pt x="2" y="48"/>
                      <a:pt x="0" y="44"/>
                      <a:pt x="0" y="40"/>
                    </a:cubicBezTo>
                    <a:close/>
                    <a:moveTo>
                      <a:pt x="24" y="19"/>
                    </a:moveTo>
                    <a:cubicBezTo>
                      <a:pt x="25" y="16"/>
                      <a:pt x="24" y="13"/>
                      <a:pt x="23" y="11"/>
                    </a:cubicBezTo>
                    <a:cubicBezTo>
                      <a:pt x="21" y="10"/>
                      <a:pt x="20" y="9"/>
                      <a:pt x="18" y="8"/>
                    </a:cubicBezTo>
                    <a:cubicBezTo>
                      <a:pt x="16" y="8"/>
                      <a:pt x="14" y="9"/>
                      <a:pt x="13" y="10"/>
                    </a:cubicBezTo>
                    <a:cubicBezTo>
                      <a:pt x="11" y="12"/>
                      <a:pt x="11" y="14"/>
                      <a:pt x="10" y="17"/>
                    </a:cubicBezTo>
                    <a:cubicBezTo>
                      <a:pt x="10" y="21"/>
                      <a:pt x="11" y="23"/>
                      <a:pt x="12" y="25"/>
                    </a:cubicBezTo>
                    <a:cubicBezTo>
                      <a:pt x="13" y="27"/>
                      <a:pt x="15" y="28"/>
                      <a:pt x="17" y="28"/>
                    </a:cubicBezTo>
                    <a:cubicBezTo>
                      <a:pt x="19" y="28"/>
                      <a:pt x="20" y="27"/>
                      <a:pt x="22" y="26"/>
                    </a:cubicBezTo>
                    <a:cubicBezTo>
                      <a:pt x="23" y="24"/>
                      <a:pt x="24" y="22"/>
                      <a:pt x="24" y="1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307" name="îṧľîḋé"/>
              <p:cNvSpPr/>
              <p:nvPr/>
            </p:nvSpPr>
            <p:spPr bwMode="auto">
              <a:xfrm>
                <a:off x="2446234" y="6053728"/>
                <a:ext cx="66675" cy="100013"/>
              </a:xfrm>
              <a:custGeom>
                <a:avLst/>
                <a:gdLst>
                  <a:gd name="T0" fmla="*/ 0 w 36"/>
                  <a:gd name="T1" fmla="*/ 40 h 54"/>
                  <a:gd name="T2" fmla="*/ 10 w 36"/>
                  <a:gd name="T3" fmla="*/ 39 h 54"/>
                  <a:gd name="T4" fmla="*/ 13 w 36"/>
                  <a:gd name="T5" fmla="*/ 44 h 54"/>
                  <a:gd name="T6" fmla="*/ 18 w 36"/>
                  <a:gd name="T7" fmla="*/ 46 h 54"/>
                  <a:gd name="T8" fmla="*/ 23 w 36"/>
                  <a:gd name="T9" fmla="*/ 43 h 54"/>
                  <a:gd name="T10" fmla="*/ 25 w 36"/>
                  <a:gd name="T11" fmla="*/ 35 h 54"/>
                  <a:gd name="T12" fmla="*/ 23 w 36"/>
                  <a:gd name="T13" fmla="*/ 28 h 54"/>
                  <a:gd name="T14" fmla="*/ 17 w 36"/>
                  <a:gd name="T15" fmla="*/ 26 h 54"/>
                  <a:gd name="T16" fmla="*/ 9 w 36"/>
                  <a:gd name="T17" fmla="*/ 30 h 54"/>
                  <a:gd name="T18" fmla="*/ 1 w 36"/>
                  <a:gd name="T19" fmla="*/ 29 h 54"/>
                  <a:gd name="T20" fmla="*/ 5 w 36"/>
                  <a:gd name="T21" fmla="*/ 1 h 54"/>
                  <a:gd name="T22" fmla="*/ 32 w 36"/>
                  <a:gd name="T23" fmla="*/ 0 h 54"/>
                  <a:gd name="T24" fmla="*/ 32 w 36"/>
                  <a:gd name="T25" fmla="*/ 10 h 54"/>
                  <a:gd name="T26" fmla="*/ 13 w 36"/>
                  <a:gd name="T27" fmla="*/ 10 h 54"/>
                  <a:gd name="T28" fmla="*/ 12 w 36"/>
                  <a:gd name="T29" fmla="*/ 19 h 54"/>
                  <a:gd name="T30" fmla="*/ 19 w 36"/>
                  <a:gd name="T31" fmla="*/ 17 h 54"/>
                  <a:gd name="T32" fmla="*/ 30 w 36"/>
                  <a:gd name="T33" fmla="*/ 22 h 54"/>
                  <a:gd name="T34" fmla="*/ 36 w 36"/>
                  <a:gd name="T35" fmla="*/ 34 h 54"/>
                  <a:gd name="T36" fmla="*/ 32 w 36"/>
                  <a:gd name="T37" fmla="*/ 46 h 54"/>
                  <a:gd name="T38" fmla="*/ 18 w 36"/>
                  <a:gd name="T39" fmla="*/ 54 h 54"/>
                  <a:gd name="T40" fmla="*/ 6 w 36"/>
                  <a:gd name="T41" fmla="*/ 50 h 54"/>
                  <a:gd name="T42" fmla="*/ 0 w 36"/>
                  <a:gd name="T43" fmla="*/ 40 h 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36" h="54">
                    <a:moveTo>
                      <a:pt x="0" y="40"/>
                    </a:moveTo>
                    <a:cubicBezTo>
                      <a:pt x="10" y="39"/>
                      <a:pt x="10" y="39"/>
                      <a:pt x="10" y="39"/>
                    </a:cubicBezTo>
                    <a:cubicBezTo>
                      <a:pt x="11" y="41"/>
                      <a:pt x="11" y="43"/>
                      <a:pt x="13" y="44"/>
                    </a:cubicBezTo>
                    <a:cubicBezTo>
                      <a:pt x="14" y="45"/>
                      <a:pt x="16" y="46"/>
                      <a:pt x="18" y="46"/>
                    </a:cubicBezTo>
                    <a:cubicBezTo>
                      <a:pt x="20" y="46"/>
                      <a:pt x="22" y="45"/>
                      <a:pt x="23" y="43"/>
                    </a:cubicBezTo>
                    <a:cubicBezTo>
                      <a:pt x="25" y="41"/>
                      <a:pt x="25" y="38"/>
                      <a:pt x="25" y="35"/>
                    </a:cubicBezTo>
                    <a:cubicBezTo>
                      <a:pt x="25" y="32"/>
                      <a:pt x="24" y="29"/>
                      <a:pt x="23" y="28"/>
                    </a:cubicBezTo>
                    <a:cubicBezTo>
                      <a:pt x="21" y="26"/>
                      <a:pt x="19" y="25"/>
                      <a:pt x="17" y="26"/>
                    </a:cubicBezTo>
                    <a:cubicBezTo>
                      <a:pt x="14" y="26"/>
                      <a:pt x="11" y="27"/>
                      <a:pt x="9" y="30"/>
                    </a:cubicBezTo>
                    <a:cubicBezTo>
                      <a:pt x="1" y="29"/>
                      <a:pt x="1" y="29"/>
                      <a:pt x="1" y="29"/>
                    </a:cubicBezTo>
                    <a:cubicBezTo>
                      <a:pt x="5" y="1"/>
                      <a:pt x="5" y="1"/>
                      <a:pt x="5" y="1"/>
                    </a:cubicBezTo>
                    <a:cubicBezTo>
                      <a:pt x="32" y="0"/>
                      <a:pt x="32" y="0"/>
                      <a:pt x="32" y="0"/>
                    </a:cubicBezTo>
                    <a:cubicBezTo>
                      <a:pt x="32" y="10"/>
                      <a:pt x="32" y="10"/>
                      <a:pt x="32" y="10"/>
                    </a:cubicBezTo>
                    <a:cubicBezTo>
                      <a:pt x="13" y="10"/>
                      <a:pt x="13" y="10"/>
                      <a:pt x="13" y="10"/>
                    </a:cubicBezTo>
                    <a:cubicBezTo>
                      <a:pt x="12" y="19"/>
                      <a:pt x="12" y="19"/>
                      <a:pt x="12" y="19"/>
                    </a:cubicBezTo>
                    <a:cubicBezTo>
                      <a:pt x="14" y="18"/>
                      <a:pt x="16" y="17"/>
                      <a:pt x="19" y="17"/>
                    </a:cubicBezTo>
                    <a:cubicBezTo>
                      <a:pt x="23" y="17"/>
                      <a:pt x="27" y="19"/>
                      <a:pt x="30" y="22"/>
                    </a:cubicBezTo>
                    <a:cubicBezTo>
                      <a:pt x="34" y="25"/>
                      <a:pt x="35" y="29"/>
                      <a:pt x="36" y="34"/>
                    </a:cubicBezTo>
                    <a:cubicBezTo>
                      <a:pt x="36" y="39"/>
                      <a:pt x="35" y="43"/>
                      <a:pt x="32" y="46"/>
                    </a:cubicBezTo>
                    <a:cubicBezTo>
                      <a:pt x="29" y="51"/>
                      <a:pt x="24" y="54"/>
                      <a:pt x="18" y="54"/>
                    </a:cubicBezTo>
                    <a:cubicBezTo>
                      <a:pt x="13" y="54"/>
                      <a:pt x="9" y="53"/>
                      <a:pt x="6" y="50"/>
                    </a:cubicBezTo>
                    <a:cubicBezTo>
                      <a:pt x="3" y="48"/>
                      <a:pt x="1" y="44"/>
                      <a:pt x="0" y="4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308" name="i$ḻïḑê"/>
              <p:cNvSpPr/>
              <p:nvPr/>
            </p:nvSpPr>
            <p:spPr bwMode="auto">
              <a:xfrm>
                <a:off x="2522434" y="6045790"/>
                <a:ext cx="74613" cy="103188"/>
              </a:xfrm>
              <a:custGeom>
                <a:avLst/>
                <a:gdLst>
                  <a:gd name="T0" fmla="*/ 39 w 40"/>
                  <a:gd name="T1" fmla="*/ 42 h 56"/>
                  <a:gd name="T2" fmla="*/ 40 w 40"/>
                  <a:gd name="T3" fmla="*/ 51 h 56"/>
                  <a:gd name="T4" fmla="*/ 5 w 40"/>
                  <a:gd name="T5" fmla="*/ 56 h 56"/>
                  <a:gd name="T6" fmla="*/ 7 w 40"/>
                  <a:gd name="T7" fmla="*/ 46 h 56"/>
                  <a:gd name="T8" fmla="*/ 16 w 40"/>
                  <a:gd name="T9" fmla="*/ 32 h 56"/>
                  <a:gd name="T10" fmla="*/ 23 w 40"/>
                  <a:gd name="T11" fmla="*/ 22 h 56"/>
                  <a:gd name="T12" fmla="*/ 24 w 40"/>
                  <a:gd name="T13" fmla="*/ 15 h 56"/>
                  <a:gd name="T14" fmla="*/ 22 w 40"/>
                  <a:gd name="T15" fmla="*/ 10 h 56"/>
                  <a:gd name="T16" fmla="*/ 17 w 40"/>
                  <a:gd name="T17" fmla="*/ 9 h 56"/>
                  <a:gd name="T18" fmla="*/ 12 w 40"/>
                  <a:gd name="T19" fmla="*/ 12 h 56"/>
                  <a:gd name="T20" fmla="*/ 11 w 40"/>
                  <a:gd name="T21" fmla="*/ 19 h 56"/>
                  <a:gd name="T22" fmla="*/ 1 w 40"/>
                  <a:gd name="T23" fmla="*/ 19 h 56"/>
                  <a:gd name="T24" fmla="*/ 4 w 40"/>
                  <a:gd name="T25" fmla="*/ 6 h 56"/>
                  <a:gd name="T26" fmla="*/ 16 w 40"/>
                  <a:gd name="T27" fmla="*/ 1 h 56"/>
                  <a:gd name="T28" fmla="*/ 28 w 40"/>
                  <a:gd name="T29" fmla="*/ 3 h 56"/>
                  <a:gd name="T30" fmla="*/ 34 w 40"/>
                  <a:gd name="T31" fmla="*/ 13 h 56"/>
                  <a:gd name="T32" fmla="*/ 34 w 40"/>
                  <a:gd name="T33" fmla="*/ 20 h 56"/>
                  <a:gd name="T34" fmla="*/ 31 w 40"/>
                  <a:gd name="T35" fmla="*/ 27 h 56"/>
                  <a:gd name="T36" fmla="*/ 26 w 40"/>
                  <a:gd name="T37" fmla="*/ 35 h 56"/>
                  <a:gd name="T38" fmla="*/ 20 w 40"/>
                  <a:gd name="T39" fmla="*/ 42 h 56"/>
                  <a:gd name="T40" fmla="*/ 19 w 40"/>
                  <a:gd name="T41" fmla="*/ 45 h 56"/>
                  <a:gd name="T42" fmla="*/ 39 w 40"/>
                  <a:gd name="T43" fmla="*/ 42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40" h="56">
                    <a:moveTo>
                      <a:pt x="39" y="42"/>
                    </a:moveTo>
                    <a:cubicBezTo>
                      <a:pt x="40" y="51"/>
                      <a:pt x="40" y="51"/>
                      <a:pt x="40" y="51"/>
                    </a:cubicBezTo>
                    <a:cubicBezTo>
                      <a:pt x="5" y="56"/>
                      <a:pt x="5" y="56"/>
                      <a:pt x="5" y="56"/>
                    </a:cubicBezTo>
                    <a:cubicBezTo>
                      <a:pt x="5" y="53"/>
                      <a:pt x="5" y="49"/>
                      <a:pt x="7" y="46"/>
                    </a:cubicBezTo>
                    <a:cubicBezTo>
                      <a:pt x="8" y="42"/>
                      <a:pt x="11" y="38"/>
                      <a:pt x="16" y="32"/>
                    </a:cubicBezTo>
                    <a:cubicBezTo>
                      <a:pt x="20" y="27"/>
                      <a:pt x="22" y="23"/>
                      <a:pt x="23" y="22"/>
                    </a:cubicBezTo>
                    <a:cubicBezTo>
                      <a:pt x="24" y="19"/>
                      <a:pt x="25" y="17"/>
                      <a:pt x="24" y="15"/>
                    </a:cubicBezTo>
                    <a:cubicBezTo>
                      <a:pt x="24" y="13"/>
                      <a:pt x="23" y="11"/>
                      <a:pt x="22" y="10"/>
                    </a:cubicBezTo>
                    <a:cubicBezTo>
                      <a:pt x="21" y="9"/>
                      <a:pt x="19" y="9"/>
                      <a:pt x="17" y="9"/>
                    </a:cubicBezTo>
                    <a:cubicBezTo>
                      <a:pt x="15" y="10"/>
                      <a:pt x="13" y="11"/>
                      <a:pt x="12" y="12"/>
                    </a:cubicBezTo>
                    <a:cubicBezTo>
                      <a:pt x="11" y="13"/>
                      <a:pt x="10" y="16"/>
                      <a:pt x="11" y="19"/>
                    </a:cubicBezTo>
                    <a:cubicBezTo>
                      <a:pt x="1" y="19"/>
                      <a:pt x="1" y="19"/>
                      <a:pt x="1" y="19"/>
                    </a:cubicBezTo>
                    <a:cubicBezTo>
                      <a:pt x="0" y="13"/>
                      <a:pt x="2" y="9"/>
                      <a:pt x="4" y="6"/>
                    </a:cubicBezTo>
                    <a:cubicBezTo>
                      <a:pt x="7" y="3"/>
                      <a:pt x="11" y="2"/>
                      <a:pt x="16" y="1"/>
                    </a:cubicBezTo>
                    <a:cubicBezTo>
                      <a:pt x="21" y="0"/>
                      <a:pt x="25" y="1"/>
                      <a:pt x="28" y="3"/>
                    </a:cubicBezTo>
                    <a:cubicBezTo>
                      <a:pt x="32" y="6"/>
                      <a:pt x="34" y="9"/>
                      <a:pt x="34" y="13"/>
                    </a:cubicBezTo>
                    <a:cubicBezTo>
                      <a:pt x="35" y="15"/>
                      <a:pt x="35" y="18"/>
                      <a:pt x="34" y="20"/>
                    </a:cubicBezTo>
                    <a:cubicBezTo>
                      <a:pt x="34" y="22"/>
                      <a:pt x="33" y="25"/>
                      <a:pt x="31" y="27"/>
                    </a:cubicBezTo>
                    <a:cubicBezTo>
                      <a:pt x="30" y="29"/>
                      <a:pt x="28" y="32"/>
                      <a:pt x="26" y="35"/>
                    </a:cubicBezTo>
                    <a:cubicBezTo>
                      <a:pt x="23" y="38"/>
                      <a:pt x="21" y="41"/>
                      <a:pt x="20" y="42"/>
                    </a:cubicBezTo>
                    <a:cubicBezTo>
                      <a:pt x="20" y="43"/>
                      <a:pt x="19" y="44"/>
                      <a:pt x="19" y="45"/>
                    </a:cubicBezTo>
                    <a:lnTo>
                      <a:pt x="39" y="4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309" name="íṧlíḍe"/>
              <p:cNvSpPr/>
              <p:nvPr/>
            </p:nvSpPr>
            <p:spPr bwMode="auto">
              <a:xfrm>
                <a:off x="2611334" y="6072778"/>
                <a:ext cx="22225" cy="23813"/>
              </a:xfrm>
              <a:custGeom>
                <a:avLst/>
                <a:gdLst>
                  <a:gd name="T0" fmla="*/ 3 w 14"/>
                  <a:gd name="T1" fmla="*/ 15 h 15"/>
                  <a:gd name="T2" fmla="*/ 0 w 14"/>
                  <a:gd name="T3" fmla="*/ 3 h 15"/>
                  <a:gd name="T4" fmla="*/ 11 w 14"/>
                  <a:gd name="T5" fmla="*/ 0 h 15"/>
                  <a:gd name="T6" fmla="*/ 14 w 14"/>
                  <a:gd name="T7" fmla="*/ 12 h 15"/>
                  <a:gd name="T8" fmla="*/ 3 w 14"/>
                  <a:gd name="T9" fmla="*/ 15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4" h="15">
                    <a:moveTo>
                      <a:pt x="3" y="15"/>
                    </a:moveTo>
                    <a:lnTo>
                      <a:pt x="0" y="3"/>
                    </a:lnTo>
                    <a:lnTo>
                      <a:pt x="11" y="0"/>
                    </a:lnTo>
                    <a:lnTo>
                      <a:pt x="14" y="12"/>
                    </a:lnTo>
                    <a:lnTo>
                      <a:pt x="3" y="1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310" name="îŝľîḓê"/>
              <p:cNvSpPr/>
              <p:nvPr/>
            </p:nvSpPr>
            <p:spPr bwMode="auto">
              <a:xfrm>
                <a:off x="2108097" y="5261565"/>
                <a:ext cx="141288" cy="257175"/>
              </a:xfrm>
              <a:custGeom>
                <a:avLst/>
                <a:gdLst>
                  <a:gd name="T0" fmla="*/ 12 w 77"/>
                  <a:gd name="T1" fmla="*/ 25 h 139"/>
                  <a:gd name="T2" fmla="*/ 9 w 77"/>
                  <a:gd name="T3" fmla="*/ 21 h 139"/>
                  <a:gd name="T4" fmla="*/ 12 w 77"/>
                  <a:gd name="T5" fmla="*/ 17 h 139"/>
                  <a:gd name="T6" fmla="*/ 39 w 77"/>
                  <a:gd name="T7" fmla="*/ 21 h 139"/>
                  <a:gd name="T8" fmla="*/ 46 w 77"/>
                  <a:gd name="T9" fmla="*/ 36 h 139"/>
                  <a:gd name="T10" fmla="*/ 46 w 77"/>
                  <a:gd name="T11" fmla="*/ 39 h 139"/>
                  <a:gd name="T12" fmla="*/ 61 w 77"/>
                  <a:gd name="T13" fmla="*/ 33 h 139"/>
                  <a:gd name="T14" fmla="*/ 57 w 77"/>
                  <a:gd name="T15" fmla="*/ 16 h 139"/>
                  <a:gd name="T16" fmla="*/ 35 w 77"/>
                  <a:gd name="T17" fmla="*/ 9 h 139"/>
                  <a:gd name="T18" fmla="*/ 27 w 77"/>
                  <a:gd name="T19" fmla="*/ 3 h 139"/>
                  <a:gd name="T20" fmla="*/ 32 w 77"/>
                  <a:gd name="T21" fmla="*/ 0 h 139"/>
                  <a:gd name="T22" fmla="*/ 61 w 77"/>
                  <a:gd name="T23" fmla="*/ 9 h 139"/>
                  <a:gd name="T24" fmla="*/ 72 w 77"/>
                  <a:gd name="T25" fmla="*/ 30 h 139"/>
                  <a:gd name="T26" fmla="*/ 48 w 77"/>
                  <a:gd name="T27" fmla="*/ 45 h 139"/>
                  <a:gd name="T28" fmla="*/ 45 w 77"/>
                  <a:gd name="T29" fmla="*/ 46 h 139"/>
                  <a:gd name="T30" fmla="*/ 45 w 77"/>
                  <a:gd name="T31" fmla="*/ 54 h 139"/>
                  <a:gd name="T32" fmla="*/ 59 w 77"/>
                  <a:gd name="T33" fmla="*/ 61 h 139"/>
                  <a:gd name="T34" fmla="*/ 77 w 77"/>
                  <a:gd name="T35" fmla="*/ 80 h 139"/>
                  <a:gd name="T36" fmla="*/ 75 w 77"/>
                  <a:gd name="T37" fmla="*/ 84 h 139"/>
                  <a:gd name="T38" fmla="*/ 71 w 77"/>
                  <a:gd name="T39" fmla="*/ 83 h 139"/>
                  <a:gd name="T40" fmla="*/ 59 w 77"/>
                  <a:gd name="T41" fmla="*/ 70 h 139"/>
                  <a:gd name="T42" fmla="*/ 45 w 77"/>
                  <a:gd name="T43" fmla="*/ 63 h 139"/>
                  <a:gd name="T44" fmla="*/ 45 w 77"/>
                  <a:gd name="T45" fmla="*/ 77 h 139"/>
                  <a:gd name="T46" fmla="*/ 53 w 77"/>
                  <a:gd name="T47" fmla="*/ 83 h 139"/>
                  <a:gd name="T48" fmla="*/ 66 w 77"/>
                  <a:gd name="T49" fmla="*/ 102 h 139"/>
                  <a:gd name="T50" fmla="*/ 72 w 77"/>
                  <a:gd name="T51" fmla="*/ 121 h 139"/>
                  <a:gd name="T52" fmla="*/ 70 w 77"/>
                  <a:gd name="T53" fmla="*/ 124 h 139"/>
                  <a:gd name="T54" fmla="*/ 67 w 77"/>
                  <a:gd name="T55" fmla="*/ 122 h 139"/>
                  <a:gd name="T56" fmla="*/ 64 w 77"/>
                  <a:gd name="T57" fmla="*/ 115 h 139"/>
                  <a:gd name="T58" fmla="*/ 55 w 77"/>
                  <a:gd name="T59" fmla="*/ 97 h 139"/>
                  <a:gd name="T60" fmla="*/ 45 w 77"/>
                  <a:gd name="T61" fmla="*/ 87 h 139"/>
                  <a:gd name="T62" fmla="*/ 45 w 77"/>
                  <a:gd name="T63" fmla="*/ 102 h 139"/>
                  <a:gd name="T64" fmla="*/ 44 w 77"/>
                  <a:gd name="T65" fmla="*/ 136 h 139"/>
                  <a:gd name="T66" fmla="*/ 41 w 77"/>
                  <a:gd name="T67" fmla="*/ 139 h 139"/>
                  <a:gd name="T68" fmla="*/ 38 w 77"/>
                  <a:gd name="T69" fmla="*/ 137 h 139"/>
                  <a:gd name="T70" fmla="*/ 37 w 77"/>
                  <a:gd name="T71" fmla="*/ 103 h 139"/>
                  <a:gd name="T72" fmla="*/ 37 w 77"/>
                  <a:gd name="T73" fmla="*/ 86 h 139"/>
                  <a:gd name="T74" fmla="*/ 28 w 77"/>
                  <a:gd name="T75" fmla="*/ 92 h 139"/>
                  <a:gd name="T76" fmla="*/ 19 w 77"/>
                  <a:gd name="T77" fmla="*/ 109 h 139"/>
                  <a:gd name="T78" fmla="*/ 12 w 77"/>
                  <a:gd name="T79" fmla="*/ 121 h 139"/>
                  <a:gd name="T80" fmla="*/ 8 w 77"/>
                  <a:gd name="T81" fmla="*/ 122 h 139"/>
                  <a:gd name="T82" fmla="*/ 7 w 77"/>
                  <a:gd name="T83" fmla="*/ 120 h 139"/>
                  <a:gd name="T84" fmla="*/ 8 w 77"/>
                  <a:gd name="T85" fmla="*/ 117 h 139"/>
                  <a:gd name="T86" fmla="*/ 11 w 77"/>
                  <a:gd name="T87" fmla="*/ 106 h 139"/>
                  <a:gd name="T88" fmla="*/ 22 w 77"/>
                  <a:gd name="T89" fmla="*/ 86 h 139"/>
                  <a:gd name="T90" fmla="*/ 37 w 77"/>
                  <a:gd name="T91" fmla="*/ 76 h 139"/>
                  <a:gd name="T92" fmla="*/ 37 w 77"/>
                  <a:gd name="T93" fmla="*/ 68 h 139"/>
                  <a:gd name="T94" fmla="*/ 37 w 77"/>
                  <a:gd name="T95" fmla="*/ 63 h 139"/>
                  <a:gd name="T96" fmla="*/ 24 w 77"/>
                  <a:gd name="T97" fmla="*/ 69 h 139"/>
                  <a:gd name="T98" fmla="*/ 16 w 77"/>
                  <a:gd name="T99" fmla="*/ 77 h 139"/>
                  <a:gd name="T100" fmla="*/ 9 w 77"/>
                  <a:gd name="T101" fmla="*/ 85 h 139"/>
                  <a:gd name="T102" fmla="*/ 6 w 77"/>
                  <a:gd name="T103" fmla="*/ 86 h 139"/>
                  <a:gd name="T104" fmla="*/ 5 w 77"/>
                  <a:gd name="T105" fmla="*/ 82 h 139"/>
                  <a:gd name="T106" fmla="*/ 22 w 77"/>
                  <a:gd name="T107" fmla="*/ 60 h 139"/>
                  <a:gd name="T108" fmla="*/ 37 w 77"/>
                  <a:gd name="T109" fmla="*/ 54 h 139"/>
                  <a:gd name="T110" fmla="*/ 37 w 77"/>
                  <a:gd name="T111" fmla="*/ 47 h 139"/>
                  <a:gd name="T112" fmla="*/ 3 w 77"/>
                  <a:gd name="T113" fmla="*/ 45 h 139"/>
                  <a:gd name="T114" fmla="*/ 0 w 77"/>
                  <a:gd name="T115" fmla="*/ 40 h 139"/>
                  <a:gd name="T116" fmla="*/ 5 w 77"/>
                  <a:gd name="T117" fmla="*/ 38 h 139"/>
                  <a:gd name="T118" fmla="*/ 37 w 77"/>
                  <a:gd name="T119" fmla="*/ 39 h 139"/>
                  <a:gd name="T120" fmla="*/ 37 w 77"/>
                  <a:gd name="T121" fmla="*/ 39 h 139"/>
                  <a:gd name="T122" fmla="*/ 33 w 77"/>
                  <a:gd name="T123" fmla="*/ 28 h 139"/>
                  <a:gd name="T124" fmla="*/ 12 w 77"/>
                  <a:gd name="T125" fmla="*/ 25 h 1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77" h="139">
                    <a:moveTo>
                      <a:pt x="12" y="25"/>
                    </a:moveTo>
                    <a:cubicBezTo>
                      <a:pt x="10" y="25"/>
                      <a:pt x="9" y="24"/>
                      <a:pt x="9" y="21"/>
                    </a:cubicBezTo>
                    <a:cubicBezTo>
                      <a:pt x="9" y="18"/>
                      <a:pt x="10" y="17"/>
                      <a:pt x="12" y="17"/>
                    </a:cubicBezTo>
                    <a:cubicBezTo>
                      <a:pt x="24" y="17"/>
                      <a:pt x="33" y="18"/>
                      <a:pt x="39" y="21"/>
                    </a:cubicBezTo>
                    <a:cubicBezTo>
                      <a:pt x="45" y="24"/>
                      <a:pt x="47" y="28"/>
                      <a:pt x="46" y="36"/>
                    </a:cubicBezTo>
                    <a:cubicBezTo>
                      <a:pt x="46" y="37"/>
                      <a:pt x="46" y="38"/>
                      <a:pt x="46" y="39"/>
                    </a:cubicBezTo>
                    <a:cubicBezTo>
                      <a:pt x="53" y="38"/>
                      <a:pt x="58" y="35"/>
                      <a:pt x="61" y="33"/>
                    </a:cubicBezTo>
                    <a:cubicBezTo>
                      <a:pt x="65" y="27"/>
                      <a:pt x="64" y="22"/>
                      <a:pt x="57" y="16"/>
                    </a:cubicBezTo>
                    <a:cubicBezTo>
                      <a:pt x="52" y="12"/>
                      <a:pt x="44" y="9"/>
                      <a:pt x="35" y="9"/>
                    </a:cubicBezTo>
                    <a:cubicBezTo>
                      <a:pt x="30" y="8"/>
                      <a:pt x="28" y="6"/>
                      <a:pt x="27" y="3"/>
                    </a:cubicBezTo>
                    <a:cubicBezTo>
                      <a:pt x="27" y="1"/>
                      <a:pt x="29" y="0"/>
                      <a:pt x="32" y="0"/>
                    </a:cubicBezTo>
                    <a:cubicBezTo>
                      <a:pt x="44" y="0"/>
                      <a:pt x="53" y="3"/>
                      <a:pt x="61" y="9"/>
                    </a:cubicBezTo>
                    <a:cubicBezTo>
                      <a:pt x="69" y="16"/>
                      <a:pt x="73" y="23"/>
                      <a:pt x="72" y="30"/>
                    </a:cubicBezTo>
                    <a:cubicBezTo>
                      <a:pt x="68" y="37"/>
                      <a:pt x="60" y="43"/>
                      <a:pt x="48" y="45"/>
                    </a:cubicBezTo>
                    <a:cubicBezTo>
                      <a:pt x="47" y="46"/>
                      <a:pt x="46" y="46"/>
                      <a:pt x="45" y="46"/>
                    </a:cubicBezTo>
                    <a:cubicBezTo>
                      <a:pt x="45" y="48"/>
                      <a:pt x="45" y="51"/>
                      <a:pt x="45" y="54"/>
                    </a:cubicBezTo>
                    <a:cubicBezTo>
                      <a:pt x="49" y="54"/>
                      <a:pt x="54" y="57"/>
                      <a:pt x="59" y="61"/>
                    </a:cubicBezTo>
                    <a:cubicBezTo>
                      <a:pt x="66" y="66"/>
                      <a:pt x="72" y="72"/>
                      <a:pt x="77" y="80"/>
                    </a:cubicBezTo>
                    <a:cubicBezTo>
                      <a:pt x="77" y="82"/>
                      <a:pt x="77" y="83"/>
                      <a:pt x="75" y="84"/>
                    </a:cubicBezTo>
                    <a:cubicBezTo>
                      <a:pt x="74" y="85"/>
                      <a:pt x="72" y="85"/>
                      <a:pt x="71" y="83"/>
                    </a:cubicBezTo>
                    <a:cubicBezTo>
                      <a:pt x="69" y="80"/>
                      <a:pt x="65" y="76"/>
                      <a:pt x="59" y="70"/>
                    </a:cubicBezTo>
                    <a:cubicBezTo>
                      <a:pt x="54" y="66"/>
                      <a:pt x="49" y="64"/>
                      <a:pt x="45" y="63"/>
                    </a:cubicBezTo>
                    <a:cubicBezTo>
                      <a:pt x="45" y="77"/>
                      <a:pt x="45" y="77"/>
                      <a:pt x="45" y="77"/>
                    </a:cubicBezTo>
                    <a:cubicBezTo>
                      <a:pt x="48" y="78"/>
                      <a:pt x="51" y="80"/>
                      <a:pt x="53" y="83"/>
                    </a:cubicBezTo>
                    <a:cubicBezTo>
                      <a:pt x="59" y="88"/>
                      <a:pt x="63" y="94"/>
                      <a:pt x="66" y="102"/>
                    </a:cubicBezTo>
                    <a:cubicBezTo>
                      <a:pt x="71" y="109"/>
                      <a:pt x="73" y="116"/>
                      <a:pt x="72" y="121"/>
                    </a:cubicBezTo>
                    <a:cubicBezTo>
                      <a:pt x="72" y="122"/>
                      <a:pt x="72" y="123"/>
                      <a:pt x="70" y="124"/>
                    </a:cubicBezTo>
                    <a:cubicBezTo>
                      <a:pt x="69" y="124"/>
                      <a:pt x="68" y="124"/>
                      <a:pt x="67" y="122"/>
                    </a:cubicBezTo>
                    <a:cubicBezTo>
                      <a:pt x="67" y="121"/>
                      <a:pt x="66" y="118"/>
                      <a:pt x="64" y="115"/>
                    </a:cubicBezTo>
                    <a:cubicBezTo>
                      <a:pt x="60" y="107"/>
                      <a:pt x="57" y="102"/>
                      <a:pt x="55" y="97"/>
                    </a:cubicBezTo>
                    <a:cubicBezTo>
                      <a:pt x="51" y="91"/>
                      <a:pt x="48" y="88"/>
                      <a:pt x="45" y="87"/>
                    </a:cubicBezTo>
                    <a:cubicBezTo>
                      <a:pt x="45" y="102"/>
                      <a:pt x="45" y="102"/>
                      <a:pt x="45" y="102"/>
                    </a:cubicBezTo>
                    <a:cubicBezTo>
                      <a:pt x="45" y="117"/>
                      <a:pt x="45" y="128"/>
                      <a:pt x="44" y="136"/>
                    </a:cubicBezTo>
                    <a:cubicBezTo>
                      <a:pt x="43" y="137"/>
                      <a:pt x="42" y="138"/>
                      <a:pt x="41" y="139"/>
                    </a:cubicBezTo>
                    <a:cubicBezTo>
                      <a:pt x="40" y="139"/>
                      <a:pt x="39" y="139"/>
                      <a:pt x="38" y="137"/>
                    </a:cubicBezTo>
                    <a:cubicBezTo>
                      <a:pt x="37" y="135"/>
                      <a:pt x="37" y="123"/>
                      <a:pt x="37" y="103"/>
                    </a:cubicBezTo>
                    <a:cubicBezTo>
                      <a:pt x="37" y="97"/>
                      <a:pt x="37" y="92"/>
                      <a:pt x="37" y="86"/>
                    </a:cubicBezTo>
                    <a:cubicBezTo>
                      <a:pt x="34" y="87"/>
                      <a:pt x="31" y="89"/>
                      <a:pt x="28" y="92"/>
                    </a:cubicBezTo>
                    <a:cubicBezTo>
                      <a:pt x="24" y="98"/>
                      <a:pt x="21" y="103"/>
                      <a:pt x="19" y="109"/>
                    </a:cubicBezTo>
                    <a:cubicBezTo>
                      <a:pt x="17" y="113"/>
                      <a:pt x="15" y="117"/>
                      <a:pt x="12" y="121"/>
                    </a:cubicBezTo>
                    <a:cubicBezTo>
                      <a:pt x="11" y="122"/>
                      <a:pt x="9" y="122"/>
                      <a:pt x="8" y="122"/>
                    </a:cubicBezTo>
                    <a:cubicBezTo>
                      <a:pt x="7" y="122"/>
                      <a:pt x="7" y="121"/>
                      <a:pt x="7" y="120"/>
                    </a:cubicBezTo>
                    <a:cubicBezTo>
                      <a:pt x="7" y="119"/>
                      <a:pt x="7" y="118"/>
                      <a:pt x="8" y="117"/>
                    </a:cubicBezTo>
                    <a:cubicBezTo>
                      <a:pt x="9" y="112"/>
                      <a:pt x="10" y="108"/>
                      <a:pt x="11" y="106"/>
                    </a:cubicBezTo>
                    <a:cubicBezTo>
                      <a:pt x="13" y="101"/>
                      <a:pt x="17" y="94"/>
                      <a:pt x="22" y="86"/>
                    </a:cubicBezTo>
                    <a:cubicBezTo>
                      <a:pt x="27" y="80"/>
                      <a:pt x="32" y="77"/>
                      <a:pt x="37" y="76"/>
                    </a:cubicBezTo>
                    <a:cubicBezTo>
                      <a:pt x="37" y="68"/>
                      <a:pt x="37" y="68"/>
                      <a:pt x="37" y="68"/>
                    </a:cubicBezTo>
                    <a:cubicBezTo>
                      <a:pt x="37" y="63"/>
                      <a:pt x="37" y="63"/>
                      <a:pt x="37" y="63"/>
                    </a:cubicBezTo>
                    <a:cubicBezTo>
                      <a:pt x="33" y="64"/>
                      <a:pt x="29" y="66"/>
                      <a:pt x="24" y="69"/>
                    </a:cubicBezTo>
                    <a:cubicBezTo>
                      <a:pt x="23" y="70"/>
                      <a:pt x="20" y="72"/>
                      <a:pt x="16" y="77"/>
                    </a:cubicBezTo>
                    <a:cubicBezTo>
                      <a:pt x="13" y="81"/>
                      <a:pt x="11" y="83"/>
                      <a:pt x="9" y="85"/>
                    </a:cubicBezTo>
                    <a:cubicBezTo>
                      <a:pt x="8" y="86"/>
                      <a:pt x="7" y="87"/>
                      <a:pt x="6" y="86"/>
                    </a:cubicBezTo>
                    <a:cubicBezTo>
                      <a:pt x="5" y="86"/>
                      <a:pt x="5" y="84"/>
                      <a:pt x="5" y="82"/>
                    </a:cubicBezTo>
                    <a:cubicBezTo>
                      <a:pt x="10" y="73"/>
                      <a:pt x="15" y="65"/>
                      <a:pt x="22" y="60"/>
                    </a:cubicBezTo>
                    <a:cubicBezTo>
                      <a:pt x="27" y="56"/>
                      <a:pt x="32" y="54"/>
                      <a:pt x="37" y="54"/>
                    </a:cubicBezTo>
                    <a:cubicBezTo>
                      <a:pt x="37" y="47"/>
                      <a:pt x="37" y="47"/>
                      <a:pt x="37" y="47"/>
                    </a:cubicBezTo>
                    <a:cubicBezTo>
                      <a:pt x="22" y="49"/>
                      <a:pt x="10" y="48"/>
                      <a:pt x="3" y="45"/>
                    </a:cubicBezTo>
                    <a:cubicBezTo>
                      <a:pt x="1" y="44"/>
                      <a:pt x="0" y="42"/>
                      <a:pt x="0" y="40"/>
                    </a:cubicBezTo>
                    <a:cubicBezTo>
                      <a:pt x="1" y="38"/>
                      <a:pt x="3" y="38"/>
                      <a:pt x="5" y="38"/>
                    </a:cubicBezTo>
                    <a:cubicBezTo>
                      <a:pt x="12" y="40"/>
                      <a:pt x="22" y="40"/>
                      <a:pt x="37" y="39"/>
                    </a:cubicBezTo>
                    <a:cubicBezTo>
                      <a:pt x="37" y="39"/>
                      <a:pt x="37" y="39"/>
                      <a:pt x="37" y="39"/>
                    </a:cubicBezTo>
                    <a:cubicBezTo>
                      <a:pt x="38" y="32"/>
                      <a:pt x="36" y="29"/>
                      <a:pt x="33" y="28"/>
                    </a:cubicBezTo>
                    <a:cubicBezTo>
                      <a:pt x="26" y="25"/>
                      <a:pt x="19" y="24"/>
                      <a:pt x="12" y="2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311" name="íṣlíḑe"/>
              <p:cNvSpPr/>
              <p:nvPr/>
            </p:nvSpPr>
            <p:spPr bwMode="auto">
              <a:xfrm>
                <a:off x="2273197" y="5255215"/>
                <a:ext cx="163513" cy="263525"/>
              </a:xfrm>
              <a:custGeom>
                <a:avLst/>
                <a:gdLst>
                  <a:gd name="T0" fmla="*/ 47 w 88"/>
                  <a:gd name="T1" fmla="*/ 8 h 143"/>
                  <a:gd name="T2" fmla="*/ 74 w 88"/>
                  <a:gd name="T3" fmla="*/ 14 h 143"/>
                  <a:gd name="T4" fmla="*/ 82 w 88"/>
                  <a:gd name="T5" fmla="*/ 26 h 143"/>
                  <a:gd name="T6" fmla="*/ 79 w 88"/>
                  <a:gd name="T7" fmla="*/ 75 h 143"/>
                  <a:gd name="T8" fmla="*/ 86 w 88"/>
                  <a:gd name="T9" fmla="*/ 136 h 143"/>
                  <a:gd name="T10" fmla="*/ 73 w 88"/>
                  <a:gd name="T11" fmla="*/ 45 h 143"/>
                  <a:gd name="T12" fmla="*/ 67 w 88"/>
                  <a:gd name="T13" fmla="*/ 44 h 143"/>
                  <a:gd name="T14" fmla="*/ 54 w 88"/>
                  <a:gd name="T15" fmla="*/ 58 h 143"/>
                  <a:gd name="T16" fmla="*/ 22 w 88"/>
                  <a:gd name="T17" fmla="*/ 54 h 143"/>
                  <a:gd name="T18" fmla="*/ 15 w 88"/>
                  <a:gd name="T19" fmla="*/ 45 h 143"/>
                  <a:gd name="T20" fmla="*/ 11 w 88"/>
                  <a:gd name="T21" fmla="*/ 91 h 143"/>
                  <a:gd name="T22" fmla="*/ 9 w 88"/>
                  <a:gd name="T23" fmla="*/ 118 h 143"/>
                  <a:gd name="T24" fmla="*/ 2 w 88"/>
                  <a:gd name="T25" fmla="*/ 139 h 143"/>
                  <a:gd name="T26" fmla="*/ 6 w 88"/>
                  <a:gd name="T27" fmla="*/ 80 h 143"/>
                  <a:gd name="T28" fmla="*/ 2 w 88"/>
                  <a:gd name="T29" fmla="*/ 26 h 143"/>
                  <a:gd name="T30" fmla="*/ 32 w 88"/>
                  <a:gd name="T31" fmla="*/ 10 h 143"/>
                  <a:gd name="T32" fmla="*/ 39 w 88"/>
                  <a:gd name="T33" fmla="*/ 0 h 143"/>
                  <a:gd name="T34" fmla="*/ 24 w 88"/>
                  <a:gd name="T35" fmla="*/ 23 h 143"/>
                  <a:gd name="T36" fmla="*/ 66 w 88"/>
                  <a:gd name="T37" fmla="*/ 29 h 143"/>
                  <a:gd name="T38" fmla="*/ 67 w 88"/>
                  <a:gd name="T39" fmla="*/ 37 h 143"/>
                  <a:gd name="T40" fmla="*/ 73 w 88"/>
                  <a:gd name="T41" fmla="*/ 34 h 143"/>
                  <a:gd name="T42" fmla="*/ 66 w 88"/>
                  <a:gd name="T43" fmla="*/ 20 h 143"/>
                  <a:gd name="T44" fmla="*/ 13 w 88"/>
                  <a:gd name="T45" fmla="*/ 21 h 143"/>
                  <a:gd name="T46" fmla="*/ 12 w 88"/>
                  <a:gd name="T47" fmla="*/ 32 h 143"/>
                  <a:gd name="T48" fmla="*/ 17 w 88"/>
                  <a:gd name="T49" fmla="*/ 38 h 143"/>
                  <a:gd name="T50" fmla="*/ 24 w 88"/>
                  <a:gd name="T51" fmla="*/ 23 h 143"/>
                  <a:gd name="T52" fmla="*/ 61 w 88"/>
                  <a:gd name="T53" fmla="*/ 64 h 143"/>
                  <a:gd name="T54" fmla="*/ 66 w 88"/>
                  <a:gd name="T55" fmla="*/ 96 h 143"/>
                  <a:gd name="T56" fmla="*/ 61 w 88"/>
                  <a:gd name="T57" fmla="*/ 136 h 143"/>
                  <a:gd name="T58" fmla="*/ 59 w 88"/>
                  <a:gd name="T59" fmla="*/ 143 h 143"/>
                  <a:gd name="T60" fmla="*/ 46 w 88"/>
                  <a:gd name="T61" fmla="*/ 105 h 143"/>
                  <a:gd name="T62" fmla="*/ 30 w 88"/>
                  <a:gd name="T63" fmla="*/ 140 h 143"/>
                  <a:gd name="T64" fmla="*/ 26 w 88"/>
                  <a:gd name="T65" fmla="*/ 137 h 143"/>
                  <a:gd name="T66" fmla="*/ 32 w 88"/>
                  <a:gd name="T67" fmla="*/ 121 h 143"/>
                  <a:gd name="T68" fmla="*/ 35 w 88"/>
                  <a:gd name="T69" fmla="*/ 105 h 143"/>
                  <a:gd name="T70" fmla="*/ 18 w 88"/>
                  <a:gd name="T71" fmla="*/ 75 h 143"/>
                  <a:gd name="T72" fmla="*/ 24 w 88"/>
                  <a:gd name="T73" fmla="*/ 35 h 143"/>
                  <a:gd name="T74" fmla="*/ 39 w 88"/>
                  <a:gd name="T75" fmla="*/ 37 h 143"/>
                  <a:gd name="T76" fmla="*/ 34 w 88"/>
                  <a:gd name="T77" fmla="*/ 29 h 143"/>
                  <a:gd name="T78" fmla="*/ 24 w 88"/>
                  <a:gd name="T79" fmla="*/ 35 h 143"/>
                  <a:gd name="T80" fmla="*/ 62 w 88"/>
                  <a:gd name="T81" fmla="*/ 84 h 143"/>
                  <a:gd name="T82" fmla="*/ 43 w 88"/>
                  <a:gd name="T83" fmla="*/ 81 h 143"/>
                  <a:gd name="T84" fmla="*/ 25 w 88"/>
                  <a:gd name="T85" fmla="*/ 87 h 143"/>
                  <a:gd name="T86" fmla="*/ 26 w 88"/>
                  <a:gd name="T87" fmla="*/ 48 h 143"/>
                  <a:gd name="T88" fmla="*/ 38 w 88"/>
                  <a:gd name="T89" fmla="*/ 52 h 143"/>
                  <a:gd name="T90" fmla="*/ 25 w 88"/>
                  <a:gd name="T91" fmla="*/ 44 h 143"/>
                  <a:gd name="T92" fmla="*/ 32 w 88"/>
                  <a:gd name="T93" fmla="*/ 69 h 143"/>
                  <a:gd name="T94" fmla="*/ 41 w 88"/>
                  <a:gd name="T95" fmla="*/ 75 h 143"/>
                  <a:gd name="T96" fmla="*/ 57 w 88"/>
                  <a:gd name="T97" fmla="*/ 70 h 143"/>
                  <a:gd name="T98" fmla="*/ 56 w 88"/>
                  <a:gd name="T99" fmla="*/ 98 h 143"/>
                  <a:gd name="T100" fmla="*/ 54 w 88"/>
                  <a:gd name="T101" fmla="*/ 93 h 143"/>
                  <a:gd name="T102" fmla="*/ 36 w 88"/>
                  <a:gd name="T103" fmla="*/ 93 h 143"/>
                  <a:gd name="T104" fmla="*/ 32 w 88"/>
                  <a:gd name="T105" fmla="*/ 98 h 143"/>
                  <a:gd name="T106" fmla="*/ 56 w 88"/>
                  <a:gd name="T107" fmla="*/ 29 h 143"/>
                  <a:gd name="T108" fmla="*/ 46 w 88"/>
                  <a:gd name="T109" fmla="*/ 29 h 143"/>
                  <a:gd name="T110" fmla="*/ 60 w 88"/>
                  <a:gd name="T111" fmla="*/ 37 h 143"/>
                  <a:gd name="T112" fmla="*/ 56 w 88"/>
                  <a:gd name="T113" fmla="*/ 29 h 143"/>
                  <a:gd name="T114" fmla="*/ 60 w 88"/>
                  <a:gd name="T115" fmla="*/ 43 h 143"/>
                  <a:gd name="T116" fmla="*/ 46 w 88"/>
                  <a:gd name="T117" fmla="*/ 52 h 143"/>
                  <a:gd name="T118" fmla="*/ 59 w 88"/>
                  <a:gd name="T119" fmla="*/ 48 h 1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88" h="143">
                    <a:moveTo>
                      <a:pt x="43" y="2"/>
                    </a:moveTo>
                    <a:cubicBezTo>
                      <a:pt x="45" y="3"/>
                      <a:pt x="47" y="6"/>
                      <a:pt x="47" y="8"/>
                    </a:cubicBezTo>
                    <a:cubicBezTo>
                      <a:pt x="47" y="9"/>
                      <a:pt x="48" y="10"/>
                      <a:pt x="49" y="10"/>
                    </a:cubicBezTo>
                    <a:cubicBezTo>
                      <a:pt x="57" y="10"/>
                      <a:pt x="66" y="12"/>
                      <a:pt x="74" y="14"/>
                    </a:cubicBezTo>
                    <a:cubicBezTo>
                      <a:pt x="78" y="16"/>
                      <a:pt x="81" y="18"/>
                      <a:pt x="81" y="19"/>
                    </a:cubicBezTo>
                    <a:cubicBezTo>
                      <a:pt x="82" y="21"/>
                      <a:pt x="82" y="24"/>
                      <a:pt x="82" y="26"/>
                    </a:cubicBezTo>
                    <a:cubicBezTo>
                      <a:pt x="82" y="27"/>
                      <a:pt x="82" y="27"/>
                      <a:pt x="82" y="28"/>
                    </a:cubicBezTo>
                    <a:cubicBezTo>
                      <a:pt x="79" y="39"/>
                      <a:pt x="78" y="55"/>
                      <a:pt x="79" y="75"/>
                    </a:cubicBezTo>
                    <a:cubicBezTo>
                      <a:pt x="80" y="87"/>
                      <a:pt x="83" y="106"/>
                      <a:pt x="87" y="131"/>
                    </a:cubicBezTo>
                    <a:cubicBezTo>
                      <a:pt x="88" y="134"/>
                      <a:pt x="87" y="135"/>
                      <a:pt x="86" y="136"/>
                    </a:cubicBezTo>
                    <a:cubicBezTo>
                      <a:pt x="84" y="137"/>
                      <a:pt x="82" y="136"/>
                      <a:pt x="82" y="133"/>
                    </a:cubicBezTo>
                    <a:cubicBezTo>
                      <a:pt x="74" y="106"/>
                      <a:pt x="71" y="76"/>
                      <a:pt x="73" y="45"/>
                    </a:cubicBezTo>
                    <a:cubicBezTo>
                      <a:pt x="72" y="45"/>
                      <a:pt x="71" y="44"/>
                      <a:pt x="70" y="44"/>
                    </a:cubicBezTo>
                    <a:cubicBezTo>
                      <a:pt x="69" y="44"/>
                      <a:pt x="68" y="44"/>
                      <a:pt x="67" y="44"/>
                    </a:cubicBezTo>
                    <a:cubicBezTo>
                      <a:pt x="67" y="48"/>
                      <a:pt x="66" y="51"/>
                      <a:pt x="64" y="54"/>
                    </a:cubicBezTo>
                    <a:cubicBezTo>
                      <a:pt x="62" y="57"/>
                      <a:pt x="59" y="59"/>
                      <a:pt x="54" y="58"/>
                    </a:cubicBezTo>
                    <a:cubicBezTo>
                      <a:pt x="47" y="58"/>
                      <a:pt x="39" y="58"/>
                      <a:pt x="32" y="58"/>
                    </a:cubicBezTo>
                    <a:cubicBezTo>
                      <a:pt x="28" y="59"/>
                      <a:pt x="25" y="58"/>
                      <a:pt x="22" y="54"/>
                    </a:cubicBezTo>
                    <a:cubicBezTo>
                      <a:pt x="20" y="51"/>
                      <a:pt x="19" y="48"/>
                      <a:pt x="18" y="45"/>
                    </a:cubicBezTo>
                    <a:cubicBezTo>
                      <a:pt x="17" y="45"/>
                      <a:pt x="16" y="45"/>
                      <a:pt x="15" y="45"/>
                    </a:cubicBezTo>
                    <a:cubicBezTo>
                      <a:pt x="14" y="45"/>
                      <a:pt x="13" y="45"/>
                      <a:pt x="13" y="45"/>
                    </a:cubicBezTo>
                    <a:cubicBezTo>
                      <a:pt x="13" y="60"/>
                      <a:pt x="13" y="75"/>
                      <a:pt x="11" y="91"/>
                    </a:cubicBezTo>
                    <a:cubicBezTo>
                      <a:pt x="11" y="95"/>
                      <a:pt x="11" y="102"/>
                      <a:pt x="10" y="111"/>
                    </a:cubicBezTo>
                    <a:cubicBezTo>
                      <a:pt x="10" y="108"/>
                      <a:pt x="10" y="111"/>
                      <a:pt x="9" y="118"/>
                    </a:cubicBezTo>
                    <a:cubicBezTo>
                      <a:pt x="9" y="124"/>
                      <a:pt x="8" y="130"/>
                      <a:pt x="6" y="134"/>
                    </a:cubicBezTo>
                    <a:cubicBezTo>
                      <a:pt x="5" y="138"/>
                      <a:pt x="3" y="139"/>
                      <a:pt x="2" y="139"/>
                    </a:cubicBezTo>
                    <a:cubicBezTo>
                      <a:pt x="0" y="139"/>
                      <a:pt x="0" y="137"/>
                      <a:pt x="0" y="133"/>
                    </a:cubicBezTo>
                    <a:cubicBezTo>
                      <a:pt x="3" y="112"/>
                      <a:pt x="5" y="94"/>
                      <a:pt x="6" y="80"/>
                    </a:cubicBezTo>
                    <a:cubicBezTo>
                      <a:pt x="8" y="64"/>
                      <a:pt x="7" y="51"/>
                      <a:pt x="6" y="38"/>
                    </a:cubicBezTo>
                    <a:cubicBezTo>
                      <a:pt x="5" y="34"/>
                      <a:pt x="4" y="30"/>
                      <a:pt x="2" y="26"/>
                    </a:cubicBezTo>
                    <a:cubicBezTo>
                      <a:pt x="0" y="21"/>
                      <a:pt x="1" y="17"/>
                      <a:pt x="6" y="16"/>
                    </a:cubicBezTo>
                    <a:cubicBezTo>
                      <a:pt x="14" y="12"/>
                      <a:pt x="23" y="11"/>
                      <a:pt x="32" y="10"/>
                    </a:cubicBezTo>
                    <a:cubicBezTo>
                      <a:pt x="36" y="9"/>
                      <a:pt x="38" y="7"/>
                      <a:pt x="38" y="4"/>
                    </a:cubicBezTo>
                    <a:cubicBezTo>
                      <a:pt x="38" y="2"/>
                      <a:pt x="38" y="1"/>
                      <a:pt x="39" y="0"/>
                    </a:cubicBezTo>
                    <a:cubicBezTo>
                      <a:pt x="41" y="0"/>
                      <a:pt x="42" y="0"/>
                      <a:pt x="43" y="2"/>
                    </a:cubicBezTo>
                    <a:close/>
                    <a:moveTo>
                      <a:pt x="24" y="23"/>
                    </a:moveTo>
                    <a:cubicBezTo>
                      <a:pt x="33" y="22"/>
                      <a:pt x="44" y="22"/>
                      <a:pt x="58" y="23"/>
                    </a:cubicBezTo>
                    <a:cubicBezTo>
                      <a:pt x="63" y="24"/>
                      <a:pt x="66" y="26"/>
                      <a:pt x="66" y="29"/>
                    </a:cubicBezTo>
                    <a:cubicBezTo>
                      <a:pt x="66" y="30"/>
                      <a:pt x="66" y="30"/>
                      <a:pt x="67" y="31"/>
                    </a:cubicBezTo>
                    <a:cubicBezTo>
                      <a:pt x="67" y="33"/>
                      <a:pt x="67" y="35"/>
                      <a:pt x="67" y="37"/>
                    </a:cubicBezTo>
                    <a:cubicBezTo>
                      <a:pt x="69" y="38"/>
                      <a:pt x="71" y="38"/>
                      <a:pt x="73" y="38"/>
                    </a:cubicBezTo>
                    <a:cubicBezTo>
                      <a:pt x="73" y="37"/>
                      <a:pt x="73" y="36"/>
                      <a:pt x="73" y="34"/>
                    </a:cubicBezTo>
                    <a:cubicBezTo>
                      <a:pt x="73" y="32"/>
                      <a:pt x="73" y="30"/>
                      <a:pt x="74" y="29"/>
                    </a:cubicBezTo>
                    <a:cubicBezTo>
                      <a:pt x="75" y="25"/>
                      <a:pt x="72" y="21"/>
                      <a:pt x="66" y="20"/>
                    </a:cubicBezTo>
                    <a:cubicBezTo>
                      <a:pt x="58" y="17"/>
                      <a:pt x="50" y="16"/>
                      <a:pt x="40" y="16"/>
                    </a:cubicBezTo>
                    <a:cubicBezTo>
                      <a:pt x="29" y="16"/>
                      <a:pt x="20" y="18"/>
                      <a:pt x="13" y="21"/>
                    </a:cubicBezTo>
                    <a:cubicBezTo>
                      <a:pt x="11" y="22"/>
                      <a:pt x="11" y="24"/>
                      <a:pt x="11" y="26"/>
                    </a:cubicBezTo>
                    <a:cubicBezTo>
                      <a:pt x="11" y="28"/>
                      <a:pt x="12" y="30"/>
                      <a:pt x="12" y="32"/>
                    </a:cubicBezTo>
                    <a:cubicBezTo>
                      <a:pt x="12" y="35"/>
                      <a:pt x="12" y="37"/>
                      <a:pt x="12" y="38"/>
                    </a:cubicBezTo>
                    <a:cubicBezTo>
                      <a:pt x="14" y="38"/>
                      <a:pt x="15" y="38"/>
                      <a:pt x="17" y="38"/>
                    </a:cubicBezTo>
                    <a:cubicBezTo>
                      <a:pt x="17" y="35"/>
                      <a:pt x="17" y="32"/>
                      <a:pt x="17" y="30"/>
                    </a:cubicBezTo>
                    <a:cubicBezTo>
                      <a:pt x="18" y="26"/>
                      <a:pt x="20" y="24"/>
                      <a:pt x="24" y="23"/>
                    </a:cubicBezTo>
                    <a:close/>
                    <a:moveTo>
                      <a:pt x="28" y="64"/>
                    </a:moveTo>
                    <a:cubicBezTo>
                      <a:pt x="39" y="62"/>
                      <a:pt x="50" y="62"/>
                      <a:pt x="61" y="64"/>
                    </a:cubicBezTo>
                    <a:cubicBezTo>
                      <a:pt x="65" y="65"/>
                      <a:pt x="67" y="67"/>
                      <a:pt x="67" y="71"/>
                    </a:cubicBezTo>
                    <a:cubicBezTo>
                      <a:pt x="69" y="79"/>
                      <a:pt x="68" y="88"/>
                      <a:pt x="66" y="96"/>
                    </a:cubicBezTo>
                    <a:cubicBezTo>
                      <a:pt x="65" y="102"/>
                      <a:pt x="61" y="105"/>
                      <a:pt x="54" y="105"/>
                    </a:cubicBezTo>
                    <a:cubicBezTo>
                      <a:pt x="55" y="115"/>
                      <a:pt x="57" y="125"/>
                      <a:pt x="61" y="136"/>
                    </a:cubicBezTo>
                    <a:cubicBezTo>
                      <a:pt x="63" y="138"/>
                      <a:pt x="63" y="140"/>
                      <a:pt x="61" y="142"/>
                    </a:cubicBezTo>
                    <a:cubicBezTo>
                      <a:pt x="60" y="142"/>
                      <a:pt x="59" y="143"/>
                      <a:pt x="59" y="143"/>
                    </a:cubicBezTo>
                    <a:cubicBezTo>
                      <a:pt x="58" y="143"/>
                      <a:pt x="57" y="142"/>
                      <a:pt x="57" y="141"/>
                    </a:cubicBezTo>
                    <a:cubicBezTo>
                      <a:pt x="52" y="131"/>
                      <a:pt x="48" y="120"/>
                      <a:pt x="46" y="105"/>
                    </a:cubicBezTo>
                    <a:cubicBezTo>
                      <a:pt x="41" y="105"/>
                      <a:pt x="41" y="105"/>
                      <a:pt x="41" y="105"/>
                    </a:cubicBezTo>
                    <a:cubicBezTo>
                      <a:pt x="40" y="120"/>
                      <a:pt x="37" y="131"/>
                      <a:pt x="30" y="140"/>
                    </a:cubicBezTo>
                    <a:cubicBezTo>
                      <a:pt x="29" y="141"/>
                      <a:pt x="27" y="142"/>
                      <a:pt x="26" y="142"/>
                    </a:cubicBezTo>
                    <a:cubicBezTo>
                      <a:pt x="25" y="141"/>
                      <a:pt x="25" y="139"/>
                      <a:pt x="26" y="137"/>
                    </a:cubicBezTo>
                    <a:cubicBezTo>
                      <a:pt x="26" y="137"/>
                      <a:pt x="26" y="135"/>
                      <a:pt x="28" y="132"/>
                    </a:cubicBezTo>
                    <a:cubicBezTo>
                      <a:pt x="30" y="127"/>
                      <a:pt x="32" y="123"/>
                      <a:pt x="32" y="121"/>
                    </a:cubicBezTo>
                    <a:cubicBezTo>
                      <a:pt x="33" y="118"/>
                      <a:pt x="34" y="113"/>
                      <a:pt x="35" y="107"/>
                    </a:cubicBezTo>
                    <a:cubicBezTo>
                      <a:pt x="35" y="106"/>
                      <a:pt x="35" y="106"/>
                      <a:pt x="35" y="105"/>
                    </a:cubicBezTo>
                    <a:cubicBezTo>
                      <a:pt x="29" y="105"/>
                      <a:pt x="25" y="103"/>
                      <a:pt x="22" y="98"/>
                    </a:cubicBezTo>
                    <a:cubicBezTo>
                      <a:pt x="19" y="93"/>
                      <a:pt x="17" y="85"/>
                      <a:pt x="18" y="75"/>
                    </a:cubicBezTo>
                    <a:cubicBezTo>
                      <a:pt x="19" y="68"/>
                      <a:pt x="22" y="65"/>
                      <a:pt x="28" y="64"/>
                    </a:cubicBezTo>
                    <a:close/>
                    <a:moveTo>
                      <a:pt x="24" y="35"/>
                    </a:moveTo>
                    <a:cubicBezTo>
                      <a:pt x="24" y="36"/>
                      <a:pt x="24" y="36"/>
                      <a:pt x="24" y="37"/>
                    </a:cubicBezTo>
                    <a:cubicBezTo>
                      <a:pt x="29" y="37"/>
                      <a:pt x="34" y="37"/>
                      <a:pt x="39" y="37"/>
                    </a:cubicBezTo>
                    <a:cubicBezTo>
                      <a:pt x="39" y="34"/>
                      <a:pt x="38" y="31"/>
                      <a:pt x="38" y="29"/>
                    </a:cubicBezTo>
                    <a:cubicBezTo>
                      <a:pt x="37" y="29"/>
                      <a:pt x="36" y="29"/>
                      <a:pt x="34" y="29"/>
                    </a:cubicBezTo>
                    <a:cubicBezTo>
                      <a:pt x="31" y="29"/>
                      <a:pt x="30" y="29"/>
                      <a:pt x="28" y="29"/>
                    </a:cubicBezTo>
                    <a:cubicBezTo>
                      <a:pt x="25" y="31"/>
                      <a:pt x="24" y="32"/>
                      <a:pt x="24" y="35"/>
                    </a:cubicBezTo>
                    <a:close/>
                    <a:moveTo>
                      <a:pt x="61" y="87"/>
                    </a:moveTo>
                    <a:cubicBezTo>
                      <a:pt x="61" y="86"/>
                      <a:pt x="62" y="85"/>
                      <a:pt x="62" y="84"/>
                    </a:cubicBezTo>
                    <a:cubicBezTo>
                      <a:pt x="62" y="83"/>
                      <a:pt x="62" y="82"/>
                      <a:pt x="62" y="82"/>
                    </a:cubicBezTo>
                    <a:cubicBezTo>
                      <a:pt x="56" y="81"/>
                      <a:pt x="50" y="80"/>
                      <a:pt x="43" y="81"/>
                    </a:cubicBezTo>
                    <a:cubicBezTo>
                      <a:pt x="37" y="81"/>
                      <a:pt x="31" y="82"/>
                      <a:pt x="24" y="83"/>
                    </a:cubicBezTo>
                    <a:cubicBezTo>
                      <a:pt x="25" y="87"/>
                      <a:pt x="25" y="87"/>
                      <a:pt x="25" y="87"/>
                    </a:cubicBezTo>
                    <a:cubicBezTo>
                      <a:pt x="35" y="86"/>
                      <a:pt x="48" y="86"/>
                      <a:pt x="61" y="87"/>
                    </a:cubicBezTo>
                    <a:close/>
                    <a:moveTo>
                      <a:pt x="26" y="48"/>
                    </a:moveTo>
                    <a:cubicBezTo>
                      <a:pt x="28" y="51"/>
                      <a:pt x="30" y="52"/>
                      <a:pt x="35" y="52"/>
                    </a:cubicBezTo>
                    <a:cubicBezTo>
                      <a:pt x="38" y="52"/>
                      <a:pt x="38" y="52"/>
                      <a:pt x="38" y="52"/>
                    </a:cubicBezTo>
                    <a:cubicBezTo>
                      <a:pt x="38" y="49"/>
                      <a:pt x="39" y="46"/>
                      <a:pt x="39" y="44"/>
                    </a:cubicBezTo>
                    <a:cubicBezTo>
                      <a:pt x="34" y="44"/>
                      <a:pt x="30" y="44"/>
                      <a:pt x="25" y="44"/>
                    </a:cubicBezTo>
                    <a:cubicBezTo>
                      <a:pt x="25" y="46"/>
                      <a:pt x="25" y="47"/>
                      <a:pt x="26" y="48"/>
                    </a:cubicBezTo>
                    <a:close/>
                    <a:moveTo>
                      <a:pt x="32" y="69"/>
                    </a:moveTo>
                    <a:cubicBezTo>
                      <a:pt x="28" y="70"/>
                      <a:pt x="25" y="72"/>
                      <a:pt x="25" y="76"/>
                    </a:cubicBezTo>
                    <a:cubicBezTo>
                      <a:pt x="30" y="75"/>
                      <a:pt x="35" y="75"/>
                      <a:pt x="41" y="75"/>
                    </a:cubicBezTo>
                    <a:cubicBezTo>
                      <a:pt x="46" y="74"/>
                      <a:pt x="53" y="74"/>
                      <a:pt x="61" y="75"/>
                    </a:cubicBezTo>
                    <a:cubicBezTo>
                      <a:pt x="61" y="72"/>
                      <a:pt x="59" y="71"/>
                      <a:pt x="57" y="70"/>
                    </a:cubicBezTo>
                    <a:cubicBezTo>
                      <a:pt x="49" y="68"/>
                      <a:pt x="40" y="68"/>
                      <a:pt x="32" y="69"/>
                    </a:cubicBezTo>
                    <a:close/>
                    <a:moveTo>
                      <a:pt x="56" y="98"/>
                    </a:moveTo>
                    <a:cubicBezTo>
                      <a:pt x="59" y="97"/>
                      <a:pt x="60" y="96"/>
                      <a:pt x="61" y="93"/>
                    </a:cubicBezTo>
                    <a:cubicBezTo>
                      <a:pt x="60" y="93"/>
                      <a:pt x="57" y="93"/>
                      <a:pt x="54" y="93"/>
                    </a:cubicBezTo>
                    <a:cubicBezTo>
                      <a:pt x="48" y="92"/>
                      <a:pt x="44" y="92"/>
                      <a:pt x="41" y="92"/>
                    </a:cubicBezTo>
                    <a:cubicBezTo>
                      <a:pt x="40" y="92"/>
                      <a:pt x="38" y="92"/>
                      <a:pt x="36" y="93"/>
                    </a:cubicBezTo>
                    <a:cubicBezTo>
                      <a:pt x="31" y="93"/>
                      <a:pt x="28" y="94"/>
                      <a:pt x="26" y="94"/>
                    </a:cubicBezTo>
                    <a:cubicBezTo>
                      <a:pt x="27" y="96"/>
                      <a:pt x="29" y="98"/>
                      <a:pt x="32" y="98"/>
                    </a:cubicBezTo>
                    <a:cubicBezTo>
                      <a:pt x="39" y="99"/>
                      <a:pt x="47" y="99"/>
                      <a:pt x="56" y="98"/>
                    </a:cubicBezTo>
                    <a:close/>
                    <a:moveTo>
                      <a:pt x="56" y="29"/>
                    </a:moveTo>
                    <a:cubicBezTo>
                      <a:pt x="55" y="29"/>
                      <a:pt x="53" y="29"/>
                      <a:pt x="51" y="29"/>
                    </a:cubicBezTo>
                    <a:cubicBezTo>
                      <a:pt x="49" y="29"/>
                      <a:pt x="47" y="29"/>
                      <a:pt x="46" y="29"/>
                    </a:cubicBezTo>
                    <a:cubicBezTo>
                      <a:pt x="46" y="31"/>
                      <a:pt x="46" y="34"/>
                      <a:pt x="46" y="37"/>
                    </a:cubicBezTo>
                    <a:cubicBezTo>
                      <a:pt x="50" y="37"/>
                      <a:pt x="55" y="37"/>
                      <a:pt x="60" y="37"/>
                    </a:cubicBezTo>
                    <a:cubicBezTo>
                      <a:pt x="60" y="35"/>
                      <a:pt x="60" y="35"/>
                      <a:pt x="60" y="35"/>
                    </a:cubicBezTo>
                    <a:cubicBezTo>
                      <a:pt x="60" y="32"/>
                      <a:pt x="58" y="30"/>
                      <a:pt x="56" y="29"/>
                    </a:cubicBezTo>
                    <a:close/>
                    <a:moveTo>
                      <a:pt x="59" y="48"/>
                    </a:moveTo>
                    <a:cubicBezTo>
                      <a:pt x="59" y="47"/>
                      <a:pt x="59" y="45"/>
                      <a:pt x="60" y="43"/>
                    </a:cubicBezTo>
                    <a:cubicBezTo>
                      <a:pt x="55" y="43"/>
                      <a:pt x="51" y="43"/>
                      <a:pt x="46" y="43"/>
                    </a:cubicBezTo>
                    <a:cubicBezTo>
                      <a:pt x="46" y="52"/>
                      <a:pt x="46" y="52"/>
                      <a:pt x="46" y="52"/>
                    </a:cubicBezTo>
                    <a:cubicBezTo>
                      <a:pt x="48" y="52"/>
                      <a:pt x="51" y="52"/>
                      <a:pt x="54" y="52"/>
                    </a:cubicBezTo>
                    <a:cubicBezTo>
                      <a:pt x="57" y="51"/>
                      <a:pt x="59" y="49"/>
                      <a:pt x="59" y="4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312" name="îSḻide"/>
              <p:cNvSpPr/>
              <p:nvPr/>
            </p:nvSpPr>
            <p:spPr bwMode="auto">
              <a:xfrm>
                <a:off x="2449409" y="5256803"/>
                <a:ext cx="139700" cy="265113"/>
              </a:xfrm>
              <a:custGeom>
                <a:avLst/>
                <a:gdLst>
                  <a:gd name="T0" fmla="*/ 56 w 76"/>
                  <a:gd name="T1" fmla="*/ 3 h 144"/>
                  <a:gd name="T2" fmla="*/ 61 w 76"/>
                  <a:gd name="T3" fmla="*/ 45 h 144"/>
                  <a:gd name="T4" fmla="*/ 50 w 76"/>
                  <a:gd name="T5" fmla="*/ 74 h 144"/>
                  <a:gd name="T6" fmla="*/ 68 w 76"/>
                  <a:gd name="T7" fmla="*/ 65 h 144"/>
                  <a:gd name="T8" fmla="*/ 70 w 76"/>
                  <a:gd name="T9" fmla="*/ 31 h 144"/>
                  <a:gd name="T10" fmla="*/ 74 w 76"/>
                  <a:gd name="T11" fmla="*/ 31 h 144"/>
                  <a:gd name="T12" fmla="*/ 74 w 76"/>
                  <a:gd name="T13" fmla="*/ 64 h 144"/>
                  <a:gd name="T14" fmla="*/ 50 w 76"/>
                  <a:gd name="T15" fmla="*/ 81 h 144"/>
                  <a:gd name="T16" fmla="*/ 69 w 76"/>
                  <a:gd name="T17" fmla="*/ 103 h 144"/>
                  <a:gd name="T18" fmla="*/ 74 w 76"/>
                  <a:gd name="T19" fmla="*/ 140 h 144"/>
                  <a:gd name="T20" fmla="*/ 63 w 76"/>
                  <a:gd name="T21" fmla="*/ 105 h 144"/>
                  <a:gd name="T22" fmla="*/ 52 w 76"/>
                  <a:gd name="T23" fmla="*/ 138 h 144"/>
                  <a:gd name="T24" fmla="*/ 46 w 76"/>
                  <a:gd name="T25" fmla="*/ 139 h 144"/>
                  <a:gd name="T26" fmla="*/ 42 w 76"/>
                  <a:gd name="T27" fmla="*/ 57 h 144"/>
                  <a:gd name="T28" fmla="*/ 35 w 76"/>
                  <a:gd name="T29" fmla="*/ 132 h 144"/>
                  <a:gd name="T30" fmla="*/ 27 w 76"/>
                  <a:gd name="T31" fmla="*/ 136 h 144"/>
                  <a:gd name="T32" fmla="*/ 29 w 76"/>
                  <a:gd name="T33" fmla="*/ 95 h 144"/>
                  <a:gd name="T34" fmla="*/ 5 w 76"/>
                  <a:gd name="T35" fmla="*/ 135 h 144"/>
                  <a:gd name="T36" fmla="*/ 0 w 76"/>
                  <a:gd name="T37" fmla="*/ 135 h 144"/>
                  <a:gd name="T38" fmla="*/ 30 w 76"/>
                  <a:gd name="T39" fmla="*/ 86 h 144"/>
                  <a:gd name="T40" fmla="*/ 26 w 76"/>
                  <a:gd name="T41" fmla="*/ 80 h 144"/>
                  <a:gd name="T42" fmla="*/ 5 w 76"/>
                  <a:gd name="T43" fmla="*/ 66 h 144"/>
                  <a:gd name="T44" fmla="*/ 3 w 76"/>
                  <a:gd name="T45" fmla="*/ 29 h 144"/>
                  <a:gd name="T46" fmla="*/ 9 w 76"/>
                  <a:gd name="T47" fmla="*/ 59 h 144"/>
                  <a:gd name="T48" fmla="*/ 31 w 76"/>
                  <a:gd name="T49" fmla="*/ 74 h 144"/>
                  <a:gd name="T50" fmla="*/ 32 w 76"/>
                  <a:gd name="T51" fmla="*/ 57 h 144"/>
                  <a:gd name="T52" fmla="*/ 16 w 76"/>
                  <a:gd name="T53" fmla="*/ 14 h 144"/>
                  <a:gd name="T54" fmla="*/ 22 w 76"/>
                  <a:gd name="T55" fmla="*/ 19 h 144"/>
                  <a:gd name="T56" fmla="*/ 57 w 76"/>
                  <a:gd name="T57" fmla="*/ 19 h 144"/>
                  <a:gd name="T58" fmla="*/ 50 w 76"/>
                  <a:gd name="T59" fmla="*/ 9 h 144"/>
                  <a:gd name="T60" fmla="*/ 22 w 76"/>
                  <a:gd name="T61" fmla="*/ 19 h 144"/>
                  <a:gd name="T62" fmla="*/ 23 w 76"/>
                  <a:gd name="T63" fmla="*/ 31 h 144"/>
                  <a:gd name="T64" fmla="*/ 57 w 76"/>
                  <a:gd name="T65" fmla="*/ 34 h 144"/>
                  <a:gd name="T66" fmla="*/ 22 w 76"/>
                  <a:gd name="T67" fmla="*/ 27 h 144"/>
                  <a:gd name="T68" fmla="*/ 48 w 76"/>
                  <a:gd name="T69" fmla="*/ 50 h 144"/>
                  <a:gd name="T70" fmla="*/ 57 w 76"/>
                  <a:gd name="T71" fmla="*/ 41 h 144"/>
                  <a:gd name="T72" fmla="*/ 25 w 76"/>
                  <a:gd name="T73" fmla="*/ 44 h 1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76" h="144">
                    <a:moveTo>
                      <a:pt x="27" y="2"/>
                    </a:moveTo>
                    <a:cubicBezTo>
                      <a:pt x="37" y="0"/>
                      <a:pt x="47" y="0"/>
                      <a:pt x="56" y="3"/>
                    </a:cubicBezTo>
                    <a:cubicBezTo>
                      <a:pt x="60" y="3"/>
                      <a:pt x="62" y="7"/>
                      <a:pt x="63" y="15"/>
                    </a:cubicBezTo>
                    <a:cubicBezTo>
                      <a:pt x="65" y="25"/>
                      <a:pt x="64" y="35"/>
                      <a:pt x="61" y="45"/>
                    </a:cubicBezTo>
                    <a:cubicBezTo>
                      <a:pt x="60" y="53"/>
                      <a:pt x="55" y="56"/>
                      <a:pt x="49" y="57"/>
                    </a:cubicBezTo>
                    <a:cubicBezTo>
                      <a:pt x="49" y="62"/>
                      <a:pt x="50" y="68"/>
                      <a:pt x="50" y="74"/>
                    </a:cubicBezTo>
                    <a:cubicBezTo>
                      <a:pt x="53" y="74"/>
                      <a:pt x="56" y="74"/>
                      <a:pt x="58" y="74"/>
                    </a:cubicBezTo>
                    <a:cubicBezTo>
                      <a:pt x="62" y="75"/>
                      <a:pt x="66" y="72"/>
                      <a:pt x="68" y="65"/>
                    </a:cubicBezTo>
                    <a:cubicBezTo>
                      <a:pt x="69" y="62"/>
                      <a:pt x="70" y="53"/>
                      <a:pt x="70" y="39"/>
                    </a:cubicBezTo>
                    <a:cubicBezTo>
                      <a:pt x="70" y="35"/>
                      <a:pt x="70" y="32"/>
                      <a:pt x="70" y="31"/>
                    </a:cubicBezTo>
                    <a:cubicBezTo>
                      <a:pt x="71" y="31"/>
                      <a:pt x="71" y="30"/>
                      <a:pt x="72" y="30"/>
                    </a:cubicBezTo>
                    <a:cubicBezTo>
                      <a:pt x="73" y="30"/>
                      <a:pt x="74" y="30"/>
                      <a:pt x="74" y="31"/>
                    </a:cubicBezTo>
                    <a:cubicBezTo>
                      <a:pt x="75" y="33"/>
                      <a:pt x="76" y="36"/>
                      <a:pt x="76" y="41"/>
                    </a:cubicBezTo>
                    <a:cubicBezTo>
                      <a:pt x="76" y="49"/>
                      <a:pt x="75" y="56"/>
                      <a:pt x="74" y="64"/>
                    </a:cubicBezTo>
                    <a:cubicBezTo>
                      <a:pt x="72" y="75"/>
                      <a:pt x="67" y="81"/>
                      <a:pt x="58" y="81"/>
                    </a:cubicBezTo>
                    <a:cubicBezTo>
                      <a:pt x="50" y="81"/>
                      <a:pt x="50" y="81"/>
                      <a:pt x="50" y="81"/>
                    </a:cubicBezTo>
                    <a:cubicBezTo>
                      <a:pt x="50" y="87"/>
                      <a:pt x="50" y="87"/>
                      <a:pt x="50" y="87"/>
                    </a:cubicBezTo>
                    <a:cubicBezTo>
                      <a:pt x="60" y="87"/>
                      <a:pt x="66" y="92"/>
                      <a:pt x="69" y="103"/>
                    </a:cubicBezTo>
                    <a:cubicBezTo>
                      <a:pt x="72" y="112"/>
                      <a:pt x="74" y="122"/>
                      <a:pt x="76" y="134"/>
                    </a:cubicBezTo>
                    <a:cubicBezTo>
                      <a:pt x="76" y="138"/>
                      <a:pt x="75" y="140"/>
                      <a:pt x="74" y="140"/>
                    </a:cubicBezTo>
                    <a:cubicBezTo>
                      <a:pt x="72" y="141"/>
                      <a:pt x="71" y="139"/>
                      <a:pt x="70" y="136"/>
                    </a:cubicBezTo>
                    <a:cubicBezTo>
                      <a:pt x="68" y="126"/>
                      <a:pt x="66" y="116"/>
                      <a:pt x="63" y="105"/>
                    </a:cubicBezTo>
                    <a:cubicBezTo>
                      <a:pt x="61" y="98"/>
                      <a:pt x="57" y="95"/>
                      <a:pt x="50" y="95"/>
                    </a:cubicBezTo>
                    <a:cubicBezTo>
                      <a:pt x="50" y="109"/>
                      <a:pt x="51" y="123"/>
                      <a:pt x="52" y="138"/>
                    </a:cubicBezTo>
                    <a:cubicBezTo>
                      <a:pt x="52" y="141"/>
                      <a:pt x="51" y="143"/>
                      <a:pt x="49" y="144"/>
                    </a:cubicBezTo>
                    <a:cubicBezTo>
                      <a:pt x="47" y="144"/>
                      <a:pt x="46" y="142"/>
                      <a:pt x="46" y="139"/>
                    </a:cubicBezTo>
                    <a:cubicBezTo>
                      <a:pt x="44" y="134"/>
                      <a:pt x="43" y="118"/>
                      <a:pt x="43" y="92"/>
                    </a:cubicBezTo>
                    <a:cubicBezTo>
                      <a:pt x="43" y="76"/>
                      <a:pt x="43" y="64"/>
                      <a:pt x="42" y="57"/>
                    </a:cubicBezTo>
                    <a:cubicBezTo>
                      <a:pt x="38" y="57"/>
                      <a:pt x="38" y="57"/>
                      <a:pt x="38" y="57"/>
                    </a:cubicBezTo>
                    <a:cubicBezTo>
                      <a:pt x="36" y="88"/>
                      <a:pt x="35" y="113"/>
                      <a:pt x="35" y="132"/>
                    </a:cubicBezTo>
                    <a:cubicBezTo>
                      <a:pt x="35" y="138"/>
                      <a:pt x="33" y="142"/>
                      <a:pt x="31" y="142"/>
                    </a:cubicBezTo>
                    <a:cubicBezTo>
                      <a:pt x="29" y="142"/>
                      <a:pt x="27" y="140"/>
                      <a:pt x="27" y="136"/>
                    </a:cubicBezTo>
                    <a:cubicBezTo>
                      <a:pt x="27" y="136"/>
                      <a:pt x="27" y="134"/>
                      <a:pt x="27" y="132"/>
                    </a:cubicBezTo>
                    <a:cubicBezTo>
                      <a:pt x="28" y="118"/>
                      <a:pt x="29" y="105"/>
                      <a:pt x="29" y="95"/>
                    </a:cubicBezTo>
                    <a:cubicBezTo>
                      <a:pt x="19" y="95"/>
                      <a:pt x="14" y="98"/>
                      <a:pt x="13" y="105"/>
                    </a:cubicBezTo>
                    <a:cubicBezTo>
                      <a:pt x="10" y="114"/>
                      <a:pt x="7" y="124"/>
                      <a:pt x="5" y="135"/>
                    </a:cubicBezTo>
                    <a:cubicBezTo>
                      <a:pt x="4" y="137"/>
                      <a:pt x="3" y="139"/>
                      <a:pt x="2" y="139"/>
                    </a:cubicBezTo>
                    <a:cubicBezTo>
                      <a:pt x="1" y="140"/>
                      <a:pt x="0" y="138"/>
                      <a:pt x="0" y="135"/>
                    </a:cubicBezTo>
                    <a:cubicBezTo>
                      <a:pt x="0" y="125"/>
                      <a:pt x="2" y="115"/>
                      <a:pt x="7" y="104"/>
                    </a:cubicBezTo>
                    <a:cubicBezTo>
                      <a:pt x="11" y="92"/>
                      <a:pt x="18" y="86"/>
                      <a:pt x="30" y="86"/>
                    </a:cubicBezTo>
                    <a:cubicBezTo>
                      <a:pt x="30" y="85"/>
                      <a:pt x="30" y="83"/>
                      <a:pt x="31" y="80"/>
                    </a:cubicBezTo>
                    <a:cubicBezTo>
                      <a:pt x="29" y="81"/>
                      <a:pt x="28" y="81"/>
                      <a:pt x="26" y="80"/>
                    </a:cubicBezTo>
                    <a:cubicBezTo>
                      <a:pt x="24" y="80"/>
                      <a:pt x="23" y="80"/>
                      <a:pt x="22" y="80"/>
                    </a:cubicBezTo>
                    <a:cubicBezTo>
                      <a:pt x="14" y="81"/>
                      <a:pt x="8" y="76"/>
                      <a:pt x="5" y="66"/>
                    </a:cubicBezTo>
                    <a:cubicBezTo>
                      <a:pt x="2" y="59"/>
                      <a:pt x="0" y="49"/>
                      <a:pt x="0" y="37"/>
                    </a:cubicBezTo>
                    <a:cubicBezTo>
                      <a:pt x="0" y="32"/>
                      <a:pt x="1" y="29"/>
                      <a:pt x="3" y="29"/>
                    </a:cubicBezTo>
                    <a:cubicBezTo>
                      <a:pt x="6" y="31"/>
                      <a:pt x="8" y="35"/>
                      <a:pt x="8" y="39"/>
                    </a:cubicBezTo>
                    <a:cubicBezTo>
                      <a:pt x="7" y="45"/>
                      <a:pt x="7" y="52"/>
                      <a:pt x="9" y="59"/>
                    </a:cubicBezTo>
                    <a:cubicBezTo>
                      <a:pt x="10" y="68"/>
                      <a:pt x="16" y="73"/>
                      <a:pt x="24" y="74"/>
                    </a:cubicBezTo>
                    <a:cubicBezTo>
                      <a:pt x="26" y="74"/>
                      <a:pt x="29" y="74"/>
                      <a:pt x="31" y="74"/>
                    </a:cubicBezTo>
                    <a:cubicBezTo>
                      <a:pt x="31" y="72"/>
                      <a:pt x="31" y="69"/>
                      <a:pt x="31" y="65"/>
                    </a:cubicBezTo>
                    <a:cubicBezTo>
                      <a:pt x="31" y="61"/>
                      <a:pt x="32" y="58"/>
                      <a:pt x="32" y="57"/>
                    </a:cubicBezTo>
                    <a:cubicBezTo>
                      <a:pt x="25" y="56"/>
                      <a:pt x="20" y="53"/>
                      <a:pt x="19" y="48"/>
                    </a:cubicBezTo>
                    <a:cubicBezTo>
                      <a:pt x="15" y="36"/>
                      <a:pt x="14" y="25"/>
                      <a:pt x="16" y="14"/>
                    </a:cubicBezTo>
                    <a:cubicBezTo>
                      <a:pt x="17" y="6"/>
                      <a:pt x="21" y="2"/>
                      <a:pt x="27" y="2"/>
                    </a:cubicBezTo>
                    <a:close/>
                    <a:moveTo>
                      <a:pt x="22" y="19"/>
                    </a:moveTo>
                    <a:cubicBezTo>
                      <a:pt x="22" y="20"/>
                      <a:pt x="22" y="20"/>
                      <a:pt x="22" y="20"/>
                    </a:cubicBezTo>
                    <a:cubicBezTo>
                      <a:pt x="30" y="20"/>
                      <a:pt x="42" y="19"/>
                      <a:pt x="57" y="19"/>
                    </a:cubicBezTo>
                    <a:cubicBezTo>
                      <a:pt x="57" y="18"/>
                      <a:pt x="57" y="17"/>
                      <a:pt x="57" y="16"/>
                    </a:cubicBezTo>
                    <a:cubicBezTo>
                      <a:pt x="56" y="13"/>
                      <a:pt x="54" y="10"/>
                      <a:pt x="50" y="9"/>
                    </a:cubicBezTo>
                    <a:cubicBezTo>
                      <a:pt x="44" y="8"/>
                      <a:pt x="37" y="7"/>
                      <a:pt x="31" y="9"/>
                    </a:cubicBezTo>
                    <a:cubicBezTo>
                      <a:pt x="25" y="11"/>
                      <a:pt x="22" y="14"/>
                      <a:pt x="22" y="19"/>
                    </a:cubicBezTo>
                    <a:close/>
                    <a:moveTo>
                      <a:pt x="22" y="27"/>
                    </a:moveTo>
                    <a:cubicBezTo>
                      <a:pt x="22" y="28"/>
                      <a:pt x="22" y="29"/>
                      <a:pt x="23" y="31"/>
                    </a:cubicBezTo>
                    <a:cubicBezTo>
                      <a:pt x="23" y="32"/>
                      <a:pt x="23" y="33"/>
                      <a:pt x="23" y="34"/>
                    </a:cubicBezTo>
                    <a:cubicBezTo>
                      <a:pt x="57" y="34"/>
                      <a:pt x="57" y="34"/>
                      <a:pt x="57" y="34"/>
                    </a:cubicBezTo>
                    <a:cubicBezTo>
                      <a:pt x="57" y="27"/>
                      <a:pt x="57" y="27"/>
                      <a:pt x="57" y="27"/>
                    </a:cubicBezTo>
                    <a:cubicBezTo>
                      <a:pt x="45" y="26"/>
                      <a:pt x="33" y="26"/>
                      <a:pt x="22" y="27"/>
                    </a:cubicBezTo>
                    <a:close/>
                    <a:moveTo>
                      <a:pt x="35" y="50"/>
                    </a:moveTo>
                    <a:cubicBezTo>
                      <a:pt x="48" y="50"/>
                      <a:pt x="48" y="50"/>
                      <a:pt x="48" y="50"/>
                    </a:cubicBezTo>
                    <a:cubicBezTo>
                      <a:pt x="53" y="50"/>
                      <a:pt x="55" y="47"/>
                      <a:pt x="57" y="42"/>
                    </a:cubicBezTo>
                    <a:cubicBezTo>
                      <a:pt x="57" y="41"/>
                      <a:pt x="57" y="41"/>
                      <a:pt x="57" y="41"/>
                    </a:cubicBezTo>
                    <a:cubicBezTo>
                      <a:pt x="43" y="41"/>
                      <a:pt x="32" y="41"/>
                      <a:pt x="24" y="42"/>
                    </a:cubicBezTo>
                    <a:cubicBezTo>
                      <a:pt x="24" y="43"/>
                      <a:pt x="24" y="43"/>
                      <a:pt x="25" y="44"/>
                    </a:cubicBezTo>
                    <a:cubicBezTo>
                      <a:pt x="27" y="48"/>
                      <a:pt x="30" y="50"/>
                      <a:pt x="35" y="5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313" name="iṣlîḋè"/>
              <p:cNvSpPr/>
              <p:nvPr/>
            </p:nvSpPr>
            <p:spPr bwMode="auto">
              <a:xfrm>
                <a:off x="2604984" y="5259978"/>
                <a:ext cx="177800" cy="255588"/>
              </a:xfrm>
              <a:custGeom>
                <a:avLst/>
                <a:gdLst>
                  <a:gd name="T0" fmla="*/ 5 w 96"/>
                  <a:gd name="T1" fmla="*/ 37 h 138"/>
                  <a:gd name="T2" fmla="*/ 24 w 96"/>
                  <a:gd name="T3" fmla="*/ 49 h 138"/>
                  <a:gd name="T4" fmla="*/ 7 w 96"/>
                  <a:gd name="T5" fmla="*/ 26 h 138"/>
                  <a:gd name="T6" fmla="*/ 0 w 96"/>
                  <a:gd name="T7" fmla="*/ 22 h 138"/>
                  <a:gd name="T8" fmla="*/ 44 w 96"/>
                  <a:gd name="T9" fmla="*/ 19 h 138"/>
                  <a:gd name="T10" fmla="*/ 40 w 96"/>
                  <a:gd name="T11" fmla="*/ 26 h 138"/>
                  <a:gd name="T12" fmla="*/ 29 w 96"/>
                  <a:gd name="T13" fmla="*/ 49 h 138"/>
                  <a:gd name="T14" fmla="*/ 42 w 96"/>
                  <a:gd name="T15" fmla="*/ 39 h 138"/>
                  <a:gd name="T16" fmla="*/ 36 w 96"/>
                  <a:gd name="T17" fmla="*/ 64 h 138"/>
                  <a:gd name="T18" fmla="*/ 44 w 96"/>
                  <a:gd name="T19" fmla="*/ 70 h 138"/>
                  <a:gd name="T20" fmla="*/ 30 w 96"/>
                  <a:gd name="T21" fmla="*/ 78 h 138"/>
                  <a:gd name="T22" fmla="*/ 48 w 96"/>
                  <a:gd name="T23" fmla="*/ 111 h 138"/>
                  <a:gd name="T24" fmla="*/ 42 w 96"/>
                  <a:gd name="T25" fmla="*/ 124 h 138"/>
                  <a:gd name="T26" fmla="*/ 33 w 96"/>
                  <a:gd name="T27" fmla="*/ 93 h 138"/>
                  <a:gd name="T28" fmla="*/ 30 w 96"/>
                  <a:gd name="T29" fmla="*/ 116 h 138"/>
                  <a:gd name="T30" fmla="*/ 24 w 96"/>
                  <a:gd name="T31" fmla="*/ 133 h 138"/>
                  <a:gd name="T32" fmla="*/ 20 w 96"/>
                  <a:gd name="T33" fmla="*/ 93 h 138"/>
                  <a:gd name="T34" fmla="*/ 11 w 96"/>
                  <a:gd name="T35" fmla="*/ 122 h 138"/>
                  <a:gd name="T36" fmla="*/ 8 w 96"/>
                  <a:gd name="T37" fmla="*/ 102 h 138"/>
                  <a:gd name="T38" fmla="*/ 24 w 96"/>
                  <a:gd name="T39" fmla="*/ 81 h 138"/>
                  <a:gd name="T40" fmla="*/ 3 w 96"/>
                  <a:gd name="T41" fmla="*/ 77 h 138"/>
                  <a:gd name="T42" fmla="*/ 14 w 96"/>
                  <a:gd name="T43" fmla="*/ 70 h 138"/>
                  <a:gd name="T44" fmla="*/ 20 w 96"/>
                  <a:gd name="T45" fmla="*/ 65 h 138"/>
                  <a:gd name="T46" fmla="*/ 2 w 96"/>
                  <a:gd name="T47" fmla="*/ 37 h 138"/>
                  <a:gd name="T48" fmla="*/ 40 w 96"/>
                  <a:gd name="T49" fmla="*/ 3 h 138"/>
                  <a:gd name="T50" fmla="*/ 14 w 96"/>
                  <a:gd name="T51" fmla="*/ 11 h 138"/>
                  <a:gd name="T52" fmla="*/ 5 w 96"/>
                  <a:gd name="T53" fmla="*/ 6 h 138"/>
                  <a:gd name="T54" fmla="*/ 33 w 96"/>
                  <a:gd name="T55" fmla="*/ 26 h 138"/>
                  <a:gd name="T56" fmla="*/ 27 w 96"/>
                  <a:gd name="T57" fmla="*/ 45 h 138"/>
                  <a:gd name="T58" fmla="*/ 54 w 96"/>
                  <a:gd name="T59" fmla="*/ 2 h 138"/>
                  <a:gd name="T60" fmla="*/ 58 w 96"/>
                  <a:gd name="T61" fmla="*/ 10 h 138"/>
                  <a:gd name="T62" fmla="*/ 88 w 96"/>
                  <a:gd name="T63" fmla="*/ 22 h 138"/>
                  <a:gd name="T64" fmla="*/ 74 w 96"/>
                  <a:gd name="T65" fmla="*/ 37 h 138"/>
                  <a:gd name="T66" fmla="*/ 62 w 96"/>
                  <a:gd name="T67" fmla="*/ 66 h 138"/>
                  <a:gd name="T68" fmla="*/ 53 w 96"/>
                  <a:gd name="T69" fmla="*/ 136 h 138"/>
                  <a:gd name="T70" fmla="*/ 48 w 96"/>
                  <a:gd name="T71" fmla="*/ 130 h 138"/>
                  <a:gd name="T72" fmla="*/ 55 w 96"/>
                  <a:gd name="T73" fmla="*/ 48 h 138"/>
                  <a:gd name="T74" fmla="*/ 76 w 96"/>
                  <a:gd name="T75" fmla="*/ 31 h 138"/>
                  <a:gd name="T76" fmla="*/ 65 w 96"/>
                  <a:gd name="T77" fmla="*/ 18 h 138"/>
                  <a:gd name="T78" fmla="*/ 52 w 96"/>
                  <a:gd name="T79" fmla="*/ 13 h 138"/>
                  <a:gd name="T80" fmla="*/ 94 w 96"/>
                  <a:gd name="T81" fmla="*/ 74 h 138"/>
                  <a:gd name="T82" fmla="*/ 76 w 96"/>
                  <a:gd name="T83" fmla="*/ 54 h 138"/>
                  <a:gd name="T84" fmla="*/ 83 w 96"/>
                  <a:gd name="T85" fmla="*/ 119 h 138"/>
                  <a:gd name="T86" fmla="*/ 88 w 96"/>
                  <a:gd name="T87" fmla="*/ 133 h 138"/>
                  <a:gd name="T88" fmla="*/ 70 w 96"/>
                  <a:gd name="T89" fmla="*/ 93 h 138"/>
                  <a:gd name="T90" fmla="*/ 70 w 96"/>
                  <a:gd name="T91" fmla="*/ 42 h 138"/>
                  <a:gd name="T92" fmla="*/ 95 w 96"/>
                  <a:gd name="T93" fmla="*/ 70 h 1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96" h="138">
                    <a:moveTo>
                      <a:pt x="2" y="37"/>
                    </a:moveTo>
                    <a:cubicBezTo>
                      <a:pt x="2" y="36"/>
                      <a:pt x="2" y="35"/>
                      <a:pt x="3" y="35"/>
                    </a:cubicBezTo>
                    <a:cubicBezTo>
                      <a:pt x="4" y="35"/>
                      <a:pt x="5" y="36"/>
                      <a:pt x="5" y="37"/>
                    </a:cubicBezTo>
                    <a:cubicBezTo>
                      <a:pt x="9" y="49"/>
                      <a:pt x="14" y="56"/>
                      <a:pt x="21" y="59"/>
                    </a:cubicBezTo>
                    <a:cubicBezTo>
                      <a:pt x="21" y="59"/>
                      <a:pt x="22" y="60"/>
                      <a:pt x="24" y="60"/>
                    </a:cubicBezTo>
                    <a:cubicBezTo>
                      <a:pt x="24" y="56"/>
                      <a:pt x="24" y="53"/>
                      <a:pt x="24" y="49"/>
                    </a:cubicBezTo>
                    <a:cubicBezTo>
                      <a:pt x="21" y="48"/>
                      <a:pt x="18" y="46"/>
                      <a:pt x="16" y="42"/>
                    </a:cubicBezTo>
                    <a:cubicBezTo>
                      <a:pt x="13" y="38"/>
                      <a:pt x="12" y="33"/>
                      <a:pt x="12" y="26"/>
                    </a:cubicBezTo>
                    <a:cubicBezTo>
                      <a:pt x="9" y="26"/>
                      <a:pt x="8" y="26"/>
                      <a:pt x="7" y="26"/>
                    </a:cubicBezTo>
                    <a:cubicBezTo>
                      <a:pt x="4" y="27"/>
                      <a:pt x="2" y="27"/>
                      <a:pt x="1" y="25"/>
                    </a:cubicBezTo>
                    <a:cubicBezTo>
                      <a:pt x="0" y="24"/>
                      <a:pt x="0" y="23"/>
                      <a:pt x="0" y="22"/>
                    </a:cubicBezTo>
                    <a:cubicBezTo>
                      <a:pt x="0" y="22"/>
                      <a:pt x="0" y="22"/>
                      <a:pt x="0" y="22"/>
                    </a:cubicBezTo>
                    <a:cubicBezTo>
                      <a:pt x="1" y="19"/>
                      <a:pt x="2" y="18"/>
                      <a:pt x="4" y="19"/>
                    </a:cubicBezTo>
                    <a:cubicBezTo>
                      <a:pt x="6" y="19"/>
                      <a:pt x="8" y="19"/>
                      <a:pt x="11" y="19"/>
                    </a:cubicBezTo>
                    <a:cubicBezTo>
                      <a:pt x="44" y="19"/>
                      <a:pt x="44" y="19"/>
                      <a:pt x="44" y="19"/>
                    </a:cubicBezTo>
                    <a:cubicBezTo>
                      <a:pt x="46" y="19"/>
                      <a:pt x="48" y="20"/>
                      <a:pt x="48" y="23"/>
                    </a:cubicBezTo>
                    <a:cubicBezTo>
                      <a:pt x="47" y="25"/>
                      <a:pt x="45" y="26"/>
                      <a:pt x="42" y="26"/>
                    </a:cubicBezTo>
                    <a:cubicBezTo>
                      <a:pt x="42" y="26"/>
                      <a:pt x="41" y="26"/>
                      <a:pt x="40" y="26"/>
                    </a:cubicBezTo>
                    <a:cubicBezTo>
                      <a:pt x="40" y="26"/>
                      <a:pt x="40" y="26"/>
                      <a:pt x="40" y="26"/>
                    </a:cubicBezTo>
                    <a:cubicBezTo>
                      <a:pt x="39" y="34"/>
                      <a:pt x="38" y="39"/>
                      <a:pt x="37" y="42"/>
                    </a:cubicBezTo>
                    <a:cubicBezTo>
                      <a:pt x="34" y="46"/>
                      <a:pt x="32" y="49"/>
                      <a:pt x="29" y="49"/>
                    </a:cubicBezTo>
                    <a:cubicBezTo>
                      <a:pt x="30" y="53"/>
                      <a:pt x="30" y="56"/>
                      <a:pt x="30" y="60"/>
                    </a:cubicBezTo>
                    <a:cubicBezTo>
                      <a:pt x="31" y="60"/>
                      <a:pt x="32" y="59"/>
                      <a:pt x="33" y="58"/>
                    </a:cubicBezTo>
                    <a:cubicBezTo>
                      <a:pt x="39" y="56"/>
                      <a:pt x="42" y="49"/>
                      <a:pt x="42" y="39"/>
                    </a:cubicBezTo>
                    <a:cubicBezTo>
                      <a:pt x="43" y="37"/>
                      <a:pt x="44" y="36"/>
                      <a:pt x="46" y="36"/>
                    </a:cubicBezTo>
                    <a:cubicBezTo>
                      <a:pt x="47" y="36"/>
                      <a:pt x="48" y="37"/>
                      <a:pt x="48" y="39"/>
                    </a:cubicBezTo>
                    <a:cubicBezTo>
                      <a:pt x="49" y="49"/>
                      <a:pt x="45" y="57"/>
                      <a:pt x="36" y="64"/>
                    </a:cubicBezTo>
                    <a:cubicBezTo>
                      <a:pt x="34" y="65"/>
                      <a:pt x="32" y="66"/>
                      <a:pt x="30" y="66"/>
                    </a:cubicBezTo>
                    <a:cubicBezTo>
                      <a:pt x="30" y="70"/>
                      <a:pt x="30" y="70"/>
                      <a:pt x="30" y="70"/>
                    </a:cubicBezTo>
                    <a:cubicBezTo>
                      <a:pt x="44" y="70"/>
                      <a:pt x="44" y="70"/>
                      <a:pt x="44" y="70"/>
                    </a:cubicBezTo>
                    <a:cubicBezTo>
                      <a:pt x="47" y="70"/>
                      <a:pt x="49" y="71"/>
                      <a:pt x="49" y="73"/>
                    </a:cubicBezTo>
                    <a:cubicBezTo>
                      <a:pt x="49" y="76"/>
                      <a:pt x="47" y="77"/>
                      <a:pt x="43" y="77"/>
                    </a:cubicBezTo>
                    <a:cubicBezTo>
                      <a:pt x="37" y="77"/>
                      <a:pt x="33" y="77"/>
                      <a:pt x="30" y="78"/>
                    </a:cubicBezTo>
                    <a:cubicBezTo>
                      <a:pt x="30" y="80"/>
                      <a:pt x="30" y="82"/>
                      <a:pt x="30" y="84"/>
                    </a:cubicBezTo>
                    <a:cubicBezTo>
                      <a:pt x="34" y="84"/>
                      <a:pt x="37" y="87"/>
                      <a:pt x="40" y="91"/>
                    </a:cubicBezTo>
                    <a:cubicBezTo>
                      <a:pt x="44" y="96"/>
                      <a:pt x="46" y="103"/>
                      <a:pt x="48" y="111"/>
                    </a:cubicBezTo>
                    <a:cubicBezTo>
                      <a:pt x="49" y="116"/>
                      <a:pt x="49" y="120"/>
                      <a:pt x="48" y="124"/>
                    </a:cubicBezTo>
                    <a:cubicBezTo>
                      <a:pt x="47" y="125"/>
                      <a:pt x="46" y="125"/>
                      <a:pt x="45" y="125"/>
                    </a:cubicBezTo>
                    <a:cubicBezTo>
                      <a:pt x="44" y="125"/>
                      <a:pt x="43" y="125"/>
                      <a:pt x="42" y="124"/>
                    </a:cubicBezTo>
                    <a:cubicBezTo>
                      <a:pt x="42" y="123"/>
                      <a:pt x="42" y="121"/>
                      <a:pt x="42" y="118"/>
                    </a:cubicBezTo>
                    <a:cubicBezTo>
                      <a:pt x="41" y="116"/>
                      <a:pt x="41" y="114"/>
                      <a:pt x="41" y="113"/>
                    </a:cubicBezTo>
                    <a:cubicBezTo>
                      <a:pt x="40" y="104"/>
                      <a:pt x="37" y="97"/>
                      <a:pt x="33" y="93"/>
                    </a:cubicBezTo>
                    <a:cubicBezTo>
                      <a:pt x="33" y="92"/>
                      <a:pt x="32" y="91"/>
                      <a:pt x="30" y="91"/>
                    </a:cubicBezTo>
                    <a:cubicBezTo>
                      <a:pt x="31" y="97"/>
                      <a:pt x="31" y="101"/>
                      <a:pt x="31" y="105"/>
                    </a:cubicBezTo>
                    <a:cubicBezTo>
                      <a:pt x="31" y="107"/>
                      <a:pt x="31" y="111"/>
                      <a:pt x="30" y="116"/>
                    </a:cubicBezTo>
                    <a:cubicBezTo>
                      <a:pt x="30" y="124"/>
                      <a:pt x="30" y="129"/>
                      <a:pt x="29" y="133"/>
                    </a:cubicBezTo>
                    <a:cubicBezTo>
                      <a:pt x="29" y="136"/>
                      <a:pt x="28" y="137"/>
                      <a:pt x="27" y="137"/>
                    </a:cubicBezTo>
                    <a:cubicBezTo>
                      <a:pt x="26" y="137"/>
                      <a:pt x="25" y="136"/>
                      <a:pt x="24" y="133"/>
                    </a:cubicBezTo>
                    <a:cubicBezTo>
                      <a:pt x="24" y="120"/>
                      <a:pt x="24" y="111"/>
                      <a:pt x="24" y="105"/>
                    </a:cubicBezTo>
                    <a:cubicBezTo>
                      <a:pt x="24" y="100"/>
                      <a:pt x="24" y="95"/>
                      <a:pt x="24" y="90"/>
                    </a:cubicBezTo>
                    <a:cubicBezTo>
                      <a:pt x="22" y="91"/>
                      <a:pt x="21" y="92"/>
                      <a:pt x="20" y="93"/>
                    </a:cubicBezTo>
                    <a:cubicBezTo>
                      <a:pt x="18" y="94"/>
                      <a:pt x="16" y="98"/>
                      <a:pt x="14" y="102"/>
                    </a:cubicBezTo>
                    <a:cubicBezTo>
                      <a:pt x="13" y="104"/>
                      <a:pt x="13" y="104"/>
                      <a:pt x="13" y="104"/>
                    </a:cubicBezTo>
                    <a:cubicBezTo>
                      <a:pt x="12" y="108"/>
                      <a:pt x="11" y="114"/>
                      <a:pt x="11" y="122"/>
                    </a:cubicBezTo>
                    <a:cubicBezTo>
                      <a:pt x="10" y="124"/>
                      <a:pt x="9" y="125"/>
                      <a:pt x="7" y="125"/>
                    </a:cubicBezTo>
                    <a:cubicBezTo>
                      <a:pt x="6" y="125"/>
                      <a:pt x="5" y="124"/>
                      <a:pt x="5" y="122"/>
                    </a:cubicBezTo>
                    <a:cubicBezTo>
                      <a:pt x="6" y="115"/>
                      <a:pt x="7" y="108"/>
                      <a:pt x="8" y="102"/>
                    </a:cubicBezTo>
                    <a:cubicBezTo>
                      <a:pt x="9" y="97"/>
                      <a:pt x="11" y="92"/>
                      <a:pt x="14" y="89"/>
                    </a:cubicBezTo>
                    <a:cubicBezTo>
                      <a:pt x="17" y="86"/>
                      <a:pt x="20" y="84"/>
                      <a:pt x="24" y="84"/>
                    </a:cubicBezTo>
                    <a:cubicBezTo>
                      <a:pt x="24" y="81"/>
                      <a:pt x="24" y="81"/>
                      <a:pt x="24" y="81"/>
                    </a:cubicBezTo>
                    <a:cubicBezTo>
                      <a:pt x="24" y="80"/>
                      <a:pt x="24" y="79"/>
                      <a:pt x="24" y="78"/>
                    </a:cubicBezTo>
                    <a:cubicBezTo>
                      <a:pt x="14" y="78"/>
                      <a:pt x="9" y="78"/>
                      <a:pt x="9" y="78"/>
                    </a:cubicBezTo>
                    <a:cubicBezTo>
                      <a:pt x="6" y="79"/>
                      <a:pt x="4" y="79"/>
                      <a:pt x="3" y="77"/>
                    </a:cubicBezTo>
                    <a:cubicBezTo>
                      <a:pt x="2" y="76"/>
                      <a:pt x="2" y="74"/>
                      <a:pt x="3" y="72"/>
                    </a:cubicBezTo>
                    <a:cubicBezTo>
                      <a:pt x="3" y="70"/>
                      <a:pt x="4" y="70"/>
                      <a:pt x="7" y="70"/>
                    </a:cubicBezTo>
                    <a:cubicBezTo>
                      <a:pt x="8" y="70"/>
                      <a:pt x="10" y="70"/>
                      <a:pt x="14" y="70"/>
                    </a:cubicBezTo>
                    <a:cubicBezTo>
                      <a:pt x="24" y="70"/>
                      <a:pt x="24" y="70"/>
                      <a:pt x="24" y="70"/>
                    </a:cubicBezTo>
                    <a:cubicBezTo>
                      <a:pt x="24" y="66"/>
                      <a:pt x="24" y="66"/>
                      <a:pt x="24" y="66"/>
                    </a:cubicBezTo>
                    <a:cubicBezTo>
                      <a:pt x="22" y="66"/>
                      <a:pt x="21" y="66"/>
                      <a:pt x="20" y="65"/>
                    </a:cubicBezTo>
                    <a:cubicBezTo>
                      <a:pt x="12" y="62"/>
                      <a:pt x="6" y="56"/>
                      <a:pt x="2" y="46"/>
                    </a:cubicBezTo>
                    <a:cubicBezTo>
                      <a:pt x="2" y="46"/>
                      <a:pt x="2" y="43"/>
                      <a:pt x="2" y="40"/>
                    </a:cubicBezTo>
                    <a:cubicBezTo>
                      <a:pt x="2" y="39"/>
                      <a:pt x="2" y="38"/>
                      <a:pt x="2" y="37"/>
                    </a:cubicBezTo>
                    <a:close/>
                    <a:moveTo>
                      <a:pt x="9" y="3"/>
                    </a:moveTo>
                    <a:cubicBezTo>
                      <a:pt x="11" y="3"/>
                      <a:pt x="15" y="3"/>
                      <a:pt x="19" y="3"/>
                    </a:cubicBezTo>
                    <a:cubicBezTo>
                      <a:pt x="40" y="3"/>
                      <a:pt x="40" y="3"/>
                      <a:pt x="40" y="3"/>
                    </a:cubicBezTo>
                    <a:cubicBezTo>
                      <a:pt x="43" y="3"/>
                      <a:pt x="44" y="5"/>
                      <a:pt x="44" y="7"/>
                    </a:cubicBezTo>
                    <a:cubicBezTo>
                      <a:pt x="44" y="9"/>
                      <a:pt x="42" y="10"/>
                      <a:pt x="39" y="10"/>
                    </a:cubicBezTo>
                    <a:cubicBezTo>
                      <a:pt x="34" y="10"/>
                      <a:pt x="25" y="10"/>
                      <a:pt x="14" y="11"/>
                    </a:cubicBezTo>
                    <a:cubicBezTo>
                      <a:pt x="13" y="11"/>
                      <a:pt x="12" y="11"/>
                      <a:pt x="11" y="11"/>
                    </a:cubicBezTo>
                    <a:cubicBezTo>
                      <a:pt x="7" y="11"/>
                      <a:pt x="5" y="11"/>
                      <a:pt x="5" y="9"/>
                    </a:cubicBezTo>
                    <a:cubicBezTo>
                      <a:pt x="5" y="9"/>
                      <a:pt x="4" y="8"/>
                      <a:pt x="5" y="6"/>
                    </a:cubicBezTo>
                    <a:cubicBezTo>
                      <a:pt x="5" y="5"/>
                      <a:pt x="5" y="5"/>
                      <a:pt x="5" y="5"/>
                    </a:cubicBezTo>
                    <a:cubicBezTo>
                      <a:pt x="5" y="3"/>
                      <a:pt x="6" y="3"/>
                      <a:pt x="9" y="3"/>
                    </a:cubicBezTo>
                    <a:close/>
                    <a:moveTo>
                      <a:pt x="33" y="26"/>
                    </a:moveTo>
                    <a:cubicBezTo>
                      <a:pt x="28" y="26"/>
                      <a:pt x="23" y="26"/>
                      <a:pt x="17" y="26"/>
                    </a:cubicBezTo>
                    <a:cubicBezTo>
                      <a:pt x="18" y="32"/>
                      <a:pt x="20" y="38"/>
                      <a:pt x="24" y="42"/>
                    </a:cubicBezTo>
                    <a:cubicBezTo>
                      <a:pt x="25" y="44"/>
                      <a:pt x="26" y="45"/>
                      <a:pt x="27" y="45"/>
                    </a:cubicBezTo>
                    <a:cubicBezTo>
                      <a:pt x="28" y="45"/>
                      <a:pt x="29" y="44"/>
                      <a:pt x="29" y="42"/>
                    </a:cubicBezTo>
                    <a:cubicBezTo>
                      <a:pt x="32" y="38"/>
                      <a:pt x="33" y="33"/>
                      <a:pt x="33" y="26"/>
                    </a:cubicBezTo>
                    <a:close/>
                    <a:moveTo>
                      <a:pt x="54" y="2"/>
                    </a:moveTo>
                    <a:cubicBezTo>
                      <a:pt x="55" y="0"/>
                      <a:pt x="57" y="0"/>
                      <a:pt x="58" y="1"/>
                    </a:cubicBezTo>
                    <a:cubicBezTo>
                      <a:pt x="59" y="2"/>
                      <a:pt x="60" y="4"/>
                      <a:pt x="59" y="6"/>
                    </a:cubicBezTo>
                    <a:cubicBezTo>
                      <a:pt x="57" y="8"/>
                      <a:pt x="57" y="9"/>
                      <a:pt x="58" y="10"/>
                    </a:cubicBezTo>
                    <a:cubicBezTo>
                      <a:pt x="59" y="11"/>
                      <a:pt x="61" y="12"/>
                      <a:pt x="63" y="11"/>
                    </a:cubicBezTo>
                    <a:cubicBezTo>
                      <a:pt x="67" y="9"/>
                      <a:pt x="73" y="9"/>
                      <a:pt x="80" y="11"/>
                    </a:cubicBezTo>
                    <a:cubicBezTo>
                      <a:pt x="84" y="13"/>
                      <a:pt x="87" y="16"/>
                      <a:pt x="88" y="22"/>
                    </a:cubicBezTo>
                    <a:cubicBezTo>
                      <a:pt x="89" y="27"/>
                      <a:pt x="88" y="32"/>
                      <a:pt x="85" y="35"/>
                    </a:cubicBezTo>
                    <a:cubicBezTo>
                      <a:pt x="84" y="38"/>
                      <a:pt x="81" y="39"/>
                      <a:pt x="75" y="37"/>
                    </a:cubicBezTo>
                    <a:cubicBezTo>
                      <a:pt x="75" y="37"/>
                      <a:pt x="74" y="37"/>
                      <a:pt x="74" y="37"/>
                    </a:cubicBezTo>
                    <a:cubicBezTo>
                      <a:pt x="69" y="37"/>
                      <a:pt x="66" y="37"/>
                      <a:pt x="63" y="38"/>
                    </a:cubicBezTo>
                    <a:cubicBezTo>
                      <a:pt x="62" y="38"/>
                      <a:pt x="61" y="40"/>
                      <a:pt x="61" y="43"/>
                    </a:cubicBezTo>
                    <a:cubicBezTo>
                      <a:pt x="62" y="48"/>
                      <a:pt x="62" y="56"/>
                      <a:pt x="62" y="66"/>
                    </a:cubicBezTo>
                    <a:cubicBezTo>
                      <a:pt x="62" y="70"/>
                      <a:pt x="61" y="76"/>
                      <a:pt x="61" y="84"/>
                    </a:cubicBezTo>
                    <a:cubicBezTo>
                      <a:pt x="59" y="99"/>
                      <a:pt x="58" y="110"/>
                      <a:pt x="57" y="116"/>
                    </a:cubicBezTo>
                    <a:cubicBezTo>
                      <a:pt x="57" y="122"/>
                      <a:pt x="55" y="128"/>
                      <a:pt x="53" y="136"/>
                    </a:cubicBezTo>
                    <a:cubicBezTo>
                      <a:pt x="52" y="137"/>
                      <a:pt x="51" y="138"/>
                      <a:pt x="50" y="138"/>
                    </a:cubicBezTo>
                    <a:cubicBezTo>
                      <a:pt x="48" y="138"/>
                      <a:pt x="48" y="137"/>
                      <a:pt x="48" y="136"/>
                    </a:cubicBezTo>
                    <a:cubicBezTo>
                      <a:pt x="48" y="135"/>
                      <a:pt x="48" y="133"/>
                      <a:pt x="48" y="130"/>
                    </a:cubicBezTo>
                    <a:cubicBezTo>
                      <a:pt x="49" y="127"/>
                      <a:pt x="49" y="126"/>
                      <a:pt x="49" y="125"/>
                    </a:cubicBezTo>
                    <a:cubicBezTo>
                      <a:pt x="53" y="104"/>
                      <a:pt x="55" y="85"/>
                      <a:pt x="55" y="68"/>
                    </a:cubicBezTo>
                    <a:cubicBezTo>
                      <a:pt x="56" y="60"/>
                      <a:pt x="56" y="54"/>
                      <a:pt x="55" y="48"/>
                    </a:cubicBezTo>
                    <a:cubicBezTo>
                      <a:pt x="54" y="45"/>
                      <a:pt x="53" y="42"/>
                      <a:pt x="52" y="40"/>
                    </a:cubicBezTo>
                    <a:cubicBezTo>
                      <a:pt x="50" y="38"/>
                      <a:pt x="51" y="36"/>
                      <a:pt x="54" y="34"/>
                    </a:cubicBezTo>
                    <a:cubicBezTo>
                      <a:pt x="58" y="30"/>
                      <a:pt x="66" y="29"/>
                      <a:pt x="76" y="31"/>
                    </a:cubicBezTo>
                    <a:cubicBezTo>
                      <a:pt x="81" y="32"/>
                      <a:pt x="83" y="30"/>
                      <a:pt x="83" y="25"/>
                    </a:cubicBezTo>
                    <a:cubicBezTo>
                      <a:pt x="83" y="21"/>
                      <a:pt x="81" y="18"/>
                      <a:pt x="77" y="18"/>
                    </a:cubicBezTo>
                    <a:cubicBezTo>
                      <a:pt x="70" y="17"/>
                      <a:pt x="66" y="17"/>
                      <a:pt x="65" y="18"/>
                    </a:cubicBezTo>
                    <a:cubicBezTo>
                      <a:pt x="63" y="19"/>
                      <a:pt x="60" y="19"/>
                      <a:pt x="57" y="19"/>
                    </a:cubicBezTo>
                    <a:cubicBezTo>
                      <a:pt x="57" y="18"/>
                      <a:pt x="55" y="17"/>
                      <a:pt x="53" y="15"/>
                    </a:cubicBezTo>
                    <a:cubicBezTo>
                      <a:pt x="53" y="14"/>
                      <a:pt x="52" y="14"/>
                      <a:pt x="52" y="13"/>
                    </a:cubicBezTo>
                    <a:cubicBezTo>
                      <a:pt x="50" y="10"/>
                      <a:pt x="51" y="6"/>
                      <a:pt x="54" y="2"/>
                    </a:cubicBezTo>
                    <a:close/>
                    <a:moveTo>
                      <a:pt x="95" y="70"/>
                    </a:moveTo>
                    <a:cubicBezTo>
                      <a:pt x="96" y="72"/>
                      <a:pt x="95" y="73"/>
                      <a:pt x="94" y="74"/>
                    </a:cubicBezTo>
                    <a:cubicBezTo>
                      <a:pt x="92" y="74"/>
                      <a:pt x="91" y="74"/>
                      <a:pt x="90" y="72"/>
                    </a:cubicBezTo>
                    <a:cubicBezTo>
                      <a:pt x="88" y="67"/>
                      <a:pt x="84" y="62"/>
                      <a:pt x="78" y="56"/>
                    </a:cubicBezTo>
                    <a:cubicBezTo>
                      <a:pt x="77" y="55"/>
                      <a:pt x="76" y="54"/>
                      <a:pt x="76" y="54"/>
                    </a:cubicBezTo>
                    <a:cubicBezTo>
                      <a:pt x="75" y="56"/>
                      <a:pt x="75" y="56"/>
                      <a:pt x="75" y="56"/>
                    </a:cubicBezTo>
                    <a:cubicBezTo>
                      <a:pt x="75" y="61"/>
                      <a:pt x="75" y="73"/>
                      <a:pt x="77" y="93"/>
                    </a:cubicBezTo>
                    <a:cubicBezTo>
                      <a:pt x="78" y="99"/>
                      <a:pt x="80" y="107"/>
                      <a:pt x="83" y="119"/>
                    </a:cubicBezTo>
                    <a:cubicBezTo>
                      <a:pt x="84" y="122"/>
                      <a:pt x="85" y="124"/>
                      <a:pt x="85" y="124"/>
                    </a:cubicBezTo>
                    <a:cubicBezTo>
                      <a:pt x="86" y="126"/>
                      <a:pt x="86" y="128"/>
                      <a:pt x="87" y="131"/>
                    </a:cubicBezTo>
                    <a:cubicBezTo>
                      <a:pt x="88" y="132"/>
                      <a:pt x="88" y="133"/>
                      <a:pt x="88" y="133"/>
                    </a:cubicBezTo>
                    <a:cubicBezTo>
                      <a:pt x="88" y="135"/>
                      <a:pt x="88" y="136"/>
                      <a:pt x="86" y="136"/>
                    </a:cubicBezTo>
                    <a:cubicBezTo>
                      <a:pt x="84" y="136"/>
                      <a:pt x="83" y="135"/>
                      <a:pt x="82" y="133"/>
                    </a:cubicBezTo>
                    <a:cubicBezTo>
                      <a:pt x="77" y="123"/>
                      <a:pt x="73" y="110"/>
                      <a:pt x="70" y="93"/>
                    </a:cubicBezTo>
                    <a:cubicBezTo>
                      <a:pt x="69" y="79"/>
                      <a:pt x="68" y="68"/>
                      <a:pt x="68" y="58"/>
                    </a:cubicBezTo>
                    <a:cubicBezTo>
                      <a:pt x="68" y="51"/>
                      <a:pt x="68" y="46"/>
                      <a:pt x="68" y="44"/>
                    </a:cubicBezTo>
                    <a:cubicBezTo>
                      <a:pt x="68" y="43"/>
                      <a:pt x="69" y="42"/>
                      <a:pt x="70" y="42"/>
                    </a:cubicBezTo>
                    <a:cubicBezTo>
                      <a:pt x="71" y="41"/>
                      <a:pt x="71" y="41"/>
                      <a:pt x="72" y="42"/>
                    </a:cubicBezTo>
                    <a:cubicBezTo>
                      <a:pt x="76" y="45"/>
                      <a:pt x="78" y="48"/>
                      <a:pt x="80" y="49"/>
                    </a:cubicBezTo>
                    <a:cubicBezTo>
                      <a:pt x="86" y="54"/>
                      <a:pt x="91" y="61"/>
                      <a:pt x="95" y="7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314" name="íṣ1ïḑe"/>
              <p:cNvSpPr/>
              <p:nvPr/>
            </p:nvSpPr>
            <p:spPr bwMode="auto">
              <a:xfrm>
                <a:off x="1750909" y="4905965"/>
                <a:ext cx="93663" cy="87313"/>
              </a:xfrm>
              <a:custGeom>
                <a:avLst/>
                <a:gdLst>
                  <a:gd name="T0" fmla="*/ 51 w 51"/>
                  <a:gd name="T1" fmla="*/ 17 h 47"/>
                  <a:gd name="T2" fmla="*/ 46 w 51"/>
                  <a:gd name="T3" fmla="*/ 25 h 47"/>
                  <a:gd name="T4" fmla="*/ 26 w 51"/>
                  <a:gd name="T5" fmla="*/ 13 h 47"/>
                  <a:gd name="T6" fmla="*/ 20 w 51"/>
                  <a:gd name="T7" fmla="*/ 9 h 47"/>
                  <a:gd name="T8" fmla="*/ 14 w 51"/>
                  <a:gd name="T9" fmla="*/ 9 h 47"/>
                  <a:gd name="T10" fmla="*/ 10 w 51"/>
                  <a:gd name="T11" fmla="*/ 13 h 47"/>
                  <a:gd name="T12" fmla="*/ 8 w 51"/>
                  <a:gd name="T13" fmla="*/ 19 h 47"/>
                  <a:gd name="T14" fmla="*/ 10 w 51"/>
                  <a:gd name="T15" fmla="*/ 23 h 47"/>
                  <a:gd name="T16" fmla="*/ 17 w 51"/>
                  <a:gd name="T17" fmla="*/ 27 h 47"/>
                  <a:gd name="T18" fmla="*/ 37 w 51"/>
                  <a:gd name="T19" fmla="*/ 40 h 47"/>
                  <a:gd name="T20" fmla="*/ 33 w 51"/>
                  <a:gd name="T21" fmla="*/ 47 h 47"/>
                  <a:gd name="T22" fmla="*/ 13 w 51"/>
                  <a:gd name="T23" fmla="*/ 35 h 47"/>
                  <a:gd name="T24" fmla="*/ 4 w 51"/>
                  <a:gd name="T25" fmla="*/ 29 h 47"/>
                  <a:gd name="T26" fmla="*/ 1 w 51"/>
                  <a:gd name="T27" fmla="*/ 24 h 47"/>
                  <a:gd name="T28" fmla="*/ 0 w 51"/>
                  <a:gd name="T29" fmla="*/ 18 h 47"/>
                  <a:gd name="T30" fmla="*/ 3 w 51"/>
                  <a:gd name="T31" fmla="*/ 10 h 47"/>
                  <a:gd name="T32" fmla="*/ 10 w 51"/>
                  <a:gd name="T33" fmla="*/ 2 h 47"/>
                  <a:gd name="T34" fmla="*/ 15 w 51"/>
                  <a:gd name="T35" fmla="*/ 0 h 47"/>
                  <a:gd name="T36" fmla="*/ 21 w 51"/>
                  <a:gd name="T37" fmla="*/ 0 h 47"/>
                  <a:gd name="T38" fmla="*/ 31 w 51"/>
                  <a:gd name="T39" fmla="*/ 5 h 47"/>
                  <a:gd name="T40" fmla="*/ 51 w 51"/>
                  <a:gd name="T41" fmla="*/ 17 h 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51" h="47">
                    <a:moveTo>
                      <a:pt x="51" y="17"/>
                    </a:moveTo>
                    <a:cubicBezTo>
                      <a:pt x="46" y="25"/>
                      <a:pt x="46" y="25"/>
                      <a:pt x="46" y="25"/>
                    </a:cubicBezTo>
                    <a:cubicBezTo>
                      <a:pt x="26" y="13"/>
                      <a:pt x="26" y="13"/>
                      <a:pt x="26" y="13"/>
                    </a:cubicBezTo>
                    <a:cubicBezTo>
                      <a:pt x="23" y="11"/>
                      <a:pt x="21" y="10"/>
                      <a:pt x="20" y="9"/>
                    </a:cubicBezTo>
                    <a:cubicBezTo>
                      <a:pt x="18" y="9"/>
                      <a:pt x="16" y="9"/>
                      <a:pt x="14" y="9"/>
                    </a:cubicBezTo>
                    <a:cubicBezTo>
                      <a:pt x="13" y="10"/>
                      <a:pt x="11" y="11"/>
                      <a:pt x="10" y="13"/>
                    </a:cubicBezTo>
                    <a:cubicBezTo>
                      <a:pt x="9" y="16"/>
                      <a:pt x="8" y="17"/>
                      <a:pt x="8" y="19"/>
                    </a:cubicBezTo>
                    <a:cubicBezTo>
                      <a:pt x="9" y="21"/>
                      <a:pt x="9" y="22"/>
                      <a:pt x="10" y="23"/>
                    </a:cubicBezTo>
                    <a:cubicBezTo>
                      <a:pt x="12" y="24"/>
                      <a:pt x="14" y="25"/>
                      <a:pt x="17" y="27"/>
                    </a:cubicBezTo>
                    <a:cubicBezTo>
                      <a:pt x="37" y="40"/>
                      <a:pt x="37" y="40"/>
                      <a:pt x="37" y="40"/>
                    </a:cubicBezTo>
                    <a:cubicBezTo>
                      <a:pt x="33" y="47"/>
                      <a:pt x="33" y="47"/>
                      <a:pt x="33" y="47"/>
                    </a:cubicBezTo>
                    <a:cubicBezTo>
                      <a:pt x="13" y="35"/>
                      <a:pt x="13" y="35"/>
                      <a:pt x="13" y="35"/>
                    </a:cubicBezTo>
                    <a:cubicBezTo>
                      <a:pt x="9" y="33"/>
                      <a:pt x="6" y="31"/>
                      <a:pt x="4" y="29"/>
                    </a:cubicBezTo>
                    <a:cubicBezTo>
                      <a:pt x="2" y="28"/>
                      <a:pt x="1" y="26"/>
                      <a:pt x="1" y="24"/>
                    </a:cubicBezTo>
                    <a:cubicBezTo>
                      <a:pt x="0" y="22"/>
                      <a:pt x="0" y="20"/>
                      <a:pt x="0" y="18"/>
                    </a:cubicBezTo>
                    <a:cubicBezTo>
                      <a:pt x="0" y="15"/>
                      <a:pt x="2" y="13"/>
                      <a:pt x="3" y="10"/>
                    </a:cubicBezTo>
                    <a:cubicBezTo>
                      <a:pt x="6" y="6"/>
                      <a:pt x="8" y="4"/>
                      <a:pt x="10" y="2"/>
                    </a:cubicBezTo>
                    <a:cubicBezTo>
                      <a:pt x="11" y="1"/>
                      <a:pt x="13" y="0"/>
                      <a:pt x="15" y="0"/>
                    </a:cubicBezTo>
                    <a:cubicBezTo>
                      <a:pt x="17" y="0"/>
                      <a:pt x="19" y="0"/>
                      <a:pt x="21" y="0"/>
                    </a:cubicBezTo>
                    <a:cubicBezTo>
                      <a:pt x="23" y="1"/>
                      <a:pt x="27" y="3"/>
                      <a:pt x="31" y="5"/>
                    </a:cubicBezTo>
                    <a:lnTo>
                      <a:pt x="51" y="1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315" name="íṧḷîde"/>
              <p:cNvSpPr/>
              <p:nvPr/>
            </p:nvSpPr>
            <p:spPr bwMode="auto">
              <a:xfrm>
                <a:off x="1704872" y="4971053"/>
                <a:ext cx="100013" cy="92075"/>
              </a:xfrm>
              <a:custGeom>
                <a:avLst/>
                <a:gdLst>
                  <a:gd name="T0" fmla="*/ 17 w 63"/>
                  <a:gd name="T1" fmla="*/ 0 h 58"/>
                  <a:gd name="T2" fmla="*/ 63 w 63"/>
                  <a:gd name="T3" fmla="*/ 21 h 58"/>
                  <a:gd name="T4" fmla="*/ 59 w 63"/>
                  <a:gd name="T5" fmla="*/ 30 h 58"/>
                  <a:gd name="T6" fmla="*/ 19 w 63"/>
                  <a:gd name="T7" fmla="*/ 35 h 58"/>
                  <a:gd name="T8" fmla="*/ 50 w 63"/>
                  <a:gd name="T9" fmla="*/ 50 h 58"/>
                  <a:gd name="T10" fmla="*/ 46 w 63"/>
                  <a:gd name="T11" fmla="*/ 58 h 58"/>
                  <a:gd name="T12" fmla="*/ 0 w 63"/>
                  <a:gd name="T13" fmla="*/ 37 h 58"/>
                  <a:gd name="T14" fmla="*/ 4 w 63"/>
                  <a:gd name="T15" fmla="*/ 26 h 58"/>
                  <a:gd name="T16" fmla="*/ 43 w 63"/>
                  <a:gd name="T17" fmla="*/ 22 h 58"/>
                  <a:gd name="T18" fmla="*/ 12 w 63"/>
                  <a:gd name="T19" fmla="*/ 8 h 58"/>
                  <a:gd name="T20" fmla="*/ 17 w 63"/>
                  <a:gd name="T21" fmla="*/ 0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63" h="58">
                    <a:moveTo>
                      <a:pt x="17" y="0"/>
                    </a:moveTo>
                    <a:lnTo>
                      <a:pt x="63" y="21"/>
                    </a:lnTo>
                    <a:lnTo>
                      <a:pt x="59" y="30"/>
                    </a:lnTo>
                    <a:lnTo>
                      <a:pt x="19" y="35"/>
                    </a:lnTo>
                    <a:lnTo>
                      <a:pt x="50" y="50"/>
                    </a:lnTo>
                    <a:lnTo>
                      <a:pt x="46" y="58"/>
                    </a:lnTo>
                    <a:lnTo>
                      <a:pt x="0" y="37"/>
                    </a:lnTo>
                    <a:lnTo>
                      <a:pt x="4" y="26"/>
                    </a:lnTo>
                    <a:lnTo>
                      <a:pt x="43" y="22"/>
                    </a:lnTo>
                    <a:lnTo>
                      <a:pt x="12" y="8"/>
                    </a:lnTo>
                    <a:lnTo>
                      <a:pt x="17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316" name="íS1îḍé"/>
              <p:cNvSpPr/>
              <p:nvPr/>
            </p:nvSpPr>
            <p:spPr bwMode="auto">
              <a:xfrm>
                <a:off x="1690584" y="5045665"/>
                <a:ext cx="84138" cy="44450"/>
              </a:xfrm>
              <a:custGeom>
                <a:avLst/>
                <a:gdLst>
                  <a:gd name="T0" fmla="*/ 5 w 53"/>
                  <a:gd name="T1" fmla="*/ 0 h 28"/>
                  <a:gd name="T2" fmla="*/ 53 w 53"/>
                  <a:gd name="T3" fmla="*/ 19 h 28"/>
                  <a:gd name="T4" fmla="*/ 49 w 53"/>
                  <a:gd name="T5" fmla="*/ 28 h 28"/>
                  <a:gd name="T6" fmla="*/ 0 w 53"/>
                  <a:gd name="T7" fmla="*/ 10 h 28"/>
                  <a:gd name="T8" fmla="*/ 5 w 53"/>
                  <a:gd name="T9" fmla="*/ 0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3" h="28">
                    <a:moveTo>
                      <a:pt x="5" y="0"/>
                    </a:moveTo>
                    <a:lnTo>
                      <a:pt x="53" y="19"/>
                    </a:lnTo>
                    <a:lnTo>
                      <a:pt x="49" y="28"/>
                    </a:lnTo>
                    <a:lnTo>
                      <a:pt x="0" y="10"/>
                    </a:lnTo>
                    <a:lnTo>
                      <a:pt x="5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317" name="íṧļïḋè"/>
              <p:cNvSpPr/>
              <p:nvPr/>
            </p:nvSpPr>
            <p:spPr bwMode="auto">
              <a:xfrm>
                <a:off x="1674709" y="5091703"/>
                <a:ext cx="92075" cy="73025"/>
              </a:xfrm>
              <a:custGeom>
                <a:avLst/>
                <a:gdLst>
                  <a:gd name="T0" fmla="*/ 4 w 58"/>
                  <a:gd name="T1" fmla="*/ 3 h 46"/>
                  <a:gd name="T2" fmla="*/ 58 w 58"/>
                  <a:gd name="T3" fmla="*/ 0 h 46"/>
                  <a:gd name="T4" fmla="*/ 55 w 58"/>
                  <a:gd name="T5" fmla="*/ 11 h 46"/>
                  <a:gd name="T6" fmla="*/ 14 w 58"/>
                  <a:gd name="T7" fmla="*/ 13 h 46"/>
                  <a:gd name="T8" fmla="*/ 46 w 58"/>
                  <a:gd name="T9" fmla="*/ 35 h 46"/>
                  <a:gd name="T10" fmla="*/ 44 w 58"/>
                  <a:gd name="T11" fmla="*/ 46 h 46"/>
                  <a:gd name="T12" fmla="*/ 0 w 58"/>
                  <a:gd name="T13" fmla="*/ 14 h 46"/>
                  <a:gd name="T14" fmla="*/ 4 w 58"/>
                  <a:gd name="T15" fmla="*/ 3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58" h="46">
                    <a:moveTo>
                      <a:pt x="4" y="3"/>
                    </a:moveTo>
                    <a:lnTo>
                      <a:pt x="58" y="0"/>
                    </a:lnTo>
                    <a:lnTo>
                      <a:pt x="55" y="11"/>
                    </a:lnTo>
                    <a:lnTo>
                      <a:pt x="14" y="13"/>
                    </a:lnTo>
                    <a:lnTo>
                      <a:pt x="46" y="35"/>
                    </a:lnTo>
                    <a:lnTo>
                      <a:pt x="44" y="46"/>
                    </a:lnTo>
                    <a:lnTo>
                      <a:pt x="0" y="14"/>
                    </a:lnTo>
                    <a:lnTo>
                      <a:pt x="4" y="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318" name="ïṡḷiḋé"/>
              <p:cNvSpPr/>
              <p:nvPr/>
            </p:nvSpPr>
            <p:spPr bwMode="auto">
              <a:xfrm>
                <a:off x="1652484" y="5153615"/>
                <a:ext cx="90488" cy="73025"/>
              </a:xfrm>
              <a:custGeom>
                <a:avLst/>
                <a:gdLst>
                  <a:gd name="T0" fmla="*/ 7 w 57"/>
                  <a:gd name="T1" fmla="*/ 0 h 46"/>
                  <a:gd name="T2" fmla="*/ 57 w 57"/>
                  <a:gd name="T3" fmla="*/ 10 h 46"/>
                  <a:gd name="T4" fmla="*/ 50 w 57"/>
                  <a:gd name="T5" fmla="*/ 46 h 46"/>
                  <a:gd name="T6" fmla="*/ 42 w 57"/>
                  <a:gd name="T7" fmla="*/ 45 h 46"/>
                  <a:gd name="T8" fmla="*/ 47 w 57"/>
                  <a:gd name="T9" fmla="*/ 18 h 46"/>
                  <a:gd name="T10" fmla="*/ 36 w 57"/>
                  <a:gd name="T11" fmla="*/ 16 h 46"/>
                  <a:gd name="T12" fmla="*/ 30 w 57"/>
                  <a:gd name="T13" fmla="*/ 40 h 46"/>
                  <a:gd name="T14" fmla="*/ 22 w 57"/>
                  <a:gd name="T15" fmla="*/ 39 h 46"/>
                  <a:gd name="T16" fmla="*/ 27 w 57"/>
                  <a:gd name="T17" fmla="*/ 14 h 46"/>
                  <a:gd name="T18" fmla="*/ 14 w 57"/>
                  <a:gd name="T19" fmla="*/ 11 h 46"/>
                  <a:gd name="T20" fmla="*/ 8 w 57"/>
                  <a:gd name="T21" fmla="*/ 39 h 46"/>
                  <a:gd name="T22" fmla="*/ 0 w 57"/>
                  <a:gd name="T23" fmla="*/ 38 h 46"/>
                  <a:gd name="T24" fmla="*/ 7 w 57"/>
                  <a:gd name="T25" fmla="*/ 0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57" h="46">
                    <a:moveTo>
                      <a:pt x="7" y="0"/>
                    </a:moveTo>
                    <a:lnTo>
                      <a:pt x="57" y="10"/>
                    </a:lnTo>
                    <a:lnTo>
                      <a:pt x="50" y="46"/>
                    </a:lnTo>
                    <a:lnTo>
                      <a:pt x="42" y="45"/>
                    </a:lnTo>
                    <a:lnTo>
                      <a:pt x="47" y="18"/>
                    </a:lnTo>
                    <a:lnTo>
                      <a:pt x="36" y="16"/>
                    </a:lnTo>
                    <a:lnTo>
                      <a:pt x="30" y="40"/>
                    </a:lnTo>
                    <a:lnTo>
                      <a:pt x="22" y="39"/>
                    </a:lnTo>
                    <a:lnTo>
                      <a:pt x="27" y="14"/>
                    </a:lnTo>
                    <a:lnTo>
                      <a:pt x="14" y="11"/>
                    </a:lnTo>
                    <a:lnTo>
                      <a:pt x="8" y="39"/>
                    </a:lnTo>
                    <a:lnTo>
                      <a:pt x="0" y="38"/>
                    </a:lnTo>
                    <a:lnTo>
                      <a:pt x="7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319" name="ïşļiḋe"/>
              <p:cNvSpPr/>
              <p:nvPr/>
            </p:nvSpPr>
            <p:spPr bwMode="auto">
              <a:xfrm>
                <a:off x="1641372" y="5231403"/>
                <a:ext cx="88900" cy="71438"/>
              </a:xfrm>
              <a:custGeom>
                <a:avLst/>
                <a:gdLst>
                  <a:gd name="T0" fmla="*/ 4 w 48"/>
                  <a:gd name="T1" fmla="*/ 0 h 39"/>
                  <a:gd name="T2" fmla="*/ 48 w 48"/>
                  <a:gd name="T3" fmla="*/ 4 h 39"/>
                  <a:gd name="T4" fmla="*/ 46 w 48"/>
                  <a:gd name="T5" fmla="*/ 23 h 39"/>
                  <a:gd name="T6" fmla="*/ 44 w 48"/>
                  <a:gd name="T7" fmla="*/ 33 h 39"/>
                  <a:gd name="T8" fmla="*/ 39 w 48"/>
                  <a:gd name="T9" fmla="*/ 38 h 39"/>
                  <a:gd name="T10" fmla="*/ 32 w 48"/>
                  <a:gd name="T11" fmla="*/ 39 h 39"/>
                  <a:gd name="T12" fmla="*/ 24 w 48"/>
                  <a:gd name="T13" fmla="*/ 35 h 39"/>
                  <a:gd name="T14" fmla="*/ 21 w 48"/>
                  <a:gd name="T15" fmla="*/ 26 h 39"/>
                  <a:gd name="T16" fmla="*/ 17 w 48"/>
                  <a:gd name="T17" fmla="*/ 30 h 39"/>
                  <a:gd name="T18" fmla="*/ 9 w 48"/>
                  <a:gd name="T19" fmla="*/ 35 h 39"/>
                  <a:gd name="T20" fmla="*/ 0 w 48"/>
                  <a:gd name="T21" fmla="*/ 39 h 39"/>
                  <a:gd name="T22" fmla="*/ 1 w 48"/>
                  <a:gd name="T23" fmla="*/ 29 h 39"/>
                  <a:gd name="T24" fmla="*/ 12 w 48"/>
                  <a:gd name="T25" fmla="*/ 23 h 39"/>
                  <a:gd name="T26" fmla="*/ 18 w 48"/>
                  <a:gd name="T27" fmla="*/ 19 h 39"/>
                  <a:gd name="T28" fmla="*/ 20 w 48"/>
                  <a:gd name="T29" fmla="*/ 17 h 39"/>
                  <a:gd name="T30" fmla="*/ 21 w 48"/>
                  <a:gd name="T31" fmla="*/ 12 h 39"/>
                  <a:gd name="T32" fmla="*/ 22 w 48"/>
                  <a:gd name="T33" fmla="*/ 11 h 39"/>
                  <a:gd name="T34" fmla="*/ 3 w 48"/>
                  <a:gd name="T35" fmla="*/ 9 h 39"/>
                  <a:gd name="T36" fmla="*/ 4 w 48"/>
                  <a:gd name="T37" fmla="*/ 0 h 39"/>
                  <a:gd name="T38" fmla="*/ 29 w 48"/>
                  <a:gd name="T39" fmla="*/ 11 h 39"/>
                  <a:gd name="T40" fmla="*/ 28 w 48"/>
                  <a:gd name="T41" fmla="*/ 18 h 39"/>
                  <a:gd name="T42" fmla="*/ 28 w 48"/>
                  <a:gd name="T43" fmla="*/ 26 h 39"/>
                  <a:gd name="T44" fmla="*/ 29 w 48"/>
                  <a:gd name="T45" fmla="*/ 28 h 39"/>
                  <a:gd name="T46" fmla="*/ 32 w 48"/>
                  <a:gd name="T47" fmla="*/ 30 h 39"/>
                  <a:gd name="T48" fmla="*/ 36 w 48"/>
                  <a:gd name="T49" fmla="*/ 29 h 39"/>
                  <a:gd name="T50" fmla="*/ 38 w 48"/>
                  <a:gd name="T51" fmla="*/ 26 h 39"/>
                  <a:gd name="T52" fmla="*/ 39 w 48"/>
                  <a:gd name="T53" fmla="*/ 19 h 39"/>
                  <a:gd name="T54" fmla="*/ 40 w 48"/>
                  <a:gd name="T55" fmla="*/ 12 h 39"/>
                  <a:gd name="T56" fmla="*/ 29 w 48"/>
                  <a:gd name="T57" fmla="*/ 11 h 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48" h="39">
                    <a:moveTo>
                      <a:pt x="4" y="0"/>
                    </a:moveTo>
                    <a:cubicBezTo>
                      <a:pt x="48" y="4"/>
                      <a:pt x="48" y="4"/>
                      <a:pt x="48" y="4"/>
                    </a:cubicBezTo>
                    <a:cubicBezTo>
                      <a:pt x="46" y="23"/>
                      <a:pt x="46" y="23"/>
                      <a:pt x="46" y="23"/>
                    </a:cubicBezTo>
                    <a:cubicBezTo>
                      <a:pt x="46" y="27"/>
                      <a:pt x="45" y="31"/>
                      <a:pt x="44" y="33"/>
                    </a:cubicBezTo>
                    <a:cubicBezTo>
                      <a:pt x="43" y="35"/>
                      <a:pt x="41" y="36"/>
                      <a:pt x="39" y="38"/>
                    </a:cubicBezTo>
                    <a:cubicBezTo>
                      <a:pt x="37" y="39"/>
                      <a:pt x="35" y="39"/>
                      <a:pt x="32" y="39"/>
                    </a:cubicBezTo>
                    <a:cubicBezTo>
                      <a:pt x="29" y="38"/>
                      <a:pt x="26" y="37"/>
                      <a:pt x="24" y="35"/>
                    </a:cubicBezTo>
                    <a:cubicBezTo>
                      <a:pt x="22" y="33"/>
                      <a:pt x="21" y="30"/>
                      <a:pt x="21" y="26"/>
                    </a:cubicBezTo>
                    <a:cubicBezTo>
                      <a:pt x="20" y="28"/>
                      <a:pt x="18" y="29"/>
                      <a:pt x="17" y="30"/>
                    </a:cubicBezTo>
                    <a:cubicBezTo>
                      <a:pt x="16" y="32"/>
                      <a:pt x="13" y="33"/>
                      <a:pt x="9" y="35"/>
                    </a:cubicBezTo>
                    <a:cubicBezTo>
                      <a:pt x="0" y="39"/>
                      <a:pt x="0" y="39"/>
                      <a:pt x="0" y="39"/>
                    </a:cubicBezTo>
                    <a:cubicBezTo>
                      <a:pt x="1" y="29"/>
                      <a:pt x="1" y="29"/>
                      <a:pt x="1" y="29"/>
                    </a:cubicBezTo>
                    <a:cubicBezTo>
                      <a:pt x="12" y="23"/>
                      <a:pt x="12" y="23"/>
                      <a:pt x="12" y="23"/>
                    </a:cubicBezTo>
                    <a:cubicBezTo>
                      <a:pt x="15" y="21"/>
                      <a:pt x="17" y="20"/>
                      <a:pt x="18" y="19"/>
                    </a:cubicBezTo>
                    <a:cubicBezTo>
                      <a:pt x="19" y="18"/>
                      <a:pt x="20" y="18"/>
                      <a:pt x="20" y="17"/>
                    </a:cubicBezTo>
                    <a:cubicBezTo>
                      <a:pt x="21" y="16"/>
                      <a:pt x="21" y="14"/>
                      <a:pt x="21" y="12"/>
                    </a:cubicBezTo>
                    <a:cubicBezTo>
                      <a:pt x="22" y="11"/>
                      <a:pt x="22" y="11"/>
                      <a:pt x="22" y="11"/>
                    </a:cubicBezTo>
                    <a:cubicBezTo>
                      <a:pt x="3" y="9"/>
                      <a:pt x="3" y="9"/>
                      <a:pt x="3" y="9"/>
                    </a:cubicBezTo>
                    <a:lnTo>
                      <a:pt x="4" y="0"/>
                    </a:lnTo>
                    <a:close/>
                    <a:moveTo>
                      <a:pt x="29" y="11"/>
                    </a:moveTo>
                    <a:cubicBezTo>
                      <a:pt x="28" y="18"/>
                      <a:pt x="28" y="18"/>
                      <a:pt x="28" y="18"/>
                    </a:cubicBezTo>
                    <a:cubicBezTo>
                      <a:pt x="28" y="22"/>
                      <a:pt x="27" y="25"/>
                      <a:pt x="28" y="26"/>
                    </a:cubicBezTo>
                    <a:cubicBezTo>
                      <a:pt x="28" y="27"/>
                      <a:pt x="28" y="28"/>
                      <a:pt x="29" y="28"/>
                    </a:cubicBezTo>
                    <a:cubicBezTo>
                      <a:pt x="30" y="29"/>
                      <a:pt x="31" y="30"/>
                      <a:pt x="32" y="30"/>
                    </a:cubicBezTo>
                    <a:cubicBezTo>
                      <a:pt x="34" y="30"/>
                      <a:pt x="35" y="30"/>
                      <a:pt x="36" y="29"/>
                    </a:cubicBezTo>
                    <a:cubicBezTo>
                      <a:pt x="37" y="28"/>
                      <a:pt x="38" y="27"/>
                      <a:pt x="38" y="26"/>
                    </a:cubicBezTo>
                    <a:cubicBezTo>
                      <a:pt x="38" y="25"/>
                      <a:pt x="39" y="23"/>
                      <a:pt x="39" y="19"/>
                    </a:cubicBezTo>
                    <a:cubicBezTo>
                      <a:pt x="40" y="12"/>
                      <a:pt x="40" y="12"/>
                      <a:pt x="40" y="12"/>
                    </a:cubicBezTo>
                    <a:lnTo>
                      <a:pt x="29" y="1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320" name="îś1iḓê"/>
              <p:cNvSpPr/>
              <p:nvPr/>
            </p:nvSpPr>
            <p:spPr bwMode="auto">
              <a:xfrm>
                <a:off x="1641372" y="5312365"/>
                <a:ext cx="82550" cy="66675"/>
              </a:xfrm>
              <a:custGeom>
                <a:avLst/>
                <a:gdLst>
                  <a:gd name="T0" fmla="*/ 15 w 45"/>
                  <a:gd name="T1" fmla="*/ 0 h 36"/>
                  <a:gd name="T2" fmla="*/ 16 w 45"/>
                  <a:gd name="T3" fmla="*/ 8 h 36"/>
                  <a:gd name="T4" fmla="*/ 9 w 45"/>
                  <a:gd name="T5" fmla="*/ 12 h 36"/>
                  <a:gd name="T6" fmla="*/ 7 w 45"/>
                  <a:gd name="T7" fmla="*/ 18 h 36"/>
                  <a:gd name="T8" fmla="*/ 9 w 45"/>
                  <a:gd name="T9" fmla="*/ 25 h 36"/>
                  <a:gd name="T10" fmla="*/ 13 w 45"/>
                  <a:gd name="T11" fmla="*/ 27 h 36"/>
                  <a:gd name="T12" fmla="*/ 16 w 45"/>
                  <a:gd name="T13" fmla="*/ 26 h 36"/>
                  <a:gd name="T14" fmla="*/ 18 w 45"/>
                  <a:gd name="T15" fmla="*/ 23 h 36"/>
                  <a:gd name="T16" fmla="*/ 20 w 45"/>
                  <a:gd name="T17" fmla="*/ 15 h 36"/>
                  <a:gd name="T18" fmla="*/ 24 w 45"/>
                  <a:gd name="T19" fmla="*/ 5 h 36"/>
                  <a:gd name="T20" fmla="*/ 33 w 45"/>
                  <a:gd name="T21" fmla="*/ 1 h 36"/>
                  <a:gd name="T22" fmla="*/ 39 w 45"/>
                  <a:gd name="T23" fmla="*/ 3 h 36"/>
                  <a:gd name="T24" fmla="*/ 44 w 45"/>
                  <a:gd name="T25" fmla="*/ 9 h 36"/>
                  <a:gd name="T26" fmla="*/ 45 w 45"/>
                  <a:gd name="T27" fmla="*/ 17 h 36"/>
                  <a:gd name="T28" fmla="*/ 42 w 45"/>
                  <a:gd name="T29" fmla="*/ 30 h 36"/>
                  <a:gd name="T30" fmla="*/ 32 w 45"/>
                  <a:gd name="T31" fmla="*/ 34 h 36"/>
                  <a:gd name="T32" fmla="*/ 31 w 45"/>
                  <a:gd name="T33" fmla="*/ 25 h 36"/>
                  <a:gd name="T34" fmla="*/ 36 w 45"/>
                  <a:gd name="T35" fmla="*/ 23 h 36"/>
                  <a:gd name="T36" fmla="*/ 38 w 45"/>
                  <a:gd name="T37" fmla="*/ 17 h 36"/>
                  <a:gd name="T38" fmla="*/ 36 w 45"/>
                  <a:gd name="T39" fmla="*/ 11 h 36"/>
                  <a:gd name="T40" fmla="*/ 33 w 45"/>
                  <a:gd name="T41" fmla="*/ 10 h 36"/>
                  <a:gd name="T42" fmla="*/ 31 w 45"/>
                  <a:gd name="T43" fmla="*/ 11 h 36"/>
                  <a:gd name="T44" fmla="*/ 28 w 45"/>
                  <a:gd name="T45" fmla="*/ 19 h 36"/>
                  <a:gd name="T46" fmla="*/ 25 w 45"/>
                  <a:gd name="T47" fmla="*/ 29 h 36"/>
                  <a:gd name="T48" fmla="*/ 20 w 45"/>
                  <a:gd name="T49" fmla="*/ 34 h 36"/>
                  <a:gd name="T50" fmla="*/ 13 w 45"/>
                  <a:gd name="T51" fmla="*/ 36 h 36"/>
                  <a:gd name="T52" fmla="*/ 6 w 45"/>
                  <a:gd name="T53" fmla="*/ 33 h 36"/>
                  <a:gd name="T54" fmla="*/ 1 w 45"/>
                  <a:gd name="T55" fmla="*/ 28 h 36"/>
                  <a:gd name="T56" fmla="*/ 0 w 45"/>
                  <a:gd name="T57" fmla="*/ 18 h 36"/>
                  <a:gd name="T58" fmla="*/ 3 w 45"/>
                  <a:gd name="T59" fmla="*/ 5 h 36"/>
                  <a:gd name="T60" fmla="*/ 15 w 45"/>
                  <a:gd name="T61" fmla="*/ 0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45" h="36">
                    <a:moveTo>
                      <a:pt x="15" y="0"/>
                    </a:moveTo>
                    <a:cubicBezTo>
                      <a:pt x="16" y="8"/>
                      <a:pt x="16" y="8"/>
                      <a:pt x="16" y="8"/>
                    </a:cubicBezTo>
                    <a:cubicBezTo>
                      <a:pt x="13" y="9"/>
                      <a:pt x="10" y="10"/>
                      <a:pt x="9" y="12"/>
                    </a:cubicBezTo>
                    <a:cubicBezTo>
                      <a:pt x="8" y="13"/>
                      <a:pt x="7" y="15"/>
                      <a:pt x="7" y="18"/>
                    </a:cubicBezTo>
                    <a:cubicBezTo>
                      <a:pt x="7" y="21"/>
                      <a:pt x="8" y="23"/>
                      <a:pt x="9" y="25"/>
                    </a:cubicBezTo>
                    <a:cubicBezTo>
                      <a:pt x="10" y="26"/>
                      <a:pt x="12" y="27"/>
                      <a:pt x="13" y="27"/>
                    </a:cubicBezTo>
                    <a:cubicBezTo>
                      <a:pt x="14" y="27"/>
                      <a:pt x="15" y="26"/>
                      <a:pt x="16" y="26"/>
                    </a:cubicBezTo>
                    <a:cubicBezTo>
                      <a:pt x="17" y="25"/>
                      <a:pt x="17" y="24"/>
                      <a:pt x="18" y="23"/>
                    </a:cubicBezTo>
                    <a:cubicBezTo>
                      <a:pt x="18" y="22"/>
                      <a:pt x="19" y="19"/>
                      <a:pt x="20" y="15"/>
                    </a:cubicBezTo>
                    <a:cubicBezTo>
                      <a:pt x="21" y="11"/>
                      <a:pt x="22" y="7"/>
                      <a:pt x="24" y="5"/>
                    </a:cubicBezTo>
                    <a:cubicBezTo>
                      <a:pt x="26" y="3"/>
                      <a:pt x="29" y="1"/>
                      <a:pt x="33" y="1"/>
                    </a:cubicBezTo>
                    <a:cubicBezTo>
                      <a:pt x="35" y="1"/>
                      <a:pt x="37" y="2"/>
                      <a:pt x="39" y="3"/>
                    </a:cubicBezTo>
                    <a:cubicBezTo>
                      <a:pt x="41" y="4"/>
                      <a:pt x="43" y="6"/>
                      <a:pt x="44" y="9"/>
                    </a:cubicBezTo>
                    <a:cubicBezTo>
                      <a:pt x="45" y="11"/>
                      <a:pt x="45" y="14"/>
                      <a:pt x="45" y="17"/>
                    </a:cubicBezTo>
                    <a:cubicBezTo>
                      <a:pt x="45" y="23"/>
                      <a:pt x="44" y="27"/>
                      <a:pt x="42" y="30"/>
                    </a:cubicBezTo>
                    <a:cubicBezTo>
                      <a:pt x="39" y="33"/>
                      <a:pt x="36" y="34"/>
                      <a:pt x="32" y="34"/>
                    </a:cubicBezTo>
                    <a:cubicBezTo>
                      <a:pt x="31" y="25"/>
                      <a:pt x="31" y="25"/>
                      <a:pt x="31" y="25"/>
                    </a:cubicBezTo>
                    <a:cubicBezTo>
                      <a:pt x="34" y="25"/>
                      <a:pt x="35" y="24"/>
                      <a:pt x="36" y="23"/>
                    </a:cubicBezTo>
                    <a:cubicBezTo>
                      <a:pt x="37" y="22"/>
                      <a:pt x="38" y="20"/>
                      <a:pt x="38" y="17"/>
                    </a:cubicBezTo>
                    <a:cubicBezTo>
                      <a:pt x="38" y="15"/>
                      <a:pt x="37" y="13"/>
                      <a:pt x="36" y="11"/>
                    </a:cubicBezTo>
                    <a:cubicBezTo>
                      <a:pt x="35" y="10"/>
                      <a:pt x="35" y="10"/>
                      <a:pt x="33" y="10"/>
                    </a:cubicBezTo>
                    <a:cubicBezTo>
                      <a:pt x="32" y="10"/>
                      <a:pt x="31" y="10"/>
                      <a:pt x="31" y="11"/>
                    </a:cubicBezTo>
                    <a:cubicBezTo>
                      <a:pt x="30" y="12"/>
                      <a:pt x="29" y="15"/>
                      <a:pt x="28" y="19"/>
                    </a:cubicBezTo>
                    <a:cubicBezTo>
                      <a:pt x="27" y="24"/>
                      <a:pt x="26" y="27"/>
                      <a:pt x="25" y="29"/>
                    </a:cubicBezTo>
                    <a:cubicBezTo>
                      <a:pt x="24" y="31"/>
                      <a:pt x="22" y="33"/>
                      <a:pt x="20" y="34"/>
                    </a:cubicBezTo>
                    <a:cubicBezTo>
                      <a:pt x="18" y="35"/>
                      <a:pt x="16" y="36"/>
                      <a:pt x="13" y="36"/>
                    </a:cubicBezTo>
                    <a:cubicBezTo>
                      <a:pt x="11" y="36"/>
                      <a:pt x="8" y="35"/>
                      <a:pt x="6" y="33"/>
                    </a:cubicBezTo>
                    <a:cubicBezTo>
                      <a:pt x="4" y="32"/>
                      <a:pt x="2" y="30"/>
                      <a:pt x="1" y="28"/>
                    </a:cubicBezTo>
                    <a:cubicBezTo>
                      <a:pt x="0" y="25"/>
                      <a:pt x="0" y="22"/>
                      <a:pt x="0" y="18"/>
                    </a:cubicBezTo>
                    <a:cubicBezTo>
                      <a:pt x="0" y="12"/>
                      <a:pt x="1" y="8"/>
                      <a:pt x="3" y="5"/>
                    </a:cubicBezTo>
                    <a:cubicBezTo>
                      <a:pt x="6" y="2"/>
                      <a:pt x="10" y="0"/>
                      <a:pt x="15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321" name="íş1ïḓe"/>
              <p:cNvSpPr/>
              <p:nvPr/>
            </p:nvSpPr>
            <p:spPr bwMode="auto">
              <a:xfrm>
                <a:off x="1642959" y="5385390"/>
                <a:ext cx="84138" cy="22225"/>
              </a:xfrm>
              <a:custGeom>
                <a:avLst/>
                <a:gdLst>
                  <a:gd name="T0" fmla="*/ 0 w 53"/>
                  <a:gd name="T1" fmla="*/ 5 h 14"/>
                  <a:gd name="T2" fmla="*/ 51 w 53"/>
                  <a:gd name="T3" fmla="*/ 0 h 14"/>
                  <a:gd name="T4" fmla="*/ 53 w 53"/>
                  <a:gd name="T5" fmla="*/ 11 h 14"/>
                  <a:gd name="T6" fmla="*/ 1 w 53"/>
                  <a:gd name="T7" fmla="*/ 14 h 14"/>
                  <a:gd name="T8" fmla="*/ 0 w 53"/>
                  <a:gd name="T9" fmla="*/ 5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3" h="14">
                    <a:moveTo>
                      <a:pt x="0" y="5"/>
                    </a:moveTo>
                    <a:lnTo>
                      <a:pt x="51" y="0"/>
                    </a:lnTo>
                    <a:lnTo>
                      <a:pt x="53" y="11"/>
                    </a:lnTo>
                    <a:lnTo>
                      <a:pt x="1" y="14"/>
                    </a:lnTo>
                    <a:lnTo>
                      <a:pt x="0" y="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322" name="ïṩlîḋè"/>
              <p:cNvSpPr/>
              <p:nvPr/>
            </p:nvSpPr>
            <p:spPr bwMode="auto">
              <a:xfrm>
                <a:off x="1649309" y="5407615"/>
                <a:ext cx="84138" cy="66675"/>
              </a:xfrm>
              <a:custGeom>
                <a:avLst/>
                <a:gdLst>
                  <a:gd name="T0" fmla="*/ 0 w 53"/>
                  <a:gd name="T1" fmla="*/ 22 h 42"/>
                  <a:gd name="T2" fmla="*/ 42 w 53"/>
                  <a:gd name="T3" fmla="*/ 17 h 42"/>
                  <a:gd name="T4" fmla="*/ 39 w 53"/>
                  <a:gd name="T5" fmla="*/ 1 h 42"/>
                  <a:gd name="T6" fmla="*/ 49 w 53"/>
                  <a:gd name="T7" fmla="*/ 0 h 42"/>
                  <a:gd name="T8" fmla="*/ 53 w 53"/>
                  <a:gd name="T9" fmla="*/ 41 h 42"/>
                  <a:gd name="T10" fmla="*/ 45 w 53"/>
                  <a:gd name="T11" fmla="*/ 42 h 42"/>
                  <a:gd name="T12" fmla="*/ 43 w 53"/>
                  <a:gd name="T13" fmla="*/ 27 h 42"/>
                  <a:gd name="T14" fmla="*/ 1 w 53"/>
                  <a:gd name="T15" fmla="*/ 33 h 42"/>
                  <a:gd name="T16" fmla="*/ 0 w 53"/>
                  <a:gd name="T17" fmla="*/ 22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3" h="42">
                    <a:moveTo>
                      <a:pt x="0" y="22"/>
                    </a:moveTo>
                    <a:lnTo>
                      <a:pt x="42" y="17"/>
                    </a:lnTo>
                    <a:lnTo>
                      <a:pt x="39" y="1"/>
                    </a:lnTo>
                    <a:lnTo>
                      <a:pt x="49" y="0"/>
                    </a:lnTo>
                    <a:lnTo>
                      <a:pt x="53" y="41"/>
                    </a:lnTo>
                    <a:lnTo>
                      <a:pt x="45" y="42"/>
                    </a:lnTo>
                    <a:lnTo>
                      <a:pt x="43" y="27"/>
                    </a:lnTo>
                    <a:lnTo>
                      <a:pt x="1" y="33"/>
                    </a:lnTo>
                    <a:lnTo>
                      <a:pt x="0" y="2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323" name="ïṣľîďe"/>
              <p:cNvSpPr/>
              <p:nvPr/>
            </p:nvSpPr>
            <p:spPr bwMode="auto">
              <a:xfrm>
                <a:off x="1662009" y="5471115"/>
                <a:ext cx="90488" cy="73025"/>
              </a:xfrm>
              <a:custGeom>
                <a:avLst/>
                <a:gdLst>
                  <a:gd name="T0" fmla="*/ 0 w 57"/>
                  <a:gd name="T1" fmla="*/ 29 h 46"/>
                  <a:gd name="T2" fmla="*/ 21 w 57"/>
                  <a:gd name="T3" fmla="*/ 24 h 46"/>
                  <a:gd name="T4" fmla="*/ 45 w 57"/>
                  <a:gd name="T5" fmla="*/ 0 h 46"/>
                  <a:gd name="T6" fmla="*/ 49 w 57"/>
                  <a:gd name="T7" fmla="*/ 11 h 46"/>
                  <a:gd name="T8" fmla="*/ 31 w 57"/>
                  <a:gd name="T9" fmla="*/ 28 h 46"/>
                  <a:gd name="T10" fmla="*/ 53 w 57"/>
                  <a:gd name="T11" fmla="*/ 35 h 46"/>
                  <a:gd name="T12" fmla="*/ 57 w 57"/>
                  <a:gd name="T13" fmla="*/ 46 h 46"/>
                  <a:gd name="T14" fmla="*/ 23 w 57"/>
                  <a:gd name="T15" fmla="*/ 35 h 46"/>
                  <a:gd name="T16" fmla="*/ 2 w 57"/>
                  <a:gd name="T17" fmla="*/ 39 h 46"/>
                  <a:gd name="T18" fmla="*/ 0 w 57"/>
                  <a:gd name="T19" fmla="*/ 29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57" h="46">
                    <a:moveTo>
                      <a:pt x="0" y="29"/>
                    </a:moveTo>
                    <a:lnTo>
                      <a:pt x="21" y="24"/>
                    </a:lnTo>
                    <a:lnTo>
                      <a:pt x="45" y="0"/>
                    </a:lnTo>
                    <a:lnTo>
                      <a:pt x="49" y="11"/>
                    </a:lnTo>
                    <a:lnTo>
                      <a:pt x="31" y="28"/>
                    </a:lnTo>
                    <a:lnTo>
                      <a:pt x="53" y="35"/>
                    </a:lnTo>
                    <a:lnTo>
                      <a:pt x="57" y="46"/>
                    </a:lnTo>
                    <a:lnTo>
                      <a:pt x="23" y="35"/>
                    </a:lnTo>
                    <a:lnTo>
                      <a:pt x="2" y="39"/>
                    </a:lnTo>
                    <a:lnTo>
                      <a:pt x="0" y="2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324" name="íśļiḓe"/>
              <p:cNvSpPr/>
              <p:nvPr/>
            </p:nvSpPr>
            <p:spPr bwMode="auto">
              <a:xfrm>
                <a:off x="1704872" y="5609228"/>
                <a:ext cx="85725" cy="80963"/>
              </a:xfrm>
              <a:custGeom>
                <a:avLst/>
                <a:gdLst>
                  <a:gd name="T0" fmla="*/ 15 w 47"/>
                  <a:gd name="T1" fmla="*/ 2 h 44"/>
                  <a:gd name="T2" fmla="*/ 26 w 47"/>
                  <a:gd name="T3" fmla="*/ 0 h 44"/>
                  <a:gd name="T4" fmla="*/ 33 w 47"/>
                  <a:gd name="T5" fmla="*/ 1 h 44"/>
                  <a:gd name="T6" fmla="*/ 39 w 47"/>
                  <a:gd name="T7" fmla="*/ 4 h 44"/>
                  <a:gd name="T8" fmla="*/ 44 w 47"/>
                  <a:gd name="T9" fmla="*/ 12 h 44"/>
                  <a:gd name="T10" fmla="*/ 45 w 47"/>
                  <a:gd name="T11" fmla="*/ 29 h 44"/>
                  <a:gd name="T12" fmla="*/ 32 w 47"/>
                  <a:gd name="T13" fmla="*/ 41 h 44"/>
                  <a:gd name="T14" fmla="*/ 15 w 47"/>
                  <a:gd name="T15" fmla="*/ 43 h 44"/>
                  <a:gd name="T16" fmla="*/ 3 w 47"/>
                  <a:gd name="T17" fmla="*/ 31 h 44"/>
                  <a:gd name="T18" fmla="*/ 2 w 47"/>
                  <a:gd name="T19" fmla="*/ 14 h 44"/>
                  <a:gd name="T20" fmla="*/ 15 w 47"/>
                  <a:gd name="T21" fmla="*/ 2 h 44"/>
                  <a:gd name="T22" fmla="*/ 19 w 47"/>
                  <a:gd name="T23" fmla="*/ 10 h 44"/>
                  <a:gd name="T24" fmla="*/ 10 w 47"/>
                  <a:gd name="T25" fmla="*/ 18 h 44"/>
                  <a:gd name="T26" fmla="*/ 10 w 47"/>
                  <a:gd name="T27" fmla="*/ 28 h 44"/>
                  <a:gd name="T28" fmla="*/ 17 w 47"/>
                  <a:gd name="T29" fmla="*/ 34 h 44"/>
                  <a:gd name="T30" fmla="*/ 29 w 47"/>
                  <a:gd name="T31" fmla="*/ 33 h 44"/>
                  <a:gd name="T32" fmla="*/ 38 w 47"/>
                  <a:gd name="T33" fmla="*/ 25 h 44"/>
                  <a:gd name="T34" fmla="*/ 37 w 47"/>
                  <a:gd name="T35" fmla="*/ 16 h 44"/>
                  <a:gd name="T36" fmla="*/ 30 w 47"/>
                  <a:gd name="T37" fmla="*/ 9 h 44"/>
                  <a:gd name="T38" fmla="*/ 19 w 47"/>
                  <a:gd name="T39" fmla="*/ 10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47" h="44">
                    <a:moveTo>
                      <a:pt x="15" y="2"/>
                    </a:moveTo>
                    <a:cubicBezTo>
                      <a:pt x="19" y="0"/>
                      <a:pt x="23" y="0"/>
                      <a:pt x="26" y="0"/>
                    </a:cubicBezTo>
                    <a:cubicBezTo>
                      <a:pt x="28" y="0"/>
                      <a:pt x="31" y="0"/>
                      <a:pt x="33" y="1"/>
                    </a:cubicBezTo>
                    <a:cubicBezTo>
                      <a:pt x="35" y="2"/>
                      <a:pt x="37" y="3"/>
                      <a:pt x="39" y="4"/>
                    </a:cubicBezTo>
                    <a:cubicBezTo>
                      <a:pt x="41" y="6"/>
                      <a:pt x="43" y="9"/>
                      <a:pt x="44" y="12"/>
                    </a:cubicBezTo>
                    <a:cubicBezTo>
                      <a:pt x="47" y="18"/>
                      <a:pt x="47" y="24"/>
                      <a:pt x="45" y="29"/>
                    </a:cubicBezTo>
                    <a:cubicBezTo>
                      <a:pt x="43" y="34"/>
                      <a:pt x="39" y="38"/>
                      <a:pt x="32" y="41"/>
                    </a:cubicBezTo>
                    <a:cubicBezTo>
                      <a:pt x="26" y="44"/>
                      <a:pt x="20" y="44"/>
                      <a:pt x="15" y="43"/>
                    </a:cubicBezTo>
                    <a:cubicBezTo>
                      <a:pt x="9" y="41"/>
                      <a:pt x="5" y="37"/>
                      <a:pt x="3" y="31"/>
                    </a:cubicBezTo>
                    <a:cubicBezTo>
                      <a:pt x="0" y="25"/>
                      <a:pt x="0" y="19"/>
                      <a:pt x="2" y="14"/>
                    </a:cubicBezTo>
                    <a:cubicBezTo>
                      <a:pt x="4" y="9"/>
                      <a:pt x="8" y="5"/>
                      <a:pt x="15" y="2"/>
                    </a:cubicBezTo>
                    <a:close/>
                    <a:moveTo>
                      <a:pt x="19" y="10"/>
                    </a:moveTo>
                    <a:cubicBezTo>
                      <a:pt x="14" y="12"/>
                      <a:pt x="11" y="15"/>
                      <a:pt x="10" y="18"/>
                    </a:cubicBezTo>
                    <a:cubicBezTo>
                      <a:pt x="8" y="21"/>
                      <a:pt x="8" y="24"/>
                      <a:pt x="10" y="28"/>
                    </a:cubicBezTo>
                    <a:cubicBezTo>
                      <a:pt x="11" y="31"/>
                      <a:pt x="13" y="33"/>
                      <a:pt x="17" y="34"/>
                    </a:cubicBezTo>
                    <a:cubicBezTo>
                      <a:pt x="20" y="35"/>
                      <a:pt x="24" y="35"/>
                      <a:pt x="29" y="33"/>
                    </a:cubicBezTo>
                    <a:cubicBezTo>
                      <a:pt x="33" y="31"/>
                      <a:pt x="36" y="28"/>
                      <a:pt x="38" y="25"/>
                    </a:cubicBezTo>
                    <a:cubicBezTo>
                      <a:pt x="39" y="22"/>
                      <a:pt x="39" y="19"/>
                      <a:pt x="37" y="16"/>
                    </a:cubicBezTo>
                    <a:cubicBezTo>
                      <a:pt x="36" y="12"/>
                      <a:pt x="34" y="10"/>
                      <a:pt x="30" y="9"/>
                    </a:cubicBezTo>
                    <a:cubicBezTo>
                      <a:pt x="27" y="8"/>
                      <a:pt x="23" y="8"/>
                      <a:pt x="19" y="1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325" name="î$ḷïďe"/>
              <p:cNvSpPr/>
              <p:nvPr/>
            </p:nvSpPr>
            <p:spPr bwMode="auto">
              <a:xfrm>
                <a:off x="1733447" y="5675903"/>
                <a:ext cx="98425" cy="66675"/>
              </a:xfrm>
              <a:custGeom>
                <a:avLst/>
                <a:gdLst>
                  <a:gd name="T0" fmla="*/ 0 w 62"/>
                  <a:gd name="T1" fmla="*/ 26 h 42"/>
                  <a:gd name="T2" fmla="*/ 45 w 62"/>
                  <a:gd name="T3" fmla="*/ 0 h 42"/>
                  <a:gd name="T4" fmla="*/ 62 w 62"/>
                  <a:gd name="T5" fmla="*/ 30 h 42"/>
                  <a:gd name="T6" fmla="*/ 55 w 62"/>
                  <a:gd name="T7" fmla="*/ 35 h 42"/>
                  <a:gd name="T8" fmla="*/ 43 w 62"/>
                  <a:gd name="T9" fmla="*/ 14 h 42"/>
                  <a:gd name="T10" fmla="*/ 32 w 62"/>
                  <a:gd name="T11" fmla="*/ 20 h 42"/>
                  <a:gd name="T12" fmla="*/ 43 w 62"/>
                  <a:gd name="T13" fmla="*/ 38 h 42"/>
                  <a:gd name="T14" fmla="*/ 35 w 62"/>
                  <a:gd name="T15" fmla="*/ 42 h 42"/>
                  <a:gd name="T16" fmla="*/ 25 w 62"/>
                  <a:gd name="T17" fmla="*/ 23 h 42"/>
                  <a:gd name="T18" fmla="*/ 6 w 62"/>
                  <a:gd name="T19" fmla="*/ 35 h 42"/>
                  <a:gd name="T20" fmla="*/ 0 w 62"/>
                  <a:gd name="T21" fmla="*/ 26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62" h="42">
                    <a:moveTo>
                      <a:pt x="0" y="26"/>
                    </a:moveTo>
                    <a:lnTo>
                      <a:pt x="45" y="0"/>
                    </a:lnTo>
                    <a:lnTo>
                      <a:pt x="62" y="30"/>
                    </a:lnTo>
                    <a:lnTo>
                      <a:pt x="55" y="35"/>
                    </a:lnTo>
                    <a:lnTo>
                      <a:pt x="43" y="14"/>
                    </a:lnTo>
                    <a:lnTo>
                      <a:pt x="32" y="20"/>
                    </a:lnTo>
                    <a:lnTo>
                      <a:pt x="43" y="38"/>
                    </a:lnTo>
                    <a:lnTo>
                      <a:pt x="35" y="42"/>
                    </a:lnTo>
                    <a:lnTo>
                      <a:pt x="25" y="23"/>
                    </a:lnTo>
                    <a:lnTo>
                      <a:pt x="6" y="35"/>
                    </a:lnTo>
                    <a:lnTo>
                      <a:pt x="0" y="26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326" name="îśḻîḍe"/>
              <p:cNvSpPr/>
              <p:nvPr/>
            </p:nvSpPr>
            <p:spPr bwMode="auto">
              <a:xfrm>
                <a:off x="1812822" y="5785440"/>
                <a:ext cx="85725" cy="82550"/>
              </a:xfrm>
              <a:custGeom>
                <a:avLst/>
                <a:gdLst>
                  <a:gd name="T0" fmla="*/ 6 w 46"/>
                  <a:gd name="T1" fmla="*/ 13 h 45"/>
                  <a:gd name="T2" fmla="*/ 12 w 46"/>
                  <a:gd name="T3" fmla="*/ 19 h 45"/>
                  <a:gd name="T4" fmla="*/ 9 w 46"/>
                  <a:gd name="T5" fmla="*/ 26 h 45"/>
                  <a:gd name="T6" fmla="*/ 11 w 46"/>
                  <a:gd name="T7" fmla="*/ 32 h 45"/>
                  <a:gd name="T8" fmla="*/ 17 w 46"/>
                  <a:gd name="T9" fmla="*/ 36 h 45"/>
                  <a:gd name="T10" fmla="*/ 22 w 46"/>
                  <a:gd name="T11" fmla="*/ 35 h 45"/>
                  <a:gd name="T12" fmla="*/ 23 w 46"/>
                  <a:gd name="T13" fmla="*/ 32 h 45"/>
                  <a:gd name="T14" fmla="*/ 22 w 46"/>
                  <a:gd name="T15" fmla="*/ 29 h 45"/>
                  <a:gd name="T16" fmla="*/ 19 w 46"/>
                  <a:gd name="T17" fmla="*/ 22 h 45"/>
                  <a:gd name="T18" fmla="*/ 16 w 46"/>
                  <a:gd name="T19" fmla="*/ 12 h 45"/>
                  <a:gd name="T20" fmla="*/ 21 w 46"/>
                  <a:gd name="T21" fmla="*/ 3 h 45"/>
                  <a:gd name="T22" fmla="*/ 27 w 46"/>
                  <a:gd name="T23" fmla="*/ 0 h 45"/>
                  <a:gd name="T24" fmla="*/ 34 w 46"/>
                  <a:gd name="T25" fmla="*/ 2 h 45"/>
                  <a:gd name="T26" fmla="*/ 40 w 46"/>
                  <a:gd name="T27" fmla="*/ 8 h 45"/>
                  <a:gd name="T28" fmla="*/ 45 w 46"/>
                  <a:gd name="T29" fmla="*/ 19 h 45"/>
                  <a:gd name="T30" fmla="*/ 41 w 46"/>
                  <a:gd name="T31" fmla="*/ 29 h 45"/>
                  <a:gd name="T32" fmla="*/ 35 w 46"/>
                  <a:gd name="T33" fmla="*/ 22 h 45"/>
                  <a:gd name="T34" fmla="*/ 37 w 46"/>
                  <a:gd name="T35" fmla="*/ 17 h 45"/>
                  <a:gd name="T36" fmla="*/ 35 w 46"/>
                  <a:gd name="T37" fmla="*/ 12 h 45"/>
                  <a:gd name="T38" fmla="*/ 30 w 46"/>
                  <a:gd name="T39" fmla="*/ 8 h 45"/>
                  <a:gd name="T40" fmla="*/ 27 w 46"/>
                  <a:gd name="T41" fmla="*/ 9 h 45"/>
                  <a:gd name="T42" fmla="*/ 25 w 46"/>
                  <a:gd name="T43" fmla="*/ 12 h 45"/>
                  <a:gd name="T44" fmla="*/ 28 w 46"/>
                  <a:gd name="T45" fmla="*/ 20 h 45"/>
                  <a:gd name="T46" fmla="*/ 32 w 46"/>
                  <a:gd name="T47" fmla="*/ 29 h 45"/>
                  <a:gd name="T48" fmla="*/ 31 w 46"/>
                  <a:gd name="T49" fmla="*/ 36 h 45"/>
                  <a:gd name="T50" fmla="*/ 27 w 46"/>
                  <a:gd name="T51" fmla="*/ 42 h 45"/>
                  <a:gd name="T52" fmla="*/ 20 w 46"/>
                  <a:gd name="T53" fmla="*/ 45 h 45"/>
                  <a:gd name="T54" fmla="*/ 13 w 46"/>
                  <a:gd name="T55" fmla="*/ 43 h 45"/>
                  <a:gd name="T56" fmla="*/ 6 w 46"/>
                  <a:gd name="T57" fmla="*/ 37 h 45"/>
                  <a:gd name="T58" fmla="*/ 0 w 46"/>
                  <a:gd name="T59" fmla="*/ 24 h 45"/>
                  <a:gd name="T60" fmla="*/ 6 w 46"/>
                  <a:gd name="T61" fmla="*/ 13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46" h="45">
                    <a:moveTo>
                      <a:pt x="6" y="13"/>
                    </a:moveTo>
                    <a:cubicBezTo>
                      <a:pt x="12" y="19"/>
                      <a:pt x="12" y="19"/>
                      <a:pt x="12" y="19"/>
                    </a:cubicBezTo>
                    <a:cubicBezTo>
                      <a:pt x="10" y="21"/>
                      <a:pt x="9" y="24"/>
                      <a:pt x="9" y="26"/>
                    </a:cubicBezTo>
                    <a:cubicBezTo>
                      <a:pt x="9" y="28"/>
                      <a:pt x="10" y="30"/>
                      <a:pt x="11" y="32"/>
                    </a:cubicBezTo>
                    <a:cubicBezTo>
                      <a:pt x="13" y="34"/>
                      <a:pt x="15" y="35"/>
                      <a:pt x="17" y="36"/>
                    </a:cubicBezTo>
                    <a:cubicBezTo>
                      <a:pt x="19" y="36"/>
                      <a:pt x="20" y="36"/>
                      <a:pt x="22" y="35"/>
                    </a:cubicBezTo>
                    <a:cubicBezTo>
                      <a:pt x="22" y="34"/>
                      <a:pt x="23" y="33"/>
                      <a:pt x="23" y="32"/>
                    </a:cubicBezTo>
                    <a:cubicBezTo>
                      <a:pt x="23" y="32"/>
                      <a:pt x="23" y="30"/>
                      <a:pt x="22" y="29"/>
                    </a:cubicBezTo>
                    <a:cubicBezTo>
                      <a:pt x="22" y="28"/>
                      <a:pt x="21" y="26"/>
                      <a:pt x="19" y="22"/>
                    </a:cubicBezTo>
                    <a:cubicBezTo>
                      <a:pt x="17" y="18"/>
                      <a:pt x="16" y="14"/>
                      <a:pt x="16" y="12"/>
                    </a:cubicBezTo>
                    <a:cubicBezTo>
                      <a:pt x="17" y="8"/>
                      <a:pt x="18" y="5"/>
                      <a:pt x="21" y="3"/>
                    </a:cubicBezTo>
                    <a:cubicBezTo>
                      <a:pt x="23" y="1"/>
                      <a:pt x="25" y="1"/>
                      <a:pt x="27" y="0"/>
                    </a:cubicBezTo>
                    <a:cubicBezTo>
                      <a:pt x="29" y="0"/>
                      <a:pt x="31" y="1"/>
                      <a:pt x="34" y="2"/>
                    </a:cubicBezTo>
                    <a:cubicBezTo>
                      <a:pt x="36" y="3"/>
                      <a:pt x="38" y="5"/>
                      <a:pt x="40" y="8"/>
                    </a:cubicBezTo>
                    <a:cubicBezTo>
                      <a:pt x="44" y="12"/>
                      <a:pt x="46" y="16"/>
                      <a:pt x="45" y="19"/>
                    </a:cubicBezTo>
                    <a:cubicBezTo>
                      <a:pt x="45" y="23"/>
                      <a:pt x="44" y="26"/>
                      <a:pt x="41" y="29"/>
                    </a:cubicBezTo>
                    <a:cubicBezTo>
                      <a:pt x="35" y="22"/>
                      <a:pt x="35" y="22"/>
                      <a:pt x="35" y="22"/>
                    </a:cubicBezTo>
                    <a:cubicBezTo>
                      <a:pt x="36" y="21"/>
                      <a:pt x="37" y="19"/>
                      <a:pt x="37" y="17"/>
                    </a:cubicBezTo>
                    <a:cubicBezTo>
                      <a:pt x="37" y="16"/>
                      <a:pt x="36" y="14"/>
                      <a:pt x="35" y="12"/>
                    </a:cubicBezTo>
                    <a:cubicBezTo>
                      <a:pt x="33" y="10"/>
                      <a:pt x="31" y="9"/>
                      <a:pt x="30" y="8"/>
                    </a:cubicBezTo>
                    <a:cubicBezTo>
                      <a:pt x="28" y="8"/>
                      <a:pt x="27" y="8"/>
                      <a:pt x="27" y="9"/>
                    </a:cubicBezTo>
                    <a:cubicBezTo>
                      <a:pt x="26" y="10"/>
                      <a:pt x="25" y="11"/>
                      <a:pt x="25" y="12"/>
                    </a:cubicBezTo>
                    <a:cubicBezTo>
                      <a:pt x="25" y="13"/>
                      <a:pt x="26" y="16"/>
                      <a:pt x="28" y="20"/>
                    </a:cubicBezTo>
                    <a:cubicBezTo>
                      <a:pt x="30" y="24"/>
                      <a:pt x="31" y="27"/>
                      <a:pt x="32" y="29"/>
                    </a:cubicBezTo>
                    <a:cubicBezTo>
                      <a:pt x="32" y="32"/>
                      <a:pt x="32" y="34"/>
                      <a:pt x="31" y="36"/>
                    </a:cubicBezTo>
                    <a:cubicBezTo>
                      <a:pt x="31" y="38"/>
                      <a:pt x="29" y="40"/>
                      <a:pt x="27" y="42"/>
                    </a:cubicBezTo>
                    <a:cubicBezTo>
                      <a:pt x="25" y="43"/>
                      <a:pt x="23" y="44"/>
                      <a:pt x="20" y="45"/>
                    </a:cubicBezTo>
                    <a:cubicBezTo>
                      <a:pt x="18" y="45"/>
                      <a:pt x="15" y="44"/>
                      <a:pt x="13" y="43"/>
                    </a:cubicBezTo>
                    <a:cubicBezTo>
                      <a:pt x="10" y="42"/>
                      <a:pt x="8" y="40"/>
                      <a:pt x="6" y="37"/>
                    </a:cubicBezTo>
                    <a:cubicBezTo>
                      <a:pt x="2" y="32"/>
                      <a:pt x="0" y="28"/>
                      <a:pt x="0" y="24"/>
                    </a:cubicBezTo>
                    <a:cubicBezTo>
                      <a:pt x="1" y="20"/>
                      <a:pt x="2" y="17"/>
                      <a:pt x="6" y="1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327" name="í$ļîḋê"/>
              <p:cNvSpPr/>
              <p:nvPr/>
            </p:nvSpPr>
            <p:spPr bwMode="auto">
              <a:xfrm>
                <a:off x="1868384" y="5844178"/>
                <a:ext cx="82550" cy="82550"/>
              </a:xfrm>
              <a:custGeom>
                <a:avLst/>
                <a:gdLst>
                  <a:gd name="T0" fmla="*/ 25 w 45"/>
                  <a:gd name="T1" fmla="*/ 33 h 45"/>
                  <a:gd name="T2" fmla="*/ 29 w 45"/>
                  <a:gd name="T3" fmla="*/ 41 h 45"/>
                  <a:gd name="T4" fmla="*/ 17 w 45"/>
                  <a:gd name="T5" fmla="*/ 44 h 45"/>
                  <a:gd name="T6" fmla="*/ 6 w 45"/>
                  <a:gd name="T7" fmla="*/ 38 h 45"/>
                  <a:gd name="T8" fmla="*/ 0 w 45"/>
                  <a:gd name="T9" fmla="*/ 24 h 45"/>
                  <a:gd name="T10" fmla="*/ 8 w 45"/>
                  <a:gd name="T11" fmla="*/ 8 h 45"/>
                  <a:gd name="T12" fmla="*/ 24 w 45"/>
                  <a:gd name="T13" fmla="*/ 0 h 45"/>
                  <a:gd name="T14" fmla="*/ 39 w 45"/>
                  <a:gd name="T15" fmla="*/ 7 h 45"/>
                  <a:gd name="T16" fmla="*/ 45 w 45"/>
                  <a:gd name="T17" fmla="*/ 19 h 45"/>
                  <a:gd name="T18" fmla="*/ 42 w 45"/>
                  <a:gd name="T19" fmla="*/ 28 h 45"/>
                  <a:gd name="T20" fmla="*/ 34 w 45"/>
                  <a:gd name="T21" fmla="*/ 23 h 45"/>
                  <a:gd name="T22" fmla="*/ 36 w 45"/>
                  <a:gd name="T23" fmla="*/ 17 h 45"/>
                  <a:gd name="T24" fmla="*/ 33 w 45"/>
                  <a:gd name="T25" fmla="*/ 12 h 45"/>
                  <a:gd name="T26" fmla="*/ 25 w 45"/>
                  <a:gd name="T27" fmla="*/ 9 h 45"/>
                  <a:gd name="T28" fmla="*/ 15 w 45"/>
                  <a:gd name="T29" fmla="*/ 14 h 45"/>
                  <a:gd name="T30" fmla="*/ 8 w 45"/>
                  <a:gd name="T31" fmla="*/ 25 h 45"/>
                  <a:gd name="T32" fmla="*/ 11 w 45"/>
                  <a:gd name="T33" fmla="*/ 33 h 45"/>
                  <a:gd name="T34" fmla="*/ 17 w 45"/>
                  <a:gd name="T35" fmla="*/ 36 h 45"/>
                  <a:gd name="T36" fmla="*/ 25 w 45"/>
                  <a:gd name="T37" fmla="*/ 33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45" h="45">
                    <a:moveTo>
                      <a:pt x="25" y="33"/>
                    </a:moveTo>
                    <a:cubicBezTo>
                      <a:pt x="29" y="41"/>
                      <a:pt x="29" y="41"/>
                      <a:pt x="29" y="41"/>
                    </a:cubicBezTo>
                    <a:cubicBezTo>
                      <a:pt x="25" y="44"/>
                      <a:pt x="21" y="45"/>
                      <a:pt x="17" y="44"/>
                    </a:cubicBezTo>
                    <a:cubicBezTo>
                      <a:pt x="13" y="44"/>
                      <a:pt x="9" y="42"/>
                      <a:pt x="6" y="38"/>
                    </a:cubicBezTo>
                    <a:cubicBezTo>
                      <a:pt x="2" y="34"/>
                      <a:pt x="0" y="29"/>
                      <a:pt x="0" y="24"/>
                    </a:cubicBezTo>
                    <a:cubicBezTo>
                      <a:pt x="0" y="19"/>
                      <a:pt x="3" y="13"/>
                      <a:pt x="8" y="8"/>
                    </a:cubicBezTo>
                    <a:cubicBezTo>
                      <a:pt x="13" y="3"/>
                      <a:pt x="18" y="1"/>
                      <a:pt x="24" y="0"/>
                    </a:cubicBezTo>
                    <a:cubicBezTo>
                      <a:pt x="29" y="0"/>
                      <a:pt x="34" y="2"/>
                      <a:pt x="39" y="7"/>
                    </a:cubicBezTo>
                    <a:cubicBezTo>
                      <a:pt x="42" y="10"/>
                      <a:pt x="44" y="15"/>
                      <a:pt x="45" y="19"/>
                    </a:cubicBezTo>
                    <a:cubicBezTo>
                      <a:pt x="45" y="22"/>
                      <a:pt x="44" y="25"/>
                      <a:pt x="42" y="28"/>
                    </a:cubicBezTo>
                    <a:cubicBezTo>
                      <a:pt x="34" y="23"/>
                      <a:pt x="34" y="23"/>
                      <a:pt x="34" y="23"/>
                    </a:cubicBezTo>
                    <a:cubicBezTo>
                      <a:pt x="36" y="21"/>
                      <a:pt x="36" y="19"/>
                      <a:pt x="36" y="17"/>
                    </a:cubicBezTo>
                    <a:cubicBezTo>
                      <a:pt x="36" y="15"/>
                      <a:pt x="35" y="13"/>
                      <a:pt x="33" y="12"/>
                    </a:cubicBezTo>
                    <a:cubicBezTo>
                      <a:pt x="31" y="9"/>
                      <a:pt x="28" y="8"/>
                      <a:pt x="25" y="9"/>
                    </a:cubicBezTo>
                    <a:cubicBezTo>
                      <a:pt x="22" y="9"/>
                      <a:pt x="18" y="11"/>
                      <a:pt x="15" y="14"/>
                    </a:cubicBezTo>
                    <a:cubicBezTo>
                      <a:pt x="11" y="18"/>
                      <a:pt x="9" y="22"/>
                      <a:pt x="8" y="25"/>
                    </a:cubicBezTo>
                    <a:cubicBezTo>
                      <a:pt x="8" y="28"/>
                      <a:pt x="9" y="31"/>
                      <a:pt x="11" y="33"/>
                    </a:cubicBezTo>
                    <a:cubicBezTo>
                      <a:pt x="13" y="35"/>
                      <a:pt x="15" y="36"/>
                      <a:pt x="17" y="36"/>
                    </a:cubicBezTo>
                    <a:cubicBezTo>
                      <a:pt x="20" y="36"/>
                      <a:pt x="22" y="35"/>
                      <a:pt x="25" y="3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328" name="íṩḷiḋé"/>
              <p:cNvSpPr/>
              <p:nvPr/>
            </p:nvSpPr>
            <p:spPr bwMode="auto">
              <a:xfrm>
                <a:off x="1916009" y="5887040"/>
                <a:ext cx="65088" cy="71438"/>
              </a:xfrm>
              <a:custGeom>
                <a:avLst/>
                <a:gdLst>
                  <a:gd name="T0" fmla="*/ 0 w 41"/>
                  <a:gd name="T1" fmla="*/ 38 h 45"/>
                  <a:gd name="T2" fmla="*/ 34 w 41"/>
                  <a:gd name="T3" fmla="*/ 0 h 45"/>
                  <a:gd name="T4" fmla="*/ 41 w 41"/>
                  <a:gd name="T5" fmla="*/ 6 h 45"/>
                  <a:gd name="T6" fmla="*/ 8 w 41"/>
                  <a:gd name="T7" fmla="*/ 45 h 45"/>
                  <a:gd name="T8" fmla="*/ 0 w 41"/>
                  <a:gd name="T9" fmla="*/ 38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1" h="45">
                    <a:moveTo>
                      <a:pt x="0" y="38"/>
                    </a:moveTo>
                    <a:lnTo>
                      <a:pt x="34" y="0"/>
                    </a:lnTo>
                    <a:lnTo>
                      <a:pt x="41" y="6"/>
                    </a:lnTo>
                    <a:lnTo>
                      <a:pt x="8" y="45"/>
                    </a:lnTo>
                    <a:lnTo>
                      <a:pt x="0" y="3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329" name="îsľïďé"/>
              <p:cNvSpPr/>
              <p:nvPr/>
            </p:nvSpPr>
            <p:spPr bwMode="auto">
              <a:xfrm>
                <a:off x="1941409" y="5904503"/>
                <a:ext cx="96838" cy="101600"/>
              </a:xfrm>
              <a:custGeom>
                <a:avLst/>
                <a:gdLst>
                  <a:gd name="T0" fmla="*/ 0 w 61"/>
                  <a:gd name="T1" fmla="*/ 41 h 64"/>
                  <a:gd name="T2" fmla="*/ 31 w 61"/>
                  <a:gd name="T3" fmla="*/ 0 h 64"/>
                  <a:gd name="T4" fmla="*/ 61 w 61"/>
                  <a:gd name="T5" fmla="*/ 22 h 64"/>
                  <a:gd name="T6" fmla="*/ 56 w 61"/>
                  <a:gd name="T7" fmla="*/ 29 h 64"/>
                  <a:gd name="T8" fmla="*/ 34 w 61"/>
                  <a:gd name="T9" fmla="*/ 13 h 64"/>
                  <a:gd name="T10" fmla="*/ 27 w 61"/>
                  <a:gd name="T11" fmla="*/ 22 h 64"/>
                  <a:gd name="T12" fmla="*/ 47 w 61"/>
                  <a:gd name="T13" fmla="*/ 37 h 64"/>
                  <a:gd name="T14" fmla="*/ 42 w 61"/>
                  <a:gd name="T15" fmla="*/ 44 h 64"/>
                  <a:gd name="T16" fmla="*/ 21 w 61"/>
                  <a:gd name="T17" fmla="*/ 29 h 64"/>
                  <a:gd name="T18" fmla="*/ 13 w 61"/>
                  <a:gd name="T19" fmla="*/ 40 h 64"/>
                  <a:gd name="T20" fmla="*/ 36 w 61"/>
                  <a:gd name="T21" fmla="*/ 57 h 64"/>
                  <a:gd name="T22" fmla="*/ 31 w 61"/>
                  <a:gd name="T23" fmla="*/ 64 h 64"/>
                  <a:gd name="T24" fmla="*/ 0 w 61"/>
                  <a:gd name="T25" fmla="*/ 41 h 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1" h="64">
                    <a:moveTo>
                      <a:pt x="0" y="41"/>
                    </a:moveTo>
                    <a:lnTo>
                      <a:pt x="31" y="0"/>
                    </a:lnTo>
                    <a:lnTo>
                      <a:pt x="61" y="22"/>
                    </a:lnTo>
                    <a:lnTo>
                      <a:pt x="56" y="29"/>
                    </a:lnTo>
                    <a:lnTo>
                      <a:pt x="34" y="13"/>
                    </a:lnTo>
                    <a:lnTo>
                      <a:pt x="27" y="22"/>
                    </a:lnTo>
                    <a:lnTo>
                      <a:pt x="47" y="37"/>
                    </a:lnTo>
                    <a:lnTo>
                      <a:pt x="42" y="44"/>
                    </a:lnTo>
                    <a:lnTo>
                      <a:pt x="21" y="29"/>
                    </a:lnTo>
                    <a:lnTo>
                      <a:pt x="13" y="40"/>
                    </a:lnTo>
                    <a:lnTo>
                      <a:pt x="36" y="57"/>
                    </a:lnTo>
                    <a:lnTo>
                      <a:pt x="31" y="64"/>
                    </a:lnTo>
                    <a:lnTo>
                      <a:pt x="0" y="4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330" name="íśliḋé"/>
              <p:cNvSpPr/>
              <p:nvPr/>
            </p:nvSpPr>
            <p:spPr bwMode="auto">
              <a:xfrm>
                <a:off x="2004909" y="5947365"/>
                <a:ext cx="96838" cy="101600"/>
              </a:xfrm>
              <a:custGeom>
                <a:avLst/>
                <a:gdLst>
                  <a:gd name="T0" fmla="*/ 0 w 61"/>
                  <a:gd name="T1" fmla="*/ 43 h 64"/>
                  <a:gd name="T2" fmla="*/ 27 w 61"/>
                  <a:gd name="T3" fmla="*/ 0 h 64"/>
                  <a:gd name="T4" fmla="*/ 35 w 61"/>
                  <a:gd name="T5" fmla="*/ 5 h 64"/>
                  <a:gd name="T6" fmla="*/ 36 w 61"/>
                  <a:gd name="T7" fmla="*/ 45 h 64"/>
                  <a:gd name="T8" fmla="*/ 53 w 61"/>
                  <a:gd name="T9" fmla="*/ 15 h 64"/>
                  <a:gd name="T10" fmla="*/ 61 w 61"/>
                  <a:gd name="T11" fmla="*/ 21 h 64"/>
                  <a:gd name="T12" fmla="*/ 35 w 61"/>
                  <a:gd name="T13" fmla="*/ 64 h 64"/>
                  <a:gd name="T14" fmla="*/ 27 w 61"/>
                  <a:gd name="T15" fmla="*/ 59 h 64"/>
                  <a:gd name="T16" fmla="*/ 25 w 61"/>
                  <a:gd name="T17" fmla="*/ 20 h 64"/>
                  <a:gd name="T18" fmla="*/ 8 w 61"/>
                  <a:gd name="T19" fmla="*/ 49 h 64"/>
                  <a:gd name="T20" fmla="*/ 0 w 61"/>
                  <a:gd name="T21" fmla="*/ 43 h 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61" h="64">
                    <a:moveTo>
                      <a:pt x="0" y="43"/>
                    </a:moveTo>
                    <a:lnTo>
                      <a:pt x="27" y="0"/>
                    </a:lnTo>
                    <a:lnTo>
                      <a:pt x="35" y="5"/>
                    </a:lnTo>
                    <a:lnTo>
                      <a:pt x="36" y="45"/>
                    </a:lnTo>
                    <a:lnTo>
                      <a:pt x="53" y="15"/>
                    </a:lnTo>
                    <a:lnTo>
                      <a:pt x="61" y="21"/>
                    </a:lnTo>
                    <a:lnTo>
                      <a:pt x="35" y="64"/>
                    </a:lnTo>
                    <a:lnTo>
                      <a:pt x="27" y="59"/>
                    </a:lnTo>
                    <a:lnTo>
                      <a:pt x="25" y="20"/>
                    </a:lnTo>
                    <a:lnTo>
                      <a:pt x="8" y="49"/>
                    </a:lnTo>
                    <a:lnTo>
                      <a:pt x="0" y="4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331" name="iSļiďê"/>
              <p:cNvSpPr/>
              <p:nvPr/>
            </p:nvSpPr>
            <p:spPr bwMode="auto">
              <a:xfrm>
                <a:off x="2087459" y="5993403"/>
                <a:ext cx="79375" cy="87313"/>
              </a:xfrm>
              <a:custGeom>
                <a:avLst/>
                <a:gdLst>
                  <a:gd name="T0" fmla="*/ 28 w 43"/>
                  <a:gd name="T1" fmla="*/ 33 h 47"/>
                  <a:gd name="T2" fmla="*/ 34 w 43"/>
                  <a:gd name="T3" fmla="*/ 39 h 47"/>
                  <a:gd name="T4" fmla="*/ 24 w 43"/>
                  <a:gd name="T5" fmla="*/ 46 h 47"/>
                  <a:gd name="T6" fmla="*/ 12 w 43"/>
                  <a:gd name="T7" fmla="*/ 44 h 47"/>
                  <a:gd name="T8" fmla="*/ 1 w 43"/>
                  <a:gd name="T9" fmla="*/ 33 h 47"/>
                  <a:gd name="T10" fmla="*/ 3 w 43"/>
                  <a:gd name="T11" fmla="*/ 15 h 47"/>
                  <a:gd name="T12" fmla="*/ 15 w 43"/>
                  <a:gd name="T13" fmla="*/ 2 h 47"/>
                  <a:gd name="T14" fmla="*/ 32 w 43"/>
                  <a:gd name="T15" fmla="*/ 3 h 47"/>
                  <a:gd name="T16" fmla="*/ 41 w 43"/>
                  <a:gd name="T17" fmla="*/ 13 h 47"/>
                  <a:gd name="T18" fmla="*/ 42 w 43"/>
                  <a:gd name="T19" fmla="*/ 22 h 47"/>
                  <a:gd name="T20" fmla="*/ 33 w 43"/>
                  <a:gd name="T21" fmla="*/ 20 h 47"/>
                  <a:gd name="T22" fmla="*/ 33 w 43"/>
                  <a:gd name="T23" fmla="*/ 14 h 47"/>
                  <a:gd name="T24" fmla="*/ 28 w 43"/>
                  <a:gd name="T25" fmla="*/ 10 h 47"/>
                  <a:gd name="T26" fmla="*/ 19 w 43"/>
                  <a:gd name="T27" fmla="*/ 10 h 47"/>
                  <a:gd name="T28" fmla="*/ 12 w 43"/>
                  <a:gd name="T29" fmla="*/ 19 h 47"/>
                  <a:gd name="T30" fmla="*/ 9 w 43"/>
                  <a:gd name="T31" fmla="*/ 31 h 47"/>
                  <a:gd name="T32" fmla="*/ 15 w 43"/>
                  <a:gd name="T33" fmla="*/ 37 h 47"/>
                  <a:gd name="T34" fmla="*/ 22 w 43"/>
                  <a:gd name="T35" fmla="*/ 38 h 47"/>
                  <a:gd name="T36" fmla="*/ 28 w 43"/>
                  <a:gd name="T37" fmla="*/ 33 h 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43" h="47">
                    <a:moveTo>
                      <a:pt x="28" y="33"/>
                    </a:moveTo>
                    <a:cubicBezTo>
                      <a:pt x="34" y="39"/>
                      <a:pt x="34" y="39"/>
                      <a:pt x="34" y="39"/>
                    </a:cubicBezTo>
                    <a:cubicBezTo>
                      <a:pt x="31" y="43"/>
                      <a:pt x="28" y="45"/>
                      <a:pt x="24" y="46"/>
                    </a:cubicBezTo>
                    <a:cubicBezTo>
                      <a:pt x="20" y="47"/>
                      <a:pt x="16" y="46"/>
                      <a:pt x="12" y="44"/>
                    </a:cubicBezTo>
                    <a:cubicBezTo>
                      <a:pt x="7" y="42"/>
                      <a:pt x="3" y="38"/>
                      <a:pt x="1" y="33"/>
                    </a:cubicBezTo>
                    <a:cubicBezTo>
                      <a:pt x="0" y="27"/>
                      <a:pt x="0" y="22"/>
                      <a:pt x="3" y="15"/>
                    </a:cubicBezTo>
                    <a:cubicBezTo>
                      <a:pt x="6" y="9"/>
                      <a:pt x="10" y="4"/>
                      <a:pt x="15" y="2"/>
                    </a:cubicBezTo>
                    <a:cubicBezTo>
                      <a:pt x="21" y="0"/>
                      <a:pt x="26" y="1"/>
                      <a:pt x="32" y="3"/>
                    </a:cubicBezTo>
                    <a:cubicBezTo>
                      <a:pt x="36" y="5"/>
                      <a:pt x="40" y="9"/>
                      <a:pt x="41" y="13"/>
                    </a:cubicBezTo>
                    <a:cubicBezTo>
                      <a:pt x="42" y="16"/>
                      <a:pt x="43" y="19"/>
                      <a:pt x="42" y="22"/>
                    </a:cubicBezTo>
                    <a:cubicBezTo>
                      <a:pt x="33" y="20"/>
                      <a:pt x="33" y="20"/>
                      <a:pt x="33" y="20"/>
                    </a:cubicBezTo>
                    <a:cubicBezTo>
                      <a:pt x="34" y="18"/>
                      <a:pt x="34" y="16"/>
                      <a:pt x="33" y="14"/>
                    </a:cubicBezTo>
                    <a:cubicBezTo>
                      <a:pt x="32" y="12"/>
                      <a:pt x="30" y="11"/>
                      <a:pt x="28" y="10"/>
                    </a:cubicBezTo>
                    <a:cubicBezTo>
                      <a:pt x="25" y="8"/>
                      <a:pt x="22" y="8"/>
                      <a:pt x="19" y="10"/>
                    </a:cubicBezTo>
                    <a:cubicBezTo>
                      <a:pt x="16" y="11"/>
                      <a:pt x="14" y="14"/>
                      <a:pt x="12" y="19"/>
                    </a:cubicBezTo>
                    <a:cubicBezTo>
                      <a:pt x="9" y="24"/>
                      <a:pt x="9" y="28"/>
                      <a:pt x="9" y="31"/>
                    </a:cubicBezTo>
                    <a:cubicBezTo>
                      <a:pt x="10" y="34"/>
                      <a:pt x="12" y="36"/>
                      <a:pt x="15" y="37"/>
                    </a:cubicBezTo>
                    <a:cubicBezTo>
                      <a:pt x="17" y="38"/>
                      <a:pt x="19" y="38"/>
                      <a:pt x="22" y="38"/>
                    </a:cubicBezTo>
                    <a:cubicBezTo>
                      <a:pt x="24" y="37"/>
                      <a:pt x="26" y="35"/>
                      <a:pt x="28" y="3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332" name="íSliḋé"/>
              <p:cNvSpPr/>
              <p:nvPr/>
            </p:nvSpPr>
            <p:spPr bwMode="auto">
              <a:xfrm>
                <a:off x="2157309" y="6017215"/>
                <a:ext cx="82550" cy="96838"/>
              </a:xfrm>
              <a:custGeom>
                <a:avLst/>
                <a:gdLst>
                  <a:gd name="T0" fmla="*/ 0 w 52"/>
                  <a:gd name="T1" fmla="*/ 49 h 61"/>
                  <a:gd name="T2" fmla="*/ 16 w 52"/>
                  <a:gd name="T3" fmla="*/ 0 h 61"/>
                  <a:gd name="T4" fmla="*/ 52 w 52"/>
                  <a:gd name="T5" fmla="*/ 13 h 61"/>
                  <a:gd name="T6" fmla="*/ 50 w 52"/>
                  <a:gd name="T7" fmla="*/ 21 h 61"/>
                  <a:gd name="T8" fmla="*/ 23 w 52"/>
                  <a:gd name="T9" fmla="*/ 12 h 61"/>
                  <a:gd name="T10" fmla="*/ 20 w 52"/>
                  <a:gd name="T11" fmla="*/ 22 h 61"/>
                  <a:gd name="T12" fmla="*/ 44 w 52"/>
                  <a:gd name="T13" fmla="*/ 30 h 61"/>
                  <a:gd name="T14" fmla="*/ 41 w 52"/>
                  <a:gd name="T15" fmla="*/ 38 h 61"/>
                  <a:gd name="T16" fmla="*/ 18 w 52"/>
                  <a:gd name="T17" fmla="*/ 30 h 61"/>
                  <a:gd name="T18" fmla="*/ 13 w 52"/>
                  <a:gd name="T19" fmla="*/ 43 h 61"/>
                  <a:gd name="T20" fmla="*/ 40 w 52"/>
                  <a:gd name="T21" fmla="*/ 52 h 61"/>
                  <a:gd name="T22" fmla="*/ 36 w 52"/>
                  <a:gd name="T23" fmla="*/ 61 h 61"/>
                  <a:gd name="T24" fmla="*/ 0 w 52"/>
                  <a:gd name="T25" fmla="*/ 49 h 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52" h="61">
                    <a:moveTo>
                      <a:pt x="0" y="49"/>
                    </a:moveTo>
                    <a:lnTo>
                      <a:pt x="16" y="0"/>
                    </a:lnTo>
                    <a:lnTo>
                      <a:pt x="52" y="13"/>
                    </a:lnTo>
                    <a:lnTo>
                      <a:pt x="50" y="21"/>
                    </a:lnTo>
                    <a:lnTo>
                      <a:pt x="23" y="12"/>
                    </a:lnTo>
                    <a:lnTo>
                      <a:pt x="20" y="22"/>
                    </a:lnTo>
                    <a:lnTo>
                      <a:pt x="44" y="30"/>
                    </a:lnTo>
                    <a:lnTo>
                      <a:pt x="41" y="38"/>
                    </a:lnTo>
                    <a:lnTo>
                      <a:pt x="18" y="30"/>
                    </a:lnTo>
                    <a:lnTo>
                      <a:pt x="13" y="43"/>
                    </a:lnTo>
                    <a:lnTo>
                      <a:pt x="40" y="52"/>
                    </a:lnTo>
                    <a:lnTo>
                      <a:pt x="36" y="61"/>
                    </a:lnTo>
                    <a:lnTo>
                      <a:pt x="0" y="4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333" name="îŝ1îḑè"/>
              <p:cNvSpPr/>
              <p:nvPr/>
            </p:nvSpPr>
            <p:spPr bwMode="auto">
              <a:xfrm>
                <a:off x="2663722" y="6026740"/>
                <a:ext cx="77788" cy="92075"/>
              </a:xfrm>
              <a:custGeom>
                <a:avLst/>
                <a:gdLst>
                  <a:gd name="T0" fmla="*/ 49 w 49"/>
                  <a:gd name="T1" fmla="*/ 42 h 58"/>
                  <a:gd name="T2" fmla="*/ 39 w 49"/>
                  <a:gd name="T3" fmla="*/ 45 h 58"/>
                  <a:gd name="T4" fmla="*/ 31 w 49"/>
                  <a:gd name="T5" fmla="*/ 36 h 58"/>
                  <a:gd name="T6" fmla="*/ 11 w 49"/>
                  <a:gd name="T7" fmla="*/ 43 h 58"/>
                  <a:gd name="T8" fmla="*/ 11 w 49"/>
                  <a:gd name="T9" fmla="*/ 55 h 58"/>
                  <a:gd name="T10" fmla="*/ 0 w 49"/>
                  <a:gd name="T11" fmla="*/ 58 h 58"/>
                  <a:gd name="T12" fmla="*/ 3 w 49"/>
                  <a:gd name="T13" fmla="*/ 3 h 58"/>
                  <a:gd name="T14" fmla="*/ 13 w 49"/>
                  <a:gd name="T15" fmla="*/ 0 h 58"/>
                  <a:gd name="T16" fmla="*/ 49 w 49"/>
                  <a:gd name="T17" fmla="*/ 42 h 58"/>
                  <a:gd name="T18" fmla="*/ 25 w 49"/>
                  <a:gd name="T19" fmla="*/ 29 h 58"/>
                  <a:gd name="T20" fmla="*/ 12 w 49"/>
                  <a:gd name="T21" fmla="*/ 14 h 58"/>
                  <a:gd name="T22" fmla="*/ 11 w 49"/>
                  <a:gd name="T23" fmla="*/ 34 h 58"/>
                  <a:gd name="T24" fmla="*/ 25 w 49"/>
                  <a:gd name="T25" fmla="*/ 29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49" h="58">
                    <a:moveTo>
                      <a:pt x="49" y="42"/>
                    </a:moveTo>
                    <a:lnTo>
                      <a:pt x="39" y="45"/>
                    </a:lnTo>
                    <a:lnTo>
                      <a:pt x="31" y="36"/>
                    </a:lnTo>
                    <a:lnTo>
                      <a:pt x="11" y="43"/>
                    </a:lnTo>
                    <a:lnTo>
                      <a:pt x="11" y="55"/>
                    </a:lnTo>
                    <a:lnTo>
                      <a:pt x="0" y="58"/>
                    </a:lnTo>
                    <a:lnTo>
                      <a:pt x="3" y="3"/>
                    </a:lnTo>
                    <a:lnTo>
                      <a:pt x="13" y="0"/>
                    </a:lnTo>
                    <a:lnTo>
                      <a:pt x="49" y="42"/>
                    </a:lnTo>
                    <a:close/>
                    <a:moveTo>
                      <a:pt x="25" y="29"/>
                    </a:moveTo>
                    <a:lnTo>
                      <a:pt x="12" y="14"/>
                    </a:lnTo>
                    <a:lnTo>
                      <a:pt x="11" y="34"/>
                    </a:lnTo>
                    <a:lnTo>
                      <a:pt x="25" y="2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334" name="íṩḻiḋê"/>
              <p:cNvSpPr/>
              <p:nvPr/>
            </p:nvSpPr>
            <p:spPr bwMode="auto">
              <a:xfrm>
                <a:off x="2714522" y="5990228"/>
                <a:ext cx="92075" cy="101600"/>
              </a:xfrm>
              <a:custGeom>
                <a:avLst/>
                <a:gdLst>
                  <a:gd name="T0" fmla="*/ 21 w 58"/>
                  <a:gd name="T1" fmla="*/ 64 h 64"/>
                  <a:gd name="T2" fmla="*/ 0 w 58"/>
                  <a:gd name="T3" fmla="*/ 17 h 64"/>
                  <a:gd name="T4" fmla="*/ 9 w 58"/>
                  <a:gd name="T5" fmla="*/ 12 h 64"/>
                  <a:gd name="T6" fmla="*/ 43 w 58"/>
                  <a:gd name="T7" fmla="*/ 36 h 64"/>
                  <a:gd name="T8" fmla="*/ 29 w 58"/>
                  <a:gd name="T9" fmla="*/ 4 h 64"/>
                  <a:gd name="T10" fmla="*/ 37 w 58"/>
                  <a:gd name="T11" fmla="*/ 0 h 64"/>
                  <a:gd name="T12" fmla="*/ 58 w 58"/>
                  <a:gd name="T13" fmla="*/ 46 h 64"/>
                  <a:gd name="T14" fmla="*/ 49 w 58"/>
                  <a:gd name="T15" fmla="*/ 51 h 64"/>
                  <a:gd name="T16" fmla="*/ 16 w 58"/>
                  <a:gd name="T17" fmla="*/ 29 h 64"/>
                  <a:gd name="T18" fmla="*/ 30 w 58"/>
                  <a:gd name="T19" fmla="*/ 59 h 64"/>
                  <a:gd name="T20" fmla="*/ 21 w 58"/>
                  <a:gd name="T21" fmla="*/ 64 h 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58" h="64">
                    <a:moveTo>
                      <a:pt x="21" y="64"/>
                    </a:moveTo>
                    <a:lnTo>
                      <a:pt x="0" y="17"/>
                    </a:lnTo>
                    <a:lnTo>
                      <a:pt x="9" y="12"/>
                    </a:lnTo>
                    <a:lnTo>
                      <a:pt x="43" y="36"/>
                    </a:lnTo>
                    <a:lnTo>
                      <a:pt x="29" y="4"/>
                    </a:lnTo>
                    <a:lnTo>
                      <a:pt x="37" y="0"/>
                    </a:lnTo>
                    <a:lnTo>
                      <a:pt x="58" y="46"/>
                    </a:lnTo>
                    <a:lnTo>
                      <a:pt x="49" y="51"/>
                    </a:lnTo>
                    <a:lnTo>
                      <a:pt x="16" y="29"/>
                    </a:lnTo>
                    <a:lnTo>
                      <a:pt x="30" y="59"/>
                    </a:lnTo>
                    <a:lnTo>
                      <a:pt x="21" y="6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335" name="îṧľíḍe"/>
              <p:cNvSpPr/>
              <p:nvPr/>
            </p:nvSpPr>
            <p:spPr bwMode="auto">
              <a:xfrm>
                <a:off x="2781197" y="5963240"/>
                <a:ext cx="85725" cy="95250"/>
              </a:xfrm>
              <a:custGeom>
                <a:avLst/>
                <a:gdLst>
                  <a:gd name="T0" fmla="*/ 0 w 47"/>
                  <a:gd name="T1" fmla="*/ 13 h 51"/>
                  <a:gd name="T2" fmla="*/ 14 w 47"/>
                  <a:gd name="T3" fmla="*/ 4 h 51"/>
                  <a:gd name="T4" fmla="*/ 22 w 47"/>
                  <a:gd name="T5" fmla="*/ 1 h 51"/>
                  <a:gd name="T6" fmla="*/ 29 w 47"/>
                  <a:gd name="T7" fmla="*/ 1 h 51"/>
                  <a:gd name="T8" fmla="*/ 37 w 47"/>
                  <a:gd name="T9" fmla="*/ 5 h 51"/>
                  <a:gd name="T10" fmla="*/ 43 w 47"/>
                  <a:gd name="T11" fmla="*/ 14 h 51"/>
                  <a:gd name="T12" fmla="*/ 47 w 47"/>
                  <a:gd name="T13" fmla="*/ 22 h 51"/>
                  <a:gd name="T14" fmla="*/ 46 w 47"/>
                  <a:gd name="T15" fmla="*/ 31 h 51"/>
                  <a:gd name="T16" fmla="*/ 43 w 47"/>
                  <a:gd name="T17" fmla="*/ 38 h 51"/>
                  <a:gd name="T18" fmla="*/ 36 w 47"/>
                  <a:gd name="T19" fmla="*/ 42 h 51"/>
                  <a:gd name="T20" fmla="*/ 22 w 47"/>
                  <a:gd name="T21" fmla="*/ 51 h 51"/>
                  <a:gd name="T22" fmla="*/ 0 w 47"/>
                  <a:gd name="T23" fmla="*/ 13 h 51"/>
                  <a:gd name="T24" fmla="*/ 11 w 47"/>
                  <a:gd name="T25" fmla="*/ 15 h 51"/>
                  <a:gd name="T26" fmla="*/ 26 w 47"/>
                  <a:gd name="T27" fmla="*/ 40 h 51"/>
                  <a:gd name="T28" fmla="*/ 32 w 47"/>
                  <a:gd name="T29" fmla="*/ 37 h 51"/>
                  <a:gd name="T30" fmla="*/ 36 w 47"/>
                  <a:gd name="T31" fmla="*/ 33 h 51"/>
                  <a:gd name="T32" fmla="*/ 38 w 47"/>
                  <a:gd name="T33" fmla="*/ 30 h 51"/>
                  <a:gd name="T34" fmla="*/ 38 w 47"/>
                  <a:gd name="T35" fmla="*/ 25 h 51"/>
                  <a:gd name="T36" fmla="*/ 35 w 47"/>
                  <a:gd name="T37" fmla="*/ 18 h 51"/>
                  <a:gd name="T38" fmla="*/ 30 w 47"/>
                  <a:gd name="T39" fmla="*/ 11 h 51"/>
                  <a:gd name="T40" fmla="*/ 26 w 47"/>
                  <a:gd name="T41" fmla="*/ 9 h 51"/>
                  <a:gd name="T42" fmla="*/ 21 w 47"/>
                  <a:gd name="T43" fmla="*/ 9 h 51"/>
                  <a:gd name="T44" fmla="*/ 15 w 47"/>
                  <a:gd name="T45" fmla="*/ 13 h 51"/>
                  <a:gd name="T46" fmla="*/ 11 w 47"/>
                  <a:gd name="T47" fmla="*/ 15 h 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47" h="51">
                    <a:moveTo>
                      <a:pt x="0" y="13"/>
                    </a:moveTo>
                    <a:cubicBezTo>
                      <a:pt x="14" y="4"/>
                      <a:pt x="14" y="4"/>
                      <a:pt x="14" y="4"/>
                    </a:cubicBezTo>
                    <a:cubicBezTo>
                      <a:pt x="17" y="3"/>
                      <a:pt x="20" y="1"/>
                      <a:pt x="22" y="1"/>
                    </a:cubicBezTo>
                    <a:cubicBezTo>
                      <a:pt x="24" y="0"/>
                      <a:pt x="27" y="0"/>
                      <a:pt x="29" y="1"/>
                    </a:cubicBezTo>
                    <a:cubicBezTo>
                      <a:pt x="32" y="2"/>
                      <a:pt x="34" y="3"/>
                      <a:pt x="37" y="5"/>
                    </a:cubicBezTo>
                    <a:cubicBezTo>
                      <a:pt x="39" y="7"/>
                      <a:pt x="41" y="10"/>
                      <a:pt x="43" y="14"/>
                    </a:cubicBezTo>
                    <a:cubicBezTo>
                      <a:pt x="45" y="17"/>
                      <a:pt x="46" y="20"/>
                      <a:pt x="47" y="22"/>
                    </a:cubicBezTo>
                    <a:cubicBezTo>
                      <a:pt x="47" y="26"/>
                      <a:pt x="47" y="29"/>
                      <a:pt x="46" y="31"/>
                    </a:cubicBezTo>
                    <a:cubicBezTo>
                      <a:pt x="46" y="34"/>
                      <a:pt x="45" y="36"/>
                      <a:pt x="43" y="38"/>
                    </a:cubicBezTo>
                    <a:cubicBezTo>
                      <a:pt x="41" y="39"/>
                      <a:pt x="39" y="41"/>
                      <a:pt x="36" y="42"/>
                    </a:cubicBezTo>
                    <a:cubicBezTo>
                      <a:pt x="22" y="51"/>
                      <a:pt x="22" y="51"/>
                      <a:pt x="22" y="51"/>
                    </a:cubicBezTo>
                    <a:lnTo>
                      <a:pt x="0" y="13"/>
                    </a:lnTo>
                    <a:close/>
                    <a:moveTo>
                      <a:pt x="11" y="15"/>
                    </a:moveTo>
                    <a:cubicBezTo>
                      <a:pt x="26" y="40"/>
                      <a:pt x="26" y="40"/>
                      <a:pt x="26" y="40"/>
                    </a:cubicBezTo>
                    <a:cubicBezTo>
                      <a:pt x="32" y="37"/>
                      <a:pt x="32" y="37"/>
                      <a:pt x="32" y="37"/>
                    </a:cubicBezTo>
                    <a:cubicBezTo>
                      <a:pt x="34" y="35"/>
                      <a:pt x="35" y="34"/>
                      <a:pt x="36" y="33"/>
                    </a:cubicBezTo>
                    <a:cubicBezTo>
                      <a:pt x="37" y="32"/>
                      <a:pt x="38" y="31"/>
                      <a:pt x="38" y="30"/>
                    </a:cubicBezTo>
                    <a:cubicBezTo>
                      <a:pt x="39" y="29"/>
                      <a:pt x="39" y="27"/>
                      <a:pt x="38" y="25"/>
                    </a:cubicBezTo>
                    <a:cubicBezTo>
                      <a:pt x="38" y="23"/>
                      <a:pt x="37" y="21"/>
                      <a:pt x="35" y="18"/>
                    </a:cubicBezTo>
                    <a:cubicBezTo>
                      <a:pt x="33" y="15"/>
                      <a:pt x="32" y="13"/>
                      <a:pt x="30" y="11"/>
                    </a:cubicBezTo>
                    <a:cubicBezTo>
                      <a:pt x="29" y="10"/>
                      <a:pt x="27" y="9"/>
                      <a:pt x="26" y="9"/>
                    </a:cubicBezTo>
                    <a:cubicBezTo>
                      <a:pt x="25" y="9"/>
                      <a:pt x="23" y="9"/>
                      <a:pt x="21" y="9"/>
                    </a:cubicBezTo>
                    <a:cubicBezTo>
                      <a:pt x="20" y="10"/>
                      <a:pt x="18" y="11"/>
                      <a:pt x="15" y="13"/>
                    </a:cubicBezTo>
                    <a:lnTo>
                      <a:pt x="11" y="1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336" name="ïṩḻiḍe"/>
              <p:cNvSpPr/>
              <p:nvPr/>
            </p:nvSpPr>
            <p:spPr bwMode="auto">
              <a:xfrm>
                <a:off x="2876447" y="5888628"/>
                <a:ext cx="80963" cy="88900"/>
              </a:xfrm>
              <a:custGeom>
                <a:avLst/>
                <a:gdLst>
                  <a:gd name="T0" fmla="*/ 43 w 51"/>
                  <a:gd name="T1" fmla="*/ 56 h 56"/>
                  <a:gd name="T2" fmla="*/ 16 w 51"/>
                  <a:gd name="T3" fmla="*/ 22 h 56"/>
                  <a:gd name="T4" fmla="*/ 5 w 51"/>
                  <a:gd name="T5" fmla="*/ 31 h 56"/>
                  <a:gd name="T6" fmla="*/ 0 w 51"/>
                  <a:gd name="T7" fmla="*/ 25 h 56"/>
                  <a:gd name="T8" fmla="*/ 31 w 51"/>
                  <a:gd name="T9" fmla="*/ 0 h 56"/>
                  <a:gd name="T10" fmla="*/ 37 w 51"/>
                  <a:gd name="T11" fmla="*/ 7 h 56"/>
                  <a:gd name="T12" fmla="*/ 24 w 51"/>
                  <a:gd name="T13" fmla="*/ 16 h 56"/>
                  <a:gd name="T14" fmla="*/ 51 w 51"/>
                  <a:gd name="T15" fmla="*/ 49 h 56"/>
                  <a:gd name="T16" fmla="*/ 43 w 51"/>
                  <a:gd name="T17" fmla="*/ 56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1" h="56">
                    <a:moveTo>
                      <a:pt x="43" y="56"/>
                    </a:moveTo>
                    <a:lnTo>
                      <a:pt x="16" y="22"/>
                    </a:lnTo>
                    <a:lnTo>
                      <a:pt x="5" y="31"/>
                    </a:lnTo>
                    <a:lnTo>
                      <a:pt x="0" y="25"/>
                    </a:lnTo>
                    <a:lnTo>
                      <a:pt x="31" y="0"/>
                    </a:lnTo>
                    <a:lnTo>
                      <a:pt x="37" y="7"/>
                    </a:lnTo>
                    <a:lnTo>
                      <a:pt x="24" y="16"/>
                    </a:lnTo>
                    <a:lnTo>
                      <a:pt x="51" y="49"/>
                    </a:lnTo>
                    <a:lnTo>
                      <a:pt x="43" y="56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337" name="íśļïḓè"/>
              <p:cNvSpPr/>
              <p:nvPr/>
            </p:nvSpPr>
            <p:spPr bwMode="auto">
              <a:xfrm>
                <a:off x="2925659" y="5845765"/>
                <a:ext cx="101600" cy="100013"/>
              </a:xfrm>
              <a:custGeom>
                <a:avLst/>
                <a:gdLst>
                  <a:gd name="T0" fmla="*/ 36 w 64"/>
                  <a:gd name="T1" fmla="*/ 63 h 63"/>
                  <a:gd name="T2" fmla="*/ 0 w 64"/>
                  <a:gd name="T3" fmla="*/ 26 h 63"/>
                  <a:gd name="T4" fmla="*/ 28 w 64"/>
                  <a:gd name="T5" fmla="*/ 0 h 63"/>
                  <a:gd name="T6" fmla="*/ 34 w 64"/>
                  <a:gd name="T7" fmla="*/ 6 h 63"/>
                  <a:gd name="T8" fmla="*/ 14 w 64"/>
                  <a:gd name="T9" fmla="*/ 26 h 63"/>
                  <a:gd name="T10" fmla="*/ 22 w 64"/>
                  <a:gd name="T11" fmla="*/ 34 h 63"/>
                  <a:gd name="T12" fmla="*/ 41 w 64"/>
                  <a:gd name="T13" fmla="*/ 16 h 63"/>
                  <a:gd name="T14" fmla="*/ 47 w 64"/>
                  <a:gd name="T15" fmla="*/ 22 h 63"/>
                  <a:gd name="T16" fmla="*/ 28 w 64"/>
                  <a:gd name="T17" fmla="*/ 39 h 63"/>
                  <a:gd name="T18" fmla="*/ 38 w 64"/>
                  <a:gd name="T19" fmla="*/ 50 h 63"/>
                  <a:gd name="T20" fmla="*/ 58 w 64"/>
                  <a:gd name="T21" fmla="*/ 30 h 63"/>
                  <a:gd name="T22" fmla="*/ 64 w 64"/>
                  <a:gd name="T23" fmla="*/ 36 h 63"/>
                  <a:gd name="T24" fmla="*/ 36 w 64"/>
                  <a:gd name="T25" fmla="*/ 63 h 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4" h="63">
                    <a:moveTo>
                      <a:pt x="36" y="63"/>
                    </a:moveTo>
                    <a:lnTo>
                      <a:pt x="0" y="26"/>
                    </a:lnTo>
                    <a:lnTo>
                      <a:pt x="28" y="0"/>
                    </a:lnTo>
                    <a:lnTo>
                      <a:pt x="34" y="6"/>
                    </a:lnTo>
                    <a:lnTo>
                      <a:pt x="14" y="26"/>
                    </a:lnTo>
                    <a:lnTo>
                      <a:pt x="22" y="34"/>
                    </a:lnTo>
                    <a:lnTo>
                      <a:pt x="41" y="16"/>
                    </a:lnTo>
                    <a:lnTo>
                      <a:pt x="47" y="22"/>
                    </a:lnTo>
                    <a:lnTo>
                      <a:pt x="28" y="39"/>
                    </a:lnTo>
                    <a:lnTo>
                      <a:pt x="38" y="50"/>
                    </a:lnTo>
                    <a:lnTo>
                      <a:pt x="58" y="30"/>
                    </a:lnTo>
                    <a:lnTo>
                      <a:pt x="64" y="36"/>
                    </a:lnTo>
                    <a:lnTo>
                      <a:pt x="36" y="6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338" name="íṩḻîde"/>
              <p:cNvSpPr/>
              <p:nvPr/>
            </p:nvSpPr>
            <p:spPr bwMode="auto">
              <a:xfrm>
                <a:off x="2985984" y="5801315"/>
                <a:ext cx="82550" cy="80963"/>
              </a:xfrm>
              <a:custGeom>
                <a:avLst/>
                <a:gdLst>
                  <a:gd name="T0" fmla="*/ 34 w 45"/>
                  <a:gd name="T1" fmla="*/ 19 h 44"/>
                  <a:gd name="T2" fmla="*/ 41 w 45"/>
                  <a:gd name="T3" fmla="*/ 14 h 44"/>
                  <a:gd name="T4" fmla="*/ 45 w 45"/>
                  <a:gd name="T5" fmla="*/ 26 h 44"/>
                  <a:gd name="T6" fmla="*/ 40 w 45"/>
                  <a:gd name="T7" fmla="*/ 37 h 44"/>
                  <a:gd name="T8" fmla="*/ 26 w 45"/>
                  <a:gd name="T9" fmla="*/ 44 h 44"/>
                  <a:gd name="T10" fmla="*/ 10 w 45"/>
                  <a:gd name="T11" fmla="*/ 38 h 44"/>
                  <a:gd name="T12" fmla="*/ 1 w 45"/>
                  <a:gd name="T13" fmla="*/ 22 h 44"/>
                  <a:gd name="T14" fmla="*/ 6 w 45"/>
                  <a:gd name="T15" fmla="*/ 7 h 44"/>
                  <a:gd name="T16" fmla="*/ 18 w 45"/>
                  <a:gd name="T17" fmla="*/ 0 h 44"/>
                  <a:gd name="T18" fmla="*/ 27 w 45"/>
                  <a:gd name="T19" fmla="*/ 2 h 44"/>
                  <a:gd name="T20" fmla="*/ 23 w 45"/>
                  <a:gd name="T21" fmla="*/ 10 h 44"/>
                  <a:gd name="T22" fmla="*/ 17 w 45"/>
                  <a:gd name="T23" fmla="*/ 9 h 44"/>
                  <a:gd name="T24" fmla="*/ 11 w 45"/>
                  <a:gd name="T25" fmla="*/ 12 h 44"/>
                  <a:gd name="T26" fmla="*/ 9 w 45"/>
                  <a:gd name="T27" fmla="*/ 21 h 44"/>
                  <a:gd name="T28" fmla="*/ 15 w 45"/>
                  <a:gd name="T29" fmla="*/ 30 h 44"/>
                  <a:gd name="T30" fmla="*/ 26 w 45"/>
                  <a:gd name="T31" fmla="*/ 36 h 44"/>
                  <a:gd name="T32" fmla="*/ 34 w 45"/>
                  <a:gd name="T33" fmla="*/ 32 h 44"/>
                  <a:gd name="T34" fmla="*/ 36 w 45"/>
                  <a:gd name="T35" fmla="*/ 26 h 44"/>
                  <a:gd name="T36" fmla="*/ 34 w 45"/>
                  <a:gd name="T37" fmla="*/ 19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45" h="44">
                    <a:moveTo>
                      <a:pt x="34" y="19"/>
                    </a:moveTo>
                    <a:cubicBezTo>
                      <a:pt x="41" y="14"/>
                      <a:pt x="41" y="14"/>
                      <a:pt x="41" y="14"/>
                    </a:cubicBezTo>
                    <a:cubicBezTo>
                      <a:pt x="44" y="18"/>
                      <a:pt x="45" y="22"/>
                      <a:pt x="45" y="26"/>
                    </a:cubicBezTo>
                    <a:cubicBezTo>
                      <a:pt x="45" y="30"/>
                      <a:pt x="43" y="34"/>
                      <a:pt x="40" y="37"/>
                    </a:cubicBezTo>
                    <a:cubicBezTo>
                      <a:pt x="36" y="42"/>
                      <a:pt x="31" y="44"/>
                      <a:pt x="26" y="44"/>
                    </a:cubicBezTo>
                    <a:cubicBezTo>
                      <a:pt x="21" y="44"/>
                      <a:pt x="15" y="42"/>
                      <a:pt x="10" y="38"/>
                    </a:cubicBezTo>
                    <a:cubicBezTo>
                      <a:pt x="4" y="33"/>
                      <a:pt x="1" y="28"/>
                      <a:pt x="1" y="22"/>
                    </a:cubicBezTo>
                    <a:cubicBezTo>
                      <a:pt x="0" y="17"/>
                      <a:pt x="2" y="12"/>
                      <a:pt x="6" y="7"/>
                    </a:cubicBezTo>
                    <a:cubicBezTo>
                      <a:pt x="10" y="3"/>
                      <a:pt x="14" y="1"/>
                      <a:pt x="18" y="0"/>
                    </a:cubicBezTo>
                    <a:cubicBezTo>
                      <a:pt x="21" y="0"/>
                      <a:pt x="24" y="1"/>
                      <a:pt x="27" y="2"/>
                    </a:cubicBezTo>
                    <a:cubicBezTo>
                      <a:pt x="23" y="10"/>
                      <a:pt x="23" y="10"/>
                      <a:pt x="23" y="10"/>
                    </a:cubicBezTo>
                    <a:cubicBezTo>
                      <a:pt x="21" y="9"/>
                      <a:pt x="19" y="9"/>
                      <a:pt x="17" y="9"/>
                    </a:cubicBezTo>
                    <a:cubicBezTo>
                      <a:pt x="15" y="9"/>
                      <a:pt x="13" y="11"/>
                      <a:pt x="11" y="12"/>
                    </a:cubicBezTo>
                    <a:cubicBezTo>
                      <a:pt x="9" y="15"/>
                      <a:pt x="8" y="18"/>
                      <a:pt x="9" y="21"/>
                    </a:cubicBezTo>
                    <a:cubicBezTo>
                      <a:pt x="9" y="24"/>
                      <a:pt x="12" y="27"/>
                      <a:pt x="15" y="30"/>
                    </a:cubicBezTo>
                    <a:cubicBezTo>
                      <a:pt x="20" y="34"/>
                      <a:pt x="23" y="36"/>
                      <a:pt x="26" y="36"/>
                    </a:cubicBezTo>
                    <a:cubicBezTo>
                      <a:pt x="29" y="36"/>
                      <a:pt x="32" y="35"/>
                      <a:pt x="34" y="32"/>
                    </a:cubicBezTo>
                    <a:cubicBezTo>
                      <a:pt x="36" y="31"/>
                      <a:pt x="36" y="29"/>
                      <a:pt x="36" y="26"/>
                    </a:cubicBezTo>
                    <a:cubicBezTo>
                      <a:pt x="36" y="24"/>
                      <a:pt x="35" y="22"/>
                      <a:pt x="34" y="1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339" name="îŝḷïḓê"/>
              <p:cNvSpPr/>
              <p:nvPr/>
            </p:nvSpPr>
            <p:spPr bwMode="auto">
              <a:xfrm>
                <a:off x="3022497" y="5733053"/>
                <a:ext cx="103188" cy="101600"/>
              </a:xfrm>
              <a:custGeom>
                <a:avLst/>
                <a:gdLst>
                  <a:gd name="T0" fmla="*/ 42 w 65"/>
                  <a:gd name="T1" fmla="*/ 64 h 64"/>
                  <a:gd name="T2" fmla="*/ 0 w 65"/>
                  <a:gd name="T3" fmla="*/ 34 h 64"/>
                  <a:gd name="T4" fmla="*/ 6 w 65"/>
                  <a:gd name="T5" fmla="*/ 26 h 64"/>
                  <a:gd name="T6" fmla="*/ 22 w 65"/>
                  <a:gd name="T7" fmla="*/ 37 h 64"/>
                  <a:gd name="T8" fmla="*/ 33 w 65"/>
                  <a:gd name="T9" fmla="*/ 21 h 64"/>
                  <a:gd name="T10" fmla="*/ 17 w 65"/>
                  <a:gd name="T11" fmla="*/ 9 h 64"/>
                  <a:gd name="T12" fmla="*/ 23 w 65"/>
                  <a:gd name="T13" fmla="*/ 0 h 64"/>
                  <a:gd name="T14" fmla="*/ 65 w 65"/>
                  <a:gd name="T15" fmla="*/ 30 h 64"/>
                  <a:gd name="T16" fmla="*/ 59 w 65"/>
                  <a:gd name="T17" fmla="*/ 38 h 64"/>
                  <a:gd name="T18" fmla="*/ 40 w 65"/>
                  <a:gd name="T19" fmla="*/ 26 h 64"/>
                  <a:gd name="T20" fmla="*/ 29 w 65"/>
                  <a:gd name="T21" fmla="*/ 42 h 64"/>
                  <a:gd name="T22" fmla="*/ 47 w 65"/>
                  <a:gd name="T23" fmla="*/ 55 h 64"/>
                  <a:gd name="T24" fmla="*/ 42 w 65"/>
                  <a:gd name="T25" fmla="*/ 64 h 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5" h="64">
                    <a:moveTo>
                      <a:pt x="42" y="64"/>
                    </a:moveTo>
                    <a:lnTo>
                      <a:pt x="0" y="34"/>
                    </a:lnTo>
                    <a:lnTo>
                      <a:pt x="6" y="26"/>
                    </a:lnTo>
                    <a:lnTo>
                      <a:pt x="22" y="37"/>
                    </a:lnTo>
                    <a:lnTo>
                      <a:pt x="33" y="21"/>
                    </a:lnTo>
                    <a:lnTo>
                      <a:pt x="17" y="9"/>
                    </a:lnTo>
                    <a:lnTo>
                      <a:pt x="23" y="0"/>
                    </a:lnTo>
                    <a:lnTo>
                      <a:pt x="65" y="30"/>
                    </a:lnTo>
                    <a:lnTo>
                      <a:pt x="59" y="38"/>
                    </a:lnTo>
                    <a:lnTo>
                      <a:pt x="40" y="26"/>
                    </a:lnTo>
                    <a:lnTo>
                      <a:pt x="29" y="42"/>
                    </a:lnTo>
                    <a:lnTo>
                      <a:pt x="47" y="55"/>
                    </a:lnTo>
                    <a:lnTo>
                      <a:pt x="42" y="6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340" name="îşḷîḑe"/>
              <p:cNvSpPr/>
              <p:nvPr/>
            </p:nvSpPr>
            <p:spPr bwMode="auto">
              <a:xfrm>
                <a:off x="3062184" y="5672728"/>
                <a:ext cx="103188" cy="95250"/>
              </a:xfrm>
              <a:custGeom>
                <a:avLst/>
                <a:gdLst>
                  <a:gd name="T0" fmla="*/ 44 w 65"/>
                  <a:gd name="T1" fmla="*/ 60 h 60"/>
                  <a:gd name="T2" fmla="*/ 0 w 65"/>
                  <a:gd name="T3" fmla="*/ 34 h 60"/>
                  <a:gd name="T4" fmla="*/ 5 w 65"/>
                  <a:gd name="T5" fmla="*/ 26 h 60"/>
                  <a:gd name="T6" fmla="*/ 46 w 65"/>
                  <a:gd name="T7" fmla="*/ 24 h 60"/>
                  <a:gd name="T8" fmla="*/ 15 w 65"/>
                  <a:gd name="T9" fmla="*/ 8 h 60"/>
                  <a:gd name="T10" fmla="*/ 20 w 65"/>
                  <a:gd name="T11" fmla="*/ 0 h 60"/>
                  <a:gd name="T12" fmla="*/ 65 w 65"/>
                  <a:gd name="T13" fmla="*/ 24 h 60"/>
                  <a:gd name="T14" fmla="*/ 59 w 65"/>
                  <a:gd name="T15" fmla="*/ 33 h 60"/>
                  <a:gd name="T16" fmla="*/ 20 w 65"/>
                  <a:gd name="T17" fmla="*/ 34 h 60"/>
                  <a:gd name="T18" fmla="*/ 49 w 65"/>
                  <a:gd name="T19" fmla="*/ 52 h 60"/>
                  <a:gd name="T20" fmla="*/ 44 w 65"/>
                  <a:gd name="T21" fmla="*/ 60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65" h="60">
                    <a:moveTo>
                      <a:pt x="44" y="60"/>
                    </a:moveTo>
                    <a:lnTo>
                      <a:pt x="0" y="34"/>
                    </a:lnTo>
                    <a:lnTo>
                      <a:pt x="5" y="26"/>
                    </a:lnTo>
                    <a:lnTo>
                      <a:pt x="46" y="24"/>
                    </a:lnTo>
                    <a:lnTo>
                      <a:pt x="15" y="8"/>
                    </a:lnTo>
                    <a:lnTo>
                      <a:pt x="20" y="0"/>
                    </a:lnTo>
                    <a:lnTo>
                      <a:pt x="65" y="24"/>
                    </a:lnTo>
                    <a:lnTo>
                      <a:pt x="59" y="33"/>
                    </a:lnTo>
                    <a:lnTo>
                      <a:pt x="20" y="34"/>
                    </a:lnTo>
                    <a:lnTo>
                      <a:pt x="49" y="52"/>
                    </a:lnTo>
                    <a:lnTo>
                      <a:pt x="44" y="6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341" name="îşḷïḋê"/>
              <p:cNvSpPr/>
              <p:nvPr/>
            </p:nvSpPr>
            <p:spPr bwMode="auto">
              <a:xfrm>
                <a:off x="3106634" y="5606053"/>
                <a:ext cx="87313" cy="84138"/>
              </a:xfrm>
              <a:custGeom>
                <a:avLst/>
                <a:gdLst>
                  <a:gd name="T0" fmla="*/ 15 w 47"/>
                  <a:gd name="T1" fmla="*/ 43 h 46"/>
                  <a:gd name="T2" fmla="*/ 5 w 47"/>
                  <a:gd name="T3" fmla="*/ 36 h 46"/>
                  <a:gd name="T4" fmla="*/ 2 w 47"/>
                  <a:gd name="T5" fmla="*/ 30 h 46"/>
                  <a:gd name="T6" fmla="*/ 0 w 47"/>
                  <a:gd name="T7" fmla="*/ 23 h 46"/>
                  <a:gd name="T8" fmla="*/ 2 w 47"/>
                  <a:gd name="T9" fmla="*/ 14 h 46"/>
                  <a:gd name="T10" fmla="*/ 14 w 47"/>
                  <a:gd name="T11" fmla="*/ 2 h 46"/>
                  <a:gd name="T12" fmla="*/ 32 w 47"/>
                  <a:gd name="T13" fmla="*/ 3 h 46"/>
                  <a:gd name="T14" fmla="*/ 45 w 47"/>
                  <a:gd name="T15" fmla="*/ 15 h 46"/>
                  <a:gd name="T16" fmla="*/ 44 w 47"/>
                  <a:gd name="T17" fmla="*/ 32 h 46"/>
                  <a:gd name="T18" fmla="*/ 32 w 47"/>
                  <a:gd name="T19" fmla="*/ 44 h 46"/>
                  <a:gd name="T20" fmla="*/ 15 w 47"/>
                  <a:gd name="T21" fmla="*/ 43 h 46"/>
                  <a:gd name="T22" fmla="*/ 18 w 47"/>
                  <a:gd name="T23" fmla="*/ 34 h 46"/>
                  <a:gd name="T24" fmla="*/ 30 w 47"/>
                  <a:gd name="T25" fmla="*/ 35 h 46"/>
                  <a:gd name="T26" fmla="*/ 37 w 47"/>
                  <a:gd name="T27" fmla="*/ 29 h 46"/>
                  <a:gd name="T28" fmla="*/ 37 w 47"/>
                  <a:gd name="T29" fmla="*/ 19 h 46"/>
                  <a:gd name="T30" fmla="*/ 28 w 47"/>
                  <a:gd name="T31" fmla="*/ 12 h 46"/>
                  <a:gd name="T32" fmla="*/ 16 w 47"/>
                  <a:gd name="T33" fmla="*/ 10 h 46"/>
                  <a:gd name="T34" fmla="*/ 9 w 47"/>
                  <a:gd name="T35" fmla="*/ 17 h 46"/>
                  <a:gd name="T36" fmla="*/ 9 w 47"/>
                  <a:gd name="T37" fmla="*/ 27 h 46"/>
                  <a:gd name="T38" fmla="*/ 18 w 47"/>
                  <a:gd name="T39" fmla="*/ 34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47" h="46">
                    <a:moveTo>
                      <a:pt x="15" y="43"/>
                    </a:moveTo>
                    <a:cubicBezTo>
                      <a:pt x="11" y="41"/>
                      <a:pt x="8" y="39"/>
                      <a:pt x="5" y="36"/>
                    </a:cubicBezTo>
                    <a:cubicBezTo>
                      <a:pt x="4" y="34"/>
                      <a:pt x="2" y="32"/>
                      <a:pt x="2" y="30"/>
                    </a:cubicBezTo>
                    <a:cubicBezTo>
                      <a:pt x="1" y="28"/>
                      <a:pt x="0" y="26"/>
                      <a:pt x="0" y="23"/>
                    </a:cubicBezTo>
                    <a:cubicBezTo>
                      <a:pt x="0" y="20"/>
                      <a:pt x="1" y="17"/>
                      <a:pt x="2" y="14"/>
                    </a:cubicBezTo>
                    <a:cubicBezTo>
                      <a:pt x="5" y="8"/>
                      <a:pt x="9" y="4"/>
                      <a:pt x="14" y="2"/>
                    </a:cubicBezTo>
                    <a:cubicBezTo>
                      <a:pt x="19" y="0"/>
                      <a:pt x="25" y="1"/>
                      <a:pt x="32" y="3"/>
                    </a:cubicBezTo>
                    <a:cubicBezTo>
                      <a:pt x="38" y="6"/>
                      <a:pt x="43" y="10"/>
                      <a:pt x="45" y="15"/>
                    </a:cubicBezTo>
                    <a:cubicBezTo>
                      <a:pt x="47" y="21"/>
                      <a:pt x="47" y="26"/>
                      <a:pt x="44" y="32"/>
                    </a:cubicBezTo>
                    <a:cubicBezTo>
                      <a:pt x="41" y="38"/>
                      <a:pt x="38" y="42"/>
                      <a:pt x="32" y="44"/>
                    </a:cubicBezTo>
                    <a:cubicBezTo>
                      <a:pt x="27" y="46"/>
                      <a:pt x="21" y="45"/>
                      <a:pt x="15" y="43"/>
                    </a:cubicBezTo>
                    <a:close/>
                    <a:moveTo>
                      <a:pt x="18" y="34"/>
                    </a:moveTo>
                    <a:cubicBezTo>
                      <a:pt x="23" y="36"/>
                      <a:pt x="27" y="37"/>
                      <a:pt x="30" y="35"/>
                    </a:cubicBezTo>
                    <a:cubicBezTo>
                      <a:pt x="33" y="34"/>
                      <a:pt x="36" y="32"/>
                      <a:pt x="37" y="29"/>
                    </a:cubicBezTo>
                    <a:cubicBezTo>
                      <a:pt x="39" y="26"/>
                      <a:pt x="39" y="23"/>
                      <a:pt x="37" y="19"/>
                    </a:cubicBezTo>
                    <a:cubicBezTo>
                      <a:pt x="36" y="16"/>
                      <a:pt x="33" y="14"/>
                      <a:pt x="28" y="12"/>
                    </a:cubicBezTo>
                    <a:cubicBezTo>
                      <a:pt x="23" y="10"/>
                      <a:pt x="19" y="9"/>
                      <a:pt x="16" y="10"/>
                    </a:cubicBezTo>
                    <a:cubicBezTo>
                      <a:pt x="13" y="11"/>
                      <a:pt x="11" y="14"/>
                      <a:pt x="9" y="17"/>
                    </a:cubicBezTo>
                    <a:cubicBezTo>
                      <a:pt x="8" y="20"/>
                      <a:pt x="8" y="23"/>
                      <a:pt x="9" y="27"/>
                    </a:cubicBezTo>
                    <a:cubicBezTo>
                      <a:pt x="11" y="30"/>
                      <a:pt x="14" y="32"/>
                      <a:pt x="18" y="3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342" name="îṣlïḍè"/>
              <p:cNvSpPr/>
              <p:nvPr/>
            </p:nvSpPr>
            <p:spPr bwMode="auto">
              <a:xfrm>
                <a:off x="3128859" y="5560015"/>
                <a:ext cx="93663" cy="57150"/>
              </a:xfrm>
              <a:custGeom>
                <a:avLst/>
                <a:gdLst>
                  <a:gd name="T0" fmla="*/ 49 w 59"/>
                  <a:gd name="T1" fmla="*/ 36 h 36"/>
                  <a:gd name="T2" fmla="*/ 0 w 59"/>
                  <a:gd name="T3" fmla="*/ 21 h 36"/>
                  <a:gd name="T4" fmla="*/ 4 w 59"/>
                  <a:gd name="T5" fmla="*/ 10 h 36"/>
                  <a:gd name="T6" fmla="*/ 43 w 59"/>
                  <a:gd name="T7" fmla="*/ 24 h 36"/>
                  <a:gd name="T8" fmla="*/ 51 w 59"/>
                  <a:gd name="T9" fmla="*/ 0 h 36"/>
                  <a:gd name="T10" fmla="*/ 59 w 59"/>
                  <a:gd name="T11" fmla="*/ 2 h 36"/>
                  <a:gd name="T12" fmla="*/ 49 w 59"/>
                  <a:gd name="T13" fmla="*/ 36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59" h="36">
                    <a:moveTo>
                      <a:pt x="49" y="36"/>
                    </a:moveTo>
                    <a:lnTo>
                      <a:pt x="0" y="21"/>
                    </a:lnTo>
                    <a:lnTo>
                      <a:pt x="4" y="10"/>
                    </a:lnTo>
                    <a:lnTo>
                      <a:pt x="43" y="24"/>
                    </a:lnTo>
                    <a:lnTo>
                      <a:pt x="51" y="0"/>
                    </a:lnTo>
                    <a:lnTo>
                      <a:pt x="59" y="2"/>
                    </a:lnTo>
                    <a:lnTo>
                      <a:pt x="49" y="36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343" name="ïṩḷîḓê"/>
              <p:cNvSpPr/>
              <p:nvPr/>
            </p:nvSpPr>
            <p:spPr bwMode="auto">
              <a:xfrm>
                <a:off x="3152672" y="5469528"/>
                <a:ext cx="85725" cy="80963"/>
              </a:xfrm>
              <a:custGeom>
                <a:avLst/>
                <a:gdLst>
                  <a:gd name="T0" fmla="*/ 18 w 46"/>
                  <a:gd name="T1" fmla="*/ 43 h 44"/>
                  <a:gd name="T2" fmla="*/ 8 w 46"/>
                  <a:gd name="T3" fmla="*/ 38 h 44"/>
                  <a:gd name="T4" fmla="*/ 3 w 46"/>
                  <a:gd name="T5" fmla="*/ 33 h 44"/>
                  <a:gd name="T6" fmla="*/ 0 w 46"/>
                  <a:gd name="T7" fmla="*/ 27 h 44"/>
                  <a:gd name="T8" fmla="*/ 1 w 46"/>
                  <a:gd name="T9" fmla="*/ 17 h 44"/>
                  <a:gd name="T10" fmla="*/ 10 w 46"/>
                  <a:gd name="T11" fmla="*/ 3 h 44"/>
                  <a:gd name="T12" fmla="*/ 28 w 46"/>
                  <a:gd name="T13" fmla="*/ 1 h 44"/>
                  <a:gd name="T14" fmla="*/ 43 w 46"/>
                  <a:gd name="T15" fmla="*/ 11 h 44"/>
                  <a:gd name="T16" fmla="*/ 45 w 46"/>
                  <a:gd name="T17" fmla="*/ 27 h 44"/>
                  <a:gd name="T18" fmla="*/ 36 w 46"/>
                  <a:gd name="T19" fmla="*/ 41 h 44"/>
                  <a:gd name="T20" fmla="*/ 18 w 46"/>
                  <a:gd name="T21" fmla="*/ 43 h 44"/>
                  <a:gd name="T22" fmla="*/ 20 w 46"/>
                  <a:gd name="T23" fmla="*/ 34 h 44"/>
                  <a:gd name="T24" fmla="*/ 32 w 46"/>
                  <a:gd name="T25" fmla="*/ 33 h 44"/>
                  <a:gd name="T26" fmla="*/ 38 w 46"/>
                  <a:gd name="T27" fmla="*/ 25 h 44"/>
                  <a:gd name="T28" fmla="*/ 36 w 46"/>
                  <a:gd name="T29" fmla="*/ 16 h 44"/>
                  <a:gd name="T30" fmla="*/ 25 w 46"/>
                  <a:gd name="T31" fmla="*/ 10 h 44"/>
                  <a:gd name="T32" fmla="*/ 14 w 46"/>
                  <a:gd name="T33" fmla="*/ 11 h 44"/>
                  <a:gd name="T34" fmla="*/ 8 w 46"/>
                  <a:gd name="T35" fmla="*/ 19 h 44"/>
                  <a:gd name="T36" fmla="*/ 10 w 46"/>
                  <a:gd name="T37" fmla="*/ 28 h 44"/>
                  <a:gd name="T38" fmla="*/ 20 w 46"/>
                  <a:gd name="T39" fmla="*/ 34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46" h="44">
                    <a:moveTo>
                      <a:pt x="18" y="43"/>
                    </a:moveTo>
                    <a:cubicBezTo>
                      <a:pt x="14" y="42"/>
                      <a:pt x="10" y="40"/>
                      <a:pt x="8" y="38"/>
                    </a:cubicBezTo>
                    <a:cubicBezTo>
                      <a:pt x="6" y="37"/>
                      <a:pt x="4" y="35"/>
                      <a:pt x="3" y="33"/>
                    </a:cubicBezTo>
                    <a:cubicBezTo>
                      <a:pt x="1" y="31"/>
                      <a:pt x="1" y="29"/>
                      <a:pt x="0" y="27"/>
                    </a:cubicBezTo>
                    <a:cubicBezTo>
                      <a:pt x="0" y="24"/>
                      <a:pt x="0" y="21"/>
                      <a:pt x="1" y="17"/>
                    </a:cubicBezTo>
                    <a:cubicBezTo>
                      <a:pt x="2" y="11"/>
                      <a:pt x="5" y="6"/>
                      <a:pt x="10" y="3"/>
                    </a:cubicBezTo>
                    <a:cubicBezTo>
                      <a:pt x="15" y="0"/>
                      <a:pt x="21" y="0"/>
                      <a:pt x="28" y="1"/>
                    </a:cubicBezTo>
                    <a:cubicBezTo>
                      <a:pt x="34" y="3"/>
                      <a:pt x="39" y="6"/>
                      <a:pt x="43" y="11"/>
                    </a:cubicBezTo>
                    <a:cubicBezTo>
                      <a:pt x="46" y="15"/>
                      <a:pt x="46" y="21"/>
                      <a:pt x="45" y="27"/>
                    </a:cubicBezTo>
                    <a:cubicBezTo>
                      <a:pt x="44" y="33"/>
                      <a:pt x="40" y="38"/>
                      <a:pt x="36" y="41"/>
                    </a:cubicBezTo>
                    <a:cubicBezTo>
                      <a:pt x="31" y="44"/>
                      <a:pt x="25" y="44"/>
                      <a:pt x="18" y="43"/>
                    </a:cubicBezTo>
                    <a:close/>
                    <a:moveTo>
                      <a:pt x="20" y="34"/>
                    </a:moveTo>
                    <a:cubicBezTo>
                      <a:pt x="25" y="35"/>
                      <a:pt x="29" y="35"/>
                      <a:pt x="32" y="33"/>
                    </a:cubicBezTo>
                    <a:cubicBezTo>
                      <a:pt x="35" y="31"/>
                      <a:pt x="37" y="29"/>
                      <a:pt x="38" y="25"/>
                    </a:cubicBezTo>
                    <a:cubicBezTo>
                      <a:pt x="38" y="22"/>
                      <a:pt x="38" y="19"/>
                      <a:pt x="36" y="16"/>
                    </a:cubicBezTo>
                    <a:cubicBezTo>
                      <a:pt x="34" y="13"/>
                      <a:pt x="30" y="11"/>
                      <a:pt x="25" y="10"/>
                    </a:cubicBezTo>
                    <a:cubicBezTo>
                      <a:pt x="20" y="9"/>
                      <a:pt x="16" y="9"/>
                      <a:pt x="14" y="11"/>
                    </a:cubicBezTo>
                    <a:cubicBezTo>
                      <a:pt x="11" y="13"/>
                      <a:pt x="9" y="15"/>
                      <a:pt x="8" y="19"/>
                    </a:cubicBezTo>
                    <a:cubicBezTo>
                      <a:pt x="7" y="22"/>
                      <a:pt x="8" y="25"/>
                      <a:pt x="10" y="28"/>
                    </a:cubicBezTo>
                    <a:cubicBezTo>
                      <a:pt x="12" y="31"/>
                      <a:pt x="15" y="33"/>
                      <a:pt x="20" y="3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344" name="ïSļiďé"/>
              <p:cNvSpPr/>
              <p:nvPr/>
            </p:nvSpPr>
            <p:spPr bwMode="auto">
              <a:xfrm>
                <a:off x="3165372" y="5390153"/>
                <a:ext cx="85725" cy="77788"/>
              </a:xfrm>
              <a:custGeom>
                <a:avLst/>
                <a:gdLst>
                  <a:gd name="T0" fmla="*/ 29 w 46"/>
                  <a:gd name="T1" fmla="*/ 21 h 42"/>
                  <a:gd name="T2" fmla="*/ 22 w 46"/>
                  <a:gd name="T3" fmla="*/ 20 h 42"/>
                  <a:gd name="T4" fmla="*/ 24 w 46"/>
                  <a:gd name="T5" fmla="*/ 1 h 42"/>
                  <a:gd name="T6" fmla="*/ 41 w 46"/>
                  <a:gd name="T7" fmla="*/ 3 h 42"/>
                  <a:gd name="T8" fmla="*/ 45 w 46"/>
                  <a:gd name="T9" fmla="*/ 11 h 42"/>
                  <a:gd name="T10" fmla="*/ 46 w 46"/>
                  <a:gd name="T11" fmla="*/ 22 h 42"/>
                  <a:gd name="T12" fmla="*/ 42 w 46"/>
                  <a:gd name="T13" fmla="*/ 34 h 42"/>
                  <a:gd name="T14" fmla="*/ 33 w 46"/>
                  <a:gd name="T15" fmla="*/ 41 h 42"/>
                  <a:gd name="T16" fmla="*/ 21 w 46"/>
                  <a:gd name="T17" fmla="*/ 42 h 42"/>
                  <a:gd name="T18" fmla="*/ 9 w 46"/>
                  <a:gd name="T19" fmla="*/ 38 h 42"/>
                  <a:gd name="T20" fmla="*/ 2 w 46"/>
                  <a:gd name="T21" fmla="*/ 28 h 42"/>
                  <a:gd name="T22" fmla="*/ 1 w 46"/>
                  <a:gd name="T23" fmla="*/ 18 h 42"/>
                  <a:gd name="T24" fmla="*/ 6 w 46"/>
                  <a:gd name="T25" fmla="*/ 5 h 42"/>
                  <a:gd name="T26" fmla="*/ 16 w 46"/>
                  <a:gd name="T27" fmla="*/ 0 h 42"/>
                  <a:gd name="T28" fmla="*/ 16 w 46"/>
                  <a:gd name="T29" fmla="*/ 9 h 42"/>
                  <a:gd name="T30" fmla="*/ 11 w 46"/>
                  <a:gd name="T31" fmla="*/ 12 h 42"/>
                  <a:gd name="T32" fmla="*/ 8 w 46"/>
                  <a:gd name="T33" fmla="*/ 18 h 42"/>
                  <a:gd name="T34" fmla="*/ 11 w 46"/>
                  <a:gd name="T35" fmla="*/ 28 h 42"/>
                  <a:gd name="T36" fmla="*/ 21 w 46"/>
                  <a:gd name="T37" fmla="*/ 33 h 42"/>
                  <a:gd name="T38" fmla="*/ 34 w 46"/>
                  <a:gd name="T39" fmla="*/ 31 h 42"/>
                  <a:gd name="T40" fmla="*/ 38 w 46"/>
                  <a:gd name="T41" fmla="*/ 22 h 42"/>
                  <a:gd name="T42" fmla="*/ 38 w 46"/>
                  <a:gd name="T43" fmla="*/ 16 h 42"/>
                  <a:gd name="T44" fmla="*/ 36 w 46"/>
                  <a:gd name="T45" fmla="*/ 11 h 42"/>
                  <a:gd name="T46" fmla="*/ 30 w 46"/>
                  <a:gd name="T47" fmla="*/ 11 h 42"/>
                  <a:gd name="T48" fmla="*/ 29 w 46"/>
                  <a:gd name="T49" fmla="*/ 21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46" h="42">
                    <a:moveTo>
                      <a:pt x="29" y="21"/>
                    </a:moveTo>
                    <a:cubicBezTo>
                      <a:pt x="22" y="20"/>
                      <a:pt x="22" y="20"/>
                      <a:pt x="22" y="20"/>
                    </a:cubicBezTo>
                    <a:cubicBezTo>
                      <a:pt x="24" y="1"/>
                      <a:pt x="24" y="1"/>
                      <a:pt x="24" y="1"/>
                    </a:cubicBezTo>
                    <a:cubicBezTo>
                      <a:pt x="41" y="3"/>
                      <a:pt x="41" y="3"/>
                      <a:pt x="41" y="3"/>
                    </a:cubicBezTo>
                    <a:cubicBezTo>
                      <a:pt x="43" y="5"/>
                      <a:pt x="44" y="8"/>
                      <a:pt x="45" y="11"/>
                    </a:cubicBezTo>
                    <a:cubicBezTo>
                      <a:pt x="46" y="15"/>
                      <a:pt x="46" y="19"/>
                      <a:pt x="46" y="22"/>
                    </a:cubicBezTo>
                    <a:cubicBezTo>
                      <a:pt x="46" y="27"/>
                      <a:pt x="44" y="31"/>
                      <a:pt x="42" y="34"/>
                    </a:cubicBezTo>
                    <a:cubicBezTo>
                      <a:pt x="39" y="37"/>
                      <a:pt x="36" y="39"/>
                      <a:pt x="33" y="41"/>
                    </a:cubicBezTo>
                    <a:cubicBezTo>
                      <a:pt x="29" y="42"/>
                      <a:pt x="25" y="42"/>
                      <a:pt x="21" y="42"/>
                    </a:cubicBezTo>
                    <a:cubicBezTo>
                      <a:pt x="16" y="41"/>
                      <a:pt x="12" y="40"/>
                      <a:pt x="9" y="38"/>
                    </a:cubicBezTo>
                    <a:cubicBezTo>
                      <a:pt x="6" y="35"/>
                      <a:pt x="3" y="32"/>
                      <a:pt x="2" y="28"/>
                    </a:cubicBezTo>
                    <a:cubicBezTo>
                      <a:pt x="1" y="25"/>
                      <a:pt x="0" y="22"/>
                      <a:pt x="1" y="18"/>
                    </a:cubicBezTo>
                    <a:cubicBezTo>
                      <a:pt x="1" y="12"/>
                      <a:pt x="3" y="8"/>
                      <a:pt x="6" y="5"/>
                    </a:cubicBezTo>
                    <a:cubicBezTo>
                      <a:pt x="8" y="2"/>
                      <a:pt x="12" y="1"/>
                      <a:pt x="16" y="0"/>
                    </a:cubicBezTo>
                    <a:cubicBezTo>
                      <a:pt x="16" y="9"/>
                      <a:pt x="16" y="9"/>
                      <a:pt x="16" y="9"/>
                    </a:cubicBezTo>
                    <a:cubicBezTo>
                      <a:pt x="14" y="10"/>
                      <a:pt x="12" y="11"/>
                      <a:pt x="11" y="12"/>
                    </a:cubicBezTo>
                    <a:cubicBezTo>
                      <a:pt x="10" y="14"/>
                      <a:pt x="9" y="16"/>
                      <a:pt x="8" y="18"/>
                    </a:cubicBezTo>
                    <a:cubicBezTo>
                      <a:pt x="8" y="22"/>
                      <a:pt x="9" y="25"/>
                      <a:pt x="11" y="28"/>
                    </a:cubicBezTo>
                    <a:cubicBezTo>
                      <a:pt x="13" y="31"/>
                      <a:pt x="17" y="32"/>
                      <a:pt x="21" y="33"/>
                    </a:cubicBezTo>
                    <a:cubicBezTo>
                      <a:pt x="27" y="33"/>
                      <a:pt x="31" y="33"/>
                      <a:pt x="34" y="31"/>
                    </a:cubicBezTo>
                    <a:cubicBezTo>
                      <a:pt x="36" y="29"/>
                      <a:pt x="38" y="26"/>
                      <a:pt x="38" y="22"/>
                    </a:cubicBezTo>
                    <a:cubicBezTo>
                      <a:pt x="39" y="20"/>
                      <a:pt x="39" y="18"/>
                      <a:pt x="38" y="16"/>
                    </a:cubicBezTo>
                    <a:cubicBezTo>
                      <a:pt x="37" y="14"/>
                      <a:pt x="37" y="13"/>
                      <a:pt x="36" y="11"/>
                    </a:cubicBezTo>
                    <a:cubicBezTo>
                      <a:pt x="30" y="11"/>
                      <a:pt x="30" y="11"/>
                      <a:pt x="30" y="11"/>
                    </a:cubicBezTo>
                    <a:lnTo>
                      <a:pt x="29" y="2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345" name="îSḷiḋè"/>
              <p:cNvSpPr/>
              <p:nvPr/>
            </p:nvSpPr>
            <p:spPr bwMode="auto">
              <a:xfrm>
                <a:off x="3173309" y="5313953"/>
                <a:ext cx="80963" cy="76200"/>
              </a:xfrm>
              <a:custGeom>
                <a:avLst/>
                <a:gdLst>
                  <a:gd name="T0" fmla="*/ 51 w 51"/>
                  <a:gd name="T1" fmla="*/ 30 h 48"/>
                  <a:gd name="T2" fmla="*/ 29 w 51"/>
                  <a:gd name="T3" fmla="*/ 29 h 48"/>
                  <a:gd name="T4" fmla="*/ 0 w 51"/>
                  <a:gd name="T5" fmla="*/ 48 h 48"/>
                  <a:gd name="T6" fmla="*/ 0 w 51"/>
                  <a:gd name="T7" fmla="*/ 36 h 48"/>
                  <a:gd name="T8" fmla="*/ 20 w 51"/>
                  <a:gd name="T9" fmla="*/ 24 h 48"/>
                  <a:gd name="T10" fmla="*/ 0 w 51"/>
                  <a:gd name="T11" fmla="*/ 12 h 48"/>
                  <a:gd name="T12" fmla="*/ 0 w 51"/>
                  <a:gd name="T13" fmla="*/ 0 h 48"/>
                  <a:gd name="T14" fmla="*/ 30 w 51"/>
                  <a:gd name="T15" fmla="*/ 20 h 48"/>
                  <a:gd name="T16" fmla="*/ 51 w 51"/>
                  <a:gd name="T17" fmla="*/ 20 h 48"/>
                  <a:gd name="T18" fmla="*/ 51 w 51"/>
                  <a:gd name="T19" fmla="*/ 30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51" h="48">
                    <a:moveTo>
                      <a:pt x="51" y="30"/>
                    </a:moveTo>
                    <a:lnTo>
                      <a:pt x="29" y="29"/>
                    </a:lnTo>
                    <a:lnTo>
                      <a:pt x="0" y="48"/>
                    </a:lnTo>
                    <a:lnTo>
                      <a:pt x="0" y="36"/>
                    </a:lnTo>
                    <a:lnTo>
                      <a:pt x="20" y="24"/>
                    </a:lnTo>
                    <a:lnTo>
                      <a:pt x="0" y="12"/>
                    </a:lnTo>
                    <a:lnTo>
                      <a:pt x="0" y="0"/>
                    </a:lnTo>
                    <a:lnTo>
                      <a:pt x="30" y="20"/>
                    </a:lnTo>
                    <a:lnTo>
                      <a:pt x="51" y="20"/>
                    </a:lnTo>
                    <a:lnTo>
                      <a:pt x="51" y="3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346" name="îṣḷíḋé"/>
              <p:cNvSpPr/>
              <p:nvPr/>
            </p:nvSpPr>
            <p:spPr bwMode="auto">
              <a:xfrm>
                <a:off x="3163784" y="5193303"/>
                <a:ext cx="87313" cy="76200"/>
              </a:xfrm>
              <a:custGeom>
                <a:avLst/>
                <a:gdLst>
                  <a:gd name="T0" fmla="*/ 4 w 47"/>
                  <a:gd name="T1" fmla="*/ 41 h 41"/>
                  <a:gd name="T2" fmla="*/ 1 w 47"/>
                  <a:gd name="T3" fmla="*/ 24 h 41"/>
                  <a:gd name="T4" fmla="*/ 0 w 47"/>
                  <a:gd name="T5" fmla="*/ 16 h 41"/>
                  <a:gd name="T6" fmla="*/ 2 w 47"/>
                  <a:gd name="T7" fmla="*/ 11 h 41"/>
                  <a:gd name="T8" fmla="*/ 5 w 47"/>
                  <a:gd name="T9" fmla="*/ 7 h 41"/>
                  <a:gd name="T10" fmla="*/ 10 w 47"/>
                  <a:gd name="T11" fmla="*/ 5 h 41"/>
                  <a:gd name="T12" fmla="*/ 16 w 47"/>
                  <a:gd name="T13" fmla="*/ 6 h 41"/>
                  <a:gd name="T14" fmla="*/ 20 w 47"/>
                  <a:gd name="T15" fmla="*/ 10 h 41"/>
                  <a:gd name="T16" fmla="*/ 23 w 47"/>
                  <a:gd name="T17" fmla="*/ 3 h 41"/>
                  <a:gd name="T18" fmla="*/ 29 w 47"/>
                  <a:gd name="T19" fmla="*/ 0 h 41"/>
                  <a:gd name="T20" fmla="*/ 35 w 47"/>
                  <a:gd name="T21" fmla="*/ 1 h 41"/>
                  <a:gd name="T22" fmla="*/ 40 w 47"/>
                  <a:gd name="T23" fmla="*/ 4 h 41"/>
                  <a:gd name="T24" fmla="*/ 43 w 47"/>
                  <a:gd name="T25" fmla="*/ 10 h 41"/>
                  <a:gd name="T26" fmla="*/ 45 w 47"/>
                  <a:gd name="T27" fmla="*/ 20 h 41"/>
                  <a:gd name="T28" fmla="*/ 47 w 47"/>
                  <a:gd name="T29" fmla="*/ 35 h 41"/>
                  <a:gd name="T30" fmla="*/ 4 w 47"/>
                  <a:gd name="T31" fmla="*/ 41 h 41"/>
                  <a:gd name="T32" fmla="*/ 10 w 47"/>
                  <a:gd name="T33" fmla="*/ 31 h 41"/>
                  <a:gd name="T34" fmla="*/ 20 w 47"/>
                  <a:gd name="T35" fmla="*/ 30 h 41"/>
                  <a:gd name="T36" fmla="*/ 19 w 47"/>
                  <a:gd name="T37" fmla="*/ 24 h 41"/>
                  <a:gd name="T38" fmla="*/ 18 w 47"/>
                  <a:gd name="T39" fmla="*/ 18 h 41"/>
                  <a:gd name="T40" fmla="*/ 16 w 47"/>
                  <a:gd name="T41" fmla="*/ 15 h 41"/>
                  <a:gd name="T42" fmla="*/ 12 w 47"/>
                  <a:gd name="T43" fmla="*/ 14 h 41"/>
                  <a:gd name="T44" fmla="*/ 9 w 47"/>
                  <a:gd name="T45" fmla="*/ 15 h 41"/>
                  <a:gd name="T46" fmla="*/ 8 w 47"/>
                  <a:gd name="T47" fmla="*/ 19 h 41"/>
                  <a:gd name="T48" fmla="*/ 9 w 47"/>
                  <a:gd name="T49" fmla="*/ 26 h 41"/>
                  <a:gd name="T50" fmla="*/ 10 w 47"/>
                  <a:gd name="T51" fmla="*/ 31 h 41"/>
                  <a:gd name="T52" fmla="*/ 27 w 47"/>
                  <a:gd name="T53" fmla="*/ 29 h 41"/>
                  <a:gd name="T54" fmla="*/ 39 w 47"/>
                  <a:gd name="T55" fmla="*/ 27 h 41"/>
                  <a:gd name="T56" fmla="*/ 37 w 47"/>
                  <a:gd name="T57" fmla="*/ 19 h 41"/>
                  <a:gd name="T58" fmla="*/ 36 w 47"/>
                  <a:gd name="T59" fmla="*/ 13 h 41"/>
                  <a:gd name="T60" fmla="*/ 34 w 47"/>
                  <a:gd name="T61" fmla="*/ 10 h 41"/>
                  <a:gd name="T62" fmla="*/ 30 w 47"/>
                  <a:gd name="T63" fmla="*/ 10 h 41"/>
                  <a:gd name="T64" fmla="*/ 27 w 47"/>
                  <a:gd name="T65" fmla="*/ 11 h 41"/>
                  <a:gd name="T66" fmla="*/ 25 w 47"/>
                  <a:gd name="T67" fmla="*/ 14 h 41"/>
                  <a:gd name="T68" fmla="*/ 26 w 47"/>
                  <a:gd name="T69" fmla="*/ 22 h 41"/>
                  <a:gd name="T70" fmla="*/ 27 w 47"/>
                  <a:gd name="T71" fmla="*/ 29 h 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47" h="41">
                    <a:moveTo>
                      <a:pt x="4" y="41"/>
                    </a:moveTo>
                    <a:cubicBezTo>
                      <a:pt x="1" y="24"/>
                      <a:pt x="1" y="24"/>
                      <a:pt x="1" y="24"/>
                    </a:cubicBezTo>
                    <a:cubicBezTo>
                      <a:pt x="1" y="20"/>
                      <a:pt x="0" y="18"/>
                      <a:pt x="0" y="16"/>
                    </a:cubicBezTo>
                    <a:cubicBezTo>
                      <a:pt x="1" y="14"/>
                      <a:pt x="1" y="13"/>
                      <a:pt x="2" y="11"/>
                    </a:cubicBezTo>
                    <a:cubicBezTo>
                      <a:pt x="2" y="10"/>
                      <a:pt x="3" y="9"/>
                      <a:pt x="5" y="7"/>
                    </a:cubicBezTo>
                    <a:cubicBezTo>
                      <a:pt x="6" y="6"/>
                      <a:pt x="8" y="6"/>
                      <a:pt x="10" y="5"/>
                    </a:cubicBezTo>
                    <a:cubicBezTo>
                      <a:pt x="12" y="5"/>
                      <a:pt x="14" y="5"/>
                      <a:pt x="16" y="6"/>
                    </a:cubicBezTo>
                    <a:cubicBezTo>
                      <a:pt x="17" y="7"/>
                      <a:pt x="19" y="8"/>
                      <a:pt x="20" y="10"/>
                    </a:cubicBezTo>
                    <a:cubicBezTo>
                      <a:pt x="20" y="7"/>
                      <a:pt x="21" y="5"/>
                      <a:pt x="23" y="3"/>
                    </a:cubicBezTo>
                    <a:cubicBezTo>
                      <a:pt x="25" y="2"/>
                      <a:pt x="27" y="1"/>
                      <a:pt x="29" y="0"/>
                    </a:cubicBezTo>
                    <a:cubicBezTo>
                      <a:pt x="31" y="0"/>
                      <a:pt x="33" y="0"/>
                      <a:pt x="35" y="1"/>
                    </a:cubicBezTo>
                    <a:cubicBezTo>
                      <a:pt x="37" y="2"/>
                      <a:pt x="39" y="3"/>
                      <a:pt x="40" y="4"/>
                    </a:cubicBezTo>
                    <a:cubicBezTo>
                      <a:pt x="42" y="5"/>
                      <a:pt x="43" y="7"/>
                      <a:pt x="43" y="10"/>
                    </a:cubicBezTo>
                    <a:cubicBezTo>
                      <a:pt x="44" y="11"/>
                      <a:pt x="44" y="15"/>
                      <a:pt x="45" y="20"/>
                    </a:cubicBezTo>
                    <a:cubicBezTo>
                      <a:pt x="47" y="35"/>
                      <a:pt x="47" y="35"/>
                      <a:pt x="47" y="35"/>
                    </a:cubicBezTo>
                    <a:lnTo>
                      <a:pt x="4" y="41"/>
                    </a:lnTo>
                    <a:close/>
                    <a:moveTo>
                      <a:pt x="10" y="31"/>
                    </a:moveTo>
                    <a:cubicBezTo>
                      <a:pt x="20" y="30"/>
                      <a:pt x="20" y="30"/>
                      <a:pt x="20" y="30"/>
                    </a:cubicBezTo>
                    <a:cubicBezTo>
                      <a:pt x="19" y="24"/>
                      <a:pt x="19" y="24"/>
                      <a:pt x="19" y="24"/>
                    </a:cubicBezTo>
                    <a:cubicBezTo>
                      <a:pt x="18" y="21"/>
                      <a:pt x="18" y="19"/>
                      <a:pt x="18" y="18"/>
                    </a:cubicBezTo>
                    <a:cubicBezTo>
                      <a:pt x="17" y="16"/>
                      <a:pt x="17" y="15"/>
                      <a:pt x="16" y="15"/>
                    </a:cubicBezTo>
                    <a:cubicBezTo>
                      <a:pt x="15" y="14"/>
                      <a:pt x="14" y="14"/>
                      <a:pt x="12" y="14"/>
                    </a:cubicBezTo>
                    <a:cubicBezTo>
                      <a:pt x="11" y="14"/>
                      <a:pt x="10" y="14"/>
                      <a:pt x="9" y="15"/>
                    </a:cubicBezTo>
                    <a:cubicBezTo>
                      <a:pt x="8" y="16"/>
                      <a:pt x="8" y="17"/>
                      <a:pt x="8" y="19"/>
                    </a:cubicBezTo>
                    <a:cubicBezTo>
                      <a:pt x="8" y="20"/>
                      <a:pt x="8" y="22"/>
                      <a:pt x="9" y="26"/>
                    </a:cubicBezTo>
                    <a:lnTo>
                      <a:pt x="10" y="31"/>
                    </a:lnTo>
                    <a:close/>
                    <a:moveTo>
                      <a:pt x="27" y="29"/>
                    </a:moveTo>
                    <a:cubicBezTo>
                      <a:pt x="39" y="27"/>
                      <a:pt x="39" y="27"/>
                      <a:pt x="39" y="27"/>
                    </a:cubicBezTo>
                    <a:cubicBezTo>
                      <a:pt x="37" y="19"/>
                      <a:pt x="37" y="19"/>
                      <a:pt x="37" y="19"/>
                    </a:cubicBezTo>
                    <a:cubicBezTo>
                      <a:pt x="37" y="16"/>
                      <a:pt x="37" y="14"/>
                      <a:pt x="36" y="13"/>
                    </a:cubicBezTo>
                    <a:cubicBezTo>
                      <a:pt x="36" y="12"/>
                      <a:pt x="35" y="11"/>
                      <a:pt x="34" y="10"/>
                    </a:cubicBezTo>
                    <a:cubicBezTo>
                      <a:pt x="33" y="10"/>
                      <a:pt x="32" y="9"/>
                      <a:pt x="30" y="10"/>
                    </a:cubicBezTo>
                    <a:cubicBezTo>
                      <a:pt x="29" y="10"/>
                      <a:pt x="28" y="10"/>
                      <a:pt x="27" y="11"/>
                    </a:cubicBezTo>
                    <a:cubicBezTo>
                      <a:pt x="26" y="12"/>
                      <a:pt x="26" y="13"/>
                      <a:pt x="25" y="14"/>
                    </a:cubicBezTo>
                    <a:cubicBezTo>
                      <a:pt x="25" y="15"/>
                      <a:pt x="25" y="18"/>
                      <a:pt x="26" y="22"/>
                    </a:cubicBezTo>
                    <a:lnTo>
                      <a:pt x="27" y="2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347" name="îṩliďè"/>
              <p:cNvSpPr/>
              <p:nvPr/>
            </p:nvSpPr>
            <p:spPr bwMode="auto">
              <a:xfrm>
                <a:off x="3146322" y="5120278"/>
                <a:ext cx="93663" cy="79375"/>
              </a:xfrm>
              <a:custGeom>
                <a:avLst/>
                <a:gdLst>
                  <a:gd name="T0" fmla="*/ 59 w 59"/>
                  <a:gd name="T1" fmla="*/ 37 h 50"/>
                  <a:gd name="T2" fmla="*/ 9 w 59"/>
                  <a:gd name="T3" fmla="*/ 50 h 50"/>
                  <a:gd name="T4" fmla="*/ 0 w 59"/>
                  <a:gd name="T5" fmla="*/ 13 h 50"/>
                  <a:gd name="T6" fmla="*/ 8 w 59"/>
                  <a:gd name="T7" fmla="*/ 10 h 50"/>
                  <a:gd name="T8" fmla="*/ 15 w 59"/>
                  <a:gd name="T9" fmla="*/ 37 h 50"/>
                  <a:gd name="T10" fmla="*/ 25 w 59"/>
                  <a:gd name="T11" fmla="*/ 35 h 50"/>
                  <a:gd name="T12" fmla="*/ 19 w 59"/>
                  <a:gd name="T13" fmla="*/ 9 h 50"/>
                  <a:gd name="T14" fmla="*/ 27 w 59"/>
                  <a:gd name="T15" fmla="*/ 8 h 50"/>
                  <a:gd name="T16" fmla="*/ 34 w 59"/>
                  <a:gd name="T17" fmla="*/ 32 h 50"/>
                  <a:gd name="T18" fmla="*/ 47 w 59"/>
                  <a:gd name="T19" fmla="*/ 29 h 50"/>
                  <a:gd name="T20" fmla="*/ 40 w 59"/>
                  <a:gd name="T21" fmla="*/ 1 h 50"/>
                  <a:gd name="T22" fmla="*/ 49 w 59"/>
                  <a:gd name="T23" fmla="*/ 0 h 50"/>
                  <a:gd name="T24" fmla="*/ 59 w 59"/>
                  <a:gd name="T25" fmla="*/ 37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59" h="50">
                    <a:moveTo>
                      <a:pt x="59" y="37"/>
                    </a:moveTo>
                    <a:lnTo>
                      <a:pt x="9" y="50"/>
                    </a:lnTo>
                    <a:lnTo>
                      <a:pt x="0" y="13"/>
                    </a:lnTo>
                    <a:lnTo>
                      <a:pt x="8" y="10"/>
                    </a:lnTo>
                    <a:lnTo>
                      <a:pt x="15" y="37"/>
                    </a:lnTo>
                    <a:lnTo>
                      <a:pt x="25" y="35"/>
                    </a:lnTo>
                    <a:lnTo>
                      <a:pt x="19" y="9"/>
                    </a:lnTo>
                    <a:lnTo>
                      <a:pt x="27" y="8"/>
                    </a:lnTo>
                    <a:lnTo>
                      <a:pt x="34" y="32"/>
                    </a:lnTo>
                    <a:lnTo>
                      <a:pt x="47" y="29"/>
                    </a:lnTo>
                    <a:lnTo>
                      <a:pt x="40" y="1"/>
                    </a:lnTo>
                    <a:lnTo>
                      <a:pt x="49" y="0"/>
                    </a:lnTo>
                    <a:lnTo>
                      <a:pt x="59" y="3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348" name="iṧlíḋè"/>
              <p:cNvSpPr/>
              <p:nvPr/>
            </p:nvSpPr>
            <p:spPr bwMode="auto">
              <a:xfrm>
                <a:off x="3138384" y="5096465"/>
                <a:ext cx="82550" cy="38100"/>
              </a:xfrm>
              <a:custGeom>
                <a:avLst/>
                <a:gdLst>
                  <a:gd name="T0" fmla="*/ 52 w 52"/>
                  <a:gd name="T1" fmla="*/ 9 h 24"/>
                  <a:gd name="T2" fmla="*/ 3 w 52"/>
                  <a:gd name="T3" fmla="*/ 24 h 24"/>
                  <a:gd name="T4" fmla="*/ 0 w 52"/>
                  <a:gd name="T5" fmla="*/ 15 h 24"/>
                  <a:gd name="T6" fmla="*/ 49 w 52"/>
                  <a:gd name="T7" fmla="*/ 0 h 24"/>
                  <a:gd name="T8" fmla="*/ 52 w 52"/>
                  <a:gd name="T9" fmla="*/ 9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2" h="24">
                    <a:moveTo>
                      <a:pt x="52" y="9"/>
                    </a:moveTo>
                    <a:lnTo>
                      <a:pt x="3" y="24"/>
                    </a:lnTo>
                    <a:lnTo>
                      <a:pt x="0" y="15"/>
                    </a:lnTo>
                    <a:lnTo>
                      <a:pt x="49" y="0"/>
                    </a:lnTo>
                    <a:lnTo>
                      <a:pt x="52" y="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349" name="islïḓè"/>
              <p:cNvSpPr/>
              <p:nvPr/>
            </p:nvSpPr>
            <p:spPr bwMode="auto">
              <a:xfrm>
                <a:off x="3120922" y="5047253"/>
                <a:ext cx="88900" cy="52388"/>
              </a:xfrm>
              <a:custGeom>
                <a:avLst/>
                <a:gdLst>
                  <a:gd name="T0" fmla="*/ 3 w 48"/>
                  <a:gd name="T1" fmla="*/ 20 h 28"/>
                  <a:gd name="T2" fmla="*/ 0 w 48"/>
                  <a:gd name="T3" fmla="*/ 12 h 28"/>
                  <a:gd name="T4" fmla="*/ 26 w 48"/>
                  <a:gd name="T5" fmla="*/ 2 h 28"/>
                  <a:gd name="T6" fmla="*/ 34 w 48"/>
                  <a:gd name="T7" fmla="*/ 0 h 28"/>
                  <a:gd name="T8" fmla="*/ 42 w 48"/>
                  <a:gd name="T9" fmla="*/ 3 h 28"/>
                  <a:gd name="T10" fmla="*/ 47 w 48"/>
                  <a:gd name="T11" fmla="*/ 10 h 28"/>
                  <a:gd name="T12" fmla="*/ 47 w 48"/>
                  <a:gd name="T13" fmla="*/ 21 h 28"/>
                  <a:gd name="T14" fmla="*/ 38 w 48"/>
                  <a:gd name="T15" fmla="*/ 28 h 28"/>
                  <a:gd name="T16" fmla="*/ 34 w 48"/>
                  <a:gd name="T17" fmla="*/ 20 h 28"/>
                  <a:gd name="T18" fmla="*/ 39 w 48"/>
                  <a:gd name="T19" fmla="*/ 17 h 28"/>
                  <a:gd name="T20" fmla="*/ 40 w 48"/>
                  <a:gd name="T21" fmla="*/ 13 h 28"/>
                  <a:gd name="T22" fmla="*/ 37 w 48"/>
                  <a:gd name="T23" fmla="*/ 9 h 28"/>
                  <a:gd name="T24" fmla="*/ 30 w 48"/>
                  <a:gd name="T25" fmla="*/ 10 h 28"/>
                  <a:gd name="T26" fmla="*/ 3 w 48"/>
                  <a:gd name="T27" fmla="*/ 20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48" h="28">
                    <a:moveTo>
                      <a:pt x="3" y="20"/>
                    </a:moveTo>
                    <a:cubicBezTo>
                      <a:pt x="0" y="12"/>
                      <a:pt x="0" y="12"/>
                      <a:pt x="0" y="12"/>
                    </a:cubicBezTo>
                    <a:cubicBezTo>
                      <a:pt x="26" y="2"/>
                      <a:pt x="26" y="2"/>
                      <a:pt x="26" y="2"/>
                    </a:cubicBezTo>
                    <a:cubicBezTo>
                      <a:pt x="29" y="1"/>
                      <a:pt x="32" y="0"/>
                      <a:pt x="34" y="0"/>
                    </a:cubicBezTo>
                    <a:cubicBezTo>
                      <a:pt x="37" y="0"/>
                      <a:pt x="39" y="1"/>
                      <a:pt x="42" y="3"/>
                    </a:cubicBezTo>
                    <a:cubicBezTo>
                      <a:pt x="44" y="4"/>
                      <a:pt x="46" y="7"/>
                      <a:pt x="47" y="10"/>
                    </a:cubicBezTo>
                    <a:cubicBezTo>
                      <a:pt x="48" y="14"/>
                      <a:pt x="48" y="18"/>
                      <a:pt x="47" y="21"/>
                    </a:cubicBezTo>
                    <a:cubicBezTo>
                      <a:pt x="45" y="24"/>
                      <a:pt x="42" y="26"/>
                      <a:pt x="38" y="28"/>
                    </a:cubicBezTo>
                    <a:cubicBezTo>
                      <a:pt x="34" y="20"/>
                      <a:pt x="34" y="20"/>
                      <a:pt x="34" y="20"/>
                    </a:cubicBezTo>
                    <a:cubicBezTo>
                      <a:pt x="37" y="19"/>
                      <a:pt x="38" y="18"/>
                      <a:pt x="39" y="17"/>
                    </a:cubicBezTo>
                    <a:cubicBezTo>
                      <a:pt x="40" y="16"/>
                      <a:pt x="40" y="14"/>
                      <a:pt x="40" y="13"/>
                    </a:cubicBezTo>
                    <a:cubicBezTo>
                      <a:pt x="39" y="11"/>
                      <a:pt x="38" y="10"/>
                      <a:pt x="37" y="9"/>
                    </a:cubicBezTo>
                    <a:cubicBezTo>
                      <a:pt x="35" y="9"/>
                      <a:pt x="33" y="9"/>
                      <a:pt x="30" y="10"/>
                    </a:cubicBezTo>
                    <a:lnTo>
                      <a:pt x="3" y="2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350" name="íṥ1iḍe"/>
              <p:cNvSpPr/>
              <p:nvPr/>
            </p:nvSpPr>
            <p:spPr bwMode="auto">
              <a:xfrm>
                <a:off x="3112984" y="5017090"/>
                <a:ext cx="80963" cy="46038"/>
              </a:xfrm>
              <a:custGeom>
                <a:avLst/>
                <a:gdLst>
                  <a:gd name="T0" fmla="*/ 51 w 51"/>
                  <a:gd name="T1" fmla="*/ 9 h 29"/>
                  <a:gd name="T2" fmla="*/ 3 w 51"/>
                  <a:gd name="T3" fmla="*/ 29 h 29"/>
                  <a:gd name="T4" fmla="*/ 0 w 51"/>
                  <a:gd name="T5" fmla="*/ 19 h 29"/>
                  <a:gd name="T6" fmla="*/ 46 w 51"/>
                  <a:gd name="T7" fmla="*/ 0 h 29"/>
                  <a:gd name="T8" fmla="*/ 51 w 51"/>
                  <a:gd name="T9" fmla="*/ 9 h 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1" h="29">
                    <a:moveTo>
                      <a:pt x="51" y="9"/>
                    </a:moveTo>
                    <a:lnTo>
                      <a:pt x="3" y="29"/>
                    </a:lnTo>
                    <a:lnTo>
                      <a:pt x="0" y="19"/>
                    </a:lnTo>
                    <a:lnTo>
                      <a:pt x="46" y="0"/>
                    </a:lnTo>
                    <a:lnTo>
                      <a:pt x="51" y="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351" name="iṥľîḋé"/>
              <p:cNvSpPr/>
              <p:nvPr/>
            </p:nvSpPr>
            <p:spPr bwMode="auto">
              <a:xfrm>
                <a:off x="3081234" y="4948828"/>
                <a:ext cx="101600" cy="93663"/>
              </a:xfrm>
              <a:custGeom>
                <a:avLst/>
                <a:gdLst>
                  <a:gd name="T0" fmla="*/ 64 w 64"/>
                  <a:gd name="T1" fmla="*/ 36 h 59"/>
                  <a:gd name="T2" fmla="*/ 18 w 64"/>
                  <a:gd name="T3" fmla="*/ 59 h 59"/>
                  <a:gd name="T4" fmla="*/ 14 w 64"/>
                  <a:gd name="T5" fmla="*/ 50 h 59"/>
                  <a:gd name="T6" fmla="*/ 35 w 64"/>
                  <a:gd name="T7" fmla="*/ 16 h 59"/>
                  <a:gd name="T8" fmla="*/ 3 w 64"/>
                  <a:gd name="T9" fmla="*/ 31 h 59"/>
                  <a:gd name="T10" fmla="*/ 0 w 64"/>
                  <a:gd name="T11" fmla="*/ 22 h 59"/>
                  <a:gd name="T12" fmla="*/ 45 w 64"/>
                  <a:gd name="T13" fmla="*/ 0 h 59"/>
                  <a:gd name="T14" fmla="*/ 50 w 64"/>
                  <a:gd name="T15" fmla="*/ 8 h 59"/>
                  <a:gd name="T16" fmla="*/ 29 w 64"/>
                  <a:gd name="T17" fmla="*/ 42 h 59"/>
                  <a:gd name="T18" fmla="*/ 59 w 64"/>
                  <a:gd name="T19" fmla="*/ 26 h 59"/>
                  <a:gd name="T20" fmla="*/ 64 w 64"/>
                  <a:gd name="T21" fmla="*/ 36 h 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64" h="59">
                    <a:moveTo>
                      <a:pt x="64" y="36"/>
                    </a:moveTo>
                    <a:lnTo>
                      <a:pt x="18" y="59"/>
                    </a:lnTo>
                    <a:lnTo>
                      <a:pt x="14" y="50"/>
                    </a:lnTo>
                    <a:lnTo>
                      <a:pt x="35" y="16"/>
                    </a:lnTo>
                    <a:lnTo>
                      <a:pt x="3" y="31"/>
                    </a:lnTo>
                    <a:lnTo>
                      <a:pt x="0" y="22"/>
                    </a:lnTo>
                    <a:lnTo>
                      <a:pt x="45" y="0"/>
                    </a:lnTo>
                    <a:lnTo>
                      <a:pt x="50" y="8"/>
                    </a:lnTo>
                    <a:lnTo>
                      <a:pt x="29" y="42"/>
                    </a:lnTo>
                    <a:lnTo>
                      <a:pt x="59" y="26"/>
                    </a:lnTo>
                    <a:lnTo>
                      <a:pt x="64" y="36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352" name="îślidè"/>
              <p:cNvSpPr/>
              <p:nvPr/>
            </p:nvSpPr>
            <p:spPr bwMode="auto">
              <a:xfrm>
                <a:off x="3047897" y="4877390"/>
                <a:ext cx="84138" cy="88900"/>
              </a:xfrm>
              <a:custGeom>
                <a:avLst/>
                <a:gdLst>
                  <a:gd name="T0" fmla="*/ 28 w 46"/>
                  <a:gd name="T1" fmla="*/ 21 h 48"/>
                  <a:gd name="T2" fmla="*/ 22 w 46"/>
                  <a:gd name="T3" fmla="*/ 25 h 48"/>
                  <a:gd name="T4" fmla="*/ 11 w 46"/>
                  <a:gd name="T5" fmla="*/ 9 h 48"/>
                  <a:gd name="T6" fmla="*/ 26 w 46"/>
                  <a:gd name="T7" fmla="*/ 0 h 48"/>
                  <a:gd name="T8" fmla="*/ 35 w 46"/>
                  <a:gd name="T9" fmla="*/ 4 h 48"/>
                  <a:gd name="T10" fmla="*/ 42 w 46"/>
                  <a:gd name="T11" fmla="*/ 12 h 48"/>
                  <a:gd name="T12" fmla="*/ 46 w 46"/>
                  <a:gd name="T13" fmla="*/ 24 h 48"/>
                  <a:gd name="T14" fmla="*/ 43 w 46"/>
                  <a:gd name="T15" fmla="*/ 35 h 48"/>
                  <a:gd name="T16" fmla="*/ 35 w 46"/>
                  <a:gd name="T17" fmla="*/ 43 h 48"/>
                  <a:gd name="T18" fmla="*/ 23 w 46"/>
                  <a:gd name="T19" fmla="*/ 47 h 48"/>
                  <a:gd name="T20" fmla="*/ 12 w 46"/>
                  <a:gd name="T21" fmla="*/ 45 h 48"/>
                  <a:gd name="T22" fmla="*/ 4 w 46"/>
                  <a:gd name="T23" fmla="*/ 37 h 48"/>
                  <a:gd name="T24" fmla="*/ 0 w 46"/>
                  <a:gd name="T25" fmla="*/ 24 h 48"/>
                  <a:gd name="T26" fmla="*/ 5 w 46"/>
                  <a:gd name="T27" fmla="*/ 14 h 48"/>
                  <a:gd name="T28" fmla="*/ 11 w 46"/>
                  <a:gd name="T29" fmla="*/ 21 h 48"/>
                  <a:gd name="T30" fmla="*/ 9 w 46"/>
                  <a:gd name="T31" fmla="*/ 27 h 48"/>
                  <a:gd name="T32" fmla="*/ 11 w 46"/>
                  <a:gd name="T33" fmla="*/ 33 h 48"/>
                  <a:gd name="T34" fmla="*/ 19 w 46"/>
                  <a:gd name="T35" fmla="*/ 39 h 48"/>
                  <a:gd name="T36" fmla="*/ 30 w 46"/>
                  <a:gd name="T37" fmla="*/ 36 h 48"/>
                  <a:gd name="T38" fmla="*/ 38 w 46"/>
                  <a:gd name="T39" fmla="*/ 26 h 48"/>
                  <a:gd name="T40" fmla="*/ 36 w 46"/>
                  <a:gd name="T41" fmla="*/ 17 h 48"/>
                  <a:gd name="T42" fmla="*/ 32 w 46"/>
                  <a:gd name="T43" fmla="*/ 13 h 48"/>
                  <a:gd name="T44" fmla="*/ 27 w 46"/>
                  <a:gd name="T45" fmla="*/ 10 h 48"/>
                  <a:gd name="T46" fmla="*/ 23 w 46"/>
                  <a:gd name="T47" fmla="*/ 13 h 48"/>
                  <a:gd name="T48" fmla="*/ 28 w 46"/>
                  <a:gd name="T49" fmla="*/ 21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46" h="48">
                    <a:moveTo>
                      <a:pt x="28" y="21"/>
                    </a:moveTo>
                    <a:cubicBezTo>
                      <a:pt x="22" y="25"/>
                      <a:pt x="22" y="25"/>
                      <a:pt x="22" y="25"/>
                    </a:cubicBezTo>
                    <a:cubicBezTo>
                      <a:pt x="11" y="9"/>
                      <a:pt x="11" y="9"/>
                      <a:pt x="11" y="9"/>
                    </a:cubicBezTo>
                    <a:cubicBezTo>
                      <a:pt x="26" y="0"/>
                      <a:pt x="26" y="0"/>
                      <a:pt x="26" y="0"/>
                    </a:cubicBezTo>
                    <a:cubicBezTo>
                      <a:pt x="29" y="1"/>
                      <a:pt x="31" y="2"/>
                      <a:pt x="35" y="4"/>
                    </a:cubicBezTo>
                    <a:cubicBezTo>
                      <a:pt x="38" y="6"/>
                      <a:pt x="40" y="9"/>
                      <a:pt x="42" y="12"/>
                    </a:cubicBezTo>
                    <a:cubicBezTo>
                      <a:pt x="45" y="16"/>
                      <a:pt x="46" y="20"/>
                      <a:pt x="46" y="24"/>
                    </a:cubicBezTo>
                    <a:cubicBezTo>
                      <a:pt x="46" y="28"/>
                      <a:pt x="45" y="31"/>
                      <a:pt x="43" y="35"/>
                    </a:cubicBezTo>
                    <a:cubicBezTo>
                      <a:pt x="41" y="38"/>
                      <a:pt x="38" y="41"/>
                      <a:pt x="35" y="43"/>
                    </a:cubicBezTo>
                    <a:cubicBezTo>
                      <a:pt x="31" y="46"/>
                      <a:pt x="27" y="47"/>
                      <a:pt x="23" y="47"/>
                    </a:cubicBezTo>
                    <a:cubicBezTo>
                      <a:pt x="19" y="48"/>
                      <a:pt x="15" y="47"/>
                      <a:pt x="12" y="45"/>
                    </a:cubicBezTo>
                    <a:cubicBezTo>
                      <a:pt x="9" y="43"/>
                      <a:pt x="6" y="41"/>
                      <a:pt x="4" y="37"/>
                    </a:cubicBezTo>
                    <a:cubicBezTo>
                      <a:pt x="1" y="32"/>
                      <a:pt x="0" y="28"/>
                      <a:pt x="0" y="24"/>
                    </a:cubicBezTo>
                    <a:cubicBezTo>
                      <a:pt x="0" y="21"/>
                      <a:pt x="2" y="17"/>
                      <a:pt x="5" y="14"/>
                    </a:cubicBezTo>
                    <a:cubicBezTo>
                      <a:pt x="11" y="21"/>
                      <a:pt x="11" y="21"/>
                      <a:pt x="11" y="21"/>
                    </a:cubicBezTo>
                    <a:cubicBezTo>
                      <a:pt x="10" y="23"/>
                      <a:pt x="9" y="24"/>
                      <a:pt x="9" y="27"/>
                    </a:cubicBezTo>
                    <a:cubicBezTo>
                      <a:pt x="8" y="29"/>
                      <a:pt x="9" y="31"/>
                      <a:pt x="11" y="33"/>
                    </a:cubicBezTo>
                    <a:cubicBezTo>
                      <a:pt x="13" y="36"/>
                      <a:pt x="15" y="38"/>
                      <a:pt x="19" y="39"/>
                    </a:cubicBezTo>
                    <a:cubicBezTo>
                      <a:pt x="22" y="39"/>
                      <a:pt x="26" y="38"/>
                      <a:pt x="30" y="36"/>
                    </a:cubicBezTo>
                    <a:cubicBezTo>
                      <a:pt x="34" y="33"/>
                      <a:pt x="37" y="30"/>
                      <a:pt x="38" y="26"/>
                    </a:cubicBezTo>
                    <a:cubicBezTo>
                      <a:pt x="39" y="23"/>
                      <a:pt x="38" y="20"/>
                      <a:pt x="36" y="17"/>
                    </a:cubicBezTo>
                    <a:cubicBezTo>
                      <a:pt x="35" y="15"/>
                      <a:pt x="34" y="14"/>
                      <a:pt x="32" y="13"/>
                    </a:cubicBezTo>
                    <a:cubicBezTo>
                      <a:pt x="30" y="11"/>
                      <a:pt x="29" y="10"/>
                      <a:pt x="27" y="10"/>
                    </a:cubicBezTo>
                    <a:cubicBezTo>
                      <a:pt x="23" y="13"/>
                      <a:pt x="23" y="13"/>
                      <a:pt x="23" y="13"/>
                    </a:cubicBezTo>
                    <a:lnTo>
                      <a:pt x="28" y="2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353" name="îŝ1ide"/>
              <p:cNvSpPr/>
              <p:nvPr/>
            </p:nvSpPr>
            <p:spPr bwMode="auto">
              <a:xfrm>
                <a:off x="1981097" y="4907553"/>
                <a:ext cx="931863" cy="969963"/>
              </a:xfrm>
              <a:custGeom>
                <a:avLst/>
                <a:gdLst>
                  <a:gd name="T0" fmla="*/ 488 w 506"/>
                  <a:gd name="T1" fmla="*/ 144 h 525"/>
                  <a:gd name="T2" fmla="*/ 449 w 506"/>
                  <a:gd name="T3" fmla="*/ 161 h 525"/>
                  <a:gd name="T4" fmla="*/ 473 w 506"/>
                  <a:gd name="T5" fmla="*/ 361 h 525"/>
                  <a:gd name="T6" fmla="*/ 434 w 506"/>
                  <a:gd name="T7" fmla="*/ 382 h 525"/>
                  <a:gd name="T8" fmla="*/ 463 w 506"/>
                  <a:gd name="T9" fmla="*/ 392 h 525"/>
                  <a:gd name="T10" fmla="*/ 434 w 506"/>
                  <a:gd name="T11" fmla="*/ 455 h 525"/>
                  <a:gd name="T12" fmla="*/ 418 w 506"/>
                  <a:gd name="T13" fmla="*/ 525 h 525"/>
                  <a:gd name="T14" fmla="*/ 328 w 506"/>
                  <a:gd name="T15" fmla="*/ 392 h 525"/>
                  <a:gd name="T16" fmla="*/ 200 w 506"/>
                  <a:gd name="T17" fmla="*/ 376 h 525"/>
                  <a:gd name="T18" fmla="*/ 179 w 506"/>
                  <a:gd name="T19" fmla="*/ 525 h 525"/>
                  <a:gd name="T20" fmla="*/ 72 w 506"/>
                  <a:gd name="T21" fmla="*/ 510 h 525"/>
                  <a:gd name="T22" fmla="*/ 44 w 506"/>
                  <a:gd name="T23" fmla="*/ 439 h 525"/>
                  <a:gd name="T24" fmla="*/ 72 w 506"/>
                  <a:gd name="T25" fmla="*/ 392 h 525"/>
                  <a:gd name="T26" fmla="*/ 57 w 506"/>
                  <a:gd name="T27" fmla="*/ 382 h 525"/>
                  <a:gd name="T28" fmla="*/ 18 w 506"/>
                  <a:gd name="T29" fmla="*/ 161 h 525"/>
                  <a:gd name="T30" fmla="*/ 56 w 506"/>
                  <a:gd name="T31" fmla="*/ 144 h 525"/>
                  <a:gd name="T32" fmla="*/ 0 w 506"/>
                  <a:gd name="T33" fmla="*/ 21 h 525"/>
                  <a:gd name="T34" fmla="*/ 92 w 506"/>
                  <a:gd name="T35" fmla="*/ 21 h 525"/>
                  <a:gd name="T36" fmla="*/ 403 w 506"/>
                  <a:gd name="T37" fmla="*/ 82 h 525"/>
                  <a:gd name="T38" fmla="*/ 457 w 506"/>
                  <a:gd name="T39" fmla="*/ 0 h 525"/>
                  <a:gd name="T40" fmla="*/ 461 w 506"/>
                  <a:gd name="T41" fmla="*/ 82 h 525"/>
                  <a:gd name="T42" fmla="*/ 455 w 506"/>
                  <a:gd name="T43" fmla="*/ 24 h 525"/>
                  <a:gd name="T44" fmla="*/ 435 w 506"/>
                  <a:gd name="T45" fmla="*/ 82 h 525"/>
                  <a:gd name="T46" fmla="*/ 454 w 506"/>
                  <a:gd name="T47" fmla="*/ 127 h 525"/>
                  <a:gd name="T48" fmla="*/ 49 w 506"/>
                  <a:gd name="T49" fmla="*/ 112 h 525"/>
                  <a:gd name="T50" fmla="*/ 78 w 506"/>
                  <a:gd name="T51" fmla="*/ 127 h 525"/>
                  <a:gd name="T52" fmla="*/ 81 w 506"/>
                  <a:gd name="T53" fmla="*/ 161 h 525"/>
                  <a:gd name="T54" fmla="*/ 426 w 506"/>
                  <a:gd name="T55" fmla="*/ 145 h 525"/>
                  <a:gd name="T56" fmla="*/ 454 w 506"/>
                  <a:gd name="T57" fmla="*/ 127 h 525"/>
                  <a:gd name="T58" fmla="*/ 450 w 506"/>
                  <a:gd name="T59" fmla="*/ 178 h 525"/>
                  <a:gd name="T60" fmla="*/ 65 w 506"/>
                  <a:gd name="T61" fmla="*/ 335 h 525"/>
                  <a:gd name="T62" fmla="*/ 421 w 506"/>
                  <a:gd name="T63" fmla="*/ 349 h 525"/>
                  <a:gd name="T64" fmla="*/ 398 w 506"/>
                  <a:gd name="T65" fmla="*/ 490 h 525"/>
                  <a:gd name="T66" fmla="*/ 356 w 506"/>
                  <a:gd name="T67" fmla="*/ 371 h 525"/>
                  <a:gd name="T68" fmla="*/ 389 w 506"/>
                  <a:gd name="T69" fmla="*/ 496 h 525"/>
                  <a:gd name="T70" fmla="*/ 150 w 506"/>
                  <a:gd name="T71" fmla="*/ 496 h 525"/>
                  <a:gd name="T72" fmla="*/ 108 w 506"/>
                  <a:gd name="T73" fmla="*/ 371 h 525"/>
                  <a:gd name="T74" fmla="*/ 117 w 506"/>
                  <a:gd name="T75" fmla="*/ 496 h 525"/>
                  <a:gd name="T76" fmla="*/ 71 w 506"/>
                  <a:gd name="T77" fmla="*/ 82 h 525"/>
                  <a:gd name="T78" fmla="*/ 51 w 506"/>
                  <a:gd name="T79" fmla="*/ 24 h 525"/>
                  <a:gd name="T80" fmla="*/ 45 w 506"/>
                  <a:gd name="T81" fmla="*/ 82 h 5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506" h="525">
                    <a:moveTo>
                      <a:pt x="506" y="21"/>
                    </a:moveTo>
                    <a:cubicBezTo>
                      <a:pt x="488" y="144"/>
                      <a:pt x="488" y="144"/>
                      <a:pt x="488" y="144"/>
                    </a:cubicBezTo>
                    <a:cubicBezTo>
                      <a:pt x="450" y="144"/>
                      <a:pt x="450" y="144"/>
                      <a:pt x="450" y="144"/>
                    </a:cubicBezTo>
                    <a:cubicBezTo>
                      <a:pt x="449" y="161"/>
                      <a:pt x="449" y="161"/>
                      <a:pt x="449" y="161"/>
                    </a:cubicBezTo>
                    <a:cubicBezTo>
                      <a:pt x="488" y="161"/>
                      <a:pt x="488" y="161"/>
                      <a:pt x="488" y="161"/>
                    </a:cubicBezTo>
                    <a:cubicBezTo>
                      <a:pt x="473" y="361"/>
                      <a:pt x="473" y="361"/>
                      <a:pt x="473" y="361"/>
                    </a:cubicBezTo>
                    <a:cubicBezTo>
                      <a:pt x="473" y="372"/>
                      <a:pt x="462" y="382"/>
                      <a:pt x="450" y="382"/>
                    </a:cubicBezTo>
                    <a:cubicBezTo>
                      <a:pt x="434" y="382"/>
                      <a:pt x="434" y="382"/>
                      <a:pt x="434" y="382"/>
                    </a:cubicBezTo>
                    <a:cubicBezTo>
                      <a:pt x="434" y="392"/>
                      <a:pt x="434" y="392"/>
                      <a:pt x="434" y="392"/>
                    </a:cubicBezTo>
                    <a:cubicBezTo>
                      <a:pt x="463" y="392"/>
                      <a:pt x="463" y="392"/>
                      <a:pt x="463" y="392"/>
                    </a:cubicBezTo>
                    <a:cubicBezTo>
                      <a:pt x="463" y="439"/>
                      <a:pt x="463" y="439"/>
                      <a:pt x="463" y="439"/>
                    </a:cubicBezTo>
                    <a:cubicBezTo>
                      <a:pt x="463" y="448"/>
                      <a:pt x="450" y="455"/>
                      <a:pt x="434" y="455"/>
                    </a:cubicBezTo>
                    <a:cubicBezTo>
                      <a:pt x="434" y="510"/>
                      <a:pt x="434" y="510"/>
                      <a:pt x="434" y="510"/>
                    </a:cubicBezTo>
                    <a:cubicBezTo>
                      <a:pt x="434" y="518"/>
                      <a:pt x="427" y="525"/>
                      <a:pt x="418" y="525"/>
                    </a:cubicBezTo>
                    <a:cubicBezTo>
                      <a:pt x="328" y="525"/>
                      <a:pt x="328" y="525"/>
                      <a:pt x="328" y="525"/>
                    </a:cubicBezTo>
                    <a:cubicBezTo>
                      <a:pt x="328" y="392"/>
                      <a:pt x="328" y="392"/>
                      <a:pt x="328" y="392"/>
                    </a:cubicBezTo>
                    <a:cubicBezTo>
                      <a:pt x="328" y="383"/>
                      <a:pt x="318" y="376"/>
                      <a:pt x="307" y="376"/>
                    </a:cubicBezTo>
                    <a:cubicBezTo>
                      <a:pt x="200" y="376"/>
                      <a:pt x="200" y="376"/>
                      <a:pt x="200" y="376"/>
                    </a:cubicBezTo>
                    <a:cubicBezTo>
                      <a:pt x="188" y="376"/>
                      <a:pt x="179" y="383"/>
                      <a:pt x="179" y="392"/>
                    </a:cubicBezTo>
                    <a:cubicBezTo>
                      <a:pt x="179" y="525"/>
                      <a:pt x="179" y="525"/>
                      <a:pt x="179" y="525"/>
                    </a:cubicBezTo>
                    <a:cubicBezTo>
                      <a:pt x="89" y="525"/>
                      <a:pt x="89" y="525"/>
                      <a:pt x="89" y="525"/>
                    </a:cubicBezTo>
                    <a:cubicBezTo>
                      <a:pt x="80" y="525"/>
                      <a:pt x="72" y="518"/>
                      <a:pt x="72" y="510"/>
                    </a:cubicBezTo>
                    <a:cubicBezTo>
                      <a:pt x="72" y="455"/>
                      <a:pt x="72" y="455"/>
                      <a:pt x="72" y="455"/>
                    </a:cubicBezTo>
                    <a:cubicBezTo>
                      <a:pt x="56" y="455"/>
                      <a:pt x="44" y="448"/>
                      <a:pt x="44" y="439"/>
                    </a:cubicBezTo>
                    <a:cubicBezTo>
                      <a:pt x="44" y="392"/>
                      <a:pt x="44" y="392"/>
                      <a:pt x="44" y="392"/>
                    </a:cubicBezTo>
                    <a:cubicBezTo>
                      <a:pt x="72" y="392"/>
                      <a:pt x="72" y="392"/>
                      <a:pt x="72" y="392"/>
                    </a:cubicBezTo>
                    <a:cubicBezTo>
                      <a:pt x="72" y="382"/>
                      <a:pt x="72" y="382"/>
                      <a:pt x="72" y="382"/>
                    </a:cubicBezTo>
                    <a:cubicBezTo>
                      <a:pt x="57" y="382"/>
                      <a:pt x="57" y="382"/>
                      <a:pt x="57" y="382"/>
                    </a:cubicBezTo>
                    <a:cubicBezTo>
                      <a:pt x="44" y="382"/>
                      <a:pt x="34" y="372"/>
                      <a:pt x="34" y="361"/>
                    </a:cubicBezTo>
                    <a:cubicBezTo>
                      <a:pt x="18" y="161"/>
                      <a:pt x="18" y="161"/>
                      <a:pt x="18" y="161"/>
                    </a:cubicBezTo>
                    <a:cubicBezTo>
                      <a:pt x="58" y="161"/>
                      <a:pt x="58" y="161"/>
                      <a:pt x="58" y="161"/>
                    </a:cubicBezTo>
                    <a:cubicBezTo>
                      <a:pt x="56" y="144"/>
                      <a:pt x="56" y="144"/>
                      <a:pt x="56" y="144"/>
                    </a:cubicBezTo>
                    <a:cubicBezTo>
                      <a:pt x="18" y="144"/>
                      <a:pt x="18" y="144"/>
                      <a:pt x="18" y="144"/>
                    </a:cubicBezTo>
                    <a:cubicBezTo>
                      <a:pt x="0" y="21"/>
                      <a:pt x="0" y="21"/>
                      <a:pt x="0" y="21"/>
                    </a:cubicBezTo>
                    <a:cubicBezTo>
                      <a:pt x="2" y="7"/>
                      <a:pt x="31" y="0"/>
                      <a:pt x="49" y="0"/>
                    </a:cubicBezTo>
                    <a:cubicBezTo>
                      <a:pt x="73" y="0"/>
                      <a:pt x="80" y="3"/>
                      <a:pt x="92" y="21"/>
                    </a:cubicBezTo>
                    <a:cubicBezTo>
                      <a:pt x="103" y="82"/>
                      <a:pt x="103" y="82"/>
                      <a:pt x="103" y="82"/>
                    </a:cubicBezTo>
                    <a:cubicBezTo>
                      <a:pt x="403" y="82"/>
                      <a:pt x="403" y="82"/>
                      <a:pt x="403" y="82"/>
                    </a:cubicBezTo>
                    <a:cubicBezTo>
                      <a:pt x="415" y="21"/>
                      <a:pt x="415" y="21"/>
                      <a:pt x="415" y="21"/>
                    </a:cubicBezTo>
                    <a:cubicBezTo>
                      <a:pt x="426" y="3"/>
                      <a:pt x="433" y="0"/>
                      <a:pt x="457" y="0"/>
                    </a:cubicBezTo>
                    <a:cubicBezTo>
                      <a:pt x="475" y="0"/>
                      <a:pt x="504" y="7"/>
                      <a:pt x="506" y="21"/>
                    </a:cubicBezTo>
                    <a:close/>
                    <a:moveTo>
                      <a:pt x="461" y="82"/>
                    </a:moveTo>
                    <a:cubicBezTo>
                      <a:pt x="469" y="32"/>
                      <a:pt x="469" y="32"/>
                      <a:pt x="469" y="32"/>
                    </a:cubicBezTo>
                    <a:cubicBezTo>
                      <a:pt x="469" y="24"/>
                      <a:pt x="463" y="24"/>
                      <a:pt x="455" y="24"/>
                    </a:cubicBezTo>
                    <a:cubicBezTo>
                      <a:pt x="450" y="24"/>
                      <a:pt x="447" y="26"/>
                      <a:pt x="445" y="32"/>
                    </a:cubicBezTo>
                    <a:cubicBezTo>
                      <a:pt x="435" y="82"/>
                      <a:pt x="435" y="82"/>
                      <a:pt x="435" y="82"/>
                    </a:cubicBezTo>
                    <a:lnTo>
                      <a:pt x="461" y="82"/>
                    </a:lnTo>
                    <a:close/>
                    <a:moveTo>
                      <a:pt x="454" y="127"/>
                    </a:moveTo>
                    <a:cubicBezTo>
                      <a:pt x="457" y="112"/>
                      <a:pt x="457" y="112"/>
                      <a:pt x="457" y="112"/>
                    </a:cubicBezTo>
                    <a:cubicBezTo>
                      <a:pt x="49" y="112"/>
                      <a:pt x="49" y="112"/>
                      <a:pt x="49" y="112"/>
                    </a:cubicBezTo>
                    <a:cubicBezTo>
                      <a:pt x="52" y="127"/>
                      <a:pt x="52" y="127"/>
                      <a:pt x="52" y="127"/>
                    </a:cubicBezTo>
                    <a:cubicBezTo>
                      <a:pt x="78" y="127"/>
                      <a:pt x="78" y="127"/>
                      <a:pt x="78" y="127"/>
                    </a:cubicBezTo>
                    <a:cubicBezTo>
                      <a:pt x="80" y="145"/>
                      <a:pt x="80" y="145"/>
                      <a:pt x="80" y="145"/>
                    </a:cubicBezTo>
                    <a:cubicBezTo>
                      <a:pt x="81" y="161"/>
                      <a:pt x="81" y="161"/>
                      <a:pt x="81" y="161"/>
                    </a:cubicBezTo>
                    <a:cubicBezTo>
                      <a:pt x="425" y="161"/>
                      <a:pt x="425" y="161"/>
                      <a:pt x="425" y="161"/>
                    </a:cubicBezTo>
                    <a:cubicBezTo>
                      <a:pt x="426" y="145"/>
                      <a:pt x="426" y="145"/>
                      <a:pt x="426" y="145"/>
                    </a:cubicBezTo>
                    <a:cubicBezTo>
                      <a:pt x="428" y="127"/>
                      <a:pt x="428" y="127"/>
                      <a:pt x="428" y="127"/>
                    </a:cubicBezTo>
                    <a:lnTo>
                      <a:pt x="454" y="127"/>
                    </a:lnTo>
                    <a:close/>
                    <a:moveTo>
                      <a:pt x="441" y="335"/>
                    </a:moveTo>
                    <a:cubicBezTo>
                      <a:pt x="450" y="178"/>
                      <a:pt x="450" y="178"/>
                      <a:pt x="450" y="178"/>
                    </a:cubicBezTo>
                    <a:cubicBezTo>
                      <a:pt x="56" y="178"/>
                      <a:pt x="56" y="178"/>
                      <a:pt x="56" y="178"/>
                    </a:cubicBezTo>
                    <a:cubicBezTo>
                      <a:pt x="65" y="335"/>
                      <a:pt x="65" y="335"/>
                      <a:pt x="65" y="335"/>
                    </a:cubicBezTo>
                    <a:cubicBezTo>
                      <a:pt x="65" y="343"/>
                      <a:pt x="74" y="349"/>
                      <a:pt x="85" y="349"/>
                    </a:cubicBezTo>
                    <a:cubicBezTo>
                      <a:pt x="421" y="349"/>
                      <a:pt x="421" y="349"/>
                      <a:pt x="421" y="349"/>
                    </a:cubicBezTo>
                    <a:cubicBezTo>
                      <a:pt x="432" y="349"/>
                      <a:pt x="441" y="343"/>
                      <a:pt x="441" y="335"/>
                    </a:cubicBezTo>
                    <a:close/>
                    <a:moveTo>
                      <a:pt x="398" y="490"/>
                    </a:moveTo>
                    <a:cubicBezTo>
                      <a:pt x="398" y="371"/>
                      <a:pt x="398" y="371"/>
                      <a:pt x="398" y="371"/>
                    </a:cubicBezTo>
                    <a:cubicBezTo>
                      <a:pt x="356" y="371"/>
                      <a:pt x="356" y="371"/>
                      <a:pt x="356" y="371"/>
                    </a:cubicBezTo>
                    <a:cubicBezTo>
                      <a:pt x="356" y="496"/>
                      <a:pt x="356" y="496"/>
                      <a:pt x="356" y="496"/>
                    </a:cubicBezTo>
                    <a:cubicBezTo>
                      <a:pt x="389" y="496"/>
                      <a:pt x="389" y="496"/>
                      <a:pt x="389" y="496"/>
                    </a:cubicBezTo>
                    <a:cubicBezTo>
                      <a:pt x="394" y="496"/>
                      <a:pt x="398" y="496"/>
                      <a:pt x="398" y="490"/>
                    </a:cubicBezTo>
                    <a:close/>
                    <a:moveTo>
                      <a:pt x="150" y="496"/>
                    </a:moveTo>
                    <a:cubicBezTo>
                      <a:pt x="150" y="371"/>
                      <a:pt x="150" y="371"/>
                      <a:pt x="150" y="371"/>
                    </a:cubicBezTo>
                    <a:cubicBezTo>
                      <a:pt x="108" y="371"/>
                      <a:pt x="108" y="371"/>
                      <a:pt x="108" y="371"/>
                    </a:cubicBezTo>
                    <a:cubicBezTo>
                      <a:pt x="108" y="490"/>
                      <a:pt x="108" y="490"/>
                      <a:pt x="108" y="490"/>
                    </a:cubicBezTo>
                    <a:cubicBezTo>
                      <a:pt x="108" y="496"/>
                      <a:pt x="112" y="496"/>
                      <a:pt x="117" y="496"/>
                    </a:cubicBezTo>
                    <a:lnTo>
                      <a:pt x="150" y="496"/>
                    </a:lnTo>
                    <a:close/>
                    <a:moveTo>
                      <a:pt x="71" y="82"/>
                    </a:moveTo>
                    <a:cubicBezTo>
                      <a:pt x="61" y="32"/>
                      <a:pt x="61" y="32"/>
                      <a:pt x="61" y="32"/>
                    </a:cubicBezTo>
                    <a:cubicBezTo>
                      <a:pt x="60" y="26"/>
                      <a:pt x="57" y="24"/>
                      <a:pt x="51" y="24"/>
                    </a:cubicBezTo>
                    <a:cubicBezTo>
                      <a:pt x="43" y="24"/>
                      <a:pt x="37" y="24"/>
                      <a:pt x="37" y="32"/>
                    </a:cubicBezTo>
                    <a:cubicBezTo>
                      <a:pt x="45" y="82"/>
                      <a:pt x="45" y="82"/>
                      <a:pt x="45" y="82"/>
                    </a:cubicBezTo>
                    <a:lnTo>
                      <a:pt x="71" y="8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354" name="í$ḻíde"/>
              <p:cNvSpPr/>
              <p:nvPr/>
            </p:nvSpPr>
            <p:spPr bwMode="auto">
              <a:xfrm>
                <a:off x="2144609" y="5142503"/>
                <a:ext cx="604838" cy="31750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</p:grpSp>
        <p:grpSp>
          <p:nvGrpSpPr>
            <p:cNvPr id="246" name="组合 245"/>
            <p:cNvGrpSpPr/>
            <p:nvPr userDrawn="1"/>
          </p:nvGrpSpPr>
          <p:grpSpPr>
            <a:xfrm>
              <a:off x="10250573" y="283036"/>
              <a:ext cx="1640266" cy="338554"/>
              <a:chOff x="5180266" y="4756740"/>
              <a:chExt cx="5753100" cy="1187451"/>
            </a:xfrm>
            <a:solidFill>
              <a:srgbClr val="CA351C"/>
            </a:solidFill>
          </p:grpSpPr>
          <p:sp>
            <p:nvSpPr>
              <p:cNvPr id="247" name="ïṩļîḑê"/>
              <p:cNvSpPr/>
              <p:nvPr/>
            </p:nvSpPr>
            <p:spPr bwMode="auto">
              <a:xfrm>
                <a:off x="10319003" y="4805953"/>
                <a:ext cx="600075" cy="771525"/>
              </a:xfrm>
              <a:custGeom>
                <a:avLst/>
                <a:gdLst>
                  <a:gd name="T0" fmla="*/ 210 w 325"/>
                  <a:gd name="T1" fmla="*/ 140 h 418"/>
                  <a:gd name="T2" fmla="*/ 237 w 325"/>
                  <a:gd name="T3" fmla="*/ 155 h 418"/>
                  <a:gd name="T4" fmla="*/ 161 w 325"/>
                  <a:gd name="T5" fmla="*/ 179 h 418"/>
                  <a:gd name="T6" fmla="*/ 187 w 325"/>
                  <a:gd name="T7" fmla="*/ 68 h 418"/>
                  <a:gd name="T8" fmla="*/ 230 w 325"/>
                  <a:gd name="T9" fmla="*/ 40 h 418"/>
                  <a:gd name="T10" fmla="*/ 199 w 325"/>
                  <a:gd name="T11" fmla="*/ 85 h 418"/>
                  <a:gd name="T12" fmla="*/ 99 w 325"/>
                  <a:gd name="T13" fmla="*/ 132 h 418"/>
                  <a:gd name="T14" fmla="*/ 132 w 325"/>
                  <a:gd name="T15" fmla="*/ 83 h 418"/>
                  <a:gd name="T16" fmla="*/ 174 w 325"/>
                  <a:gd name="T17" fmla="*/ 116 h 418"/>
                  <a:gd name="T18" fmla="*/ 59 w 325"/>
                  <a:gd name="T19" fmla="*/ 198 h 418"/>
                  <a:gd name="T20" fmla="*/ 16 w 325"/>
                  <a:gd name="T21" fmla="*/ 224 h 418"/>
                  <a:gd name="T22" fmla="*/ 17 w 325"/>
                  <a:gd name="T23" fmla="*/ 314 h 418"/>
                  <a:gd name="T24" fmla="*/ 55 w 325"/>
                  <a:gd name="T25" fmla="*/ 244 h 418"/>
                  <a:gd name="T26" fmla="*/ 131 w 325"/>
                  <a:gd name="T27" fmla="*/ 194 h 418"/>
                  <a:gd name="T28" fmla="*/ 111 w 325"/>
                  <a:gd name="T29" fmla="*/ 251 h 418"/>
                  <a:gd name="T30" fmla="*/ 148 w 325"/>
                  <a:gd name="T31" fmla="*/ 246 h 418"/>
                  <a:gd name="T32" fmla="*/ 184 w 325"/>
                  <a:gd name="T33" fmla="*/ 243 h 418"/>
                  <a:gd name="T34" fmla="*/ 131 w 325"/>
                  <a:gd name="T35" fmla="*/ 281 h 418"/>
                  <a:gd name="T36" fmla="*/ 76 w 325"/>
                  <a:gd name="T37" fmla="*/ 299 h 418"/>
                  <a:gd name="T38" fmla="*/ 134 w 325"/>
                  <a:gd name="T39" fmla="*/ 334 h 418"/>
                  <a:gd name="T40" fmla="*/ 203 w 325"/>
                  <a:gd name="T41" fmla="*/ 298 h 418"/>
                  <a:gd name="T42" fmla="*/ 206 w 325"/>
                  <a:gd name="T43" fmla="*/ 350 h 418"/>
                  <a:gd name="T44" fmla="*/ 165 w 325"/>
                  <a:gd name="T45" fmla="*/ 378 h 418"/>
                  <a:gd name="T46" fmla="*/ 144 w 325"/>
                  <a:gd name="T47" fmla="*/ 410 h 418"/>
                  <a:gd name="T48" fmla="*/ 228 w 325"/>
                  <a:gd name="T49" fmla="*/ 408 h 418"/>
                  <a:gd name="T50" fmla="*/ 239 w 325"/>
                  <a:gd name="T51" fmla="*/ 307 h 418"/>
                  <a:gd name="T52" fmla="*/ 273 w 325"/>
                  <a:gd name="T53" fmla="*/ 283 h 418"/>
                  <a:gd name="T54" fmla="*/ 271 w 325"/>
                  <a:gd name="T55" fmla="*/ 239 h 418"/>
                  <a:gd name="T56" fmla="*/ 233 w 325"/>
                  <a:gd name="T57" fmla="*/ 226 h 418"/>
                  <a:gd name="T58" fmla="*/ 261 w 325"/>
                  <a:gd name="T59" fmla="*/ 181 h 418"/>
                  <a:gd name="T60" fmla="*/ 316 w 325"/>
                  <a:gd name="T61" fmla="*/ 167 h 418"/>
                  <a:gd name="T62" fmla="*/ 297 w 325"/>
                  <a:gd name="T63" fmla="*/ 119 h 418"/>
                  <a:gd name="T64" fmla="*/ 251 w 325"/>
                  <a:gd name="T65" fmla="*/ 93 h 418"/>
                  <a:gd name="T66" fmla="*/ 276 w 325"/>
                  <a:gd name="T67" fmla="*/ 34 h 418"/>
                  <a:gd name="T68" fmla="*/ 217 w 325"/>
                  <a:gd name="T69" fmla="*/ 11 h 418"/>
                  <a:gd name="T70" fmla="*/ 164 w 325"/>
                  <a:gd name="T71" fmla="*/ 29 h 418"/>
                  <a:gd name="T72" fmla="*/ 136 w 325"/>
                  <a:gd name="T73" fmla="*/ 43 h 418"/>
                  <a:gd name="T74" fmla="*/ 113 w 325"/>
                  <a:gd name="T75" fmla="*/ 21 h 418"/>
                  <a:gd name="T76" fmla="*/ 78 w 325"/>
                  <a:gd name="T77" fmla="*/ 52 h 4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325" h="418">
                    <a:moveTo>
                      <a:pt x="161" y="179"/>
                    </a:moveTo>
                    <a:cubicBezTo>
                      <a:pt x="160" y="178"/>
                      <a:pt x="188" y="143"/>
                      <a:pt x="210" y="140"/>
                    </a:cubicBezTo>
                    <a:cubicBezTo>
                      <a:pt x="232" y="137"/>
                      <a:pt x="226" y="133"/>
                      <a:pt x="238" y="138"/>
                    </a:cubicBezTo>
                    <a:cubicBezTo>
                      <a:pt x="250" y="144"/>
                      <a:pt x="252" y="148"/>
                      <a:pt x="237" y="155"/>
                    </a:cubicBezTo>
                    <a:cubicBezTo>
                      <a:pt x="222" y="162"/>
                      <a:pt x="215" y="168"/>
                      <a:pt x="196" y="171"/>
                    </a:cubicBezTo>
                    <a:cubicBezTo>
                      <a:pt x="177" y="175"/>
                      <a:pt x="163" y="181"/>
                      <a:pt x="161" y="179"/>
                    </a:cubicBezTo>
                    <a:close/>
                    <a:moveTo>
                      <a:pt x="199" y="85"/>
                    </a:moveTo>
                    <a:cubicBezTo>
                      <a:pt x="197" y="87"/>
                      <a:pt x="186" y="79"/>
                      <a:pt x="187" y="68"/>
                    </a:cubicBezTo>
                    <a:cubicBezTo>
                      <a:pt x="188" y="57"/>
                      <a:pt x="197" y="38"/>
                      <a:pt x="211" y="34"/>
                    </a:cubicBezTo>
                    <a:cubicBezTo>
                      <a:pt x="225" y="30"/>
                      <a:pt x="230" y="30"/>
                      <a:pt x="230" y="40"/>
                    </a:cubicBezTo>
                    <a:cubicBezTo>
                      <a:pt x="229" y="51"/>
                      <a:pt x="229" y="62"/>
                      <a:pt x="219" y="71"/>
                    </a:cubicBezTo>
                    <a:cubicBezTo>
                      <a:pt x="210" y="80"/>
                      <a:pt x="201" y="84"/>
                      <a:pt x="199" y="85"/>
                    </a:cubicBezTo>
                    <a:close/>
                    <a:moveTo>
                      <a:pt x="79" y="112"/>
                    </a:moveTo>
                    <a:cubicBezTo>
                      <a:pt x="79" y="113"/>
                      <a:pt x="87" y="125"/>
                      <a:pt x="99" y="132"/>
                    </a:cubicBezTo>
                    <a:cubicBezTo>
                      <a:pt x="112" y="138"/>
                      <a:pt x="119" y="135"/>
                      <a:pt x="129" y="127"/>
                    </a:cubicBezTo>
                    <a:cubicBezTo>
                      <a:pt x="139" y="118"/>
                      <a:pt x="130" y="95"/>
                      <a:pt x="132" y="83"/>
                    </a:cubicBezTo>
                    <a:cubicBezTo>
                      <a:pt x="135" y="70"/>
                      <a:pt x="136" y="73"/>
                      <a:pt x="146" y="75"/>
                    </a:cubicBezTo>
                    <a:cubicBezTo>
                      <a:pt x="156" y="76"/>
                      <a:pt x="173" y="108"/>
                      <a:pt x="174" y="116"/>
                    </a:cubicBezTo>
                    <a:cubicBezTo>
                      <a:pt x="174" y="123"/>
                      <a:pt x="170" y="123"/>
                      <a:pt x="128" y="142"/>
                    </a:cubicBezTo>
                    <a:cubicBezTo>
                      <a:pt x="86" y="161"/>
                      <a:pt x="67" y="195"/>
                      <a:pt x="59" y="198"/>
                    </a:cubicBezTo>
                    <a:cubicBezTo>
                      <a:pt x="52" y="202"/>
                      <a:pt x="55" y="191"/>
                      <a:pt x="40" y="188"/>
                    </a:cubicBezTo>
                    <a:cubicBezTo>
                      <a:pt x="26" y="186"/>
                      <a:pt x="23" y="211"/>
                      <a:pt x="16" y="224"/>
                    </a:cubicBezTo>
                    <a:cubicBezTo>
                      <a:pt x="8" y="238"/>
                      <a:pt x="5" y="266"/>
                      <a:pt x="5" y="277"/>
                    </a:cubicBezTo>
                    <a:cubicBezTo>
                      <a:pt x="5" y="288"/>
                      <a:pt x="0" y="301"/>
                      <a:pt x="17" y="314"/>
                    </a:cubicBezTo>
                    <a:cubicBezTo>
                      <a:pt x="33" y="326"/>
                      <a:pt x="49" y="311"/>
                      <a:pt x="53" y="304"/>
                    </a:cubicBezTo>
                    <a:cubicBezTo>
                      <a:pt x="57" y="298"/>
                      <a:pt x="53" y="269"/>
                      <a:pt x="55" y="244"/>
                    </a:cubicBezTo>
                    <a:cubicBezTo>
                      <a:pt x="57" y="220"/>
                      <a:pt x="89" y="204"/>
                      <a:pt x="100" y="197"/>
                    </a:cubicBezTo>
                    <a:cubicBezTo>
                      <a:pt x="115" y="189"/>
                      <a:pt x="129" y="190"/>
                      <a:pt x="131" y="194"/>
                    </a:cubicBezTo>
                    <a:cubicBezTo>
                      <a:pt x="134" y="197"/>
                      <a:pt x="119" y="214"/>
                      <a:pt x="112" y="219"/>
                    </a:cubicBezTo>
                    <a:cubicBezTo>
                      <a:pt x="105" y="224"/>
                      <a:pt x="110" y="244"/>
                      <a:pt x="111" y="251"/>
                    </a:cubicBezTo>
                    <a:cubicBezTo>
                      <a:pt x="113" y="257"/>
                      <a:pt x="111" y="260"/>
                      <a:pt x="125" y="265"/>
                    </a:cubicBezTo>
                    <a:cubicBezTo>
                      <a:pt x="142" y="271"/>
                      <a:pt x="139" y="257"/>
                      <a:pt x="148" y="246"/>
                    </a:cubicBezTo>
                    <a:cubicBezTo>
                      <a:pt x="157" y="236"/>
                      <a:pt x="163" y="224"/>
                      <a:pt x="170" y="224"/>
                    </a:cubicBezTo>
                    <a:cubicBezTo>
                      <a:pt x="177" y="224"/>
                      <a:pt x="180" y="238"/>
                      <a:pt x="184" y="243"/>
                    </a:cubicBezTo>
                    <a:cubicBezTo>
                      <a:pt x="187" y="248"/>
                      <a:pt x="189" y="257"/>
                      <a:pt x="177" y="263"/>
                    </a:cubicBezTo>
                    <a:cubicBezTo>
                      <a:pt x="165" y="269"/>
                      <a:pt x="131" y="281"/>
                      <a:pt x="131" y="281"/>
                    </a:cubicBezTo>
                    <a:cubicBezTo>
                      <a:pt x="131" y="281"/>
                      <a:pt x="112" y="284"/>
                      <a:pt x="101" y="287"/>
                    </a:cubicBezTo>
                    <a:cubicBezTo>
                      <a:pt x="90" y="289"/>
                      <a:pt x="78" y="285"/>
                      <a:pt x="76" y="299"/>
                    </a:cubicBezTo>
                    <a:cubicBezTo>
                      <a:pt x="73" y="312"/>
                      <a:pt x="78" y="305"/>
                      <a:pt x="86" y="319"/>
                    </a:cubicBezTo>
                    <a:cubicBezTo>
                      <a:pt x="94" y="333"/>
                      <a:pt x="119" y="337"/>
                      <a:pt x="134" y="334"/>
                    </a:cubicBezTo>
                    <a:cubicBezTo>
                      <a:pt x="149" y="332"/>
                      <a:pt x="157" y="324"/>
                      <a:pt x="168" y="316"/>
                    </a:cubicBezTo>
                    <a:cubicBezTo>
                      <a:pt x="178" y="308"/>
                      <a:pt x="194" y="298"/>
                      <a:pt x="203" y="298"/>
                    </a:cubicBezTo>
                    <a:cubicBezTo>
                      <a:pt x="211" y="299"/>
                      <a:pt x="211" y="311"/>
                      <a:pt x="211" y="325"/>
                    </a:cubicBezTo>
                    <a:cubicBezTo>
                      <a:pt x="211" y="339"/>
                      <a:pt x="210" y="337"/>
                      <a:pt x="206" y="350"/>
                    </a:cubicBezTo>
                    <a:cubicBezTo>
                      <a:pt x="202" y="364"/>
                      <a:pt x="199" y="368"/>
                      <a:pt x="194" y="372"/>
                    </a:cubicBezTo>
                    <a:cubicBezTo>
                      <a:pt x="189" y="377"/>
                      <a:pt x="184" y="376"/>
                      <a:pt x="165" y="378"/>
                    </a:cubicBezTo>
                    <a:cubicBezTo>
                      <a:pt x="145" y="380"/>
                      <a:pt x="131" y="393"/>
                      <a:pt x="129" y="400"/>
                    </a:cubicBezTo>
                    <a:cubicBezTo>
                      <a:pt x="128" y="407"/>
                      <a:pt x="135" y="405"/>
                      <a:pt x="144" y="410"/>
                    </a:cubicBezTo>
                    <a:cubicBezTo>
                      <a:pt x="152" y="414"/>
                      <a:pt x="163" y="416"/>
                      <a:pt x="185" y="417"/>
                    </a:cubicBezTo>
                    <a:cubicBezTo>
                      <a:pt x="208" y="418"/>
                      <a:pt x="219" y="417"/>
                      <a:pt x="228" y="408"/>
                    </a:cubicBezTo>
                    <a:cubicBezTo>
                      <a:pt x="238" y="400"/>
                      <a:pt x="240" y="373"/>
                      <a:pt x="241" y="354"/>
                    </a:cubicBezTo>
                    <a:cubicBezTo>
                      <a:pt x="243" y="335"/>
                      <a:pt x="239" y="315"/>
                      <a:pt x="239" y="307"/>
                    </a:cubicBezTo>
                    <a:cubicBezTo>
                      <a:pt x="239" y="299"/>
                      <a:pt x="239" y="297"/>
                      <a:pt x="244" y="288"/>
                    </a:cubicBezTo>
                    <a:cubicBezTo>
                      <a:pt x="249" y="280"/>
                      <a:pt x="257" y="284"/>
                      <a:pt x="273" y="283"/>
                    </a:cubicBezTo>
                    <a:cubicBezTo>
                      <a:pt x="288" y="281"/>
                      <a:pt x="286" y="270"/>
                      <a:pt x="287" y="261"/>
                    </a:cubicBezTo>
                    <a:cubicBezTo>
                      <a:pt x="288" y="251"/>
                      <a:pt x="281" y="247"/>
                      <a:pt x="271" y="239"/>
                    </a:cubicBezTo>
                    <a:cubicBezTo>
                      <a:pt x="260" y="231"/>
                      <a:pt x="250" y="236"/>
                      <a:pt x="240" y="236"/>
                    </a:cubicBezTo>
                    <a:cubicBezTo>
                      <a:pt x="230" y="236"/>
                      <a:pt x="233" y="234"/>
                      <a:pt x="233" y="226"/>
                    </a:cubicBezTo>
                    <a:cubicBezTo>
                      <a:pt x="233" y="219"/>
                      <a:pt x="238" y="215"/>
                      <a:pt x="239" y="207"/>
                    </a:cubicBezTo>
                    <a:cubicBezTo>
                      <a:pt x="241" y="200"/>
                      <a:pt x="251" y="192"/>
                      <a:pt x="261" y="181"/>
                    </a:cubicBezTo>
                    <a:cubicBezTo>
                      <a:pt x="270" y="170"/>
                      <a:pt x="276" y="175"/>
                      <a:pt x="289" y="176"/>
                    </a:cubicBezTo>
                    <a:cubicBezTo>
                      <a:pt x="302" y="176"/>
                      <a:pt x="307" y="176"/>
                      <a:pt x="316" y="167"/>
                    </a:cubicBezTo>
                    <a:cubicBezTo>
                      <a:pt x="325" y="157"/>
                      <a:pt x="318" y="138"/>
                      <a:pt x="316" y="132"/>
                    </a:cubicBezTo>
                    <a:cubicBezTo>
                      <a:pt x="315" y="125"/>
                      <a:pt x="309" y="129"/>
                      <a:pt x="297" y="119"/>
                    </a:cubicBezTo>
                    <a:cubicBezTo>
                      <a:pt x="285" y="108"/>
                      <a:pt x="274" y="111"/>
                      <a:pt x="261" y="111"/>
                    </a:cubicBezTo>
                    <a:cubicBezTo>
                      <a:pt x="248" y="111"/>
                      <a:pt x="244" y="100"/>
                      <a:pt x="251" y="93"/>
                    </a:cubicBezTo>
                    <a:cubicBezTo>
                      <a:pt x="259" y="87"/>
                      <a:pt x="265" y="77"/>
                      <a:pt x="272" y="66"/>
                    </a:cubicBezTo>
                    <a:cubicBezTo>
                      <a:pt x="278" y="55"/>
                      <a:pt x="276" y="45"/>
                      <a:pt x="276" y="34"/>
                    </a:cubicBezTo>
                    <a:cubicBezTo>
                      <a:pt x="275" y="24"/>
                      <a:pt x="264" y="20"/>
                      <a:pt x="252" y="10"/>
                    </a:cubicBezTo>
                    <a:cubicBezTo>
                      <a:pt x="240" y="0"/>
                      <a:pt x="225" y="8"/>
                      <a:pt x="217" y="11"/>
                    </a:cubicBezTo>
                    <a:cubicBezTo>
                      <a:pt x="208" y="14"/>
                      <a:pt x="196" y="20"/>
                      <a:pt x="187" y="25"/>
                    </a:cubicBezTo>
                    <a:cubicBezTo>
                      <a:pt x="178" y="30"/>
                      <a:pt x="172" y="30"/>
                      <a:pt x="164" y="29"/>
                    </a:cubicBezTo>
                    <a:cubicBezTo>
                      <a:pt x="157" y="29"/>
                      <a:pt x="150" y="29"/>
                      <a:pt x="147" y="29"/>
                    </a:cubicBezTo>
                    <a:cubicBezTo>
                      <a:pt x="144" y="29"/>
                      <a:pt x="141" y="35"/>
                      <a:pt x="136" y="43"/>
                    </a:cubicBezTo>
                    <a:cubicBezTo>
                      <a:pt x="131" y="51"/>
                      <a:pt x="126" y="47"/>
                      <a:pt x="124" y="43"/>
                    </a:cubicBezTo>
                    <a:cubicBezTo>
                      <a:pt x="121" y="38"/>
                      <a:pt x="116" y="28"/>
                      <a:pt x="113" y="21"/>
                    </a:cubicBezTo>
                    <a:cubicBezTo>
                      <a:pt x="110" y="15"/>
                      <a:pt x="97" y="18"/>
                      <a:pt x="91" y="21"/>
                    </a:cubicBezTo>
                    <a:cubicBezTo>
                      <a:pt x="84" y="25"/>
                      <a:pt x="80" y="41"/>
                      <a:pt x="78" y="52"/>
                    </a:cubicBezTo>
                    <a:cubicBezTo>
                      <a:pt x="75" y="63"/>
                      <a:pt x="78" y="111"/>
                      <a:pt x="79" y="1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248" name="îşḷïḍe"/>
              <p:cNvSpPr/>
              <p:nvPr/>
            </p:nvSpPr>
            <p:spPr bwMode="auto">
              <a:xfrm>
                <a:off x="9461753" y="4939303"/>
                <a:ext cx="388938" cy="534988"/>
              </a:xfrm>
              <a:custGeom>
                <a:avLst/>
                <a:gdLst>
                  <a:gd name="T0" fmla="*/ 4 w 211"/>
                  <a:gd name="T1" fmla="*/ 137 h 290"/>
                  <a:gd name="T2" fmla="*/ 41 w 211"/>
                  <a:gd name="T3" fmla="*/ 117 h 290"/>
                  <a:gd name="T4" fmla="*/ 75 w 211"/>
                  <a:gd name="T5" fmla="*/ 83 h 290"/>
                  <a:gd name="T6" fmla="*/ 82 w 211"/>
                  <a:gd name="T7" fmla="*/ 29 h 290"/>
                  <a:gd name="T8" fmla="*/ 94 w 211"/>
                  <a:gd name="T9" fmla="*/ 6 h 290"/>
                  <a:gd name="T10" fmla="*/ 126 w 211"/>
                  <a:gd name="T11" fmla="*/ 27 h 290"/>
                  <a:gd name="T12" fmla="*/ 145 w 211"/>
                  <a:gd name="T13" fmla="*/ 65 h 290"/>
                  <a:gd name="T14" fmla="*/ 170 w 211"/>
                  <a:gd name="T15" fmla="*/ 93 h 290"/>
                  <a:gd name="T16" fmla="*/ 164 w 211"/>
                  <a:gd name="T17" fmla="*/ 119 h 290"/>
                  <a:gd name="T18" fmla="*/ 127 w 211"/>
                  <a:gd name="T19" fmla="*/ 151 h 290"/>
                  <a:gd name="T20" fmla="*/ 123 w 211"/>
                  <a:gd name="T21" fmla="*/ 165 h 290"/>
                  <a:gd name="T22" fmla="*/ 181 w 211"/>
                  <a:gd name="T23" fmla="*/ 187 h 290"/>
                  <a:gd name="T24" fmla="*/ 210 w 211"/>
                  <a:gd name="T25" fmla="*/ 231 h 290"/>
                  <a:gd name="T26" fmla="*/ 202 w 211"/>
                  <a:gd name="T27" fmla="*/ 281 h 290"/>
                  <a:gd name="T28" fmla="*/ 185 w 211"/>
                  <a:gd name="T29" fmla="*/ 289 h 290"/>
                  <a:gd name="T30" fmla="*/ 162 w 211"/>
                  <a:gd name="T31" fmla="*/ 267 h 290"/>
                  <a:gd name="T32" fmla="*/ 158 w 211"/>
                  <a:gd name="T33" fmla="*/ 217 h 290"/>
                  <a:gd name="T34" fmla="*/ 134 w 211"/>
                  <a:gd name="T35" fmla="*/ 188 h 290"/>
                  <a:gd name="T36" fmla="*/ 117 w 211"/>
                  <a:gd name="T37" fmla="*/ 183 h 290"/>
                  <a:gd name="T38" fmla="*/ 105 w 211"/>
                  <a:gd name="T39" fmla="*/ 191 h 290"/>
                  <a:gd name="T40" fmla="*/ 95 w 211"/>
                  <a:gd name="T41" fmla="*/ 225 h 290"/>
                  <a:gd name="T42" fmla="*/ 92 w 211"/>
                  <a:gd name="T43" fmla="*/ 251 h 290"/>
                  <a:gd name="T44" fmla="*/ 58 w 211"/>
                  <a:gd name="T45" fmla="*/ 261 h 290"/>
                  <a:gd name="T46" fmla="*/ 37 w 211"/>
                  <a:gd name="T47" fmla="*/ 235 h 290"/>
                  <a:gd name="T48" fmla="*/ 39 w 211"/>
                  <a:gd name="T49" fmla="*/ 205 h 290"/>
                  <a:gd name="T50" fmla="*/ 45 w 211"/>
                  <a:gd name="T51" fmla="*/ 177 h 290"/>
                  <a:gd name="T52" fmla="*/ 18 w 211"/>
                  <a:gd name="T53" fmla="*/ 155 h 290"/>
                  <a:gd name="T54" fmla="*/ 0 w 211"/>
                  <a:gd name="T55" fmla="*/ 147 h 290"/>
                  <a:gd name="T56" fmla="*/ 4 w 211"/>
                  <a:gd name="T57" fmla="*/ 137 h 2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211" h="290">
                    <a:moveTo>
                      <a:pt x="4" y="137"/>
                    </a:moveTo>
                    <a:cubicBezTo>
                      <a:pt x="4" y="137"/>
                      <a:pt x="32" y="120"/>
                      <a:pt x="41" y="117"/>
                    </a:cubicBezTo>
                    <a:cubicBezTo>
                      <a:pt x="50" y="115"/>
                      <a:pt x="69" y="103"/>
                      <a:pt x="75" y="83"/>
                    </a:cubicBezTo>
                    <a:cubicBezTo>
                      <a:pt x="81" y="63"/>
                      <a:pt x="82" y="39"/>
                      <a:pt x="82" y="29"/>
                    </a:cubicBezTo>
                    <a:cubicBezTo>
                      <a:pt x="82" y="19"/>
                      <a:pt x="76" y="0"/>
                      <a:pt x="94" y="6"/>
                    </a:cubicBezTo>
                    <a:cubicBezTo>
                      <a:pt x="112" y="12"/>
                      <a:pt x="124" y="15"/>
                      <a:pt x="126" y="27"/>
                    </a:cubicBezTo>
                    <a:cubicBezTo>
                      <a:pt x="129" y="39"/>
                      <a:pt x="131" y="55"/>
                      <a:pt x="145" y="65"/>
                    </a:cubicBezTo>
                    <a:cubicBezTo>
                      <a:pt x="159" y="75"/>
                      <a:pt x="168" y="83"/>
                      <a:pt x="170" y="93"/>
                    </a:cubicBezTo>
                    <a:cubicBezTo>
                      <a:pt x="172" y="103"/>
                      <a:pt x="172" y="114"/>
                      <a:pt x="164" y="119"/>
                    </a:cubicBezTo>
                    <a:cubicBezTo>
                      <a:pt x="157" y="123"/>
                      <a:pt x="132" y="147"/>
                      <a:pt x="127" y="151"/>
                    </a:cubicBezTo>
                    <a:cubicBezTo>
                      <a:pt x="121" y="154"/>
                      <a:pt x="119" y="165"/>
                      <a:pt x="123" y="165"/>
                    </a:cubicBezTo>
                    <a:cubicBezTo>
                      <a:pt x="127" y="165"/>
                      <a:pt x="163" y="172"/>
                      <a:pt x="181" y="187"/>
                    </a:cubicBezTo>
                    <a:cubicBezTo>
                      <a:pt x="198" y="202"/>
                      <a:pt x="209" y="216"/>
                      <a:pt x="210" y="231"/>
                    </a:cubicBezTo>
                    <a:cubicBezTo>
                      <a:pt x="211" y="247"/>
                      <a:pt x="210" y="273"/>
                      <a:pt x="202" y="281"/>
                    </a:cubicBezTo>
                    <a:cubicBezTo>
                      <a:pt x="194" y="288"/>
                      <a:pt x="192" y="290"/>
                      <a:pt x="185" y="289"/>
                    </a:cubicBezTo>
                    <a:cubicBezTo>
                      <a:pt x="178" y="288"/>
                      <a:pt x="164" y="279"/>
                      <a:pt x="162" y="267"/>
                    </a:cubicBezTo>
                    <a:cubicBezTo>
                      <a:pt x="160" y="255"/>
                      <a:pt x="164" y="239"/>
                      <a:pt x="158" y="217"/>
                    </a:cubicBezTo>
                    <a:cubicBezTo>
                      <a:pt x="153" y="196"/>
                      <a:pt x="139" y="191"/>
                      <a:pt x="134" y="188"/>
                    </a:cubicBezTo>
                    <a:cubicBezTo>
                      <a:pt x="129" y="186"/>
                      <a:pt x="117" y="183"/>
                      <a:pt x="117" y="183"/>
                    </a:cubicBezTo>
                    <a:cubicBezTo>
                      <a:pt x="117" y="183"/>
                      <a:pt x="108" y="182"/>
                      <a:pt x="105" y="191"/>
                    </a:cubicBezTo>
                    <a:cubicBezTo>
                      <a:pt x="102" y="199"/>
                      <a:pt x="96" y="215"/>
                      <a:pt x="95" y="225"/>
                    </a:cubicBezTo>
                    <a:cubicBezTo>
                      <a:pt x="94" y="235"/>
                      <a:pt x="96" y="247"/>
                      <a:pt x="92" y="251"/>
                    </a:cubicBezTo>
                    <a:cubicBezTo>
                      <a:pt x="87" y="256"/>
                      <a:pt x="77" y="267"/>
                      <a:pt x="58" y="261"/>
                    </a:cubicBezTo>
                    <a:cubicBezTo>
                      <a:pt x="39" y="255"/>
                      <a:pt x="41" y="238"/>
                      <a:pt x="37" y="235"/>
                    </a:cubicBezTo>
                    <a:cubicBezTo>
                      <a:pt x="33" y="231"/>
                      <a:pt x="39" y="211"/>
                      <a:pt x="39" y="205"/>
                    </a:cubicBezTo>
                    <a:cubicBezTo>
                      <a:pt x="39" y="200"/>
                      <a:pt x="47" y="182"/>
                      <a:pt x="45" y="177"/>
                    </a:cubicBezTo>
                    <a:cubicBezTo>
                      <a:pt x="44" y="173"/>
                      <a:pt x="25" y="153"/>
                      <a:pt x="18" y="155"/>
                    </a:cubicBezTo>
                    <a:cubicBezTo>
                      <a:pt x="11" y="157"/>
                      <a:pt x="1" y="155"/>
                      <a:pt x="0" y="147"/>
                    </a:cubicBezTo>
                    <a:cubicBezTo>
                      <a:pt x="0" y="140"/>
                      <a:pt x="4" y="137"/>
                      <a:pt x="4" y="13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249" name="îṧļíďe"/>
              <p:cNvSpPr/>
              <p:nvPr/>
            </p:nvSpPr>
            <p:spPr bwMode="auto">
              <a:xfrm>
                <a:off x="8326691" y="4823415"/>
                <a:ext cx="746125" cy="695325"/>
              </a:xfrm>
              <a:custGeom>
                <a:avLst/>
                <a:gdLst>
                  <a:gd name="T0" fmla="*/ 159 w 405"/>
                  <a:gd name="T1" fmla="*/ 229 h 377"/>
                  <a:gd name="T2" fmla="*/ 218 w 405"/>
                  <a:gd name="T3" fmla="*/ 183 h 377"/>
                  <a:gd name="T4" fmla="*/ 234 w 405"/>
                  <a:gd name="T5" fmla="*/ 247 h 377"/>
                  <a:gd name="T6" fmla="*/ 260 w 405"/>
                  <a:gd name="T7" fmla="*/ 269 h 377"/>
                  <a:gd name="T8" fmla="*/ 209 w 405"/>
                  <a:gd name="T9" fmla="*/ 247 h 377"/>
                  <a:gd name="T10" fmla="*/ 108 w 405"/>
                  <a:gd name="T11" fmla="*/ 215 h 377"/>
                  <a:gd name="T12" fmla="*/ 73 w 405"/>
                  <a:gd name="T13" fmla="*/ 283 h 377"/>
                  <a:gd name="T14" fmla="*/ 43 w 405"/>
                  <a:gd name="T15" fmla="*/ 350 h 377"/>
                  <a:gd name="T16" fmla="*/ 91 w 405"/>
                  <a:gd name="T17" fmla="*/ 347 h 377"/>
                  <a:gd name="T18" fmla="*/ 118 w 405"/>
                  <a:gd name="T19" fmla="*/ 372 h 377"/>
                  <a:gd name="T20" fmla="*/ 136 w 405"/>
                  <a:gd name="T21" fmla="*/ 328 h 377"/>
                  <a:gd name="T22" fmla="*/ 147 w 405"/>
                  <a:gd name="T23" fmla="*/ 265 h 377"/>
                  <a:gd name="T24" fmla="*/ 242 w 405"/>
                  <a:gd name="T25" fmla="*/ 306 h 377"/>
                  <a:gd name="T26" fmla="*/ 186 w 405"/>
                  <a:gd name="T27" fmla="*/ 337 h 377"/>
                  <a:gd name="T28" fmla="*/ 172 w 405"/>
                  <a:gd name="T29" fmla="*/ 367 h 377"/>
                  <a:gd name="T30" fmla="*/ 272 w 405"/>
                  <a:gd name="T31" fmla="*/ 328 h 377"/>
                  <a:gd name="T32" fmla="*/ 352 w 405"/>
                  <a:gd name="T33" fmla="*/ 373 h 377"/>
                  <a:gd name="T34" fmla="*/ 389 w 405"/>
                  <a:gd name="T35" fmla="*/ 333 h 377"/>
                  <a:gd name="T36" fmla="*/ 292 w 405"/>
                  <a:gd name="T37" fmla="*/ 299 h 377"/>
                  <a:gd name="T38" fmla="*/ 291 w 405"/>
                  <a:gd name="T39" fmla="*/ 217 h 377"/>
                  <a:gd name="T40" fmla="*/ 261 w 405"/>
                  <a:gd name="T41" fmla="*/ 173 h 377"/>
                  <a:gd name="T42" fmla="*/ 297 w 405"/>
                  <a:gd name="T43" fmla="*/ 107 h 377"/>
                  <a:gd name="T44" fmla="*/ 283 w 405"/>
                  <a:gd name="T45" fmla="*/ 43 h 377"/>
                  <a:gd name="T46" fmla="*/ 241 w 405"/>
                  <a:gd name="T47" fmla="*/ 1 h 377"/>
                  <a:gd name="T48" fmla="*/ 241 w 405"/>
                  <a:gd name="T49" fmla="*/ 35 h 377"/>
                  <a:gd name="T50" fmla="*/ 245 w 405"/>
                  <a:gd name="T51" fmla="*/ 97 h 377"/>
                  <a:gd name="T52" fmla="*/ 194 w 405"/>
                  <a:gd name="T53" fmla="*/ 129 h 377"/>
                  <a:gd name="T54" fmla="*/ 161 w 405"/>
                  <a:gd name="T55" fmla="*/ 121 h 377"/>
                  <a:gd name="T56" fmla="*/ 150 w 405"/>
                  <a:gd name="T57" fmla="*/ 33 h 377"/>
                  <a:gd name="T58" fmla="*/ 122 w 405"/>
                  <a:gd name="T59" fmla="*/ 56 h 377"/>
                  <a:gd name="T60" fmla="*/ 121 w 405"/>
                  <a:gd name="T61" fmla="*/ 133 h 377"/>
                  <a:gd name="T62" fmla="*/ 30 w 405"/>
                  <a:gd name="T63" fmla="*/ 180 h 377"/>
                  <a:gd name="T64" fmla="*/ 22 w 405"/>
                  <a:gd name="T65" fmla="*/ 219 h 3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405" h="377">
                    <a:moveTo>
                      <a:pt x="174" y="243"/>
                    </a:moveTo>
                    <a:cubicBezTo>
                      <a:pt x="172" y="243"/>
                      <a:pt x="154" y="236"/>
                      <a:pt x="159" y="229"/>
                    </a:cubicBezTo>
                    <a:cubicBezTo>
                      <a:pt x="163" y="221"/>
                      <a:pt x="190" y="187"/>
                      <a:pt x="199" y="183"/>
                    </a:cubicBezTo>
                    <a:cubicBezTo>
                      <a:pt x="208" y="178"/>
                      <a:pt x="215" y="172"/>
                      <a:pt x="218" y="183"/>
                    </a:cubicBezTo>
                    <a:cubicBezTo>
                      <a:pt x="221" y="193"/>
                      <a:pt x="215" y="230"/>
                      <a:pt x="220" y="236"/>
                    </a:cubicBezTo>
                    <a:cubicBezTo>
                      <a:pt x="225" y="241"/>
                      <a:pt x="227" y="248"/>
                      <a:pt x="234" y="247"/>
                    </a:cubicBezTo>
                    <a:cubicBezTo>
                      <a:pt x="241" y="246"/>
                      <a:pt x="256" y="238"/>
                      <a:pt x="260" y="245"/>
                    </a:cubicBezTo>
                    <a:cubicBezTo>
                      <a:pt x="263" y="252"/>
                      <a:pt x="268" y="259"/>
                      <a:pt x="260" y="269"/>
                    </a:cubicBezTo>
                    <a:cubicBezTo>
                      <a:pt x="253" y="278"/>
                      <a:pt x="247" y="281"/>
                      <a:pt x="239" y="274"/>
                    </a:cubicBezTo>
                    <a:cubicBezTo>
                      <a:pt x="230" y="267"/>
                      <a:pt x="221" y="250"/>
                      <a:pt x="209" y="247"/>
                    </a:cubicBezTo>
                    <a:cubicBezTo>
                      <a:pt x="198" y="245"/>
                      <a:pt x="176" y="243"/>
                      <a:pt x="174" y="243"/>
                    </a:cubicBezTo>
                    <a:close/>
                    <a:moveTo>
                      <a:pt x="108" y="215"/>
                    </a:moveTo>
                    <a:cubicBezTo>
                      <a:pt x="109" y="216"/>
                      <a:pt x="102" y="238"/>
                      <a:pt x="93" y="254"/>
                    </a:cubicBezTo>
                    <a:cubicBezTo>
                      <a:pt x="84" y="271"/>
                      <a:pt x="81" y="271"/>
                      <a:pt x="73" y="283"/>
                    </a:cubicBezTo>
                    <a:cubicBezTo>
                      <a:pt x="65" y="295"/>
                      <a:pt x="45" y="309"/>
                      <a:pt x="44" y="316"/>
                    </a:cubicBezTo>
                    <a:cubicBezTo>
                      <a:pt x="43" y="323"/>
                      <a:pt x="41" y="343"/>
                      <a:pt x="43" y="350"/>
                    </a:cubicBezTo>
                    <a:cubicBezTo>
                      <a:pt x="44" y="357"/>
                      <a:pt x="61" y="358"/>
                      <a:pt x="69" y="357"/>
                    </a:cubicBezTo>
                    <a:cubicBezTo>
                      <a:pt x="77" y="355"/>
                      <a:pt x="84" y="347"/>
                      <a:pt x="91" y="347"/>
                    </a:cubicBezTo>
                    <a:cubicBezTo>
                      <a:pt x="98" y="347"/>
                      <a:pt x="96" y="355"/>
                      <a:pt x="97" y="361"/>
                    </a:cubicBezTo>
                    <a:cubicBezTo>
                      <a:pt x="97" y="366"/>
                      <a:pt x="101" y="368"/>
                      <a:pt x="118" y="372"/>
                    </a:cubicBezTo>
                    <a:cubicBezTo>
                      <a:pt x="136" y="377"/>
                      <a:pt x="140" y="364"/>
                      <a:pt x="144" y="352"/>
                    </a:cubicBezTo>
                    <a:cubicBezTo>
                      <a:pt x="148" y="339"/>
                      <a:pt x="140" y="339"/>
                      <a:pt x="136" y="328"/>
                    </a:cubicBezTo>
                    <a:cubicBezTo>
                      <a:pt x="133" y="316"/>
                      <a:pt x="136" y="302"/>
                      <a:pt x="136" y="292"/>
                    </a:cubicBezTo>
                    <a:cubicBezTo>
                      <a:pt x="135" y="281"/>
                      <a:pt x="141" y="272"/>
                      <a:pt x="147" y="265"/>
                    </a:cubicBezTo>
                    <a:cubicBezTo>
                      <a:pt x="153" y="258"/>
                      <a:pt x="160" y="248"/>
                      <a:pt x="186" y="258"/>
                    </a:cubicBezTo>
                    <a:cubicBezTo>
                      <a:pt x="212" y="267"/>
                      <a:pt x="239" y="298"/>
                      <a:pt x="242" y="306"/>
                    </a:cubicBezTo>
                    <a:cubicBezTo>
                      <a:pt x="245" y="313"/>
                      <a:pt x="232" y="318"/>
                      <a:pt x="227" y="325"/>
                    </a:cubicBezTo>
                    <a:cubicBezTo>
                      <a:pt x="222" y="332"/>
                      <a:pt x="196" y="338"/>
                      <a:pt x="186" y="337"/>
                    </a:cubicBezTo>
                    <a:cubicBezTo>
                      <a:pt x="175" y="336"/>
                      <a:pt x="172" y="344"/>
                      <a:pt x="167" y="348"/>
                    </a:cubicBezTo>
                    <a:cubicBezTo>
                      <a:pt x="162" y="351"/>
                      <a:pt x="167" y="361"/>
                      <a:pt x="172" y="367"/>
                    </a:cubicBezTo>
                    <a:cubicBezTo>
                      <a:pt x="177" y="373"/>
                      <a:pt x="211" y="373"/>
                      <a:pt x="224" y="364"/>
                    </a:cubicBezTo>
                    <a:cubicBezTo>
                      <a:pt x="237" y="354"/>
                      <a:pt x="272" y="328"/>
                      <a:pt x="272" y="328"/>
                    </a:cubicBezTo>
                    <a:cubicBezTo>
                      <a:pt x="272" y="328"/>
                      <a:pt x="285" y="340"/>
                      <a:pt x="293" y="348"/>
                    </a:cubicBezTo>
                    <a:cubicBezTo>
                      <a:pt x="301" y="357"/>
                      <a:pt x="319" y="369"/>
                      <a:pt x="352" y="373"/>
                    </a:cubicBezTo>
                    <a:cubicBezTo>
                      <a:pt x="385" y="377"/>
                      <a:pt x="398" y="356"/>
                      <a:pt x="401" y="352"/>
                    </a:cubicBezTo>
                    <a:cubicBezTo>
                      <a:pt x="405" y="348"/>
                      <a:pt x="399" y="342"/>
                      <a:pt x="389" y="333"/>
                    </a:cubicBezTo>
                    <a:cubicBezTo>
                      <a:pt x="379" y="323"/>
                      <a:pt x="353" y="312"/>
                      <a:pt x="337" y="313"/>
                    </a:cubicBezTo>
                    <a:cubicBezTo>
                      <a:pt x="321" y="315"/>
                      <a:pt x="303" y="305"/>
                      <a:pt x="292" y="299"/>
                    </a:cubicBezTo>
                    <a:cubicBezTo>
                      <a:pt x="282" y="293"/>
                      <a:pt x="287" y="293"/>
                      <a:pt x="291" y="277"/>
                    </a:cubicBezTo>
                    <a:cubicBezTo>
                      <a:pt x="295" y="261"/>
                      <a:pt x="294" y="231"/>
                      <a:pt x="291" y="217"/>
                    </a:cubicBezTo>
                    <a:cubicBezTo>
                      <a:pt x="287" y="204"/>
                      <a:pt x="269" y="200"/>
                      <a:pt x="264" y="192"/>
                    </a:cubicBezTo>
                    <a:cubicBezTo>
                      <a:pt x="258" y="184"/>
                      <a:pt x="251" y="180"/>
                      <a:pt x="261" y="173"/>
                    </a:cubicBezTo>
                    <a:cubicBezTo>
                      <a:pt x="272" y="166"/>
                      <a:pt x="282" y="146"/>
                      <a:pt x="290" y="135"/>
                    </a:cubicBezTo>
                    <a:cubicBezTo>
                      <a:pt x="298" y="123"/>
                      <a:pt x="305" y="117"/>
                      <a:pt x="297" y="107"/>
                    </a:cubicBezTo>
                    <a:cubicBezTo>
                      <a:pt x="289" y="97"/>
                      <a:pt x="283" y="94"/>
                      <a:pt x="281" y="86"/>
                    </a:cubicBezTo>
                    <a:cubicBezTo>
                      <a:pt x="280" y="79"/>
                      <a:pt x="283" y="57"/>
                      <a:pt x="283" y="43"/>
                    </a:cubicBezTo>
                    <a:cubicBezTo>
                      <a:pt x="283" y="29"/>
                      <a:pt x="285" y="30"/>
                      <a:pt x="272" y="15"/>
                    </a:cubicBezTo>
                    <a:cubicBezTo>
                      <a:pt x="260" y="0"/>
                      <a:pt x="248" y="2"/>
                      <a:pt x="241" y="1"/>
                    </a:cubicBezTo>
                    <a:cubicBezTo>
                      <a:pt x="235" y="0"/>
                      <a:pt x="231" y="21"/>
                      <a:pt x="233" y="26"/>
                    </a:cubicBezTo>
                    <a:cubicBezTo>
                      <a:pt x="235" y="31"/>
                      <a:pt x="239" y="31"/>
                      <a:pt x="241" y="35"/>
                    </a:cubicBezTo>
                    <a:cubicBezTo>
                      <a:pt x="242" y="39"/>
                      <a:pt x="239" y="36"/>
                      <a:pt x="243" y="53"/>
                    </a:cubicBezTo>
                    <a:cubicBezTo>
                      <a:pt x="247" y="70"/>
                      <a:pt x="245" y="91"/>
                      <a:pt x="245" y="97"/>
                    </a:cubicBezTo>
                    <a:cubicBezTo>
                      <a:pt x="245" y="103"/>
                      <a:pt x="240" y="107"/>
                      <a:pt x="234" y="114"/>
                    </a:cubicBezTo>
                    <a:cubicBezTo>
                      <a:pt x="228" y="121"/>
                      <a:pt x="206" y="123"/>
                      <a:pt x="194" y="129"/>
                    </a:cubicBezTo>
                    <a:cubicBezTo>
                      <a:pt x="181" y="135"/>
                      <a:pt x="179" y="146"/>
                      <a:pt x="170" y="149"/>
                    </a:cubicBezTo>
                    <a:cubicBezTo>
                      <a:pt x="161" y="151"/>
                      <a:pt x="157" y="138"/>
                      <a:pt x="161" y="121"/>
                    </a:cubicBezTo>
                    <a:cubicBezTo>
                      <a:pt x="164" y="109"/>
                      <a:pt x="168" y="79"/>
                      <a:pt x="168" y="64"/>
                    </a:cubicBezTo>
                    <a:cubicBezTo>
                      <a:pt x="167" y="54"/>
                      <a:pt x="158" y="40"/>
                      <a:pt x="150" y="33"/>
                    </a:cubicBezTo>
                    <a:cubicBezTo>
                      <a:pt x="142" y="25"/>
                      <a:pt x="136" y="30"/>
                      <a:pt x="131" y="32"/>
                    </a:cubicBezTo>
                    <a:cubicBezTo>
                      <a:pt x="126" y="35"/>
                      <a:pt x="120" y="43"/>
                      <a:pt x="122" y="56"/>
                    </a:cubicBezTo>
                    <a:cubicBezTo>
                      <a:pt x="124" y="70"/>
                      <a:pt x="127" y="72"/>
                      <a:pt x="127" y="82"/>
                    </a:cubicBezTo>
                    <a:cubicBezTo>
                      <a:pt x="128" y="92"/>
                      <a:pt x="124" y="113"/>
                      <a:pt x="121" y="133"/>
                    </a:cubicBezTo>
                    <a:cubicBezTo>
                      <a:pt x="117" y="152"/>
                      <a:pt x="104" y="151"/>
                      <a:pt x="90" y="158"/>
                    </a:cubicBezTo>
                    <a:cubicBezTo>
                      <a:pt x="76" y="165"/>
                      <a:pt x="48" y="175"/>
                      <a:pt x="30" y="180"/>
                    </a:cubicBezTo>
                    <a:cubicBezTo>
                      <a:pt x="13" y="184"/>
                      <a:pt x="0" y="191"/>
                      <a:pt x="0" y="200"/>
                    </a:cubicBezTo>
                    <a:cubicBezTo>
                      <a:pt x="0" y="209"/>
                      <a:pt x="9" y="210"/>
                      <a:pt x="22" y="219"/>
                    </a:cubicBezTo>
                    <a:cubicBezTo>
                      <a:pt x="35" y="228"/>
                      <a:pt x="107" y="215"/>
                      <a:pt x="108" y="21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250" name="íŝļïḓè"/>
              <p:cNvSpPr/>
              <p:nvPr/>
            </p:nvSpPr>
            <p:spPr bwMode="auto">
              <a:xfrm>
                <a:off x="6220078" y="4756740"/>
                <a:ext cx="627063" cy="793750"/>
              </a:xfrm>
              <a:custGeom>
                <a:avLst/>
                <a:gdLst>
                  <a:gd name="T0" fmla="*/ 194 w 340"/>
                  <a:gd name="T1" fmla="*/ 225 h 430"/>
                  <a:gd name="T2" fmla="*/ 189 w 340"/>
                  <a:gd name="T3" fmla="*/ 204 h 430"/>
                  <a:gd name="T4" fmla="*/ 222 w 340"/>
                  <a:gd name="T5" fmla="*/ 196 h 430"/>
                  <a:gd name="T6" fmla="*/ 234 w 340"/>
                  <a:gd name="T7" fmla="*/ 215 h 430"/>
                  <a:gd name="T8" fmla="*/ 217 w 340"/>
                  <a:gd name="T9" fmla="*/ 231 h 430"/>
                  <a:gd name="T10" fmla="*/ 194 w 340"/>
                  <a:gd name="T11" fmla="*/ 225 h 430"/>
                  <a:gd name="T12" fmla="*/ 33 w 340"/>
                  <a:gd name="T13" fmla="*/ 228 h 430"/>
                  <a:gd name="T14" fmla="*/ 67 w 340"/>
                  <a:gd name="T15" fmla="*/ 224 h 430"/>
                  <a:gd name="T16" fmla="*/ 105 w 340"/>
                  <a:gd name="T17" fmla="*/ 194 h 430"/>
                  <a:gd name="T18" fmla="*/ 164 w 340"/>
                  <a:gd name="T19" fmla="*/ 151 h 430"/>
                  <a:gd name="T20" fmla="*/ 170 w 340"/>
                  <a:gd name="T21" fmla="*/ 163 h 430"/>
                  <a:gd name="T22" fmla="*/ 144 w 340"/>
                  <a:gd name="T23" fmla="*/ 203 h 430"/>
                  <a:gd name="T24" fmla="*/ 142 w 340"/>
                  <a:gd name="T25" fmla="*/ 250 h 430"/>
                  <a:gd name="T26" fmla="*/ 166 w 340"/>
                  <a:gd name="T27" fmla="*/ 278 h 430"/>
                  <a:gd name="T28" fmla="*/ 170 w 340"/>
                  <a:gd name="T29" fmla="*/ 300 h 430"/>
                  <a:gd name="T30" fmla="*/ 132 w 340"/>
                  <a:gd name="T31" fmla="*/ 347 h 430"/>
                  <a:gd name="T32" fmla="*/ 133 w 340"/>
                  <a:gd name="T33" fmla="*/ 397 h 430"/>
                  <a:gd name="T34" fmla="*/ 181 w 340"/>
                  <a:gd name="T35" fmla="*/ 410 h 430"/>
                  <a:gd name="T36" fmla="*/ 184 w 340"/>
                  <a:gd name="T37" fmla="*/ 375 h 430"/>
                  <a:gd name="T38" fmla="*/ 198 w 340"/>
                  <a:gd name="T39" fmla="*/ 374 h 430"/>
                  <a:gd name="T40" fmla="*/ 215 w 340"/>
                  <a:gd name="T41" fmla="*/ 416 h 430"/>
                  <a:gd name="T42" fmla="*/ 240 w 340"/>
                  <a:gd name="T43" fmla="*/ 406 h 430"/>
                  <a:gd name="T44" fmla="*/ 230 w 340"/>
                  <a:gd name="T45" fmla="*/ 341 h 430"/>
                  <a:gd name="T46" fmla="*/ 250 w 340"/>
                  <a:gd name="T47" fmla="*/ 322 h 430"/>
                  <a:gd name="T48" fmla="*/ 268 w 340"/>
                  <a:gd name="T49" fmla="*/ 373 h 430"/>
                  <a:gd name="T50" fmla="*/ 316 w 340"/>
                  <a:gd name="T51" fmla="*/ 385 h 430"/>
                  <a:gd name="T52" fmla="*/ 295 w 340"/>
                  <a:gd name="T53" fmla="*/ 310 h 430"/>
                  <a:gd name="T54" fmla="*/ 263 w 340"/>
                  <a:gd name="T55" fmla="*/ 288 h 430"/>
                  <a:gd name="T56" fmla="*/ 264 w 340"/>
                  <a:gd name="T57" fmla="*/ 259 h 430"/>
                  <a:gd name="T58" fmla="*/ 265 w 340"/>
                  <a:gd name="T59" fmla="*/ 233 h 430"/>
                  <a:gd name="T60" fmla="*/ 300 w 340"/>
                  <a:gd name="T61" fmla="*/ 199 h 430"/>
                  <a:gd name="T62" fmla="*/ 275 w 340"/>
                  <a:gd name="T63" fmla="*/ 161 h 430"/>
                  <a:gd name="T64" fmla="*/ 217 w 340"/>
                  <a:gd name="T65" fmla="*/ 159 h 430"/>
                  <a:gd name="T66" fmla="*/ 270 w 340"/>
                  <a:gd name="T67" fmla="*/ 132 h 430"/>
                  <a:gd name="T68" fmla="*/ 316 w 340"/>
                  <a:gd name="T69" fmla="*/ 126 h 430"/>
                  <a:gd name="T70" fmla="*/ 332 w 340"/>
                  <a:gd name="T71" fmla="*/ 110 h 430"/>
                  <a:gd name="T72" fmla="*/ 321 w 340"/>
                  <a:gd name="T73" fmla="*/ 75 h 430"/>
                  <a:gd name="T74" fmla="*/ 256 w 340"/>
                  <a:gd name="T75" fmla="*/ 74 h 430"/>
                  <a:gd name="T76" fmla="*/ 240 w 340"/>
                  <a:gd name="T77" fmla="*/ 51 h 430"/>
                  <a:gd name="T78" fmla="*/ 212 w 340"/>
                  <a:gd name="T79" fmla="*/ 9 h 430"/>
                  <a:gd name="T80" fmla="*/ 190 w 340"/>
                  <a:gd name="T81" fmla="*/ 6 h 430"/>
                  <a:gd name="T82" fmla="*/ 174 w 340"/>
                  <a:gd name="T83" fmla="*/ 34 h 430"/>
                  <a:gd name="T84" fmla="*/ 183 w 340"/>
                  <a:gd name="T85" fmla="*/ 70 h 430"/>
                  <a:gd name="T86" fmla="*/ 172 w 340"/>
                  <a:gd name="T87" fmla="*/ 98 h 430"/>
                  <a:gd name="T88" fmla="*/ 65 w 340"/>
                  <a:gd name="T89" fmla="*/ 161 h 430"/>
                  <a:gd name="T90" fmla="*/ 21 w 340"/>
                  <a:gd name="T91" fmla="*/ 171 h 430"/>
                  <a:gd name="T92" fmla="*/ 10 w 340"/>
                  <a:gd name="T93" fmla="*/ 198 h 430"/>
                  <a:gd name="T94" fmla="*/ 33 w 340"/>
                  <a:gd name="T95" fmla="*/ 228 h 4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340" h="430">
                    <a:moveTo>
                      <a:pt x="194" y="225"/>
                    </a:moveTo>
                    <a:cubicBezTo>
                      <a:pt x="194" y="225"/>
                      <a:pt x="178" y="212"/>
                      <a:pt x="189" y="204"/>
                    </a:cubicBezTo>
                    <a:cubicBezTo>
                      <a:pt x="201" y="196"/>
                      <a:pt x="211" y="188"/>
                      <a:pt x="222" y="196"/>
                    </a:cubicBezTo>
                    <a:cubicBezTo>
                      <a:pt x="234" y="203"/>
                      <a:pt x="238" y="207"/>
                      <a:pt x="234" y="215"/>
                    </a:cubicBezTo>
                    <a:cubicBezTo>
                      <a:pt x="230" y="222"/>
                      <a:pt x="228" y="229"/>
                      <a:pt x="217" y="231"/>
                    </a:cubicBezTo>
                    <a:cubicBezTo>
                      <a:pt x="204" y="230"/>
                      <a:pt x="194" y="225"/>
                      <a:pt x="194" y="225"/>
                    </a:cubicBezTo>
                    <a:close/>
                    <a:moveTo>
                      <a:pt x="33" y="228"/>
                    </a:moveTo>
                    <a:cubicBezTo>
                      <a:pt x="40" y="229"/>
                      <a:pt x="52" y="231"/>
                      <a:pt x="67" y="224"/>
                    </a:cubicBezTo>
                    <a:cubicBezTo>
                      <a:pt x="82" y="216"/>
                      <a:pt x="91" y="208"/>
                      <a:pt x="105" y="194"/>
                    </a:cubicBezTo>
                    <a:cubicBezTo>
                      <a:pt x="119" y="180"/>
                      <a:pt x="153" y="155"/>
                      <a:pt x="164" y="151"/>
                    </a:cubicBezTo>
                    <a:cubicBezTo>
                      <a:pt x="176" y="146"/>
                      <a:pt x="176" y="155"/>
                      <a:pt x="170" y="163"/>
                    </a:cubicBezTo>
                    <a:cubicBezTo>
                      <a:pt x="164" y="171"/>
                      <a:pt x="150" y="188"/>
                      <a:pt x="144" y="203"/>
                    </a:cubicBezTo>
                    <a:cubicBezTo>
                      <a:pt x="139" y="218"/>
                      <a:pt x="134" y="224"/>
                      <a:pt x="142" y="250"/>
                    </a:cubicBezTo>
                    <a:cubicBezTo>
                      <a:pt x="149" y="275"/>
                      <a:pt x="160" y="275"/>
                      <a:pt x="166" y="278"/>
                    </a:cubicBezTo>
                    <a:cubicBezTo>
                      <a:pt x="172" y="281"/>
                      <a:pt x="176" y="301"/>
                      <a:pt x="170" y="300"/>
                    </a:cubicBezTo>
                    <a:cubicBezTo>
                      <a:pt x="164" y="299"/>
                      <a:pt x="136" y="327"/>
                      <a:pt x="132" y="347"/>
                    </a:cubicBezTo>
                    <a:cubicBezTo>
                      <a:pt x="127" y="366"/>
                      <a:pt x="123" y="375"/>
                      <a:pt x="133" y="397"/>
                    </a:cubicBezTo>
                    <a:cubicBezTo>
                      <a:pt x="144" y="419"/>
                      <a:pt x="174" y="413"/>
                      <a:pt x="181" y="410"/>
                    </a:cubicBezTo>
                    <a:cubicBezTo>
                      <a:pt x="189" y="407"/>
                      <a:pt x="185" y="395"/>
                      <a:pt x="184" y="375"/>
                    </a:cubicBezTo>
                    <a:cubicBezTo>
                      <a:pt x="182" y="355"/>
                      <a:pt x="192" y="364"/>
                      <a:pt x="198" y="374"/>
                    </a:cubicBezTo>
                    <a:cubicBezTo>
                      <a:pt x="204" y="384"/>
                      <a:pt x="203" y="402"/>
                      <a:pt x="215" y="416"/>
                    </a:cubicBezTo>
                    <a:cubicBezTo>
                      <a:pt x="226" y="430"/>
                      <a:pt x="235" y="419"/>
                      <a:pt x="240" y="406"/>
                    </a:cubicBezTo>
                    <a:cubicBezTo>
                      <a:pt x="245" y="393"/>
                      <a:pt x="232" y="357"/>
                      <a:pt x="230" y="341"/>
                    </a:cubicBezTo>
                    <a:cubicBezTo>
                      <a:pt x="229" y="326"/>
                      <a:pt x="238" y="322"/>
                      <a:pt x="250" y="322"/>
                    </a:cubicBezTo>
                    <a:cubicBezTo>
                      <a:pt x="262" y="322"/>
                      <a:pt x="248" y="347"/>
                      <a:pt x="268" y="373"/>
                    </a:cubicBezTo>
                    <a:cubicBezTo>
                      <a:pt x="287" y="399"/>
                      <a:pt x="292" y="396"/>
                      <a:pt x="316" y="385"/>
                    </a:cubicBezTo>
                    <a:cubicBezTo>
                      <a:pt x="340" y="375"/>
                      <a:pt x="311" y="327"/>
                      <a:pt x="295" y="310"/>
                    </a:cubicBezTo>
                    <a:cubicBezTo>
                      <a:pt x="279" y="294"/>
                      <a:pt x="263" y="294"/>
                      <a:pt x="263" y="288"/>
                    </a:cubicBezTo>
                    <a:cubicBezTo>
                      <a:pt x="263" y="282"/>
                      <a:pt x="266" y="267"/>
                      <a:pt x="264" y="259"/>
                    </a:cubicBezTo>
                    <a:cubicBezTo>
                      <a:pt x="262" y="251"/>
                      <a:pt x="258" y="239"/>
                      <a:pt x="265" y="233"/>
                    </a:cubicBezTo>
                    <a:cubicBezTo>
                      <a:pt x="273" y="226"/>
                      <a:pt x="301" y="222"/>
                      <a:pt x="300" y="199"/>
                    </a:cubicBezTo>
                    <a:cubicBezTo>
                      <a:pt x="299" y="177"/>
                      <a:pt x="294" y="175"/>
                      <a:pt x="275" y="161"/>
                    </a:cubicBezTo>
                    <a:cubicBezTo>
                      <a:pt x="257" y="148"/>
                      <a:pt x="216" y="168"/>
                      <a:pt x="217" y="159"/>
                    </a:cubicBezTo>
                    <a:cubicBezTo>
                      <a:pt x="218" y="150"/>
                      <a:pt x="250" y="138"/>
                      <a:pt x="270" y="132"/>
                    </a:cubicBezTo>
                    <a:cubicBezTo>
                      <a:pt x="290" y="125"/>
                      <a:pt x="306" y="126"/>
                      <a:pt x="316" y="126"/>
                    </a:cubicBezTo>
                    <a:cubicBezTo>
                      <a:pt x="326" y="126"/>
                      <a:pt x="326" y="118"/>
                      <a:pt x="332" y="110"/>
                    </a:cubicBezTo>
                    <a:cubicBezTo>
                      <a:pt x="337" y="102"/>
                      <a:pt x="334" y="88"/>
                      <a:pt x="321" y="75"/>
                    </a:cubicBezTo>
                    <a:cubicBezTo>
                      <a:pt x="308" y="61"/>
                      <a:pt x="263" y="74"/>
                      <a:pt x="256" y="74"/>
                    </a:cubicBezTo>
                    <a:cubicBezTo>
                      <a:pt x="250" y="74"/>
                      <a:pt x="250" y="63"/>
                      <a:pt x="240" y="51"/>
                    </a:cubicBezTo>
                    <a:cubicBezTo>
                      <a:pt x="229" y="38"/>
                      <a:pt x="220" y="18"/>
                      <a:pt x="212" y="9"/>
                    </a:cubicBezTo>
                    <a:cubicBezTo>
                      <a:pt x="205" y="0"/>
                      <a:pt x="203" y="8"/>
                      <a:pt x="190" y="6"/>
                    </a:cubicBezTo>
                    <a:cubicBezTo>
                      <a:pt x="176" y="3"/>
                      <a:pt x="165" y="15"/>
                      <a:pt x="174" y="34"/>
                    </a:cubicBezTo>
                    <a:cubicBezTo>
                      <a:pt x="183" y="53"/>
                      <a:pt x="183" y="56"/>
                      <a:pt x="183" y="70"/>
                    </a:cubicBezTo>
                    <a:cubicBezTo>
                      <a:pt x="183" y="84"/>
                      <a:pt x="197" y="88"/>
                      <a:pt x="172" y="98"/>
                    </a:cubicBezTo>
                    <a:cubicBezTo>
                      <a:pt x="147" y="108"/>
                      <a:pt x="75" y="152"/>
                      <a:pt x="65" y="161"/>
                    </a:cubicBezTo>
                    <a:cubicBezTo>
                      <a:pt x="55" y="170"/>
                      <a:pt x="26" y="169"/>
                      <a:pt x="21" y="171"/>
                    </a:cubicBezTo>
                    <a:cubicBezTo>
                      <a:pt x="15" y="173"/>
                      <a:pt x="0" y="170"/>
                      <a:pt x="10" y="198"/>
                    </a:cubicBezTo>
                    <a:cubicBezTo>
                      <a:pt x="24" y="238"/>
                      <a:pt x="26" y="227"/>
                      <a:pt x="33" y="22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251" name="ïs1îḋè"/>
              <p:cNvSpPr/>
              <p:nvPr/>
            </p:nvSpPr>
            <p:spPr bwMode="auto">
              <a:xfrm>
                <a:off x="7263066" y="4780553"/>
                <a:ext cx="674688" cy="863600"/>
              </a:xfrm>
              <a:custGeom>
                <a:avLst/>
                <a:gdLst>
                  <a:gd name="T0" fmla="*/ 258 w 366"/>
                  <a:gd name="T1" fmla="*/ 136 h 468"/>
                  <a:gd name="T2" fmla="*/ 270 w 366"/>
                  <a:gd name="T3" fmla="*/ 115 h 468"/>
                  <a:gd name="T4" fmla="*/ 287 w 366"/>
                  <a:gd name="T5" fmla="*/ 153 h 468"/>
                  <a:gd name="T6" fmla="*/ 200 w 366"/>
                  <a:gd name="T7" fmla="*/ 103 h 468"/>
                  <a:gd name="T8" fmla="*/ 227 w 366"/>
                  <a:gd name="T9" fmla="*/ 122 h 468"/>
                  <a:gd name="T10" fmla="*/ 225 w 366"/>
                  <a:gd name="T11" fmla="*/ 167 h 468"/>
                  <a:gd name="T12" fmla="*/ 215 w 366"/>
                  <a:gd name="T13" fmla="*/ 201 h 468"/>
                  <a:gd name="T14" fmla="*/ 197 w 366"/>
                  <a:gd name="T15" fmla="*/ 167 h 468"/>
                  <a:gd name="T16" fmla="*/ 204 w 366"/>
                  <a:gd name="T17" fmla="*/ 133 h 468"/>
                  <a:gd name="T18" fmla="*/ 200 w 366"/>
                  <a:gd name="T19" fmla="*/ 103 h 468"/>
                  <a:gd name="T20" fmla="*/ 271 w 366"/>
                  <a:gd name="T21" fmla="*/ 175 h 468"/>
                  <a:gd name="T22" fmla="*/ 286 w 366"/>
                  <a:gd name="T23" fmla="*/ 190 h 468"/>
                  <a:gd name="T24" fmla="*/ 146 w 366"/>
                  <a:gd name="T25" fmla="*/ 109 h 468"/>
                  <a:gd name="T26" fmla="*/ 87 w 366"/>
                  <a:gd name="T27" fmla="*/ 173 h 468"/>
                  <a:gd name="T28" fmla="*/ 7 w 366"/>
                  <a:gd name="T29" fmla="*/ 236 h 468"/>
                  <a:gd name="T30" fmla="*/ 111 w 366"/>
                  <a:gd name="T31" fmla="*/ 239 h 468"/>
                  <a:gd name="T32" fmla="*/ 108 w 366"/>
                  <a:gd name="T33" fmla="*/ 279 h 468"/>
                  <a:gd name="T34" fmla="*/ 110 w 366"/>
                  <a:gd name="T35" fmla="*/ 332 h 468"/>
                  <a:gd name="T36" fmla="*/ 139 w 366"/>
                  <a:gd name="T37" fmla="*/ 316 h 468"/>
                  <a:gd name="T38" fmla="*/ 159 w 366"/>
                  <a:gd name="T39" fmla="*/ 326 h 468"/>
                  <a:gd name="T40" fmla="*/ 189 w 366"/>
                  <a:gd name="T41" fmla="*/ 330 h 468"/>
                  <a:gd name="T42" fmla="*/ 217 w 366"/>
                  <a:gd name="T43" fmla="*/ 281 h 468"/>
                  <a:gd name="T44" fmla="*/ 284 w 366"/>
                  <a:gd name="T45" fmla="*/ 237 h 468"/>
                  <a:gd name="T46" fmla="*/ 287 w 366"/>
                  <a:gd name="T47" fmla="*/ 396 h 468"/>
                  <a:gd name="T48" fmla="*/ 284 w 366"/>
                  <a:gd name="T49" fmla="*/ 461 h 468"/>
                  <a:gd name="T50" fmla="*/ 319 w 366"/>
                  <a:gd name="T51" fmla="*/ 393 h 468"/>
                  <a:gd name="T52" fmla="*/ 327 w 366"/>
                  <a:gd name="T53" fmla="*/ 227 h 468"/>
                  <a:gd name="T54" fmla="*/ 363 w 366"/>
                  <a:gd name="T55" fmla="*/ 202 h 468"/>
                  <a:gd name="T56" fmla="*/ 324 w 366"/>
                  <a:gd name="T57" fmla="*/ 162 h 468"/>
                  <a:gd name="T58" fmla="*/ 330 w 366"/>
                  <a:gd name="T59" fmla="*/ 85 h 468"/>
                  <a:gd name="T60" fmla="*/ 324 w 366"/>
                  <a:gd name="T61" fmla="*/ 23 h 468"/>
                  <a:gd name="T62" fmla="*/ 275 w 366"/>
                  <a:gd name="T63" fmla="*/ 29 h 468"/>
                  <a:gd name="T64" fmla="*/ 286 w 366"/>
                  <a:gd name="T65" fmla="*/ 69 h 468"/>
                  <a:gd name="T66" fmla="*/ 253 w 366"/>
                  <a:gd name="T67" fmla="*/ 65 h 468"/>
                  <a:gd name="T68" fmla="*/ 212 w 366"/>
                  <a:gd name="T69" fmla="*/ 52 h 468"/>
                  <a:gd name="T70" fmla="*/ 115 w 366"/>
                  <a:gd name="T71" fmla="*/ 68 h 468"/>
                  <a:gd name="T72" fmla="*/ 30 w 366"/>
                  <a:gd name="T73" fmla="*/ 163 h 468"/>
                  <a:gd name="T74" fmla="*/ 96 w 366"/>
                  <a:gd name="T75" fmla="*/ 132 h 4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366" h="468">
                    <a:moveTo>
                      <a:pt x="270" y="152"/>
                    </a:moveTo>
                    <a:cubicBezTo>
                      <a:pt x="270" y="152"/>
                      <a:pt x="273" y="146"/>
                      <a:pt x="258" y="136"/>
                    </a:cubicBezTo>
                    <a:cubicBezTo>
                      <a:pt x="242" y="126"/>
                      <a:pt x="247" y="126"/>
                      <a:pt x="254" y="122"/>
                    </a:cubicBezTo>
                    <a:cubicBezTo>
                      <a:pt x="261" y="119"/>
                      <a:pt x="262" y="114"/>
                      <a:pt x="270" y="115"/>
                    </a:cubicBezTo>
                    <a:cubicBezTo>
                      <a:pt x="279" y="116"/>
                      <a:pt x="285" y="112"/>
                      <a:pt x="287" y="120"/>
                    </a:cubicBezTo>
                    <a:cubicBezTo>
                      <a:pt x="289" y="128"/>
                      <a:pt x="291" y="151"/>
                      <a:pt x="287" y="153"/>
                    </a:cubicBezTo>
                    <a:cubicBezTo>
                      <a:pt x="284" y="155"/>
                      <a:pt x="271" y="153"/>
                      <a:pt x="270" y="152"/>
                    </a:cubicBezTo>
                    <a:close/>
                    <a:moveTo>
                      <a:pt x="200" y="103"/>
                    </a:moveTo>
                    <a:cubicBezTo>
                      <a:pt x="200" y="99"/>
                      <a:pt x="207" y="96"/>
                      <a:pt x="216" y="102"/>
                    </a:cubicBezTo>
                    <a:cubicBezTo>
                      <a:pt x="225" y="108"/>
                      <a:pt x="228" y="113"/>
                      <a:pt x="227" y="122"/>
                    </a:cubicBezTo>
                    <a:cubicBezTo>
                      <a:pt x="225" y="131"/>
                      <a:pt x="222" y="135"/>
                      <a:pt x="223" y="145"/>
                    </a:cubicBezTo>
                    <a:cubicBezTo>
                      <a:pt x="223" y="156"/>
                      <a:pt x="217" y="162"/>
                      <a:pt x="225" y="167"/>
                    </a:cubicBezTo>
                    <a:cubicBezTo>
                      <a:pt x="232" y="173"/>
                      <a:pt x="235" y="171"/>
                      <a:pt x="233" y="185"/>
                    </a:cubicBezTo>
                    <a:cubicBezTo>
                      <a:pt x="231" y="202"/>
                      <a:pt x="214" y="210"/>
                      <a:pt x="215" y="201"/>
                    </a:cubicBezTo>
                    <a:cubicBezTo>
                      <a:pt x="215" y="192"/>
                      <a:pt x="220" y="185"/>
                      <a:pt x="213" y="176"/>
                    </a:cubicBezTo>
                    <a:cubicBezTo>
                      <a:pt x="205" y="167"/>
                      <a:pt x="204" y="178"/>
                      <a:pt x="197" y="167"/>
                    </a:cubicBezTo>
                    <a:cubicBezTo>
                      <a:pt x="191" y="155"/>
                      <a:pt x="195" y="154"/>
                      <a:pt x="199" y="152"/>
                    </a:cubicBezTo>
                    <a:cubicBezTo>
                      <a:pt x="204" y="149"/>
                      <a:pt x="209" y="147"/>
                      <a:pt x="204" y="133"/>
                    </a:cubicBezTo>
                    <a:cubicBezTo>
                      <a:pt x="199" y="119"/>
                      <a:pt x="198" y="127"/>
                      <a:pt x="197" y="119"/>
                    </a:cubicBezTo>
                    <a:cubicBezTo>
                      <a:pt x="196" y="112"/>
                      <a:pt x="200" y="107"/>
                      <a:pt x="200" y="103"/>
                    </a:cubicBezTo>
                    <a:close/>
                    <a:moveTo>
                      <a:pt x="246" y="206"/>
                    </a:moveTo>
                    <a:cubicBezTo>
                      <a:pt x="243" y="205"/>
                      <a:pt x="264" y="181"/>
                      <a:pt x="271" y="175"/>
                    </a:cubicBezTo>
                    <a:cubicBezTo>
                      <a:pt x="277" y="170"/>
                      <a:pt x="289" y="166"/>
                      <a:pt x="288" y="173"/>
                    </a:cubicBezTo>
                    <a:cubicBezTo>
                      <a:pt x="287" y="180"/>
                      <a:pt x="291" y="185"/>
                      <a:pt x="286" y="190"/>
                    </a:cubicBezTo>
                    <a:cubicBezTo>
                      <a:pt x="282" y="195"/>
                      <a:pt x="250" y="207"/>
                      <a:pt x="246" y="206"/>
                    </a:cubicBezTo>
                    <a:close/>
                    <a:moveTo>
                      <a:pt x="146" y="109"/>
                    </a:moveTo>
                    <a:cubicBezTo>
                      <a:pt x="146" y="114"/>
                      <a:pt x="141" y="124"/>
                      <a:pt x="134" y="134"/>
                    </a:cubicBezTo>
                    <a:cubicBezTo>
                      <a:pt x="127" y="144"/>
                      <a:pt x="103" y="162"/>
                      <a:pt x="87" y="173"/>
                    </a:cubicBezTo>
                    <a:cubicBezTo>
                      <a:pt x="70" y="183"/>
                      <a:pt x="23" y="206"/>
                      <a:pt x="16" y="212"/>
                    </a:cubicBezTo>
                    <a:cubicBezTo>
                      <a:pt x="10" y="218"/>
                      <a:pt x="0" y="213"/>
                      <a:pt x="7" y="236"/>
                    </a:cubicBezTo>
                    <a:cubicBezTo>
                      <a:pt x="13" y="258"/>
                      <a:pt x="24" y="253"/>
                      <a:pt x="55" y="252"/>
                    </a:cubicBezTo>
                    <a:cubicBezTo>
                      <a:pt x="85" y="250"/>
                      <a:pt x="106" y="237"/>
                      <a:pt x="111" y="239"/>
                    </a:cubicBezTo>
                    <a:cubicBezTo>
                      <a:pt x="116" y="242"/>
                      <a:pt x="119" y="251"/>
                      <a:pt x="119" y="259"/>
                    </a:cubicBezTo>
                    <a:cubicBezTo>
                      <a:pt x="120" y="266"/>
                      <a:pt x="116" y="270"/>
                      <a:pt x="108" y="279"/>
                    </a:cubicBezTo>
                    <a:cubicBezTo>
                      <a:pt x="100" y="288"/>
                      <a:pt x="100" y="303"/>
                      <a:pt x="100" y="311"/>
                    </a:cubicBezTo>
                    <a:cubicBezTo>
                      <a:pt x="101" y="318"/>
                      <a:pt x="104" y="325"/>
                      <a:pt x="110" y="332"/>
                    </a:cubicBezTo>
                    <a:cubicBezTo>
                      <a:pt x="117" y="338"/>
                      <a:pt x="119" y="333"/>
                      <a:pt x="127" y="333"/>
                    </a:cubicBezTo>
                    <a:cubicBezTo>
                      <a:pt x="134" y="332"/>
                      <a:pt x="138" y="323"/>
                      <a:pt x="139" y="316"/>
                    </a:cubicBezTo>
                    <a:cubicBezTo>
                      <a:pt x="140" y="308"/>
                      <a:pt x="148" y="313"/>
                      <a:pt x="155" y="314"/>
                    </a:cubicBezTo>
                    <a:cubicBezTo>
                      <a:pt x="161" y="316"/>
                      <a:pt x="158" y="318"/>
                      <a:pt x="159" y="326"/>
                    </a:cubicBezTo>
                    <a:cubicBezTo>
                      <a:pt x="159" y="334"/>
                      <a:pt x="159" y="336"/>
                      <a:pt x="168" y="339"/>
                    </a:cubicBezTo>
                    <a:cubicBezTo>
                      <a:pt x="177" y="343"/>
                      <a:pt x="178" y="342"/>
                      <a:pt x="189" y="330"/>
                    </a:cubicBezTo>
                    <a:cubicBezTo>
                      <a:pt x="199" y="319"/>
                      <a:pt x="187" y="291"/>
                      <a:pt x="193" y="292"/>
                    </a:cubicBezTo>
                    <a:cubicBezTo>
                      <a:pt x="198" y="293"/>
                      <a:pt x="209" y="289"/>
                      <a:pt x="217" y="281"/>
                    </a:cubicBezTo>
                    <a:cubicBezTo>
                      <a:pt x="225" y="273"/>
                      <a:pt x="232" y="272"/>
                      <a:pt x="243" y="263"/>
                    </a:cubicBezTo>
                    <a:cubicBezTo>
                      <a:pt x="253" y="254"/>
                      <a:pt x="278" y="233"/>
                      <a:pt x="284" y="237"/>
                    </a:cubicBezTo>
                    <a:cubicBezTo>
                      <a:pt x="290" y="240"/>
                      <a:pt x="285" y="282"/>
                      <a:pt x="286" y="321"/>
                    </a:cubicBezTo>
                    <a:cubicBezTo>
                      <a:pt x="288" y="361"/>
                      <a:pt x="286" y="379"/>
                      <a:pt x="287" y="396"/>
                    </a:cubicBezTo>
                    <a:cubicBezTo>
                      <a:pt x="289" y="413"/>
                      <a:pt x="278" y="425"/>
                      <a:pt x="278" y="434"/>
                    </a:cubicBezTo>
                    <a:cubicBezTo>
                      <a:pt x="277" y="443"/>
                      <a:pt x="278" y="454"/>
                      <a:pt x="284" y="461"/>
                    </a:cubicBezTo>
                    <a:cubicBezTo>
                      <a:pt x="291" y="468"/>
                      <a:pt x="296" y="458"/>
                      <a:pt x="305" y="449"/>
                    </a:cubicBezTo>
                    <a:cubicBezTo>
                      <a:pt x="314" y="440"/>
                      <a:pt x="315" y="424"/>
                      <a:pt x="319" y="393"/>
                    </a:cubicBezTo>
                    <a:cubicBezTo>
                      <a:pt x="323" y="362"/>
                      <a:pt x="318" y="269"/>
                      <a:pt x="320" y="252"/>
                    </a:cubicBezTo>
                    <a:cubicBezTo>
                      <a:pt x="321" y="236"/>
                      <a:pt x="323" y="232"/>
                      <a:pt x="327" y="227"/>
                    </a:cubicBezTo>
                    <a:cubicBezTo>
                      <a:pt x="332" y="222"/>
                      <a:pt x="332" y="212"/>
                      <a:pt x="340" y="211"/>
                    </a:cubicBezTo>
                    <a:cubicBezTo>
                      <a:pt x="349" y="210"/>
                      <a:pt x="360" y="212"/>
                      <a:pt x="363" y="202"/>
                    </a:cubicBezTo>
                    <a:cubicBezTo>
                      <a:pt x="366" y="192"/>
                      <a:pt x="364" y="182"/>
                      <a:pt x="358" y="177"/>
                    </a:cubicBezTo>
                    <a:cubicBezTo>
                      <a:pt x="352" y="172"/>
                      <a:pt x="326" y="167"/>
                      <a:pt x="324" y="162"/>
                    </a:cubicBezTo>
                    <a:cubicBezTo>
                      <a:pt x="322" y="158"/>
                      <a:pt x="323" y="119"/>
                      <a:pt x="322" y="108"/>
                    </a:cubicBezTo>
                    <a:cubicBezTo>
                      <a:pt x="322" y="96"/>
                      <a:pt x="324" y="98"/>
                      <a:pt x="330" y="85"/>
                    </a:cubicBezTo>
                    <a:cubicBezTo>
                      <a:pt x="336" y="73"/>
                      <a:pt x="333" y="65"/>
                      <a:pt x="334" y="48"/>
                    </a:cubicBezTo>
                    <a:cubicBezTo>
                      <a:pt x="334" y="32"/>
                      <a:pt x="334" y="33"/>
                      <a:pt x="324" y="23"/>
                    </a:cubicBezTo>
                    <a:cubicBezTo>
                      <a:pt x="315" y="14"/>
                      <a:pt x="306" y="6"/>
                      <a:pt x="292" y="3"/>
                    </a:cubicBezTo>
                    <a:cubicBezTo>
                      <a:pt x="278" y="0"/>
                      <a:pt x="274" y="12"/>
                      <a:pt x="275" y="29"/>
                    </a:cubicBezTo>
                    <a:cubicBezTo>
                      <a:pt x="275" y="47"/>
                      <a:pt x="278" y="37"/>
                      <a:pt x="282" y="43"/>
                    </a:cubicBezTo>
                    <a:cubicBezTo>
                      <a:pt x="286" y="49"/>
                      <a:pt x="285" y="62"/>
                      <a:pt x="286" y="69"/>
                    </a:cubicBezTo>
                    <a:cubicBezTo>
                      <a:pt x="287" y="76"/>
                      <a:pt x="283" y="77"/>
                      <a:pt x="274" y="77"/>
                    </a:cubicBezTo>
                    <a:cubicBezTo>
                      <a:pt x="265" y="78"/>
                      <a:pt x="268" y="69"/>
                      <a:pt x="253" y="65"/>
                    </a:cubicBezTo>
                    <a:cubicBezTo>
                      <a:pt x="238" y="60"/>
                      <a:pt x="225" y="74"/>
                      <a:pt x="218" y="72"/>
                    </a:cubicBezTo>
                    <a:cubicBezTo>
                      <a:pt x="212" y="71"/>
                      <a:pt x="215" y="68"/>
                      <a:pt x="212" y="52"/>
                    </a:cubicBezTo>
                    <a:cubicBezTo>
                      <a:pt x="209" y="36"/>
                      <a:pt x="191" y="26"/>
                      <a:pt x="177" y="26"/>
                    </a:cubicBezTo>
                    <a:cubicBezTo>
                      <a:pt x="164" y="26"/>
                      <a:pt x="135" y="52"/>
                      <a:pt x="115" y="68"/>
                    </a:cubicBezTo>
                    <a:cubicBezTo>
                      <a:pt x="96" y="84"/>
                      <a:pt x="55" y="129"/>
                      <a:pt x="47" y="139"/>
                    </a:cubicBezTo>
                    <a:cubicBezTo>
                      <a:pt x="39" y="149"/>
                      <a:pt x="30" y="156"/>
                      <a:pt x="30" y="163"/>
                    </a:cubicBezTo>
                    <a:cubicBezTo>
                      <a:pt x="30" y="170"/>
                      <a:pt x="28" y="170"/>
                      <a:pt x="39" y="172"/>
                    </a:cubicBezTo>
                    <a:cubicBezTo>
                      <a:pt x="49" y="174"/>
                      <a:pt x="64" y="154"/>
                      <a:pt x="96" y="132"/>
                    </a:cubicBezTo>
                    <a:cubicBezTo>
                      <a:pt x="128" y="110"/>
                      <a:pt x="147" y="103"/>
                      <a:pt x="146" y="10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252" name="îš1ïdè"/>
              <p:cNvSpPr/>
              <p:nvPr/>
            </p:nvSpPr>
            <p:spPr bwMode="auto">
              <a:xfrm>
                <a:off x="5180266" y="4845640"/>
                <a:ext cx="635000" cy="660400"/>
              </a:xfrm>
              <a:custGeom>
                <a:avLst/>
                <a:gdLst>
                  <a:gd name="T0" fmla="*/ 5 w 344"/>
                  <a:gd name="T1" fmla="*/ 147 h 358"/>
                  <a:gd name="T2" fmla="*/ 38 w 344"/>
                  <a:gd name="T3" fmla="*/ 142 h 358"/>
                  <a:gd name="T4" fmla="*/ 53 w 344"/>
                  <a:gd name="T5" fmla="*/ 125 h 358"/>
                  <a:gd name="T6" fmla="*/ 43 w 344"/>
                  <a:gd name="T7" fmla="*/ 70 h 358"/>
                  <a:gd name="T8" fmla="*/ 48 w 344"/>
                  <a:gd name="T9" fmla="*/ 43 h 358"/>
                  <a:gd name="T10" fmla="*/ 76 w 344"/>
                  <a:gd name="T11" fmla="*/ 45 h 358"/>
                  <a:gd name="T12" fmla="*/ 122 w 344"/>
                  <a:gd name="T13" fmla="*/ 89 h 358"/>
                  <a:gd name="T14" fmla="*/ 122 w 344"/>
                  <a:gd name="T15" fmla="*/ 185 h 358"/>
                  <a:gd name="T16" fmla="*/ 141 w 344"/>
                  <a:gd name="T17" fmla="*/ 192 h 358"/>
                  <a:gd name="T18" fmla="*/ 231 w 344"/>
                  <a:gd name="T19" fmla="*/ 135 h 358"/>
                  <a:gd name="T20" fmla="*/ 241 w 344"/>
                  <a:gd name="T21" fmla="*/ 87 h 358"/>
                  <a:gd name="T22" fmla="*/ 234 w 344"/>
                  <a:gd name="T23" fmla="*/ 48 h 358"/>
                  <a:gd name="T24" fmla="*/ 263 w 344"/>
                  <a:gd name="T25" fmla="*/ 17 h 358"/>
                  <a:gd name="T26" fmla="*/ 298 w 344"/>
                  <a:gd name="T27" fmla="*/ 76 h 358"/>
                  <a:gd name="T28" fmla="*/ 292 w 344"/>
                  <a:gd name="T29" fmla="*/ 111 h 358"/>
                  <a:gd name="T30" fmla="*/ 317 w 344"/>
                  <a:gd name="T31" fmla="*/ 138 h 358"/>
                  <a:gd name="T32" fmla="*/ 292 w 344"/>
                  <a:gd name="T33" fmla="*/ 181 h 358"/>
                  <a:gd name="T34" fmla="*/ 270 w 344"/>
                  <a:gd name="T35" fmla="*/ 217 h 358"/>
                  <a:gd name="T36" fmla="*/ 276 w 344"/>
                  <a:gd name="T37" fmla="*/ 252 h 358"/>
                  <a:gd name="T38" fmla="*/ 334 w 344"/>
                  <a:gd name="T39" fmla="*/ 270 h 358"/>
                  <a:gd name="T40" fmla="*/ 333 w 344"/>
                  <a:gd name="T41" fmla="*/ 304 h 358"/>
                  <a:gd name="T42" fmla="*/ 226 w 344"/>
                  <a:gd name="T43" fmla="*/ 338 h 358"/>
                  <a:gd name="T44" fmla="*/ 166 w 344"/>
                  <a:gd name="T45" fmla="*/ 352 h 358"/>
                  <a:gd name="T46" fmla="*/ 191 w 344"/>
                  <a:gd name="T47" fmla="*/ 319 h 358"/>
                  <a:gd name="T48" fmla="*/ 228 w 344"/>
                  <a:gd name="T49" fmla="*/ 287 h 358"/>
                  <a:gd name="T50" fmla="*/ 231 w 344"/>
                  <a:gd name="T51" fmla="*/ 223 h 358"/>
                  <a:gd name="T52" fmla="*/ 194 w 344"/>
                  <a:gd name="T53" fmla="*/ 194 h 358"/>
                  <a:gd name="T54" fmla="*/ 152 w 344"/>
                  <a:gd name="T55" fmla="*/ 228 h 358"/>
                  <a:gd name="T56" fmla="*/ 55 w 344"/>
                  <a:gd name="T57" fmla="*/ 337 h 358"/>
                  <a:gd name="T58" fmla="*/ 21 w 344"/>
                  <a:gd name="T59" fmla="*/ 316 h 358"/>
                  <a:gd name="T60" fmla="*/ 30 w 344"/>
                  <a:gd name="T61" fmla="*/ 260 h 358"/>
                  <a:gd name="T62" fmla="*/ 53 w 344"/>
                  <a:gd name="T63" fmla="*/ 228 h 358"/>
                  <a:gd name="T64" fmla="*/ 37 w 344"/>
                  <a:gd name="T65" fmla="*/ 201 h 358"/>
                  <a:gd name="T66" fmla="*/ 1 w 344"/>
                  <a:gd name="T67" fmla="*/ 170 h 358"/>
                  <a:gd name="T68" fmla="*/ 5 w 344"/>
                  <a:gd name="T69" fmla="*/ 147 h 3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344" h="358">
                    <a:moveTo>
                      <a:pt x="5" y="147"/>
                    </a:moveTo>
                    <a:cubicBezTo>
                      <a:pt x="6" y="143"/>
                      <a:pt x="22" y="140"/>
                      <a:pt x="38" y="142"/>
                    </a:cubicBezTo>
                    <a:cubicBezTo>
                      <a:pt x="54" y="144"/>
                      <a:pt x="53" y="137"/>
                      <a:pt x="53" y="125"/>
                    </a:cubicBezTo>
                    <a:cubicBezTo>
                      <a:pt x="53" y="112"/>
                      <a:pt x="60" y="89"/>
                      <a:pt x="43" y="70"/>
                    </a:cubicBezTo>
                    <a:cubicBezTo>
                      <a:pt x="25" y="52"/>
                      <a:pt x="48" y="43"/>
                      <a:pt x="48" y="43"/>
                    </a:cubicBezTo>
                    <a:cubicBezTo>
                      <a:pt x="48" y="43"/>
                      <a:pt x="55" y="32"/>
                      <a:pt x="76" y="45"/>
                    </a:cubicBezTo>
                    <a:cubicBezTo>
                      <a:pt x="97" y="58"/>
                      <a:pt x="115" y="74"/>
                      <a:pt x="122" y="89"/>
                    </a:cubicBezTo>
                    <a:cubicBezTo>
                      <a:pt x="129" y="104"/>
                      <a:pt x="118" y="174"/>
                      <a:pt x="122" y="185"/>
                    </a:cubicBezTo>
                    <a:cubicBezTo>
                      <a:pt x="125" y="195"/>
                      <a:pt x="130" y="200"/>
                      <a:pt x="141" y="192"/>
                    </a:cubicBezTo>
                    <a:cubicBezTo>
                      <a:pt x="153" y="183"/>
                      <a:pt x="214" y="138"/>
                      <a:pt x="231" y="135"/>
                    </a:cubicBezTo>
                    <a:cubicBezTo>
                      <a:pt x="249" y="132"/>
                      <a:pt x="241" y="103"/>
                      <a:pt x="241" y="87"/>
                    </a:cubicBezTo>
                    <a:cubicBezTo>
                      <a:pt x="242" y="70"/>
                      <a:pt x="234" y="59"/>
                      <a:pt x="234" y="48"/>
                    </a:cubicBezTo>
                    <a:cubicBezTo>
                      <a:pt x="234" y="36"/>
                      <a:pt x="247" y="0"/>
                      <a:pt x="263" y="17"/>
                    </a:cubicBezTo>
                    <a:cubicBezTo>
                      <a:pt x="279" y="35"/>
                      <a:pt x="303" y="58"/>
                      <a:pt x="298" y="76"/>
                    </a:cubicBezTo>
                    <a:cubicBezTo>
                      <a:pt x="294" y="95"/>
                      <a:pt x="283" y="92"/>
                      <a:pt x="292" y="111"/>
                    </a:cubicBezTo>
                    <a:cubicBezTo>
                      <a:pt x="301" y="129"/>
                      <a:pt x="320" y="117"/>
                      <a:pt x="317" y="138"/>
                    </a:cubicBezTo>
                    <a:cubicBezTo>
                      <a:pt x="315" y="160"/>
                      <a:pt x="321" y="149"/>
                      <a:pt x="292" y="181"/>
                    </a:cubicBezTo>
                    <a:cubicBezTo>
                      <a:pt x="268" y="209"/>
                      <a:pt x="270" y="208"/>
                      <a:pt x="270" y="217"/>
                    </a:cubicBezTo>
                    <a:cubicBezTo>
                      <a:pt x="270" y="226"/>
                      <a:pt x="266" y="249"/>
                      <a:pt x="276" y="252"/>
                    </a:cubicBezTo>
                    <a:cubicBezTo>
                      <a:pt x="287" y="254"/>
                      <a:pt x="325" y="250"/>
                      <a:pt x="334" y="270"/>
                    </a:cubicBezTo>
                    <a:cubicBezTo>
                      <a:pt x="344" y="290"/>
                      <a:pt x="344" y="295"/>
                      <a:pt x="333" y="304"/>
                    </a:cubicBezTo>
                    <a:cubicBezTo>
                      <a:pt x="321" y="312"/>
                      <a:pt x="288" y="320"/>
                      <a:pt x="226" y="338"/>
                    </a:cubicBezTo>
                    <a:cubicBezTo>
                      <a:pt x="180" y="351"/>
                      <a:pt x="168" y="358"/>
                      <a:pt x="166" y="352"/>
                    </a:cubicBezTo>
                    <a:cubicBezTo>
                      <a:pt x="164" y="346"/>
                      <a:pt x="175" y="331"/>
                      <a:pt x="191" y="319"/>
                    </a:cubicBezTo>
                    <a:cubicBezTo>
                      <a:pt x="207" y="307"/>
                      <a:pt x="224" y="304"/>
                      <a:pt x="228" y="287"/>
                    </a:cubicBezTo>
                    <a:cubicBezTo>
                      <a:pt x="232" y="270"/>
                      <a:pt x="235" y="234"/>
                      <a:pt x="231" y="223"/>
                    </a:cubicBezTo>
                    <a:cubicBezTo>
                      <a:pt x="227" y="212"/>
                      <a:pt x="213" y="188"/>
                      <a:pt x="194" y="194"/>
                    </a:cubicBezTo>
                    <a:cubicBezTo>
                      <a:pt x="176" y="200"/>
                      <a:pt x="166" y="210"/>
                      <a:pt x="152" y="228"/>
                    </a:cubicBezTo>
                    <a:cubicBezTo>
                      <a:pt x="138" y="247"/>
                      <a:pt x="66" y="336"/>
                      <a:pt x="55" y="337"/>
                    </a:cubicBezTo>
                    <a:cubicBezTo>
                      <a:pt x="45" y="338"/>
                      <a:pt x="22" y="340"/>
                      <a:pt x="21" y="316"/>
                    </a:cubicBezTo>
                    <a:cubicBezTo>
                      <a:pt x="20" y="292"/>
                      <a:pt x="16" y="285"/>
                      <a:pt x="30" y="260"/>
                    </a:cubicBezTo>
                    <a:cubicBezTo>
                      <a:pt x="44" y="234"/>
                      <a:pt x="53" y="241"/>
                      <a:pt x="53" y="228"/>
                    </a:cubicBezTo>
                    <a:cubicBezTo>
                      <a:pt x="53" y="216"/>
                      <a:pt x="47" y="207"/>
                      <a:pt x="37" y="201"/>
                    </a:cubicBezTo>
                    <a:cubicBezTo>
                      <a:pt x="27" y="195"/>
                      <a:pt x="2" y="182"/>
                      <a:pt x="1" y="170"/>
                    </a:cubicBezTo>
                    <a:cubicBezTo>
                      <a:pt x="0" y="157"/>
                      <a:pt x="4" y="150"/>
                      <a:pt x="5" y="14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253" name="ï$líḋé"/>
              <p:cNvSpPr/>
              <p:nvPr/>
            </p:nvSpPr>
            <p:spPr bwMode="auto">
              <a:xfrm>
                <a:off x="5596191" y="5675903"/>
                <a:ext cx="25400" cy="30163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254" name="işḷíḓè"/>
              <p:cNvSpPr/>
              <p:nvPr/>
            </p:nvSpPr>
            <p:spPr bwMode="auto">
              <a:xfrm>
                <a:off x="5596191" y="5733053"/>
                <a:ext cx="25400" cy="149225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255" name="ïSḷîḋé"/>
              <p:cNvSpPr/>
              <p:nvPr/>
            </p:nvSpPr>
            <p:spPr bwMode="auto">
              <a:xfrm>
                <a:off x="5645403" y="5733053"/>
                <a:ext cx="136525" cy="149225"/>
              </a:xfrm>
              <a:custGeom>
                <a:avLst/>
                <a:gdLst>
                  <a:gd name="T0" fmla="*/ 42 w 74"/>
                  <a:gd name="T1" fmla="*/ 50 h 81"/>
                  <a:gd name="T2" fmla="*/ 37 w 74"/>
                  <a:gd name="T3" fmla="*/ 65 h 81"/>
                  <a:gd name="T4" fmla="*/ 32 w 74"/>
                  <a:gd name="T5" fmla="*/ 49 h 81"/>
                  <a:gd name="T6" fmla="*/ 14 w 74"/>
                  <a:gd name="T7" fmla="*/ 0 h 81"/>
                  <a:gd name="T8" fmla="*/ 0 w 74"/>
                  <a:gd name="T9" fmla="*/ 0 h 81"/>
                  <a:gd name="T10" fmla="*/ 31 w 74"/>
                  <a:gd name="T11" fmla="*/ 81 h 81"/>
                  <a:gd name="T12" fmla="*/ 44 w 74"/>
                  <a:gd name="T13" fmla="*/ 81 h 81"/>
                  <a:gd name="T14" fmla="*/ 74 w 74"/>
                  <a:gd name="T15" fmla="*/ 0 h 81"/>
                  <a:gd name="T16" fmla="*/ 60 w 74"/>
                  <a:gd name="T17" fmla="*/ 0 h 81"/>
                  <a:gd name="T18" fmla="*/ 42 w 74"/>
                  <a:gd name="T19" fmla="*/ 50 h 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74" h="81">
                    <a:moveTo>
                      <a:pt x="42" y="50"/>
                    </a:moveTo>
                    <a:cubicBezTo>
                      <a:pt x="40" y="56"/>
                      <a:pt x="38" y="61"/>
                      <a:pt x="37" y="65"/>
                    </a:cubicBezTo>
                    <a:cubicBezTo>
                      <a:pt x="35" y="59"/>
                      <a:pt x="34" y="54"/>
                      <a:pt x="32" y="49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31" y="81"/>
                      <a:pt x="31" y="81"/>
                      <a:pt x="31" y="81"/>
                    </a:cubicBezTo>
                    <a:cubicBezTo>
                      <a:pt x="44" y="81"/>
                      <a:pt x="44" y="81"/>
                      <a:pt x="44" y="81"/>
                    </a:cubicBezTo>
                    <a:cubicBezTo>
                      <a:pt x="74" y="0"/>
                      <a:pt x="74" y="0"/>
                      <a:pt x="74" y="0"/>
                    </a:cubicBezTo>
                    <a:cubicBezTo>
                      <a:pt x="60" y="0"/>
                      <a:pt x="60" y="0"/>
                      <a:pt x="60" y="0"/>
                    </a:cubicBezTo>
                    <a:lnTo>
                      <a:pt x="42" y="5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256" name="išḷiḓé"/>
              <p:cNvSpPr/>
              <p:nvPr/>
            </p:nvSpPr>
            <p:spPr bwMode="auto">
              <a:xfrm>
                <a:off x="5796216" y="5729878"/>
                <a:ext cx="138113" cy="157163"/>
              </a:xfrm>
              <a:custGeom>
                <a:avLst/>
                <a:gdLst>
                  <a:gd name="T0" fmla="*/ 38 w 75"/>
                  <a:gd name="T1" fmla="*/ 0 h 85"/>
                  <a:gd name="T2" fmla="*/ 10 w 75"/>
                  <a:gd name="T3" fmla="*/ 12 h 85"/>
                  <a:gd name="T4" fmla="*/ 0 w 75"/>
                  <a:gd name="T5" fmla="*/ 43 h 85"/>
                  <a:gd name="T6" fmla="*/ 10 w 75"/>
                  <a:gd name="T7" fmla="*/ 74 h 85"/>
                  <a:gd name="T8" fmla="*/ 39 w 75"/>
                  <a:gd name="T9" fmla="*/ 85 h 85"/>
                  <a:gd name="T10" fmla="*/ 62 w 75"/>
                  <a:gd name="T11" fmla="*/ 78 h 85"/>
                  <a:gd name="T12" fmla="*/ 74 w 75"/>
                  <a:gd name="T13" fmla="*/ 59 h 85"/>
                  <a:gd name="T14" fmla="*/ 60 w 75"/>
                  <a:gd name="T15" fmla="*/ 57 h 85"/>
                  <a:gd name="T16" fmla="*/ 52 w 75"/>
                  <a:gd name="T17" fmla="*/ 70 h 85"/>
                  <a:gd name="T18" fmla="*/ 39 w 75"/>
                  <a:gd name="T19" fmla="*/ 74 h 85"/>
                  <a:gd name="T20" fmla="*/ 22 w 75"/>
                  <a:gd name="T21" fmla="*/ 67 h 85"/>
                  <a:gd name="T22" fmla="*/ 14 w 75"/>
                  <a:gd name="T23" fmla="*/ 46 h 85"/>
                  <a:gd name="T24" fmla="*/ 75 w 75"/>
                  <a:gd name="T25" fmla="*/ 46 h 85"/>
                  <a:gd name="T26" fmla="*/ 75 w 75"/>
                  <a:gd name="T27" fmla="*/ 43 h 85"/>
                  <a:gd name="T28" fmla="*/ 64 w 75"/>
                  <a:gd name="T29" fmla="*/ 11 h 85"/>
                  <a:gd name="T30" fmla="*/ 38 w 75"/>
                  <a:gd name="T31" fmla="*/ 0 h 85"/>
                  <a:gd name="T32" fmla="*/ 15 w 75"/>
                  <a:gd name="T33" fmla="*/ 35 h 85"/>
                  <a:gd name="T34" fmla="*/ 22 w 75"/>
                  <a:gd name="T35" fmla="*/ 18 h 85"/>
                  <a:gd name="T36" fmla="*/ 38 w 75"/>
                  <a:gd name="T37" fmla="*/ 12 h 85"/>
                  <a:gd name="T38" fmla="*/ 55 w 75"/>
                  <a:gd name="T39" fmla="*/ 20 h 85"/>
                  <a:gd name="T40" fmla="*/ 60 w 75"/>
                  <a:gd name="T41" fmla="*/ 35 h 85"/>
                  <a:gd name="T42" fmla="*/ 15 w 75"/>
                  <a:gd name="T43" fmla="*/ 35 h 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75" h="85">
                    <a:moveTo>
                      <a:pt x="38" y="0"/>
                    </a:moveTo>
                    <a:cubicBezTo>
                      <a:pt x="27" y="0"/>
                      <a:pt x="17" y="4"/>
                      <a:pt x="10" y="12"/>
                    </a:cubicBezTo>
                    <a:cubicBezTo>
                      <a:pt x="3" y="19"/>
                      <a:pt x="0" y="30"/>
                      <a:pt x="0" y="43"/>
                    </a:cubicBezTo>
                    <a:cubicBezTo>
                      <a:pt x="0" y="57"/>
                      <a:pt x="3" y="67"/>
                      <a:pt x="10" y="74"/>
                    </a:cubicBezTo>
                    <a:cubicBezTo>
                      <a:pt x="17" y="81"/>
                      <a:pt x="27" y="85"/>
                      <a:pt x="39" y="85"/>
                    </a:cubicBezTo>
                    <a:cubicBezTo>
                      <a:pt x="48" y="85"/>
                      <a:pt x="56" y="83"/>
                      <a:pt x="62" y="78"/>
                    </a:cubicBezTo>
                    <a:cubicBezTo>
                      <a:pt x="68" y="74"/>
                      <a:pt x="72" y="67"/>
                      <a:pt x="74" y="59"/>
                    </a:cubicBezTo>
                    <a:cubicBezTo>
                      <a:pt x="60" y="57"/>
                      <a:pt x="60" y="57"/>
                      <a:pt x="60" y="57"/>
                    </a:cubicBezTo>
                    <a:cubicBezTo>
                      <a:pt x="58" y="63"/>
                      <a:pt x="55" y="67"/>
                      <a:pt x="52" y="70"/>
                    </a:cubicBezTo>
                    <a:cubicBezTo>
                      <a:pt x="48" y="73"/>
                      <a:pt x="44" y="74"/>
                      <a:pt x="39" y="74"/>
                    </a:cubicBezTo>
                    <a:cubicBezTo>
                      <a:pt x="32" y="74"/>
                      <a:pt x="26" y="71"/>
                      <a:pt x="22" y="67"/>
                    </a:cubicBezTo>
                    <a:cubicBezTo>
                      <a:pt x="17" y="62"/>
                      <a:pt x="15" y="55"/>
                      <a:pt x="14" y="46"/>
                    </a:cubicBezTo>
                    <a:cubicBezTo>
                      <a:pt x="75" y="46"/>
                      <a:pt x="75" y="46"/>
                      <a:pt x="75" y="46"/>
                    </a:cubicBezTo>
                    <a:cubicBezTo>
                      <a:pt x="75" y="45"/>
                      <a:pt x="75" y="43"/>
                      <a:pt x="75" y="43"/>
                    </a:cubicBezTo>
                    <a:cubicBezTo>
                      <a:pt x="75" y="29"/>
                      <a:pt x="71" y="19"/>
                      <a:pt x="64" y="11"/>
                    </a:cubicBezTo>
                    <a:cubicBezTo>
                      <a:pt x="58" y="4"/>
                      <a:pt x="49" y="0"/>
                      <a:pt x="38" y="0"/>
                    </a:cubicBezTo>
                    <a:close/>
                    <a:moveTo>
                      <a:pt x="15" y="35"/>
                    </a:moveTo>
                    <a:cubicBezTo>
                      <a:pt x="15" y="28"/>
                      <a:pt x="18" y="22"/>
                      <a:pt x="22" y="18"/>
                    </a:cubicBezTo>
                    <a:cubicBezTo>
                      <a:pt x="26" y="14"/>
                      <a:pt x="32" y="12"/>
                      <a:pt x="38" y="12"/>
                    </a:cubicBezTo>
                    <a:cubicBezTo>
                      <a:pt x="45" y="12"/>
                      <a:pt x="51" y="14"/>
                      <a:pt x="55" y="20"/>
                    </a:cubicBezTo>
                    <a:cubicBezTo>
                      <a:pt x="58" y="23"/>
                      <a:pt x="60" y="28"/>
                      <a:pt x="60" y="35"/>
                    </a:cubicBezTo>
                    <a:lnTo>
                      <a:pt x="15" y="3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257" name="iṩľidè"/>
              <p:cNvSpPr/>
              <p:nvPr/>
            </p:nvSpPr>
            <p:spPr bwMode="auto">
              <a:xfrm>
                <a:off x="5964491" y="5729878"/>
                <a:ext cx="82550" cy="152400"/>
              </a:xfrm>
              <a:custGeom>
                <a:avLst/>
                <a:gdLst>
                  <a:gd name="T0" fmla="*/ 22 w 45"/>
                  <a:gd name="T1" fmla="*/ 3 h 83"/>
                  <a:gd name="T2" fmla="*/ 13 w 45"/>
                  <a:gd name="T3" fmla="*/ 14 h 83"/>
                  <a:gd name="T4" fmla="*/ 13 w 45"/>
                  <a:gd name="T5" fmla="*/ 2 h 83"/>
                  <a:gd name="T6" fmla="*/ 0 w 45"/>
                  <a:gd name="T7" fmla="*/ 2 h 83"/>
                  <a:gd name="T8" fmla="*/ 0 w 45"/>
                  <a:gd name="T9" fmla="*/ 83 h 83"/>
                  <a:gd name="T10" fmla="*/ 14 w 45"/>
                  <a:gd name="T11" fmla="*/ 83 h 83"/>
                  <a:gd name="T12" fmla="*/ 14 w 45"/>
                  <a:gd name="T13" fmla="*/ 41 h 83"/>
                  <a:gd name="T14" fmla="*/ 17 w 45"/>
                  <a:gd name="T15" fmla="*/ 25 h 83"/>
                  <a:gd name="T16" fmla="*/ 22 w 45"/>
                  <a:gd name="T17" fmla="*/ 17 h 83"/>
                  <a:gd name="T18" fmla="*/ 30 w 45"/>
                  <a:gd name="T19" fmla="*/ 14 h 83"/>
                  <a:gd name="T20" fmla="*/ 40 w 45"/>
                  <a:gd name="T21" fmla="*/ 17 h 83"/>
                  <a:gd name="T22" fmla="*/ 45 w 45"/>
                  <a:gd name="T23" fmla="*/ 5 h 83"/>
                  <a:gd name="T24" fmla="*/ 30 w 45"/>
                  <a:gd name="T25" fmla="*/ 0 h 83"/>
                  <a:gd name="T26" fmla="*/ 22 w 45"/>
                  <a:gd name="T27" fmla="*/ 3 h 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45" h="83">
                    <a:moveTo>
                      <a:pt x="22" y="3"/>
                    </a:moveTo>
                    <a:cubicBezTo>
                      <a:pt x="19" y="5"/>
                      <a:pt x="16" y="9"/>
                      <a:pt x="13" y="14"/>
                    </a:cubicBezTo>
                    <a:cubicBezTo>
                      <a:pt x="13" y="2"/>
                      <a:pt x="13" y="2"/>
                      <a:pt x="13" y="2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83"/>
                      <a:pt x="0" y="83"/>
                      <a:pt x="0" y="83"/>
                    </a:cubicBezTo>
                    <a:cubicBezTo>
                      <a:pt x="14" y="83"/>
                      <a:pt x="14" y="83"/>
                      <a:pt x="14" y="83"/>
                    </a:cubicBezTo>
                    <a:cubicBezTo>
                      <a:pt x="14" y="41"/>
                      <a:pt x="14" y="41"/>
                      <a:pt x="14" y="41"/>
                    </a:cubicBezTo>
                    <a:cubicBezTo>
                      <a:pt x="14" y="35"/>
                      <a:pt x="15" y="30"/>
                      <a:pt x="17" y="25"/>
                    </a:cubicBezTo>
                    <a:cubicBezTo>
                      <a:pt x="18" y="21"/>
                      <a:pt x="19" y="19"/>
                      <a:pt x="22" y="17"/>
                    </a:cubicBezTo>
                    <a:cubicBezTo>
                      <a:pt x="24" y="15"/>
                      <a:pt x="27" y="14"/>
                      <a:pt x="30" y="14"/>
                    </a:cubicBezTo>
                    <a:cubicBezTo>
                      <a:pt x="33" y="14"/>
                      <a:pt x="37" y="15"/>
                      <a:pt x="40" y="17"/>
                    </a:cubicBezTo>
                    <a:cubicBezTo>
                      <a:pt x="45" y="5"/>
                      <a:pt x="45" y="5"/>
                      <a:pt x="45" y="5"/>
                    </a:cubicBezTo>
                    <a:cubicBezTo>
                      <a:pt x="40" y="2"/>
                      <a:pt x="35" y="0"/>
                      <a:pt x="30" y="0"/>
                    </a:cubicBezTo>
                    <a:cubicBezTo>
                      <a:pt x="27" y="0"/>
                      <a:pt x="24" y="1"/>
                      <a:pt x="22" y="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258" name="îṡļiḑe"/>
              <p:cNvSpPr/>
              <p:nvPr/>
            </p:nvSpPr>
            <p:spPr bwMode="auto">
              <a:xfrm>
                <a:off x="6050216" y="5729878"/>
                <a:ext cx="125413" cy="157163"/>
              </a:xfrm>
              <a:custGeom>
                <a:avLst/>
                <a:gdLst>
                  <a:gd name="T0" fmla="*/ 55 w 68"/>
                  <a:gd name="T1" fmla="*/ 40 h 85"/>
                  <a:gd name="T2" fmla="*/ 35 w 68"/>
                  <a:gd name="T3" fmla="*/ 34 h 85"/>
                  <a:gd name="T4" fmla="*/ 23 w 68"/>
                  <a:gd name="T5" fmla="*/ 31 h 85"/>
                  <a:gd name="T6" fmla="*/ 18 w 68"/>
                  <a:gd name="T7" fmla="*/ 27 h 85"/>
                  <a:gd name="T8" fmla="*/ 16 w 68"/>
                  <a:gd name="T9" fmla="*/ 22 h 85"/>
                  <a:gd name="T10" fmla="*/ 20 w 68"/>
                  <a:gd name="T11" fmla="*/ 15 h 85"/>
                  <a:gd name="T12" fmla="*/ 34 w 68"/>
                  <a:gd name="T13" fmla="*/ 12 h 85"/>
                  <a:gd name="T14" fmla="*/ 46 w 68"/>
                  <a:gd name="T15" fmla="*/ 15 h 85"/>
                  <a:gd name="T16" fmla="*/ 51 w 68"/>
                  <a:gd name="T17" fmla="*/ 25 h 85"/>
                  <a:gd name="T18" fmla="*/ 65 w 68"/>
                  <a:gd name="T19" fmla="*/ 23 h 85"/>
                  <a:gd name="T20" fmla="*/ 60 w 68"/>
                  <a:gd name="T21" fmla="*/ 10 h 85"/>
                  <a:gd name="T22" fmla="*/ 49 w 68"/>
                  <a:gd name="T23" fmla="*/ 3 h 85"/>
                  <a:gd name="T24" fmla="*/ 33 w 68"/>
                  <a:gd name="T25" fmla="*/ 0 h 85"/>
                  <a:gd name="T26" fmla="*/ 21 w 68"/>
                  <a:gd name="T27" fmla="*/ 2 h 85"/>
                  <a:gd name="T28" fmla="*/ 12 w 68"/>
                  <a:gd name="T29" fmla="*/ 6 h 85"/>
                  <a:gd name="T30" fmla="*/ 5 w 68"/>
                  <a:gd name="T31" fmla="*/ 14 h 85"/>
                  <a:gd name="T32" fmla="*/ 3 w 68"/>
                  <a:gd name="T33" fmla="*/ 24 h 85"/>
                  <a:gd name="T34" fmla="*/ 6 w 68"/>
                  <a:gd name="T35" fmla="*/ 35 h 85"/>
                  <a:gd name="T36" fmla="*/ 15 w 68"/>
                  <a:gd name="T37" fmla="*/ 42 h 85"/>
                  <a:gd name="T38" fmla="*/ 36 w 68"/>
                  <a:gd name="T39" fmla="*/ 49 h 85"/>
                  <a:gd name="T40" fmla="*/ 50 w 68"/>
                  <a:gd name="T41" fmla="*/ 54 h 85"/>
                  <a:gd name="T42" fmla="*/ 54 w 68"/>
                  <a:gd name="T43" fmla="*/ 61 h 85"/>
                  <a:gd name="T44" fmla="*/ 49 w 68"/>
                  <a:gd name="T45" fmla="*/ 70 h 85"/>
                  <a:gd name="T46" fmla="*/ 35 w 68"/>
                  <a:gd name="T47" fmla="*/ 74 h 85"/>
                  <a:gd name="T48" fmla="*/ 20 w 68"/>
                  <a:gd name="T49" fmla="*/ 69 h 85"/>
                  <a:gd name="T50" fmla="*/ 14 w 68"/>
                  <a:gd name="T51" fmla="*/ 57 h 85"/>
                  <a:gd name="T52" fmla="*/ 0 w 68"/>
                  <a:gd name="T53" fmla="*/ 59 h 85"/>
                  <a:gd name="T54" fmla="*/ 11 w 68"/>
                  <a:gd name="T55" fmla="*/ 79 h 85"/>
                  <a:gd name="T56" fmla="*/ 35 w 68"/>
                  <a:gd name="T57" fmla="*/ 85 h 85"/>
                  <a:gd name="T58" fmla="*/ 52 w 68"/>
                  <a:gd name="T59" fmla="*/ 82 h 85"/>
                  <a:gd name="T60" fmla="*/ 64 w 68"/>
                  <a:gd name="T61" fmla="*/ 72 h 85"/>
                  <a:gd name="T62" fmla="*/ 68 w 68"/>
                  <a:gd name="T63" fmla="*/ 59 h 85"/>
                  <a:gd name="T64" fmla="*/ 65 w 68"/>
                  <a:gd name="T65" fmla="*/ 48 h 85"/>
                  <a:gd name="T66" fmla="*/ 55 w 68"/>
                  <a:gd name="T67" fmla="*/ 40 h 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68" h="85">
                    <a:moveTo>
                      <a:pt x="55" y="40"/>
                    </a:moveTo>
                    <a:cubicBezTo>
                      <a:pt x="52" y="39"/>
                      <a:pt x="45" y="37"/>
                      <a:pt x="35" y="34"/>
                    </a:cubicBezTo>
                    <a:cubicBezTo>
                      <a:pt x="28" y="32"/>
                      <a:pt x="24" y="31"/>
                      <a:pt x="23" y="31"/>
                    </a:cubicBezTo>
                    <a:cubicBezTo>
                      <a:pt x="20" y="30"/>
                      <a:pt x="19" y="28"/>
                      <a:pt x="18" y="27"/>
                    </a:cubicBezTo>
                    <a:cubicBezTo>
                      <a:pt x="16" y="25"/>
                      <a:pt x="16" y="24"/>
                      <a:pt x="16" y="22"/>
                    </a:cubicBezTo>
                    <a:cubicBezTo>
                      <a:pt x="16" y="19"/>
                      <a:pt x="17" y="17"/>
                      <a:pt x="20" y="15"/>
                    </a:cubicBezTo>
                    <a:cubicBezTo>
                      <a:pt x="23" y="13"/>
                      <a:pt x="27" y="12"/>
                      <a:pt x="34" y="12"/>
                    </a:cubicBezTo>
                    <a:cubicBezTo>
                      <a:pt x="39" y="12"/>
                      <a:pt x="43" y="13"/>
                      <a:pt x="46" y="15"/>
                    </a:cubicBezTo>
                    <a:cubicBezTo>
                      <a:pt x="49" y="17"/>
                      <a:pt x="51" y="21"/>
                      <a:pt x="51" y="25"/>
                    </a:cubicBezTo>
                    <a:cubicBezTo>
                      <a:pt x="65" y="23"/>
                      <a:pt x="65" y="23"/>
                      <a:pt x="65" y="23"/>
                    </a:cubicBezTo>
                    <a:cubicBezTo>
                      <a:pt x="64" y="18"/>
                      <a:pt x="62" y="14"/>
                      <a:pt x="60" y="10"/>
                    </a:cubicBezTo>
                    <a:cubicBezTo>
                      <a:pt x="58" y="7"/>
                      <a:pt x="54" y="5"/>
                      <a:pt x="49" y="3"/>
                    </a:cubicBezTo>
                    <a:cubicBezTo>
                      <a:pt x="44" y="1"/>
                      <a:pt x="39" y="0"/>
                      <a:pt x="33" y="0"/>
                    </a:cubicBezTo>
                    <a:cubicBezTo>
                      <a:pt x="28" y="0"/>
                      <a:pt x="24" y="1"/>
                      <a:pt x="21" y="2"/>
                    </a:cubicBezTo>
                    <a:cubicBezTo>
                      <a:pt x="17" y="3"/>
                      <a:pt x="14" y="4"/>
                      <a:pt x="12" y="6"/>
                    </a:cubicBezTo>
                    <a:cubicBezTo>
                      <a:pt x="9" y="8"/>
                      <a:pt x="7" y="10"/>
                      <a:pt x="5" y="14"/>
                    </a:cubicBezTo>
                    <a:cubicBezTo>
                      <a:pt x="3" y="17"/>
                      <a:pt x="3" y="20"/>
                      <a:pt x="3" y="24"/>
                    </a:cubicBezTo>
                    <a:cubicBezTo>
                      <a:pt x="3" y="28"/>
                      <a:pt x="4" y="31"/>
                      <a:pt x="6" y="35"/>
                    </a:cubicBezTo>
                    <a:cubicBezTo>
                      <a:pt x="8" y="38"/>
                      <a:pt x="11" y="40"/>
                      <a:pt x="15" y="42"/>
                    </a:cubicBezTo>
                    <a:cubicBezTo>
                      <a:pt x="18" y="44"/>
                      <a:pt x="25" y="46"/>
                      <a:pt x="36" y="49"/>
                    </a:cubicBezTo>
                    <a:cubicBezTo>
                      <a:pt x="43" y="51"/>
                      <a:pt x="48" y="52"/>
                      <a:pt x="50" y="54"/>
                    </a:cubicBezTo>
                    <a:cubicBezTo>
                      <a:pt x="52" y="55"/>
                      <a:pt x="54" y="58"/>
                      <a:pt x="54" y="61"/>
                    </a:cubicBezTo>
                    <a:cubicBezTo>
                      <a:pt x="54" y="64"/>
                      <a:pt x="52" y="67"/>
                      <a:pt x="49" y="70"/>
                    </a:cubicBezTo>
                    <a:cubicBezTo>
                      <a:pt x="46" y="73"/>
                      <a:pt x="41" y="74"/>
                      <a:pt x="35" y="74"/>
                    </a:cubicBezTo>
                    <a:cubicBezTo>
                      <a:pt x="29" y="74"/>
                      <a:pt x="24" y="72"/>
                      <a:pt x="20" y="69"/>
                    </a:cubicBezTo>
                    <a:cubicBezTo>
                      <a:pt x="17" y="67"/>
                      <a:pt x="15" y="62"/>
                      <a:pt x="14" y="57"/>
                    </a:cubicBezTo>
                    <a:cubicBezTo>
                      <a:pt x="0" y="59"/>
                      <a:pt x="0" y="59"/>
                      <a:pt x="0" y="59"/>
                    </a:cubicBezTo>
                    <a:cubicBezTo>
                      <a:pt x="2" y="68"/>
                      <a:pt x="5" y="74"/>
                      <a:pt x="11" y="79"/>
                    </a:cubicBezTo>
                    <a:cubicBezTo>
                      <a:pt x="16" y="83"/>
                      <a:pt x="24" y="85"/>
                      <a:pt x="35" y="85"/>
                    </a:cubicBezTo>
                    <a:cubicBezTo>
                      <a:pt x="41" y="85"/>
                      <a:pt x="47" y="84"/>
                      <a:pt x="52" y="82"/>
                    </a:cubicBezTo>
                    <a:cubicBezTo>
                      <a:pt x="57" y="80"/>
                      <a:pt x="61" y="76"/>
                      <a:pt x="64" y="72"/>
                    </a:cubicBezTo>
                    <a:cubicBezTo>
                      <a:pt x="66" y="68"/>
                      <a:pt x="68" y="64"/>
                      <a:pt x="68" y="59"/>
                    </a:cubicBezTo>
                    <a:cubicBezTo>
                      <a:pt x="68" y="55"/>
                      <a:pt x="67" y="51"/>
                      <a:pt x="65" y="48"/>
                    </a:cubicBezTo>
                    <a:cubicBezTo>
                      <a:pt x="62" y="45"/>
                      <a:pt x="59" y="42"/>
                      <a:pt x="55" y="4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259" name="ïśļíḓe"/>
              <p:cNvSpPr/>
              <p:nvPr/>
            </p:nvSpPr>
            <p:spPr bwMode="auto">
              <a:xfrm>
                <a:off x="6205791" y="5675903"/>
                <a:ext cx="25400" cy="30163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260" name="îṡľîdè"/>
              <p:cNvSpPr/>
              <p:nvPr/>
            </p:nvSpPr>
            <p:spPr bwMode="auto">
              <a:xfrm>
                <a:off x="6205791" y="5733053"/>
                <a:ext cx="25400" cy="149225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261" name="îś1iḋê"/>
              <p:cNvSpPr/>
              <p:nvPr/>
            </p:nvSpPr>
            <p:spPr bwMode="auto">
              <a:xfrm>
                <a:off x="6255003" y="5680665"/>
                <a:ext cx="74613" cy="203200"/>
              </a:xfrm>
              <a:custGeom>
                <a:avLst/>
                <a:gdLst>
                  <a:gd name="T0" fmla="*/ 32 w 40"/>
                  <a:gd name="T1" fmla="*/ 98 h 110"/>
                  <a:gd name="T2" fmla="*/ 27 w 40"/>
                  <a:gd name="T3" fmla="*/ 97 h 110"/>
                  <a:gd name="T4" fmla="*/ 25 w 40"/>
                  <a:gd name="T5" fmla="*/ 94 h 110"/>
                  <a:gd name="T6" fmla="*/ 24 w 40"/>
                  <a:gd name="T7" fmla="*/ 86 h 110"/>
                  <a:gd name="T8" fmla="*/ 24 w 40"/>
                  <a:gd name="T9" fmla="*/ 39 h 110"/>
                  <a:gd name="T10" fmla="*/ 38 w 40"/>
                  <a:gd name="T11" fmla="*/ 39 h 110"/>
                  <a:gd name="T12" fmla="*/ 38 w 40"/>
                  <a:gd name="T13" fmla="*/ 28 h 110"/>
                  <a:gd name="T14" fmla="*/ 24 w 40"/>
                  <a:gd name="T15" fmla="*/ 28 h 110"/>
                  <a:gd name="T16" fmla="*/ 24 w 40"/>
                  <a:gd name="T17" fmla="*/ 0 h 110"/>
                  <a:gd name="T18" fmla="*/ 11 w 40"/>
                  <a:gd name="T19" fmla="*/ 8 h 110"/>
                  <a:gd name="T20" fmla="*/ 11 w 40"/>
                  <a:gd name="T21" fmla="*/ 28 h 110"/>
                  <a:gd name="T22" fmla="*/ 0 w 40"/>
                  <a:gd name="T23" fmla="*/ 28 h 110"/>
                  <a:gd name="T24" fmla="*/ 0 w 40"/>
                  <a:gd name="T25" fmla="*/ 39 h 110"/>
                  <a:gd name="T26" fmla="*/ 11 w 40"/>
                  <a:gd name="T27" fmla="*/ 39 h 110"/>
                  <a:gd name="T28" fmla="*/ 11 w 40"/>
                  <a:gd name="T29" fmla="*/ 86 h 110"/>
                  <a:gd name="T30" fmla="*/ 12 w 40"/>
                  <a:gd name="T31" fmla="*/ 102 h 110"/>
                  <a:gd name="T32" fmla="*/ 18 w 40"/>
                  <a:gd name="T33" fmla="*/ 108 h 110"/>
                  <a:gd name="T34" fmla="*/ 30 w 40"/>
                  <a:gd name="T35" fmla="*/ 110 h 110"/>
                  <a:gd name="T36" fmla="*/ 40 w 40"/>
                  <a:gd name="T37" fmla="*/ 109 h 110"/>
                  <a:gd name="T38" fmla="*/ 38 w 40"/>
                  <a:gd name="T39" fmla="*/ 97 h 110"/>
                  <a:gd name="T40" fmla="*/ 32 w 40"/>
                  <a:gd name="T41" fmla="*/ 98 h 1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40" h="110">
                    <a:moveTo>
                      <a:pt x="32" y="98"/>
                    </a:moveTo>
                    <a:cubicBezTo>
                      <a:pt x="30" y="98"/>
                      <a:pt x="28" y="97"/>
                      <a:pt x="27" y="97"/>
                    </a:cubicBezTo>
                    <a:cubicBezTo>
                      <a:pt x="26" y="96"/>
                      <a:pt x="25" y="95"/>
                      <a:pt x="25" y="94"/>
                    </a:cubicBezTo>
                    <a:cubicBezTo>
                      <a:pt x="24" y="93"/>
                      <a:pt x="24" y="90"/>
                      <a:pt x="24" y="86"/>
                    </a:cubicBezTo>
                    <a:cubicBezTo>
                      <a:pt x="24" y="39"/>
                      <a:pt x="24" y="39"/>
                      <a:pt x="24" y="39"/>
                    </a:cubicBezTo>
                    <a:cubicBezTo>
                      <a:pt x="38" y="39"/>
                      <a:pt x="38" y="39"/>
                      <a:pt x="38" y="39"/>
                    </a:cubicBezTo>
                    <a:cubicBezTo>
                      <a:pt x="38" y="28"/>
                      <a:pt x="38" y="28"/>
                      <a:pt x="38" y="28"/>
                    </a:cubicBezTo>
                    <a:cubicBezTo>
                      <a:pt x="24" y="28"/>
                      <a:pt x="24" y="28"/>
                      <a:pt x="24" y="28"/>
                    </a:cubicBezTo>
                    <a:cubicBezTo>
                      <a:pt x="24" y="0"/>
                      <a:pt x="24" y="0"/>
                      <a:pt x="24" y="0"/>
                    </a:cubicBezTo>
                    <a:cubicBezTo>
                      <a:pt x="11" y="8"/>
                      <a:pt x="11" y="8"/>
                      <a:pt x="11" y="8"/>
                    </a:cubicBezTo>
                    <a:cubicBezTo>
                      <a:pt x="11" y="28"/>
                      <a:pt x="11" y="28"/>
                      <a:pt x="11" y="28"/>
                    </a:cubicBezTo>
                    <a:cubicBezTo>
                      <a:pt x="0" y="28"/>
                      <a:pt x="0" y="28"/>
                      <a:pt x="0" y="28"/>
                    </a:cubicBezTo>
                    <a:cubicBezTo>
                      <a:pt x="0" y="39"/>
                      <a:pt x="0" y="39"/>
                      <a:pt x="0" y="39"/>
                    </a:cubicBezTo>
                    <a:cubicBezTo>
                      <a:pt x="11" y="39"/>
                      <a:pt x="11" y="39"/>
                      <a:pt x="11" y="39"/>
                    </a:cubicBezTo>
                    <a:cubicBezTo>
                      <a:pt x="11" y="86"/>
                      <a:pt x="11" y="86"/>
                      <a:pt x="11" y="86"/>
                    </a:cubicBezTo>
                    <a:cubicBezTo>
                      <a:pt x="11" y="94"/>
                      <a:pt x="11" y="99"/>
                      <a:pt x="12" y="102"/>
                    </a:cubicBezTo>
                    <a:cubicBezTo>
                      <a:pt x="13" y="104"/>
                      <a:pt x="15" y="106"/>
                      <a:pt x="18" y="108"/>
                    </a:cubicBezTo>
                    <a:cubicBezTo>
                      <a:pt x="21" y="110"/>
                      <a:pt x="25" y="110"/>
                      <a:pt x="30" y="110"/>
                    </a:cubicBezTo>
                    <a:cubicBezTo>
                      <a:pt x="33" y="110"/>
                      <a:pt x="36" y="110"/>
                      <a:pt x="40" y="109"/>
                    </a:cubicBezTo>
                    <a:cubicBezTo>
                      <a:pt x="38" y="97"/>
                      <a:pt x="38" y="97"/>
                      <a:pt x="38" y="97"/>
                    </a:cubicBezTo>
                    <a:cubicBezTo>
                      <a:pt x="36" y="97"/>
                      <a:pt x="34" y="98"/>
                      <a:pt x="32" y="9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262" name="išľîḋê"/>
              <p:cNvSpPr/>
              <p:nvPr/>
            </p:nvSpPr>
            <p:spPr bwMode="auto">
              <a:xfrm>
                <a:off x="6335966" y="5733053"/>
                <a:ext cx="136525" cy="211138"/>
              </a:xfrm>
              <a:custGeom>
                <a:avLst/>
                <a:gdLst>
                  <a:gd name="T0" fmla="*/ 43 w 74"/>
                  <a:gd name="T1" fmla="*/ 47 h 114"/>
                  <a:gd name="T2" fmla="*/ 37 w 74"/>
                  <a:gd name="T3" fmla="*/ 66 h 114"/>
                  <a:gd name="T4" fmla="*/ 32 w 74"/>
                  <a:gd name="T5" fmla="*/ 47 h 114"/>
                  <a:gd name="T6" fmla="*/ 15 w 74"/>
                  <a:gd name="T7" fmla="*/ 0 h 114"/>
                  <a:gd name="T8" fmla="*/ 0 w 74"/>
                  <a:gd name="T9" fmla="*/ 0 h 114"/>
                  <a:gd name="T10" fmla="*/ 31 w 74"/>
                  <a:gd name="T11" fmla="*/ 81 h 114"/>
                  <a:gd name="T12" fmla="*/ 29 w 74"/>
                  <a:gd name="T13" fmla="*/ 85 h 114"/>
                  <a:gd name="T14" fmla="*/ 25 w 74"/>
                  <a:gd name="T15" fmla="*/ 95 h 114"/>
                  <a:gd name="T16" fmla="*/ 21 w 74"/>
                  <a:gd name="T17" fmla="*/ 99 h 114"/>
                  <a:gd name="T18" fmla="*/ 13 w 74"/>
                  <a:gd name="T19" fmla="*/ 101 h 114"/>
                  <a:gd name="T20" fmla="*/ 5 w 74"/>
                  <a:gd name="T21" fmla="*/ 100 h 114"/>
                  <a:gd name="T22" fmla="*/ 7 w 74"/>
                  <a:gd name="T23" fmla="*/ 113 h 114"/>
                  <a:gd name="T24" fmla="*/ 16 w 74"/>
                  <a:gd name="T25" fmla="*/ 114 h 114"/>
                  <a:gd name="T26" fmla="*/ 27 w 74"/>
                  <a:gd name="T27" fmla="*/ 111 h 114"/>
                  <a:gd name="T28" fmla="*/ 36 w 74"/>
                  <a:gd name="T29" fmla="*/ 101 h 114"/>
                  <a:gd name="T30" fmla="*/ 43 w 74"/>
                  <a:gd name="T31" fmla="*/ 83 h 114"/>
                  <a:gd name="T32" fmla="*/ 74 w 74"/>
                  <a:gd name="T33" fmla="*/ 0 h 114"/>
                  <a:gd name="T34" fmla="*/ 60 w 74"/>
                  <a:gd name="T35" fmla="*/ 0 h 114"/>
                  <a:gd name="T36" fmla="*/ 43 w 74"/>
                  <a:gd name="T37" fmla="*/ 47 h 1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74" h="114">
                    <a:moveTo>
                      <a:pt x="43" y="47"/>
                    </a:moveTo>
                    <a:cubicBezTo>
                      <a:pt x="41" y="53"/>
                      <a:pt x="39" y="60"/>
                      <a:pt x="37" y="66"/>
                    </a:cubicBezTo>
                    <a:cubicBezTo>
                      <a:pt x="36" y="59"/>
                      <a:pt x="34" y="53"/>
                      <a:pt x="32" y="47"/>
                    </a:cubicBezTo>
                    <a:cubicBezTo>
                      <a:pt x="15" y="0"/>
                      <a:pt x="15" y="0"/>
                      <a:pt x="15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31" y="81"/>
                      <a:pt x="31" y="81"/>
                      <a:pt x="31" y="81"/>
                    </a:cubicBezTo>
                    <a:cubicBezTo>
                      <a:pt x="30" y="83"/>
                      <a:pt x="30" y="84"/>
                      <a:pt x="29" y="85"/>
                    </a:cubicBezTo>
                    <a:cubicBezTo>
                      <a:pt x="27" y="90"/>
                      <a:pt x="26" y="94"/>
                      <a:pt x="25" y="95"/>
                    </a:cubicBezTo>
                    <a:cubicBezTo>
                      <a:pt x="24" y="97"/>
                      <a:pt x="22" y="98"/>
                      <a:pt x="21" y="99"/>
                    </a:cubicBezTo>
                    <a:cubicBezTo>
                      <a:pt x="19" y="100"/>
                      <a:pt x="16" y="101"/>
                      <a:pt x="13" y="101"/>
                    </a:cubicBezTo>
                    <a:cubicBezTo>
                      <a:pt x="11" y="101"/>
                      <a:pt x="8" y="101"/>
                      <a:pt x="5" y="100"/>
                    </a:cubicBezTo>
                    <a:cubicBezTo>
                      <a:pt x="7" y="113"/>
                      <a:pt x="7" y="113"/>
                      <a:pt x="7" y="113"/>
                    </a:cubicBezTo>
                    <a:cubicBezTo>
                      <a:pt x="10" y="114"/>
                      <a:pt x="13" y="114"/>
                      <a:pt x="16" y="114"/>
                    </a:cubicBezTo>
                    <a:cubicBezTo>
                      <a:pt x="20" y="114"/>
                      <a:pt x="24" y="113"/>
                      <a:pt x="27" y="111"/>
                    </a:cubicBezTo>
                    <a:cubicBezTo>
                      <a:pt x="30" y="109"/>
                      <a:pt x="33" y="106"/>
                      <a:pt x="36" y="101"/>
                    </a:cubicBezTo>
                    <a:cubicBezTo>
                      <a:pt x="37" y="98"/>
                      <a:pt x="40" y="92"/>
                      <a:pt x="43" y="83"/>
                    </a:cubicBezTo>
                    <a:cubicBezTo>
                      <a:pt x="74" y="0"/>
                      <a:pt x="74" y="0"/>
                      <a:pt x="74" y="0"/>
                    </a:cubicBezTo>
                    <a:cubicBezTo>
                      <a:pt x="60" y="0"/>
                      <a:pt x="60" y="0"/>
                      <a:pt x="60" y="0"/>
                    </a:cubicBezTo>
                    <a:lnTo>
                      <a:pt x="43" y="4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263" name="íSḷiḑè"/>
              <p:cNvSpPr/>
              <p:nvPr/>
            </p:nvSpPr>
            <p:spPr bwMode="auto">
              <a:xfrm>
                <a:off x="6564566" y="5729878"/>
                <a:ext cx="142875" cy="157163"/>
              </a:xfrm>
              <a:custGeom>
                <a:avLst/>
                <a:gdLst>
                  <a:gd name="T0" fmla="*/ 38 w 77"/>
                  <a:gd name="T1" fmla="*/ 0 h 85"/>
                  <a:gd name="T2" fmla="*/ 13 w 77"/>
                  <a:gd name="T3" fmla="*/ 9 h 85"/>
                  <a:gd name="T4" fmla="*/ 0 w 77"/>
                  <a:gd name="T5" fmla="*/ 43 h 85"/>
                  <a:gd name="T6" fmla="*/ 11 w 77"/>
                  <a:gd name="T7" fmla="*/ 74 h 85"/>
                  <a:gd name="T8" fmla="*/ 38 w 77"/>
                  <a:gd name="T9" fmla="*/ 85 h 85"/>
                  <a:gd name="T10" fmla="*/ 58 w 77"/>
                  <a:gd name="T11" fmla="*/ 80 h 85"/>
                  <a:gd name="T12" fmla="*/ 72 w 77"/>
                  <a:gd name="T13" fmla="*/ 66 h 85"/>
                  <a:gd name="T14" fmla="*/ 77 w 77"/>
                  <a:gd name="T15" fmla="*/ 42 h 85"/>
                  <a:gd name="T16" fmla="*/ 66 w 77"/>
                  <a:gd name="T17" fmla="*/ 11 h 85"/>
                  <a:gd name="T18" fmla="*/ 38 w 77"/>
                  <a:gd name="T19" fmla="*/ 0 h 85"/>
                  <a:gd name="T20" fmla="*/ 56 w 77"/>
                  <a:gd name="T21" fmla="*/ 66 h 85"/>
                  <a:gd name="T22" fmla="*/ 38 w 77"/>
                  <a:gd name="T23" fmla="*/ 74 h 85"/>
                  <a:gd name="T24" fmla="*/ 21 w 77"/>
                  <a:gd name="T25" fmla="*/ 66 h 85"/>
                  <a:gd name="T26" fmla="*/ 15 w 77"/>
                  <a:gd name="T27" fmla="*/ 43 h 85"/>
                  <a:gd name="T28" fmla="*/ 21 w 77"/>
                  <a:gd name="T29" fmla="*/ 19 h 85"/>
                  <a:gd name="T30" fmla="*/ 38 w 77"/>
                  <a:gd name="T31" fmla="*/ 12 h 85"/>
                  <a:gd name="T32" fmla="*/ 56 w 77"/>
                  <a:gd name="T33" fmla="*/ 19 h 85"/>
                  <a:gd name="T34" fmla="*/ 62 w 77"/>
                  <a:gd name="T35" fmla="*/ 42 h 85"/>
                  <a:gd name="T36" fmla="*/ 56 w 77"/>
                  <a:gd name="T37" fmla="*/ 66 h 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77" h="85">
                    <a:moveTo>
                      <a:pt x="38" y="0"/>
                    </a:moveTo>
                    <a:cubicBezTo>
                      <a:pt x="28" y="0"/>
                      <a:pt x="20" y="3"/>
                      <a:pt x="13" y="9"/>
                    </a:cubicBezTo>
                    <a:cubicBezTo>
                      <a:pt x="5" y="16"/>
                      <a:pt x="0" y="28"/>
                      <a:pt x="0" y="43"/>
                    </a:cubicBezTo>
                    <a:cubicBezTo>
                      <a:pt x="0" y="56"/>
                      <a:pt x="4" y="67"/>
                      <a:pt x="11" y="74"/>
                    </a:cubicBezTo>
                    <a:cubicBezTo>
                      <a:pt x="18" y="82"/>
                      <a:pt x="27" y="85"/>
                      <a:pt x="38" y="85"/>
                    </a:cubicBezTo>
                    <a:cubicBezTo>
                      <a:pt x="46" y="85"/>
                      <a:pt x="52" y="84"/>
                      <a:pt x="58" y="80"/>
                    </a:cubicBezTo>
                    <a:cubicBezTo>
                      <a:pt x="64" y="77"/>
                      <a:pt x="69" y="72"/>
                      <a:pt x="72" y="66"/>
                    </a:cubicBezTo>
                    <a:cubicBezTo>
                      <a:pt x="75" y="60"/>
                      <a:pt x="77" y="52"/>
                      <a:pt x="77" y="42"/>
                    </a:cubicBezTo>
                    <a:cubicBezTo>
                      <a:pt x="77" y="29"/>
                      <a:pt x="73" y="19"/>
                      <a:pt x="66" y="11"/>
                    </a:cubicBezTo>
                    <a:cubicBezTo>
                      <a:pt x="59" y="4"/>
                      <a:pt x="50" y="0"/>
                      <a:pt x="38" y="0"/>
                    </a:cubicBezTo>
                    <a:close/>
                    <a:moveTo>
                      <a:pt x="56" y="66"/>
                    </a:moveTo>
                    <a:cubicBezTo>
                      <a:pt x="51" y="71"/>
                      <a:pt x="45" y="74"/>
                      <a:pt x="38" y="74"/>
                    </a:cubicBezTo>
                    <a:cubicBezTo>
                      <a:pt x="32" y="74"/>
                      <a:pt x="26" y="71"/>
                      <a:pt x="21" y="66"/>
                    </a:cubicBezTo>
                    <a:cubicBezTo>
                      <a:pt x="17" y="61"/>
                      <a:pt x="15" y="53"/>
                      <a:pt x="15" y="43"/>
                    </a:cubicBezTo>
                    <a:cubicBezTo>
                      <a:pt x="15" y="32"/>
                      <a:pt x="17" y="24"/>
                      <a:pt x="21" y="19"/>
                    </a:cubicBezTo>
                    <a:cubicBezTo>
                      <a:pt x="26" y="14"/>
                      <a:pt x="32" y="12"/>
                      <a:pt x="38" y="12"/>
                    </a:cubicBezTo>
                    <a:cubicBezTo>
                      <a:pt x="45" y="12"/>
                      <a:pt x="51" y="14"/>
                      <a:pt x="56" y="19"/>
                    </a:cubicBezTo>
                    <a:cubicBezTo>
                      <a:pt x="60" y="25"/>
                      <a:pt x="62" y="32"/>
                      <a:pt x="62" y="42"/>
                    </a:cubicBezTo>
                    <a:cubicBezTo>
                      <a:pt x="62" y="53"/>
                      <a:pt x="60" y="61"/>
                      <a:pt x="56" y="6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264" name="ïṣľïḑe"/>
              <p:cNvSpPr/>
              <p:nvPr/>
            </p:nvSpPr>
            <p:spPr bwMode="auto">
              <a:xfrm>
                <a:off x="6720141" y="5672728"/>
                <a:ext cx="85725" cy="209550"/>
              </a:xfrm>
              <a:custGeom>
                <a:avLst/>
                <a:gdLst>
                  <a:gd name="T0" fmla="*/ 20 w 47"/>
                  <a:gd name="T1" fmla="*/ 4 h 114"/>
                  <a:gd name="T2" fmla="*/ 13 w 47"/>
                  <a:gd name="T3" fmla="*/ 12 h 114"/>
                  <a:gd name="T4" fmla="*/ 12 w 47"/>
                  <a:gd name="T5" fmla="*/ 24 h 114"/>
                  <a:gd name="T6" fmla="*/ 12 w 47"/>
                  <a:gd name="T7" fmla="*/ 33 h 114"/>
                  <a:gd name="T8" fmla="*/ 0 w 47"/>
                  <a:gd name="T9" fmla="*/ 33 h 114"/>
                  <a:gd name="T10" fmla="*/ 0 w 47"/>
                  <a:gd name="T11" fmla="*/ 44 h 114"/>
                  <a:gd name="T12" fmla="*/ 12 w 47"/>
                  <a:gd name="T13" fmla="*/ 44 h 114"/>
                  <a:gd name="T14" fmla="*/ 12 w 47"/>
                  <a:gd name="T15" fmla="*/ 114 h 114"/>
                  <a:gd name="T16" fmla="*/ 26 w 47"/>
                  <a:gd name="T17" fmla="*/ 114 h 114"/>
                  <a:gd name="T18" fmla="*/ 26 w 47"/>
                  <a:gd name="T19" fmla="*/ 44 h 114"/>
                  <a:gd name="T20" fmla="*/ 41 w 47"/>
                  <a:gd name="T21" fmla="*/ 44 h 114"/>
                  <a:gd name="T22" fmla="*/ 41 w 47"/>
                  <a:gd name="T23" fmla="*/ 33 h 114"/>
                  <a:gd name="T24" fmla="*/ 26 w 47"/>
                  <a:gd name="T25" fmla="*/ 33 h 114"/>
                  <a:gd name="T26" fmla="*/ 26 w 47"/>
                  <a:gd name="T27" fmla="*/ 26 h 114"/>
                  <a:gd name="T28" fmla="*/ 28 w 47"/>
                  <a:gd name="T29" fmla="*/ 16 h 114"/>
                  <a:gd name="T30" fmla="*/ 37 w 47"/>
                  <a:gd name="T31" fmla="*/ 13 h 114"/>
                  <a:gd name="T32" fmla="*/ 45 w 47"/>
                  <a:gd name="T33" fmla="*/ 14 h 114"/>
                  <a:gd name="T34" fmla="*/ 47 w 47"/>
                  <a:gd name="T35" fmla="*/ 2 h 114"/>
                  <a:gd name="T36" fmla="*/ 34 w 47"/>
                  <a:gd name="T37" fmla="*/ 0 h 114"/>
                  <a:gd name="T38" fmla="*/ 20 w 47"/>
                  <a:gd name="T39" fmla="*/ 4 h 1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47" h="114">
                    <a:moveTo>
                      <a:pt x="20" y="4"/>
                    </a:moveTo>
                    <a:cubicBezTo>
                      <a:pt x="17" y="6"/>
                      <a:pt x="15" y="9"/>
                      <a:pt x="13" y="12"/>
                    </a:cubicBezTo>
                    <a:cubicBezTo>
                      <a:pt x="12" y="15"/>
                      <a:pt x="12" y="19"/>
                      <a:pt x="12" y="24"/>
                    </a:cubicBezTo>
                    <a:cubicBezTo>
                      <a:pt x="12" y="33"/>
                      <a:pt x="12" y="33"/>
                      <a:pt x="12" y="33"/>
                    </a:cubicBezTo>
                    <a:cubicBezTo>
                      <a:pt x="0" y="33"/>
                      <a:pt x="0" y="33"/>
                      <a:pt x="0" y="33"/>
                    </a:cubicBezTo>
                    <a:cubicBezTo>
                      <a:pt x="0" y="44"/>
                      <a:pt x="0" y="44"/>
                      <a:pt x="0" y="44"/>
                    </a:cubicBezTo>
                    <a:cubicBezTo>
                      <a:pt x="12" y="44"/>
                      <a:pt x="12" y="44"/>
                      <a:pt x="12" y="44"/>
                    </a:cubicBezTo>
                    <a:cubicBezTo>
                      <a:pt x="12" y="114"/>
                      <a:pt x="12" y="114"/>
                      <a:pt x="12" y="114"/>
                    </a:cubicBezTo>
                    <a:cubicBezTo>
                      <a:pt x="26" y="114"/>
                      <a:pt x="26" y="114"/>
                      <a:pt x="26" y="114"/>
                    </a:cubicBezTo>
                    <a:cubicBezTo>
                      <a:pt x="26" y="44"/>
                      <a:pt x="26" y="44"/>
                      <a:pt x="26" y="44"/>
                    </a:cubicBezTo>
                    <a:cubicBezTo>
                      <a:pt x="41" y="44"/>
                      <a:pt x="41" y="44"/>
                      <a:pt x="41" y="44"/>
                    </a:cubicBezTo>
                    <a:cubicBezTo>
                      <a:pt x="41" y="33"/>
                      <a:pt x="41" y="33"/>
                      <a:pt x="41" y="33"/>
                    </a:cubicBezTo>
                    <a:cubicBezTo>
                      <a:pt x="26" y="33"/>
                      <a:pt x="26" y="33"/>
                      <a:pt x="26" y="33"/>
                    </a:cubicBezTo>
                    <a:cubicBezTo>
                      <a:pt x="26" y="26"/>
                      <a:pt x="26" y="26"/>
                      <a:pt x="26" y="26"/>
                    </a:cubicBezTo>
                    <a:cubicBezTo>
                      <a:pt x="26" y="21"/>
                      <a:pt x="27" y="17"/>
                      <a:pt x="28" y="16"/>
                    </a:cubicBezTo>
                    <a:cubicBezTo>
                      <a:pt x="30" y="14"/>
                      <a:pt x="33" y="13"/>
                      <a:pt x="37" y="13"/>
                    </a:cubicBezTo>
                    <a:cubicBezTo>
                      <a:pt x="40" y="13"/>
                      <a:pt x="42" y="13"/>
                      <a:pt x="45" y="14"/>
                    </a:cubicBezTo>
                    <a:cubicBezTo>
                      <a:pt x="47" y="2"/>
                      <a:pt x="47" y="2"/>
                      <a:pt x="47" y="2"/>
                    </a:cubicBezTo>
                    <a:cubicBezTo>
                      <a:pt x="43" y="1"/>
                      <a:pt x="38" y="0"/>
                      <a:pt x="34" y="0"/>
                    </a:cubicBezTo>
                    <a:cubicBezTo>
                      <a:pt x="28" y="0"/>
                      <a:pt x="24" y="1"/>
                      <a:pt x="20" y="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265" name="ïš1îḍè"/>
              <p:cNvSpPr/>
              <p:nvPr/>
            </p:nvSpPr>
            <p:spPr bwMode="auto">
              <a:xfrm>
                <a:off x="6890003" y="5672728"/>
                <a:ext cx="165100" cy="214313"/>
              </a:xfrm>
              <a:custGeom>
                <a:avLst/>
                <a:gdLst>
                  <a:gd name="T0" fmla="*/ 71 w 90"/>
                  <a:gd name="T1" fmla="*/ 55 h 116"/>
                  <a:gd name="T2" fmla="*/ 46 w 90"/>
                  <a:gd name="T3" fmla="*/ 48 h 116"/>
                  <a:gd name="T4" fmla="*/ 23 w 90"/>
                  <a:gd name="T5" fmla="*/ 40 h 116"/>
                  <a:gd name="T6" fmla="*/ 19 w 90"/>
                  <a:gd name="T7" fmla="*/ 30 h 116"/>
                  <a:gd name="T8" fmla="*/ 25 w 90"/>
                  <a:gd name="T9" fmla="*/ 18 h 116"/>
                  <a:gd name="T10" fmla="*/ 45 w 90"/>
                  <a:gd name="T11" fmla="*/ 13 h 116"/>
                  <a:gd name="T12" fmla="*/ 64 w 90"/>
                  <a:gd name="T13" fmla="*/ 19 h 116"/>
                  <a:gd name="T14" fmla="*/ 72 w 90"/>
                  <a:gd name="T15" fmla="*/ 35 h 116"/>
                  <a:gd name="T16" fmla="*/ 86 w 90"/>
                  <a:gd name="T17" fmla="*/ 34 h 116"/>
                  <a:gd name="T18" fmla="*/ 81 w 90"/>
                  <a:gd name="T19" fmla="*/ 16 h 116"/>
                  <a:gd name="T20" fmla="*/ 66 w 90"/>
                  <a:gd name="T21" fmla="*/ 4 h 116"/>
                  <a:gd name="T22" fmla="*/ 44 w 90"/>
                  <a:gd name="T23" fmla="*/ 0 h 116"/>
                  <a:gd name="T24" fmla="*/ 24 w 90"/>
                  <a:gd name="T25" fmla="*/ 4 h 116"/>
                  <a:gd name="T26" fmla="*/ 10 w 90"/>
                  <a:gd name="T27" fmla="*/ 15 h 116"/>
                  <a:gd name="T28" fmla="*/ 5 w 90"/>
                  <a:gd name="T29" fmla="*/ 31 h 116"/>
                  <a:gd name="T30" fmla="*/ 9 w 90"/>
                  <a:gd name="T31" fmla="*/ 45 h 116"/>
                  <a:gd name="T32" fmla="*/ 21 w 90"/>
                  <a:gd name="T33" fmla="*/ 56 h 116"/>
                  <a:gd name="T34" fmla="*/ 42 w 90"/>
                  <a:gd name="T35" fmla="*/ 63 h 116"/>
                  <a:gd name="T36" fmla="*/ 62 w 90"/>
                  <a:gd name="T37" fmla="*/ 68 h 116"/>
                  <a:gd name="T38" fmla="*/ 72 w 90"/>
                  <a:gd name="T39" fmla="*/ 75 h 116"/>
                  <a:gd name="T40" fmla="*/ 75 w 90"/>
                  <a:gd name="T41" fmla="*/ 84 h 116"/>
                  <a:gd name="T42" fmla="*/ 72 w 90"/>
                  <a:gd name="T43" fmla="*/ 93 h 116"/>
                  <a:gd name="T44" fmla="*/ 63 w 90"/>
                  <a:gd name="T45" fmla="*/ 100 h 116"/>
                  <a:gd name="T46" fmla="*/ 48 w 90"/>
                  <a:gd name="T47" fmla="*/ 103 h 116"/>
                  <a:gd name="T48" fmla="*/ 30 w 90"/>
                  <a:gd name="T49" fmla="*/ 100 h 116"/>
                  <a:gd name="T50" fmla="*/ 19 w 90"/>
                  <a:gd name="T51" fmla="*/ 91 h 116"/>
                  <a:gd name="T52" fmla="*/ 14 w 90"/>
                  <a:gd name="T53" fmla="*/ 77 h 116"/>
                  <a:gd name="T54" fmla="*/ 0 w 90"/>
                  <a:gd name="T55" fmla="*/ 78 h 116"/>
                  <a:gd name="T56" fmla="*/ 7 w 90"/>
                  <a:gd name="T57" fmla="*/ 98 h 116"/>
                  <a:gd name="T58" fmla="*/ 23 w 90"/>
                  <a:gd name="T59" fmla="*/ 112 h 116"/>
                  <a:gd name="T60" fmla="*/ 48 w 90"/>
                  <a:gd name="T61" fmla="*/ 116 h 116"/>
                  <a:gd name="T62" fmla="*/ 70 w 90"/>
                  <a:gd name="T63" fmla="*/ 112 h 116"/>
                  <a:gd name="T64" fmla="*/ 85 w 90"/>
                  <a:gd name="T65" fmla="*/ 100 h 116"/>
                  <a:gd name="T66" fmla="*/ 90 w 90"/>
                  <a:gd name="T67" fmla="*/ 83 h 116"/>
                  <a:gd name="T68" fmla="*/ 85 w 90"/>
                  <a:gd name="T69" fmla="*/ 67 h 116"/>
                  <a:gd name="T70" fmla="*/ 71 w 90"/>
                  <a:gd name="T71" fmla="*/ 55 h 1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90" h="116">
                    <a:moveTo>
                      <a:pt x="71" y="55"/>
                    </a:moveTo>
                    <a:cubicBezTo>
                      <a:pt x="66" y="53"/>
                      <a:pt x="58" y="51"/>
                      <a:pt x="46" y="48"/>
                    </a:cubicBezTo>
                    <a:cubicBezTo>
                      <a:pt x="34" y="45"/>
                      <a:pt x="26" y="43"/>
                      <a:pt x="23" y="40"/>
                    </a:cubicBezTo>
                    <a:cubicBezTo>
                      <a:pt x="21" y="38"/>
                      <a:pt x="19" y="34"/>
                      <a:pt x="19" y="30"/>
                    </a:cubicBezTo>
                    <a:cubicBezTo>
                      <a:pt x="19" y="26"/>
                      <a:pt x="21" y="22"/>
                      <a:pt x="25" y="18"/>
                    </a:cubicBezTo>
                    <a:cubicBezTo>
                      <a:pt x="29" y="15"/>
                      <a:pt x="36" y="13"/>
                      <a:pt x="45" y="13"/>
                    </a:cubicBezTo>
                    <a:cubicBezTo>
                      <a:pt x="53" y="13"/>
                      <a:pt x="60" y="15"/>
                      <a:pt x="64" y="19"/>
                    </a:cubicBezTo>
                    <a:cubicBezTo>
                      <a:pt x="69" y="22"/>
                      <a:pt x="71" y="28"/>
                      <a:pt x="72" y="35"/>
                    </a:cubicBezTo>
                    <a:cubicBezTo>
                      <a:pt x="86" y="34"/>
                      <a:pt x="86" y="34"/>
                      <a:pt x="86" y="34"/>
                    </a:cubicBezTo>
                    <a:cubicBezTo>
                      <a:pt x="86" y="27"/>
                      <a:pt x="84" y="21"/>
                      <a:pt x="81" y="16"/>
                    </a:cubicBezTo>
                    <a:cubicBezTo>
                      <a:pt x="77" y="11"/>
                      <a:pt x="73" y="7"/>
                      <a:pt x="66" y="4"/>
                    </a:cubicBezTo>
                    <a:cubicBezTo>
                      <a:pt x="60" y="2"/>
                      <a:pt x="53" y="0"/>
                      <a:pt x="44" y="0"/>
                    </a:cubicBezTo>
                    <a:cubicBezTo>
                      <a:pt x="37" y="0"/>
                      <a:pt x="30" y="1"/>
                      <a:pt x="24" y="4"/>
                    </a:cubicBezTo>
                    <a:cubicBezTo>
                      <a:pt x="17" y="7"/>
                      <a:pt x="13" y="10"/>
                      <a:pt x="10" y="15"/>
                    </a:cubicBezTo>
                    <a:cubicBezTo>
                      <a:pt x="6" y="20"/>
                      <a:pt x="5" y="25"/>
                      <a:pt x="5" y="31"/>
                    </a:cubicBezTo>
                    <a:cubicBezTo>
                      <a:pt x="5" y="36"/>
                      <a:pt x="6" y="41"/>
                      <a:pt x="9" y="45"/>
                    </a:cubicBezTo>
                    <a:cubicBezTo>
                      <a:pt x="11" y="49"/>
                      <a:pt x="15" y="53"/>
                      <a:pt x="21" y="56"/>
                    </a:cubicBezTo>
                    <a:cubicBezTo>
                      <a:pt x="25" y="58"/>
                      <a:pt x="32" y="60"/>
                      <a:pt x="42" y="63"/>
                    </a:cubicBezTo>
                    <a:cubicBezTo>
                      <a:pt x="53" y="65"/>
                      <a:pt x="59" y="67"/>
                      <a:pt x="62" y="68"/>
                    </a:cubicBezTo>
                    <a:cubicBezTo>
                      <a:pt x="67" y="70"/>
                      <a:pt x="70" y="72"/>
                      <a:pt x="72" y="75"/>
                    </a:cubicBezTo>
                    <a:cubicBezTo>
                      <a:pt x="74" y="77"/>
                      <a:pt x="75" y="80"/>
                      <a:pt x="75" y="84"/>
                    </a:cubicBezTo>
                    <a:cubicBezTo>
                      <a:pt x="75" y="87"/>
                      <a:pt x="74" y="91"/>
                      <a:pt x="72" y="93"/>
                    </a:cubicBezTo>
                    <a:cubicBezTo>
                      <a:pt x="70" y="96"/>
                      <a:pt x="67" y="99"/>
                      <a:pt x="63" y="100"/>
                    </a:cubicBezTo>
                    <a:cubicBezTo>
                      <a:pt x="58" y="102"/>
                      <a:pt x="53" y="103"/>
                      <a:pt x="48" y="103"/>
                    </a:cubicBezTo>
                    <a:cubicBezTo>
                      <a:pt x="41" y="103"/>
                      <a:pt x="35" y="102"/>
                      <a:pt x="30" y="100"/>
                    </a:cubicBezTo>
                    <a:cubicBezTo>
                      <a:pt x="25" y="97"/>
                      <a:pt x="22" y="94"/>
                      <a:pt x="19" y="91"/>
                    </a:cubicBezTo>
                    <a:cubicBezTo>
                      <a:pt x="17" y="87"/>
                      <a:pt x="15" y="83"/>
                      <a:pt x="14" y="77"/>
                    </a:cubicBezTo>
                    <a:cubicBezTo>
                      <a:pt x="0" y="78"/>
                      <a:pt x="0" y="78"/>
                      <a:pt x="0" y="78"/>
                    </a:cubicBezTo>
                    <a:cubicBezTo>
                      <a:pt x="1" y="86"/>
                      <a:pt x="3" y="93"/>
                      <a:pt x="7" y="98"/>
                    </a:cubicBezTo>
                    <a:cubicBezTo>
                      <a:pt x="11" y="104"/>
                      <a:pt x="16" y="109"/>
                      <a:pt x="23" y="112"/>
                    </a:cubicBezTo>
                    <a:cubicBezTo>
                      <a:pt x="30" y="115"/>
                      <a:pt x="38" y="116"/>
                      <a:pt x="48" y="116"/>
                    </a:cubicBezTo>
                    <a:cubicBezTo>
                      <a:pt x="56" y="116"/>
                      <a:pt x="64" y="115"/>
                      <a:pt x="70" y="112"/>
                    </a:cubicBezTo>
                    <a:cubicBezTo>
                      <a:pt x="76" y="109"/>
                      <a:pt x="81" y="105"/>
                      <a:pt x="85" y="100"/>
                    </a:cubicBezTo>
                    <a:cubicBezTo>
                      <a:pt x="88" y="94"/>
                      <a:pt x="90" y="89"/>
                      <a:pt x="90" y="83"/>
                    </a:cubicBezTo>
                    <a:cubicBezTo>
                      <a:pt x="90" y="77"/>
                      <a:pt x="88" y="71"/>
                      <a:pt x="85" y="67"/>
                    </a:cubicBezTo>
                    <a:cubicBezTo>
                      <a:pt x="82" y="62"/>
                      <a:pt x="77" y="58"/>
                      <a:pt x="71" y="5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266" name="iṥľïḍê"/>
              <p:cNvSpPr/>
              <p:nvPr/>
            </p:nvSpPr>
            <p:spPr bwMode="auto">
              <a:xfrm>
                <a:off x="7080503" y="5729878"/>
                <a:ext cx="131763" cy="157163"/>
              </a:xfrm>
              <a:custGeom>
                <a:avLst/>
                <a:gdLst>
                  <a:gd name="T0" fmla="*/ 50 w 71"/>
                  <a:gd name="T1" fmla="*/ 69 h 85"/>
                  <a:gd name="T2" fmla="*/ 37 w 71"/>
                  <a:gd name="T3" fmla="*/ 74 h 85"/>
                  <a:gd name="T4" fmla="*/ 21 w 71"/>
                  <a:gd name="T5" fmla="*/ 66 h 85"/>
                  <a:gd name="T6" fmla="*/ 14 w 71"/>
                  <a:gd name="T7" fmla="*/ 43 h 85"/>
                  <a:gd name="T8" fmla="*/ 21 w 71"/>
                  <a:gd name="T9" fmla="*/ 19 h 85"/>
                  <a:gd name="T10" fmla="*/ 38 w 71"/>
                  <a:gd name="T11" fmla="*/ 12 h 85"/>
                  <a:gd name="T12" fmla="*/ 49 w 71"/>
                  <a:gd name="T13" fmla="*/ 16 h 85"/>
                  <a:gd name="T14" fmla="*/ 56 w 71"/>
                  <a:gd name="T15" fmla="*/ 28 h 85"/>
                  <a:gd name="T16" fmla="*/ 70 w 71"/>
                  <a:gd name="T17" fmla="*/ 26 h 85"/>
                  <a:gd name="T18" fmla="*/ 59 w 71"/>
                  <a:gd name="T19" fmla="*/ 7 h 85"/>
                  <a:gd name="T20" fmla="*/ 37 w 71"/>
                  <a:gd name="T21" fmla="*/ 0 h 85"/>
                  <a:gd name="T22" fmla="*/ 18 w 71"/>
                  <a:gd name="T23" fmla="*/ 5 h 85"/>
                  <a:gd name="T24" fmla="*/ 4 w 71"/>
                  <a:gd name="T25" fmla="*/ 20 h 85"/>
                  <a:gd name="T26" fmla="*/ 0 w 71"/>
                  <a:gd name="T27" fmla="*/ 43 h 85"/>
                  <a:gd name="T28" fmla="*/ 10 w 71"/>
                  <a:gd name="T29" fmla="*/ 74 h 85"/>
                  <a:gd name="T30" fmla="*/ 37 w 71"/>
                  <a:gd name="T31" fmla="*/ 85 h 85"/>
                  <a:gd name="T32" fmla="*/ 60 w 71"/>
                  <a:gd name="T33" fmla="*/ 77 h 85"/>
                  <a:gd name="T34" fmla="*/ 71 w 71"/>
                  <a:gd name="T35" fmla="*/ 55 h 85"/>
                  <a:gd name="T36" fmla="*/ 57 w 71"/>
                  <a:gd name="T37" fmla="*/ 54 h 85"/>
                  <a:gd name="T38" fmla="*/ 50 w 71"/>
                  <a:gd name="T39" fmla="*/ 69 h 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71" h="85">
                    <a:moveTo>
                      <a:pt x="50" y="69"/>
                    </a:moveTo>
                    <a:cubicBezTo>
                      <a:pt x="47" y="72"/>
                      <a:pt x="42" y="74"/>
                      <a:pt x="37" y="74"/>
                    </a:cubicBezTo>
                    <a:cubicBezTo>
                      <a:pt x="30" y="74"/>
                      <a:pt x="25" y="71"/>
                      <a:pt x="21" y="66"/>
                    </a:cubicBezTo>
                    <a:cubicBezTo>
                      <a:pt x="16" y="61"/>
                      <a:pt x="14" y="54"/>
                      <a:pt x="14" y="43"/>
                    </a:cubicBezTo>
                    <a:cubicBezTo>
                      <a:pt x="14" y="32"/>
                      <a:pt x="16" y="24"/>
                      <a:pt x="21" y="19"/>
                    </a:cubicBezTo>
                    <a:cubicBezTo>
                      <a:pt x="25" y="14"/>
                      <a:pt x="31" y="12"/>
                      <a:pt x="38" y="12"/>
                    </a:cubicBezTo>
                    <a:cubicBezTo>
                      <a:pt x="42" y="12"/>
                      <a:pt x="46" y="13"/>
                      <a:pt x="49" y="16"/>
                    </a:cubicBezTo>
                    <a:cubicBezTo>
                      <a:pt x="53" y="18"/>
                      <a:pt x="55" y="23"/>
                      <a:pt x="56" y="28"/>
                    </a:cubicBezTo>
                    <a:cubicBezTo>
                      <a:pt x="70" y="26"/>
                      <a:pt x="70" y="26"/>
                      <a:pt x="70" y="26"/>
                    </a:cubicBezTo>
                    <a:cubicBezTo>
                      <a:pt x="68" y="18"/>
                      <a:pt x="64" y="11"/>
                      <a:pt x="59" y="7"/>
                    </a:cubicBezTo>
                    <a:cubicBezTo>
                      <a:pt x="53" y="2"/>
                      <a:pt x="46" y="0"/>
                      <a:pt x="37" y="0"/>
                    </a:cubicBezTo>
                    <a:cubicBezTo>
                      <a:pt x="30" y="0"/>
                      <a:pt x="24" y="2"/>
                      <a:pt x="18" y="5"/>
                    </a:cubicBezTo>
                    <a:cubicBezTo>
                      <a:pt x="12" y="8"/>
                      <a:pt x="7" y="13"/>
                      <a:pt x="4" y="20"/>
                    </a:cubicBezTo>
                    <a:cubicBezTo>
                      <a:pt x="2" y="27"/>
                      <a:pt x="0" y="34"/>
                      <a:pt x="0" y="43"/>
                    </a:cubicBezTo>
                    <a:cubicBezTo>
                      <a:pt x="0" y="57"/>
                      <a:pt x="3" y="67"/>
                      <a:pt x="10" y="74"/>
                    </a:cubicBezTo>
                    <a:cubicBezTo>
                      <a:pt x="17" y="82"/>
                      <a:pt x="26" y="85"/>
                      <a:pt x="37" y="85"/>
                    </a:cubicBezTo>
                    <a:cubicBezTo>
                      <a:pt x="46" y="85"/>
                      <a:pt x="53" y="83"/>
                      <a:pt x="60" y="77"/>
                    </a:cubicBezTo>
                    <a:cubicBezTo>
                      <a:pt x="66" y="72"/>
                      <a:pt x="69" y="65"/>
                      <a:pt x="71" y="55"/>
                    </a:cubicBezTo>
                    <a:cubicBezTo>
                      <a:pt x="57" y="54"/>
                      <a:pt x="57" y="54"/>
                      <a:pt x="57" y="54"/>
                    </a:cubicBezTo>
                    <a:cubicBezTo>
                      <a:pt x="56" y="60"/>
                      <a:pt x="54" y="66"/>
                      <a:pt x="50" y="6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267" name="íṥ1ïdê"/>
              <p:cNvSpPr/>
              <p:nvPr/>
            </p:nvSpPr>
            <p:spPr bwMode="auto">
              <a:xfrm>
                <a:off x="7234491" y="5675903"/>
                <a:ext cx="25400" cy="30163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268" name="îṡ1îďé"/>
              <p:cNvSpPr/>
              <p:nvPr/>
            </p:nvSpPr>
            <p:spPr bwMode="auto">
              <a:xfrm>
                <a:off x="7234491" y="5733053"/>
                <a:ext cx="25400" cy="149225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269" name="íṩḷïḑé"/>
              <p:cNvSpPr/>
              <p:nvPr/>
            </p:nvSpPr>
            <p:spPr bwMode="auto">
              <a:xfrm>
                <a:off x="7290053" y="5729878"/>
                <a:ext cx="138113" cy="157163"/>
              </a:xfrm>
              <a:custGeom>
                <a:avLst/>
                <a:gdLst>
                  <a:gd name="T0" fmla="*/ 38 w 75"/>
                  <a:gd name="T1" fmla="*/ 0 h 85"/>
                  <a:gd name="T2" fmla="*/ 10 w 75"/>
                  <a:gd name="T3" fmla="*/ 12 h 85"/>
                  <a:gd name="T4" fmla="*/ 0 w 75"/>
                  <a:gd name="T5" fmla="*/ 43 h 85"/>
                  <a:gd name="T6" fmla="*/ 10 w 75"/>
                  <a:gd name="T7" fmla="*/ 74 h 85"/>
                  <a:gd name="T8" fmla="*/ 39 w 75"/>
                  <a:gd name="T9" fmla="*/ 85 h 85"/>
                  <a:gd name="T10" fmla="*/ 62 w 75"/>
                  <a:gd name="T11" fmla="*/ 78 h 85"/>
                  <a:gd name="T12" fmla="*/ 74 w 75"/>
                  <a:gd name="T13" fmla="*/ 59 h 85"/>
                  <a:gd name="T14" fmla="*/ 60 w 75"/>
                  <a:gd name="T15" fmla="*/ 57 h 85"/>
                  <a:gd name="T16" fmla="*/ 52 w 75"/>
                  <a:gd name="T17" fmla="*/ 70 h 85"/>
                  <a:gd name="T18" fmla="*/ 39 w 75"/>
                  <a:gd name="T19" fmla="*/ 74 h 85"/>
                  <a:gd name="T20" fmla="*/ 22 w 75"/>
                  <a:gd name="T21" fmla="*/ 67 h 85"/>
                  <a:gd name="T22" fmla="*/ 14 w 75"/>
                  <a:gd name="T23" fmla="*/ 46 h 85"/>
                  <a:gd name="T24" fmla="*/ 75 w 75"/>
                  <a:gd name="T25" fmla="*/ 46 h 85"/>
                  <a:gd name="T26" fmla="*/ 75 w 75"/>
                  <a:gd name="T27" fmla="*/ 43 h 85"/>
                  <a:gd name="T28" fmla="*/ 65 w 75"/>
                  <a:gd name="T29" fmla="*/ 11 h 85"/>
                  <a:gd name="T30" fmla="*/ 38 w 75"/>
                  <a:gd name="T31" fmla="*/ 0 h 85"/>
                  <a:gd name="T32" fmla="*/ 15 w 75"/>
                  <a:gd name="T33" fmla="*/ 35 h 85"/>
                  <a:gd name="T34" fmla="*/ 22 w 75"/>
                  <a:gd name="T35" fmla="*/ 18 h 85"/>
                  <a:gd name="T36" fmla="*/ 38 w 75"/>
                  <a:gd name="T37" fmla="*/ 12 h 85"/>
                  <a:gd name="T38" fmla="*/ 55 w 75"/>
                  <a:gd name="T39" fmla="*/ 20 h 85"/>
                  <a:gd name="T40" fmla="*/ 60 w 75"/>
                  <a:gd name="T41" fmla="*/ 35 h 85"/>
                  <a:gd name="T42" fmla="*/ 15 w 75"/>
                  <a:gd name="T43" fmla="*/ 35 h 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75" h="85">
                    <a:moveTo>
                      <a:pt x="38" y="0"/>
                    </a:moveTo>
                    <a:cubicBezTo>
                      <a:pt x="27" y="0"/>
                      <a:pt x="18" y="4"/>
                      <a:pt x="10" y="12"/>
                    </a:cubicBezTo>
                    <a:cubicBezTo>
                      <a:pt x="3" y="19"/>
                      <a:pt x="0" y="30"/>
                      <a:pt x="0" y="43"/>
                    </a:cubicBezTo>
                    <a:cubicBezTo>
                      <a:pt x="0" y="57"/>
                      <a:pt x="3" y="67"/>
                      <a:pt x="10" y="74"/>
                    </a:cubicBezTo>
                    <a:cubicBezTo>
                      <a:pt x="17" y="81"/>
                      <a:pt x="27" y="85"/>
                      <a:pt x="39" y="85"/>
                    </a:cubicBezTo>
                    <a:cubicBezTo>
                      <a:pt x="48" y="85"/>
                      <a:pt x="56" y="83"/>
                      <a:pt x="62" y="78"/>
                    </a:cubicBezTo>
                    <a:cubicBezTo>
                      <a:pt x="68" y="74"/>
                      <a:pt x="72" y="67"/>
                      <a:pt x="74" y="59"/>
                    </a:cubicBezTo>
                    <a:cubicBezTo>
                      <a:pt x="60" y="57"/>
                      <a:pt x="60" y="57"/>
                      <a:pt x="60" y="57"/>
                    </a:cubicBezTo>
                    <a:cubicBezTo>
                      <a:pt x="58" y="63"/>
                      <a:pt x="55" y="67"/>
                      <a:pt x="52" y="70"/>
                    </a:cubicBezTo>
                    <a:cubicBezTo>
                      <a:pt x="48" y="73"/>
                      <a:pt x="44" y="74"/>
                      <a:pt x="39" y="74"/>
                    </a:cubicBezTo>
                    <a:cubicBezTo>
                      <a:pt x="32" y="74"/>
                      <a:pt x="26" y="71"/>
                      <a:pt x="22" y="67"/>
                    </a:cubicBezTo>
                    <a:cubicBezTo>
                      <a:pt x="17" y="62"/>
                      <a:pt x="15" y="55"/>
                      <a:pt x="14" y="46"/>
                    </a:cubicBezTo>
                    <a:cubicBezTo>
                      <a:pt x="75" y="46"/>
                      <a:pt x="75" y="46"/>
                      <a:pt x="75" y="46"/>
                    </a:cubicBezTo>
                    <a:cubicBezTo>
                      <a:pt x="75" y="45"/>
                      <a:pt x="75" y="43"/>
                      <a:pt x="75" y="43"/>
                    </a:cubicBezTo>
                    <a:cubicBezTo>
                      <a:pt x="75" y="29"/>
                      <a:pt x="71" y="19"/>
                      <a:pt x="65" y="11"/>
                    </a:cubicBezTo>
                    <a:cubicBezTo>
                      <a:pt x="58" y="4"/>
                      <a:pt x="49" y="0"/>
                      <a:pt x="38" y="0"/>
                    </a:cubicBezTo>
                    <a:close/>
                    <a:moveTo>
                      <a:pt x="15" y="35"/>
                    </a:moveTo>
                    <a:cubicBezTo>
                      <a:pt x="15" y="28"/>
                      <a:pt x="18" y="22"/>
                      <a:pt x="22" y="18"/>
                    </a:cubicBezTo>
                    <a:cubicBezTo>
                      <a:pt x="26" y="14"/>
                      <a:pt x="32" y="12"/>
                      <a:pt x="38" y="12"/>
                    </a:cubicBezTo>
                    <a:cubicBezTo>
                      <a:pt x="45" y="12"/>
                      <a:pt x="51" y="14"/>
                      <a:pt x="55" y="20"/>
                    </a:cubicBezTo>
                    <a:cubicBezTo>
                      <a:pt x="58" y="23"/>
                      <a:pt x="60" y="28"/>
                      <a:pt x="60" y="35"/>
                    </a:cubicBezTo>
                    <a:lnTo>
                      <a:pt x="15" y="3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270" name="ïşḷiḋè"/>
              <p:cNvSpPr/>
              <p:nvPr/>
            </p:nvSpPr>
            <p:spPr bwMode="auto">
              <a:xfrm>
                <a:off x="7458328" y="5729878"/>
                <a:ext cx="122238" cy="152400"/>
              </a:xfrm>
              <a:custGeom>
                <a:avLst/>
                <a:gdLst>
                  <a:gd name="T0" fmla="*/ 61 w 66"/>
                  <a:gd name="T1" fmla="*/ 10 h 83"/>
                  <a:gd name="T2" fmla="*/ 51 w 66"/>
                  <a:gd name="T3" fmla="*/ 3 h 83"/>
                  <a:gd name="T4" fmla="*/ 38 w 66"/>
                  <a:gd name="T5" fmla="*/ 0 h 83"/>
                  <a:gd name="T6" fmla="*/ 12 w 66"/>
                  <a:gd name="T7" fmla="*/ 14 h 83"/>
                  <a:gd name="T8" fmla="*/ 12 w 66"/>
                  <a:gd name="T9" fmla="*/ 2 h 83"/>
                  <a:gd name="T10" fmla="*/ 0 w 66"/>
                  <a:gd name="T11" fmla="*/ 2 h 83"/>
                  <a:gd name="T12" fmla="*/ 0 w 66"/>
                  <a:gd name="T13" fmla="*/ 83 h 83"/>
                  <a:gd name="T14" fmla="*/ 13 w 66"/>
                  <a:gd name="T15" fmla="*/ 83 h 83"/>
                  <a:gd name="T16" fmla="*/ 13 w 66"/>
                  <a:gd name="T17" fmla="*/ 39 h 83"/>
                  <a:gd name="T18" fmla="*/ 20 w 66"/>
                  <a:gd name="T19" fmla="*/ 18 h 83"/>
                  <a:gd name="T20" fmla="*/ 35 w 66"/>
                  <a:gd name="T21" fmla="*/ 12 h 83"/>
                  <a:gd name="T22" fmla="*/ 45 w 66"/>
                  <a:gd name="T23" fmla="*/ 15 h 83"/>
                  <a:gd name="T24" fmla="*/ 50 w 66"/>
                  <a:gd name="T25" fmla="*/ 21 h 83"/>
                  <a:gd name="T26" fmla="*/ 52 w 66"/>
                  <a:gd name="T27" fmla="*/ 34 h 83"/>
                  <a:gd name="T28" fmla="*/ 52 w 66"/>
                  <a:gd name="T29" fmla="*/ 83 h 83"/>
                  <a:gd name="T30" fmla="*/ 66 w 66"/>
                  <a:gd name="T31" fmla="*/ 83 h 83"/>
                  <a:gd name="T32" fmla="*/ 66 w 66"/>
                  <a:gd name="T33" fmla="*/ 33 h 83"/>
                  <a:gd name="T34" fmla="*/ 65 w 66"/>
                  <a:gd name="T35" fmla="*/ 20 h 83"/>
                  <a:gd name="T36" fmla="*/ 61 w 66"/>
                  <a:gd name="T37" fmla="*/ 10 h 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66" h="83">
                    <a:moveTo>
                      <a:pt x="61" y="10"/>
                    </a:moveTo>
                    <a:cubicBezTo>
                      <a:pt x="59" y="7"/>
                      <a:pt x="56" y="5"/>
                      <a:pt x="51" y="3"/>
                    </a:cubicBezTo>
                    <a:cubicBezTo>
                      <a:pt x="47" y="1"/>
                      <a:pt x="43" y="0"/>
                      <a:pt x="38" y="0"/>
                    </a:cubicBezTo>
                    <a:cubicBezTo>
                      <a:pt x="27" y="0"/>
                      <a:pt x="18" y="5"/>
                      <a:pt x="12" y="14"/>
                    </a:cubicBezTo>
                    <a:cubicBezTo>
                      <a:pt x="12" y="2"/>
                      <a:pt x="12" y="2"/>
                      <a:pt x="12" y="2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83"/>
                      <a:pt x="0" y="83"/>
                      <a:pt x="0" y="83"/>
                    </a:cubicBezTo>
                    <a:cubicBezTo>
                      <a:pt x="13" y="83"/>
                      <a:pt x="13" y="83"/>
                      <a:pt x="13" y="83"/>
                    </a:cubicBezTo>
                    <a:cubicBezTo>
                      <a:pt x="13" y="39"/>
                      <a:pt x="13" y="39"/>
                      <a:pt x="13" y="39"/>
                    </a:cubicBezTo>
                    <a:cubicBezTo>
                      <a:pt x="13" y="29"/>
                      <a:pt x="16" y="21"/>
                      <a:pt x="20" y="18"/>
                    </a:cubicBezTo>
                    <a:cubicBezTo>
                      <a:pt x="24" y="14"/>
                      <a:pt x="29" y="12"/>
                      <a:pt x="35" y="12"/>
                    </a:cubicBezTo>
                    <a:cubicBezTo>
                      <a:pt x="39" y="12"/>
                      <a:pt x="42" y="13"/>
                      <a:pt x="45" y="15"/>
                    </a:cubicBezTo>
                    <a:cubicBezTo>
                      <a:pt x="47" y="16"/>
                      <a:pt x="49" y="19"/>
                      <a:pt x="50" y="21"/>
                    </a:cubicBezTo>
                    <a:cubicBezTo>
                      <a:pt x="51" y="24"/>
                      <a:pt x="52" y="28"/>
                      <a:pt x="52" y="34"/>
                    </a:cubicBezTo>
                    <a:cubicBezTo>
                      <a:pt x="52" y="83"/>
                      <a:pt x="52" y="83"/>
                      <a:pt x="52" y="83"/>
                    </a:cubicBezTo>
                    <a:cubicBezTo>
                      <a:pt x="66" y="83"/>
                      <a:pt x="66" y="83"/>
                      <a:pt x="66" y="83"/>
                    </a:cubicBezTo>
                    <a:cubicBezTo>
                      <a:pt x="66" y="33"/>
                      <a:pt x="66" y="33"/>
                      <a:pt x="66" y="33"/>
                    </a:cubicBezTo>
                    <a:cubicBezTo>
                      <a:pt x="66" y="27"/>
                      <a:pt x="65" y="23"/>
                      <a:pt x="65" y="20"/>
                    </a:cubicBezTo>
                    <a:cubicBezTo>
                      <a:pt x="64" y="16"/>
                      <a:pt x="63" y="13"/>
                      <a:pt x="61" y="1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271" name="îṩľiḍé"/>
              <p:cNvSpPr/>
              <p:nvPr/>
            </p:nvSpPr>
            <p:spPr bwMode="auto">
              <a:xfrm>
                <a:off x="7612316" y="5729878"/>
                <a:ext cx="128588" cy="157163"/>
              </a:xfrm>
              <a:custGeom>
                <a:avLst/>
                <a:gdLst>
                  <a:gd name="T0" fmla="*/ 50 w 70"/>
                  <a:gd name="T1" fmla="*/ 69 h 85"/>
                  <a:gd name="T2" fmla="*/ 36 w 70"/>
                  <a:gd name="T3" fmla="*/ 74 h 85"/>
                  <a:gd name="T4" fmla="*/ 20 w 70"/>
                  <a:gd name="T5" fmla="*/ 66 h 85"/>
                  <a:gd name="T6" fmla="*/ 14 w 70"/>
                  <a:gd name="T7" fmla="*/ 43 h 85"/>
                  <a:gd name="T8" fmla="*/ 20 w 70"/>
                  <a:gd name="T9" fmla="*/ 19 h 85"/>
                  <a:gd name="T10" fmla="*/ 37 w 70"/>
                  <a:gd name="T11" fmla="*/ 12 h 85"/>
                  <a:gd name="T12" fmla="*/ 49 w 70"/>
                  <a:gd name="T13" fmla="*/ 16 h 85"/>
                  <a:gd name="T14" fmla="*/ 56 w 70"/>
                  <a:gd name="T15" fmla="*/ 28 h 85"/>
                  <a:gd name="T16" fmla="*/ 69 w 70"/>
                  <a:gd name="T17" fmla="*/ 26 h 85"/>
                  <a:gd name="T18" fmla="*/ 58 w 70"/>
                  <a:gd name="T19" fmla="*/ 7 h 85"/>
                  <a:gd name="T20" fmla="*/ 37 w 70"/>
                  <a:gd name="T21" fmla="*/ 0 h 85"/>
                  <a:gd name="T22" fmla="*/ 17 w 70"/>
                  <a:gd name="T23" fmla="*/ 5 h 85"/>
                  <a:gd name="T24" fmla="*/ 4 w 70"/>
                  <a:gd name="T25" fmla="*/ 20 h 85"/>
                  <a:gd name="T26" fmla="*/ 0 w 70"/>
                  <a:gd name="T27" fmla="*/ 43 h 85"/>
                  <a:gd name="T28" fmla="*/ 10 w 70"/>
                  <a:gd name="T29" fmla="*/ 74 h 85"/>
                  <a:gd name="T30" fmla="*/ 37 w 70"/>
                  <a:gd name="T31" fmla="*/ 85 h 85"/>
                  <a:gd name="T32" fmla="*/ 59 w 70"/>
                  <a:gd name="T33" fmla="*/ 77 h 85"/>
                  <a:gd name="T34" fmla="*/ 70 w 70"/>
                  <a:gd name="T35" fmla="*/ 55 h 85"/>
                  <a:gd name="T36" fmla="*/ 57 w 70"/>
                  <a:gd name="T37" fmla="*/ 54 h 85"/>
                  <a:gd name="T38" fmla="*/ 50 w 70"/>
                  <a:gd name="T39" fmla="*/ 69 h 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70" h="85">
                    <a:moveTo>
                      <a:pt x="50" y="69"/>
                    </a:moveTo>
                    <a:cubicBezTo>
                      <a:pt x="46" y="72"/>
                      <a:pt x="42" y="74"/>
                      <a:pt x="36" y="74"/>
                    </a:cubicBezTo>
                    <a:cubicBezTo>
                      <a:pt x="30" y="74"/>
                      <a:pt x="24" y="71"/>
                      <a:pt x="20" y="66"/>
                    </a:cubicBezTo>
                    <a:cubicBezTo>
                      <a:pt x="16" y="61"/>
                      <a:pt x="14" y="54"/>
                      <a:pt x="14" y="43"/>
                    </a:cubicBezTo>
                    <a:cubicBezTo>
                      <a:pt x="14" y="32"/>
                      <a:pt x="16" y="24"/>
                      <a:pt x="20" y="19"/>
                    </a:cubicBezTo>
                    <a:cubicBezTo>
                      <a:pt x="25" y="14"/>
                      <a:pt x="30" y="12"/>
                      <a:pt x="37" y="12"/>
                    </a:cubicBezTo>
                    <a:cubicBezTo>
                      <a:pt x="42" y="12"/>
                      <a:pt x="46" y="13"/>
                      <a:pt x="49" y="16"/>
                    </a:cubicBezTo>
                    <a:cubicBezTo>
                      <a:pt x="52" y="18"/>
                      <a:pt x="54" y="23"/>
                      <a:pt x="56" y="28"/>
                    </a:cubicBezTo>
                    <a:cubicBezTo>
                      <a:pt x="69" y="26"/>
                      <a:pt x="69" y="26"/>
                      <a:pt x="69" y="26"/>
                    </a:cubicBezTo>
                    <a:cubicBezTo>
                      <a:pt x="68" y="18"/>
                      <a:pt x="64" y="11"/>
                      <a:pt x="58" y="7"/>
                    </a:cubicBezTo>
                    <a:cubicBezTo>
                      <a:pt x="53" y="2"/>
                      <a:pt x="46" y="0"/>
                      <a:pt x="37" y="0"/>
                    </a:cubicBezTo>
                    <a:cubicBezTo>
                      <a:pt x="30" y="0"/>
                      <a:pt x="23" y="2"/>
                      <a:pt x="17" y="5"/>
                    </a:cubicBezTo>
                    <a:cubicBezTo>
                      <a:pt x="11" y="8"/>
                      <a:pt x="7" y="13"/>
                      <a:pt x="4" y="20"/>
                    </a:cubicBezTo>
                    <a:cubicBezTo>
                      <a:pt x="1" y="27"/>
                      <a:pt x="0" y="34"/>
                      <a:pt x="0" y="43"/>
                    </a:cubicBezTo>
                    <a:cubicBezTo>
                      <a:pt x="0" y="57"/>
                      <a:pt x="3" y="67"/>
                      <a:pt x="10" y="74"/>
                    </a:cubicBezTo>
                    <a:cubicBezTo>
                      <a:pt x="17" y="82"/>
                      <a:pt x="26" y="85"/>
                      <a:pt x="37" y="85"/>
                    </a:cubicBezTo>
                    <a:cubicBezTo>
                      <a:pt x="45" y="85"/>
                      <a:pt x="53" y="83"/>
                      <a:pt x="59" y="77"/>
                    </a:cubicBezTo>
                    <a:cubicBezTo>
                      <a:pt x="65" y="72"/>
                      <a:pt x="69" y="65"/>
                      <a:pt x="70" y="55"/>
                    </a:cubicBezTo>
                    <a:cubicBezTo>
                      <a:pt x="57" y="54"/>
                      <a:pt x="57" y="54"/>
                      <a:pt x="57" y="54"/>
                    </a:cubicBezTo>
                    <a:cubicBezTo>
                      <a:pt x="56" y="60"/>
                      <a:pt x="54" y="66"/>
                      <a:pt x="50" y="6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272" name="íṡḷïďe"/>
              <p:cNvSpPr/>
              <p:nvPr/>
            </p:nvSpPr>
            <p:spPr bwMode="auto">
              <a:xfrm>
                <a:off x="7755191" y="5729878"/>
                <a:ext cx="138113" cy="157163"/>
              </a:xfrm>
              <a:custGeom>
                <a:avLst/>
                <a:gdLst>
                  <a:gd name="T0" fmla="*/ 38 w 75"/>
                  <a:gd name="T1" fmla="*/ 0 h 85"/>
                  <a:gd name="T2" fmla="*/ 10 w 75"/>
                  <a:gd name="T3" fmla="*/ 12 h 85"/>
                  <a:gd name="T4" fmla="*/ 0 w 75"/>
                  <a:gd name="T5" fmla="*/ 43 h 85"/>
                  <a:gd name="T6" fmla="*/ 10 w 75"/>
                  <a:gd name="T7" fmla="*/ 74 h 85"/>
                  <a:gd name="T8" fmla="*/ 38 w 75"/>
                  <a:gd name="T9" fmla="*/ 85 h 85"/>
                  <a:gd name="T10" fmla="*/ 62 w 75"/>
                  <a:gd name="T11" fmla="*/ 78 h 85"/>
                  <a:gd name="T12" fmla="*/ 74 w 75"/>
                  <a:gd name="T13" fmla="*/ 59 h 85"/>
                  <a:gd name="T14" fmla="*/ 60 w 75"/>
                  <a:gd name="T15" fmla="*/ 57 h 85"/>
                  <a:gd name="T16" fmla="*/ 51 w 75"/>
                  <a:gd name="T17" fmla="*/ 70 h 85"/>
                  <a:gd name="T18" fmla="*/ 38 w 75"/>
                  <a:gd name="T19" fmla="*/ 74 h 85"/>
                  <a:gd name="T20" fmla="*/ 21 w 75"/>
                  <a:gd name="T21" fmla="*/ 67 h 85"/>
                  <a:gd name="T22" fmla="*/ 14 w 75"/>
                  <a:gd name="T23" fmla="*/ 46 h 85"/>
                  <a:gd name="T24" fmla="*/ 75 w 75"/>
                  <a:gd name="T25" fmla="*/ 46 h 85"/>
                  <a:gd name="T26" fmla="*/ 75 w 75"/>
                  <a:gd name="T27" fmla="*/ 43 h 85"/>
                  <a:gd name="T28" fmla="*/ 64 w 75"/>
                  <a:gd name="T29" fmla="*/ 11 h 85"/>
                  <a:gd name="T30" fmla="*/ 38 w 75"/>
                  <a:gd name="T31" fmla="*/ 0 h 85"/>
                  <a:gd name="T32" fmla="*/ 15 w 75"/>
                  <a:gd name="T33" fmla="*/ 35 h 85"/>
                  <a:gd name="T34" fmla="*/ 22 w 75"/>
                  <a:gd name="T35" fmla="*/ 18 h 85"/>
                  <a:gd name="T36" fmla="*/ 38 w 75"/>
                  <a:gd name="T37" fmla="*/ 12 h 85"/>
                  <a:gd name="T38" fmla="*/ 55 w 75"/>
                  <a:gd name="T39" fmla="*/ 20 h 85"/>
                  <a:gd name="T40" fmla="*/ 60 w 75"/>
                  <a:gd name="T41" fmla="*/ 35 h 85"/>
                  <a:gd name="T42" fmla="*/ 15 w 75"/>
                  <a:gd name="T43" fmla="*/ 35 h 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75" h="85">
                    <a:moveTo>
                      <a:pt x="38" y="0"/>
                    </a:moveTo>
                    <a:cubicBezTo>
                      <a:pt x="26" y="0"/>
                      <a:pt x="17" y="4"/>
                      <a:pt x="10" y="12"/>
                    </a:cubicBezTo>
                    <a:cubicBezTo>
                      <a:pt x="3" y="19"/>
                      <a:pt x="0" y="30"/>
                      <a:pt x="0" y="43"/>
                    </a:cubicBezTo>
                    <a:cubicBezTo>
                      <a:pt x="0" y="57"/>
                      <a:pt x="3" y="67"/>
                      <a:pt x="10" y="74"/>
                    </a:cubicBezTo>
                    <a:cubicBezTo>
                      <a:pt x="17" y="81"/>
                      <a:pt x="26" y="85"/>
                      <a:pt x="38" y="85"/>
                    </a:cubicBezTo>
                    <a:cubicBezTo>
                      <a:pt x="48" y="85"/>
                      <a:pt x="56" y="83"/>
                      <a:pt x="62" y="78"/>
                    </a:cubicBezTo>
                    <a:cubicBezTo>
                      <a:pt x="68" y="74"/>
                      <a:pt x="72" y="67"/>
                      <a:pt x="74" y="59"/>
                    </a:cubicBezTo>
                    <a:cubicBezTo>
                      <a:pt x="60" y="57"/>
                      <a:pt x="60" y="57"/>
                      <a:pt x="60" y="57"/>
                    </a:cubicBezTo>
                    <a:cubicBezTo>
                      <a:pt x="58" y="63"/>
                      <a:pt x="55" y="67"/>
                      <a:pt x="51" y="70"/>
                    </a:cubicBezTo>
                    <a:cubicBezTo>
                      <a:pt x="48" y="73"/>
                      <a:pt x="43" y="74"/>
                      <a:pt x="38" y="74"/>
                    </a:cubicBezTo>
                    <a:cubicBezTo>
                      <a:pt x="32" y="74"/>
                      <a:pt x="26" y="71"/>
                      <a:pt x="21" y="67"/>
                    </a:cubicBezTo>
                    <a:cubicBezTo>
                      <a:pt x="17" y="62"/>
                      <a:pt x="14" y="55"/>
                      <a:pt x="14" y="46"/>
                    </a:cubicBezTo>
                    <a:cubicBezTo>
                      <a:pt x="75" y="46"/>
                      <a:pt x="75" y="46"/>
                      <a:pt x="75" y="46"/>
                    </a:cubicBezTo>
                    <a:cubicBezTo>
                      <a:pt x="75" y="45"/>
                      <a:pt x="75" y="43"/>
                      <a:pt x="75" y="43"/>
                    </a:cubicBezTo>
                    <a:cubicBezTo>
                      <a:pt x="75" y="29"/>
                      <a:pt x="71" y="19"/>
                      <a:pt x="64" y="11"/>
                    </a:cubicBezTo>
                    <a:cubicBezTo>
                      <a:pt x="57" y="4"/>
                      <a:pt x="48" y="0"/>
                      <a:pt x="38" y="0"/>
                    </a:cubicBezTo>
                    <a:close/>
                    <a:moveTo>
                      <a:pt x="15" y="35"/>
                    </a:moveTo>
                    <a:cubicBezTo>
                      <a:pt x="15" y="28"/>
                      <a:pt x="17" y="22"/>
                      <a:pt x="22" y="18"/>
                    </a:cubicBezTo>
                    <a:cubicBezTo>
                      <a:pt x="26" y="14"/>
                      <a:pt x="31" y="12"/>
                      <a:pt x="38" y="12"/>
                    </a:cubicBezTo>
                    <a:cubicBezTo>
                      <a:pt x="45" y="12"/>
                      <a:pt x="50" y="14"/>
                      <a:pt x="55" y="20"/>
                    </a:cubicBezTo>
                    <a:cubicBezTo>
                      <a:pt x="58" y="23"/>
                      <a:pt x="59" y="28"/>
                      <a:pt x="60" y="35"/>
                    </a:cubicBezTo>
                    <a:lnTo>
                      <a:pt x="15" y="3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273" name="í$ľîde"/>
              <p:cNvSpPr/>
              <p:nvPr/>
            </p:nvSpPr>
            <p:spPr bwMode="auto">
              <a:xfrm>
                <a:off x="7994903" y="5729878"/>
                <a:ext cx="138113" cy="157163"/>
              </a:xfrm>
              <a:custGeom>
                <a:avLst/>
                <a:gdLst>
                  <a:gd name="T0" fmla="*/ 71 w 75"/>
                  <a:gd name="T1" fmla="*/ 49 h 85"/>
                  <a:gd name="T2" fmla="*/ 71 w 75"/>
                  <a:gd name="T3" fmla="*/ 31 h 85"/>
                  <a:gd name="T4" fmla="*/ 70 w 75"/>
                  <a:gd name="T5" fmla="*/ 18 h 85"/>
                  <a:gd name="T6" fmla="*/ 66 w 75"/>
                  <a:gd name="T7" fmla="*/ 9 h 85"/>
                  <a:gd name="T8" fmla="*/ 56 w 75"/>
                  <a:gd name="T9" fmla="*/ 3 h 85"/>
                  <a:gd name="T10" fmla="*/ 39 w 75"/>
                  <a:gd name="T11" fmla="*/ 0 h 85"/>
                  <a:gd name="T12" fmla="*/ 21 w 75"/>
                  <a:gd name="T13" fmla="*/ 3 h 85"/>
                  <a:gd name="T14" fmla="*/ 9 w 75"/>
                  <a:gd name="T15" fmla="*/ 11 h 85"/>
                  <a:gd name="T16" fmla="*/ 3 w 75"/>
                  <a:gd name="T17" fmla="*/ 25 h 85"/>
                  <a:gd name="T18" fmla="*/ 16 w 75"/>
                  <a:gd name="T19" fmla="*/ 27 h 85"/>
                  <a:gd name="T20" fmla="*/ 23 w 75"/>
                  <a:gd name="T21" fmla="*/ 15 h 85"/>
                  <a:gd name="T22" fmla="*/ 37 w 75"/>
                  <a:gd name="T23" fmla="*/ 12 h 85"/>
                  <a:gd name="T24" fmla="*/ 53 w 75"/>
                  <a:gd name="T25" fmla="*/ 16 h 85"/>
                  <a:gd name="T26" fmla="*/ 57 w 75"/>
                  <a:gd name="T27" fmla="*/ 28 h 85"/>
                  <a:gd name="T28" fmla="*/ 57 w 75"/>
                  <a:gd name="T29" fmla="*/ 32 h 85"/>
                  <a:gd name="T30" fmla="*/ 32 w 75"/>
                  <a:gd name="T31" fmla="*/ 36 h 85"/>
                  <a:gd name="T32" fmla="*/ 20 w 75"/>
                  <a:gd name="T33" fmla="*/ 39 h 85"/>
                  <a:gd name="T34" fmla="*/ 10 w 75"/>
                  <a:gd name="T35" fmla="*/ 43 h 85"/>
                  <a:gd name="T36" fmla="*/ 3 w 75"/>
                  <a:gd name="T37" fmla="*/ 51 h 85"/>
                  <a:gd name="T38" fmla="*/ 0 w 75"/>
                  <a:gd name="T39" fmla="*/ 62 h 85"/>
                  <a:gd name="T40" fmla="*/ 7 w 75"/>
                  <a:gd name="T41" fmla="*/ 79 h 85"/>
                  <a:gd name="T42" fmla="*/ 28 w 75"/>
                  <a:gd name="T43" fmla="*/ 85 h 85"/>
                  <a:gd name="T44" fmla="*/ 43 w 75"/>
                  <a:gd name="T45" fmla="*/ 82 h 85"/>
                  <a:gd name="T46" fmla="*/ 58 w 75"/>
                  <a:gd name="T47" fmla="*/ 73 h 85"/>
                  <a:gd name="T48" fmla="*/ 61 w 75"/>
                  <a:gd name="T49" fmla="*/ 83 h 85"/>
                  <a:gd name="T50" fmla="*/ 75 w 75"/>
                  <a:gd name="T51" fmla="*/ 83 h 85"/>
                  <a:gd name="T52" fmla="*/ 72 w 75"/>
                  <a:gd name="T53" fmla="*/ 74 h 85"/>
                  <a:gd name="T54" fmla="*/ 71 w 75"/>
                  <a:gd name="T55" fmla="*/ 49 h 85"/>
                  <a:gd name="T56" fmla="*/ 57 w 75"/>
                  <a:gd name="T57" fmla="*/ 48 h 85"/>
                  <a:gd name="T58" fmla="*/ 55 w 75"/>
                  <a:gd name="T59" fmla="*/ 61 h 85"/>
                  <a:gd name="T60" fmla="*/ 46 w 75"/>
                  <a:gd name="T61" fmla="*/ 71 h 85"/>
                  <a:gd name="T62" fmla="*/ 31 w 75"/>
                  <a:gd name="T63" fmla="*/ 74 h 85"/>
                  <a:gd name="T64" fmla="*/ 19 w 75"/>
                  <a:gd name="T65" fmla="*/ 71 h 85"/>
                  <a:gd name="T66" fmla="*/ 15 w 75"/>
                  <a:gd name="T67" fmla="*/ 62 h 85"/>
                  <a:gd name="T68" fmla="*/ 17 w 75"/>
                  <a:gd name="T69" fmla="*/ 55 h 85"/>
                  <a:gd name="T70" fmla="*/ 22 w 75"/>
                  <a:gd name="T71" fmla="*/ 50 h 85"/>
                  <a:gd name="T72" fmla="*/ 34 w 75"/>
                  <a:gd name="T73" fmla="*/ 48 h 85"/>
                  <a:gd name="T74" fmla="*/ 57 w 75"/>
                  <a:gd name="T75" fmla="*/ 43 h 85"/>
                  <a:gd name="T76" fmla="*/ 57 w 75"/>
                  <a:gd name="T77" fmla="*/ 48 h 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75" h="85">
                    <a:moveTo>
                      <a:pt x="71" y="49"/>
                    </a:moveTo>
                    <a:cubicBezTo>
                      <a:pt x="71" y="31"/>
                      <a:pt x="71" y="31"/>
                      <a:pt x="71" y="31"/>
                    </a:cubicBezTo>
                    <a:cubicBezTo>
                      <a:pt x="71" y="25"/>
                      <a:pt x="71" y="21"/>
                      <a:pt x="70" y="18"/>
                    </a:cubicBezTo>
                    <a:cubicBezTo>
                      <a:pt x="69" y="14"/>
                      <a:pt x="68" y="11"/>
                      <a:pt x="66" y="9"/>
                    </a:cubicBezTo>
                    <a:cubicBezTo>
                      <a:pt x="64" y="6"/>
                      <a:pt x="61" y="4"/>
                      <a:pt x="56" y="3"/>
                    </a:cubicBezTo>
                    <a:cubicBezTo>
                      <a:pt x="52" y="1"/>
                      <a:pt x="46" y="0"/>
                      <a:pt x="39" y="0"/>
                    </a:cubicBezTo>
                    <a:cubicBezTo>
                      <a:pt x="32" y="0"/>
                      <a:pt x="26" y="1"/>
                      <a:pt x="21" y="3"/>
                    </a:cubicBezTo>
                    <a:cubicBezTo>
                      <a:pt x="16" y="5"/>
                      <a:pt x="12" y="8"/>
                      <a:pt x="9" y="11"/>
                    </a:cubicBezTo>
                    <a:cubicBezTo>
                      <a:pt x="6" y="15"/>
                      <a:pt x="4" y="19"/>
                      <a:pt x="3" y="25"/>
                    </a:cubicBezTo>
                    <a:cubicBezTo>
                      <a:pt x="16" y="27"/>
                      <a:pt x="16" y="27"/>
                      <a:pt x="16" y="27"/>
                    </a:cubicBezTo>
                    <a:cubicBezTo>
                      <a:pt x="18" y="21"/>
                      <a:pt x="20" y="17"/>
                      <a:pt x="23" y="15"/>
                    </a:cubicBezTo>
                    <a:cubicBezTo>
                      <a:pt x="26" y="13"/>
                      <a:pt x="31" y="12"/>
                      <a:pt x="37" y="12"/>
                    </a:cubicBezTo>
                    <a:cubicBezTo>
                      <a:pt x="44" y="12"/>
                      <a:pt x="50" y="13"/>
                      <a:pt x="53" y="16"/>
                    </a:cubicBezTo>
                    <a:cubicBezTo>
                      <a:pt x="56" y="19"/>
                      <a:pt x="57" y="23"/>
                      <a:pt x="57" y="28"/>
                    </a:cubicBezTo>
                    <a:cubicBezTo>
                      <a:pt x="57" y="29"/>
                      <a:pt x="57" y="30"/>
                      <a:pt x="57" y="32"/>
                    </a:cubicBezTo>
                    <a:cubicBezTo>
                      <a:pt x="52" y="34"/>
                      <a:pt x="43" y="35"/>
                      <a:pt x="32" y="36"/>
                    </a:cubicBezTo>
                    <a:cubicBezTo>
                      <a:pt x="27" y="37"/>
                      <a:pt x="23" y="38"/>
                      <a:pt x="20" y="39"/>
                    </a:cubicBezTo>
                    <a:cubicBezTo>
                      <a:pt x="16" y="40"/>
                      <a:pt x="13" y="41"/>
                      <a:pt x="10" y="43"/>
                    </a:cubicBezTo>
                    <a:cubicBezTo>
                      <a:pt x="7" y="45"/>
                      <a:pt x="5" y="48"/>
                      <a:pt x="3" y="51"/>
                    </a:cubicBezTo>
                    <a:cubicBezTo>
                      <a:pt x="1" y="54"/>
                      <a:pt x="0" y="58"/>
                      <a:pt x="0" y="62"/>
                    </a:cubicBezTo>
                    <a:cubicBezTo>
                      <a:pt x="0" y="69"/>
                      <a:pt x="3" y="74"/>
                      <a:pt x="7" y="79"/>
                    </a:cubicBezTo>
                    <a:cubicBezTo>
                      <a:pt x="12" y="83"/>
                      <a:pt x="19" y="85"/>
                      <a:pt x="28" y="85"/>
                    </a:cubicBezTo>
                    <a:cubicBezTo>
                      <a:pt x="33" y="85"/>
                      <a:pt x="39" y="84"/>
                      <a:pt x="43" y="82"/>
                    </a:cubicBezTo>
                    <a:cubicBezTo>
                      <a:pt x="48" y="81"/>
                      <a:pt x="53" y="78"/>
                      <a:pt x="58" y="73"/>
                    </a:cubicBezTo>
                    <a:cubicBezTo>
                      <a:pt x="58" y="77"/>
                      <a:pt x="59" y="80"/>
                      <a:pt x="61" y="83"/>
                    </a:cubicBezTo>
                    <a:cubicBezTo>
                      <a:pt x="75" y="83"/>
                      <a:pt x="75" y="83"/>
                      <a:pt x="75" y="83"/>
                    </a:cubicBezTo>
                    <a:cubicBezTo>
                      <a:pt x="73" y="80"/>
                      <a:pt x="72" y="77"/>
                      <a:pt x="72" y="74"/>
                    </a:cubicBezTo>
                    <a:cubicBezTo>
                      <a:pt x="71" y="70"/>
                      <a:pt x="71" y="62"/>
                      <a:pt x="71" y="49"/>
                    </a:cubicBezTo>
                    <a:close/>
                    <a:moveTo>
                      <a:pt x="57" y="48"/>
                    </a:moveTo>
                    <a:cubicBezTo>
                      <a:pt x="57" y="54"/>
                      <a:pt x="56" y="58"/>
                      <a:pt x="55" y="61"/>
                    </a:cubicBezTo>
                    <a:cubicBezTo>
                      <a:pt x="53" y="65"/>
                      <a:pt x="50" y="69"/>
                      <a:pt x="46" y="71"/>
                    </a:cubicBezTo>
                    <a:cubicBezTo>
                      <a:pt x="41" y="73"/>
                      <a:pt x="37" y="74"/>
                      <a:pt x="31" y="74"/>
                    </a:cubicBezTo>
                    <a:cubicBezTo>
                      <a:pt x="26" y="74"/>
                      <a:pt x="22" y="73"/>
                      <a:pt x="19" y="71"/>
                    </a:cubicBezTo>
                    <a:cubicBezTo>
                      <a:pt x="16" y="68"/>
                      <a:pt x="15" y="65"/>
                      <a:pt x="15" y="62"/>
                    </a:cubicBezTo>
                    <a:cubicBezTo>
                      <a:pt x="15" y="59"/>
                      <a:pt x="16" y="57"/>
                      <a:pt x="17" y="55"/>
                    </a:cubicBezTo>
                    <a:cubicBezTo>
                      <a:pt x="18" y="53"/>
                      <a:pt x="20" y="52"/>
                      <a:pt x="22" y="50"/>
                    </a:cubicBezTo>
                    <a:cubicBezTo>
                      <a:pt x="25" y="49"/>
                      <a:pt x="29" y="49"/>
                      <a:pt x="34" y="48"/>
                    </a:cubicBezTo>
                    <a:cubicBezTo>
                      <a:pt x="44" y="46"/>
                      <a:pt x="52" y="45"/>
                      <a:pt x="57" y="43"/>
                    </a:cubicBezTo>
                    <a:lnTo>
                      <a:pt x="57" y="4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274" name="ï$ḻíḋê"/>
              <p:cNvSpPr/>
              <p:nvPr/>
            </p:nvSpPr>
            <p:spPr bwMode="auto">
              <a:xfrm>
                <a:off x="8164766" y="5729878"/>
                <a:ext cx="122238" cy="152400"/>
              </a:xfrm>
              <a:custGeom>
                <a:avLst/>
                <a:gdLst>
                  <a:gd name="T0" fmla="*/ 61 w 66"/>
                  <a:gd name="T1" fmla="*/ 10 h 83"/>
                  <a:gd name="T2" fmla="*/ 52 w 66"/>
                  <a:gd name="T3" fmla="*/ 3 h 83"/>
                  <a:gd name="T4" fmla="*/ 38 w 66"/>
                  <a:gd name="T5" fmla="*/ 0 h 83"/>
                  <a:gd name="T6" fmla="*/ 13 w 66"/>
                  <a:gd name="T7" fmla="*/ 14 h 83"/>
                  <a:gd name="T8" fmla="*/ 13 w 66"/>
                  <a:gd name="T9" fmla="*/ 2 h 83"/>
                  <a:gd name="T10" fmla="*/ 0 w 66"/>
                  <a:gd name="T11" fmla="*/ 2 h 83"/>
                  <a:gd name="T12" fmla="*/ 0 w 66"/>
                  <a:gd name="T13" fmla="*/ 83 h 83"/>
                  <a:gd name="T14" fmla="*/ 14 w 66"/>
                  <a:gd name="T15" fmla="*/ 83 h 83"/>
                  <a:gd name="T16" fmla="*/ 14 w 66"/>
                  <a:gd name="T17" fmla="*/ 39 h 83"/>
                  <a:gd name="T18" fmla="*/ 20 w 66"/>
                  <a:gd name="T19" fmla="*/ 18 h 83"/>
                  <a:gd name="T20" fmla="*/ 36 w 66"/>
                  <a:gd name="T21" fmla="*/ 12 h 83"/>
                  <a:gd name="T22" fmla="*/ 45 w 66"/>
                  <a:gd name="T23" fmla="*/ 15 h 83"/>
                  <a:gd name="T24" fmla="*/ 51 w 66"/>
                  <a:gd name="T25" fmla="*/ 21 h 83"/>
                  <a:gd name="T26" fmla="*/ 52 w 66"/>
                  <a:gd name="T27" fmla="*/ 34 h 83"/>
                  <a:gd name="T28" fmla="*/ 52 w 66"/>
                  <a:gd name="T29" fmla="*/ 83 h 83"/>
                  <a:gd name="T30" fmla="*/ 66 w 66"/>
                  <a:gd name="T31" fmla="*/ 83 h 83"/>
                  <a:gd name="T32" fmla="*/ 66 w 66"/>
                  <a:gd name="T33" fmla="*/ 33 h 83"/>
                  <a:gd name="T34" fmla="*/ 65 w 66"/>
                  <a:gd name="T35" fmla="*/ 20 h 83"/>
                  <a:gd name="T36" fmla="*/ 61 w 66"/>
                  <a:gd name="T37" fmla="*/ 10 h 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66" h="83">
                    <a:moveTo>
                      <a:pt x="61" y="10"/>
                    </a:moveTo>
                    <a:cubicBezTo>
                      <a:pt x="59" y="7"/>
                      <a:pt x="56" y="5"/>
                      <a:pt x="52" y="3"/>
                    </a:cubicBezTo>
                    <a:cubicBezTo>
                      <a:pt x="48" y="1"/>
                      <a:pt x="43" y="0"/>
                      <a:pt x="38" y="0"/>
                    </a:cubicBezTo>
                    <a:cubicBezTo>
                      <a:pt x="27" y="0"/>
                      <a:pt x="19" y="5"/>
                      <a:pt x="13" y="14"/>
                    </a:cubicBezTo>
                    <a:cubicBezTo>
                      <a:pt x="13" y="2"/>
                      <a:pt x="13" y="2"/>
                      <a:pt x="13" y="2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83"/>
                      <a:pt x="0" y="83"/>
                      <a:pt x="0" y="83"/>
                    </a:cubicBezTo>
                    <a:cubicBezTo>
                      <a:pt x="14" y="83"/>
                      <a:pt x="14" y="83"/>
                      <a:pt x="14" y="83"/>
                    </a:cubicBezTo>
                    <a:cubicBezTo>
                      <a:pt x="14" y="39"/>
                      <a:pt x="14" y="39"/>
                      <a:pt x="14" y="39"/>
                    </a:cubicBezTo>
                    <a:cubicBezTo>
                      <a:pt x="14" y="29"/>
                      <a:pt x="16" y="21"/>
                      <a:pt x="20" y="18"/>
                    </a:cubicBezTo>
                    <a:cubicBezTo>
                      <a:pt x="25" y="14"/>
                      <a:pt x="30" y="12"/>
                      <a:pt x="36" y="12"/>
                    </a:cubicBezTo>
                    <a:cubicBezTo>
                      <a:pt x="39" y="12"/>
                      <a:pt x="42" y="13"/>
                      <a:pt x="45" y="15"/>
                    </a:cubicBezTo>
                    <a:cubicBezTo>
                      <a:pt x="48" y="16"/>
                      <a:pt x="50" y="19"/>
                      <a:pt x="51" y="21"/>
                    </a:cubicBezTo>
                    <a:cubicBezTo>
                      <a:pt x="52" y="24"/>
                      <a:pt x="52" y="28"/>
                      <a:pt x="52" y="34"/>
                    </a:cubicBezTo>
                    <a:cubicBezTo>
                      <a:pt x="52" y="83"/>
                      <a:pt x="52" y="83"/>
                      <a:pt x="52" y="83"/>
                    </a:cubicBezTo>
                    <a:cubicBezTo>
                      <a:pt x="66" y="83"/>
                      <a:pt x="66" y="83"/>
                      <a:pt x="66" y="83"/>
                    </a:cubicBezTo>
                    <a:cubicBezTo>
                      <a:pt x="66" y="33"/>
                      <a:pt x="66" y="33"/>
                      <a:pt x="66" y="33"/>
                    </a:cubicBezTo>
                    <a:cubicBezTo>
                      <a:pt x="66" y="27"/>
                      <a:pt x="66" y="23"/>
                      <a:pt x="65" y="20"/>
                    </a:cubicBezTo>
                    <a:cubicBezTo>
                      <a:pt x="65" y="16"/>
                      <a:pt x="63" y="13"/>
                      <a:pt x="61" y="1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275" name="îśḻïďè"/>
              <p:cNvSpPr/>
              <p:nvPr/>
            </p:nvSpPr>
            <p:spPr bwMode="auto">
              <a:xfrm>
                <a:off x="8315578" y="5675903"/>
                <a:ext cx="131763" cy="211138"/>
              </a:xfrm>
              <a:custGeom>
                <a:avLst/>
                <a:gdLst>
                  <a:gd name="T0" fmla="*/ 57 w 71"/>
                  <a:gd name="T1" fmla="*/ 40 h 114"/>
                  <a:gd name="T2" fmla="*/ 48 w 71"/>
                  <a:gd name="T3" fmla="*/ 32 h 114"/>
                  <a:gd name="T4" fmla="*/ 35 w 71"/>
                  <a:gd name="T5" fmla="*/ 29 h 114"/>
                  <a:gd name="T6" fmla="*/ 17 w 71"/>
                  <a:gd name="T7" fmla="*/ 35 h 114"/>
                  <a:gd name="T8" fmla="*/ 4 w 71"/>
                  <a:gd name="T9" fmla="*/ 50 h 114"/>
                  <a:gd name="T10" fmla="*/ 0 w 71"/>
                  <a:gd name="T11" fmla="*/ 72 h 114"/>
                  <a:gd name="T12" fmla="*/ 5 w 71"/>
                  <a:gd name="T13" fmla="*/ 94 h 114"/>
                  <a:gd name="T14" fmla="*/ 17 w 71"/>
                  <a:gd name="T15" fmla="*/ 109 h 114"/>
                  <a:gd name="T16" fmla="*/ 35 w 71"/>
                  <a:gd name="T17" fmla="*/ 114 h 114"/>
                  <a:gd name="T18" fmla="*/ 58 w 71"/>
                  <a:gd name="T19" fmla="*/ 102 h 114"/>
                  <a:gd name="T20" fmla="*/ 58 w 71"/>
                  <a:gd name="T21" fmla="*/ 112 h 114"/>
                  <a:gd name="T22" fmla="*/ 71 w 71"/>
                  <a:gd name="T23" fmla="*/ 112 h 114"/>
                  <a:gd name="T24" fmla="*/ 71 w 71"/>
                  <a:gd name="T25" fmla="*/ 0 h 114"/>
                  <a:gd name="T26" fmla="*/ 57 w 71"/>
                  <a:gd name="T27" fmla="*/ 0 h 114"/>
                  <a:gd name="T28" fmla="*/ 57 w 71"/>
                  <a:gd name="T29" fmla="*/ 40 h 114"/>
                  <a:gd name="T30" fmla="*/ 52 w 71"/>
                  <a:gd name="T31" fmla="*/ 95 h 114"/>
                  <a:gd name="T32" fmla="*/ 37 w 71"/>
                  <a:gd name="T33" fmla="*/ 103 h 114"/>
                  <a:gd name="T34" fmla="*/ 21 w 71"/>
                  <a:gd name="T35" fmla="*/ 95 h 114"/>
                  <a:gd name="T36" fmla="*/ 15 w 71"/>
                  <a:gd name="T37" fmla="*/ 72 h 114"/>
                  <a:gd name="T38" fmla="*/ 21 w 71"/>
                  <a:gd name="T39" fmla="*/ 48 h 114"/>
                  <a:gd name="T40" fmla="*/ 36 w 71"/>
                  <a:gd name="T41" fmla="*/ 41 h 114"/>
                  <a:gd name="T42" fmla="*/ 52 w 71"/>
                  <a:gd name="T43" fmla="*/ 48 h 114"/>
                  <a:gd name="T44" fmla="*/ 58 w 71"/>
                  <a:gd name="T45" fmla="*/ 73 h 114"/>
                  <a:gd name="T46" fmla="*/ 52 w 71"/>
                  <a:gd name="T47" fmla="*/ 95 h 1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71" h="114">
                    <a:moveTo>
                      <a:pt x="57" y="40"/>
                    </a:moveTo>
                    <a:cubicBezTo>
                      <a:pt x="55" y="37"/>
                      <a:pt x="52" y="34"/>
                      <a:pt x="48" y="32"/>
                    </a:cubicBezTo>
                    <a:cubicBezTo>
                      <a:pt x="44" y="30"/>
                      <a:pt x="40" y="29"/>
                      <a:pt x="35" y="29"/>
                    </a:cubicBezTo>
                    <a:cubicBezTo>
                      <a:pt x="28" y="29"/>
                      <a:pt x="22" y="31"/>
                      <a:pt x="17" y="35"/>
                    </a:cubicBezTo>
                    <a:cubicBezTo>
                      <a:pt x="11" y="38"/>
                      <a:pt x="7" y="43"/>
                      <a:pt x="4" y="50"/>
                    </a:cubicBezTo>
                    <a:cubicBezTo>
                      <a:pt x="2" y="56"/>
                      <a:pt x="0" y="64"/>
                      <a:pt x="0" y="72"/>
                    </a:cubicBezTo>
                    <a:cubicBezTo>
                      <a:pt x="0" y="80"/>
                      <a:pt x="2" y="87"/>
                      <a:pt x="5" y="94"/>
                    </a:cubicBezTo>
                    <a:cubicBezTo>
                      <a:pt x="8" y="100"/>
                      <a:pt x="12" y="105"/>
                      <a:pt x="17" y="109"/>
                    </a:cubicBezTo>
                    <a:cubicBezTo>
                      <a:pt x="23" y="112"/>
                      <a:pt x="29" y="114"/>
                      <a:pt x="35" y="114"/>
                    </a:cubicBezTo>
                    <a:cubicBezTo>
                      <a:pt x="45" y="114"/>
                      <a:pt x="53" y="110"/>
                      <a:pt x="58" y="102"/>
                    </a:cubicBezTo>
                    <a:cubicBezTo>
                      <a:pt x="58" y="112"/>
                      <a:pt x="58" y="112"/>
                      <a:pt x="58" y="112"/>
                    </a:cubicBezTo>
                    <a:cubicBezTo>
                      <a:pt x="71" y="112"/>
                      <a:pt x="71" y="112"/>
                      <a:pt x="71" y="112"/>
                    </a:cubicBezTo>
                    <a:cubicBezTo>
                      <a:pt x="71" y="0"/>
                      <a:pt x="71" y="0"/>
                      <a:pt x="71" y="0"/>
                    </a:cubicBezTo>
                    <a:cubicBezTo>
                      <a:pt x="57" y="0"/>
                      <a:pt x="57" y="0"/>
                      <a:pt x="57" y="0"/>
                    </a:cubicBezTo>
                    <a:lnTo>
                      <a:pt x="57" y="40"/>
                    </a:lnTo>
                    <a:close/>
                    <a:moveTo>
                      <a:pt x="52" y="95"/>
                    </a:moveTo>
                    <a:cubicBezTo>
                      <a:pt x="48" y="100"/>
                      <a:pt x="43" y="103"/>
                      <a:pt x="37" y="103"/>
                    </a:cubicBezTo>
                    <a:cubicBezTo>
                      <a:pt x="31" y="103"/>
                      <a:pt x="25" y="100"/>
                      <a:pt x="21" y="95"/>
                    </a:cubicBezTo>
                    <a:cubicBezTo>
                      <a:pt x="17" y="90"/>
                      <a:pt x="15" y="82"/>
                      <a:pt x="15" y="72"/>
                    </a:cubicBezTo>
                    <a:cubicBezTo>
                      <a:pt x="15" y="61"/>
                      <a:pt x="17" y="53"/>
                      <a:pt x="21" y="48"/>
                    </a:cubicBezTo>
                    <a:cubicBezTo>
                      <a:pt x="25" y="43"/>
                      <a:pt x="30" y="41"/>
                      <a:pt x="36" y="41"/>
                    </a:cubicBezTo>
                    <a:cubicBezTo>
                      <a:pt x="42" y="41"/>
                      <a:pt x="48" y="43"/>
                      <a:pt x="52" y="48"/>
                    </a:cubicBezTo>
                    <a:cubicBezTo>
                      <a:pt x="56" y="54"/>
                      <a:pt x="58" y="62"/>
                      <a:pt x="58" y="73"/>
                    </a:cubicBezTo>
                    <a:cubicBezTo>
                      <a:pt x="58" y="83"/>
                      <a:pt x="56" y="91"/>
                      <a:pt x="52" y="9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276" name="iṡľîdé"/>
              <p:cNvSpPr/>
              <p:nvPr/>
            </p:nvSpPr>
            <p:spPr bwMode="auto">
              <a:xfrm>
                <a:off x="8550528" y="5675903"/>
                <a:ext cx="163513" cy="206375"/>
              </a:xfrm>
              <a:custGeom>
                <a:avLst/>
                <a:gdLst>
                  <a:gd name="T0" fmla="*/ 103 w 103"/>
                  <a:gd name="T1" fmla="*/ 0 h 130"/>
                  <a:gd name="T2" fmla="*/ 0 w 103"/>
                  <a:gd name="T3" fmla="*/ 0 h 130"/>
                  <a:gd name="T4" fmla="*/ 0 w 103"/>
                  <a:gd name="T5" fmla="*/ 15 h 130"/>
                  <a:gd name="T6" fmla="*/ 43 w 103"/>
                  <a:gd name="T7" fmla="*/ 15 h 130"/>
                  <a:gd name="T8" fmla="*/ 43 w 103"/>
                  <a:gd name="T9" fmla="*/ 130 h 130"/>
                  <a:gd name="T10" fmla="*/ 59 w 103"/>
                  <a:gd name="T11" fmla="*/ 130 h 130"/>
                  <a:gd name="T12" fmla="*/ 59 w 103"/>
                  <a:gd name="T13" fmla="*/ 15 h 130"/>
                  <a:gd name="T14" fmla="*/ 103 w 103"/>
                  <a:gd name="T15" fmla="*/ 15 h 130"/>
                  <a:gd name="T16" fmla="*/ 103 w 103"/>
                  <a:gd name="T17" fmla="*/ 0 h 1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03" h="130">
                    <a:moveTo>
                      <a:pt x="103" y="0"/>
                    </a:moveTo>
                    <a:lnTo>
                      <a:pt x="0" y="0"/>
                    </a:lnTo>
                    <a:lnTo>
                      <a:pt x="0" y="15"/>
                    </a:lnTo>
                    <a:lnTo>
                      <a:pt x="43" y="15"/>
                    </a:lnTo>
                    <a:lnTo>
                      <a:pt x="43" y="130"/>
                    </a:lnTo>
                    <a:lnTo>
                      <a:pt x="59" y="130"/>
                    </a:lnTo>
                    <a:lnTo>
                      <a:pt x="59" y="15"/>
                    </a:lnTo>
                    <a:lnTo>
                      <a:pt x="103" y="15"/>
                    </a:lnTo>
                    <a:lnTo>
                      <a:pt x="103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277" name="íṥḻíḋé"/>
              <p:cNvSpPr/>
              <p:nvPr/>
            </p:nvSpPr>
            <p:spPr bwMode="auto">
              <a:xfrm>
                <a:off x="8698166" y="5729878"/>
                <a:ext cx="138113" cy="157163"/>
              </a:xfrm>
              <a:custGeom>
                <a:avLst/>
                <a:gdLst>
                  <a:gd name="T0" fmla="*/ 38 w 75"/>
                  <a:gd name="T1" fmla="*/ 0 h 85"/>
                  <a:gd name="T2" fmla="*/ 11 w 75"/>
                  <a:gd name="T3" fmla="*/ 12 h 85"/>
                  <a:gd name="T4" fmla="*/ 0 w 75"/>
                  <a:gd name="T5" fmla="*/ 43 h 85"/>
                  <a:gd name="T6" fmla="*/ 10 w 75"/>
                  <a:gd name="T7" fmla="*/ 74 h 85"/>
                  <a:gd name="T8" fmla="*/ 39 w 75"/>
                  <a:gd name="T9" fmla="*/ 85 h 85"/>
                  <a:gd name="T10" fmla="*/ 62 w 75"/>
                  <a:gd name="T11" fmla="*/ 78 h 85"/>
                  <a:gd name="T12" fmla="*/ 74 w 75"/>
                  <a:gd name="T13" fmla="*/ 59 h 85"/>
                  <a:gd name="T14" fmla="*/ 60 w 75"/>
                  <a:gd name="T15" fmla="*/ 57 h 85"/>
                  <a:gd name="T16" fmla="*/ 52 w 75"/>
                  <a:gd name="T17" fmla="*/ 70 h 85"/>
                  <a:gd name="T18" fmla="*/ 39 w 75"/>
                  <a:gd name="T19" fmla="*/ 74 h 85"/>
                  <a:gd name="T20" fmla="*/ 22 w 75"/>
                  <a:gd name="T21" fmla="*/ 67 h 85"/>
                  <a:gd name="T22" fmla="*/ 14 w 75"/>
                  <a:gd name="T23" fmla="*/ 46 h 85"/>
                  <a:gd name="T24" fmla="*/ 75 w 75"/>
                  <a:gd name="T25" fmla="*/ 46 h 85"/>
                  <a:gd name="T26" fmla="*/ 75 w 75"/>
                  <a:gd name="T27" fmla="*/ 43 h 85"/>
                  <a:gd name="T28" fmla="*/ 65 w 75"/>
                  <a:gd name="T29" fmla="*/ 11 h 85"/>
                  <a:gd name="T30" fmla="*/ 38 w 75"/>
                  <a:gd name="T31" fmla="*/ 0 h 85"/>
                  <a:gd name="T32" fmla="*/ 15 w 75"/>
                  <a:gd name="T33" fmla="*/ 35 h 85"/>
                  <a:gd name="T34" fmla="*/ 22 w 75"/>
                  <a:gd name="T35" fmla="*/ 18 h 85"/>
                  <a:gd name="T36" fmla="*/ 38 w 75"/>
                  <a:gd name="T37" fmla="*/ 12 h 85"/>
                  <a:gd name="T38" fmla="*/ 55 w 75"/>
                  <a:gd name="T39" fmla="*/ 20 h 85"/>
                  <a:gd name="T40" fmla="*/ 60 w 75"/>
                  <a:gd name="T41" fmla="*/ 35 h 85"/>
                  <a:gd name="T42" fmla="*/ 15 w 75"/>
                  <a:gd name="T43" fmla="*/ 35 h 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75" h="85">
                    <a:moveTo>
                      <a:pt x="38" y="0"/>
                    </a:moveTo>
                    <a:cubicBezTo>
                      <a:pt x="27" y="0"/>
                      <a:pt x="18" y="4"/>
                      <a:pt x="11" y="12"/>
                    </a:cubicBezTo>
                    <a:cubicBezTo>
                      <a:pt x="4" y="19"/>
                      <a:pt x="0" y="30"/>
                      <a:pt x="0" y="43"/>
                    </a:cubicBezTo>
                    <a:cubicBezTo>
                      <a:pt x="0" y="57"/>
                      <a:pt x="3" y="67"/>
                      <a:pt x="10" y="74"/>
                    </a:cubicBezTo>
                    <a:cubicBezTo>
                      <a:pt x="17" y="81"/>
                      <a:pt x="27" y="85"/>
                      <a:pt x="39" y="85"/>
                    </a:cubicBezTo>
                    <a:cubicBezTo>
                      <a:pt x="48" y="85"/>
                      <a:pt x="56" y="83"/>
                      <a:pt x="62" y="78"/>
                    </a:cubicBezTo>
                    <a:cubicBezTo>
                      <a:pt x="68" y="74"/>
                      <a:pt x="72" y="67"/>
                      <a:pt x="74" y="59"/>
                    </a:cubicBezTo>
                    <a:cubicBezTo>
                      <a:pt x="60" y="57"/>
                      <a:pt x="60" y="57"/>
                      <a:pt x="60" y="57"/>
                    </a:cubicBezTo>
                    <a:cubicBezTo>
                      <a:pt x="58" y="63"/>
                      <a:pt x="55" y="67"/>
                      <a:pt x="52" y="70"/>
                    </a:cubicBezTo>
                    <a:cubicBezTo>
                      <a:pt x="48" y="73"/>
                      <a:pt x="44" y="74"/>
                      <a:pt x="39" y="74"/>
                    </a:cubicBezTo>
                    <a:cubicBezTo>
                      <a:pt x="32" y="74"/>
                      <a:pt x="26" y="71"/>
                      <a:pt x="22" y="67"/>
                    </a:cubicBezTo>
                    <a:cubicBezTo>
                      <a:pt x="17" y="62"/>
                      <a:pt x="15" y="55"/>
                      <a:pt x="14" y="46"/>
                    </a:cubicBezTo>
                    <a:cubicBezTo>
                      <a:pt x="75" y="46"/>
                      <a:pt x="75" y="46"/>
                      <a:pt x="75" y="46"/>
                    </a:cubicBezTo>
                    <a:cubicBezTo>
                      <a:pt x="75" y="45"/>
                      <a:pt x="75" y="43"/>
                      <a:pt x="75" y="43"/>
                    </a:cubicBezTo>
                    <a:cubicBezTo>
                      <a:pt x="75" y="29"/>
                      <a:pt x="72" y="19"/>
                      <a:pt x="65" y="11"/>
                    </a:cubicBezTo>
                    <a:cubicBezTo>
                      <a:pt x="58" y="4"/>
                      <a:pt x="49" y="0"/>
                      <a:pt x="38" y="0"/>
                    </a:cubicBezTo>
                    <a:close/>
                    <a:moveTo>
                      <a:pt x="15" y="35"/>
                    </a:moveTo>
                    <a:cubicBezTo>
                      <a:pt x="15" y="28"/>
                      <a:pt x="18" y="22"/>
                      <a:pt x="22" y="18"/>
                    </a:cubicBezTo>
                    <a:cubicBezTo>
                      <a:pt x="26" y="14"/>
                      <a:pt x="32" y="12"/>
                      <a:pt x="38" y="12"/>
                    </a:cubicBezTo>
                    <a:cubicBezTo>
                      <a:pt x="45" y="12"/>
                      <a:pt x="51" y="14"/>
                      <a:pt x="55" y="20"/>
                    </a:cubicBezTo>
                    <a:cubicBezTo>
                      <a:pt x="58" y="23"/>
                      <a:pt x="60" y="28"/>
                      <a:pt x="60" y="35"/>
                    </a:cubicBezTo>
                    <a:lnTo>
                      <a:pt x="15" y="3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278" name="ïṡļïḍè"/>
              <p:cNvSpPr/>
              <p:nvPr/>
            </p:nvSpPr>
            <p:spPr bwMode="auto">
              <a:xfrm>
                <a:off x="8860091" y="5729878"/>
                <a:ext cx="128588" cy="157163"/>
              </a:xfrm>
              <a:custGeom>
                <a:avLst/>
                <a:gdLst>
                  <a:gd name="T0" fmla="*/ 50 w 70"/>
                  <a:gd name="T1" fmla="*/ 69 h 85"/>
                  <a:gd name="T2" fmla="*/ 36 w 70"/>
                  <a:gd name="T3" fmla="*/ 74 h 85"/>
                  <a:gd name="T4" fmla="*/ 20 w 70"/>
                  <a:gd name="T5" fmla="*/ 66 h 85"/>
                  <a:gd name="T6" fmla="*/ 14 w 70"/>
                  <a:gd name="T7" fmla="*/ 43 h 85"/>
                  <a:gd name="T8" fmla="*/ 20 w 70"/>
                  <a:gd name="T9" fmla="*/ 19 h 85"/>
                  <a:gd name="T10" fmla="*/ 37 w 70"/>
                  <a:gd name="T11" fmla="*/ 12 h 85"/>
                  <a:gd name="T12" fmla="*/ 49 w 70"/>
                  <a:gd name="T13" fmla="*/ 16 h 85"/>
                  <a:gd name="T14" fmla="*/ 56 w 70"/>
                  <a:gd name="T15" fmla="*/ 28 h 85"/>
                  <a:gd name="T16" fmla="*/ 69 w 70"/>
                  <a:gd name="T17" fmla="*/ 26 h 85"/>
                  <a:gd name="T18" fmla="*/ 58 w 70"/>
                  <a:gd name="T19" fmla="*/ 7 h 85"/>
                  <a:gd name="T20" fmla="*/ 37 w 70"/>
                  <a:gd name="T21" fmla="*/ 0 h 85"/>
                  <a:gd name="T22" fmla="*/ 17 w 70"/>
                  <a:gd name="T23" fmla="*/ 5 h 85"/>
                  <a:gd name="T24" fmla="*/ 4 w 70"/>
                  <a:gd name="T25" fmla="*/ 20 h 85"/>
                  <a:gd name="T26" fmla="*/ 0 w 70"/>
                  <a:gd name="T27" fmla="*/ 43 h 85"/>
                  <a:gd name="T28" fmla="*/ 10 w 70"/>
                  <a:gd name="T29" fmla="*/ 74 h 85"/>
                  <a:gd name="T30" fmla="*/ 37 w 70"/>
                  <a:gd name="T31" fmla="*/ 85 h 85"/>
                  <a:gd name="T32" fmla="*/ 59 w 70"/>
                  <a:gd name="T33" fmla="*/ 77 h 85"/>
                  <a:gd name="T34" fmla="*/ 70 w 70"/>
                  <a:gd name="T35" fmla="*/ 55 h 85"/>
                  <a:gd name="T36" fmla="*/ 57 w 70"/>
                  <a:gd name="T37" fmla="*/ 54 h 85"/>
                  <a:gd name="T38" fmla="*/ 50 w 70"/>
                  <a:gd name="T39" fmla="*/ 69 h 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70" h="85">
                    <a:moveTo>
                      <a:pt x="50" y="69"/>
                    </a:moveTo>
                    <a:cubicBezTo>
                      <a:pt x="46" y="72"/>
                      <a:pt x="42" y="74"/>
                      <a:pt x="36" y="74"/>
                    </a:cubicBezTo>
                    <a:cubicBezTo>
                      <a:pt x="30" y="74"/>
                      <a:pt x="24" y="71"/>
                      <a:pt x="20" y="66"/>
                    </a:cubicBezTo>
                    <a:cubicBezTo>
                      <a:pt x="16" y="61"/>
                      <a:pt x="14" y="54"/>
                      <a:pt x="14" y="43"/>
                    </a:cubicBezTo>
                    <a:cubicBezTo>
                      <a:pt x="14" y="32"/>
                      <a:pt x="16" y="24"/>
                      <a:pt x="20" y="19"/>
                    </a:cubicBezTo>
                    <a:cubicBezTo>
                      <a:pt x="25" y="14"/>
                      <a:pt x="30" y="12"/>
                      <a:pt x="37" y="12"/>
                    </a:cubicBezTo>
                    <a:cubicBezTo>
                      <a:pt x="42" y="12"/>
                      <a:pt x="46" y="13"/>
                      <a:pt x="49" y="16"/>
                    </a:cubicBezTo>
                    <a:cubicBezTo>
                      <a:pt x="52" y="18"/>
                      <a:pt x="54" y="23"/>
                      <a:pt x="56" y="28"/>
                    </a:cubicBezTo>
                    <a:cubicBezTo>
                      <a:pt x="69" y="26"/>
                      <a:pt x="69" y="26"/>
                      <a:pt x="69" y="26"/>
                    </a:cubicBezTo>
                    <a:cubicBezTo>
                      <a:pt x="67" y="18"/>
                      <a:pt x="64" y="11"/>
                      <a:pt x="58" y="7"/>
                    </a:cubicBezTo>
                    <a:cubicBezTo>
                      <a:pt x="53" y="2"/>
                      <a:pt x="45" y="0"/>
                      <a:pt x="37" y="0"/>
                    </a:cubicBezTo>
                    <a:cubicBezTo>
                      <a:pt x="30" y="0"/>
                      <a:pt x="23" y="2"/>
                      <a:pt x="17" y="5"/>
                    </a:cubicBezTo>
                    <a:cubicBezTo>
                      <a:pt x="11" y="8"/>
                      <a:pt x="7" y="13"/>
                      <a:pt x="4" y="20"/>
                    </a:cubicBezTo>
                    <a:cubicBezTo>
                      <a:pt x="1" y="27"/>
                      <a:pt x="0" y="34"/>
                      <a:pt x="0" y="43"/>
                    </a:cubicBezTo>
                    <a:cubicBezTo>
                      <a:pt x="0" y="57"/>
                      <a:pt x="3" y="67"/>
                      <a:pt x="10" y="74"/>
                    </a:cubicBezTo>
                    <a:cubicBezTo>
                      <a:pt x="16" y="82"/>
                      <a:pt x="25" y="85"/>
                      <a:pt x="37" y="85"/>
                    </a:cubicBezTo>
                    <a:cubicBezTo>
                      <a:pt x="45" y="85"/>
                      <a:pt x="53" y="83"/>
                      <a:pt x="59" y="77"/>
                    </a:cubicBezTo>
                    <a:cubicBezTo>
                      <a:pt x="65" y="72"/>
                      <a:pt x="69" y="65"/>
                      <a:pt x="70" y="55"/>
                    </a:cubicBezTo>
                    <a:cubicBezTo>
                      <a:pt x="57" y="54"/>
                      <a:pt x="57" y="54"/>
                      <a:pt x="57" y="54"/>
                    </a:cubicBezTo>
                    <a:cubicBezTo>
                      <a:pt x="56" y="60"/>
                      <a:pt x="54" y="66"/>
                      <a:pt x="50" y="6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279" name="iṩḷídê"/>
              <p:cNvSpPr/>
              <p:nvPr/>
            </p:nvSpPr>
            <p:spPr bwMode="auto">
              <a:xfrm>
                <a:off x="9010903" y="5675903"/>
                <a:ext cx="122238" cy="206375"/>
              </a:xfrm>
              <a:custGeom>
                <a:avLst/>
                <a:gdLst>
                  <a:gd name="T0" fmla="*/ 54 w 66"/>
                  <a:gd name="T1" fmla="*/ 33 h 112"/>
                  <a:gd name="T2" fmla="*/ 38 w 66"/>
                  <a:gd name="T3" fmla="*/ 29 h 112"/>
                  <a:gd name="T4" fmla="*/ 14 w 66"/>
                  <a:gd name="T5" fmla="*/ 40 h 112"/>
                  <a:gd name="T6" fmla="*/ 14 w 66"/>
                  <a:gd name="T7" fmla="*/ 0 h 112"/>
                  <a:gd name="T8" fmla="*/ 0 w 66"/>
                  <a:gd name="T9" fmla="*/ 0 h 112"/>
                  <a:gd name="T10" fmla="*/ 0 w 66"/>
                  <a:gd name="T11" fmla="*/ 112 h 112"/>
                  <a:gd name="T12" fmla="*/ 14 w 66"/>
                  <a:gd name="T13" fmla="*/ 112 h 112"/>
                  <a:gd name="T14" fmla="*/ 14 w 66"/>
                  <a:gd name="T15" fmla="*/ 68 h 112"/>
                  <a:gd name="T16" fmla="*/ 16 w 66"/>
                  <a:gd name="T17" fmla="*/ 53 h 112"/>
                  <a:gd name="T18" fmla="*/ 24 w 66"/>
                  <a:gd name="T19" fmla="*/ 44 h 112"/>
                  <a:gd name="T20" fmla="*/ 35 w 66"/>
                  <a:gd name="T21" fmla="*/ 41 h 112"/>
                  <a:gd name="T22" fmla="*/ 48 w 66"/>
                  <a:gd name="T23" fmla="*/ 46 h 112"/>
                  <a:gd name="T24" fmla="*/ 53 w 66"/>
                  <a:gd name="T25" fmla="*/ 61 h 112"/>
                  <a:gd name="T26" fmla="*/ 53 w 66"/>
                  <a:gd name="T27" fmla="*/ 112 h 112"/>
                  <a:gd name="T28" fmla="*/ 66 w 66"/>
                  <a:gd name="T29" fmla="*/ 112 h 112"/>
                  <a:gd name="T30" fmla="*/ 66 w 66"/>
                  <a:gd name="T31" fmla="*/ 61 h 112"/>
                  <a:gd name="T32" fmla="*/ 63 w 66"/>
                  <a:gd name="T33" fmla="*/ 43 h 112"/>
                  <a:gd name="T34" fmla="*/ 54 w 66"/>
                  <a:gd name="T35" fmla="*/ 33 h 1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66" h="112">
                    <a:moveTo>
                      <a:pt x="54" y="33"/>
                    </a:moveTo>
                    <a:cubicBezTo>
                      <a:pt x="50" y="30"/>
                      <a:pt x="44" y="29"/>
                      <a:pt x="38" y="29"/>
                    </a:cubicBezTo>
                    <a:cubicBezTo>
                      <a:pt x="28" y="29"/>
                      <a:pt x="20" y="33"/>
                      <a:pt x="14" y="4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112"/>
                      <a:pt x="0" y="112"/>
                      <a:pt x="0" y="112"/>
                    </a:cubicBezTo>
                    <a:cubicBezTo>
                      <a:pt x="14" y="112"/>
                      <a:pt x="14" y="112"/>
                      <a:pt x="14" y="112"/>
                    </a:cubicBezTo>
                    <a:cubicBezTo>
                      <a:pt x="14" y="68"/>
                      <a:pt x="14" y="68"/>
                      <a:pt x="14" y="68"/>
                    </a:cubicBezTo>
                    <a:cubicBezTo>
                      <a:pt x="14" y="61"/>
                      <a:pt x="15" y="56"/>
                      <a:pt x="16" y="53"/>
                    </a:cubicBezTo>
                    <a:cubicBezTo>
                      <a:pt x="18" y="49"/>
                      <a:pt x="20" y="46"/>
                      <a:pt x="24" y="44"/>
                    </a:cubicBezTo>
                    <a:cubicBezTo>
                      <a:pt x="28" y="42"/>
                      <a:pt x="31" y="41"/>
                      <a:pt x="35" y="41"/>
                    </a:cubicBezTo>
                    <a:cubicBezTo>
                      <a:pt x="41" y="41"/>
                      <a:pt x="45" y="43"/>
                      <a:pt x="48" y="46"/>
                    </a:cubicBezTo>
                    <a:cubicBezTo>
                      <a:pt x="51" y="49"/>
                      <a:pt x="53" y="54"/>
                      <a:pt x="53" y="61"/>
                    </a:cubicBezTo>
                    <a:cubicBezTo>
                      <a:pt x="53" y="112"/>
                      <a:pt x="53" y="112"/>
                      <a:pt x="53" y="112"/>
                    </a:cubicBezTo>
                    <a:cubicBezTo>
                      <a:pt x="66" y="112"/>
                      <a:pt x="66" y="112"/>
                      <a:pt x="66" y="112"/>
                    </a:cubicBezTo>
                    <a:cubicBezTo>
                      <a:pt x="66" y="61"/>
                      <a:pt x="66" y="61"/>
                      <a:pt x="66" y="61"/>
                    </a:cubicBezTo>
                    <a:cubicBezTo>
                      <a:pt x="66" y="53"/>
                      <a:pt x="65" y="47"/>
                      <a:pt x="63" y="43"/>
                    </a:cubicBezTo>
                    <a:cubicBezTo>
                      <a:pt x="62" y="38"/>
                      <a:pt x="58" y="35"/>
                      <a:pt x="54" y="3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280" name="íslîḍe"/>
              <p:cNvSpPr/>
              <p:nvPr/>
            </p:nvSpPr>
            <p:spPr bwMode="auto">
              <a:xfrm>
                <a:off x="9171241" y="5729878"/>
                <a:ext cx="122238" cy="152400"/>
              </a:xfrm>
              <a:custGeom>
                <a:avLst/>
                <a:gdLst>
                  <a:gd name="T0" fmla="*/ 61 w 66"/>
                  <a:gd name="T1" fmla="*/ 10 h 83"/>
                  <a:gd name="T2" fmla="*/ 52 w 66"/>
                  <a:gd name="T3" fmla="*/ 3 h 83"/>
                  <a:gd name="T4" fmla="*/ 39 w 66"/>
                  <a:gd name="T5" fmla="*/ 0 h 83"/>
                  <a:gd name="T6" fmla="*/ 13 w 66"/>
                  <a:gd name="T7" fmla="*/ 14 h 83"/>
                  <a:gd name="T8" fmla="*/ 13 w 66"/>
                  <a:gd name="T9" fmla="*/ 2 h 83"/>
                  <a:gd name="T10" fmla="*/ 0 w 66"/>
                  <a:gd name="T11" fmla="*/ 2 h 83"/>
                  <a:gd name="T12" fmla="*/ 0 w 66"/>
                  <a:gd name="T13" fmla="*/ 83 h 83"/>
                  <a:gd name="T14" fmla="*/ 14 w 66"/>
                  <a:gd name="T15" fmla="*/ 83 h 83"/>
                  <a:gd name="T16" fmla="*/ 14 w 66"/>
                  <a:gd name="T17" fmla="*/ 39 h 83"/>
                  <a:gd name="T18" fmla="*/ 20 w 66"/>
                  <a:gd name="T19" fmla="*/ 18 h 83"/>
                  <a:gd name="T20" fmla="*/ 36 w 66"/>
                  <a:gd name="T21" fmla="*/ 12 h 83"/>
                  <a:gd name="T22" fmla="*/ 45 w 66"/>
                  <a:gd name="T23" fmla="*/ 15 h 83"/>
                  <a:gd name="T24" fmla="*/ 51 w 66"/>
                  <a:gd name="T25" fmla="*/ 21 h 83"/>
                  <a:gd name="T26" fmla="*/ 53 w 66"/>
                  <a:gd name="T27" fmla="*/ 34 h 83"/>
                  <a:gd name="T28" fmla="*/ 53 w 66"/>
                  <a:gd name="T29" fmla="*/ 83 h 83"/>
                  <a:gd name="T30" fmla="*/ 66 w 66"/>
                  <a:gd name="T31" fmla="*/ 83 h 83"/>
                  <a:gd name="T32" fmla="*/ 66 w 66"/>
                  <a:gd name="T33" fmla="*/ 33 h 83"/>
                  <a:gd name="T34" fmla="*/ 66 w 66"/>
                  <a:gd name="T35" fmla="*/ 20 h 83"/>
                  <a:gd name="T36" fmla="*/ 61 w 66"/>
                  <a:gd name="T37" fmla="*/ 10 h 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66" h="83">
                    <a:moveTo>
                      <a:pt x="61" y="10"/>
                    </a:moveTo>
                    <a:cubicBezTo>
                      <a:pt x="59" y="7"/>
                      <a:pt x="56" y="5"/>
                      <a:pt x="52" y="3"/>
                    </a:cubicBezTo>
                    <a:cubicBezTo>
                      <a:pt x="48" y="1"/>
                      <a:pt x="43" y="0"/>
                      <a:pt x="39" y="0"/>
                    </a:cubicBezTo>
                    <a:cubicBezTo>
                      <a:pt x="27" y="0"/>
                      <a:pt x="19" y="5"/>
                      <a:pt x="13" y="14"/>
                    </a:cubicBezTo>
                    <a:cubicBezTo>
                      <a:pt x="13" y="2"/>
                      <a:pt x="13" y="2"/>
                      <a:pt x="13" y="2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83"/>
                      <a:pt x="0" y="83"/>
                      <a:pt x="0" y="83"/>
                    </a:cubicBezTo>
                    <a:cubicBezTo>
                      <a:pt x="14" y="83"/>
                      <a:pt x="14" y="83"/>
                      <a:pt x="14" y="83"/>
                    </a:cubicBezTo>
                    <a:cubicBezTo>
                      <a:pt x="14" y="39"/>
                      <a:pt x="14" y="39"/>
                      <a:pt x="14" y="39"/>
                    </a:cubicBezTo>
                    <a:cubicBezTo>
                      <a:pt x="14" y="29"/>
                      <a:pt x="16" y="21"/>
                      <a:pt x="20" y="18"/>
                    </a:cubicBezTo>
                    <a:cubicBezTo>
                      <a:pt x="25" y="14"/>
                      <a:pt x="30" y="12"/>
                      <a:pt x="36" y="12"/>
                    </a:cubicBezTo>
                    <a:cubicBezTo>
                      <a:pt x="39" y="12"/>
                      <a:pt x="43" y="13"/>
                      <a:pt x="45" y="15"/>
                    </a:cubicBezTo>
                    <a:cubicBezTo>
                      <a:pt x="48" y="16"/>
                      <a:pt x="50" y="19"/>
                      <a:pt x="51" y="21"/>
                    </a:cubicBezTo>
                    <a:cubicBezTo>
                      <a:pt x="52" y="24"/>
                      <a:pt x="53" y="28"/>
                      <a:pt x="53" y="34"/>
                    </a:cubicBezTo>
                    <a:cubicBezTo>
                      <a:pt x="53" y="83"/>
                      <a:pt x="53" y="83"/>
                      <a:pt x="53" y="83"/>
                    </a:cubicBezTo>
                    <a:cubicBezTo>
                      <a:pt x="66" y="83"/>
                      <a:pt x="66" y="83"/>
                      <a:pt x="66" y="83"/>
                    </a:cubicBezTo>
                    <a:cubicBezTo>
                      <a:pt x="66" y="33"/>
                      <a:pt x="66" y="33"/>
                      <a:pt x="66" y="33"/>
                    </a:cubicBezTo>
                    <a:cubicBezTo>
                      <a:pt x="66" y="27"/>
                      <a:pt x="66" y="23"/>
                      <a:pt x="66" y="20"/>
                    </a:cubicBezTo>
                    <a:cubicBezTo>
                      <a:pt x="65" y="16"/>
                      <a:pt x="63" y="13"/>
                      <a:pt x="61" y="1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281" name="ïṣľíḓè"/>
              <p:cNvSpPr/>
              <p:nvPr/>
            </p:nvSpPr>
            <p:spPr bwMode="auto">
              <a:xfrm>
                <a:off x="9322053" y="5729878"/>
                <a:ext cx="142875" cy="157163"/>
              </a:xfrm>
              <a:custGeom>
                <a:avLst/>
                <a:gdLst>
                  <a:gd name="T0" fmla="*/ 38 w 77"/>
                  <a:gd name="T1" fmla="*/ 0 h 85"/>
                  <a:gd name="T2" fmla="*/ 13 w 77"/>
                  <a:gd name="T3" fmla="*/ 9 h 85"/>
                  <a:gd name="T4" fmla="*/ 0 w 77"/>
                  <a:gd name="T5" fmla="*/ 43 h 85"/>
                  <a:gd name="T6" fmla="*/ 11 w 77"/>
                  <a:gd name="T7" fmla="*/ 74 h 85"/>
                  <a:gd name="T8" fmla="*/ 38 w 77"/>
                  <a:gd name="T9" fmla="*/ 85 h 85"/>
                  <a:gd name="T10" fmla="*/ 58 w 77"/>
                  <a:gd name="T11" fmla="*/ 80 h 85"/>
                  <a:gd name="T12" fmla="*/ 72 w 77"/>
                  <a:gd name="T13" fmla="*/ 66 h 85"/>
                  <a:gd name="T14" fmla="*/ 77 w 77"/>
                  <a:gd name="T15" fmla="*/ 42 h 85"/>
                  <a:gd name="T16" fmla="*/ 66 w 77"/>
                  <a:gd name="T17" fmla="*/ 11 h 85"/>
                  <a:gd name="T18" fmla="*/ 38 w 77"/>
                  <a:gd name="T19" fmla="*/ 0 h 85"/>
                  <a:gd name="T20" fmla="*/ 56 w 77"/>
                  <a:gd name="T21" fmla="*/ 66 h 85"/>
                  <a:gd name="T22" fmla="*/ 38 w 77"/>
                  <a:gd name="T23" fmla="*/ 74 h 85"/>
                  <a:gd name="T24" fmla="*/ 21 w 77"/>
                  <a:gd name="T25" fmla="*/ 66 h 85"/>
                  <a:gd name="T26" fmla="*/ 15 w 77"/>
                  <a:gd name="T27" fmla="*/ 43 h 85"/>
                  <a:gd name="T28" fmla="*/ 21 w 77"/>
                  <a:gd name="T29" fmla="*/ 19 h 85"/>
                  <a:gd name="T30" fmla="*/ 38 w 77"/>
                  <a:gd name="T31" fmla="*/ 12 h 85"/>
                  <a:gd name="T32" fmla="*/ 56 w 77"/>
                  <a:gd name="T33" fmla="*/ 19 h 85"/>
                  <a:gd name="T34" fmla="*/ 62 w 77"/>
                  <a:gd name="T35" fmla="*/ 42 h 85"/>
                  <a:gd name="T36" fmla="*/ 56 w 77"/>
                  <a:gd name="T37" fmla="*/ 66 h 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77" h="85">
                    <a:moveTo>
                      <a:pt x="38" y="0"/>
                    </a:moveTo>
                    <a:cubicBezTo>
                      <a:pt x="28" y="0"/>
                      <a:pt x="20" y="3"/>
                      <a:pt x="13" y="9"/>
                    </a:cubicBezTo>
                    <a:cubicBezTo>
                      <a:pt x="5" y="16"/>
                      <a:pt x="0" y="28"/>
                      <a:pt x="0" y="43"/>
                    </a:cubicBezTo>
                    <a:cubicBezTo>
                      <a:pt x="0" y="56"/>
                      <a:pt x="4" y="67"/>
                      <a:pt x="11" y="74"/>
                    </a:cubicBezTo>
                    <a:cubicBezTo>
                      <a:pt x="18" y="82"/>
                      <a:pt x="27" y="85"/>
                      <a:pt x="38" y="85"/>
                    </a:cubicBezTo>
                    <a:cubicBezTo>
                      <a:pt x="46" y="85"/>
                      <a:pt x="52" y="84"/>
                      <a:pt x="58" y="80"/>
                    </a:cubicBezTo>
                    <a:cubicBezTo>
                      <a:pt x="64" y="77"/>
                      <a:pt x="69" y="72"/>
                      <a:pt x="72" y="66"/>
                    </a:cubicBezTo>
                    <a:cubicBezTo>
                      <a:pt x="75" y="60"/>
                      <a:pt x="77" y="52"/>
                      <a:pt x="77" y="42"/>
                    </a:cubicBezTo>
                    <a:cubicBezTo>
                      <a:pt x="77" y="29"/>
                      <a:pt x="73" y="19"/>
                      <a:pt x="66" y="11"/>
                    </a:cubicBezTo>
                    <a:cubicBezTo>
                      <a:pt x="59" y="4"/>
                      <a:pt x="50" y="0"/>
                      <a:pt x="38" y="0"/>
                    </a:cubicBezTo>
                    <a:close/>
                    <a:moveTo>
                      <a:pt x="56" y="66"/>
                    </a:moveTo>
                    <a:cubicBezTo>
                      <a:pt x="51" y="71"/>
                      <a:pt x="45" y="74"/>
                      <a:pt x="38" y="74"/>
                    </a:cubicBezTo>
                    <a:cubicBezTo>
                      <a:pt x="32" y="74"/>
                      <a:pt x="26" y="71"/>
                      <a:pt x="21" y="66"/>
                    </a:cubicBezTo>
                    <a:cubicBezTo>
                      <a:pt x="17" y="61"/>
                      <a:pt x="15" y="53"/>
                      <a:pt x="15" y="43"/>
                    </a:cubicBezTo>
                    <a:cubicBezTo>
                      <a:pt x="15" y="32"/>
                      <a:pt x="17" y="24"/>
                      <a:pt x="21" y="19"/>
                    </a:cubicBezTo>
                    <a:cubicBezTo>
                      <a:pt x="26" y="14"/>
                      <a:pt x="32" y="12"/>
                      <a:pt x="38" y="12"/>
                    </a:cubicBezTo>
                    <a:cubicBezTo>
                      <a:pt x="45" y="12"/>
                      <a:pt x="51" y="14"/>
                      <a:pt x="56" y="19"/>
                    </a:cubicBezTo>
                    <a:cubicBezTo>
                      <a:pt x="60" y="25"/>
                      <a:pt x="62" y="32"/>
                      <a:pt x="62" y="42"/>
                    </a:cubicBezTo>
                    <a:cubicBezTo>
                      <a:pt x="62" y="53"/>
                      <a:pt x="60" y="61"/>
                      <a:pt x="56" y="6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282" name="îš1ïḋé"/>
              <p:cNvSpPr/>
              <p:nvPr/>
            </p:nvSpPr>
            <p:spPr bwMode="auto">
              <a:xfrm>
                <a:off x="9491916" y="5675903"/>
                <a:ext cx="25400" cy="206375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283" name="íŝḻíḍê"/>
              <p:cNvSpPr/>
              <p:nvPr/>
            </p:nvSpPr>
            <p:spPr bwMode="auto">
              <a:xfrm>
                <a:off x="9547478" y="5729878"/>
                <a:ext cx="141288" cy="157163"/>
              </a:xfrm>
              <a:custGeom>
                <a:avLst/>
                <a:gdLst>
                  <a:gd name="T0" fmla="*/ 38 w 77"/>
                  <a:gd name="T1" fmla="*/ 0 h 85"/>
                  <a:gd name="T2" fmla="*/ 13 w 77"/>
                  <a:gd name="T3" fmla="*/ 9 h 85"/>
                  <a:gd name="T4" fmla="*/ 0 w 77"/>
                  <a:gd name="T5" fmla="*/ 43 h 85"/>
                  <a:gd name="T6" fmla="*/ 11 w 77"/>
                  <a:gd name="T7" fmla="*/ 74 h 85"/>
                  <a:gd name="T8" fmla="*/ 38 w 77"/>
                  <a:gd name="T9" fmla="*/ 85 h 85"/>
                  <a:gd name="T10" fmla="*/ 58 w 77"/>
                  <a:gd name="T11" fmla="*/ 80 h 85"/>
                  <a:gd name="T12" fmla="*/ 72 w 77"/>
                  <a:gd name="T13" fmla="*/ 66 h 85"/>
                  <a:gd name="T14" fmla="*/ 77 w 77"/>
                  <a:gd name="T15" fmla="*/ 42 h 85"/>
                  <a:gd name="T16" fmla="*/ 66 w 77"/>
                  <a:gd name="T17" fmla="*/ 11 h 85"/>
                  <a:gd name="T18" fmla="*/ 38 w 77"/>
                  <a:gd name="T19" fmla="*/ 0 h 85"/>
                  <a:gd name="T20" fmla="*/ 56 w 77"/>
                  <a:gd name="T21" fmla="*/ 66 h 85"/>
                  <a:gd name="T22" fmla="*/ 38 w 77"/>
                  <a:gd name="T23" fmla="*/ 74 h 85"/>
                  <a:gd name="T24" fmla="*/ 21 w 77"/>
                  <a:gd name="T25" fmla="*/ 66 h 85"/>
                  <a:gd name="T26" fmla="*/ 15 w 77"/>
                  <a:gd name="T27" fmla="*/ 43 h 85"/>
                  <a:gd name="T28" fmla="*/ 21 w 77"/>
                  <a:gd name="T29" fmla="*/ 19 h 85"/>
                  <a:gd name="T30" fmla="*/ 38 w 77"/>
                  <a:gd name="T31" fmla="*/ 12 h 85"/>
                  <a:gd name="T32" fmla="*/ 56 w 77"/>
                  <a:gd name="T33" fmla="*/ 19 h 85"/>
                  <a:gd name="T34" fmla="*/ 62 w 77"/>
                  <a:gd name="T35" fmla="*/ 42 h 85"/>
                  <a:gd name="T36" fmla="*/ 56 w 77"/>
                  <a:gd name="T37" fmla="*/ 66 h 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77" h="85">
                    <a:moveTo>
                      <a:pt x="38" y="0"/>
                    </a:moveTo>
                    <a:cubicBezTo>
                      <a:pt x="28" y="0"/>
                      <a:pt x="20" y="3"/>
                      <a:pt x="13" y="9"/>
                    </a:cubicBezTo>
                    <a:cubicBezTo>
                      <a:pt x="5" y="16"/>
                      <a:pt x="0" y="28"/>
                      <a:pt x="0" y="43"/>
                    </a:cubicBezTo>
                    <a:cubicBezTo>
                      <a:pt x="0" y="56"/>
                      <a:pt x="4" y="67"/>
                      <a:pt x="11" y="74"/>
                    </a:cubicBezTo>
                    <a:cubicBezTo>
                      <a:pt x="18" y="82"/>
                      <a:pt x="27" y="85"/>
                      <a:pt x="38" y="85"/>
                    </a:cubicBezTo>
                    <a:cubicBezTo>
                      <a:pt x="46" y="85"/>
                      <a:pt x="52" y="84"/>
                      <a:pt x="58" y="80"/>
                    </a:cubicBezTo>
                    <a:cubicBezTo>
                      <a:pt x="64" y="77"/>
                      <a:pt x="69" y="72"/>
                      <a:pt x="72" y="66"/>
                    </a:cubicBezTo>
                    <a:cubicBezTo>
                      <a:pt x="75" y="60"/>
                      <a:pt x="77" y="52"/>
                      <a:pt x="77" y="42"/>
                    </a:cubicBezTo>
                    <a:cubicBezTo>
                      <a:pt x="77" y="29"/>
                      <a:pt x="73" y="19"/>
                      <a:pt x="66" y="11"/>
                    </a:cubicBezTo>
                    <a:cubicBezTo>
                      <a:pt x="59" y="4"/>
                      <a:pt x="50" y="0"/>
                      <a:pt x="38" y="0"/>
                    </a:cubicBezTo>
                    <a:close/>
                    <a:moveTo>
                      <a:pt x="56" y="66"/>
                    </a:moveTo>
                    <a:cubicBezTo>
                      <a:pt x="51" y="71"/>
                      <a:pt x="45" y="74"/>
                      <a:pt x="38" y="74"/>
                    </a:cubicBezTo>
                    <a:cubicBezTo>
                      <a:pt x="32" y="74"/>
                      <a:pt x="26" y="71"/>
                      <a:pt x="21" y="66"/>
                    </a:cubicBezTo>
                    <a:cubicBezTo>
                      <a:pt x="17" y="61"/>
                      <a:pt x="15" y="53"/>
                      <a:pt x="15" y="43"/>
                    </a:cubicBezTo>
                    <a:cubicBezTo>
                      <a:pt x="15" y="32"/>
                      <a:pt x="17" y="24"/>
                      <a:pt x="21" y="19"/>
                    </a:cubicBezTo>
                    <a:cubicBezTo>
                      <a:pt x="26" y="14"/>
                      <a:pt x="32" y="12"/>
                      <a:pt x="38" y="12"/>
                    </a:cubicBezTo>
                    <a:cubicBezTo>
                      <a:pt x="45" y="12"/>
                      <a:pt x="51" y="14"/>
                      <a:pt x="56" y="19"/>
                    </a:cubicBezTo>
                    <a:cubicBezTo>
                      <a:pt x="60" y="25"/>
                      <a:pt x="62" y="32"/>
                      <a:pt x="62" y="42"/>
                    </a:cubicBezTo>
                    <a:cubicBezTo>
                      <a:pt x="62" y="53"/>
                      <a:pt x="60" y="61"/>
                      <a:pt x="56" y="6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284" name="íṧḷíḓé"/>
              <p:cNvSpPr/>
              <p:nvPr/>
            </p:nvSpPr>
            <p:spPr bwMode="auto">
              <a:xfrm>
                <a:off x="9707816" y="5729878"/>
                <a:ext cx="131763" cy="214313"/>
              </a:xfrm>
              <a:custGeom>
                <a:avLst/>
                <a:gdLst>
                  <a:gd name="T0" fmla="*/ 59 w 72"/>
                  <a:gd name="T1" fmla="*/ 12 h 116"/>
                  <a:gd name="T2" fmla="*/ 36 w 72"/>
                  <a:gd name="T3" fmla="*/ 0 h 116"/>
                  <a:gd name="T4" fmla="*/ 17 w 72"/>
                  <a:gd name="T5" fmla="*/ 6 h 116"/>
                  <a:gd name="T6" fmla="*/ 5 w 72"/>
                  <a:gd name="T7" fmla="*/ 21 h 116"/>
                  <a:gd name="T8" fmla="*/ 0 w 72"/>
                  <a:gd name="T9" fmla="*/ 42 h 116"/>
                  <a:gd name="T10" fmla="*/ 10 w 72"/>
                  <a:gd name="T11" fmla="*/ 71 h 116"/>
                  <a:gd name="T12" fmla="*/ 36 w 72"/>
                  <a:gd name="T13" fmla="*/ 83 h 116"/>
                  <a:gd name="T14" fmla="*/ 58 w 72"/>
                  <a:gd name="T15" fmla="*/ 73 h 116"/>
                  <a:gd name="T16" fmla="*/ 57 w 72"/>
                  <a:gd name="T17" fmla="*/ 90 h 116"/>
                  <a:gd name="T18" fmla="*/ 50 w 72"/>
                  <a:gd name="T19" fmla="*/ 101 h 116"/>
                  <a:gd name="T20" fmla="*/ 35 w 72"/>
                  <a:gd name="T21" fmla="*/ 105 h 116"/>
                  <a:gd name="T22" fmla="*/ 21 w 72"/>
                  <a:gd name="T23" fmla="*/ 101 h 116"/>
                  <a:gd name="T24" fmla="*/ 17 w 72"/>
                  <a:gd name="T25" fmla="*/ 92 h 116"/>
                  <a:gd name="T26" fmla="*/ 3 w 72"/>
                  <a:gd name="T27" fmla="*/ 90 h 116"/>
                  <a:gd name="T28" fmla="*/ 12 w 72"/>
                  <a:gd name="T29" fmla="*/ 110 h 116"/>
                  <a:gd name="T30" fmla="*/ 35 w 72"/>
                  <a:gd name="T31" fmla="*/ 116 h 116"/>
                  <a:gd name="T32" fmla="*/ 56 w 72"/>
                  <a:gd name="T33" fmla="*/ 112 h 116"/>
                  <a:gd name="T34" fmla="*/ 68 w 72"/>
                  <a:gd name="T35" fmla="*/ 99 h 116"/>
                  <a:gd name="T36" fmla="*/ 72 w 72"/>
                  <a:gd name="T37" fmla="*/ 72 h 116"/>
                  <a:gd name="T38" fmla="*/ 72 w 72"/>
                  <a:gd name="T39" fmla="*/ 2 h 116"/>
                  <a:gd name="T40" fmla="*/ 59 w 72"/>
                  <a:gd name="T41" fmla="*/ 2 h 116"/>
                  <a:gd name="T42" fmla="*/ 59 w 72"/>
                  <a:gd name="T43" fmla="*/ 12 h 116"/>
                  <a:gd name="T44" fmla="*/ 53 w 72"/>
                  <a:gd name="T45" fmla="*/ 65 h 116"/>
                  <a:gd name="T46" fmla="*/ 37 w 72"/>
                  <a:gd name="T47" fmla="*/ 72 h 116"/>
                  <a:gd name="T48" fmla="*/ 21 w 72"/>
                  <a:gd name="T49" fmla="*/ 65 h 116"/>
                  <a:gd name="T50" fmla="*/ 15 w 72"/>
                  <a:gd name="T51" fmla="*/ 41 h 116"/>
                  <a:gd name="T52" fmla="*/ 21 w 72"/>
                  <a:gd name="T53" fmla="*/ 19 h 116"/>
                  <a:gd name="T54" fmla="*/ 37 w 72"/>
                  <a:gd name="T55" fmla="*/ 12 h 116"/>
                  <a:gd name="T56" fmla="*/ 53 w 72"/>
                  <a:gd name="T57" fmla="*/ 19 h 116"/>
                  <a:gd name="T58" fmla="*/ 59 w 72"/>
                  <a:gd name="T59" fmla="*/ 42 h 116"/>
                  <a:gd name="T60" fmla="*/ 53 w 72"/>
                  <a:gd name="T61" fmla="*/ 65 h 1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72" h="116">
                    <a:moveTo>
                      <a:pt x="59" y="12"/>
                    </a:moveTo>
                    <a:cubicBezTo>
                      <a:pt x="53" y="4"/>
                      <a:pt x="45" y="0"/>
                      <a:pt x="36" y="0"/>
                    </a:cubicBezTo>
                    <a:cubicBezTo>
                      <a:pt x="28" y="0"/>
                      <a:pt x="22" y="2"/>
                      <a:pt x="17" y="6"/>
                    </a:cubicBezTo>
                    <a:cubicBezTo>
                      <a:pt x="11" y="9"/>
                      <a:pt x="7" y="14"/>
                      <a:pt x="5" y="21"/>
                    </a:cubicBezTo>
                    <a:cubicBezTo>
                      <a:pt x="2" y="27"/>
                      <a:pt x="0" y="34"/>
                      <a:pt x="0" y="42"/>
                    </a:cubicBezTo>
                    <a:cubicBezTo>
                      <a:pt x="0" y="53"/>
                      <a:pt x="3" y="63"/>
                      <a:pt x="10" y="71"/>
                    </a:cubicBezTo>
                    <a:cubicBezTo>
                      <a:pt x="16" y="79"/>
                      <a:pt x="24" y="83"/>
                      <a:pt x="36" y="83"/>
                    </a:cubicBezTo>
                    <a:cubicBezTo>
                      <a:pt x="45" y="83"/>
                      <a:pt x="52" y="80"/>
                      <a:pt x="58" y="73"/>
                    </a:cubicBezTo>
                    <a:cubicBezTo>
                      <a:pt x="58" y="82"/>
                      <a:pt x="58" y="88"/>
                      <a:pt x="57" y="90"/>
                    </a:cubicBezTo>
                    <a:cubicBezTo>
                      <a:pt x="56" y="95"/>
                      <a:pt x="53" y="99"/>
                      <a:pt x="50" y="101"/>
                    </a:cubicBezTo>
                    <a:cubicBezTo>
                      <a:pt x="47" y="104"/>
                      <a:pt x="42" y="105"/>
                      <a:pt x="35" y="105"/>
                    </a:cubicBezTo>
                    <a:cubicBezTo>
                      <a:pt x="29" y="105"/>
                      <a:pt x="25" y="104"/>
                      <a:pt x="21" y="101"/>
                    </a:cubicBezTo>
                    <a:cubicBezTo>
                      <a:pt x="19" y="99"/>
                      <a:pt x="17" y="96"/>
                      <a:pt x="17" y="92"/>
                    </a:cubicBezTo>
                    <a:cubicBezTo>
                      <a:pt x="3" y="90"/>
                      <a:pt x="3" y="90"/>
                      <a:pt x="3" y="90"/>
                    </a:cubicBezTo>
                    <a:cubicBezTo>
                      <a:pt x="3" y="99"/>
                      <a:pt x="6" y="105"/>
                      <a:pt x="12" y="110"/>
                    </a:cubicBezTo>
                    <a:cubicBezTo>
                      <a:pt x="18" y="114"/>
                      <a:pt x="26" y="116"/>
                      <a:pt x="35" y="116"/>
                    </a:cubicBezTo>
                    <a:cubicBezTo>
                      <a:pt x="43" y="116"/>
                      <a:pt x="50" y="115"/>
                      <a:pt x="56" y="112"/>
                    </a:cubicBezTo>
                    <a:cubicBezTo>
                      <a:pt x="62" y="109"/>
                      <a:pt x="66" y="104"/>
                      <a:pt x="68" y="99"/>
                    </a:cubicBezTo>
                    <a:cubicBezTo>
                      <a:pt x="71" y="94"/>
                      <a:pt x="72" y="85"/>
                      <a:pt x="72" y="72"/>
                    </a:cubicBezTo>
                    <a:cubicBezTo>
                      <a:pt x="72" y="2"/>
                      <a:pt x="72" y="2"/>
                      <a:pt x="72" y="2"/>
                    </a:cubicBezTo>
                    <a:cubicBezTo>
                      <a:pt x="59" y="2"/>
                      <a:pt x="59" y="2"/>
                      <a:pt x="59" y="2"/>
                    </a:cubicBezTo>
                    <a:lnTo>
                      <a:pt x="59" y="12"/>
                    </a:lnTo>
                    <a:close/>
                    <a:moveTo>
                      <a:pt x="53" y="65"/>
                    </a:moveTo>
                    <a:cubicBezTo>
                      <a:pt x="48" y="69"/>
                      <a:pt x="43" y="72"/>
                      <a:pt x="37" y="72"/>
                    </a:cubicBezTo>
                    <a:cubicBezTo>
                      <a:pt x="30" y="72"/>
                      <a:pt x="25" y="69"/>
                      <a:pt x="21" y="65"/>
                    </a:cubicBezTo>
                    <a:cubicBezTo>
                      <a:pt x="17" y="60"/>
                      <a:pt x="15" y="52"/>
                      <a:pt x="15" y="41"/>
                    </a:cubicBezTo>
                    <a:cubicBezTo>
                      <a:pt x="15" y="31"/>
                      <a:pt x="17" y="24"/>
                      <a:pt x="21" y="19"/>
                    </a:cubicBezTo>
                    <a:cubicBezTo>
                      <a:pt x="25" y="14"/>
                      <a:pt x="30" y="12"/>
                      <a:pt x="37" y="12"/>
                    </a:cubicBezTo>
                    <a:cubicBezTo>
                      <a:pt x="43" y="12"/>
                      <a:pt x="48" y="14"/>
                      <a:pt x="53" y="19"/>
                    </a:cubicBezTo>
                    <a:cubicBezTo>
                      <a:pt x="57" y="24"/>
                      <a:pt x="59" y="32"/>
                      <a:pt x="59" y="42"/>
                    </a:cubicBezTo>
                    <a:cubicBezTo>
                      <a:pt x="59" y="52"/>
                      <a:pt x="57" y="60"/>
                      <a:pt x="53" y="6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285" name="îŝlíde"/>
              <p:cNvSpPr/>
              <p:nvPr/>
            </p:nvSpPr>
            <p:spPr bwMode="auto">
              <a:xfrm>
                <a:off x="9864978" y="5733053"/>
                <a:ext cx="138113" cy="211138"/>
              </a:xfrm>
              <a:custGeom>
                <a:avLst/>
                <a:gdLst>
                  <a:gd name="T0" fmla="*/ 43 w 75"/>
                  <a:gd name="T1" fmla="*/ 47 h 114"/>
                  <a:gd name="T2" fmla="*/ 38 w 75"/>
                  <a:gd name="T3" fmla="*/ 66 h 114"/>
                  <a:gd name="T4" fmla="*/ 32 w 75"/>
                  <a:gd name="T5" fmla="*/ 47 h 114"/>
                  <a:gd name="T6" fmla="*/ 15 w 75"/>
                  <a:gd name="T7" fmla="*/ 0 h 114"/>
                  <a:gd name="T8" fmla="*/ 0 w 75"/>
                  <a:gd name="T9" fmla="*/ 0 h 114"/>
                  <a:gd name="T10" fmla="*/ 31 w 75"/>
                  <a:gd name="T11" fmla="*/ 81 h 114"/>
                  <a:gd name="T12" fmla="*/ 30 w 75"/>
                  <a:gd name="T13" fmla="*/ 85 h 114"/>
                  <a:gd name="T14" fmla="*/ 25 w 75"/>
                  <a:gd name="T15" fmla="*/ 95 h 114"/>
                  <a:gd name="T16" fmla="*/ 21 w 75"/>
                  <a:gd name="T17" fmla="*/ 99 h 114"/>
                  <a:gd name="T18" fmla="*/ 14 w 75"/>
                  <a:gd name="T19" fmla="*/ 101 h 114"/>
                  <a:gd name="T20" fmla="*/ 6 w 75"/>
                  <a:gd name="T21" fmla="*/ 100 h 114"/>
                  <a:gd name="T22" fmla="*/ 7 w 75"/>
                  <a:gd name="T23" fmla="*/ 113 h 114"/>
                  <a:gd name="T24" fmla="*/ 16 w 75"/>
                  <a:gd name="T25" fmla="*/ 114 h 114"/>
                  <a:gd name="T26" fmla="*/ 27 w 75"/>
                  <a:gd name="T27" fmla="*/ 111 h 114"/>
                  <a:gd name="T28" fmla="*/ 36 w 75"/>
                  <a:gd name="T29" fmla="*/ 101 h 114"/>
                  <a:gd name="T30" fmla="*/ 44 w 75"/>
                  <a:gd name="T31" fmla="*/ 83 h 114"/>
                  <a:gd name="T32" fmla="*/ 75 w 75"/>
                  <a:gd name="T33" fmla="*/ 0 h 114"/>
                  <a:gd name="T34" fmla="*/ 61 w 75"/>
                  <a:gd name="T35" fmla="*/ 0 h 114"/>
                  <a:gd name="T36" fmla="*/ 43 w 75"/>
                  <a:gd name="T37" fmla="*/ 47 h 1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75" h="114">
                    <a:moveTo>
                      <a:pt x="43" y="47"/>
                    </a:moveTo>
                    <a:cubicBezTo>
                      <a:pt x="41" y="53"/>
                      <a:pt x="39" y="60"/>
                      <a:pt x="38" y="66"/>
                    </a:cubicBezTo>
                    <a:cubicBezTo>
                      <a:pt x="36" y="59"/>
                      <a:pt x="34" y="53"/>
                      <a:pt x="32" y="47"/>
                    </a:cubicBezTo>
                    <a:cubicBezTo>
                      <a:pt x="15" y="0"/>
                      <a:pt x="15" y="0"/>
                      <a:pt x="15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31" y="81"/>
                      <a:pt x="31" y="81"/>
                      <a:pt x="31" y="81"/>
                    </a:cubicBezTo>
                    <a:cubicBezTo>
                      <a:pt x="30" y="83"/>
                      <a:pt x="30" y="84"/>
                      <a:pt x="30" y="85"/>
                    </a:cubicBezTo>
                    <a:cubicBezTo>
                      <a:pt x="28" y="90"/>
                      <a:pt x="26" y="94"/>
                      <a:pt x="25" y="95"/>
                    </a:cubicBezTo>
                    <a:cubicBezTo>
                      <a:pt x="24" y="97"/>
                      <a:pt x="23" y="98"/>
                      <a:pt x="21" y="99"/>
                    </a:cubicBezTo>
                    <a:cubicBezTo>
                      <a:pt x="19" y="100"/>
                      <a:pt x="17" y="101"/>
                      <a:pt x="14" y="101"/>
                    </a:cubicBezTo>
                    <a:cubicBezTo>
                      <a:pt x="11" y="101"/>
                      <a:pt x="9" y="101"/>
                      <a:pt x="6" y="100"/>
                    </a:cubicBezTo>
                    <a:cubicBezTo>
                      <a:pt x="7" y="113"/>
                      <a:pt x="7" y="113"/>
                      <a:pt x="7" y="113"/>
                    </a:cubicBezTo>
                    <a:cubicBezTo>
                      <a:pt x="11" y="114"/>
                      <a:pt x="13" y="114"/>
                      <a:pt x="16" y="114"/>
                    </a:cubicBezTo>
                    <a:cubicBezTo>
                      <a:pt x="21" y="114"/>
                      <a:pt x="24" y="113"/>
                      <a:pt x="27" y="111"/>
                    </a:cubicBezTo>
                    <a:cubicBezTo>
                      <a:pt x="31" y="109"/>
                      <a:pt x="33" y="106"/>
                      <a:pt x="36" y="101"/>
                    </a:cubicBezTo>
                    <a:cubicBezTo>
                      <a:pt x="38" y="98"/>
                      <a:pt x="40" y="92"/>
                      <a:pt x="44" y="83"/>
                    </a:cubicBezTo>
                    <a:cubicBezTo>
                      <a:pt x="75" y="0"/>
                      <a:pt x="75" y="0"/>
                      <a:pt x="75" y="0"/>
                    </a:cubicBezTo>
                    <a:cubicBezTo>
                      <a:pt x="61" y="0"/>
                      <a:pt x="61" y="0"/>
                      <a:pt x="61" y="0"/>
                    </a:cubicBezTo>
                    <a:lnTo>
                      <a:pt x="43" y="4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286" name="íṧ1ïḍé"/>
              <p:cNvSpPr/>
              <p:nvPr/>
            </p:nvSpPr>
            <p:spPr bwMode="auto">
              <a:xfrm>
                <a:off x="10106278" y="5675903"/>
                <a:ext cx="155575" cy="206375"/>
              </a:xfrm>
              <a:custGeom>
                <a:avLst/>
                <a:gdLst>
                  <a:gd name="T0" fmla="*/ 64 w 85"/>
                  <a:gd name="T1" fmla="*/ 53 h 112"/>
                  <a:gd name="T2" fmla="*/ 75 w 85"/>
                  <a:gd name="T3" fmla="*/ 42 h 112"/>
                  <a:gd name="T4" fmla="*/ 79 w 85"/>
                  <a:gd name="T5" fmla="*/ 29 h 112"/>
                  <a:gd name="T6" fmla="*/ 75 w 85"/>
                  <a:gd name="T7" fmla="*/ 14 h 112"/>
                  <a:gd name="T8" fmla="*/ 63 w 85"/>
                  <a:gd name="T9" fmla="*/ 4 h 112"/>
                  <a:gd name="T10" fmla="*/ 42 w 85"/>
                  <a:gd name="T11" fmla="*/ 0 h 112"/>
                  <a:gd name="T12" fmla="*/ 0 w 85"/>
                  <a:gd name="T13" fmla="*/ 0 h 112"/>
                  <a:gd name="T14" fmla="*/ 0 w 85"/>
                  <a:gd name="T15" fmla="*/ 112 h 112"/>
                  <a:gd name="T16" fmla="*/ 43 w 85"/>
                  <a:gd name="T17" fmla="*/ 112 h 112"/>
                  <a:gd name="T18" fmla="*/ 61 w 85"/>
                  <a:gd name="T19" fmla="*/ 110 h 112"/>
                  <a:gd name="T20" fmla="*/ 73 w 85"/>
                  <a:gd name="T21" fmla="*/ 105 h 112"/>
                  <a:gd name="T22" fmla="*/ 81 w 85"/>
                  <a:gd name="T23" fmla="*/ 94 h 112"/>
                  <a:gd name="T24" fmla="*/ 85 w 85"/>
                  <a:gd name="T25" fmla="*/ 80 h 112"/>
                  <a:gd name="T26" fmla="*/ 79 w 85"/>
                  <a:gd name="T27" fmla="*/ 63 h 112"/>
                  <a:gd name="T28" fmla="*/ 64 w 85"/>
                  <a:gd name="T29" fmla="*/ 53 h 112"/>
                  <a:gd name="T30" fmla="*/ 15 w 85"/>
                  <a:gd name="T31" fmla="*/ 13 h 112"/>
                  <a:gd name="T32" fmla="*/ 37 w 85"/>
                  <a:gd name="T33" fmla="*/ 13 h 112"/>
                  <a:gd name="T34" fmla="*/ 54 w 85"/>
                  <a:gd name="T35" fmla="*/ 15 h 112"/>
                  <a:gd name="T36" fmla="*/ 62 w 85"/>
                  <a:gd name="T37" fmla="*/ 21 h 112"/>
                  <a:gd name="T38" fmla="*/ 65 w 85"/>
                  <a:gd name="T39" fmla="*/ 31 h 112"/>
                  <a:gd name="T40" fmla="*/ 62 w 85"/>
                  <a:gd name="T41" fmla="*/ 40 h 112"/>
                  <a:gd name="T42" fmla="*/ 53 w 85"/>
                  <a:gd name="T43" fmla="*/ 46 h 112"/>
                  <a:gd name="T44" fmla="*/ 39 w 85"/>
                  <a:gd name="T45" fmla="*/ 47 h 112"/>
                  <a:gd name="T46" fmla="*/ 15 w 85"/>
                  <a:gd name="T47" fmla="*/ 47 h 112"/>
                  <a:gd name="T48" fmla="*/ 15 w 85"/>
                  <a:gd name="T49" fmla="*/ 13 h 112"/>
                  <a:gd name="T50" fmla="*/ 67 w 85"/>
                  <a:gd name="T51" fmla="*/ 89 h 112"/>
                  <a:gd name="T52" fmla="*/ 61 w 85"/>
                  <a:gd name="T53" fmla="*/ 95 h 112"/>
                  <a:gd name="T54" fmla="*/ 53 w 85"/>
                  <a:gd name="T55" fmla="*/ 99 h 112"/>
                  <a:gd name="T56" fmla="*/ 43 w 85"/>
                  <a:gd name="T57" fmla="*/ 99 h 112"/>
                  <a:gd name="T58" fmla="*/ 15 w 85"/>
                  <a:gd name="T59" fmla="*/ 99 h 112"/>
                  <a:gd name="T60" fmla="*/ 15 w 85"/>
                  <a:gd name="T61" fmla="*/ 61 h 112"/>
                  <a:gd name="T62" fmla="*/ 41 w 85"/>
                  <a:gd name="T63" fmla="*/ 61 h 112"/>
                  <a:gd name="T64" fmla="*/ 57 w 85"/>
                  <a:gd name="T65" fmla="*/ 62 h 112"/>
                  <a:gd name="T66" fmla="*/ 66 w 85"/>
                  <a:gd name="T67" fmla="*/ 69 h 112"/>
                  <a:gd name="T68" fmla="*/ 69 w 85"/>
                  <a:gd name="T69" fmla="*/ 80 h 112"/>
                  <a:gd name="T70" fmla="*/ 67 w 85"/>
                  <a:gd name="T71" fmla="*/ 89 h 1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85" h="112">
                    <a:moveTo>
                      <a:pt x="64" y="53"/>
                    </a:moveTo>
                    <a:cubicBezTo>
                      <a:pt x="69" y="50"/>
                      <a:pt x="73" y="47"/>
                      <a:pt x="75" y="42"/>
                    </a:cubicBezTo>
                    <a:cubicBezTo>
                      <a:pt x="78" y="38"/>
                      <a:pt x="79" y="34"/>
                      <a:pt x="79" y="29"/>
                    </a:cubicBezTo>
                    <a:cubicBezTo>
                      <a:pt x="79" y="24"/>
                      <a:pt x="78" y="19"/>
                      <a:pt x="75" y="14"/>
                    </a:cubicBezTo>
                    <a:cubicBezTo>
                      <a:pt x="72" y="9"/>
                      <a:pt x="68" y="6"/>
                      <a:pt x="63" y="4"/>
                    </a:cubicBezTo>
                    <a:cubicBezTo>
                      <a:pt x="57" y="1"/>
                      <a:pt x="51" y="0"/>
                      <a:pt x="42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112"/>
                      <a:pt x="0" y="112"/>
                      <a:pt x="0" y="112"/>
                    </a:cubicBezTo>
                    <a:cubicBezTo>
                      <a:pt x="43" y="112"/>
                      <a:pt x="43" y="112"/>
                      <a:pt x="43" y="112"/>
                    </a:cubicBezTo>
                    <a:cubicBezTo>
                      <a:pt x="50" y="112"/>
                      <a:pt x="56" y="112"/>
                      <a:pt x="61" y="110"/>
                    </a:cubicBezTo>
                    <a:cubicBezTo>
                      <a:pt x="66" y="109"/>
                      <a:pt x="70" y="107"/>
                      <a:pt x="73" y="105"/>
                    </a:cubicBezTo>
                    <a:cubicBezTo>
                      <a:pt x="76" y="102"/>
                      <a:pt x="79" y="99"/>
                      <a:pt x="81" y="94"/>
                    </a:cubicBezTo>
                    <a:cubicBezTo>
                      <a:pt x="84" y="90"/>
                      <a:pt x="85" y="85"/>
                      <a:pt x="85" y="80"/>
                    </a:cubicBezTo>
                    <a:cubicBezTo>
                      <a:pt x="85" y="73"/>
                      <a:pt x="83" y="68"/>
                      <a:pt x="79" y="63"/>
                    </a:cubicBezTo>
                    <a:cubicBezTo>
                      <a:pt x="76" y="58"/>
                      <a:pt x="70" y="55"/>
                      <a:pt x="64" y="53"/>
                    </a:cubicBezTo>
                    <a:close/>
                    <a:moveTo>
                      <a:pt x="15" y="13"/>
                    </a:moveTo>
                    <a:cubicBezTo>
                      <a:pt x="37" y="13"/>
                      <a:pt x="37" y="13"/>
                      <a:pt x="37" y="13"/>
                    </a:cubicBezTo>
                    <a:cubicBezTo>
                      <a:pt x="45" y="13"/>
                      <a:pt x="51" y="14"/>
                      <a:pt x="54" y="15"/>
                    </a:cubicBezTo>
                    <a:cubicBezTo>
                      <a:pt x="58" y="16"/>
                      <a:pt x="60" y="18"/>
                      <a:pt x="62" y="21"/>
                    </a:cubicBezTo>
                    <a:cubicBezTo>
                      <a:pt x="64" y="24"/>
                      <a:pt x="65" y="27"/>
                      <a:pt x="65" y="31"/>
                    </a:cubicBezTo>
                    <a:cubicBezTo>
                      <a:pt x="65" y="35"/>
                      <a:pt x="64" y="38"/>
                      <a:pt x="62" y="40"/>
                    </a:cubicBezTo>
                    <a:cubicBezTo>
                      <a:pt x="60" y="43"/>
                      <a:pt x="57" y="45"/>
                      <a:pt x="53" y="46"/>
                    </a:cubicBezTo>
                    <a:cubicBezTo>
                      <a:pt x="50" y="47"/>
                      <a:pt x="46" y="47"/>
                      <a:pt x="39" y="47"/>
                    </a:cubicBezTo>
                    <a:cubicBezTo>
                      <a:pt x="15" y="47"/>
                      <a:pt x="15" y="47"/>
                      <a:pt x="15" y="47"/>
                    </a:cubicBezTo>
                    <a:lnTo>
                      <a:pt x="15" y="13"/>
                    </a:lnTo>
                    <a:close/>
                    <a:moveTo>
                      <a:pt x="67" y="89"/>
                    </a:moveTo>
                    <a:cubicBezTo>
                      <a:pt x="66" y="92"/>
                      <a:pt x="64" y="94"/>
                      <a:pt x="61" y="95"/>
                    </a:cubicBezTo>
                    <a:cubicBezTo>
                      <a:pt x="59" y="97"/>
                      <a:pt x="56" y="98"/>
                      <a:pt x="53" y="99"/>
                    </a:cubicBezTo>
                    <a:cubicBezTo>
                      <a:pt x="51" y="99"/>
                      <a:pt x="48" y="99"/>
                      <a:pt x="43" y="99"/>
                    </a:cubicBezTo>
                    <a:cubicBezTo>
                      <a:pt x="15" y="99"/>
                      <a:pt x="15" y="99"/>
                      <a:pt x="15" y="99"/>
                    </a:cubicBezTo>
                    <a:cubicBezTo>
                      <a:pt x="15" y="61"/>
                      <a:pt x="15" y="61"/>
                      <a:pt x="15" y="61"/>
                    </a:cubicBezTo>
                    <a:cubicBezTo>
                      <a:pt x="41" y="61"/>
                      <a:pt x="41" y="61"/>
                      <a:pt x="41" y="61"/>
                    </a:cubicBezTo>
                    <a:cubicBezTo>
                      <a:pt x="48" y="61"/>
                      <a:pt x="53" y="61"/>
                      <a:pt x="57" y="62"/>
                    </a:cubicBezTo>
                    <a:cubicBezTo>
                      <a:pt x="61" y="64"/>
                      <a:pt x="64" y="66"/>
                      <a:pt x="66" y="69"/>
                    </a:cubicBezTo>
                    <a:cubicBezTo>
                      <a:pt x="68" y="72"/>
                      <a:pt x="69" y="76"/>
                      <a:pt x="69" y="80"/>
                    </a:cubicBezTo>
                    <a:cubicBezTo>
                      <a:pt x="69" y="83"/>
                      <a:pt x="69" y="87"/>
                      <a:pt x="67" y="8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287" name="iŝļidé"/>
              <p:cNvSpPr/>
              <p:nvPr/>
            </p:nvSpPr>
            <p:spPr bwMode="auto">
              <a:xfrm>
                <a:off x="10288841" y="5729878"/>
                <a:ext cx="138113" cy="157163"/>
              </a:xfrm>
              <a:custGeom>
                <a:avLst/>
                <a:gdLst>
                  <a:gd name="T0" fmla="*/ 38 w 75"/>
                  <a:gd name="T1" fmla="*/ 0 h 85"/>
                  <a:gd name="T2" fmla="*/ 10 w 75"/>
                  <a:gd name="T3" fmla="*/ 12 h 85"/>
                  <a:gd name="T4" fmla="*/ 0 w 75"/>
                  <a:gd name="T5" fmla="*/ 43 h 85"/>
                  <a:gd name="T6" fmla="*/ 10 w 75"/>
                  <a:gd name="T7" fmla="*/ 74 h 85"/>
                  <a:gd name="T8" fmla="*/ 38 w 75"/>
                  <a:gd name="T9" fmla="*/ 85 h 85"/>
                  <a:gd name="T10" fmla="*/ 62 w 75"/>
                  <a:gd name="T11" fmla="*/ 78 h 85"/>
                  <a:gd name="T12" fmla="*/ 74 w 75"/>
                  <a:gd name="T13" fmla="*/ 59 h 85"/>
                  <a:gd name="T14" fmla="*/ 60 w 75"/>
                  <a:gd name="T15" fmla="*/ 57 h 85"/>
                  <a:gd name="T16" fmla="*/ 51 w 75"/>
                  <a:gd name="T17" fmla="*/ 70 h 85"/>
                  <a:gd name="T18" fmla="*/ 39 w 75"/>
                  <a:gd name="T19" fmla="*/ 74 h 85"/>
                  <a:gd name="T20" fmla="*/ 22 w 75"/>
                  <a:gd name="T21" fmla="*/ 67 h 85"/>
                  <a:gd name="T22" fmla="*/ 14 w 75"/>
                  <a:gd name="T23" fmla="*/ 46 h 85"/>
                  <a:gd name="T24" fmla="*/ 75 w 75"/>
                  <a:gd name="T25" fmla="*/ 46 h 85"/>
                  <a:gd name="T26" fmla="*/ 75 w 75"/>
                  <a:gd name="T27" fmla="*/ 43 h 85"/>
                  <a:gd name="T28" fmla="*/ 64 w 75"/>
                  <a:gd name="T29" fmla="*/ 11 h 85"/>
                  <a:gd name="T30" fmla="*/ 38 w 75"/>
                  <a:gd name="T31" fmla="*/ 0 h 85"/>
                  <a:gd name="T32" fmla="*/ 15 w 75"/>
                  <a:gd name="T33" fmla="*/ 35 h 85"/>
                  <a:gd name="T34" fmla="*/ 22 w 75"/>
                  <a:gd name="T35" fmla="*/ 18 h 85"/>
                  <a:gd name="T36" fmla="*/ 38 w 75"/>
                  <a:gd name="T37" fmla="*/ 12 h 85"/>
                  <a:gd name="T38" fmla="*/ 55 w 75"/>
                  <a:gd name="T39" fmla="*/ 20 h 85"/>
                  <a:gd name="T40" fmla="*/ 60 w 75"/>
                  <a:gd name="T41" fmla="*/ 35 h 85"/>
                  <a:gd name="T42" fmla="*/ 15 w 75"/>
                  <a:gd name="T43" fmla="*/ 35 h 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75" h="85">
                    <a:moveTo>
                      <a:pt x="38" y="0"/>
                    </a:moveTo>
                    <a:cubicBezTo>
                      <a:pt x="26" y="0"/>
                      <a:pt x="17" y="4"/>
                      <a:pt x="10" y="12"/>
                    </a:cubicBezTo>
                    <a:cubicBezTo>
                      <a:pt x="3" y="19"/>
                      <a:pt x="0" y="30"/>
                      <a:pt x="0" y="43"/>
                    </a:cubicBezTo>
                    <a:cubicBezTo>
                      <a:pt x="0" y="57"/>
                      <a:pt x="3" y="67"/>
                      <a:pt x="10" y="74"/>
                    </a:cubicBezTo>
                    <a:cubicBezTo>
                      <a:pt x="17" y="81"/>
                      <a:pt x="27" y="85"/>
                      <a:pt x="38" y="85"/>
                    </a:cubicBezTo>
                    <a:cubicBezTo>
                      <a:pt x="48" y="85"/>
                      <a:pt x="56" y="83"/>
                      <a:pt x="62" y="78"/>
                    </a:cubicBezTo>
                    <a:cubicBezTo>
                      <a:pt x="68" y="74"/>
                      <a:pt x="72" y="67"/>
                      <a:pt x="74" y="59"/>
                    </a:cubicBezTo>
                    <a:cubicBezTo>
                      <a:pt x="60" y="57"/>
                      <a:pt x="60" y="57"/>
                      <a:pt x="60" y="57"/>
                    </a:cubicBezTo>
                    <a:cubicBezTo>
                      <a:pt x="58" y="63"/>
                      <a:pt x="55" y="67"/>
                      <a:pt x="51" y="70"/>
                    </a:cubicBezTo>
                    <a:cubicBezTo>
                      <a:pt x="48" y="73"/>
                      <a:pt x="44" y="74"/>
                      <a:pt x="39" y="74"/>
                    </a:cubicBezTo>
                    <a:cubicBezTo>
                      <a:pt x="32" y="74"/>
                      <a:pt x="26" y="71"/>
                      <a:pt x="22" y="67"/>
                    </a:cubicBezTo>
                    <a:cubicBezTo>
                      <a:pt x="17" y="62"/>
                      <a:pt x="14" y="55"/>
                      <a:pt x="14" y="46"/>
                    </a:cubicBezTo>
                    <a:cubicBezTo>
                      <a:pt x="75" y="46"/>
                      <a:pt x="75" y="46"/>
                      <a:pt x="75" y="46"/>
                    </a:cubicBezTo>
                    <a:cubicBezTo>
                      <a:pt x="75" y="45"/>
                      <a:pt x="75" y="43"/>
                      <a:pt x="75" y="43"/>
                    </a:cubicBezTo>
                    <a:cubicBezTo>
                      <a:pt x="75" y="29"/>
                      <a:pt x="71" y="19"/>
                      <a:pt x="64" y="11"/>
                    </a:cubicBezTo>
                    <a:cubicBezTo>
                      <a:pt x="57" y="4"/>
                      <a:pt x="49" y="0"/>
                      <a:pt x="38" y="0"/>
                    </a:cubicBezTo>
                    <a:close/>
                    <a:moveTo>
                      <a:pt x="15" y="35"/>
                    </a:moveTo>
                    <a:cubicBezTo>
                      <a:pt x="15" y="28"/>
                      <a:pt x="18" y="22"/>
                      <a:pt x="22" y="18"/>
                    </a:cubicBezTo>
                    <a:cubicBezTo>
                      <a:pt x="26" y="14"/>
                      <a:pt x="32" y="12"/>
                      <a:pt x="38" y="12"/>
                    </a:cubicBezTo>
                    <a:cubicBezTo>
                      <a:pt x="45" y="12"/>
                      <a:pt x="51" y="14"/>
                      <a:pt x="55" y="20"/>
                    </a:cubicBezTo>
                    <a:cubicBezTo>
                      <a:pt x="58" y="23"/>
                      <a:pt x="60" y="28"/>
                      <a:pt x="60" y="35"/>
                    </a:cubicBezTo>
                    <a:lnTo>
                      <a:pt x="15" y="3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288" name="í$lidè"/>
              <p:cNvSpPr/>
              <p:nvPr/>
            </p:nvSpPr>
            <p:spPr bwMode="auto">
              <a:xfrm>
                <a:off x="10457116" y="5675903"/>
                <a:ext cx="25400" cy="30163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289" name="iSļiḋé"/>
              <p:cNvSpPr/>
              <p:nvPr/>
            </p:nvSpPr>
            <p:spPr bwMode="auto">
              <a:xfrm>
                <a:off x="10457116" y="5733053"/>
                <a:ext cx="25400" cy="149225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290" name="íṩḷïḑe"/>
              <p:cNvSpPr/>
              <p:nvPr/>
            </p:nvSpPr>
            <p:spPr bwMode="auto">
              <a:xfrm>
                <a:off x="10520616" y="5675903"/>
                <a:ext cx="25400" cy="30163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291" name="i$ḷïḍè"/>
              <p:cNvSpPr/>
              <p:nvPr/>
            </p:nvSpPr>
            <p:spPr bwMode="auto">
              <a:xfrm>
                <a:off x="10488866" y="5733053"/>
                <a:ext cx="57150" cy="211138"/>
              </a:xfrm>
              <a:custGeom>
                <a:avLst/>
                <a:gdLst>
                  <a:gd name="T0" fmla="*/ 17 w 31"/>
                  <a:gd name="T1" fmla="*/ 85 h 114"/>
                  <a:gd name="T2" fmla="*/ 15 w 31"/>
                  <a:gd name="T3" fmla="*/ 99 h 114"/>
                  <a:gd name="T4" fmla="*/ 9 w 31"/>
                  <a:gd name="T5" fmla="*/ 102 h 114"/>
                  <a:gd name="T6" fmla="*/ 2 w 31"/>
                  <a:gd name="T7" fmla="*/ 101 h 114"/>
                  <a:gd name="T8" fmla="*/ 0 w 31"/>
                  <a:gd name="T9" fmla="*/ 113 h 114"/>
                  <a:gd name="T10" fmla="*/ 11 w 31"/>
                  <a:gd name="T11" fmla="*/ 114 h 114"/>
                  <a:gd name="T12" fmla="*/ 27 w 31"/>
                  <a:gd name="T13" fmla="*/ 107 h 114"/>
                  <a:gd name="T14" fmla="*/ 31 w 31"/>
                  <a:gd name="T15" fmla="*/ 86 h 114"/>
                  <a:gd name="T16" fmla="*/ 31 w 31"/>
                  <a:gd name="T17" fmla="*/ 0 h 114"/>
                  <a:gd name="T18" fmla="*/ 17 w 31"/>
                  <a:gd name="T19" fmla="*/ 0 h 114"/>
                  <a:gd name="T20" fmla="*/ 17 w 31"/>
                  <a:gd name="T21" fmla="*/ 85 h 1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31" h="114">
                    <a:moveTo>
                      <a:pt x="17" y="85"/>
                    </a:moveTo>
                    <a:cubicBezTo>
                      <a:pt x="17" y="93"/>
                      <a:pt x="17" y="98"/>
                      <a:pt x="15" y="99"/>
                    </a:cubicBezTo>
                    <a:cubicBezTo>
                      <a:pt x="14" y="101"/>
                      <a:pt x="12" y="102"/>
                      <a:pt x="9" y="102"/>
                    </a:cubicBezTo>
                    <a:cubicBezTo>
                      <a:pt x="7" y="102"/>
                      <a:pt x="5" y="102"/>
                      <a:pt x="2" y="101"/>
                    </a:cubicBezTo>
                    <a:cubicBezTo>
                      <a:pt x="0" y="113"/>
                      <a:pt x="0" y="113"/>
                      <a:pt x="0" y="113"/>
                    </a:cubicBezTo>
                    <a:cubicBezTo>
                      <a:pt x="3" y="114"/>
                      <a:pt x="7" y="114"/>
                      <a:pt x="11" y="114"/>
                    </a:cubicBezTo>
                    <a:cubicBezTo>
                      <a:pt x="18" y="114"/>
                      <a:pt x="24" y="112"/>
                      <a:pt x="27" y="107"/>
                    </a:cubicBezTo>
                    <a:cubicBezTo>
                      <a:pt x="30" y="103"/>
                      <a:pt x="31" y="96"/>
                      <a:pt x="31" y="86"/>
                    </a:cubicBezTo>
                    <a:cubicBezTo>
                      <a:pt x="31" y="0"/>
                      <a:pt x="31" y="0"/>
                      <a:pt x="31" y="0"/>
                    </a:cubicBezTo>
                    <a:cubicBezTo>
                      <a:pt x="17" y="0"/>
                      <a:pt x="17" y="0"/>
                      <a:pt x="17" y="0"/>
                    </a:cubicBezTo>
                    <a:lnTo>
                      <a:pt x="17" y="8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292" name="íṩliḋé"/>
              <p:cNvSpPr/>
              <p:nvPr/>
            </p:nvSpPr>
            <p:spPr bwMode="auto">
              <a:xfrm>
                <a:off x="10585703" y="5675903"/>
                <a:ext cx="25400" cy="30163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293" name="ísḷiďé"/>
              <p:cNvSpPr/>
              <p:nvPr/>
            </p:nvSpPr>
            <p:spPr bwMode="auto">
              <a:xfrm>
                <a:off x="10585703" y="5733053"/>
                <a:ext cx="25400" cy="149225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294" name="íṩļïḍe"/>
              <p:cNvSpPr/>
              <p:nvPr/>
            </p:nvSpPr>
            <p:spPr bwMode="auto">
              <a:xfrm>
                <a:off x="10649203" y="5729878"/>
                <a:ext cx="122238" cy="152400"/>
              </a:xfrm>
              <a:custGeom>
                <a:avLst/>
                <a:gdLst>
                  <a:gd name="T0" fmla="*/ 65 w 66"/>
                  <a:gd name="T1" fmla="*/ 20 h 83"/>
                  <a:gd name="T2" fmla="*/ 61 w 66"/>
                  <a:gd name="T3" fmla="*/ 10 h 83"/>
                  <a:gd name="T4" fmla="*/ 52 w 66"/>
                  <a:gd name="T5" fmla="*/ 3 h 83"/>
                  <a:gd name="T6" fmla="*/ 38 w 66"/>
                  <a:gd name="T7" fmla="*/ 0 h 83"/>
                  <a:gd name="T8" fmla="*/ 12 w 66"/>
                  <a:gd name="T9" fmla="*/ 14 h 83"/>
                  <a:gd name="T10" fmla="*/ 12 w 66"/>
                  <a:gd name="T11" fmla="*/ 2 h 83"/>
                  <a:gd name="T12" fmla="*/ 0 w 66"/>
                  <a:gd name="T13" fmla="*/ 2 h 83"/>
                  <a:gd name="T14" fmla="*/ 0 w 66"/>
                  <a:gd name="T15" fmla="*/ 83 h 83"/>
                  <a:gd name="T16" fmla="*/ 14 w 66"/>
                  <a:gd name="T17" fmla="*/ 83 h 83"/>
                  <a:gd name="T18" fmla="*/ 14 w 66"/>
                  <a:gd name="T19" fmla="*/ 39 h 83"/>
                  <a:gd name="T20" fmla="*/ 20 w 66"/>
                  <a:gd name="T21" fmla="*/ 18 h 83"/>
                  <a:gd name="T22" fmla="*/ 35 w 66"/>
                  <a:gd name="T23" fmla="*/ 12 h 83"/>
                  <a:gd name="T24" fmla="*/ 45 w 66"/>
                  <a:gd name="T25" fmla="*/ 15 h 83"/>
                  <a:gd name="T26" fmla="*/ 51 w 66"/>
                  <a:gd name="T27" fmla="*/ 21 h 83"/>
                  <a:gd name="T28" fmla="*/ 52 w 66"/>
                  <a:gd name="T29" fmla="*/ 34 h 83"/>
                  <a:gd name="T30" fmla="*/ 52 w 66"/>
                  <a:gd name="T31" fmla="*/ 83 h 83"/>
                  <a:gd name="T32" fmla="*/ 66 w 66"/>
                  <a:gd name="T33" fmla="*/ 83 h 83"/>
                  <a:gd name="T34" fmla="*/ 66 w 66"/>
                  <a:gd name="T35" fmla="*/ 33 h 83"/>
                  <a:gd name="T36" fmla="*/ 65 w 66"/>
                  <a:gd name="T37" fmla="*/ 20 h 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66" h="83">
                    <a:moveTo>
                      <a:pt x="65" y="20"/>
                    </a:moveTo>
                    <a:cubicBezTo>
                      <a:pt x="64" y="16"/>
                      <a:pt x="63" y="13"/>
                      <a:pt x="61" y="10"/>
                    </a:cubicBezTo>
                    <a:cubicBezTo>
                      <a:pt x="59" y="7"/>
                      <a:pt x="56" y="5"/>
                      <a:pt x="52" y="3"/>
                    </a:cubicBezTo>
                    <a:cubicBezTo>
                      <a:pt x="48" y="1"/>
                      <a:pt x="43" y="0"/>
                      <a:pt x="38" y="0"/>
                    </a:cubicBezTo>
                    <a:cubicBezTo>
                      <a:pt x="27" y="0"/>
                      <a:pt x="18" y="5"/>
                      <a:pt x="12" y="14"/>
                    </a:cubicBezTo>
                    <a:cubicBezTo>
                      <a:pt x="12" y="2"/>
                      <a:pt x="12" y="2"/>
                      <a:pt x="12" y="2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83"/>
                      <a:pt x="0" y="83"/>
                      <a:pt x="0" y="83"/>
                    </a:cubicBezTo>
                    <a:cubicBezTo>
                      <a:pt x="14" y="83"/>
                      <a:pt x="14" y="83"/>
                      <a:pt x="14" y="83"/>
                    </a:cubicBezTo>
                    <a:cubicBezTo>
                      <a:pt x="14" y="39"/>
                      <a:pt x="14" y="39"/>
                      <a:pt x="14" y="39"/>
                    </a:cubicBezTo>
                    <a:cubicBezTo>
                      <a:pt x="14" y="29"/>
                      <a:pt x="16" y="21"/>
                      <a:pt x="20" y="18"/>
                    </a:cubicBezTo>
                    <a:cubicBezTo>
                      <a:pt x="24" y="14"/>
                      <a:pt x="29" y="12"/>
                      <a:pt x="35" y="12"/>
                    </a:cubicBezTo>
                    <a:cubicBezTo>
                      <a:pt x="39" y="12"/>
                      <a:pt x="42" y="13"/>
                      <a:pt x="45" y="15"/>
                    </a:cubicBezTo>
                    <a:cubicBezTo>
                      <a:pt x="48" y="16"/>
                      <a:pt x="50" y="19"/>
                      <a:pt x="51" y="21"/>
                    </a:cubicBezTo>
                    <a:cubicBezTo>
                      <a:pt x="52" y="24"/>
                      <a:pt x="52" y="28"/>
                      <a:pt x="52" y="34"/>
                    </a:cubicBezTo>
                    <a:cubicBezTo>
                      <a:pt x="52" y="83"/>
                      <a:pt x="52" y="83"/>
                      <a:pt x="52" y="83"/>
                    </a:cubicBezTo>
                    <a:cubicBezTo>
                      <a:pt x="66" y="83"/>
                      <a:pt x="66" y="83"/>
                      <a:pt x="66" y="83"/>
                    </a:cubicBezTo>
                    <a:cubicBezTo>
                      <a:pt x="66" y="33"/>
                      <a:pt x="66" y="33"/>
                      <a:pt x="66" y="33"/>
                    </a:cubicBezTo>
                    <a:cubicBezTo>
                      <a:pt x="66" y="27"/>
                      <a:pt x="66" y="23"/>
                      <a:pt x="65" y="2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295" name="í$ľíḍê"/>
              <p:cNvSpPr/>
              <p:nvPr/>
            </p:nvSpPr>
            <p:spPr bwMode="auto">
              <a:xfrm>
                <a:off x="10800016" y="5729878"/>
                <a:ext cx="133350" cy="214313"/>
              </a:xfrm>
              <a:custGeom>
                <a:avLst/>
                <a:gdLst>
                  <a:gd name="T0" fmla="*/ 59 w 72"/>
                  <a:gd name="T1" fmla="*/ 2 h 116"/>
                  <a:gd name="T2" fmla="*/ 59 w 72"/>
                  <a:gd name="T3" fmla="*/ 12 h 116"/>
                  <a:gd name="T4" fmla="*/ 35 w 72"/>
                  <a:gd name="T5" fmla="*/ 0 h 116"/>
                  <a:gd name="T6" fmla="*/ 16 w 72"/>
                  <a:gd name="T7" fmla="*/ 6 h 116"/>
                  <a:gd name="T8" fmla="*/ 4 w 72"/>
                  <a:gd name="T9" fmla="*/ 21 h 116"/>
                  <a:gd name="T10" fmla="*/ 0 w 72"/>
                  <a:gd name="T11" fmla="*/ 42 h 116"/>
                  <a:gd name="T12" fmla="*/ 9 w 72"/>
                  <a:gd name="T13" fmla="*/ 71 h 116"/>
                  <a:gd name="T14" fmla="*/ 35 w 72"/>
                  <a:gd name="T15" fmla="*/ 83 h 116"/>
                  <a:gd name="T16" fmla="*/ 58 w 72"/>
                  <a:gd name="T17" fmla="*/ 73 h 116"/>
                  <a:gd name="T18" fmla="*/ 57 w 72"/>
                  <a:gd name="T19" fmla="*/ 90 h 116"/>
                  <a:gd name="T20" fmla="*/ 49 w 72"/>
                  <a:gd name="T21" fmla="*/ 101 h 116"/>
                  <a:gd name="T22" fmla="*/ 35 w 72"/>
                  <a:gd name="T23" fmla="*/ 105 h 116"/>
                  <a:gd name="T24" fmla="*/ 21 w 72"/>
                  <a:gd name="T25" fmla="*/ 101 h 116"/>
                  <a:gd name="T26" fmla="*/ 16 w 72"/>
                  <a:gd name="T27" fmla="*/ 92 h 116"/>
                  <a:gd name="T28" fmla="*/ 3 w 72"/>
                  <a:gd name="T29" fmla="*/ 90 h 116"/>
                  <a:gd name="T30" fmla="*/ 11 w 72"/>
                  <a:gd name="T31" fmla="*/ 110 h 116"/>
                  <a:gd name="T32" fmla="*/ 35 w 72"/>
                  <a:gd name="T33" fmla="*/ 116 h 116"/>
                  <a:gd name="T34" fmla="*/ 55 w 72"/>
                  <a:gd name="T35" fmla="*/ 112 h 116"/>
                  <a:gd name="T36" fmla="*/ 68 w 72"/>
                  <a:gd name="T37" fmla="*/ 99 h 116"/>
                  <a:gd name="T38" fmla="*/ 72 w 72"/>
                  <a:gd name="T39" fmla="*/ 72 h 116"/>
                  <a:gd name="T40" fmla="*/ 72 w 72"/>
                  <a:gd name="T41" fmla="*/ 2 h 116"/>
                  <a:gd name="T42" fmla="*/ 59 w 72"/>
                  <a:gd name="T43" fmla="*/ 2 h 116"/>
                  <a:gd name="T44" fmla="*/ 52 w 72"/>
                  <a:gd name="T45" fmla="*/ 65 h 116"/>
                  <a:gd name="T46" fmla="*/ 36 w 72"/>
                  <a:gd name="T47" fmla="*/ 72 h 116"/>
                  <a:gd name="T48" fmla="*/ 20 w 72"/>
                  <a:gd name="T49" fmla="*/ 65 h 116"/>
                  <a:gd name="T50" fmla="*/ 14 w 72"/>
                  <a:gd name="T51" fmla="*/ 41 h 116"/>
                  <a:gd name="T52" fmla="*/ 20 w 72"/>
                  <a:gd name="T53" fmla="*/ 19 h 116"/>
                  <a:gd name="T54" fmla="*/ 36 w 72"/>
                  <a:gd name="T55" fmla="*/ 12 h 116"/>
                  <a:gd name="T56" fmla="*/ 52 w 72"/>
                  <a:gd name="T57" fmla="*/ 19 h 116"/>
                  <a:gd name="T58" fmla="*/ 59 w 72"/>
                  <a:gd name="T59" fmla="*/ 42 h 116"/>
                  <a:gd name="T60" fmla="*/ 52 w 72"/>
                  <a:gd name="T61" fmla="*/ 65 h 1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72" h="116">
                    <a:moveTo>
                      <a:pt x="59" y="2"/>
                    </a:moveTo>
                    <a:cubicBezTo>
                      <a:pt x="59" y="12"/>
                      <a:pt x="59" y="12"/>
                      <a:pt x="59" y="12"/>
                    </a:cubicBezTo>
                    <a:cubicBezTo>
                      <a:pt x="53" y="4"/>
                      <a:pt x="45" y="0"/>
                      <a:pt x="35" y="0"/>
                    </a:cubicBezTo>
                    <a:cubicBezTo>
                      <a:pt x="28" y="0"/>
                      <a:pt x="22" y="2"/>
                      <a:pt x="16" y="6"/>
                    </a:cubicBezTo>
                    <a:cubicBezTo>
                      <a:pt x="11" y="9"/>
                      <a:pt x="7" y="14"/>
                      <a:pt x="4" y="21"/>
                    </a:cubicBezTo>
                    <a:cubicBezTo>
                      <a:pt x="1" y="27"/>
                      <a:pt x="0" y="34"/>
                      <a:pt x="0" y="42"/>
                    </a:cubicBezTo>
                    <a:cubicBezTo>
                      <a:pt x="0" y="53"/>
                      <a:pt x="3" y="63"/>
                      <a:pt x="9" y="71"/>
                    </a:cubicBezTo>
                    <a:cubicBezTo>
                      <a:pt x="15" y="79"/>
                      <a:pt x="24" y="83"/>
                      <a:pt x="35" y="83"/>
                    </a:cubicBezTo>
                    <a:cubicBezTo>
                      <a:pt x="44" y="83"/>
                      <a:pt x="51" y="80"/>
                      <a:pt x="58" y="73"/>
                    </a:cubicBezTo>
                    <a:cubicBezTo>
                      <a:pt x="58" y="82"/>
                      <a:pt x="57" y="88"/>
                      <a:pt x="57" y="90"/>
                    </a:cubicBezTo>
                    <a:cubicBezTo>
                      <a:pt x="55" y="95"/>
                      <a:pt x="53" y="99"/>
                      <a:pt x="49" y="101"/>
                    </a:cubicBezTo>
                    <a:cubicBezTo>
                      <a:pt x="46" y="104"/>
                      <a:pt x="41" y="105"/>
                      <a:pt x="35" y="105"/>
                    </a:cubicBezTo>
                    <a:cubicBezTo>
                      <a:pt x="29" y="105"/>
                      <a:pt x="24" y="104"/>
                      <a:pt x="21" y="101"/>
                    </a:cubicBezTo>
                    <a:cubicBezTo>
                      <a:pt x="18" y="99"/>
                      <a:pt x="17" y="96"/>
                      <a:pt x="16" y="92"/>
                    </a:cubicBezTo>
                    <a:cubicBezTo>
                      <a:pt x="3" y="90"/>
                      <a:pt x="3" y="90"/>
                      <a:pt x="3" y="90"/>
                    </a:cubicBezTo>
                    <a:cubicBezTo>
                      <a:pt x="2" y="99"/>
                      <a:pt x="5" y="105"/>
                      <a:pt x="11" y="110"/>
                    </a:cubicBezTo>
                    <a:cubicBezTo>
                      <a:pt x="17" y="114"/>
                      <a:pt x="25" y="116"/>
                      <a:pt x="35" y="116"/>
                    </a:cubicBezTo>
                    <a:cubicBezTo>
                      <a:pt x="43" y="116"/>
                      <a:pt x="50" y="115"/>
                      <a:pt x="55" y="112"/>
                    </a:cubicBezTo>
                    <a:cubicBezTo>
                      <a:pt x="61" y="109"/>
                      <a:pt x="65" y="104"/>
                      <a:pt x="68" y="99"/>
                    </a:cubicBezTo>
                    <a:cubicBezTo>
                      <a:pt x="70" y="94"/>
                      <a:pt x="72" y="85"/>
                      <a:pt x="72" y="72"/>
                    </a:cubicBezTo>
                    <a:cubicBezTo>
                      <a:pt x="72" y="2"/>
                      <a:pt x="72" y="2"/>
                      <a:pt x="72" y="2"/>
                    </a:cubicBezTo>
                    <a:lnTo>
                      <a:pt x="59" y="2"/>
                    </a:lnTo>
                    <a:close/>
                    <a:moveTo>
                      <a:pt x="52" y="65"/>
                    </a:moveTo>
                    <a:cubicBezTo>
                      <a:pt x="48" y="69"/>
                      <a:pt x="43" y="72"/>
                      <a:pt x="36" y="72"/>
                    </a:cubicBezTo>
                    <a:cubicBezTo>
                      <a:pt x="30" y="72"/>
                      <a:pt x="25" y="69"/>
                      <a:pt x="20" y="65"/>
                    </a:cubicBezTo>
                    <a:cubicBezTo>
                      <a:pt x="16" y="60"/>
                      <a:pt x="14" y="52"/>
                      <a:pt x="14" y="41"/>
                    </a:cubicBezTo>
                    <a:cubicBezTo>
                      <a:pt x="14" y="31"/>
                      <a:pt x="16" y="24"/>
                      <a:pt x="20" y="19"/>
                    </a:cubicBezTo>
                    <a:cubicBezTo>
                      <a:pt x="25" y="14"/>
                      <a:pt x="30" y="12"/>
                      <a:pt x="36" y="12"/>
                    </a:cubicBezTo>
                    <a:cubicBezTo>
                      <a:pt x="42" y="12"/>
                      <a:pt x="48" y="14"/>
                      <a:pt x="52" y="19"/>
                    </a:cubicBezTo>
                    <a:cubicBezTo>
                      <a:pt x="56" y="24"/>
                      <a:pt x="59" y="32"/>
                      <a:pt x="59" y="42"/>
                    </a:cubicBezTo>
                    <a:cubicBezTo>
                      <a:pt x="59" y="52"/>
                      <a:pt x="57" y="60"/>
                      <a:pt x="52" y="6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296" name="î$1ïḍè"/>
              <p:cNvSpPr/>
              <p:nvPr/>
            </p:nvSpPr>
            <p:spPr bwMode="auto">
              <a:xfrm>
                <a:off x="5231066" y="5675903"/>
                <a:ext cx="161925" cy="211138"/>
              </a:xfrm>
              <a:custGeom>
                <a:avLst/>
                <a:gdLst>
                  <a:gd name="T0" fmla="*/ 73 w 88"/>
                  <a:gd name="T1" fmla="*/ 65 h 114"/>
                  <a:gd name="T2" fmla="*/ 66 w 88"/>
                  <a:gd name="T3" fmla="*/ 93 h 114"/>
                  <a:gd name="T4" fmla="*/ 43 w 88"/>
                  <a:gd name="T5" fmla="*/ 101 h 114"/>
                  <a:gd name="T6" fmla="*/ 27 w 88"/>
                  <a:gd name="T7" fmla="*/ 97 h 114"/>
                  <a:gd name="T8" fmla="*/ 17 w 88"/>
                  <a:gd name="T9" fmla="*/ 86 h 114"/>
                  <a:gd name="T10" fmla="*/ 15 w 88"/>
                  <a:gd name="T11" fmla="*/ 65 h 114"/>
                  <a:gd name="T12" fmla="*/ 15 w 88"/>
                  <a:gd name="T13" fmla="*/ 0 h 114"/>
                  <a:gd name="T14" fmla="*/ 0 w 88"/>
                  <a:gd name="T15" fmla="*/ 0 h 114"/>
                  <a:gd name="T16" fmla="*/ 0 w 88"/>
                  <a:gd name="T17" fmla="*/ 65 h 114"/>
                  <a:gd name="T18" fmla="*/ 4 w 88"/>
                  <a:gd name="T19" fmla="*/ 93 h 114"/>
                  <a:gd name="T20" fmla="*/ 18 w 88"/>
                  <a:gd name="T21" fmla="*/ 109 h 114"/>
                  <a:gd name="T22" fmla="*/ 44 w 88"/>
                  <a:gd name="T23" fmla="*/ 114 h 114"/>
                  <a:gd name="T24" fmla="*/ 70 w 88"/>
                  <a:gd name="T25" fmla="*/ 108 h 114"/>
                  <a:gd name="T26" fmla="*/ 84 w 88"/>
                  <a:gd name="T27" fmla="*/ 92 h 114"/>
                  <a:gd name="T28" fmla="*/ 88 w 88"/>
                  <a:gd name="T29" fmla="*/ 65 h 114"/>
                  <a:gd name="T30" fmla="*/ 88 w 88"/>
                  <a:gd name="T31" fmla="*/ 0 h 114"/>
                  <a:gd name="T32" fmla="*/ 73 w 88"/>
                  <a:gd name="T33" fmla="*/ 0 h 114"/>
                  <a:gd name="T34" fmla="*/ 73 w 88"/>
                  <a:gd name="T35" fmla="*/ 65 h 1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88" h="114">
                    <a:moveTo>
                      <a:pt x="73" y="65"/>
                    </a:moveTo>
                    <a:cubicBezTo>
                      <a:pt x="73" y="79"/>
                      <a:pt x="71" y="88"/>
                      <a:pt x="66" y="93"/>
                    </a:cubicBezTo>
                    <a:cubicBezTo>
                      <a:pt x="62" y="98"/>
                      <a:pt x="54" y="101"/>
                      <a:pt x="43" y="101"/>
                    </a:cubicBezTo>
                    <a:cubicBezTo>
                      <a:pt x="37" y="101"/>
                      <a:pt x="31" y="100"/>
                      <a:pt x="27" y="97"/>
                    </a:cubicBezTo>
                    <a:cubicBezTo>
                      <a:pt x="22" y="95"/>
                      <a:pt x="19" y="91"/>
                      <a:pt x="17" y="86"/>
                    </a:cubicBezTo>
                    <a:cubicBezTo>
                      <a:pt x="16" y="82"/>
                      <a:pt x="15" y="75"/>
                      <a:pt x="15" y="65"/>
                    </a:cubicBezTo>
                    <a:cubicBezTo>
                      <a:pt x="15" y="0"/>
                      <a:pt x="15" y="0"/>
                      <a:pt x="15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65"/>
                      <a:pt x="0" y="65"/>
                      <a:pt x="0" y="65"/>
                    </a:cubicBezTo>
                    <a:cubicBezTo>
                      <a:pt x="0" y="77"/>
                      <a:pt x="1" y="86"/>
                      <a:pt x="4" y="93"/>
                    </a:cubicBezTo>
                    <a:cubicBezTo>
                      <a:pt x="7" y="100"/>
                      <a:pt x="12" y="105"/>
                      <a:pt x="18" y="109"/>
                    </a:cubicBezTo>
                    <a:cubicBezTo>
                      <a:pt x="25" y="112"/>
                      <a:pt x="34" y="114"/>
                      <a:pt x="44" y="114"/>
                    </a:cubicBezTo>
                    <a:cubicBezTo>
                      <a:pt x="55" y="114"/>
                      <a:pt x="64" y="112"/>
                      <a:pt x="70" y="108"/>
                    </a:cubicBezTo>
                    <a:cubicBezTo>
                      <a:pt x="77" y="104"/>
                      <a:pt x="82" y="98"/>
                      <a:pt x="84" y="92"/>
                    </a:cubicBezTo>
                    <a:cubicBezTo>
                      <a:pt x="87" y="85"/>
                      <a:pt x="88" y="76"/>
                      <a:pt x="88" y="65"/>
                    </a:cubicBezTo>
                    <a:cubicBezTo>
                      <a:pt x="88" y="0"/>
                      <a:pt x="88" y="0"/>
                      <a:pt x="88" y="0"/>
                    </a:cubicBezTo>
                    <a:cubicBezTo>
                      <a:pt x="73" y="0"/>
                      <a:pt x="73" y="0"/>
                      <a:pt x="73" y="0"/>
                    </a:cubicBezTo>
                    <a:lnTo>
                      <a:pt x="73" y="6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297" name="ïṡļîḑê"/>
              <p:cNvSpPr/>
              <p:nvPr/>
            </p:nvSpPr>
            <p:spPr bwMode="auto">
              <a:xfrm>
                <a:off x="5435853" y="5729878"/>
                <a:ext cx="120650" cy="152400"/>
              </a:xfrm>
              <a:custGeom>
                <a:avLst/>
                <a:gdLst>
                  <a:gd name="T0" fmla="*/ 61 w 66"/>
                  <a:gd name="T1" fmla="*/ 10 h 83"/>
                  <a:gd name="T2" fmla="*/ 52 w 66"/>
                  <a:gd name="T3" fmla="*/ 3 h 83"/>
                  <a:gd name="T4" fmla="*/ 38 w 66"/>
                  <a:gd name="T5" fmla="*/ 0 h 83"/>
                  <a:gd name="T6" fmla="*/ 12 w 66"/>
                  <a:gd name="T7" fmla="*/ 14 h 83"/>
                  <a:gd name="T8" fmla="*/ 12 w 66"/>
                  <a:gd name="T9" fmla="*/ 2 h 83"/>
                  <a:gd name="T10" fmla="*/ 0 w 66"/>
                  <a:gd name="T11" fmla="*/ 2 h 83"/>
                  <a:gd name="T12" fmla="*/ 0 w 66"/>
                  <a:gd name="T13" fmla="*/ 83 h 83"/>
                  <a:gd name="T14" fmla="*/ 14 w 66"/>
                  <a:gd name="T15" fmla="*/ 83 h 83"/>
                  <a:gd name="T16" fmla="*/ 14 w 66"/>
                  <a:gd name="T17" fmla="*/ 39 h 83"/>
                  <a:gd name="T18" fmla="*/ 20 w 66"/>
                  <a:gd name="T19" fmla="*/ 18 h 83"/>
                  <a:gd name="T20" fmla="*/ 35 w 66"/>
                  <a:gd name="T21" fmla="*/ 12 h 83"/>
                  <a:gd name="T22" fmla="*/ 45 w 66"/>
                  <a:gd name="T23" fmla="*/ 15 h 83"/>
                  <a:gd name="T24" fmla="*/ 51 w 66"/>
                  <a:gd name="T25" fmla="*/ 21 h 83"/>
                  <a:gd name="T26" fmla="*/ 52 w 66"/>
                  <a:gd name="T27" fmla="*/ 34 h 83"/>
                  <a:gd name="T28" fmla="*/ 52 w 66"/>
                  <a:gd name="T29" fmla="*/ 83 h 83"/>
                  <a:gd name="T30" fmla="*/ 66 w 66"/>
                  <a:gd name="T31" fmla="*/ 83 h 83"/>
                  <a:gd name="T32" fmla="*/ 66 w 66"/>
                  <a:gd name="T33" fmla="*/ 33 h 83"/>
                  <a:gd name="T34" fmla="*/ 65 w 66"/>
                  <a:gd name="T35" fmla="*/ 20 h 83"/>
                  <a:gd name="T36" fmla="*/ 61 w 66"/>
                  <a:gd name="T37" fmla="*/ 10 h 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66" h="83">
                    <a:moveTo>
                      <a:pt x="61" y="10"/>
                    </a:moveTo>
                    <a:cubicBezTo>
                      <a:pt x="59" y="7"/>
                      <a:pt x="56" y="5"/>
                      <a:pt x="52" y="3"/>
                    </a:cubicBezTo>
                    <a:cubicBezTo>
                      <a:pt x="48" y="1"/>
                      <a:pt x="43" y="0"/>
                      <a:pt x="38" y="0"/>
                    </a:cubicBezTo>
                    <a:cubicBezTo>
                      <a:pt x="27" y="0"/>
                      <a:pt x="18" y="5"/>
                      <a:pt x="12" y="14"/>
                    </a:cubicBezTo>
                    <a:cubicBezTo>
                      <a:pt x="12" y="2"/>
                      <a:pt x="12" y="2"/>
                      <a:pt x="12" y="2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83"/>
                      <a:pt x="0" y="83"/>
                      <a:pt x="0" y="83"/>
                    </a:cubicBezTo>
                    <a:cubicBezTo>
                      <a:pt x="14" y="83"/>
                      <a:pt x="14" y="83"/>
                      <a:pt x="14" y="83"/>
                    </a:cubicBezTo>
                    <a:cubicBezTo>
                      <a:pt x="14" y="39"/>
                      <a:pt x="14" y="39"/>
                      <a:pt x="14" y="39"/>
                    </a:cubicBezTo>
                    <a:cubicBezTo>
                      <a:pt x="14" y="29"/>
                      <a:pt x="16" y="21"/>
                      <a:pt x="20" y="18"/>
                    </a:cubicBezTo>
                    <a:cubicBezTo>
                      <a:pt x="25" y="14"/>
                      <a:pt x="30" y="12"/>
                      <a:pt x="35" y="12"/>
                    </a:cubicBezTo>
                    <a:cubicBezTo>
                      <a:pt x="39" y="12"/>
                      <a:pt x="42" y="13"/>
                      <a:pt x="45" y="15"/>
                    </a:cubicBezTo>
                    <a:cubicBezTo>
                      <a:pt x="48" y="16"/>
                      <a:pt x="50" y="19"/>
                      <a:pt x="51" y="21"/>
                    </a:cubicBezTo>
                    <a:cubicBezTo>
                      <a:pt x="52" y="24"/>
                      <a:pt x="52" y="28"/>
                      <a:pt x="52" y="34"/>
                    </a:cubicBezTo>
                    <a:cubicBezTo>
                      <a:pt x="52" y="83"/>
                      <a:pt x="52" y="83"/>
                      <a:pt x="52" y="83"/>
                    </a:cubicBezTo>
                    <a:cubicBezTo>
                      <a:pt x="66" y="83"/>
                      <a:pt x="66" y="83"/>
                      <a:pt x="66" y="83"/>
                    </a:cubicBezTo>
                    <a:cubicBezTo>
                      <a:pt x="66" y="33"/>
                      <a:pt x="66" y="33"/>
                      <a:pt x="66" y="33"/>
                    </a:cubicBezTo>
                    <a:cubicBezTo>
                      <a:pt x="66" y="27"/>
                      <a:pt x="66" y="23"/>
                      <a:pt x="65" y="20"/>
                    </a:cubicBezTo>
                    <a:cubicBezTo>
                      <a:pt x="65" y="16"/>
                      <a:pt x="63" y="13"/>
                      <a:pt x="61" y="1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</p:grpSp>
      </p:grpSp>
      <p:grpSp>
        <p:nvGrpSpPr>
          <p:cNvPr id="2" name="组合 1"/>
          <p:cNvGrpSpPr/>
          <p:nvPr userDrawn="1"/>
        </p:nvGrpSpPr>
        <p:grpSpPr>
          <a:xfrm>
            <a:off x="488124" y="-46297"/>
            <a:ext cx="533439" cy="937548"/>
            <a:chOff x="313666" y="-185194"/>
            <a:chExt cx="921996" cy="1215342"/>
          </a:xfrm>
        </p:grpSpPr>
        <p:pic>
          <p:nvPicPr>
            <p:cNvPr id="4" name="图片 3"/>
            <p:cNvPicPr>
              <a:picLocks noChangeAspect="1"/>
            </p:cNvPicPr>
            <p:nvPr userDrawn="1"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4698" r="24746"/>
            <a:stretch>
              <a:fillRect/>
            </a:stretch>
          </p:blipFill>
          <p:spPr>
            <a:xfrm>
              <a:off x="313666" y="-185194"/>
              <a:ext cx="921996" cy="1215342"/>
            </a:xfrm>
            <a:prstGeom prst="rect">
              <a:avLst/>
            </a:prstGeom>
          </p:spPr>
        </p:pic>
        <p:sp>
          <p:nvSpPr>
            <p:cNvPr id="5" name="矩形: 圆角 4"/>
            <p:cNvSpPr/>
            <p:nvPr userDrawn="1"/>
          </p:nvSpPr>
          <p:spPr>
            <a:xfrm>
              <a:off x="313666" y="-185194"/>
              <a:ext cx="921996" cy="1215342"/>
            </a:xfrm>
            <a:prstGeom prst="roundRect">
              <a:avLst>
                <a:gd name="adj" fmla="val 0"/>
              </a:avLst>
            </a:prstGeom>
            <a:gradFill flip="none" rotWithShape="1">
              <a:gsLst>
                <a:gs pos="0">
                  <a:srgbClr val="A22B17">
                    <a:lumMod val="94000"/>
                    <a:lumOff val="6000"/>
                  </a:srgbClr>
                </a:gs>
                <a:gs pos="100000">
                  <a:srgbClr val="A22B17">
                    <a:alpha val="72000"/>
                    <a:lumMod val="85000"/>
                    <a:lumOff val="15000"/>
                  </a:srgb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zh-CN" altLang="en-US" sz="1350" dirty="0"/>
            </a:p>
          </p:txBody>
        </p:sp>
      </p:grpSp>
    </p:spTree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/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Content Placeholder 2"/>
          <p:cNvSpPr/>
          <p:nvPr>
            <p:ph idx="1"/>
          </p:nvPr>
        </p:nvSpPr>
        <p:spPr/>
        <p:txBody>
          <a:bodyPr/>
          <a:lstStyle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buFont typeface="Arial" panose="020B0604020202020204" pitchFamily="34" charset="0"/>
              <a:buChar char="•"/>
              <a:defRPr/>
            </a:lvl9pPr>
          </a:lstStyle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en-US" dirty="0"/>
          </a:p>
        </p:txBody>
      </p:sp>
      <p:sp>
        <p:nvSpPr>
          <p:cNvPr id="4" name="Date Placeholder 3"/>
          <p:cNvSpPr/>
          <p:nvPr>
            <p:ph type="dt" sz="half" idx="10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5" name="Footer Placeholder 4"/>
          <p:cNvSpPr/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Slide Number Placeholder 5"/>
          <p:cNvSpPr/>
          <p:nvPr>
            <p:ph type="sldNum" sz="quarter" idx="12"/>
          </p:nvPr>
        </p:nvSpPr>
        <p:spPr/>
        <p:txBody>
          <a:bodyPr/>
          <a:lstStyle/>
          <a:p>
            <a:fld id="{5713BB95-DED2-41B9-B97A-FED4E0E2255B}" type="slidenum">
              <a:rPr lang="en-US" altLang="zh-CN" smtClean="0"/>
            </a:fld>
            <a:endParaRPr lang="en-US" altLang="zh-CN"/>
          </a:p>
        </p:txBody>
      </p:sp>
    </p:spTree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_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13A0D8-FAE1-4E13-A973-896C4E55743D}" type="slidenum">
              <a:rPr lang="en-US" altLang="zh-CN" smtClean="0"/>
            </a:fld>
            <a:endParaRPr lang="en-US" altLang="zh-CN"/>
          </a:p>
        </p:txBody>
      </p:sp>
    </p:spTree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/>
          <p:nvPr>
            <p:ph type="ctrTitle"/>
          </p:nvPr>
        </p:nvSpPr>
        <p:spPr>
          <a:xfrm>
            <a:off x="685800" y="609601"/>
            <a:ext cx="7772400" cy="4267200"/>
          </a:xfrm>
        </p:spPr>
        <p:txBody>
          <a:bodyPr anchor="b">
            <a:noAutofit/>
          </a:bodyPr>
          <a:lstStyle>
            <a:lvl1pPr>
              <a:lnSpc>
                <a:spcPct val="100000"/>
              </a:lnSpc>
              <a:defRPr sz="8000"/>
            </a:lvl1pPr>
          </a:lstStyle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Subtitle 2"/>
          <p:cNvSpPr/>
          <p:nvPr>
            <p:ph type="subTitle" idx="1"/>
          </p:nvPr>
        </p:nvSpPr>
        <p:spPr>
          <a:xfrm>
            <a:off x="1371600" y="4953000"/>
            <a:ext cx="6400800" cy="1219200"/>
          </a:xfrm>
        </p:spPr>
        <p:txBody>
          <a:bodyPr>
            <a:normAutofit/>
          </a:bodyPr>
          <a:lstStyle>
            <a:lvl1pPr marL="0" indent="0" algn="ctr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zh-CN" altLang="en-US"/>
              <a:t>单击此处编辑母版副标题样式</a:t>
            </a:r>
            <a:endParaRPr lang="en-US" dirty="0"/>
          </a:p>
        </p:txBody>
      </p:sp>
      <p:sp>
        <p:nvSpPr>
          <p:cNvPr id="7" name="Date Placeholder 6"/>
          <p:cNvSpPr/>
          <p:nvPr>
            <p:ph type="dt" sz="half" idx="10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8" name="Slide Number Placeholder 7"/>
          <p:cNvSpPr/>
          <p:nvPr>
            <p:ph type="sldNum" sz="quarter" idx="11"/>
          </p:nvPr>
        </p:nvSpPr>
        <p:spPr/>
        <p:txBody>
          <a:bodyPr/>
          <a:lstStyle/>
          <a:p>
            <a:fld id="{68556690-10CF-443D-ADC5-2A328E3B7771}" type="slidenum">
              <a:rPr lang="en-US" altLang="zh-CN" smtClean="0"/>
            </a:fld>
            <a:endParaRPr lang="en-US" altLang="zh-CN"/>
          </a:p>
        </p:txBody>
      </p:sp>
      <p:sp>
        <p:nvSpPr>
          <p:cNvPr id="9" name="Footer Placeholder 8"/>
          <p:cNvSpPr/>
          <p:nvPr>
            <p:ph type="ftr" sz="quarter" idx="12"/>
          </p:nvPr>
        </p:nvSpPr>
        <p:spPr/>
        <p:txBody>
          <a:bodyPr/>
          <a:lstStyle/>
          <a:p>
            <a:endParaRPr lang="zh-CN" altLang="en-US"/>
          </a:p>
        </p:txBody>
      </p:sp>
    </p:spTree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/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Content Placeholder 2"/>
          <p:cNvSpPr/>
          <p:nvPr>
            <p:ph idx="1"/>
          </p:nvPr>
        </p:nvSpPr>
        <p:spPr/>
        <p:txBody>
          <a:bodyPr/>
          <a:lstStyle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buFont typeface="Arial" panose="020B0604020202020204" pitchFamily="34" charset="0"/>
              <a:buChar char="•"/>
              <a:defRPr/>
            </a:lvl9pPr>
          </a:lstStyle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en-US" dirty="0"/>
          </a:p>
        </p:txBody>
      </p:sp>
      <p:sp>
        <p:nvSpPr>
          <p:cNvPr id="4" name="Date Placeholder 3"/>
          <p:cNvSpPr/>
          <p:nvPr>
            <p:ph type="dt" sz="half" idx="10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5" name="Footer Placeholder 4"/>
          <p:cNvSpPr/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Slide Number Placeholder 5"/>
          <p:cNvSpPr/>
          <p:nvPr>
            <p:ph type="sldNum" sz="quarter" idx="12"/>
          </p:nvPr>
        </p:nvSpPr>
        <p:spPr/>
        <p:txBody>
          <a:bodyPr/>
          <a:lstStyle/>
          <a:p>
            <a:fld id="{5713BB95-DED2-41B9-B97A-FED4E0E2255B}" type="slidenum">
              <a:rPr lang="en-US" altLang="zh-CN" smtClean="0"/>
            </a:fld>
            <a:endParaRPr lang="en-US" altLang="zh-CN"/>
          </a:p>
        </p:txBody>
      </p:sp>
    </p:spTree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/>
          <p:nvPr>
            <p:ph type="title"/>
          </p:nvPr>
        </p:nvSpPr>
        <p:spPr>
          <a:xfrm>
            <a:off x="722313" y="1371600"/>
            <a:ext cx="7772400" cy="2505075"/>
          </a:xfrm>
        </p:spPr>
        <p:txBody>
          <a:bodyPr anchor="b"/>
          <a:lstStyle>
            <a:lvl1pPr algn="ctr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4800" kern="1200" dirty="0" smtClean="0">
                <a:solidFill>
                  <a:schemeClr val="tx2"/>
                </a:solidFill>
                <a:effectLst>
                  <a:outerShdw blurRad="63500" dist="38100" dir="5400000" algn="t" rotWithShape="0">
                    <a:prstClr val="black">
                      <a:alpha val="25000"/>
                    </a:prstClr>
                  </a:outerShdw>
                </a:effectLst>
                <a:latin typeface="+mn-lt"/>
                <a:ea typeface="+mj-ea"/>
                <a:cs typeface="+mj-cs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Text Placeholder 2"/>
          <p:cNvSpPr/>
          <p:nvPr>
            <p:ph type="body" idx="1"/>
          </p:nvPr>
        </p:nvSpPr>
        <p:spPr>
          <a:xfrm>
            <a:off x="722313" y="4068763"/>
            <a:ext cx="7772400" cy="1131887"/>
          </a:xfrm>
        </p:spPr>
        <p:txBody>
          <a:bodyPr anchor="t"/>
          <a:lstStyle>
            <a:lvl1pPr marL="0" indent="0" algn="ctr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</p:txBody>
      </p:sp>
      <p:sp>
        <p:nvSpPr>
          <p:cNvPr id="4" name="Date Placeholder 3"/>
          <p:cNvSpPr/>
          <p:nvPr>
            <p:ph type="dt" sz="half" idx="10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5" name="Footer Placeholder 4"/>
          <p:cNvSpPr/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Slide Number Placeholder 5"/>
          <p:cNvSpPr/>
          <p:nvPr>
            <p:ph type="sldNum" sz="quarter" idx="12"/>
          </p:nvPr>
        </p:nvSpPr>
        <p:spPr/>
        <p:txBody>
          <a:bodyPr/>
          <a:lstStyle/>
          <a:p>
            <a:fld id="{09023FE0-54EA-48D5-B9DF-51B02EDFFCD6}" type="slidenum">
              <a:rPr lang="en-US" altLang="zh-CN" smtClean="0"/>
            </a:fld>
            <a:endParaRPr lang="en-US" altLang="zh-CN"/>
          </a:p>
        </p:txBody>
      </p:sp>
      <p:sp>
        <p:nvSpPr>
          <p:cNvPr id="7" name="Oval 6"/>
          <p:cNvSpPr/>
          <p:nvPr/>
        </p:nvSpPr>
        <p:spPr>
          <a:xfrm>
            <a:off x="4495800" y="3924300"/>
            <a:ext cx="84772" cy="84772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Oval 7"/>
          <p:cNvSpPr/>
          <p:nvPr/>
        </p:nvSpPr>
        <p:spPr>
          <a:xfrm>
            <a:off x="4695825" y="3924300"/>
            <a:ext cx="84772" cy="84772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Oval 8"/>
          <p:cNvSpPr/>
          <p:nvPr/>
        </p:nvSpPr>
        <p:spPr>
          <a:xfrm>
            <a:off x="4296728" y="3924300"/>
            <a:ext cx="84772" cy="84772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/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  <a:endParaRPr lang="en-US"/>
          </a:p>
        </p:txBody>
      </p:sp>
      <p:sp>
        <p:nvSpPr>
          <p:cNvPr id="4" name="Content Placeholder 3"/>
          <p:cNvSpPr/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4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en-US" dirty="0"/>
          </a:p>
        </p:txBody>
      </p:sp>
      <p:sp>
        <p:nvSpPr>
          <p:cNvPr id="5" name="Date Placeholder 4"/>
          <p:cNvSpPr/>
          <p:nvPr>
            <p:ph type="dt" sz="half" idx="10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Footer Placeholder 5"/>
          <p:cNvSpPr/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Slide Number Placeholder 6"/>
          <p:cNvSpPr/>
          <p:nvPr>
            <p:ph type="sldNum" sz="quarter" idx="12"/>
          </p:nvPr>
        </p:nvSpPr>
        <p:spPr/>
        <p:txBody>
          <a:bodyPr/>
          <a:lstStyle/>
          <a:p>
            <a:fld id="{54A71E57-0578-4A23-A3CD-B1428700C920}" type="slidenum">
              <a:rPr lang="en-US" altLang="zh-CN" smtClean="0"/>
            </a:fld>
            <a:endParaRPr lang="en-US" altLang="zh-CN"/>
          </a:p>
        </p:txBody>
      </p:sp>
      <p:sp>
        <p:nvSpPr>
          <p:cNvPr id="9" name="Content Placeholder 8"/>
          <p:cNvSpPr/>
          <p:nvPr>
            <p:ph sz="quarter" idx="13"/>
          </p:nvPr>
        </p:nvSpPr>
        <p:spPr>
          <a:xfrm>
            <a:off x="365760" y="1600200"/>
            <a:ext cx="4041648" cy="4526280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en-US"/>
          </a:p>
        </p:txBody>
      </p:sp>
    </p:spTree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/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  <p:sp>
        <p:nvSpPr>
          <p:cNvPr id="3" name="Text Placeholder 2"/>
          <p:cNvSpPr/>
          <p:nvPr>
            <p:ph type="body" idx="1"/>
          </p:nvPr>
        </p:nvSpPr>
        <p:spPr>
          <a:xfrm>
            <a:off x="457200" y="1600200"/>
            <a:ext cx="4040188" cy="609600"/>
          </a:xfrm>
        </p:spPr>
        <p:txBody>
          <a:bodyPr anchor="b">
            <a:noAutofit/>
          </a:bodyPr>
          <a:lstStyle>
            <a:lvl1pPr marL="0" indent="0" algn="ctr">
              <a:buNone/>
              <a:defRPr sz="24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</p:txBody>
      </p:sp>
      <p:sp>
        <p:nvSpPr>
          <p:cNvPr id="5" name="Text Placeholder 4"/>
          <p:cNvSpPr/>
          <p:nvPr>
            <p:ph type="body" sz="quarter" idx="3"/>
          </p:nvPr>
        </p:nvSpPr>
        <p:spPr>
          <a:xfrm>
            <a:off x="4648200" y="1600200"/>
            <a:ext cx="4041775" cy="609600"/>
          </a:xfrm>
        </p:spPr>
        <p:txBody>
          <a:bodyPr anchor="b">
            <a:noAutofit/>
          </a:bodyPr>
          <a:lstStyle>
            <a:lvl1pPr marL="0" indent="0" algn="ctr">
              <a:buNone/>
              <a:defRPr sz="24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</p:txBody>
      </p:sp>
      <p:sp>
        <p:nvSpPr>
          <p:cNvPr id="7" name="Date Placeholder 6"/>
          <p:cNvSpPr/>
          <p:nvPr>
            <p:ph type="dt" sz="half" idx="10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8" name="Footer Placeholder 7"/>
          <p:cNvSpPr/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9" name="Slide Number Placeholder 8"/>
          <p:cNvSpPr/>
          <p:nvPr>
            <p:ph type="sldNum" sz="quarter" idx="12"/>
          </p:nvPr>
        </p:nvSpPr>
        <p:spPr/>
        <p:txBody>
          <a:bodyPr/>
          <a:lstStyle/>
          <a:p>
            <a:fld id="{5CCE254C-9F48-45A0-8BA6-03055BE5FC0F}" type="slidenum">
              <a:rPr lang="en-US" altLang="zh-CN" smtClean="0"/>
            </a:fld>
            <a:endParaRPr lang="en-US" altLang="zh-CN"/>
          </a:p>
        </p:txBody>
      </p:sp>
      <p:sp>
        <p:nvSpPr>
          <p:cNvPr id="11" name="Content Placeholder 10"/>
          <p:cNvSpPr/>
          <p:nvPr>
            <p:ph sz="quarter" idx="13"/>
          </p:nvPr>
        </p:nvSpPr>
        <p:spPr>
          <a:xfrm>
            <a:off x="457200" y="2212848"/>
            <a:ext cx="4041648" cy="3913632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en-US" dirty="0"/>
          </a:p>
        </p:txBody>
      </p:sp>
      <p:sp>
        <p:nvSpPr>
          <p:cNvPr id="13" name="Content Placeholder 12"/>
          <p:cNvSpPr/>
          <p:nvPr>
            <p:ph sz="quarter" idx="14"/>
          </p:nvPr>
        </p:nvSpPr>
        <p:spPr>
          <a:xfrm>
            <a:off x="4672584" y="2212848"/>
            <a:ext cx="4041648" cy="3913187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en-US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9" name="文本框 68"/>
          <p:cNvSpPr txBox="1"/>
          <p:nvPr userDrawn="1"/>
        </p:nvSpPr>
        <p:spPr>
          <a:xfrm>
            <a:off x="3415360" y="1469569"/>
            <a:ext cx="780842" cy="17081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30000"/>
              </a:lnSpc>
            </a:pPr>
            <a:r>
              <a:rPr lang="zh-CN" altLang="en-US" sz="100" dirty="0">
                <a:solidFill>
                  <a:schemeClr val="bg1">
                    <a:alpha val="0"/>
                  </a:schemeClr>
                </a:solidFill>
                <a:latin typeface="思源宋体 CN Heavy" panose="02020900000000000000" pitchFamily="18" charset="-122"/>
                <a:ea typeface="思源宋体 CN Heavy" panose="02020900000000000000" pitchFamily="18" charset="-122"/>
              </a:rPr>
              <a:t>您好！我是本套</a:t>
            </a:r>
            <a:r>
              <a:rPr lang="en-US" altLang="zh-CN" sz="100" dirty="0">
                <a:solidFill>
                  <a:schemeClr val="bg1">
                    <a:alpha val="0"/>
                  </a:schemeClr>
                </a:solidFill>
                <a:latin typeface="思源宋体 CN Heavy" panose="02020900000000000000" pitchFamily="18" charset="-122"/>
                <a:ea typeface="思源宋体 CN Heavy" panose="02020900000000000000" pitchFamily="18" charset="-122"/>
              </a:rPr>
              <a:t>PPT</a:t>
            </a:r>
            <a:r>
              <a:rPr lang="zh-CN" altLang="en-US" sz="100" dirty="0">
                <a:solidFill>
                  <a:schemeClr val="bg1">
                    <a:alpha val="0"/>
                  </a:schemeClr>
                </a:solidFill>
                <a:latin typeface="思源宋体 CN Heavy" panose="02020900000000000000" pitchFamily="18" charset="-122"/>
                <a:ea typeface="思源宋体 CN Heavy" panose="02020900000000000000" pitchFamily="18" charset="-122"/>
              </a:rPr>
              <a:t>模板的作者王奕博，本套</a:t>
            </a:r>
            <a:r>
              <a:rPr lang="en-US" altLang="zh-CN" sz="100" dirty="0">
                <a:solidFill>
                  <a:schemeClr val="bg1">
                    <a:alpha val="0"/>
                  </a:schemeClr>
                </a:solidFill>
                <a:latin typeface="思源宋体 CN Heavy" panose="02020900000000000000" pitchFamily="18" charset="-122"/>
                <a:ea typeface="思源宋体 CN Heavy" panose="02020900000000000000" pitchFamily="18" charset="-122"/>
              </a:rPr>
              <a:t>PPT</a:t>
            </a:r>
            <a:r>
              <a:rPr lang="zh-CN" altLang="en-US" sz="100" dirty="0">
                <a:solidFill>
                  <a:schemeClr val="bg1">
                    <a:alpha val="0"/>
                  </a:schemeClr>
                </a:solidFill>
                <a:latin typeface="思源宋体 CN Heavy" panose="02020900000000000000" pitchFamily="18" charset="-122"/>
                <a:ea typeface="思源宋体 CN Heavy" panose="02020900000000000000" pitchFamily="18" charset="-122"/>
              </a:rPr>
              <a:t>模板是特别为北京科技大学同学朋友制作，方便各位的答辩工作。本模板内使用图片来自北京科技大学官方微信公众号</a:t>
            </a:r>
            <a:r>
              <a:rPr lang="en-US" altLang="zh-CN" sz="100" dirty="0">
                <a:solidFill>
                  <a:schemeClr val="bg1">
                    <a:alpha val="0"/>
                  </a:schemeClr>
                </a:solidFill>
                <a:latin typeface="思源宋体 CN Heavy" panose="02020900000000000000" pitchFamily="18" charset="-122"/>
                <a:ea typeface="思源宋体 CN Heavy" panose="02020900000000000000" pitchFamily="18" charset="-122"/>
              </a:rPr>
              <a:t>,</a:t>
            </a:r>
            <a:r>
              <a:rPr lang="zh-CN" altLang="en-US" sz="100" dirty="0">
                <a:solidFill>
                  <a:schemeClr val="bg1">
                    <a:alpha val="0"/>
                  </a:schemeClr>
                </a:solidFill>
                <a:latin typeface="思源宋体 CN Heavy" panose="02020900000000000000" pitchFamily="18" charset="-122"/>
                <a:ea typeface="思源宋体 CN Heavy" panose="02020900000000000000" pitchFamily="18" charset="-122"/>
              </a:rPr>
              <a:t>模板文案仅供参考，官方信息以北京科技大学官网为准。恶意修改、诋毁、扭曲北京科技大学形象的行为后果自负。</a:t>
            </a:r>
            <a:endParaRPr lang="en-US" altLang="zh-CN" sz="100" dirty="0">
              <a:solidFill>
                <a:schemeClr val="bg1">
                  <a:alpha val="0"/>
                </a:schemeClr>
              </a:solidFill>
              <a:latin typeface="思源宋体 CN Heavy" panose="02020900000000000000" pitchFamily="18" charset="-122"/>
              <a:ea typeface="思源宋体 CN Heavy" panose="02020900000000000000" pitchFamily="18" charset="-122"/>
            </a:endParaRPr>
          </a:p>
          <a:p>
            <a:pPr>
              <a:lnSpc>
                <a:spcPct val="130000"/>
              </a:lnSpc>
            </a:pPr>
            <a:r>
              <a:rPr lang="zh-CN" altLang="en-US" sz="100" dirty="0">
                <a:solidFill>
                  <a:schemeClr val="bg1">
                    <a:alpha val="0"/>
                  </a:schemeClr>
                </a:solidFill>
                <a:latin typeface="思源宋体 CN Heavy" panose="02020900000000000000" pitchFamily="18" charset="-122"/>
                <a:ea typeface="思源宋体 CN Heavy" panose="02020900000000000000" pitchFamily="18" charset="-122"/>
              </a:rPr>
              <a:t>最后，祝您答辩顺利，前程似锦！</a:t>
            </a:r>
            <a:endParaRPr lang="zh-CN" altLang="en-US" sz="100" dirty="0">
              <a:solidFill>
                <a:schemeClr val="bg1">
                  <a:alpha val="0"/>
                </a:schemeClr>
              </a:solidFill>
              <a:latin typeface="思源宋体 CN Heavy" panose="02020900000000000000" pitchFamily="18" charset="-122"/>
              <a:ea typeface="思源宋体 CN Heavy" panose="02020900000000000000" pitchFamily="18" charset="-122"/>
            </a:endParaRPr>
          </a:p>
        </p:txBody>
      </p:sp>
      <p:grpSp>
        <p:nvGrpSpPr>
          <p:cNvPr id="8" name="组合 7"/>
          <p:cNvGrpSpPr/>
          <p:nvPr/>
        </p:nvGrpSpPr>
        <p:grpSpPr>
          <a:xfrm>
            <a:off x="6457825" y="-15557"/>
            <a:ext cx="5372351" cy="7169530"/>
            <a:chOff x="1560409" y="2069897"/>
            <a:chExt cx="1776413" cy="1778000"/>
          </a:xfrm>
        </p:grpSpPr>
        <p:sp>
          <p:nvSpPr>
            <p:cNvPr id="67" name="îS1îḋé"/>
            <p:cNvSpPr/>
            <p:nvPr/>
          </p:nvSpPr>
          <p:spPr bwMode="auto">
            <a:xfrm>
              <a:off x="1560409" y="2069897"/>
              <a:ext cx="1776413" cy="1778000"/>
            </a:xfrm>
            <a:prstGeom prst="ellipse">
              <a:avLst/>
            </a:prstGeom>
            <a:noFill/>
            <a:ln w="98425" cap="flat">
              <a:solidFill>
                <a:schemeClr val="bg1">
                  <a:lumMod val="95000"/>
                  <a:alpha val="21000"/>
                </a:schemeClr>
              </a:solidFill>
              <a:prstDash val="solid"/>
              <a:miter lim="800000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68" name="îṣḷïďé"/>
            <p:cNvSpPr/>
            <p:nvPr/>
          </p:nvSpPr>
          <p:spPr bwMode="auto">
            <a:xfrm>
              <a:off x="1779484" y="2288972"/>
              <a:ext cx="1336675" cy="1338263"/>
            </a:xfrm>
            <a:prstGeom prst="ellipse">
              <a:avLst/>
            </a:prstGeom>
            <a:noFill/>
            <a:ln w="19050" cap="flat">
              <a:solidFill>
                <a:schemeClr val="bg1">
                  <a:alpha val="21000"/>
                </a:schemeClr>
              </a:solidFill>
              <a:prstDash val="solid"/>
              <a:miter lim="800000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anchor="ctr"/>
            <a:lstStyle/>
            <a:p>
              <a:pPr algn="ctr"/>
              <a:endParaRPr sz="1350"/>
            </a:p>
          </p:txBody>
        </p:sp>
      </p:grpSp>
      <p:grpSp>
        <p:nvGrpSpPr>
          <p:cNvPr id="9" name="组合 8"/>
          <p:cNvGrpSpPr/>
          <p:nvPr/>
        </p:nvGrpSpPr>
        <p:grpSpPr>
          <a:xfrm>
            <a:off x="6705077" y="218094"/>
            <a:ext cx="4877843" cy="6702232"/>
            <a:chOff x="1641372" y="4491628"/>
            <a:chExt cx="1612900" cy="1662113"/>
          </a:xfrm>
          <a:solidFill>
            <a:schemeClr val="bg1">
              <a:lumMod val="95000"/>
              <a:alpha val="21000"/>
            </a:schemeClr>
          </a:solidFill>
        </p:grpSpPr>
        <p:sp>
          <p:nvSpPr>
            <p:cNvPr id="10" name="ïś1íďê"/>
            <p:cNvSpPr/>
            <p:nvPr/>
          </p:nvSpPr>
          <p:spPr bwMode="auto">
            <a:xfrm>
              <a:off x="2889147" y="4701178"/>
              <a:ext cx="153988" cy="138113"/>
            </a:xfrm>
            <a:custGeom>
              <a:avLst/>
              <a:gdLst>
                <a:gd name="T0" fmla="*/ 62 w 83"/>
                <a:gd name="T1" fmla="*/ 8 h 75"/>
                <a:gd name="T2" fmla="*/ 53 w 83"/>
                <a:gd name="T3" fmla="*/ 10 h 75"/>
                <a:gd name="T4" fmla="*/ 57 w 83"/>
                <a:gd name="T5" fmla="*/ 0 h 75"/>
                <a:gd name="T6" fmla="*/ 44 w 83"/>
                <a:gd name="T7" fmla="*/ 21 h 75"/>
                <a:gd name="T8" fmla="*/ 58 w 83"/>
                <a:gd name="T9" fmla="*/ 11 h 75"/>
                <a:gd name="T10" fmla="*/ 54 w 83"/>
                <a:gd name="T11" fmla="*/ 18 h 75"/>
                <a:gd name="T12" fmla="*/ 28 w 83"/>
                <a:gd name="T13" fmla="*/ 18 h 75"/>
                <a:gd name="T14" fmla="*/ 19 w 83"/>
                <a:gd name="T15" fmla="*/ 17 h 75"/>
                <a:gd name="T16" fmla="*/ 25 w 83"/>
                <a:gd name="T17" fmla="*/ 12 h 75"/>
                <a:gd name="T18" fmla="*/ 1 w 83"/>
                <a:gd name="T19" fmla="*/ 30 h 75"/>
                <a:gd name="T20" fmla="*/ 13 w 83"/>
                <a:gd name="T21" fmla="*/ 24 h 75"/>
                <a:gd name="T22" fmla="*/ 36 w 83"/>
                <a:gd name="T23" fmla="*/ 28 h 75"/>
                <a:gd name="T24" fmla="*/ 22 w 83"/>
                <a:gd name="T25" fmla="*/ 35 h 75"/>
                <a:gd name="T26" fmla="*/ 45 w 83"/>
                <a:gd name="T27" fmla="*/ 41 h 75"/>
                <a:gd name="T28" fmla="*/ 42 w 83"/>
                <a:gd name="T29" fmla="*/ 41 h 75"/>
                <a:gd name="T30" fmla="*/ 35 w 83"/>
                <a:gd name="T31" fmla="*/ 40 h 75"/>
                <a:gd name="T32" fmla="*/ 37 w 83"/>
                <a:gd name="T33" fmla="*/ 45 h 75"/>
                <a:gd name="T34" fmla="*/ 12 w 83"/>
                <a:gd name="T35" fmla="*/ 34 h 75"/>
                <a:gd name="T36" fmla="*/ 9 w 83"/>
                <a:gd name="T37" fmla="*/ 35 h 75"/>
                <a:gd name="T38" fmla="*/ 20 w 83"/>
                <a:gd name="T39" fmla="*/ 64 h 75"/>
                <a:gd name="T40" fmla="*/ 0 w 83"/>
                <a:gd name="T41" fmla="*/ 57 h 75"/>
                <a:gd name="T42" fmla="*/ 35 w 83"/>
                <a:gd name="T43" fmla="*/ 58 h 75"/>
                <a:gd name="T44" fmla="*/ 46 w 83"/>
                <a:gd name="T45" fmla="*/ 57 h 75"/>
                <a:gd name="T46" fmla="*/ 42 w 83"/>
                <a:gd name="T47" fmla="*/ 48 h 75"/>
                <a:gd name="T48" fmla="*/ 62 w 83"/>
                <a:gd name="T49" fmla="*/ 57 h 75"/>
                <a:gd name="T50" fmla="*/ 61 w 83"/>
                <a:gd name="T51" fmla="*/ 35 h 75"/>
                <a:gd name="T52" fmla="*/ 62 w 83"/>
                <a:gd name="T53" fmla="*/ 34 h 75"/>
                <a:gd name="T54" fmla="*/ 66 w 83"/>
                <a:gd name="T55" fmla="*/ 16 h 75"/>
                <a:gd name="T56" fmla="*/ 63 w 83"/>
                <a:gd name="T57" fmla="*/ 44 h 75"/>
                <a:gd name="T58" fmla="*/ 54 w 83"/>
                <a:gd name="T59" fmla="*/ 32 h 75"/>
                <a:gd name="T60" fmla="*/ 60 w 83"/>
                <a:gd name="T61" fmla="*/ 27 h 75"/>
                <a:gd name="T62" fmla="*/ 67 w 83"/>
                <a:gd name="T63" fmla="*/ 18 h 75"/>
                <a:gd name="T64" fmla="*/ 77 w 83"/>
                <a:gd name="T65" fmla="*/ 23 h 75"/>
                <a:gd name="T66" fmla="*/ 60 w 83"/>
                <a:gd name="T67" fmla="*/ 27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83" h="75">
                  <a:moveTo>
                    <a:pt x="66" y="16"/>
                  </a:moveTo>
                  <a:cubicBezTo>
                    <a:pt x="65" y="13"/>
                    <a:pt x="63" y="11"/>
                    <a:pt x="62" y="8"/>
                  </a:cubicBezTo>
                  <a:cubicBezTo>
                    <a:pt x="59" y="9"/>
                    <a:pt x="57" y="9"/>
                    <a:pt x="54" y="10"/>
                  </a:cubicBezTo>
                  <a:cubicBezTo>
                    <a:pt x="54" y="10"/>
                    <a:pt x="53" y="10"/>
                    <a:pt x="53" y="10"/>
                  </a:cubicBezTo>
                  <a:cubicBezTo>
                    <a:pt x="54" y="7"/>
                    <a:pt x="57" y="6"/>
                    <a:pt x="59" y="3"/>
                  </a:cubicBezTo>
                  <a:cubicBezTo>
                    <a:pt x="58" y="2"/>
                    <a:pt x="58" y="1"/>
                    <a:pt x="57" y="0"/>
                  </a:cubicBezTo>
                  <a:cubicBezTo>
                    <a:pt x="48" y="1"/>
                    <a:pt x="37" y="9"/>
                    <a:pt x="42" y="19"/>
                  </a:cubicBezTo>
                  <a:cubicBezTo>
                    <a:pt x="42" y="19"/>
                    <a:pt x="43" y="20"/>
                    <a:pt x="44" y="21"/>
                  </a:cubicBezTo>
                  <a:cubicBezTo>
                    <a:pt x="47" y="19"/>
                    <a:pt x="48" y="15"/>
                    <a:pt x="51" y="14"/>
                  </a:cubicBezTo>
                  <a:cubicBezTo>
                    <a:pt x="53" y="13"/>
                    <a:pt x="55" y="13"/>
                    <a:pt x="58" y="11"/>
                  </a:cubicBezTo>
                  <a:cubicBezTo>
                    <a:pt x="58" y="11"/>
                    <a:pt x="59" y="11"/>
                    <a:pt x="59" y="11"/>
                  </a:cubicBezTo>
                  <a:cubicBezTo>
                    <a:pt x="57" y="14"/>
                    <a:pt x="56" y="16"/>
                    <a:pt x="54" y="18"/>
                  </a:cubicBezTo>
                  <a:cubicBezTo>
                    <a:pt x="54" y="21"/>
                    <a:pt x="55" y="24"/>
                    <a:pt x="54" y="27"/>
                  </a:cubicBezTo>
                  <a:cubicBezTo>
                    <a:pt x="54" y="27"/>
                    <a:pt x="30" y="18"/>
                    <a:pt x="28" y="18"/>
                  </a:cubicBezTo>
                  <a:cubicBezTo>
                    <a:pt x="25" y="17"/>
                    <a:pt x="22" y="17"/>
                    <a:pt x="20" y="17"/>
                  </a:cubicBezTo>
                  <a:cubicBezTo>
                    <a:pt x="19" y="17"/>
                    <a:pt x="19" y="17"/>
                    <a:pt x="19" y="17"/>
                  </a:cubicBezTo>
                  <a:cubicBezTo>
                    <a:pt x="22" y="15"/>
                    <a:pt x="23" y="15"/>
                    <a:pt x="25" y="13"/>
                  </a:cubicBezTo>
                  <a:cubicBezTo>
                    <a:pt x="25" y="12"/>
                    <a:pt x="25" y="12"/>
                    <a:pt x="25" y="12"/>
                  </a:cubicBezTo>
                  <a:cubicBezTo>
                    <a:pt x="18" y="12"/>
                    <a:pt x="11" y="16"/>
                    <a:pt x="4" y="18"/>
                  </a:cubicBezTo>
                  <a:cubicBezTo>
                    <a:pt x="0" y="22"/>
                    <a:pt x="0" y="25"/>
                    <a:pt x="1" y="30"/>
                  </a:cubicBezTo>
                  <a:cubicBezTo>
                    <a:pt x="3" y="31"/>
                    <a:pt x="3" y="31"/>
                    <a:pt x="3" y="31"/>
                  </a:cubicBezTo>
                  <a:cubicBezTo>
                    <a:pt x="6" y="29"/>
                    <a:pt x="9" y="26"/>
                    <a:pt x="13" y="24"/>
                  </a:cubicBezTo>
                  <a:cubicBezTo>
                    <a:pt x="19" y="20"/>
                    <a:pt x="30" y="22"/>
                    <a:pt x="37" y="27"/>
                  </a:cubicBezTo>
                  <a:cubicBezTo>
                    <a:pt x="37" y="28"/>
                    <a:pt x="36" y="28"/>
                    <a:pt x="36" y="28"/>
                  </a:cubicBezTo>
                  <a:cubicBezTo>
                    <a:pt x="31" y="29"/>
                    <a:pt x="28" y="28"/>
                    <a:pt x="22" y="32"/>
                  </a:cubicBezTo>
                  <a:cubicBezTo>
                    <a:pt x="22" y="33"/>
                    <a:pt x="22" y="34"/>
                    <a:pt x="22" y="35"/>
                  </a:cubicBezTo>
                  <a:cubicBezTo>
                    <a:pt x="22" y="37"/>
                    <a:pt x="22" y="37"/>
                    <a:pt x="24" y="39"/>
                  </a:cubicBezTo>
                  <a:cubicBezTo>
                    <a:pt x="31" y="37"/>
                    <a:pt x="37" y="36"/>
                    <a:pt x="45" y="41"/>
                  </a:cubicBezTo>
                  <a:cubicBezTo>
                    <a:pt x="44" y="41"/>
                    <a:pt x="44" y="41"/>
                    <a:pt x="44" y="41"/>
                  </a:cubicBezTo>
                  <a:cubicBezTo>
                    <a:pt x="43" y="41"/>
                    <a:pt x="42" y="41"/>
                    <a:pt x="42" y="41"/>
                  </a:cubicBezTo>
                  <a:cubicBezTo>
                    <a:pt x="41" y="40"/>
                    <a:pt x="40" y="39"/>
                    <a:pt x="39" y="39"/>
                  </a:cubicBezTo>
                  <a:cubicBezTo>
                    <a:pt x="37" y="41"/>
                    <a:pt x="37" y="41"/>
                    <a:pt x="35" y="40"/>
                  </a:cubicBezTo>
                  <a:cubicBezTo>
                    <a:pt x="35" y="40"/>
                    <a:pt x="34" y="41"/>
                    <a:pt x="34" y="41"/>
                  </a:cubicBezTo>
                  <a:cubicBezTo>
                    <a:pt x="35" y="43"/>
                    <a:pt x="35" y="43"/>
                    <a:pt x="37" y="45"/>
                  </a:cubicBezTo>
                  <a:cubicBezTo>
                    <a:pt x="36" y="46"/>
                    <a:pt x="36" y="47"/>
                    <a:pt x="35" y="48"/>
                  </a:cubicBezTo>
                  <a:cubicBezTo>
                    <a:pt x="27" y="44"/>
                    <a:pt x="20" y="40"/>
                    <a:pt x="12" y="34"/>
                  </a:cubicBezTo>
                  <a:cubicBezTo>
                    <a:pt x="11" y="34"/>
                    <a:pt x="11" y="34"/>
                    <a:pt x="10" y="34"/>
                  </a:cubicBezTo>
                  <a:cubicBezTo>
                    <a:pt x="9" y="34"/>
                    <a:pt x="9" y="35"/>
                    <a:pt x="9" y="35"/>
                  </a:cubicBezTo>
                  <a:cubicBezTo>
                    <a:pt x="11" y="55"/>
                    <a:pt x="20" y="44"/>
                    <a:pt x="31" y="54"/>
                  </a:cubicBezTo>
                  <a:cubicBezTo>
                    <a:pt x="27" y="58"/>
                    <a:pt x="23" y="61"/>
                    <a:pt x="20" y="64"/>
                  </a:cubicBezTo>
                  <a:cubicBezTo>
                    <a:pt x="15" y="63"/>
                    <a:pt x="6" y="55"/>
                    <a:pt x="1" y="56"/>
                  </a:cubicBezTo>
                  <a:cubicBezTo>
                    <a:pt x="1" y="56"/>
                    <a:pt x="1" y="56"/>
                    <a:pt x="0" y="57"/>
                  </a:cubicBezTo>
                  <a:cubicBezTo>
                    <a:pt x="2" y="62"/>
                    <a:pt x="7" y="67"/>
                    <a:pt x="9" y="72"/>
                  </a:cubicBezTo>
                  <a:cubicBezTo>
                    <a:pt x="17" y="75"/>
                    <a:pt x="26" y="66"/>
                    <a:pt x="35" y="58"/>
                  </a:cubicBezTo>
                  <a:cubicBezTo>
                    <a:pt x="37" y="60"/>
                    <a:pt x="39" y="63"/>
                    <a:pt x="42" y="65"/>
                  </a:cubicBezTo>
                  <a:cubicBezTo>
                    <a:pt x="46" y="63"/>
                    <a:pt x="46" y="60"/>
                    <a:pt x="46" y="57"/>
                  </a:cubicBezTo>
                  <a:cubicBezTo>
                    <a:pt x="45" y="54"/>
                    <a:pt x="43" y="53"/>
                    <a:pt x="40" y="50"/>
                  </a:cubicBezTo>
                  <a:cubicBezTo>
                    <a:pt x="41" y="49"/>
                    <a:pt x="42" y="48"/>
                    <a:pt x="42" y="48"/>
                  </a:cubicBezTo>
                  <a:cubicBezTo>
                    <a:pt x="46" y="48"/>
                    <a:pt x="49" y="48"/>
                    <a:pt x="53" y="46"/>
                  </a:cubicBezTo>
                  <a:cubicBezTo>
                    <a:pt x="56" y="49"/>
                    <a:pt x="59" y="53"/>
                    <a:pt x="62" y="57"/>
                  </a:cubicBezTo>
                  <a:cubicBezTo>
                    <a:pt x="65" y="56"/>
                    <a:pt x="68" y="55"/>
                    <a:pt x="70" y="52"/>
                  </a:cubicBezTo>
                  <a:cubicBezTo>
                    <a:pt x="72" y="47"/>
                    <a:pt x="66" y="40"/>
                    <a:pt x="61" y="35"/>
                  </a:cubicBezTo>
                  <a:cubicBezTo>
                    <a:pt x="61" y="35"/>
                    <a:pt x="61" y="35"/>
                    <a:pt x="61" y="35"/>
                  </a:cubicBezTo>
                  <a:cubicBezTo>
                    <a:pt x="62" y="34"/>
                    <a:pt x="62" y="34"/>
                    <a:pt x="62" y="34"/>
                  </a:cubicBezTo>
                  <a:cubicBezTo>
                    <a:pt x="69" y="34"/>
                    <a:pt x="72" y="37"/>
                    <a:pt x="79" y="32"/>
                  </a:cubicBezTo>
                  <a:cubicBezTo>
                    <a:pt x="83" y="17"/>
                    <a:pt x="74" y="21"/>
                    <a:pt x="66" y="16"/>
                  </a:cubicBezTo>
                  <a:close/>
                  <a:moveTo>
                    <a:pt x="63" y="44"/>
                  </a:moveTo>
                  <a:cubicBezTo>
                    <a:pt x="63" y="44"/>
                    <a:pt x="63" y="44"/>
                    <a:pt x="63" y="44"/>
                  </a:cubicBezTo>
                  <a:cubicBezTo>
                    <a:pt x="55" y="42"/>
                    <a:pt x="46" y="34"/>
                    <a:pt x="38" y="32"/>
                  </a:cubicBezTo>
                  <a:cubicBezTo>
                    <a:pt x="43" y="28"/>
                    <a:pt x="48" y="31"/>
                    <a:pt x="54" y="32"/>
                  </a:cubicBezTo>
                  <a:cubicBezTo>
                    <a:pt x="57" y="36"/>
                    <a:pt x="60" y="40"/>
                    <a:pt x="63" y="44"/>
                  </a:cubicBezTo>
                  <a:close/>
                  <a:moveTo>
                    <a:pt x="60" y="27"/>
                  </a:moveTo>
                  <a:cubicBezTo>
                    <a:pt x="60" y="27"/>
                    <a:pt x="60" y="26"/>
                    <a:pt x="59" y="26"/>
                  </a:cubicBezTo>
                  <a:cubicBezTo>
                    <a:pt x="61" y="23"/>
                    <a:pt x="63" y="20"/>
                    <a:pt x="67" y="18"/>
                  </a:cubicBezTo>
                  <a:cubicBezTo>
                    <a:pt x="69" y="19"/>
                    <a:pt x="71" y="19"/>
                    <a:pt x="74" y="20"/>
                  </a:cubicBezTo>
                  <a:cubicBezTo>
                    <a:pt x="75" y="21"/>
                    <a:pt x="76" y="22"/>
                    <a:pt x="77" y="23"/>
                  </a:cubicBezTo>
                  <a:cubicBezTo>
                    <a:pt x="77" y="24"/>
                    <a:pt x="77" y="24"/>
                    <a:pt x="77" y="25"/>
                  </a:cubicBezTo>
                  <a:cubicBezTo>
                    <a:pt x="72" y="29"/>
                    <a:pt x="66" y="27"/>
                    <a:pt x="60" y="2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11" name="ïṩḻîḓé"/>
            <p:cNvSpPr/>
            <p:nvPr/>
          </p:nvSpPr>
          <p:spPr bwMode="auto">
            <a:xfrm>
              <a:off x="2728809" y="4582115"/>
              <a:ext cx="101600" cy="147638"/>
            </a:xfrm>
            <a:custGeom>
              <a:avLst/>
              <a:gdLst>
                <a:gd name="T0" fmla="*/ 47 w 55"/>
                <a:gd name="T1" fmla="*/ 0 h 80"/>
                <a:gd name="T2" fmla="*/ 49 w 55"/>
                <a:gd name="T3" fmla="*/ 20 h 80"/>
                <a:gd name="T4" fmla="*/ 51 w 55"/>
                <a:gd name="T5" fmla="*/ 34 h 80"/>
                <a:gd name="T6" fmla="*/ 28 w 55"/>
                <a:gd name="T7" fmla="*/ 38 h 80"/>
                <a:gd name="T8" fmla="*/ 41 w 55"/>
                <a:gd name="T9" fmla="*/ 68 h 80"/>
                <a:gd name="T10" fmla="*/ 25 w 55"/>
                <a:gd name="T11" fmla="*/ 74 h 80"/>
                <a:gd name="T12" fmla="*/ 26 w 55"/>
                <a:gd name="T13" fmla="*/ 39 h 80"/>
                <a:gd name="T14" fmla="*/ 23 w 55"/>
                <a:gd name="T15" fmla="*/ 40 h 80"/>
                <a:gd name="T16" fmla="*/ 7 w 55"/>
                <a:gd name="T17" fmla="*/ 54 h 80"/>
                <a:gd name="T18" fmla="*/ 0 w 55"/>
                <a:gd name="T19" fmla="*/ 43 h 80"/>
                <a:gd name="T20" fmla="*/ 14 w 55"/>
                <a:gd name="T21" fmla="*/ 28 h 80"/>
                <a:gd name="T22" fmla="*/ 6 w 55"/>
                <a:gd name="T23" fmla="*/ 15 h 80"/>
                <a:gd name="T24" fmla="*/ 7 w 55"/>
                <a:gd name="T25" fmla="*/ 15 h 80"/>
                <a:gd name="T26" fmla="*/ 26 w 55"/>
                <a:gd name="T27" fmla="*/ 18 h 80"/>
                <a:gd name="T28" fmla="*/ 47 w 55"/>
                <a:gd name="T29" fmla="*/ 0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55" h="80">
                  <a:moveTo>
                    <a:pt x="47" y="0"/>
                  </a:moveTo>
                  <a:cubicBezTo>
                    <a:pt x="55" y="7"/>
                    <a:pt x="49" y="11"/>
                    <a:pt x="49" y="20"/>
                  </a:cubicBezTo>
                  <a:cubicBezTo>
                    <a:pt x="49" y="25"/>
                    <a:pt x="55" y="25"/>
                    <a:pt x="51" y="34"/>
                  </a:cubicBezTo>
                  <a:cubicBezTo>
                    <a:pt x="44" y="37"/>
                    <a:pt x="34" y="32"/>
                    <a:pt x="28" y="38"/>
                  </a:cubicBezTo>
                  <a:cubicBezTo>
                    <a:pt x="38" y="44"/>
                    <a:pt x="45" y="59"/>
                    <a:pt x="41" y="68"/>
                  </a:cubicBezTo>
                  <a:cubicBezTo>
                    <a:pt x="39" y="74"/>
                    <a:pt x="28" y="80"/>
                    <a:pt x="25" y="74"/>
                  </a:cubicBezTo>
                  <a:cubicBezTo>
                    <a:pt x="19" y="62"/>
                    <a:pt x="39" y="55"/>
                    <a:pt x="26" y="39"/>
                  </a:cubicBezTo>
                  <a:cubicBezTo>
                    <a:pt x="25" y="39"/>
                    <a:pt x="25" y="39"/>
                    <a:pt x="23" y="40"/>
                  </a:cubicBezTo>
                  <a:cubicBezTo>
                    <a:pt x="17" y="44"/>
                    <a:pt x="14" y="52"/>
                    <a:pt x="7" y="54"/>
                  </a:cubicBezTo>
                  <a:cubicBezTo>
                    <a:pt x="2" y="51"/>
                    <a:pt x="2" y="48"/>
                    <a:pt x="0" y="43"/>
                  </a:cubicBezTo>
                  <a:cubicBezTo>
                    <a:pt x="3" y="39"/>
                    <a:pt x="14" y="30"/>
                    <a:pt x="14" y="28"/>
                  </a:cubicBezTo>
                  <a:cubicBezTo>
                    <a:pt x="14" y="25"/>
                    <a:pt x="7" y="19"/>
                    <a:pt x="6" y="15"/>
                  </a:cubicBezTo>
                  <a:cubicBezTo>
                    <a:pt x="6" y="15"/>
                    <a:pt x="7" y="15"/>
                    <a:pt x="7" y="15"/>
                  </a:cubicBezTo>
                  <a:cubicBezTo>
                    <a:pt x="13" y="15"/>
                    <a:pt x="20" y="18"/>
                    <a:pt x="26" y="18"/>
                  </a:cubicBezTo>
                  <a:cubicBezTo>
                    <a:pt x="34" y="17"/>
                    <a:pt x="41" y="5"/>
                    <a:pt x="47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12" name="išḷïḓe"/>
            <p:cNvSpPr/>
            <p:nvPr/>
          </p:nvSpPr>
          <p:spPr bwMode="auto">
            <a:xfrm>
              <a:off x="2490684" y="4510678"/>
              <a:ext cx="144463" cy="160338"/>
            </a:xfrm>
            <a:custGeom>
              <a:avLst/>
              <a:gdLst>
                <a:gd name="T0" fmla="*/ 55 w 78"/>
                <a:gd name="T1" fmla="*/ 64 h 87"/>
                <a:gd name="T2" fmla="*/ 62 w 78"/>
                <a:gd name="T3" fmla="*/ 50 h 87"/>
                <a:gd name="T4" fmla="*/ 54 w 78"/>
                <a:gd name="T5" fmla="*/ 43 h 87"/>
                <a:gd name="T6" fmla="*/ 69 w 78"/>
                <a:gd name="T7" fmla="*/ 29 h 87"/>
                <a:gd name="T8" fmla="*/ 67 w 78"/>
                <a:gd name="T9" fmla="*/ 21 h 87"/>
                <a:gd name="T10" fmla="*/ 70 w 78"/>
                <a:gd name="T11" fmla="*/ 11 h 87"/>
                <a:gd name="T12" fmla="*/ 69 w 78"/>
                <a:gd name="T13" fmla="*/ 3 h 87"/>
                <a:gd name="T14" fmla="*/ 64 w 78"/>
                <a:gd name="T15" fmla="*/ 0 h 87"/>
                <a:gd name="T16" fmla="*/ 63 w 78"/>
                <a:gd name="T17" fmla="*/ 0 h 87"/>
                <a:gd name="T18" fmla="*/ 63 w 78"/>
                <a:gd name="T19" fmla="*/ 12 h 87"/>
                <a:gd name="T20" fmla="*/ 42 w 78"/>
                <a:gd name="T21" fmla="*/ 25 h 87"/>
                <a:gd name="T22" fmla="*/ 42 w 78"/>
                <a:gd name="T23" fmla="*/ 33 h 87"/>
                <a:gd name="T24" fmla="*/ 33 w 78"/>
                <a:gd name="T25" fmla="*/ 36 h 87"/>
                <a:gd name="T26" fmla="*/ 39 w 78"/>
                <a:gd name="T27" fmla="*/ 33 h 87"/>
                <a:gd name="T28" fmla="*/ 39 w 78"/>
                <a:gd name="T29" fmla="*/ 23 h 87"/>
                <a:gd name="T30" fmla="*/ 36 w 78"/>
                <a:gd name="T31" fmla="*/ 0 h 87"/>
                <a:gd name="T32" fmla="*/ 36 w 78"/>
                <a:gd name="T33" fmla="*/ 0 h 87"/>
                <a:gd name="T34" fmla="*/ 36 w 78"/>
                <a:gd name="T35" fmla="*/ 8 h 87"/>
                <a:gd name="T36" fmla="*/ 30 w 78"/>
                <a:gd name="T37" fmla="*/ 24 h 87"/>
                <a:gd name="T38" fmla="*/ 1 w 78"/>
                <a:gd name="T39" fmla="*/ 29 h 87"/>
                <a:gd name="T40" fmla="*/ 0 w 78"/>
                <a:gd name="T41" fmla="*/ 31 h 87"/>
                <a:gd name="T42" fmla="*/ 18 w 78"/>
                <a:gd name="T43" fmla="*/ 39 h 87"/>
                <a:gd name="T44" fmla="*/ 25 w 78"/>
                <a:gd name="T45" fmla="*/ 36 h 87"/>
                <a:gd name="T46" fmla="*/ 25 w 78"/>
                <a:gd name="T47" fmla="*/ 36 h 87"/>
                <a:gd name="T48" fmla="*/ 3 w 78"/>
                <a:gd name="T49" fmla="*/ 62 h 87"/>
                <a:gd name="T50" fmla="*/ 5 w 78"/>
                <a:gd name="T51" fmla="*/ 67 h 87"/>
                <a:gd name="T52" fmla="*/ 12 w 78"/>
                <a:gd name="T53" fmla="*/ 66 h 87"/>
                <a:gd name="T54" fmla="*/ 22 w 78"/>
                <a:gd name="T55" fmla="*/ 74 h 87"/>
                <a:gd name="T56" fmla="*/ 25 w 78"/>
                <a:gd name="T57" fmla="*/ 61 h 87"/>
                <a:gd name="T58" fmla="*/ 30 w 78"/>
                <a:gd name="T59" fmla="*/ 49 h 87"/>
                <a:gd name="T60" fmla="*/ 48 w 78"/>
                <a:gd name="T61" fmla="*/ 63 h 87"/>
                <a:gd name="T62" fmla="*/ 24 w 78"/>
                <a:gd name="T63" fmla="*/ 71 h 87"/>
                <a:gd name="T64" fmla="*/ 48 w 78"/>
                <a:gd name="T65" fmla="*/ 71 h 87"/>
                <a:gd name="T66" fmla="*/ 51 w 78"/>
                <a:gd name="T67" fmla="*/ 69 h 87"/>
                <a:gd name="T68" fmla="*/ 77 w 78"/>
                <a:gd name="T69" fmla="*/ 87 h 87"/>
                <a:gd name="T70" fmla="*/ 78 w 78"/>
                <a:gd name="T71" fmla="*/ 86 h 87"/>
                <a:gd name="T72" fmla="*/ 55 w 78"/>
                <a:gd name="T73" fmla="*/ 64 h 87"/>
                <a:gd name="T74" fmla="*/ 15 w 78"/>
                <a:gd name="T75" fmla="*/ 64 h 87"/>
                <a:gd name="T76" fmla="*/ 15 w 78"/>
                <a:gd name="T77" fmla="*/ 65 h 87"/>
                <a:gd name="T78" fmla="*/ 11 w 78"/>
                <a:gd name="T79" fmla="*/ 63 h 87"/>
                <a:gd name="T80" fmla="*/ 12 w 78"/>
                <a:gd name="T81" fmla="*/ 60 h 87"/>
                <a:gd name="T82" fmla="*/ 15 w 78"/>
                <a:gd name="T83" fmla="*/ 57 h 87"/>
                <a:gd name="T84" fmla="*/ 17 w 78"/>
                <a:gd name="T85" fmla="*/ 58 h 87"/>
                <a:gd name="T86" fmla="*/ 15 w 78"/>
                <a:gd name="T87" fmla="*/ 64 h 87"/>
                <a:gd name="T88" fmla="*/ 32 w 78"/>
                <a:gd name="T89" fmla="*/ 46 h 87"/>
                <a:gd name="T90" fmla="*/ 44 w 78"/>
                <a:gd name="T91" fmla="*/ 34 h 87"/>
                <a:gd name="T92" fmla="*/ 52 w 78"/>
                <a:gd name="T93" fmla="*/ 35 h 87"/>
                <a:gd name="T94" fmla="*/ 46 w 78"/>
                <a:gd name="T95" fmla="*/ 50 h 87"/>
                <a:gd name="T96" fmla="*/ 48 w 78"/>
                <a:gd name="T97" fmla="*/ 52 h 87"/>
                <a:gd name="T98" fmla="*/ 56 w 78"/>
                <a:gd name="T99" fmla="*/ 50 h 87"/>
                <a:gd name="T100" fmla="*/ 52 w 78"/>
                <a:gd name="T101" fmla="*/ 61 h 87"/>
                <a:gd name="T102" fmla="*/ 32 w 78"/>
                <a:gd name="T103" fmla="*/ 46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78" h="87">
                  <a:moveTo>
                    <a:pt x="55" y="64"/>
                  </a:moveTo>
                  <a:cubicBezTo>
                    <a:pt x="58" y="60"/>
                    <a:pt x="60" y="55"/>
                    <a:pt x="62" y="50"/>
                  </a:cubicBezTo>
                  <a:cubicBezTo>
                    <a:pt x="61" y="47"/>
                    <a:pt x="58" y="44"/>
                    <a:pt x="54" y="43"/>
                  </a:cubicBezTo>
                  <a:cubicBezTo>
                    <a:pt x="57" y="36"/>
                    <a:pt x="64" y="33"/>
                    <a:pt x="69" y="29"/>
                  </a:cubicBezTo>
                  <a:cubicBezTo>
                    <a:pt x="69" y="25"/>
                    <a:pt x="67" y="24"/>
                    <a:pt x="67" y="21"/>
                  </a:cubicBezTo>
                  <a:cubicBezTo>
                    <a:pt x="68" y="18"/>
                    <a:pt x="69" y="15"/>
                    <a:pt x="70" y="11"/>
                  </a:cubicBezTo>
                  <a:cubicBezTo>
                    <a:pt x="70" y="9"/>
                    <a:pt x="69" y="6"/>
                    <a:pt x="69" y="3"/>
                  </a:cubicBezTo>
                  <a:cubicBezTo>
                    <a:pt x="68" y="2"/>
                    <a:pt x="67" y="1"/>
                    <a:pt x="64" y="0"/>
                  </a:cubicBezTo>
                  <a:cubicBezTo>
                    <a:pt x="64" y="0"/>
                    <a:pt x="63" y="0"/>
                    <a:pt x="63" y="0"/>
                  </a:cubicBezTo>
                  <a:cubicBezTo>
                    <a:pt x="61" y="5"/>
                    <a:pt x="63" y="8"/>
                    <a:pt x="63" y="12"/>
                  </a:cubicBezTo>
                  <a:cubicBezTo>
                    <a:pt x="63" y="24"/>
                    <a:pt x="52" y="26"/>
                    <a:pt x="42" y="25"/>
                  </a:cubicBezTo>
                  <a:cubicBezTo>
                    <a:pt x="41" y="28"/>
                    <a:pt x="41" y="31"/>
                    <a:pt x="42" y="33"/>
                  </a:cubicBezTo>
                  <a:cubicBezTo>
                    <a:pt x="39" y="34"/>
                    <a:pt x="36" y="35"/>
                    <a:pt x="33" y="36"/>
                  </a:cubicBezTo>
                  <a:cubicBezTo>
                    <a:pt x="34" y="32"/>
                    <a:pt x="36" y="32"/>
                    <a:pt x="39" y="33"/>
                  </a:cubicBezTo>
                  <a:cubicBezTo>
                    <a:pt x="41" y="29"/>
                    <a:pt x="38" y="27"/>
                    <a:pt x="39" y="23"/>
                  </a:cubicBezTo>
                  <a:cubicBezTo>
                    <a:pt x="39" y="14"/>
                    <a:pt x="53" y="6"/>
                    <a:pt x="36" y="0"/>
                  </a:cubicBezTo>
                  <a:cubicBezTo>
                    <a:pt x="36" y="0"/>
                    <a:pt x="36" y="0"/>
                    <a:pt x="36" y="0"/>
                  </a:cubicBezTo>
                  <a:cubicBezTo>
                    <a:pt x="35" y="3"/>
                    <a:pt x="36" y="5"/>
                    <a:pt x="36" y="8"/>
                  </a:cubicBezTo>
                  <a:cubicBezTo>
                    <a:pt x="34" y="14"/>
                    <a:pt x="32" y="19"/>
                    <a:pt x="30" y="24"/>
                  </a:cubicBezTo>
                  <a:cubicBezTo>
                    <a:pt x="22" y="26"/>
                    <a:pt x="9" y="26"/>
                    <a:pt x="1" y="29"/>
                  </a:cubicBezTo>
                  <a:cubicBezTo>
                    <a:pt x="1" y="30"/>
                    <a:pt x="1" y="30"/>
                    <a:pt x="0" y="31"/>
                  </a:cubicBezTo>
                  <a:cubicBezTo>
                    <a:pt x="1" y="35"/>
                    <a:pt x="12" y="39"/>
                    <a:pt x="18" y="39"/>
                  </a:cubicBezTo>
                  <a:cubicBezTo>
                    <a:pt x="20" y="38"/>
                    <a:pt x="22" y="37"/>
                    <a:pt x="25" y="36"/>
                  </a:cubicBezTo>
                  <a:cubicBezTo>
                    <a:pt x="25" y="36"/>
                    <a:pt x="25" y="36"/>
                    <a:pt x="25" y="36"/>
                  </a:cubicBezTo>
                  <a:cubicBezTo>
                    <a:pt x="21" y="52"/>
                    <a:pt x="9" y="50"/>
                    <a:pt x="3" y="62"/>
                  </a:cubicBezTo>
                  <a:cubicBezTo>
                    <a:pt x="4" y="63"/>
                    <a:pt x="4" y="65"/>
                    <a:pt x="5" y="67"/>
                  </a:cubicBezTo>
                  <a:cubicBezTo>
                    <a:pt x="7" y="67"/>
                    <a:pt x="10" y="67"/>
                    <a:pt x="12" y="66"/>
                  </a:cubicBezTo>
                  <a:cubicBezTo>
                    <a:pt x="17" y="68"/>
                    <a:pt x="17" y="72"/>
                    <a:pt x="22" y="74"/>
                  </a:cubicBezTo>
                  <a:cubicBezTo>
                    <a:pt x="25" y="71"/>
                    <a:pt x="24" y="66"/>
                    <a:pt x="25" y="61"/>
                  </a:cubicBezTo>
                  <a:cubicBezTo>
                    <a:pt x="25" y="56"/>
                    <a:pt x="28" y="52"/>
                    <a:pt x="30" y="49"/>
                  </a:cubicBezTo>
                  <a:cubicBezTo>
                    <a:pt x="40" y="53"/>
                    <a:pt x="42" y="58"/>
                    <a:pt x="48" y="63"/>
                  </a:cubicBezTo>
                  <a:cubicBezTo>
                    <a:pt x="44" y="74"/>
                    <a:pt x="29" y="63"/>
                    <a:pt x="24" y="71"/>
                  </a:cubicBezTo>
                  <a:cubicBezTo>
                    <a:pt x="39" y="78"/>
                    <a:pt x="36" y="74"/>
                    <a:pt x="48" y="71"/>
                  </a:cubicBezTo>
                  <a:cubicBezTo>
                    <a:pt x="49" y="70"/>
                    <a:pt x="50" y="70"/>
                    <a:pt x="51" y="69"/>
                  </a:cubicBezTo>
                  <a:cubicBezTo>
                    <a:pt x="58" y="79"/>
                    <a:pt x="58" y="87"/>
                    <a:pt x="77" y="87"/>
                  </a:cubicBezTo>
                  <a:cubicBezTo>
                    <a:pt x="77" y="87"/>
                    <a:pt x="78" y="86"/>
                    <a:pt x="78" y="86"/>
                  </a:cubicBezTo>
                  <a:cubicBezTo>
                    <a:pt x="74" y="76"/>
                    <a:pt x="60" y="73"/>
                    <a:pt x="55" y="64"/>
                  </a:cubicBezTo>
                  <a:close/>
                  <a:moveTo>
                    <a:pt x="15" y="64"/>
                  </a:moveTo>
                  <a:cubicBezTo>
                    <a:pt x="15" y="65"/>
                    <a:pt x="15" y="65"/>
                    <a:pt x="15" y="65"/>
                  </a:cubicBezTo>
                  <a:cubicBezTo>
                    <a:pt x="14" y="64"/>
                    <a:pt x="13" y="64"/>
                    <a:pt x="11" y="63"/>
                  </a:cubicBezTo>
                  <a:cubicBezTo>
                    <a:pt x="11" y="62"/>
                    <a:pt x="12" y="61"/>
                    <a:pt x="12" y="60"/>
                  </a:cubicBezTo>
                  <a:cubicBezTo>
                    <a:pt x="13" y="59"/>
                    <a:pt x="14" y="58"/>
                    <a:pt x="15" y="57"/>
                  </a:cubicBezTo>
                  <a:cubicBezTo>
                    <a:pt x="16" y="57"/>
                    <a:pt x="16" y="58"/>
                    <a:pt x="17" y="58"/>
                  </a:cubicBezTo>
                  <a:cubicBezTo>
                    <a:pt x="16" y="60"/>
                    <a:pt x="16" y="62"/>
                    <a:pt x="15" y="64"/>
                  </a:cubicBezTo>
                  <a:close/>
                  <a:moveTo>
                    <a:pt x="32" y="46"/>
                  </a:moveTo>
                  <a:cubicBezTo>
                    <a:pt x="35" y="43"/>
                    <a:pt x="44" y="37"/>
                    <a:pt x="44" y="34"/>
                  </a:cubicBezTo>
                  <a:cubicBezTo>
                    <a:pt x="47" y="34"/>
                    <a:pt x="49" y="35"/>
                    <a:pt x="52" y="35"/>
                  </a:cubicBezTo>
                  <a:cubicBezTo>
                    <a:pt x="50" y="40"/>
                    <a:pt x="45" y="44"/>
                    <a:pt x="46" y="50"/>
                  </a:cubicBezTo>
                  <a:cubicBezTo>
                    <a:pt x="46" y="51"/>
                    <a:pt x="47" y="51"/>
                    <a:pt x="48" y="52"/>
                  </a:cubicBezTo>
                  <a:cubicBezTo>
                    <a:pt x="50" y="51"/>
                    <a:pt x="53" y="49"/>
                    <a:pt x="56" y="50"/>
                  </a:cubicBezTo>
                  <a:cubicBezTo>
                    <a:pt x="55" y="54"/>
                    <a:pt x="53" y="57"/>
                    <a:pt x="52" y="61"/>
                  </a:cubicBezTo>
                  <a:cubicBezTo>
                    <a:pt x="45" y="56"/>
                    <a:pt x="44" y="49"/>
                    <a:pt x="32" y="4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13" name="ï$ľíḍe"/>
            <p:cNvSpPr/>
            <p:nvPr/>
          </p:nvSpPr>
          <p:spPr bwMode="auto">
            <a:xfrm>
              <a:off x="2255734" y="4491628"/>
              <a:ext cx="136525" cy="174625"/>
            </a:xfrm>
            <a:custGeom>
              <a:avLst/>
              <a:gdLst>
                <a:gd name="T0" fmla="*/ 74 w 74"/>
                <a:gd name="T1" fmla="*/ 41 h 94"/>
                <a:gd name="T2" fmla="*/ 64 w 74"/>
                <a:gd name="T3" fmla="*/ 35 h 94"/>
                <a:gd name="T4" fmla="*/ 51 w 74"/>
                <a:gd name="T5" fmla="*/ 5 h 94"/>
                <a:gd name="T6" fmla="*/ 58 w 74"/>
                <a:gd name="T7" fmla="*/ 39 h 94"/>
                <a:gd name="T8" fmla="*/ 47 w 74"/>
                <a:gd name="T9" fmla="*/ 47 h 94"/>
                <a:gd name="T10" fmla="*/ 55 w 74"/>
                <a:gd name="T11" fmla="*/ 34 h 94"/>
                <a:gd name="T12" fmla="*/ 47 w 74"/>
                <a:gd name="T13" fmla="*/ 29 h 94"/>
                <a:gd name="T14" fmla="*/ 54 w 74"/>
                <a:gd name="T15" fmla="*/ 22 h 94"/>
                <a:gd name="T16" fmla="*/ 54 w 74"/>
                <a:gd name="T17" fmla="*/ 20 h 94"/>
                <a:gd name="T18" fmla="*/ 54 w 74"/>
                <a:gd name="T19" fmla="*/ 19 h 94"/>
                <a:gd name="T20" fmla="*/ 41 w 74"/>
                <a:gd name="T21" fmla="*/ 19 h 94"/>
                <a:gd name="T22" fmla="*/ 44 w 74"/>
                <a:gd name="T23" fmla="*/ 22 h 94"/>
                <a:gd name="T24" fmla="*/ 44 w 74"/>
                <a:gd name="T25" fmla="*/ 32 h 94"/>
                <a:gd name="T26" fmla="*/ 48 w 74"/>
                <a:gd name="T27" fmla="*/ 37 h 94"/>
                <a:gd name="T28" fmla="*/ 40 w 74"/>
                <a:gd name="T29" fmla="*/ 58 h 94"/>
                <a:gd name="T30" fmla="*/ 44 w 74"/>
                <a:gd name="T31" fmla="*/ 61 h 94"/>
                <a:gd name="T32" fmla="*/ 59 w 74"/>
                <a:gd name="T33" fmla="*/ 46 h 94"/>
                <a:gd name="T34" fmla="*/ 59 w 74"/>
                <a:gd name="T35" fmla="*/ 46 h 94"/>
                <a:gd name="T36" fmla="*/ 66 w 74"/>
                <a:gd name="T37" fmla="*/ 93 h 94"/>
                <a:gd name="T38" fmla="*/ 68 w 74"/>
                <a:gd name="T39" fmla="*/ 93 h 94"/>
                <a:gd name="T40" fmla="*/ 65 w 74"/>
                <a:gd name="T41" fmla="*/ 42 h 94"/>
                <a:gd name="T42" fmla="*/ 73 w 74"/>
                <a:gd name="T43" fmla="*/ 41 h 94"/>
                <a:gd name="T44" fmla="*/ 74 w 74"/>
                <a:gd name="T45" fmla="*/ 41 h 94"/>
                <a:gd name="T46" fmla="*/ 43 w 74"/>
                <a:gd name="T47" fmla="*/ 42 h 94"/>
                <a:gd name="T48" fmla="*/ 35 w 74"/>
                <a:gd name="T49" fmla="*/ 48 h 94"/>
                <a:gd name="T50" fmla="*/ 39 w 74"/>
                <a:gd name="T51" fmla="*/ 38 h 94"/>
                <a:gd name="T52" fmla="*/ 37 w 74"/>
                <a:gd name="T53" fmla="*/ 29 h 94"/>
                <a:gd name="T54" fmla="*/ 40 w 74"/>
                <a:gd name="T55" fmla="*/ 27 h 94"/>
                <a:gd name="T56" fmla="*/ 34 w 74"/>
                <a:gd name="T57" fmla="*/ 16 h 94"/>
                <a:gd name="T58" fmla="*/ 32 w 74"/>
                <a:gd name="T59" fmla="*/ 15 h 94"/>
                <a:gd name="T60" fmla="*/ 4 w 74"/>
                <a:gd name="T61" fmla="*/ 46 h 94"/>
                <a:gd name="T62" fmla="*/ 30 w 74"/>
                <a:gd name="T63" fmla="*/ 29 h 94"/>
                <a:gd name="T64" fmla="*/ 8 w 74"/>
                <a:gd name="T65" fmla="*/ 52 h 94"/>
                <a:gd name="T66" fmla="*/ 0 w 74"/>
                <a:gd name="T67" fmla="*/ 56 h 94"/>
                <a:gd name="T68" fmla="*/ 3 w 74"/>
                <a:gd name="T69" fmla="*/ 61 h 94"/>
                <a:gd name="T70" fmla="*/ 23 w 74"/>
                <a:gd name="T71" fmla="*/ 54 h 94"/>
                <a:gd name="T72" fmla="*/ 25 w 74"/>
                <a:gd name="T73" fmla="*/ 53 h 94"/>
                <a:gd name="T74" fmla="*/ 25 w 74"/>
                <a:gd name="T75" fmla="*/ 53 h 94"/>
                <a:gd name="T76" fmla="*/ 20 w 74"/>
                <a:gd name="T77" fmla="*/ 72 h 94"/>
                <a:gd name="T78" fmla="*/ 25 w 74"/>
                <a:gd name="T79" fmla="*/ 76 h 94"/>
                <a:gd name="T80" fmla="*/ 26 w 74"/>
                <a:gd name="T81" fmla="*/ 76 h 94"/>
                <a:gd name="T82" fmla="*/ 30 w 74"/>
                <a:gd name="T83" fmla="*/ 67 h 94"/>
                <a:gd name="T84" fmla="*/ 31 w 74"/>
                <a:gd name="T85" fmla="*/ 66 h 94"/>
                <a:gd name="T86" fmla="*/ 32 w 74"/>
                <a:gd name="T87" fmla="*/ 75 h 94"/>
                <a:gd name="T88" fmla="*/ 35 w 74"/>
                <a:gd name="T89" fmla="*/ 76 h 94"/>
                <a:gd name="T90" fmla="*/ 38 w 74"/>
                <a:gd name="T91" fmla="*/ 76 h 94"/>
                <a:gd name="T92" fmla="*/ 35 w 74"/>
                <a:gd name="T93" fmla="*/ 61 h 94"/>
                <a:gd name="T94" fmla="*/ 43 w 74"/>
                <a:gd name="T95" fmla="*/ 42 h 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74" h="94">
                  <a:moveTo>
                    <a:pt x="74" y="41"/>
                  </a:moveTo>
                  <a:cubicBezTo>
                    <a:pt x="73" y="36"/>
                    <a:pt x="70" y="34"/>
                    <a:pt x="64" y="35"/>
                  </a:cubicBezTo>
                  <a:cubicBezTo>
                    <a:pt x="63" y="24"/>
                    <a:pt x="67" y="0"/>
                    <a:pt x="51" y="5"/>
                  </a:cubicBezTo>
                  <a:cubicBezTo>
                    <a:pt x="50" y="9"/>
                    <a:pt x="61" y="31"/>
                    <a:pt x="58" y="39"/>
                  </a:cubicBezTo>
                  <a:cubicBezTo>
                    <a:pt x="58" y="39"/>
                    <a:pt x="47" y="47"/>
                    <a:pt x="47" y="47"/>
                  </a:cubicBezTo>
                  <a:cubicBezTo>
                    <a:pt x="48" y="41"/>
                    <a:pt x="53" y="39"/>
                    <a:pt x="55" y="34"/>
                  </a:cubicBezTo>
                  <a:cubicBezTo>
                    <a:pt x="56" y="30"/>
                    <a:pt x="49" y="31"/>
                    <a:pt x="47" y="29"/>
                  </a:cubicBezTo>
                  <a:cubicBezTo>
                    <a:pt x="48" y="26"/>
                    <a:pt x="51" y="23"/>
                    <a:pt x="54" y="22"/>
                  </a:cubicBezTo>
                  <a:cubicBezTo>
                    <a:pt x="54" y="21"/>
                    <a:pt x="54" y="21"/>
                    <a:pt x="54" y="20"/>
                  </a:cubicBezTo>
                  <a:cubicBezTo>
                    <a:pt x="54" y="20"/>
                    <a:pt x="54" y="19"/>
                    <a:pt x="54" y="19"/>
                  </a:cubicBezTo>
                  <a:cubicBezTo>
                    <a:pt x="50" y="17"/>
                    <a:pt x="45" y="17"/>
                    <a:pt x="41" y="19"/>
                  </a:cubicBezTo>
                  <a:cubicBezTo>
                    <a:pt x="41" y="22"/>
                    <a:pt x="42" y="22"/>
                    <a:pt x="44" y="22"/>
                  </a:cubicBezTo>
                  <a:cubicBezTo>
                    <a:pt x="44" y="26"/>
                    <a:pt x="44" y="29"/>
                    <a:pt x="44" y="32"/>
                  </a:cubicBezTo>
                  <a:cubicBezTo>
                    <a:pt x="45" y="34"/>
                    <a:pt x="47" y="35"/>
                    <a:pt x="48" y="37"/>
                  </a:cubicBezTo>
                  <a:cubicBezTo>
                    <a:pt x="46" y="41"/>
                    <a:pt x="35" y="51"/>
                    <a:pt x="40" y="58"/>
                  </a:cubicBezTo>
                  <a:cubicBezTo>
                    <a:pt x="41" y="60"/>
                    <a:pt x="42" y="60"/>
                    <a:pt x="44" y="61"/>
                  </a:cubicBezTo>
                  <a:cubicBezTo>
                    <a:pt x="49" y="55"/>
                    <a:pt x="51" y="50"/>
                    <a:pt x="59" y="46"/>
                  </a:cubicBezTo>
                  <a:cubicBezTo>
                    <a:pt x="59" y="46"/>
                    <a:pt x="59" y="46"/>
                    <a:pt x="59" y="46"/>
                  </a:cubicBezTo>
                  <a:cubicBezTo>
                    <a:pt x="61" y="60"/>
                    <a:pt x="59" y="83"/>
                    <a:pt x="66" y="93"/>
                  </a:cubicBezTo>
                  <a:cubicBezTo>
                    <a:pt x="67" y="94"/>
                    <a:pt x="67" y="93"/>
                    <a:pt x="68" y="93"/>
                  </a:cubicBezTo>
                  <a:cubicBezTo>
                    <a:pt x="68" y="78"/>
                    <a:pt x="67" y="60"/>
                    <a:pt x="65" y="42"/>
                  </a:cubicBezTo>
                  <a:cubicBezTo>
                    <a:pt x="68" y="42"/>
                    <a:pt x="72" y="42"/>
                    <a:pt x="73" y="41"/>
                  </a:cubicBezTo>
                  <a:cubicBezTo>
                    <a:pt x="74" y="41"/>
                    <a:pt x="74" y="41"/>
                    <a:pt x="74" y="41"/>
                  </a:cubicBezTo>
                  <a:close/>
                  <a:moveTo>
                    <a:pt x="43" y="42"/>
                  </a:moveTo>
                  <a:cubicBezTo>
                    <a:pt x="39" y="44"/>
                    <a:pt x="38" y="46"/>
                    <a:pt x="35" y="48"/>
                  </a:cubicBezTo>
                  <a:cubicBezTo>
                    <a:pt x="35" y="42"/>
                    <a:pt x="39" y="42"/>
                    <a:pt x="39" y="38"/>
                  </a:cubicBezTo>
                  <a:cubicBezTo>
                    <a:pt x="40" y="35"/>
                    <a:pt x="37" y="33"/>
                    <a:pt x="37" y="29"/>
                  </a:cubicBezTo>
                  <a:cubicBezTo>
                    <a:pt x="38" y="28"/>
                    <a:pt x="39" y="28"/>
                    <a:pt x="40" y="27"/>
                  </a:cubicBezTo>
                  <a:cubicBezTo>
                    <a:pt x="41" y="24"/>
                    <a:pt x="36" y="16"/>
                    <a:pt x="34" y="16"/>
                  </a:cubicBezTo>
                  <a:cubicBezTo>
                    <a:pt x="33" y="16"/>
                    <a:pt x="32" y="15"/>
                    <a:pt x="32" y="15"/>
                  </a:cubicBezTo>
                  <a:cubicBezTo>
                    <a:pt x="22" y="28"/>
                    <a:pt x="10" y="30"/>
                    <a:pt x="4" y="46"/>
                  </a:cubicBezTo>
                  <a:cubicBezTo>
                    <a:pt x="13" y="41"/>
                    <a:pt x="17" y="31"/>
                    <a:pt x="30" y="29"/>
                  </a:cubicBezTo>
                  <a:cubicBezTo>
                    <a:pt x="29" y="39"/>
                    <a:pt x="16" y="48"/>
                    <a:pt x="8" y="52"/>
                  </a:cubicBezTo>
                  <a:cubicBezTo>
                    <a:pt x="4" y="54"/>
                    <a:pt x="2" y="52"/>
                    <a:pt x="0" y="56"/>
                  </a:cubicBezTo>
                  <a:cubicBezTo>
                    <a:pt x="0" y="59"/>
                    <a:pt x="1" y="60"/>
                    <a:pt x="3" y="61"/>
                  </a:cubicBezTo>
                  <a:cubicBezTo>
                    <a:pt x="10" y="63"/>
                    <a:pt x="22" y="58"/>
                    <a:pt x="23" y="54"/>
                  </a:cubicBezTo>
                  <a:cubicBezTo>
                    <a:pt x="24" y="54"/>
                    <a:pt x="24" y="53"/>
                    <a:pt x="25" y="53"/>
                  </a:cubicBezTo>
                  <a:cubicBezTo>
                    <a:pt x="25" y="53"/>
                    <a:pt x="25" y="53"/>
                    <a:pt x="25" y="53"/>
                  </a:cubicBezTo>
                  <a:cubicBezTo>
                    <a:pt x="23" y="59"/>
                    <a:pt x="22" y="66"/>
                    <a:pt x="20" y="72"/>
                  </a:cubicBezTo>
                  <a:cubicBezTo>
                    <a:pt x="21" y="74"/>
                    <a:pt x="23" y="75"/>
                    <a:pt x="25" y="76"/>
                  </a:cubicBezTo>
                  <a:cubicBezTo>
                    <a:pt x="25" y="76"/>
                    <a:pt x="26" y="76"/>
                    <a:pt x="26" y="76"/>
                  </a:cubicBezTo>
                  <a:cubicBezTo>
                    <a:pt x="28" y="73"/>
                    <a:pt x="29" y="70"/>
                    <a:pt x="30" y="67"/>
                  </a:cubicBezTo>
                  <a:cubicBezTo>
                    <a:pt x="31" y="67"/>
                    <a:pt x="31" y="67"/>
                    <a:pt x="31" y="66"/>
                  </a:cubicBezTo>
                  <a:cubicBezTo>
                    <a:pt x="32" y="69"/>
                    <a:pt x="32" y="72"/>
                    <a:pt x="32" y="75"/>
                  </a:cubicBezTo>
                  <a:cubicBezTo>
                    <a:pt x="33" y="75"/>
                    <a:pt x="34" y="76"/>
                    <a:pt x="35" y="76"/>
                  </a:cubicBezTo>
                  <a:cubicBezTo>
                    <a:pt x="36" y="76"/>
                    <a:pt x="37" y="76"/>
                    <a:pt x="38" y="76"/>
                  </a:cubicBezTo>
                  <a:cubicBezTo>
                    <a:pt x="37" y="71"/>
                    <a:pt x="36" y="66"/>
                    <a:pt x="35" y="61"/>
                  </a:cubicBezTo>
                  <a:cubicBezTo>
                    <a:pt x="38" y="54"/>
                    <a:pt x="40" y="48"/>
                    <a:pt x="43" y="4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14" name="î$ḻîḑe"/>
            <p:cNvSpPr/>
            <p:nvPr/>
          </p:nvSpPr>
          <p:spPr bwMode="auto">
            <a:xfrm>
              <a:off x="2055709" y="4566240"/>
              <a:ext cx="136525" cy="150813"/>
            </a:xfrm>
            <a:custGeom>
              <a:avLst/>
              <a:gdLst>
                <a:gd name="T0" fmla="*/ 55 w 74"/>
                <a:gd name="T1" fmla="*/ 53 h 82"/>
                <a:gd name="T2" fmla="*/ 54 w 74"/>
                <a:gd name="T3" fmla="*/ 51 h 82"/>
                <a:gd name="T4" fmla="*/ 57 w 74"/>
                <a:gd name="T5" fmla="*/ 49 h 82"/>
                <a:gd name="T6" fmla="*/ 56 w 74"/>
                <a:gd name="T7" fmla="*/ 45 h 82"/>
                <a:gd name="T8" fmla="*/ 52 w 74"/>
                <a:gd name="T9" fmla="*/ 45 h 82"/>
                <a:gd name="T10" fmla="*/ 51 w 74"/>
                <a:gd name="T11" fmla="*/ 44 h 82"/>
                <a:gd name="T12" fmla="*/ 60 w 74"/>
                <a:gd name="T13" fmla="*/ 32 h 82"/>
                <a:gd name="T14" fmla="*/ 60 w 74"/>
                <a:gd name="T15" fmla="*/ 30 h 82"/>
                <a:gd name="T16" fmla="*/ 34 w 74"/>
                <a:gd name="T17" fmla="*/ 38 h 82"/>
                <a:gd name="T18" fmla="*/ 33 w 74"/>
                <a:gd name="T19" fmla="*/ 38 h 82"/>
                <a:gd name="T20" fmla="*/ 60 w 74"/>
                <a:gd name="T21" fmla="*/ 16 h 82"/>
                <a:gd name="T22" fmla="*/ 61 w 74"/>
                <a:gd name="T23" fmla="*/ 10 h 82"/>
                <a:gd name="T24" fmla="*/ 42 w 74"/>
                <a:gd name="T25" fmla="*/ 11 h 82"/>
                <a:gd name="T26" fmla="*/ 27 w 74"/>
                <a:gd name="T27" fmla="*/ 0 h 82"/>
                <a:gd name="T28" fmla="*/ 24 w 74"/>
                <a:gd name="T29" fmla="*/ 0 h 82"/>
                <a:gd name="T30" fmla="*/ 29 w 74"/>
                <a:gd name="T31" fmla="*/ 21 h 82"/>
                <a:gd name="T32" fmla="*/ 11 w 74"/>
                <a:gd name="T33" fmla="*/ 39 h 82"/>
                <a:gd name="T34" fmla="*/ 1 w 74"/>
                <a:gd name="T35" fmla="*/ 44 h 82"/>
                <a:gd name="T36" fmla="*/ 0 w 74"/>
                <a:gd name="T37" fmla="*/ 47 h 82"/>
                <a:gd name="T38" fmla="*/ 35 w 74"/>
                <a:gd name="T39" fmla="*/ 26 h 82"/>
                <a:gd name="T40" fmla="*/ 35 w 74"/>
                <a:gd name="T41" fmla="*/ 26 h 82"/>
                <a:gd name="T42" fmla="*/ 30 w 74"/>
                <a:gd name="T43" fmla="*/ 48 h 82"/>
                <a:gd name="T44" fmla="*/ 40 w 74"/>
                <a:gd name="T45" fmla="*/ 57 h 82"/>
                <a:gd name="T46" fmla="*/ 35 w 74"/>
                <a:gd name="T47" fmla="*/ 78 h 82"/>
                <a:gd name="T48" fmla="*/ 45 w 74"/>
                <a:gd name="T49" fmla="*/ 82 h 82"/>
                <a:gd name="T50" fmla="*/ 47 w 74"/>
                <a:gd name="T51" fmla="*/ 80 h 82"/>
                <a:gd name="T52" fmla="*/ 46 w 74"/>
                <a:gd name="T53" fmla="*/ 67 h 82"/>
                <a:gd name="T54" fmla="*/ 47 w 74"/>
                <a:gd name="T55" fmla="*/ 66 h 82"/>
                <a:gd name="T56" fmla="*/ 50 w 74"/>
                <a:gd name="T57" fmla="*/ 73 h 82"/>
                <a:gd name="T58" fmla="*/ 58 w 74"/>
                <a:gd name="T59" fmla="*/ 79 h 82"/>
                <a:gd name="T60" fmla="*/ 59 w 74"/>
                <a:gd name="T61" fmla="*/ 79 h 82"/>
                <a:gd name="T62" fmla="*/ 53 w 74"/>
                <a:gd name="T63" fmla="*/ 57 h 82"/>
                <a:gd name="T64" fmla="*/ 56 w 74"/>
                <a:gd name="T65" fmla="*/ 55 h 82"/>
                <a:gd name="T66" fmla="*/ 56 w 74"/>
                <a:gd name="T67" fmla="*/ 55 h 82"/>
                <a:gd name="T68" fmla="*/ 69 w 74"/>
                <a:gd name="T69" fmla="*/ 69 h 82"/>
                <a:gd name="T70" fmla="*/ 74 w 74"/>
                <a:gd name="T71" fmla="*/ 64 h 82"/>
                <a:gd name="T72" fmla="*/ 55 w 74"/>
                <a:gd name="T73" fmla="*/ 53 h 82"/>
                <a:gd name="T74" fmla="*/ 40 w 74"/>
                <a:gd name="T75" fmla="*/ 46 h 82"/>
                <a:gd name="T76" fmla="*/ 39 w 74"/>
                <a:gd name="T77" fmla="*/ 46 h 82"/>
                <a:gd name="T78" fmla="*/ 38 w 74"/>
                <a:gd name="T79" fmla="*/ 46 h 82"/>
                <a:gd name="T80" fmla="*/ 37 w 74"/>
                <a:gd name="T81" fmla="*/ 44 h 82"/>
                <a:gd name="T82" fmla="*/ 44 w 74"/>
                <a:gd name="T83" fmla="*/ 36 h 82"/>
                <a:gd name="T84" fmla="*/ 46 w 74"/>
                <a:gd name="T85" fmla="*/ 35 h 82"/>
                <a:gd name="T86" fmla="*/ 46 w 74"/>
                <a:gd name="T87" fmla="*/ 35 h 82"/>
                <a:gd name="T88" fmla="*/ 40 w 74"/>
                <a:gd name="T89" fmla="*/ 46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74" h="82">
                  <a:moveTo>
                    <a:pt x="55" y="53"/>
                  </a:moveTo>
                  <a:cubicBezTo>
                    <a:pt x="55" y="53"/>
                    <a:pt x="54" y="52"/>
                    <a:pt x="54" y="51"/>
                  </a:cubicBezTo>
                  <a:cubicBezTo>
                    <a:pt x="55" y="51"/>
                    <a:pt x="56" y="50"/>
                    <a:pt x="57" y="49"/>
                  </a:cubicBezTo>
                  <a:cubicBezTo>
                    <a:pt x="57" y="48"/>
                    <a:pt x="56" y="47"/>
                    <a:pt x="56" y="45"/>
                  </a:cubicBezTo>
                  <a:cubicBezTo>
                    <a:pt x="54" y="45"/>
                    <a:pt x="53" y="45"/>
                    <a:pt x="52" y="45"/>
                  </a:cubicBezTo>
                  <a:cubicBezTo>
                    <a:pt x="51" y="45"/>
                    <a:pt x="51" y="44"/>
                    <a:pt x="51" y="44"/>
                  </a:cubicBezTo>
                  <a:cubicBezTo>
                    <a:pt x="53" y="40"/>
                    <a:pt x="59" y="36"/>
                    <a:pt x="60" y="32"/>
                  </a:cubicBezTo>
                  <a:cubicBezTo>
                    <a:pt x="60" y="31"/>
                    <a:pt x="60" y="31"/>
                    <a:pt x="60" y="30"/>
                  </a:cubicBezTo>
                  <a:cubicBezTo>
                    <a:pt x="50" y="21"/>
                    <a:pt x="41" y="31"/>
                    <a:pt x="34" y="38"/>
                  </a:cubicBezTo>
                  <a:cubicBezTo>
                    <a:pt x="33" y="38"/>
                    <a:pt x="33" y="38"/>
                    <a:pt x="33" y="38"/>
                  </a:cubicBezTo>
                  <a:cubicBezTo>
                    <a:pt x="34" y="30"/>
                    <a:pt x="48" y="16"/>
                    <a:pt x="60" y="16"/>
                  </a:cubicBezTo>
                  <a:cubicBezTo>
                    <a:pt x="61" y="14"/>
                    <a:pt x="61" y="12"/>
                    <a:pt x="61" y="10"/>
                  </a:cubicBezTo>
                  <a:cubicBezTo>
                    <a:pt x="50" y="3"/>
                    <a:pt x="52" y="11"/>
                    <a:pt x="42" y="11"/>
                  </a:cubicBezTo>
                  <a:cubicBezTo>
                    <a:pt x="38" y="10"/>
                    <a:pt x="32" y="1"/>
                    <a:pt x="27" y="0"/>
                  </a:cubicBezTo>
                  <a:cubicBezTo>
                    <a:pt x="26" y="0"/>
                    <a:pt x="25" y="0"/>
                    <a:pt x="24" y="0"/>
                  </a:cubicBezTo>
                  <a:cubicBezTo>
                    <a:pt x="21" y="5"/>
                    <a:pt x="30" y="14"/>
                    <a:pt x="29" y="21"/>
                  </a:cubicBezTo>
                  <a:cubicBezTo>
                    <a:pt x="19" y="27"/>
                    <a:pt x="17" y="33"/>
                    <a:pt x="11" y="39"/>
                  </a:cubicBezTo>
                  <a:cubicBezTo>
                    <a:pt x="8" y="42"/>
                    <a:pt x="4" y="42"/>
                    <a:pt x="1" y="44"/>
                  </a:cubicBezTo>
                  <a:cubicBezTo>
                    <a:pt x="1" y="45"/>
                    <a:pt x="0" y="46"/>
                    <a:pt x="0" y="47"/>
                  </a:cubicBezTo>
                  <a:cubicBezTo>
                    <a:pt x="11" y="69"/>
                    <a:pt x="23" y="30"/>
                    <a:pt x="35" y="26"/>
                  </a:cubicBezTo>
                  <a:cubicBezTo>
                    <a:pt x="35" y="26"/>
                    <a:pt x="35" y="26"/>
                    <a:pt x="35" y="26"/>
                  </a:cubicBezTo>
                  <a:cubicBezTo>
                    <a:pt x="33" y="33"/>
                    <a:pt x="28" y="39"/>
                    <a:pt x="30" y="48"/>
                  </a:cubicBezTo>
                  <a:cubicBezTo>
                    <a:pt x="30" y="51"/>
                    <a:pt x="37" y="56"/>
                    <a:pt x="40" y="57"/>
                  </a:cubicBezTo>
                  <a:cubicBezTo>
                    <a:pt x="37" y="64"/>
                    <a:pt x="32" y="69"/>
                    <a:pt x="35" y="78"/>
                  </a:cubicBezTo>
                  <a:cubicBezTo>
                    <a:pt x="39" y="79"/>
                    <a:pt x="42" y="80"/>
                    <a:pt x="45" y="82"/>
                  </a:cubicBezTo>
                  <a:cubicBezTo>
                    <a:pt x="46" y="81"/>
                    <a:pt x="46" y="81"/>
                    <a:pt x="47" y="80"/>
                  </a:cubicBezTo>
                  <a:cubicBezTo>
                    <a:pt x="49" y="77"/>
                    <a:pt x="45" y="70"/>
                    <a:pt x="46" y="67"/>
                  </a:cubicBezTo>
                  <a:cubicBezTo>
                    <a:pt x="46" y="66"/>
                    <a:pt x="46" y="66"/>
                    <a:pt x="47" y="66"/>
                  </a:cubicBezTo>
                  <a:cubicBezTo>
                    <a:pt x="48" y="67"/>
                    <a:pt x="49" y="71"/>
                    <a:pt x="50" y="73"/>
                  </a:cubicBezTo>
                  <a:cubicBezTo>
                    <a:pt x="52" y="76"/>
                    <a:pt x="55" y="77"/>
                    <a:pt x="58" y="79"/>
                  </a:cubicBezTo>
                  <a:cubicBezTo>
                    <a:pt x="58" y="79"/>
                    <a:pt x="58" y="79"/>
                    <a:pt x="59" y="79"/>
                  </a:cubicBezTo>
                  <a:cubicBezTo>
                    <a:pt x="60" y="72"/>
                    <a:pt x="53" y="64"/>
                    <a:pt x="53" y="57"/>
                  </a:cubicBezTo>
                  <a:cubicBezTo>
                    <a:pt x="54" y="56"/>
                    <a:pt x="55" y="56"/>
                    <a:pt x="56" y="55"/>
                  </a:cubicBezTo>
                  <a:cubicBezTo>
                    <a:pt x="56" y="55"/>
                    <a:pt x="56" y="55"/>
                    <a:pt x="56" y="55"/>
                  </a:cubicBezTo>
                  <a:cubicBezTo>
                    <a:pt x="63" y="60"/>
                    <a:pt x="59" y="67"/>
                    <a:pt x="69" y="69"/>
                  </a:cubicBezTo>
                  <a:cubicBezTo>
                    <a:pt x="71" y="67"/>
                    <a:pt x="72" y="66"/>
                    <a:pt x="74" y="64"/>
                  </a:cubicBezTo>
                  <a:cubicBezTo>
                    <a:pt x="71" y="56"/>
                    <a:pt x="63" y="51"/>
                    <a:pt x="55" y="53"/>
                  </a:cubicBezTo>
                  <a:close/>
                  <a:moveTo>
                    <a:pt x="40" y="46"/>
                  </a:moveTo>
                  <a:cubicBezTo>
                    <a:pt x="40" y="46"/>
                    <a:pt x="39" y="46"/>
                    <a:pt x="39" y="46"/>
                  </a:cubicBezTo>
                  <a:cubicBezTo>
                    <a:pt x="38" y="46"/>
                    <a:pt x="38" y="46"/>
                    <a:pt x="38" y="46"/>
                  </a:cubicBezTo>
                  <a:cubicBezTo>
                    <a:pt x="38" y="45"/>
                    <a:pt x="37" y="45"/>
                    <a:pt x="37" y="44"/>
                  </a:cubicBezTo>
                  <a:cubicBezTo>
                    <a:pt x="39" y="41"/>
                    <a:pt x="42" y="39"/>
                    <a:pt x="44" y="36"/>
                  </a:cubicBezTo>
                  <a:cubicBezTo>
                    <a:pt x="45" y="36"/>
                    <a:pt x="45" y="35"/>
                    <a:pt x="46" y="35"/>
                  </a:cubicBezTo>
                  <a:cubicBezTo>
                    <a:pt x="46" y="35"/>
                    <a:pt x="46" y="35"/>
                    <a:pt x="46" y="35"/>
                  </a:cubicBezTo>
                  <a:cubicBezTo>
                    <a:pt x="44" y="39"/>
                    <a:pt x="42" y="42"/>
                    <a:pt x="40" y="4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15" name="ïşḻíḍe"/>
            <p:cNvSpPr/>
            <p:nvPr/>
          </p:nvSpPr>
          <p:spPr bwMode="auto">
            <a:xfrm>
              <a:off x="1882672" y="4669428"/>
              <a:ext cx="160338" cy="169863"/>
            </a:xfrm>
            <a:custGeom>
              <a:avLst/>
              <a:gdLst>
                <a:gd name="T0" fmla="*/ 29 w 87"/>
                <a:gd name="T1" fmla="*/ 8 h 92"/>
                <a:gd name="T2" fmla="*/ 52 w 87"/>
                <a:gd name="T3" fmla="*/ 17 h 92"/>
                <a:gd name="T4" fmla="*/ 61 w 87"/>
                <a:gd name="T5" fmla="*/ 16 h 92"/>
                <a:gd name="T6" fmla="*/ 62 w 87"/>
                <a:gd name="T7" fmla="*/ 17 h 92"/>
                <a:gd name="T8" fmla="*/ 69 w 87"/>
                <a:gd name="T9" fmla="*/ 42 h 92"/>
                <a:gd name="T10" fmla="*/ 86 w 87"/>
                <a:gd name="T11" fmla="*/ 35 h 92"/>
                <a:gd name="T12" fmla="*/ 87 w 87"/>
                <a:gd name="T13" fmla="*/ 39 h 92"/>
                <a:gd name="T14" fmla="*/ 76 w 87"/>
                <a:gd name="T15" fmla="*/ 55 h 92"/>
                <a:gd name="T16" fmla="*/ 67 w 87"/>
                <a:gd name="T17" fmla="*/ 76 h 92"/>
                <a:gd name="T18" fmla="*/ 65 w 87"/>
                <a:gd name="T19" fmla="*/ 74 h 92"/>
                <a:gd name="T20" fmla="*/ 69 w 87"/>
                <a:gd name="T21" fmla="*/ 53 h 92"/>
                <a:gd name="T22" fmla="*/ 55 w 87"/>
                <a:gd name="T23" fmla="*/ 40 h 92"/>
                <a:gd name="T24" fmla="*/ 45 w 87"/>
                <a:gd name="T25" fmla="*/ 44 h 92"/>
                <a:gd name="T26" fmla="*/ 46 w 87"/>
                <a:gd name="T27" fmla="*/ 89 h 92"/>
                <a:gd name="T28" fmla="*/ 38 w 87"/>
                <a:gd name="T29" fmla="*/ 92 h 92"/>
                <a:gd name="T30" fmla="*/ 27 w 87"/>
                <a:gd name="T31" fmla="*/ 68 h 92"/>
                <a:gd name="T32" fmla="*/ 14 w 87"/>
                <a:gd name="T33" fmla="*/ 70 h 92"/>
                <a:gd name="T34" fmla="*/ 12 w 87"/>
                <a:gd name="T35" fmla="*/ 65 h 92"/>
                <a:gd name="T36" fmla="*/ 18 w 87"/>
                <a:gd name="T37" fmla="*/ 58 h 92"/>
                <a:gd name="T38" fmla="*/ 0 w 87"/>
                <a:gd name="T39" fmla="*/ 42 h 92"/>
                <a:gd name="T40" fmla="*/ 0 w 87"/>
                <a:gd name="T41" fmla="*/ 42 h 92"/>
                <a:gd name="T42" fmla="*/ 21 w 87"/>
                <a:gd name="T43" fmla="*/ 39 h 92"/>
                <a:gd name="T44" fmla="*/ 27 w 87"/>
                <a:gd name="T45" fmla="*/ 48 h 92"/>
                <a:gd name="T46" fmla="*/ 34 w 87"/>
                <a:gd name="T47" fmla="*/ 52 h 92"/>
                <a:gd name="T48" fmla="*/ 36 w 87"/>
                <a:gd name="T49" fmla="*/ 62 h 92"/>
                <a:gd name="T50" fmla="*/ 39 w 87"/>
                <a:gd name="T51" fmla="*/ 44 h 92"/>
                <a:gd name="T52" fmla="*/ 46 w 87"/>
                <a:gd name="T53" fmla="*/ 28 h 92"/>
                <a:gd name="T54" fmla="*/ 29 w 87"/>
                <a:gd name="T55" fmla="*/ 8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87" h="92">
                  <a:moveTo>
                    <a:pt x="29" y="8"/>
                  </a:moveTo>
                  <a:cubicBezTo>
                    <a:pt x="42" y="0"/>
                    <a:pt x="43" y="12"/>
                    <a:pt x="52" y="17"/>
                  </a:cubicBezTo>
                  <a:cubicBezTo>
                    <a:pt x="55" y="15"/>
                    <a:pt x="58" y="15"/>
                    <a:pt x="61" y="16"/>
                  </a:cubicBezTo>
                  <a:cubicBezTo>
                    <a:pt x="61" y="16"/>
                    <a:pt x="62" y="17"/>
                    <a:pt x="62" y="17"/>
                  </a:cubicBezTo>
                  <a:cubicBezTo>
                    <a:pt x="62" y="26"/>
                    <a:pt x="58" y="33"/>
                    <a:pt x="69" y="42"/>
                  </a:cubicBezTo>
                  <a:cubicBezTo>
                    <a:pt x="75" y="35"/>
                    <a:pt x="80" y="33"/>
                    <a:pt x="86" y="35"/>
                  </a:cubicBezTo>
                  <a:cubicBezTo>
                    <a:pt x="87" y="36"/>
                    <a:pt x="87" y="38"/>
                    <a:pt x="87" y="39"/>
                  </a:cubicBezTo>
                  <a:cubicBezTo>
                    <a:pt x="83" y="45"/>
                    <a:pt x="80" y="50"/>
                    <a:pt x="76" y="55"/>
                  </a:cubicBezTo>
                  <a:cubicBezTo>
                    <a:pt x="71" y="62"/>
                    <a:pt x="71" y="70"/>
                    <a:pt x="67" y="76"/>
                  </a:cubicBezTo>
                  <a:cubicBezTo>
                    <a:pt x="66" y="75"/>
                    <a:pt x="66" y="75"/>
                    <a:pt x="65" y="74"/>
                  </a:cubicBezTo>
                  <a:cubicBezTo>
                    <a:pt x="63" y="66"/>
                    <a:pt x="67" y="60"/>
                    <a:pt x="69" y="53"/>
                  </a:cubicBezTo>
                  <a:cubicBezTo>
                    <a:pt x="64" y="51"/>
                    <a:pt x="60" y="46"/>
                    <a:pt x="55" y="40"/>
                  </a:cubicBezTo>
                  <a:cubicBezTo>
                    <a:pt x="52" y="42"/>
                    <a:pt x="49" y="41"/>
                    <a:pt x="45" y="44"/>
                  </a:cubicBezTo>
                  <a:cubicBezTo>
                    <a:pt x="40" y="59"/>
                    <a:pt x="48" y="75"/>
                    <a:pt x="46" y="89"/>
                  </a:cubicBezTo>
                  <a:cubicBezTo>
                    <a:pt x="43" y="92"/>
                    <a:pt x="41" y="91"/>
                    <a:pt x="38" y="92"/>
                  </a:cubicBezTo>
                  <a:cubicBezTo>
                    <a:pt x="31" y="83"/>
                    <a:pt x="33" y="76"/>
                    <a:pt x="27" y="68"/>
                  </a:cubicBezTo>
                  <a:cubicBezTo>
                    <a:pt x="23" y="71"/>
                    <a:pt x="18" y="71"/>
                    <a:pt x="14" y="70"/>
                  </a:cubicBezTo>
                  <a:cubicBezTo>
                    <a:pt x="12" y="68"/>
                    <a:pt x="12" y="67"/>
                    <a:pt x="12" y="65"/>
                  </a:cubicBezTo>
                  <a:cubicBezTo>
                    <a:pt x="14" y="63"/>
                    <a:pt x="16" y="60"/>
                    <a:pt x="18" y="58"/>
                  </a:cubicBezTo>
                  <a:cubicBezTo>
                    <a:pt x="13" y="49"/>
                    <a:pt x="3" y="48"/>
                    <a:pt x="0" y="42"/>
                  </a:cubicBezTo>
                  <a:cubicBezTo>
                    <a:pt x="0" y="42"/>
                    <a:pt x="0" y="42"/>
                    <a:pt x="0" y="42"/>
                  </a:cubicBezTo>
                  <a:cubicBezTo>
                    <a:pt x="6" y="39"/>
                    <a:pt x="15" y="35"/>
                    <a:pt x="21" y="39"/>
                  </a:cubicBezTo>
                  <a:cubicBezTo>
                    <a:pt x="23" y="42"/>
                    <a:pt x="25" y="45"/>
                    <a:pt x="27" y="48"/>
                  </a:cubicBezTo>
                  <a:cubicBezTo>
                    <a:pt x="29" y="50"/>
                    <a:pt x="31" y="51"/>
                    <a:pt x="34" y="52"/>
                  </a:cubicBezTo>
                  <a:cubicBezTo>
                    <a:pt x="34" y="55"/>
                    <a:pt x="35" y="58"/>
                    <a:pt x="36" y="62"/>
                  </a:cubicBezTo>
                  <a:cubicBezTo>
                    <a:pt x="39" y="56"/>
                    <a:pt x="38" y="50"/>
                    <a:pt x="39" y="44"/>
                  </a:cubicBezTo>
                  <a:cubicBezTo>
                    <a:pt x="42" y="39"/>
                    <a:pt x="44" y="34"/>
                    <a:pt x="46" y="28"/>
                  </a:cubicBezTo>
                  <a:cubicBezTo>
                    <a:pt x="42" y="22"/>
                    <a:pt x="31" y="15"/>
                    <a:pt x="29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16" name="íṩľíḑè"/>
            <p:cNvSpPr/>
            <p:nvPr/>
          </p:nvSpPr>
          <p:spPr bwMode="auto">
            <a:xfrm>
              <a:off x="2243034" y="6066428"/>
              <a:ext cx="22225" cy="25400"/>
            </a:xfrm>
            <a:custGeom>
              <a:avLst/>
              <a:gdLst>
                <a:gd name="T0" fmla="*/ 0 w 14"/>
                <a:gd name="T1" fmla="*/ 12 h 16"/>
                <a:gd name="T2" fmla="*/ 2 w 14"/>
                <a:gd name="T3" fmla="*/ 0 h 16"/>
                <a:gd name="T4" fmla="*/ 14 w 14"/>
                <a:gd name="T5" fmla="*/ 4 h 16"/>
                <a:gd name="T6" fmla="*/ 11 w 14"/>
                <a:gd name="T7" fmla="*/ 16 h 16"/>
                <a:gd name="T8" fmla="*/ 0 w 14"/>
                <a:gd name="T9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" h="16">
                  <a:moveTo>
                    <a:pt x="0" y="12"/>
                  </a:moveTo>
                  <a:lnTo>
                    <a:pt x="2" y="0"/>
                  </a:lnTo>
                  <a:lnTo>
                    <a:pt x="14" y="4"/>
                  </a:lnTo>
                  <a:lnTo>
                    <a:pt x="11" y="16"/>
                  </a:lnTo>
                  <a:lnTo>
                    <a:pt x="0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17" name="îṣḷïḓê"/>
            <p:cNvSpPr/>
            <p:nvPr/>
          </p:nvSpPr>
          <p:spPr bwMode="auto">
            <a:xfrm>
              <a:off x="2292247" y="6042615"/>
              <a:ext cx="49213" cy="100013"/>
            </a:xfrm>
            <a:custGeom>
              <a:avLst/>
              <a:gdLst>
                <a:gd name="T0" fmla="*/ 17 w 27"/>
                <a:gd name="T1" fmla="*/ 54 h 54"/>
                <a:gd name="T2" fmla="*/ 7 w 27"/>
                <a:gd name="T3" fmla="*/ 52 h 54"/>
                <a:gd name="T4" fmla="*/ 14 w 27"/>
                <a:gd name="T5" fmla="*/ 15 h 54"/>
                <a:gd name="T6" fmla="*/ 0 w 27"/>
                <a:gd name="T7" fmla="*/ 20 h 54"/>
                <a:gd name="T8" fmla="*/ 1 w 27"/>
                <a:gd name="T9" fmla="*/ 11 h 54"/>
                <a:gd name="T10" fmla="*/ 11 w 27"/>
                <a:gd name="T11" fmla="*/ 7 h 54"/>
                <a:gd name="T12" fmla="*/ 18 w 27"/>
                <a:gd name="T13" fmla="*/ 0 h 54"/>
                <a:gd name="T14" fmla="*/ 27 w 27"/>
                <a:gd name="T15" fmla="*/ 2 h 54"/>
                <a:gd name="T16" fmla="*/ 17 w 27"/>
                <a:gd name="T17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7" h="54">
                  <a:moveTo>
                    <a:pt x="17" y="54"/>
                  </a:moveTo>
                  <a:cubicBezTo>
                    <a:pt x="7" y="52"/>
                    <a:pt x="7" y="52"/>
                    <a:pt x="7" y="52"/>
                  </a:cubicBezTo>
                  <a:cubicBezTo>
                    <a:pt x="14" y="15"/>
                    <a:pt x="14" y="15"/>
                    <a:pt x="14" y="15"/>
                  </a:cubicBezTo>
                  <a:cubicBezTo>
                    <a:pt x="10" y="17"/>
                    <a:pt x="5" y="19"/>
                    <a:pt x="0" y="20"/>
                  </a:cubicBezTo>
                  <a:cubicBezTo>
                    <a:pt x="1" y="11"/>
                    <a:pt x="1" y="11"/>
                    <a:pt x="1" y="11"/>
                  </a:cubicBezTo>
                  <a:cubicBezTo>
                    <a:pt x="4" y="10"/>
                    <a:pt x="7" y="9"/>
                    <a:pt x="11" y="7"/>
                  </a:cubicBezTo>
                  <a:cubicBezTo>
                    <a:pt x="14" y="6"/>
                    <a:pt x="17" y="3"/>
                    <a:pt x="18" y="0"/>
                  </a:cubicBezTo>
                  <a:cubicBezTo>
                    <a:pt x="27" y="2"/>
                    <a:pt x="27" y="2"/>
                    <a:pt x="27" y="2"/>
                  </a:cubicBezTo>
                  <a:lnTo>
                    <a:pt x="17" y="5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18" name="i$ḻîḓé"/>
            <p:cNvSpPr/>
            <p:nvPr/>
          </p:nvSpPr>
          <p:spPr bwMode="auto">
            <a:xfrm>
              <a:off x="2363684" y="6052140"/>
              <a:ext cx="66675" cy="100013"/>
            </a:xfrm>
            <a:custGeom>
              <a:avLst/>
              <a:gdLst>
                <a:gd name="T0" fmla="*/ 0 w 36"/>
                <a:gd name="T1" fmla="*/ 40 h 54"/>
                <a:gd name="T2" fmla="*/ 10 w 36"/>
                <a:gd name="T3" fmla="*/ 39 h 54"/>
                <a:gd name="T4" fmla="*/ 11 w 36"/>
                <a:gd name="T5" fmla="*/ 44 h 54"/>
                <a:gd name="T6" fmla="*/ 15 w 36"/>
                <a:gd name="T7" fmla="*/ 46 h 54"/>
                <a:gd name="T8" fmla="*/ 21 w 36"/>
                <a:gd name="T9" fmla="*/ 43 h 54"/>
                <a:gd name="T10" fmla="*/ 24 w 36"/>
                <a:gd name="T11" fmla="*/ 31 h 54"/>
                <a:gd name="T12" fmla="*/ 15 w 36"/>
                <a:gd name="T13" fmla="*/ 35 h 54"/>
                <a:gd name="T14" fmla="*/ 4 w 36"/>
                <a:gd name="T15" fmla="*/ 30 h 54"/>
                <a:gd name="T16" fmla="*/ 0 w 36"/>
                <a:gd name="T17" fmla="*/ 17 h 54"/>
                <a:gd name="T18" fmla="*/ 6 w 36"/>
                <a:gd name="T19" fmla="*/ 4 h 54"/>
                <a:gd name="T20" fmla="*/ 19 w 36"/>
                <a:gd name="T21" fmla="*/ 0 h 54"/>
                <a:gd name="T22" fmla="*/ 31 w 36"/>
                <a:gd name="T23" fmla="*/ 7 h 54"/>
                <a:gd name="T24" fmla="*/ 35 w 36"/>
                <a:gd name="T25" fmla="*/ 28 h 54"/>
                <a:gd name="T26" fmla="*/ 28 w 36"/>
                <a:gd name="T27" fmla="*/ 49 h 54"/>
                <a:gd name="T28" fmla="*/ 14 w 36"/>
                <a:gd name="T29" fmla="*/ 54 h 54"/>
                <a:gd name="T30" fmla="*/ 4 w 36"/>
                <a:gd name="T31" fmla="*/ 50 h 54"/>
                <a:gd name="T32" fmla="*/ 0 w 36"/>
                <a:gd name="T33" fmla="*/ 40 h 54"/>
                <a:gd name="T34" fmla="*/ 24 w 36"/>
                <a:gd name="T35" fmla="*/ 19 h 54"/>
                <a:gd name="T36" fmla="*/ 23 w 36"/>
                <a:gd name="T37" fmla="*/ 11 h 54"/>
                <a:gd name="T38" fmla="*/ 18 w 36"/>
                <a:gd name="T39" fmla="*/ 8 h 54"/>
                <a:gd name="T40" fmla="*/ 13 w 36"/>
                <a:gd name="T41" fmla="*/ 10 h 54"/>
                <a:gd name="T42" fmla="*/ 10 w 36"/>
                <a:gd name="T43" fmla="*/ 17 h 54"/>
                <a:gd name="T44" fmla="*/ 12 w 36"/>
                <a:gd name="T45" fmla="*/ 25 h 54"/>
                <a:gd name="T46" fmla="*/ 17 w 36"/>
                <a:gd name="T47" fmla="*/ 28 h 54"/>
                <a:gd name="T48" fmla="*/ 22 w 36"/>
                <a:gd name="T49" fmla="*/ 26 h 54"/>
                <a:gd name="T50" fmla="*/ 24 w 36"/>
                <a:gd name="T51" fmla="*/ 19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36" h="54">
                  <a:moveTo>
                    <a:pt x="0" y="40"/>
                  </a:moveTo>
                  <a:cubicBezTo>
                    <a:pt x="10" y="39"/>
                    <a:pt x="10" y="39"/>
                    <a:pt x="10" y="39"/>
                  </a:cubicBezTo>
                  <a:cubicBezTo>
                    <a:pt x="10" y="41"/>
                    <a:pt x="10" y="43"/>
                    <a:pt x="11" y="44"/>
                  </a:cubicBezTo>
                  <a:cubicBezTo>
                    <a:pt x="12" y="45"/>
                    <a:pt x="14" y="46"/>
                    <a:pt x="15" y="46"/>
                  </a:cubicBezTo>
                  <a:cubicBezTo>
                    <a:pt x="17" y="46"/>
                    <a:pt x="19" y="45"/>
                    <a:pt x="21" y="43"/>
                  </a:cubicBezTo>
                  <a:cubicBezTo>
                    <a:pt x="22" y="41"/>
                    <a:pt x="24" y="37"/>
                    <a:pt x="24" y="31"/>
                  </a:cubicBezTo>
                  <a:cubicBezTo>
                    <a:pt x="22" y="34"/>
                    <a:pt x="18" y="35"/>
                    <a:pt x="15" y="35"/>
                  </a:cubicBezTo>
                  <a:cubicBezTo>
                    <a:pt x="10" y="35"/>
                    <a:pt x="7" y="33"/>
                    <a:pt x="4" y="30"/>
                  </a:cubicBezTo>
                  <a:cubicBezTo>
                    <a:pt x="1" y="26"/>
                    <a:pt x="0" y="22"/>
                    <a:pt x="0" y="17"/>
                  </a:cubicBezTo>
                  <a:cubicBezTo>
                    <a:pt x="1" y="11"/>
                    <a:pt x="3" y="7"/>
                    <a:pt x="6" y="4"/>
                  </a:cubicBezTo>
                  <a:cubicBezTo>
                    <a:pt x="10" y="1"/>
                    <a:pt x="14" y="0"/>
                    <a:pt x="19" y="0"/>
                  </a:cubicBezTo>
                  <a:cubicBezTo>
                    <a:pt x="24" y="0"/>
                    <a:pt x="28" y="3"/>
                    <a:pt x="31" y="7"/>
                  </a:cubicBezTo>
                  <a:cubicBezTo>
                    <a:pt x="35" y="12"/>
                    <a:pt x="36" y="19"/>
                    <a:pt x="35" y="28"/>
                  </a:cubicBezTo>
                  <a:cubicBezTo>
                    <a:pt x="34" y="38"/>
                    <a:pt x="32" y="44"/>
                    <a:pt x="28" y="49"/>
                  </a:cubicBezTo>
                  <a:cubicBezTo>
                    <a:pt x="24" y="53"/>
                    <a:pt x="20" y="54"/>
                    <a:pt x="14" y="54"/>
                  </a:cubicBezTo>
                  <a:cubicBezTo>
                    <a:pt x="10" y="54"/>
                    <a:pt x="7" y="52"/>
                    <a:pt x="4" y="50"/>
                  </a:cubicBezTo>
                  <a:cubicBezTo>
                    <a:pt x="2" y="48"/>
                    <a:pt x="0" y="44"/>
                    <a:pt x="0" y="40"/>
                  </a:cubicBezTo>
                  <a:close/>
                  <a:moveTo>
                    <a:pt x="24" y="19"/>
                  </a:moveTo>
                  <a:cubicBezTo>
                    <a:pt x="25" y="16"/>
                    <a:pt x="24" y="13"/>
                    <a:pt x="23" y="11"/>
                  </a:cubicBezTo>
                  <a:cubicBezTo>
                    <a:pt x="21" y="10"/>
                    <a:pt x="20" y="9"/>
                    <a:pt x="18" y="8"/>
                  </a:cubicBezTo>
                  <a:cubicBezTo>
                    <a:pt x="16" y="8"/>
                    <a:pt x="14" y="9"/>
                    <a:pt x="13" y="10"/>
                  </a:cubicBezTo>
                  <a:cubicBezTo>
                    <a:pt x="11" y="12"/>
                    <a:pt x="11" y="14"/>
                    <a:pt x="10" y="17"/>
                  </a:cubicBezTo>
                  <a:cubicBezTo>
                    <a:pt x="10" y="21"/>
                    <a:pt x="11" y="23"/>
                    <a:pt x="12" y="25"/>
                  </a:cubicBezTo>
                  <a:cubicBezTo>
                    <a:pt x="13" y="27"/>
                    <a:pt x="15" y="28"/>
                    <a:pt x="17" y="28"/>
                  </a:cubicBezTo>
                  <a:cubicBezTo>
                    <a:pt x="19" y="28"/>
                    <a:pt x="20" y="27"/>
                    <a:pt x="22" y="26"/>
                  </a:cubicBezTo>
                  <a:cubicBezTo>
                    <a:pt x="23" y="24"/>
                    <a:pt x="24" y="22"/>
                    <a:pt x="24" y="1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19" name="îṧľîḋé"/>
            <p:cNvSpPr/>
            <p:nvPr/>
          </p:nvSpPr>
          <p:spPr bwMode="auto">
            <a:xfrm>
              <a:off x="2446234" y="6053728"/>
              <a:ext cx="66675" cy="100013"/>
            </a:xfrm>
            <a:custGeom>
              <a:avLst/>
              <a:gdLst>
                <a:gd name="T0" fmla="*/ 0 w 36"/>
                <a:gd name="T1" fmla="*/ 40 h 54"/>
                <a:gd name="T2" fmla="*/ 10 w 36"/>
                <a:gd name="T3" fmla="*/ 39 h 54"/>
                <a:gd name="T4" fmla="*/ 13 w 36"/>
                <a:gd name="T5" fmla="*/ 44 h 54"/>
                <a:gd name="T6" fmla="*/ 18 w 36"/>
                <a:gd name="T7" fmla="*/ 46 h 54"/>
                <a:gd name="T8" fmla="*/ 23 w 36"/>
                <a:gd name="T9" fmla="*/ 43 h 54"/>
                <a:gd name="T10" fmla="*/ 25 w 36"/>
                <a:gd name="T11" fmla="*/ 35 h 54"/>
                <a:gd name="T12" fmla="*/ 23 w 36"/>
                <a:gd name="T13" fmla="*/ 28 h 54"/>
                <a:gd name="T14" fmla="*/ 17 w 36"/>
                <a:gd name="T15" fmla="*/ 26 h 54"/>
                <a:gd name="T16" fmla="*/ 9 w 36"/>
                <a:gd name="T17" fmla="*/ 30 h 54"/>
                <a:gd name="T18" fmla="*/ 1 w 36"/>
                <a:gd name="T19" fmla="*/ 29 h 54"/>
                <a:gd name="T20" fmla="*/ 5 w 36"/>
                <a:gd name="T21" fmla="*/ 1 h 54"/>
                <a:gd name="T22" fmla="*/ 32 w 36"/>
                <a:gd name="T23" fmla="*/ 0 h 54"/>
                <a:gd name="T24" fmla="*/ 32 w 36"/>
                <a:gd name="T25" fmla="*/ 10 h 54"/>
                <a:gd name="T26" fmla="*/ 13 w 36"/>
                <a:gd name="T27" fmla="*/ 10 h 54"/>
                <a:gd name="T28" fmla="*/ 12 w 36"/>
                <a:gd name="T29" fmla="*/ 19 h 54"/>
                <a:gd name="T30" fmla="*/ 19 w 36"/>
                <a:gd name="T31" fmla="*/ 17 h 54"/>
                <a:gd name="T32" fmla="*/ 30 w 36"/>
                <a:gd name="T33" fmla="*/ 22 h 54"/>
                <a:gd name="T34" fmla="*/ 36 w 36"/>
                <a:gd name="T35" fmla="*/ 34 h 54"/>
                <a:gd name="T36" fmla="*/ 32 w 36"/>
                <a:gd name="T37" fmla="*/ 46 h 54"/>
                <a:gd name="T38" fmla="*/ 18 w 36"/>
                <a:gd name="T39" fmla="*/ 54 h 54"/>
                <a:gd name="T40" fmla="*/ 6 w 36"/>
                <a:gd name="T41" fmla="*/ 50 h 54"/>
                <a:gd name="T42" fmla="*/ 0 w 36"/>
                <a:gd name="T43" fmla="*/ 40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36" h="54">
                  <a:moveTo>
                    <a:pt x="0" y="40"/>
                  </a:moveTo>
                  <a:cubicBezTo>
                    <a:pt x="10" y="39"/>
                    <a:pt x="10" y="39"/>
                    <a:pt x="10" y="39"/>
                  </a:cubicBezTo>
                  <a:cubicBezTo>
                    <a:pt x="11" y="41"/>
                    <a:pt x="11" y="43"/>
                    <a:pt x="13" y="44"/>
                  </a:cubicBezTo>
                  <a:cubicBezTo>
                    <a:pt x="14" y="45"/>
                    <a:pt x="16" y="46"/>
                    <a:pt x="18" y="46"/>
                  </a:cubicBezTo>
                  <a:cubicBezTo>
                    <a:pt x="20" y="46"/>
                    <a:pt x="22" y="45"/>
                    <a:pt x="23" y="43"/>
                  </a:cubicBezTo>
                  <a:cubicBezTo>
                    <a:pt x="25" y="41"/>
                    <a:pt x="25" y="38"/>
                    <a:pt x="25" y="35"/>
                  </a:cubicBezTo>
                  <a:cubicBezTo>
                    <a:pt x="25" y="32"/>
                    <a:pt x="24" y="29"/>
                    <a:pt x="23" y="28"/>
                  </a:cubicBezTo>
                  <a:cubicBezTo>
                    <a:pt x="21" y="26"/>
                    <a:pt x="19" y="25"/>
                    <a:pt x="17" y="26"/>
                  </a:cubicBezTo>
                  <a:cubicBezTo>
                    <a:pt x="14" y="26"/>
                    <a:pt x="11" y="27"/>
                    <a:pt x="9" y="30"/>
                  </a:cubicBezTo>
                  <a:cubicBezTo>
                    <a:pt x="1" y="29"/>
                    <a:pt x="1" y="29"/>
                    <a:pt x="1" y="29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2" y="10"/>
                    <a:pt x="32" y="10"/>
                    <a:pt x="32" y="10"/>
                  </a:cubicBezTo>
                  <a:cubicBezTo>
                    <a:pt x="13" y="10"/>
                    <a:pt x="13" y="10"/>
                    <a:pt x="13" y="10"/>
                  </a:cubicBezTo>
                  <a:cubicBezTo>
                    <a:pt x="12" y="19"/>
                    <a:pt x="12" y="19"/>
                    <a:pt x="12" y="19"/>
                  </a:cubicBezTo>
                  <a:cubicBezTo>
                    <a:pt x="14" y="18"/>
                    <a:pt x="16" y="17"/>
                    <a:pt x="19" y="17"/>
                  </a:cubicBezTo>
                  <a:cubicBezTo>
                    <a:pt x="23" y="17"/>
                    <a:pt x="27" y="19"/>
                    <a:pt x="30" y="22"/>
                  </a:cubicBezTo>
                  <a:cubicBezTo>
                    <a:pt x="34" y="25"/>
                    <a:pt x="35" y="29"/>
                    <a:pt x="36" y="34"/>
                  </a:cubicBezTo>
                  <a:cubicBezTo>
                    <a:pt x="36" y="39"/>
                    <a:pt x="35" y="43"/>
                    <a:pt x="32" y="46"/>
                  </a:cubicBezTo>
                  <a:cubicBezTo>
                    <a:pt x="29" y="51"/>
                    <a:pt x="24" y="54"/>
                    <a:pt x="18" y="54"/>
                  </a:cubicBezTo>
                  <a:cubicBezTo>
                    <a:pt x="13" y="54"/>
                    <a:pt x="9" y="53"/>
                    <a:pt x="6" y="50"/>
                  </a:cubicBezTo>
                  <a:cubicBezTo>
                    <a:pt x="3" y="48"/>
                    <a:pt x="1" y="44"/>
                    <a:pt x="0" y="4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20" name="i$ḻïḑê"/>
            <p:cNvSpPr/>
            <p:nvPr/>
          </p:nvSpPr>
          <p:spPr bwMode="auto">
            <a:xfrm>
              <a:off x="2522434" y="6045790"/>
              <a:ext cx="74613" cy="103188"/>
            </a:xfrm>
            <a:custGeom>
              <a:avLst/>
              <a:gdLst>
                <a:gd name="T0" fmla="*/ 39 w 40"/>
                <a:gd name="T1" fmla="*/ 42 h 56"/>
                <a:gd name="T2" fmla="*/ 40 w 40"/>
                <a:gd name="T3" fmla="*/ 51 h 56"/>
                <a:gd name="T4" fmla="*/ 5 w 40"/>
                <a:gd name="T5" fmla="*/ 56 h 56"/>
                <a:gd name="T6" fmla="*/ 7 w 40"/>
                <a:gd name="T7" fmla="*/ 46 h 56"/>
                <a:gd name="T8" fmla="*/ 16 w 40"/>
                <a:gd name="T9" fmla="*/ 32 h 56"/>
                <a:gd name="T10" fmla="*/ 23 w 40"/>
                <a:gd name="T11" fmla="*/ 22 h 56"/>
                <a:gd name="T12" fmla="*/ 24 w 40"/>
                <a:gd name="T13" fmla="*/ 15 h 56"/>
                <a:gd name="T14" fmla="*/ 22 w 40"/>
                <a:gd name="T15" fmla="*/ 10 h 56"/>
                <a:gd name="T16" fmla="*/ 17 w 40"/>
                <a:gd name="T17" fmla="*/ 9 h 56"/>
                <a:gd name="T18" fmla="*/ 12 w 40"/>
                <a:gd name="T19" fmla="*/ 12 h 56"/>
                <a:gd name="T20" fmla="*/ 11 w 40"/>
                <a:gd name="T21" fmla="*/ 19 h 56"/>
                <a:gd name="T22" fmla="*/ 1 w 40"/>
                <a:gd name="T23" fmla="*/ 19 h 56"/>
                <a:gd name="T24" fmla="*/ 4 w 40"/>
                <a:gd name="T25" fmla="*/ 6 h 56"/>
                <a:gd name="T26" fmla="*/ 16 w 40"/>
                <a:gd name="T27" fmla="*/ 1 h 56"/>
                <a:gd name="T28" fmla="*/ 28 w 40"/>
                <a:gd name="T29" fmla="*/ 3 h 56"/>
                <a:gd name="T30" fmla="*/ 34 w 40"/>
                <a:gd name="T31" fmla="*/ 13 h 56"/>
                <a:gd name="T32" fmla="*/ 34 w 40"/>
                <a:gd name="T33" fmla="*/ 20 h 56"/>
                <a:gd name="T34" fmla="*/ 31 w 40"/>
                <a:gd name="T35" fmla="*/ 27 h 56"/>
                <a:gd name="T36" fmla="*/ 26 w 40"/>
                <a:gd name="T37" fmla="*/ 35 h 56"/>
                <a:gd name="T38" fmla="*/ 20 w 40"/>
                <a:gd name="T39" fmla="*/ 42 h 56"/>
                <a:gd name="T40" fmla="*/ 19 w 40"/>
                <a:gd name="T41" fmla="*/ 45 h 56"/>
                <a:gd name="T42" fmla="*/ 39 w 40"/>
                <a:gd name="T43" fmla="*/ 42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40" h="56">
                  <a:moveTo>
                    <a:pt x="39" y="42"/>
                  </a:moveTo>
                  <a:cubicBezTo>
                    <a:pt x="40" y="51"/>
                    <a:pt x="40" y="51"/>
                    <a:pt x="40" y="51"/>
                  </a:cubicBezTo>
                  <a:cubicBezTo>
                    <a:pt x="5" y="56"/>
                    <a:pt x="5" y="56"/>
                    <a:pt x="5" y="56"/>
                  </a:cubicBezTo>
                  <a:cubicBezTo>
                    <a:pt x="5" y="53"/>
                    <a:pt x="5" y="49"/>
                    <a:pt x="7" y="46"/>
                  </a:cubicBezTo>
                  <a:cubicBezTo>
                    <a:pt x="8" y="42"/>
                    <a:pt x="11" y="38"/>
                    <a:pt x="16" y="32"/>
                  </a:cubicBezTo>
                  <a:cubicBezTo>
                    <a:pt x="20" y="27"/>
                    <a:pt x="22" y="23"/>
                    <a:pt x="23" y="22"/>
                  </a:cubicBezTo>
                  <a:cubicBezTo>
                    <a:pt x="24" y="19"/>
                    <a:pt x="25" y="17"/>
                    <a:pt x="24" y="15"/>
                  </a:cubicBezTo>
                  <a:cubicBezTo>
                    <a:pt x="24" y="13"/>
                    <a:pt x="23" y="11"/>
                    <a:pt x="22" y="10"/>
                  </a:cubicBezTo>
                  <a:cubicBezTo>
                    <a:pt x="21" y="9"/>
                    <a:pt x="19" y="9"/>
                    <a:pt x="17" y="9"/>
                  </a:cubicBezTo>
                  <a:cubicBezTo>
                    <a:pt x="15" y="10"/>
                    <a:pt x="13" y="11"/>
                    <a:pt x="12" y="12"/>
                  </a:cubicBezTo>
                  <a:cubicBezTo>
                    <a:pt x="11" y="13"/>
                    <a:pt x="10" y="16"/>
                    <a:pt x="11" y="19"/>
                  </a:cubicBezTo>
                  <a:cubicBezTo>
                    <a:pt x="1" y="19"/>
                    <a:pt x="1" y="19"/>
                    <a:pt x="1" y="19"/>
                  </a:cubicBezTo>
                  <a:cubicBezTo>
                    <a:pt x="0" y="13"/>
                    <a:pt x="2" y="9"/>
                    <a:pt x="4" y="6"/>
                  </a:cubicBezTo>
                  <a:cubicBezTo>
                    <a:pt x="7" y="3"/>
                    <a:pt x="11" y="2"/>
                    <a:pt x="16" y="1"/>
                  </a:cubicBezTo>
                  <a:cubicBezTo>
                    <a:pt x="21" y="0"/>
                    <a:pt x="25" y="1"/>
                    <a:pt x="28" y="3"/>
                  </a:cubicBezTo>
                  <a:cubicBezTo>
                    <a:pt x="32" y="6"/>
                    <a:pt x="34" y="9"/>
                    <a:pt x="34" y="13"/>
                  </a:cubicBezTo>
                  <a:cubicBezTo>
                    <a:pt x="35" y="15"/>
                    <a:pt x="35" y="18"/>
                    <a:pt x="34" y="20"/>
                  </a:cubicBezTo>
                  <a:cubicBezTo>
                    <a:pt x="34" y="22"/>
                    <a:pt x="33" y="25"/>
                    <a:pt x="31" y="27"/>
                  </a:cubicBezTo>
                  <a:cubicBezTo>
                    <a:pt x="30" y="29"/>
                    <a:pt x="28" y="32"/>
                    <a:pt x="26" y="35"/>
                  </a:cubicBezTo>
                  <a:cubicBezTo>
                    <a:pt x="23" y="38"/>
                    <a:pt x="21" y="41"/>
                    <a:pt x="20" y="42"/>
                  </a:cubicBezTo>
                  <a:cubicBezTo>
                    <a:pt x="20" y="43"/>
                    <a:pt x="19" y="44"/>
                    <a:pt x="19" y="45"/>
                  </a:cubicBezTo>
                  <a:lnTo>
                    <a:pt x="39" y="4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21" name="íṧlíḍe"/>
            <p:cNvSpPr/>
            <p:nvPr/>
          </p:nvSpPr>
          <p:spPr bwMode="auto">
            <a:xfrm>
              <a:off x="2611334" y="6072778"/>
              <a:ext cx="22225" cy="23813"/>
            </a:xfrm>
            <a:custGeom>
              <a:avLst/>
              <a:gdLst>
                <a:gd name="T0" fmla="*/ 3 w 14"/>
                <a:gd name="T1" fmla="*/ 15 h 15"/>
                <a:gd name="T2" fmla="*/ 0 w 14"/>
                <a:gd name="T3" fmla="*/ 3 h 15"/>
                <a:gd name="T4" fmla="*/ 11 w 14"/>
                <a:gd name="T5" fmla="*/ 0 h 15"/>
                <a:gd name="T6" fmla="*/ 14 w 14"/>
                <a:gd name="T7" fmla="*/ 12 h 15"/>
                <a:gd name="T8" fmla="*/ 3 w 14"/>
                <a:gd name="T9" fmla="*/ 15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" h="15">
                  <a:moveTo>
                    <a:pt x="3" y="15"/>
                  </a:moveTo>
                  <a:lnTo>
                    <a:pt x="0" y="3"/>
                  </a:lnTo>
                  <a:lnTo>
                    <a:pt x="11" y="0"/>
                  </a:lnTo>
                  <a:lnTo>
                    <a:pt x="14" y="12"/>
                  </a:lnTo>
                  <a:lnTo>
                    <a:pt x="3" y="1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22" name="îŝľîḓê"/>
            <p:cNvSpPr/>
            <p:nvPr/>
          </p:nvSpPr>
          <p:spPr bwMode="auto">
            <a:xfrm>
              <a:off x="2108097" y="5261565"/>
              <a:ext cx="141288" cy="257175"/>
            </a:xfrm>
            <a:custGeom>
              <a:avLst/>
              <a:gdLst>
                <a:gd name="T0" fmla="*/ 12 w 77"/>
                <a:gd name="T1" fmla="*/ 25 h 139"/>
                <a:gd name="T2" fmla="*/ 9 w 77"/>
                <a:gd name="T3" fmla="*/ 21 h 139"/>
                <a:gd name="T4" fmla="*/ 12 w 77"/>
                <a:gd name="T5" fmla="*/ 17 h 139"/>
                <a:gd name="T6" fmla="*/ 39 w 77"/>
                <a:gd name="T7" fmla="*/ 21 h 139"/>
                <a:gd name="T8" fmla="*/ 46 w 77"/>
                <a:gd name="T9" fmla="*/ 36 h 139"/>
                <a:gd name="T10" fmla="*/ 46 w 77"/>
                <a:gd name="T11" fmla="*/ 39 h 139"/>
                <a:gd name="T12" fmla="*/ 61 w 77"/>
                <a:gd name="T13" fmla="*/ 33 h 139"/>
                <a:gd name="T14" fmla="*/ 57 w 77"/>
                <a:gd name="T15" fmla="*/ 16 h 139"/>
                <a:gd name="T16" fmla="*/ 35 w 77"/>
                <a:gd name="T17" fmla="*/ 9 h 139"/>
                <a:gd name="T18" fmla="*/ 27 w 77"/>
                <a:gd name="T19" fmla="*/ 3 h 139"/>
                <a:gd name="T20" fmla="*/ 32 w 77"/>
                <a:gd name="T21" fmla="*/ 0 h 139"/>
                <a:gd name="T22" fmla="*/ 61 w 77"/>
                <a:gd name="T23" fmla="*/ 9 h 139"/>
                <a:gd name="T24" fmla="*/ 72 w 77"/>
                <a:gd name="T25" fmla="*/ 30 h 139"/>
                <a:gd name="T26" fmla="*/ 48 w 77"/>
                <a:gd name="T27" fmla="*/ 45 h 139"/>
                <a:gd name="T28" fmla="*/ 45 w 77"/>
                <a:gd name="T29" fmla="*/ 46 h 139"/>
                <a:gd name="T30" fmla="*/ 45 w 77"/>
                <a:gd name="T31" fmla="*/ 54 h 139"/>
                <a:gd name="T32" fmla="*/ 59 w 77"/>
                <a:gd name="T33" fmla="*/ 61 h 139"/>
                <a:gd name="T34" fmla="*/ 77 w 77"/>
                <a:gd name="T35" fmla="*/ 80 h 139"/>
                <a:gd name="T36" fmla="*/ 75 w 77"/>
                <a:gd name="T37" fmla="*/ 84 h 139"/>
                <a:gd name="T38" fmla="*/ 71 w 77"/>
                <a:gd name="T39" fmla="*/ 83 h 139"/>
                <a:gd name="T40" fmla="*/ 59 w 77"/>
                <a:gd name="T41" fmla="*/ 70 h 139"/>
                <a:gd name="T42" fmla="*/ 45 w 77"/>
                <a:gd name="T43" fmla="*/ 63 h 139"/>
                <a:gd name="T44" fmla="*/ 45 w 77"/>
                <a:gd name="T45" fmla="*/ 77 h 139"/>
                <a:gd name="T46" fmla="*/ 53 w 77"/>
                <a:gd name="T47" fmla="*/ 83 h 139"/>
                <a:gd name="T48" fmla="*/ 66 w 77"/>
                <a:gd name="T49" fmla="*/ 102 h 139"/>
                <a:gd name="T50" fmla="*/ 72 w 77"/>
                <a:gd name="T51" fmla="*/ 121 h 139"/>
                <a:gd name="T52" fmla="*/ 70 w 77"/>
                <a:gd name="T53" fmla="*/ 124 h 139"/>
                <a:gd name="T54" fmla="*/ 67 w 77"/>
                <a:gd name="T55" fmla="*/ 122 h 139"/>
                <a:gd name="T56" fmla="*/ 64 w 77"/>
                <a:gd name="T57" fmla="*/ 115 h 139"/>
                <a:gd name="T58" fmla="*/ 55 w 77"/>
                <a:gd name="T59" fmla="*/ 97 h 139"/>
                <a:gd name="T60" fmla="*/ 45 w 77"/>
                <a:gd name="T61" fmla="*/ 87 h 139"/>
                <a:gd name="T62" fmla="*/ 45 w 77"/>
                <a:gd name="T63" fmla="*/ 102 h 139"/>
                <a:gd name="T64" fmla="*/ 44 w 77"/>
                <a:gd name="T65" fmla="*/ 136 h 139"/>
                <a:gd name="T66" fmla="*/ 41 w 77"/>
                <a:gd name="T67" fmla="*/ 139 h 139"/>
                <a:gd name="T68" fmla="*/ 38 w 77"/>
                <a:gd name="T69" fmla="*/ 137 h 139"/>
                <a:gd name="T70" fmla="*/ 37 w 77"/>
                <a:gd name="T71" fmla="*/ 103 h 139"/>
                <a:gd name="T72" fmla="*/ 37 w 77"/>
                <a:gd name="T73" fmla="*/ 86 h 139"/>
                <a:gd name="T74" fmla="*/ 28 w 77"/>
                <a:gd name="T75" fmla="*/ 92 h 139"/>
                <a:gd name="T76" fmla="*/ 19 w 77"/>
                <a:gd name="T77" fmla="*/ 109 h 139"/>
                <a:gd name="T78" fmla="*/ 12 w 77"/>
                <a:gd name="T79" fmla="*/ 121 h 139"/>
                <a:gd name="T80" fmla="*/ 8 w 77"/>
                <a:gd name="T81" fmla="*/ 122 h 139"/>
                <a:gd name="T82" fmla="*/ 7 w 77"/>
                <a:gd name="T83" fmla="*/ 120 h 139"/>
                <a:gd name="T84" fmla="*/ 8 w 77"/>
                <a:gd name="T85" fmla="*/ 117 h 139"/>
                <a:gd name="T86" fmla="*/ 11 w 77"/>
                <a:gd name="T87" fmla="*/ 106 h 139"/>
                <a:gd name="T88" fmla="*/ 22 w 77"/>
                <a:gd name="T89" fmla="*/ 86 h 139"/>
                <a:gd name="T90" fmla="*/ 37 w 77"/>
                <a:gd name="T91" fmla="*/ 76 h 139"/>
                <a:gd name="T92" fmla="*/ 37 w 77"/>
                <a:gd name="T93" fmla="*/ 68 h 139"/>
                <a:gd name="T94" fmla="*/ 37 w 77"/>
                <a:gd name="T95" fmla="*/ 63 h 139"/>
                <a:gd name="T96" fmla="*/ 24 w 77"/>
                <a:gd name="T97" fmla="*/ 69 h 139"/>
                <a:gd name="T98" fmla="*/ 16 w 77"/>
                <a:gd name="T99" fmla="*/ 77 h 139"/>
                <a:gd name="T100" fmla="*/ 9 w 77"/>
                <a:gd name="T101" fmla="*/ 85 h 139"/>
                <a:gd name="T102" fmla="*/ 6 w 77"/>
                <a:gd name="T103" fmla="*/ 86 h 139"/>
                <a:gd name="T104" fmla="*/ 5 w 77"/>
                <a:gd name="T105" fmla="*/ 82 h 139"/>
                <a:gd name="T106" fmla="*/ 22 w 77"/>
                <a:gd name="T107" fmla="*/ 60 h 139"/>
                <a:gd name="T108" fmla="*/ 37 w 77"/>
                <a:gd name="T109" fmla="*/ 54 h 139"/>
                <a:gd name="T110" fmla="*/ 37 w 77"/>
                <a:gd name="T111" fmla="*/ 47 h 139"/>
                <a:gd name="T112" fmla="*/ 3 w 77"/>
                <a:gd name="T113" fmla="*/ 45 h 139"/>
                <a:gd name="T114" fmla="*/ 0 w 77"/>
                <a:gd name="T115" fmla="*/ 40 h 139"/>
                <a:gd name="T116" fmla="*/ 5 w 77"/>
                <a:gd name="T117" fmla="*/ 38 h 139"/>
                <a:gd name="T118" fmla="*/ 37 w 77"/>
                <a:gd name="T119" fmla="*/ 39 h 139"/>
                <a:gd name="T120" fmla="*/ 37 w 77"/>
                <a:gd name="T121" fmla="*/ 39 h 139"/>
                <a:gd name="T122" fmla="*/ 33 w 77"/>
                <a:gd name="T123" fmla="*/ 28 h 139"/>
                <a:gd name="T124" fmla="*/ 12 w 77"/>
                <a:gd name="T125" fmla="*/ 25 h 1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77" h="139">
                  <a:moveTo>
                    <a:pt x="12" y="25"/>
                  </a:moveTo>
                  <a:cubicBezTo>
                    <a:pt x="10" y="25"/>
                    <a:pt x="9" y="24"/>
                    <a:pt x="9" y="21"/>
                  </a:cubicBezTo>
                  <a:cubicBezTo>
                    <a:pt x="9" y="18"/>
                    <a:pt x="10" y="17"/>
                    <a:pt x="12" y="17"/>
                  </a:cubicBezTo>
                  <a:cubicBezTo>
                    <a:pt x="24" y="17"/>
                    <a:pt x="33" y="18"/>
                    <a:pt x="39" y="21"/>
                  </a:cubicBezTo>
                  <a:cubicBezTo>
                    <a:pt x="45" y="24"/>
                    <a:pt x="47" y="28"/>
                    <a:pt x="46" y="36"/>
                  </a:cubicBezTo>
                  <a:cubicBezTo>
                    <a:pt x="46" y="37"/>
                    <a:pt x="46" y="38"/>
                    <a:pt x="46" y="39"/>
                  </a:cubicBezTo>
                  <a:cubicBezTo>
                    <a:pt x="53" y="38"/>
                    <a:pt x="58" y="35"/>
                    <a:pt x="61" y="33"/>
                  </a:cubicBezTo>
                  <a:cubicBezTo>
                    <a:pt x="65" y="27"/>
                    <a:pt x="64" y="22"/>
                    <a:pt x="57" y="16"/>
                  </a:cubicBezTo>
                  <a:cubicBezTo>
                    <a:pt x="52" y="12"/>
                    <a:pt x="44" y="9"/>
                    <a:pt x="35" y="9"/>
                  </a:cubicBezTo>
                  <a:cubicBezTo>
                    <a:pt x="30" y="8"/>
                    <a:pt x="28" y="6"/>
                    <a:pt x="27" y="3"/>
                  </a:cubicBezTo>
                  <a:cubicBezTo>
                    <a:pt x="27" y="1"/>
                    <a:pt x="29" y="0"/>
                    <a:pt x="32" y="0"/>
                  </a:cubicBezTo>
                  <a:cubicBezTo>
                    <a:pt x="44" y="0"/>
                    <a:pt x="53" y="3"/>
                    <a:pt x="61" y="9"/>
                  </a:cubicBezTo>
                  <a:cubicBezTo>
                    <a:pt x="69" y="16"/>
                    <a:pt x="73" y="23"/>
                    <a:pt x="72" y="30"/>
                  </a:cubicBezTo>
                  <a:cubicBezTo>
                    <a:pt x="68" y="37"/>
                    <a:pt x="60" y="43"/>
                    <a:pt x="48" y="45"/>
                  </a:cubicBezTo>
                  <a:cubicBezTo>
                    <a:pt x="47" y="46"/>
                    <a:pt x="46" y="46"/>
                    <a:pt x="45" y="46"/>
                  </a:cubicBezTo>
                  <a:cubicBezTo>
                    <a:pt x="45" y="48"/>
                    <a:pt x="45" y="51"/>
                    <a:pt x="45" y="54"/>
                  </a:cubicBezTo>
                  <a:cubicBezTo>
                    <a:pt x="49" y="54"/>
                    <a:pt x="54" y="57"/>
                    <a:pt x="59" y="61"/>
                  </a:cubicBezTo>
                  <a:cubicBezTo>
                    <a:pt x="66" y="66"/>
                    <a:pt x="72" y="72"/>
                    <a:pt x="77" y="80"/>
                  </a:cubicBezTo>
                  <a:cubicBezTo>
                    <a:pt x="77" y="82"/>
                    <a:pt x="77" y="83"/>
                    <a:pt x="75" y="84"/>
                  </a:cubicBezTo>
                  <a:cubicBezTo>
                    <a:pt x="74" y="85"/>
                    <a:pt x="72" y="85"/>
                    <a:pt x="71" y="83"/>
                  </a:cubicBezTo>
                  <a:cubicBezTo>
                    <a:pt x="69" y="80"/>
                    <a:pt x="65" y="76"/>
                    <a:pt x="59" y="70"/>
                  </a:cubicBezTo>
                  <a:cubicBezTo>
                    <a:pt x="54" y="66"/>
                    <a:pt x="49" y="64"/>
                    <a:pt x="45" y="63"/>
                  </a:cubicBezTo>
                  <a:cubicBezTo>
                    <a:pt x="45" y="77"/>
                    <a:pt x="45" y="77"/>
                    <a:pt x="45" y="77"/>
                  </a:cubicBezTo>
                  <a:cubicBezTo>
                    <a:pt x="48" y="78"/>
                    <a:pt x="51" y="80"/>
                    <a:pt x="53" y="83"/>
                  </a:cubicBezTo>
                  <a:cubicBezTo>
                    <a:pt x="59" y="88"/>
                    <a:pt x="63" y="94"/>
                    <a:pt x="66" y="102"/>
                  </a:cubicBezTo>
                  <a:cubicBezTo>
                    <a:pt x="71" y="109"/>
                    <a:pt x="73" y="116"/>
                    <a:pt x="72" y="121"/>
                  </a:cubicBezTo>
                  <a:cubicBezTo>
                    <a:pt x="72" y="122"/>
                    <a:pt x="72" y="123"/>
                    <a:pt x="70" y="124"/>
                  </a:cubicBezTo>
                  <a:cubicBezTo>
                    <a:pt x="69" y="124"/>
                    <a:pt x="68" y="124"/>
                    <a:pt x="67" y="122"/>
                  </a:cubicBezTo>
                  <a:cubicBezTo>
                    <a:pt x="67" y="121"/>
                    <a:pt x="66" y="118"/>
                    <a:pt x="64" y="115"/>
                  </a:cubicBezTo>
                  <a:cubicBezTo>
                    <a:pt x="60" y="107"/>
                    <a:pt x="57" y="102"/>
                    <a:pt x="55" y="97"/>
                  </a:cubicBezTo>
                  <a:cubicBezTo>
                    <a:pt x="51" y="91"/>
                    <a:pt x="48" y="88"/>
                    <a:pt x="45" y="87"/>
                  </a:cubicBezTo>
                  <a:cubicBezTo>
                    <a:pt x="45" y="102"/>
                    <a:pt x="45" y="102"/>
                    <a:pt x="45" y="102"/>
                  </a:cubicBezTo>
                  <a:cubicBezTo>
                    <a:pt x="45" y="117"/>
                    <a:pt x="45" y="128"/>
                    <a:pt x="44" y="136"/>
                  </a:cubicBezTo>
                  <a:cubicBezTo>
                    <a:pt x="43" y="137"/>
                    <a:pt x="42" y="138"/>
                    <a:pt x="41" y="139"/>
                  </a:cubicBezTo>
                  <a:cubicBezTo>
                    <a:pt x="40" y="139"/>
                    <a:pt x="39" y="139"/>
                    <a:pt x="38" y="137"/>
                  </a:cubicBezTo>
                  <a:cubicBezTo>
                    <a:pt x="37" y="135"/>
                    <a:pt x="37" y="123"/>
                    <a:pt x="37" y="103"/>
                  </a:cubicBezTo>
                  <a:cubicBezTo>
                    <a:pt x="37" y="97"/>
                    <a:pt x="37" y="92"/>
                    <a:pt x="37" y="86"/>
                  </a:cubicBezTo>
                  <a:cubicBezTo>
                    <a:pt x="34" y="87"/>
                    <a:pt x="31" y="89"/>
                    <a:pt x="28" y="92"/>
                  </a:cubicBezTo>
                  <a:cubicBezTo>
                    <a:pt x="24" y="98"/>
                    <a:pt x="21" y="103"/>
                    <a:pt x="19" y="109"/>
                  </a:cubicBezTo>
                  <a:cubicBezTo>
                    <a:pt x="17" y="113"/>
                    <a:pt x="15" y="117"/>
                    <a:pt x="12" y="121"/>
                  </a:cubicBezTo>
                  <a:cubicBezTo>
                    <a:pt x="11" y="122"/>
                    <a:pt x="9" y="122"/>
                    <a:pt x="8" y="122"/>
                  </a:cubicBezTo>
                  <a:cubicBezTo>
                    <a:pt x="7" y="122"/>
                    <a:pt x="7" y="121"/>
                    <a:pt x="7" y="120"/>
                  </a:cubicBezTo>
                  <a:cubicBezTo>
                    <a:pt x="7" y="119"/>
                    <a:pt x="7" y="118"/>
                    <a:pt x="8" y="117"/>
                  </a:cubicBezTo>
                  <a:cubicBezTo>
                    <a:pt x="9" y="112"/>
                    <a:pt x="10" y="108"/>
                    <a:pt x="11" y="106"/>
                  </a:cubicBezTo>
                  <a:cubicBezTo>
                    <a:pt x="13" y="101"/>
                    <a:pt x="17" y="94"/>
                    <a:pt x="22" y="86"/>
                  </a:cubicBezTo>
                  <a:cubicBezTo>
                    <a:pt x="27" y="80"/>
                    <a:pt x="32" y="77"/>
                    <a:pt x="37" y="76"/>
                  </a:cubicBezTo>
                  <a:cubicBezTo>
                    <a:pt x="37" y="68"/>
                    <a:pt x="37" y="68"/>
                    <a:pt x="37" y="68"/>
                  </a:cubicBezTo>
                  <a:cubicBezTo>
                    <a:pt x="37" y="63"/>
                    <a:pt x="37" y="63"/>
                    <a:pt x="37" y="63"/>
                  </a:cubicBezTo>
                  <a:cubicBezTo>
                    <a:pt x="33" y="64"/>
                    <a:pt x="29" y="66"/>
                    <a:pt x="24" y="69"/>
                  </a:cubicBezTo>
                  <a:cubicBezTo>
                    <a:pt x="23" y="70"/>
                    <a:pt x="20" y="72"/>
                    <a:pt x="16" y="77"/>
                  </a:cubicBezTo>
                  <a:cubicBezTo>
                    <a:pt x="13" y="81"/>
                    <a:pt x="11" y="83"/>
                    <a:pt x="9" y="85"/>
                  </a:cubicBezTo>
                  <a:cubicBezTo>
                    <a:pt x="8" y="86"/>
                    <a:pt x="7" y="87"/>
                    <a:pt x="6" y="86"/>
                  </a:cubicBezTo>
                  <a:cubicBezTo>
                    <a:pt x="5" y="86"/>
                    <a:pt x="5" y="84"/>
                    <a:pt x="5" y="82"/>
                  </a:cubicBezTo>
                  <a:cubicBezTo>
                    <a:pt x="10" y="73"/>
                    <a:pt x="15" y="65"/>
                    <a:pt x="22" y="60"/>
                  </a:cubicBezTo>
                  <a:cubicBezTo>
                    <a:pt x="27" y="56"/>
                    <a:pt x="32" y="54"/>
                    <a:pt x="37" y="54"/>
                  </a:cubicBezTo>
                  <a:cubicBezTo>
                    <a:pt x="37" y="47"/>
                    <a:pt x="37" y="47"/>
                    <a:pt x="37" y="47"/>
                  </a:cubicBezTo>
                  <a:cubicBezTo>
                    <a:pt x="22" y="49"/>
                    <a:pt x="10" y="48"/>
                    <a:pt x="3" y="45"/>
                  </a:cubicBezTo>
                  <a:cubicBezTo>
                    <a:pt x="1" y="44"/>
                    <a:pt x="0" y="42"/>
                    <a:pt x="0" y="40"/>
                  </a:cubicBezTo>
                  <a:cubicBezTo>
                    <a:pt x="1" y="38"/>
                    <a:pt x="3" y="38"/>
                    <a:pt x="5" y="38"/>
                  </a:cubicBezTo>
                  <a:cubicBezTo>
                    <a:pt x="12" y="40"/>
                    <a:pt x="22" y="40"/>
                    <a:pt x="37" y="39"/>
                  </a:cubicBezTo>
                  <a:cubicBezTo>
                    <a:pt x="37" y="39"/>
                    <a:pt x="37" y="39"/>
                    <a:pt x="37" y="39"/>
                  </a:cubicBezTo>
                  <a:cubicBezTo>
                    <a:pt x="38" y="32"/>
                    <a:pt x="36" y="29"/>
                    <a:pt x="33" y="28"/>
                  </a:cubicBezTo>
                  <a:cubicBezTo>
                    <a:pt x="26" y="25"/>
                    <a:pt x="19" y="24"/>
                    <a:pt x="12" y="2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23" name="íṣlíḑe"/>
            <p:cNvSpPr/>
            <p:nvPr/>
          </p:nvSpPr>
          <p:spPr bwMode="auto">
            <a:xfrm>
              <a:off x="2273197" y="5255215"/>
              <a:ext cx="163513" cy="263525"/>
            </a:xfrm>
            <a:custGeom>
              <a:avLst/>
              <a:gdLst>
                <a:gd name="T0" fmla="*/ 47 w 88"/>
                <a:gd name="T1" fmla="*/ 8 h 143"/>
                <a:gd name="T2" fmla="*/ 74 w 88"/>
                <a:gd name="T3" fmla="*/ 14 h 143"/>
                <a:gd name="T4" fmla="*/ 82 w 88"/>
                <a:gd name="T5" fmla="*/ 26 h 143"/>
                <a:gd name="T6" fmla="*/ 79 w 88"/>
                <a:gd name="T7" fmla="*/ 75 h 143"/>
                <a:gd name="T8" fmla="*/ 86 w 88"/>
                <a:gd name="T9" fmla="*/ 136 h 143"/>
                <a:gd name="T10" fmla="*/ 73 w 88"/>
                <a:gd name="T11" fmla="*/ 45 h 143"/>
                <a:gd name="T12" fmla="*/ 67 w 88"/>
                <a:gd name="T13" fmla="*/ 44 h 143"/>
                <a:gd name="T14" fmla="*/ 54 w 88"/>
                <a:gd name="T15" fmla="*/ 58 h 143"/>
                <a:gd name="T16" fmla="*/ 22 w 88"/>
                <a:gd name="T17" fmla="*/ 54 h 143"/>
                <a:gd name="T18" fmla="*/ 15 w 88"/>
                <a:gd name="T19" fmla="*/ 45 h 143"/>
                <a:gd name="T20" fmla="*/ 11 w 88"/>
                <a:gd name="T21" fmla="*/ 91 h 143"/>
                <a:gd name="T22" fmla="*/ 9 w 88"/>
                <a:gd name="T23" fmla="*/ 118 h 143"/>
                <a:gd name="T24" fmla="*/ 2 w 88"/>
                <a:gd name="T25" fmla="*/ 139 h 143"/>
                <a:gd name="T26" fmla="*/ 6 w 88"/>
                <a:gd name="T27" fmla="*/ 80 h 143"/>
                <a:gd name="T28" fmla="*/ 2 w 88"/>
                <a:gd name="T29" fmla="*/ 26 h 143"/>
                <a:gd name="T30" fmla="*/ 32 w 88"/>
                <a:gd name="T31" fmla="*/ 10 h 143"/>
                <a:gd name="T32" fmla="*/ 39 w 88"/>
                <a:gd name="T33" fmla="*/ 0 h 143"/>
                <a:gd name="T34" fmla="*/ 24 w 88"/>
                <a:gd name="T35" fmla="*/ 23 h 143"/>
                <a:gd name="T36" fmla="*/ 66 w 88"/>
                <a:gd name="T37" fmla="*/ 29 h 143"/>
                <a:gd name="T38" fmla="*/ 67 w 88"/>
                <a:gd name="T39" fmla="*/ 37 h 143"/>
                <a:gd name="T40" fmla="*/ 73 w 88"/>
                <a:gd name="T41" fmla="*/ 34 h 143"/>
                <a:gd name="T42" fmla="*/ 66 w 88"/>
                <a:gd name="T43" fmla="*/ 20 h 143"/>
                <a:gd name="T44" fmla="*/ 13 w 88"/>
                <a:gd name="T45" fmla="*/ 21 h 143"/>
                <a:gd name="T46" fmla="*/ 12 w 88"/>
                <a:gd name="T47" fmla="*/ 32 h 143"/>
                <a:gd name="T48" fmla="*/ 17 w 88"/>
                <a:gd name="T49" fmla="*/ 38 h 143"/>
                <a:gd name="T50" fmla="*/ 24 w 88"/>
                <a:gd name="T51" fmla="*/ 23 h 143"/>
                <a:gd name="T52" fmla="*/ 61 w 88"/>
                <a:gd name="T53" fmla="*/ 64 h 143"/>
                <a:gd name="T54" fmla="*/ 66 w 88"/>
                <a:gd name="T55" fmla="*/ 96 h 143"/>
                <a:gd name="T56" fmla="*/ 61 w 88"/>
                <a:gd name="T57" fmla="*/ 136 h 143"/>
                <a:gd name="T58" fmla="*/ 59 w 88"/>
                <a:gd name="T59" fmla="*/ 143 h 143"/>
                <a:gd name="T60" fmla="*/ 46 w 88"/>
                <a:gd name="T61" fmla="*/ 105 h 143"/>
                <a:gd name="T62" fmla="*/ 30 w 88"/>
                <a:gd name="T63" fmla="*/ 140 h 143"/>
                <a:gd name="T64" fmla="*/ 26 w 88"/>
                <a:gd name="T65" fmla="*/ 137 h 143"/>
                <a:gd name="T66" fmla="*/ 32 w 88"/>
                <a:gd name="T67" fmla="*/ 121 h 143"/>
                <a:gd name="T68" fmla="*/ 35 w 88"/>
                <a:gd name="T69" fmla="*/ 105 h 143"/>
                <a:gd name="T70" fmla="*/ 18 w 88"/>
                <a:gd name="T71" fmla="*/ 75 h 143"/>
                <a:gd name="T72" fmla="*/ 24 w 88"/>
                <a:gd name="T73" fmla="*/ 35 h 143"/>
                <a:gd name="T74" fmla="*/ 39 w 88"/>
                <a:gd name="T75" fmla="*/ 37 h 143"/>
                <a:gd name="T76" fmla="*/ 34 w 88"/>
                <a:gd name="T77" fmla="*/ 29 h 143"/>
                <a:gd name="T78" fmla="*/ 24 w 88"/>
                <a:gd name="T79" fmla="*/ 35 h 143"/>
                <a:gd name="T80" fmla="*/ 62 w 88"/>
                <a:gd name="T81" fmla="*/ 84 h 143"/>
                <a:gd name="T82" fmla="*/ 43 w 88"/>
                <a:gd name="T83" fmla="*/ 81 h 143"/>
                <a:gd name="T84" fmla="*/ 25 w 88"/>
                <a:gd name="T85" fmla="*/ 87 h 143"/>
                <a:gd name="T86" fmla="*/ 26 w 88"/>
                <a:gd name="T87" fmla="*/ 48 h 143"/>
                <a:gd name="T88" fmla="*/ 38 w 88"/>
                <a:gd name="T89" fmla="*/ 52 h 143"/>
                <a:gd name="T90" fmla="*/ 25 w 88"/>
                <a:gd name="T91" fmla="*/ 44 h 143"/>
                <a:gd name="T92" fmla="*/ 32 w 88"/>
                <a:gd name="T93" fmla="*/ 69 h 143"/>
                <a:gd name="T94" fmla="*/ 41 w 88"/>
                <a:gd name="T95" fmla="*/ 75 h 143"/>
                <a:gd name="T96" fmla="*/ 57 w 88"/>
                <a:gd name="T97" fmla="*/ 70 h 143"/>
                <a:gd name="T98" fmla="*/ 56 w 88"/>
                <a:gd name="T99" fmla="*/ 98 h 143"/>
                <a:gd name="T100" fmla="*/ 54 w 88"/>
                <a:gd name="T101" fmla="*/ 93 h 143"/>
                <a:gd name="T102" fmla="*/ 36 w 88"/>
                <a:gd name="T103" fmla="*/ 93 h 143"/>
                <a:gd name="T104" fmla="*/ 32 w 88"/>
                <a:gd name="T105" fmla="*/ 98 h 143"/>
                <a:gd name="T106" fmla="*/ 56 w 88"/>
                <a:gd name="T107" fmla="*/ 29 h 143"/>
                <a:gd name="T108" fmla="*/ 46 w 88"/>
                <a:gd name="T109" fmla="*/ 29 h 143"/>
                <a:gd name="T110" fmla="*/ 60 w 88"/>
                <a:gd name="T111" fmla="*/ 37 h 143"/>
                <a:gd name="T112" fmla="*/ 56 w 88"/>
                <a:gd name="T113" fmla="*/ 29 h 143"/>
                <a:gd name="T114" fmla="*/ 60 w 88"/>
                <a:gd name="T115" fmla="*/ 43 h 143"/>
                <a:gd name="T116" fmla="*/ 46 w 88"/>
                <a:gd name="T117" fmla="*/ 52 h 143"/>
                <a:gd name="T118" fmla="*/ 59 w 88"/>
                <a:gd name="T119" fmla="*/ 48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88" h="143">
                  <a:moveTo>
                    <a:pt x="43" y="2"/>
                  </a:moveTo>
                  <a:cubicBezTo>
                    <a:pt x="45" y="3"/>
                    <a:pt x="47" y="6"/>
                    <a:pt x="47" y="8"/>
                  </a:cubicBezTo>
                  <a:cubicBezTo>
                    <a:pt x="47" y="9"/>
                    <a:pt x="48" y="10"/>
                    <a:pt x="49" y="10"/>
                  </a:cubicBezTo>
                  <a:cubicBezTo>
                    <a:pt x="57" y="10"/>
                    <a:pt x="66" y="12"/>
                    <a:pt x="74" y="14"/>
                  </a:cubicBezTo>
                  <a:cubicBezTo>
                    <a:pt x="78" y="16"/>
                    <a:pt x="81" y="18"/>
                    <a:pt x="81" y="19"/>
                  </a:cubicBezTo>
                  <a:cubicBezTo>
                    <a:pt x="82" y="21"/>
                    <a:pt x="82" y="24"/>
                    <a:pt x="82" y="26"/>
                  </a:cubicBezTo>
                  <a:cubicBezTo>
                    <a:pt x="82" y="27"/>
                    <a:pt x="82" y="27"/>
                    <a:pt x="82" y="28"/>
                  </a:cubicBezTo>
                  <a:cubicBezTo>
                    <a:pt x="79" y="39"/>
                    <a:pt x="78" y="55"/>
                    <a:pt x="79" y="75"/>
                  </a:cubicBezTo>
                  <a:cubicBezTo>
                    <a:pt x="80" y="87"/>
                    <a:pt x="83" y="106"/>
                    <a:pt x="87" y="131"/>
                  </a:cubicBezTo>
                  <a:cubicBezTo>
                    <a:pt x="88" y="134"/>
                    <a:pt x="87" y="135"/>
                    <a:pt x="86" y="136"/>
                  </a:cubicBezTo>
                  <a:cubicBezTo>
                    <a:pt x="84" y="137"/>
                    <a:pt x="82" y="136"/>
                    <a:pt x="82" y="133"/>
                  </a:cubicBezTo>
                  <a:cubicBezTo>
                    <a:pt x="74" y="106"/>
                    <a:pt x="71" y="76"/>
                    <a:pt x="73" y="45"/>
                  </a:cubicBezTo>
                  <a:cubicBezTo>
                    <a:pt x="72" y="45"/>
                    <a:pt x="71" y="44"/>
                    <a:pt x="70" y="44"/>
                  </a:cubicBezTo>
                  <a:cubicBezTo>
                    <a:pt x="69" y="44"/>
                    <a:pt x="68" y="44"/>
                    <a:pt x="67" y="44"/>
                  </a:cubicBezTo>
                  <a:cubicBezTo>
                    <a:pt x="67" y="48"/>
                    <a:pt x="66" y="51"/>
                    <a:pt x="64" y="54"/>
                  </a:cubicBezTo>
                  <a:cubicBezTo>
                    <a:pt x="62" y="57"/>
                    <a:pt x="59" y="59"/>
                    <a:pt x="54" y="58"/>
                  </a:cubicBezTo>
                  <a:cubicBezTo>
                    <a:pt x="47" y="58"/>
                    <a:pt x="39" y="58"/>
                    <a:pt x="32" y="58"/>
                  </a:cubicBezTo>
                  <a:cubicBezTo>
                    <a:pt x="28" y="59"/>
                    <a:pt x="25" y="58"/>
                    <a:pt x="22" y="54"/>
                  </a:cubicBezTo>
                  <a:cubicBezTo>
                    <a:pt x="20" y="51"/>
                    <a:pt x="19" y="48"/>
                    <a:pt x="18" y="45"/>
                  </a:cubicBezTo>
                  <a:cubicBezTo>
                    <a:pt x="17" y="45"/>
                    <a:pt x="16" y="45"/>
                    <a:pt x="15" y="45"/>
                  </a:cubicBezTo>
                  <a:cubicBezTo>
                    <a:pt x="14" y="45"/>
                    <a:pt x="13" y="45"/>
                    <a:pt x="13" y="45"/>
                  </a:cubicBezTo>
                  <a:cubicBezTo>
                    <a:pt x="13" y="60"/>
                    <a:pt x="13" y="75"/>
                    <a:pt x="11" y="91"/>
                  </a:cubicBezTo>
                  <a:cubicBezTo>
                    <a:pt x="11" y="95"/>
                    <a:pt x="11" y="102"/>
                    <a:pt x="10" y="111"/>
                  </a:cubicBezTo>
                  <a:cubicBezTo>
                    <a:pt x="10" y="108"/>
                    <a:pt x="10" y="111"/>
                    <a:pt x="9" y="118"/>
                  </a:cubicBezTo>
                  <a:cubicBezTo>
                    <a:pt x="9" y="124"/>
                    <a:pt x="8" y="130"/>
                    <a:pt x="6" y="134"/>
                  </a:cubicBezTo>
                  <a:cubicBezTo>
                    <a:pt x="5" y="138"/>
                    <a:pt x="3" y="139"/>
                    <a:pt x="2" y="139"/>
                  </a:cubicBezTo>
                  <a:cubicBezTo>
                    <a:pt x="0" y="139"/>
                    <a:pt x="0" y="137"/>
                    <a:pt x="0" y="133"/>
                  </a:cubicBezTo>
                  <a:cubicBezTo>
                    <a:pt x="3" y="112"/>
                    <a:pt x="5" y="94"/>
                    <a:pt x="6" y="80"/>
                  </a:cubicBezTo>
                  <a:cubicBezTo>
                    <a:pt x="8" y="64"/>
                    <a:pt x="7" y="51"/>
                    <a:pt x="6" y="38"/>
                  </a:cubicBezTo>
                  <a:cubicBezTo>
                    <a:pt x="5" y="34"/>
                    <a:pt x="4" y="30"/>
                    <a:pt x="2" y="26"/>
                  </a:cubicBezTo>
                  <a:cubicBezTo>
                    <a:pt x="0" y="21"/>
                    <a:pt x="1" y="17"/>
                    <a:pt x="6" y="16"/>
                  </a:cubicBezTo>
                  <a:cubicBezTo>
                    <a:pt x="14" y="12"/>
                    <a:pt x="23" y="11"/>
                    <a:pt x="32" y="10"/>
                  </a:cubicBezTo>
                  <a:cubicBezTo>
                    <a:pt x="36" y="9"/>
                    <a:pt x="38" y="7"/>
                    <a:pt x="38" y="4"/>
                  </a:cubicBezTo>
                  <a:cubicBezTo>
                    <a:pt x="38" y="2"/>
                    <a:pt x="38" y="1"/>
                    <a:pt x="39" y="0"/>
                  </a:cubicBezTo>
                  <a:cubicBezTo>
                    <a:pt x="41" y="0"/>
                    <a:pt x="42" y="0"/>
                    <a:pt x="43" y="2"/>
                  </a:cubicBezTo>
                  <a:close/>
                  <a:moveTo>
                    <a:pt x="24" y="23"/>
                  </a:moveTo>
                  <a:cubicBezTo>
                    <a:pt x="33" y="22"/>
                    <a:pt x="44" y="22"/>
                    <a:pt x="58" y="23"/>
                  </a:cubicBezTo>
                  <a:cubicBezTo>
                    <a:pt x="63" y="24"/>
                    <a:pt x="66" y="26"/>
                    <a:pt x="66" y="29"/>
                  </a:cubicBezTo>
                  <a:cubicBezTo>
                    <a:pt x="66" y="30"/>
                    <a:pt x="66" y="30"/>
                    <a:pt x="67" y="31"/>
                  </a:cubicBezTo>
                  <a:cubicBezTo>
                    <a:pt x="67" y="33"/>
                    <a:pt x="67" y="35"/>
                    <a:pt x="67" y="37"/>
                  </a:cubicBezTo>
                  <a:cubicBezTo>
                    <a:pt x="69" y="38"/>
                    <a:pt x="71" y="38"/>
                    <a:pt x="73" y="38"/>
                  </a:cubicBezTo>
                  <a:cubicBezTo>
                    <a:pt x="73" y="37"/>
                    <a:pt x="73" y="36"/>
                    <a:pt x="73" y="34"/>
                  </a:cubicBezTo>
                  <a:cubicBezTo>
                    <a:pt x="73" y="32"/>
                    <a:pt x="73" y="30"/>
                    <a:pt x="74" y="29"/>
                  </a:cubicBezTo>
                  <a:cubicBezTo>
                    <a:pt x="75" y="25"/>
                    <a:pt x="72" y="21"/>
                    <a:pt x="66" y="20"/>
                  </a:cubicBezTo>
                  <a:cubicBezTo>
                    <a:pt x="58" y="17"/>
                    <a:pt x="50" y="16"/>
                    <a:pt x="40" y="16"/>
                  </a:cubicBezTo>
                  <a:cubicBezTo>
                    <a:pt x="29" y="16"/>
                    <a:pt x="20" y="18"/>
                    <a:pt x="13" y="21"/>
                  </a:cubicBezTo>
                  <a:cubicBezTo>
                    <a:pt x="11" y="22"/>
                    <a:pt x="11" y="24"/>
                    <a:pt x="11" y="26"/>
                  </a:cubicBezTo>
                  <a:cubicBezTo>
                    <a:pt x="11" y="28"/>
                    <a:pt x="12" y="30"/>
                    <a:pt x="12" y="32"/>
                  </a:cubicBezTo>
                  <a:cubicBezTo>
                    <a:pt x="12" y="35"/>
                    <a:pt x="12" y="37"/>
                    <a:pt x="12" y="38"/>
                  </a:cubicBezTo>
                  <a:cubicBezTo>
                    <a:pt x="14" y="38"/>
                    <a:pt x="15" y="38"/>
                    <a:pt x="17" y="38"/>
                  </a:cubicBezTo>
                  <a:cubicBezTo>
                    <a:pt x="17" y="35"/>
                    <a:pt x="17" y="32"/>
                    <a:pt x="17" y="30"/>
                  </a:cubicBezTo>
                  <a:cubicBezTo>
                    <a:pt x="18" y="26"/>
                    <a:pt x="20" y="24"/>
                    <a:pt x="24" y="23"/>
                  </a:cubicBezTo>
                  <a:close/>
                  <a:moveTo>
                    <a:pt x="28" y="64"/>
                  </a:moveTo>
                  <a:cubicBezTo>
                    <a:pt x="39" y="62"/>
                    <a:pt x="50" y="62"/>
                    <a:pt x="61" y="64"/>
                  </a:cubicBezTo>
                  <a:cubicBezTo>
                    <a:pt x="65" y="65"/>
                    <a:pt x="67" y="67"/>
                    <a:pt x="67" y="71"/>
                  </a:cubicBezTo>
                  <a:cubicBezTo>
                    <a:pt x="69" y="79"/>
                    <a:pt x="68" y="88"/>
                    <a:pt x="66" y="96"/>
                  </a:cubicBezTo>
                  <a:cubicBezTo>
                    <a:pt x="65" y="102"/>
                    <a:pt x="61" y="105"/>
                    <a:pt x="54" y="105"/>
                  </a:cubicBezTo>
                  <a:cubicBezTo>
                    <a:pt x="55" y="115"/>
                    <a:pt x="57" y="125"/>
                    <a:pt x="61" y="136"/>
                  </a:cubicBezTo>
                  <a:cubicBezTo>
                    <a:pt x="63" y="138"/>
                    <a:pt x="63" y="140"/>
                    <a:pt x="61" y="142"/>
                  </a:cubicBezTo>
                  <a:cubicBezTo>
                    <a:pt x="60" y="142"/>
                    <a:pt x="59" y="143"/>
                    <a:pt x="59" y="143"/>
                  </a:cubicBezTo>
                  <a:cubicBezTo>
                    <a:pt x="58" y="143"/>
                    <a:pt x="57" y="142"/>
                    <a:pt x="57" y="141"/>
                  </a:cubicBezTo>
                  <a:cubicBezTo>
                    <a:pt x="52" y="131"/>
                    <a:pt x="48" y="120"/>
                    <a:pt x="46" y="105"/>
                  </a:cubicBezTo>
                  <a:cubicBezTo>
                    <a:pt x="41" y="105"/>
                    <a:pt x="41" y="105"/>
                    <a:pt x="41" y="105"/>
                  </a:cubicBezTo>
                  <a:cubicBezTo>
                    <a:pt x="40" y="120"/>
                    <a:pt x="37" y="131"/>
                    <a:pt x="30" y="140"/>
                  </a:cubicBezTo>
                  <a:cubicBezTo>
                    <a:pt x="29" y="141"/>
                    <a:pt x="27" y="142"/>
                    <a:pt x="26" y="142"/>
                  </a:cubicBezTo>
                  <a:cubicBezTo>
                    <a:pt x="25" y="141"/>
                    <a:pt x="25" y="139"/>
                    <a:pt x="26" y="137"/>
                  </a:cubicBezTo>
                  <a:cubicBezTo>
                    <a:pt x="26" y="137"/>
                    <a:pt x="26" y="135"/>
                    <a:pt x="28" y="132"/>
                  </a:cubicBezTo>
                  <a:cubicBezTo>
                    <a:pt x="30" y="127"/>
                    <a:pt x="32" y="123"/>
                    <a:pt x="32" y="121"/>
                  </a:cubicBezTo>
                  <a:cubicBezTo>
                    <a:pt x="33" y="118"/>
                    <a:pt x="34" y="113"/>
                    <a:pt x="35" y="107"/>
                  </a:cubicBezTo>
                  <a:cubicBezTo>
                    <a:pt x="35" y="106"/>
                    <a:pt x="35" y="106"/>
                    <a:pt x="35" y="105"/>
                  </a:cubicBezTo>
                  <a:cubicBezTo>
                    <a:pt x="29" y="105"/>
                    <a:pt x="25" y="103"/>
                    <a:pt x="22" y="98"/>
                  </a:cubicBezTo>
                  <a:cubicBezTo>
                    <a:pt x="19" y="93"/>
                    <a:pt x="17" y="85"/>
                    <a:pt x="18" y="75"/>
                  </a:cubicBezTo>
                  <a:cubicBezTo>
                    <a:pt x="19" y="68"/>
                    <a:pt x="22" y="65"/>
                    <a:pt x="28" y="64"/>
                  </a:cubicBezTo>
                  <a:close/>
                  <a:moveTo>
                    <a:pt x="24" y="35"/>
                  </a:moveTo>
                  <a:cubicBezTo>
                    <a:pt x="24" y="36"/>
                    <a:pt x="24" y="36"/>
                    <a:pt x="24" y="37"/>
                  </a:cubicBezTo>
                  <a:cubicBezTo>
                    <a:pt x="29" y="37"/>
                    <a:pt x="34" y="37"/>
                    <a:pt x="39" y="37"/>
                  </a:cubicBezTo>
                  <a:cubicBezTo>
                    <a:pt x="39" y="34"/>
                    <a:pt x="38" y="31"/>
                    <a:pt x="38" y="29"/>
                  </a:cubicBezTo>
                  <a:cubicBezTo>
                    <a:pt x="37" y="29"/>
                    <a:pt x="36" y="29"/>
                    <a:pt x="34" y="29"/>
                  </a:cubicBezTo>
                  <a:cubicBezTo>
                    <a:pt x="31" y="29"/>
                    <a:pt x="30" y="29"/>
                    <a:pt x="28" y="29"/>
                  </a:cubicBezTo>
                  <a:cubicBezTo>
                    <a:pt x="25" y="31"/>
                    <a:pt x="24" y="32"/>
                    <a:pt x="24" y="35"/>
                  </a:cubicBezTo>
                  <a:close/>
                  <a:moveTo>
                    <a:pt x="61" y="87"/>
                  </a:moveTo>
                  <a:cubicBezTo>
                    <a:pt x="61" y="86"/>
                    <a:pt x="62" y="85"/>
                    <a:pt x="62" y="84"/>
                  </a:cubicBezTo>
                  <a:cubicBezTo>
                    <a:pt x="62" y="83"/>
                    <a:pt x="62" y="82"/>
                    <a:pt x="62" y="82"/>
                  </a:cubicBezTo>
                  <a:cubicBezTo>
                    <a:pt x="56" y="81"/>
                    <a:pt x="50" y="80"/>
                    <a:pt x="43" y="81"/>
                  </a:cubicBezTo>
                  <a:cubicBezTo>
                    <a:pt x="37" y="81"/>
                    <a:pt x="31" y="82"/>
                    <a:pt x="24" y="83"/>
                  </a:cubicBezTo>
                  <a:cubicBezTo>
                    <a:pt x="25" y="87"/>
                    <a:pt x="25" y="87"/>
                    <a:pt x="25" y="87"/>
                  </a:cubicBezTo>
                  <a:cubicBezTo>
                    <a:pt x="35" y="86"/>
                    <a:pt x="48" y="86"/>
                    <a:pt x="61" y="87"/>
                  </a:cubicBezTo>
                  <a:close/>
                  <a:moveTo>
                    <a:pt x="26" y="48"/>
                  </a:moveTo>
                  <a:cubicBezTo>
                    <a:pt x="28" y="51"/>
                    <a:pt x="30" y="52"/>
                    <a:pt x="35" y="52"/>
                  </a:cubicBezTo>
                  <a:cubicBezTo>
                    <a:pt x="38" y="52"/>
                    <a:pt x="38" y="52"/>
                    <a:pt x="38" y="52"/>
                  </a:cubicBezTo>
                  <a:cubicBezTo>
                    <a:pt x="38" y="49"/>
                    <a:pt x="39" y="46"/>
                    <a:pt x="39" y="44"/>
                  </a:cubicBezTo>
                  <a:cubicBezTo>
                    <a:pt x="34" y="44"/>
                    <a:pt x="30" y="44"/>
                    <a:pt x="25" y="44"/>
                  </a:cubicBezTo>
                  <a:cubicBezTo>
                    <a:pt x="25" y="46"/>
                    <a:pt x="25" y="47"/>
                    <a:pt x="26" y="48"/>
                  </a:cubicBezTo>
                  <a:close/>
                  <a:moveTo>
                    <a:pt x="32" y="69"/>
                  </a:moveTo>
                  <a:cubicBezTo>
                    <a:pt x="28" y="70"/>
                    <a:pt x="25" y="72"/>
                    <a:pt x="25" y="76"/>
                  </a:cubicBezTo>
                  <a:cubicBezTo>
                    <a:pt x="30" y="75"/>
                    <a:pt x="35" y="75"/>
                    <a:pt x="41" y="75"/>
                  </a:cubicBezTo>
                  <a:cubicBezTo>
                    <a:pt x="46" y="74"/>
                    <a:pt x="53" y="74"/>
                    <a:pt x="61" y="75"/>
                  </a:cubicBezTo>
                  <a:cubicBezTo>
                    <a:pt x="61" y="72"/>
                    <a:pt x="59" y="71"/>
                    <a:pt x="57" y="70"/>
                  </a:cubicBezTo>
                  <a:cubicBezTo>
                    <a:pt x="49" y="68"/>
                    <a:pt x="40" y="68"/>
                    <a:pt x="32" y="69"/>
                  </a:cubicBezTo>
                  <a:close/>
                  <a:moveTo>
                    <a:pt x="56" y="98"/>
                  </a:moveTo>
                  <a:cubicBezTo>
                    <a:pt x="59" y="97"/>
                    <a:pt x="60" y="96"/>
                    <a:pt x="61" y="93"/>
                  </a:cubicBezTo>
                  <a:cubicBezTo>
                    <a:pt x="60" y="93"/>
                    <a:pt x="57" y="93"/>
                    <a:pt x="54" y="93"/>
                  </a:cubicBezTo>
                  <a:cubicBezTo>
                    <a:pt x="48" y="92"/>
                    <a:pt x="44" y="92"/>
                    <a:pt x="41" y="92"/>
                  </a:cubicBezTo>
                  <a:cubicBezTo>
                    <a:pt x="40" y="92"/>
                    <a:pt x="38" y="92"/>
                    <a:pt x="36" y="93"/>
                  </a:cubicBezTo>
                  <a:cubicBezTo>
                    <a:pt x="31" y="93"/>
                    <a:pt x="28" y="94"/>
                    <a:pt x="26" y="94"/>
                  </a:cubicBezTo>
                  <a:cubicBezTo>
                    <a:pt x="27" y="96"/>
                    <a:pt x="29" y="98"/>
                    <a:pt x="32" y="98"/>
                  </a:cubicBezTo>
                  <a:cubicBezTo>
                    <a:pt x="39" y="99"/>
                    <a:pt x="47" y="99"/>
                    <a:pt x="56" y="98"/>
                  </a:cubicBezTo>
                  <a:close/>
                  <a:moveTo>
                    <a:pt x="56" y="29"/>
                  </a:moveTo>
                  <a:cubicBezTo>
                    <a:pt x="55" y="29"/>
                    <a:pt x="53" y="29"/>
                    <a:pt x="51" y="29"/>
                  </a:cubicBezTo>
                  <a:cubicBezTo>
                    <a:pt x="49" y="29"/>
                    <a:pt x="47" y="29"/>
                    <a:pt x="46" y="29"/>
                  </a:cubicBezTo>
                  <a:cubicBezTo>
                    <a:pt x="46" y="31"/>
                    <a:pt x="46" y="34"/>
                    <a:pt x="46" y="37"/>
                  </a:cubicBezTo>
                  <a:cubicBezTo>
                    <a:pt x="50" y="37"/>
                    <a:pt x="55" y="37"/>
                    <a:pt x="60" y="37"/>
                  </a:cubicBezTo>
                  <a:cubicBezTo>
                    <a:pt x="60" y="35"/>
                    <a:pt x="60" y="35"/>
                    <a:pt x="60" y="35"/>
                  </a:cubicBezTo>
                  <a:cubicBezTo>
                    <a:pt x="60" y="32"/>
                    <a:pt x="58" y="30"/>
                    <a:pt x="56" y="29"/>
                  </a:cubicBezTo>
                  <a:close/>
                  <a:moveTo>
                    <a:pt x="59" y="48"/>
                  </a:moveTo>
                  <a:cubicBezTo>
                    <a:pt x="59" y="47"/>
                    <a:pt x="59" y="45"/>
                    <a:pt x="60" y="43"/>
                  </a:cubicBezTo>
                  <a:cubicBezTo>
                    <a:pt x="55" y="43"/>
                    <a:pt x="51" y="43"/>
                    <a:pt x="46" y="43"/>
                  </a:cubicBezTo>
                  <a:cubicBezTo>
                    <a:pt x="46" y="52"/>
                    <a:pt x="46" y="52"/>
                    <a:pt x="46" y="52"/>
                  </a:cubicBezTo>
                  <a:cubicBezTo>
                    <a:pt x="48" y="52"/>
                    <a:pt x="51" y="52"/>
                    <a:pt x="54" y="52"/>
                  </a:cubicBezTo>
                  <a:cubicBezTo>
                    <a:pt x="57" y="51"/>
                    <a:pt x="59" y="49"/>
                    <a:pt x="59" y="4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24" name="îSḻide"/>
            <p:cNvSpPr/>
            <p:nvPr/>
          </p:nvSpPr>
          <p:spPr bwMode="auto">
            <a:xfrm>
              <a:off x="2449409" y="5256803"/>
              <a:ext cx="139700" cy="265113"/>
            </a:xfrm>
            <a:custGeom>
              <a:avLst/>
              <a:gdLst>
                <a:gd name="T0" fmla="*/ 56 w 76"/>
                <a:gd name="T1" fmla="*/ 3 h 144"/>
                <a:gd name="T2" fmla="*/ 61 w 76"/>
                <a:gd name="T3" fmla="*/ 45 h 144"/>
                <a:gd name="T4" fmla="*/ 50 w 76"/>
                <a:gd name="T5" fmla="*/ 74 h 144"/>
                <a:gd name="T6" fmla="*/ 68 w 76"/>
                <a:gd name="T7" fmla="*/ 65 h 144"/>
                <a:gd name="T8" fmla="*/ 70 w 76"/>
                <a:gd name="T9" fmla="*/ 31 h 144"/>
                <a:gd name="T10" fmla="*/ 74 w 76"/>
                <a:gd name="T11" fmla="*/ 31 h 144"/>
                <a:gd name="T12" fmla="*/ 74 w 76"/>
                <a:gd name="T13" fmla="*/ 64 h 144"/>
                <a:gd name="T14" fmla="*/ 50 w 76"/>
                <a:gd name="T15" fmla="*/ 81 h 144"/>
                <a:gd name="T16" fmla="*/ 69 w 76"/>
                <a:gd name="T17" fmla="*/ 103 h 144"/>
                <a:gd name="T18" fmla="*/ 74 w 76"/>
                <a:gd name="T19" fmla="*/ 140 h 144"/>
                <a:gd name="T20" fmla="*/ 63 w 76"/>
                <a:gd name="T21" fmla="*/ 105 h 144"/>
                <a:gd name="T22" fmla="*/ 52 w 76"/>
                <a:gd name="T23" fmla="*/ 138 h 144"/>
                <a:gd name="T24" fmla="*/ 46 w 76"/>
                <a:gd name="T25" fmla="*/ 139 h 144"/>
                <a:gd name="T26" fmla="*/ 42 w 76"/>
                <a:gd name="T27" fmla="*/ 57 h 144"/>
                <a:gd name="T28" fmla="*/ 35 w 76"/>
                <a:gd name="T29" fmla="*/ 132 h 144"/>
                <a:gd name="T30" fmla="*/ 27 w 76"/>
                <a:gd name="T31" fmla="*/ 136 h 144"/>
                <a:gd name="T32" fmla="*/ 29 w 76"/>
                <a:gd name="T33" fmla="*/ 95 h 144"/>
                <a:gd name="T34" fmla="*/ 5 w 76"/>
                <a:gd name="T35" fmla="*/ 135 h 144"/>
                <a:gd name="T36" fmla="*/ 0 w 76"/>
                <a:gd name="T37" fmla="*/ 135 h 144"/>
                <a:gd name="T38" fmla="*/ 30 w 76"/>
                <a:gd name="T39" fmla="*/ 86 h 144"/>
                <a:gd name="T40" fmla="*/ 26 w 76"/>
                <a:gd name="T41" fmla="*/ 80 h 144"/>
                <a:gd name="T42" fmla="*/ 5 w 76"/>
                <a:gd name="T43" fmla="*/ 66 h 144"/>
                <a:gd name="T44" fmla="*/ 3 w 76"/>
                <a:gd name="T45" fmla="*/ 29 h 144"/>
                <a:gd name="T46" fmla="*/ 9 w 76"/>
                <a:gd name="T47" fmla="*/ 59 h 144"/>
                <a:gd name="T48" fmla="*/ 31 w 76"/>
                <a:gd name="T49" fmla="*/ 74 h 144"/>
                <a:gd name="T50" fmla="*/ 32 w 76"/>
                <a:gd name="T51" fmla="*/ 57 h 144"/>
                <a:gd name="T52" fmla="*/ 16 w 76"/>
                <a:gd name="T53" fmla="*/ 14 h 144"/>
                <a:gd name="T54" fmla="*/ 22 w 76"/>
                <a:gd name="T55" fmla="*/ 19 h 144"/>
                <a:gd name="T56" fmla="*/ 57 w 76"/>
                <a:gd name="T57" fmla="*/ 19 h 144"/>
                <a:gd name="T58" fmla="*/ 50 w 76"/>
                <a:gd name="T59" fmla="*/ 9 h 144"/>
                <a:gd name="T60" fmla="*/ 22 w 76"/>
                <a:gd name="T61" fmla="*/ 19 h 144"/>
                <a:gd name="T62" fmla="*/ 23 w 76"/>
                <a:gd name="T63" fmla="*/ 31 h 144"/>
                <a:gd name="T64" fmla="*/ 57 w 76"/>
                <a:gd name="T65" fmla="*/ 34 h 144"/>
                <a:gd name="T66" fmla="*/ 22 w 76"/>
                <a:gd name="T67" fmla="*/ 27 h 144"/>
                <a:gd name="T68" fmla="*/ 48 w 76"/>
                <a:gd name="T69" fmla="*/ 50 h 144"/>
                <a:gd name="T70" fmla="*/ 57 w 76"/>
                <a:gd name="T71" fmla="*/ 41 h 144"/>
                <a:gd name="T72" fmla="*/ 25 w 76"/>
                <a:gd name="T73" fmla="*/ 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76" h="144">
                  <a:moveTo>
                    <a:pt x="27" y="2"/>
                  </a:moveTo>
                  <a:cubicBezTo>
                    <a:pt x="37" y="0"/>
                    <a:pt x="47" y="0"/>
                    <a:pt x="56" y="3"/>
                  </a:cubicBezTo>
                  <a:cubicBezTo>
                    <a:pt x="60" y="3"/>
                    <a:pt x="62" y="7"/>
                    <a:pt x="63" y="15"/>
                  </a:cubicBezTo>
                  <a:cubicBezTo>
                    <a:pt x="65" y="25"/>
                    <a:pt x="64" y="35"/>
                    <a:pt x="61" y="45"/>
                  </a:cubicBezTo>
                  <a:cubicBezTo>
                    <a:pt x="60" y="53"/>
                    <a:pt x="55" y="56"/>
                    <a:pt x="49" y="57"/>
                  </a:cubicBezTo>
                  <a:cubicBezTo>
                    <a:pt x="49" y="62"/>
                    <a:pt x="50" y="68"/>
                    <a:pt x="50" y="74"/>
                  </a:cubicBezTo>
                  <a:cubicBezTo>
                    <a:pt x="53" y="74"/>
                    <a:pt x="56" y="74"/>
                    <a:pt x="58" y="74"/>
                  </a:cubicBezTo>
                  <a:cubicBezTo>
                    <a:pt x="62" y="75"/>
                    <a:pt x="66" y="72"/>
                    <a:pt x="68" y="65"/>
                  </a:cubicBezTo>
                  <a:cubicBezTo>
                    <a:pt x="69" y="62"/>
                    <a:pt x="70" y="53"/>
                    <a:pt x="70" y="39"/>
                  </a:cubicBezTo>
                  <a:cubicBezTo>
                    <a:pt x="70" y="35"/>
                    <a:pt x="70" y="32"/>
                    <a:pt x="70" y="31"/>
                  </a:cubicBezTo>
                  <a:cubicBezTo>
                    <a:pt x="71" y="31"/>
                    <a:pt x="71" y="30"/>
                    <a:pt x="72" y="30"/>
                  </a:cubicBezTo>
                  <a:cubicBezTo>
                    <a:pt x="73" y="30"/>
                    <a:pt x="74" y="30"/>
                    <a:pt x="74" y="31"/>
                  </a:cubicBezTo>
                  <a:cubicBezTo>
                    <a:pt x="75" y="33"/>
                    <a:pt x="76" y="36"/>
                    <a:pt x="76" y="41"/>
                  </a:cubicBezTo>
                  <a:cubicBezTo>
                    <a:pt x="76" y="49"/>
                    <a:pt x="75" y="56"/>
                    <a:pt x="74" y="64"/>
                  </a:cubicBezTo>
                  <a:cubicBezTo>
                    <a:pt x="72" y="75"/>
                    <a:pt x="67" y="81"/>
                    <a:pt x="58" y="81"/>
                  </a:cubicBezTo>
                  <a:cubicBezTo>
                    <a:pt x="50" y="81"/>
                    <a:pt x="50" y="81"/>
                    <a:pt x="50" y="81"/>
                  </a:cubicBezTo>
                  <a:cubicBezTo>
                    <a:pt x="50" y="87"/>
                    <a:pt x="50" y="87"/>
                    <a:pt x="50" y="87"/>
                  </a:cubicBezTo>
                  <a:cubicBezTo>
                    <a:pt x="60" y="87"/>
                    <a:pt x="66" y="92"/>
                    <a:pt x="69" y="103"/>
                  </a:cubicBezTo>
                  <a:cubicBezTo>
                    <a:pt x="72" y="112"/>
                    <a:pt x="74" y="122"/>
                    <a:pt x="76" y="134"/>
                  </a:cubicBezTo>
                  <a:cubicBezTo>
                    <a:pt x="76" y="138"/>
                    <a:pt x="75" y="140"/>
                    <a:pt x="74" y="140"/>
                  </a:cubicBezTo>
                  <a:cubicBezTo>
                    <a:pt x="72" y="141"/>
                    <a:pt x="71" y="139"/>
                    <a:pt x="70" y="136"/>
                  </a:cubicBezTo>
                  <a:cubicBezTo>
                    <a:pt x="68" y="126"/>
                    <a:pt x="66" y="116"/>
                    <a:pt x="63" y="105"/>
                  </a:cubicBezTo>
                  <a:cubicBezTo>
                    <a:pt x="61" y="98"/>
                    <a:pt x="57" y="95"/>
                    <a:pt x="50" y="95"/>
                  </a:cubicBezTo>
                  <a:cubicBezTo>
                    <a:pt x="50" y="109"/>
                    <a:pt x="51" y="123"/>
                    <a:pt x="52" y="138"/>
                  </a:cubicBezTo>
                  <a:cubicBezTo>
                    <a:pt x="52" y="141"/>
                    <a:pt x="51" y="143"/>
                    <a:pt x="49" y="144"/>
                  </a:cubicBezTo>
                  <a:cubicBezTo>
                    <a:pt x="47" y="144"/>
                    <a:pt x="46" y="142"/>
                    <a:pt x="46" y="139"/>
                  </a:cubicBezTo>
                  <a:cubicBezTo>
                    <a:pt x="44" y="134"/>
                    <a:pt x="43" y="118"/>
                    <a:pt x="43" y="92"/>
                  </a:cubicBezTo>
                  <a:cubicBezTo>
                    <a:pt x="43" y="76"/>
                    <a:pt x="43" y="64"/>
                    <a:pt x="42" y="57"/>
                  </a:cubicBezTo>
                  <a:cubicBezTo>
                    <a:pt x="38" y="57"/>
                    <a:pt x="38" y="57"/>
                    <a:pt x="38" y="57"/>
                  </a:cubicBezTo>
                  <a:cubicBezTo>
                    <a:pt x="36" y="88"/>
                    <a:pt x="35" y="113"/>
                    <a:pt x="35" y="132"/>
                  </a:cubicBezTo>
                  <a:cubicBezTo>
                    <a:pt x="35" y="138"/>
                    <a:pt x="33" y="142"/>
                    <a:pt x="31" y="142"/>
                  </a:cubicBezTo>
                  <a:cubicBezTo>
                    <a:pt x="29" y="142"/>
                    <a:pt x="27" y="140"/>
                    <a:pt x="27" y="136"/>
                  </a:cubicBezTo>
                  <a:cubicBezTo>
                    <a:pt x="27" y="136"/>
                    <a:pt x="27" y="134"/>
                    <a:pt x="27" y="132"/>
                  </a:cubicBezTo>
                  <a:cubicBezTo>
                    <a:pt x="28" y="118"/>
                    <a:pt x="29" y="105"/>
                    <a:pt x="29" y="95"/>
                  </a:cubicBezTo>
                  <a:cubicBezTo>
                    <a:pt x="19" y="95"/>
                    <a:pt x="14" y="98"/>
                    <a:pt x="13" y="105"/>
                  </a:cubicBezTo>
                  <a:cubicBezTo>
                    <a:pt x="10" y="114"/>
                    <a:pt x="7" y="124"/>
                    <a:pt x="5" y="135"/>
                  </a:cubicBezTo>
                  <a:cubicBezTo>
                    <a:pt x="4" y="137"/>
                    <a:pt x="3" y="139"/>
                    <a:pt x="2" y="139"/>
                  </a:cubicBezTo>
                  <a:cubicBezTo>
                    <a:pt x="1" y="140"/>
                    <a:pt x="0" y="138"/>
                    <a:pt x="0" y="135"/>
                  </a:cubicBezTo>
                  <a:cubicBezTo>
                    <a:pt x="0" y="125"/>
                    <a:pt x="2" y="115"/>
                    <a:pt x="7" y="104"/>
                  </a:cubicBezTo>
                  <a:cubicBezTo>
                    <a:pt x="11" y="92"/>
                    <a:pt x="18" y="86"/>
                    <a:pt x="30" y="86"/>
                  </a:cubicBezTo>
                  <a:cubicBezTo>
                    <a:pt x="30" y="85"/>
                    <a:pt x="30" y="83"/>
                    <a:pt x="31" y="80"/>
                  </a:cubicBezTo>
                  <a:cubicBezTo>
                    <a:pt x="29" y="81"/>
                    <a:pt x="28" y="81"/>
                    <a:pt x="26" y="80"/>
                  </a:cubicBezTo>
                  <a:cubicBezTo>
                    <a:pt x="24" y="80"/>
                    <a:pt x="23" y="80"/>
                    <a:pt x="22" y="80"/>
                  </a:cubicBezTo>
                  <a:cubicBezTo>
                    <a:pt x="14" y="81"/>
                    <a:pt x="8" y="76"/>
                    <a:pt x="5" y="66"/>
                  </a:cubicBezTo>
                  <a:cubicBezTo>
                    <a:pt x="2" y="59"/>
                    <a:pt x="0" y="49"/>
                    <a:pt x="0" y="37"/>
                  </a:cubicBezTo>
                  <a:cubicBezTo>
                    <a:pt x="0" y="32"/>
                    <a:pt x="1" y="29"/>
                    <a:pt x="3" y="29"/>
                  </a:cubicBezTo>
                  <a:cubicBezTo>
                    <a:pt x="6" y="31"/>
                    <a:pt x="8" y="35"/>
                    <a:pt x="8" y="39"/>
                  </a:cubicBezTo>
                  <a:cubicBezTo>
                    <a:pt x="7" y="45"/>
                    <a:pt x="7" y="52"/>
                    <a:pt x="9" y="59"/>
                  </a:cubicBezTo>
                  <a:cubicBezTo>
                    <a:pt x="10" y="68"/>
                    <a:pt x="16" y="73"/>
                    <a:pt x="24" y="74"/>
                  </a:cubicBezTo>
                  <a:cubicBezTo>
                    <a:pt x="26" y="74"/>
                    <a:pt x="29" y="74"/>
                    <a:pt x="31" y="74"/>
                  </a:cubicBezTo>
                  <a:cubicBezTo>
                    <a:pt x="31" y="72"/>
                    <a:pt x="31" y="69"/>
                    <a:pt x="31" y="65"/>
                  </a:cubicBezTo>
                  <a:cubicBezTo>
                    <a:pt x="31" y="61"/>
                    <a:pt x="32" y="58"/>
                    <a:pt x="32" y="57"/>
                  </a:cubicBezTo>
                  <a:cubicBezTo>
                    <a:pt x="25" y="56"/>
                    <a:pt x="20" y="53"/>
                    <a:pt x="19" y="48"/>
                  </a:cubicBezTo>
                  <a:cubicBezTo>
                    <a:pt x="15" y="36"/>
                    <a:pt x="14" y="25"/>
                    <a:pt x="16" y="14"/>
                  </a:cubicBezTo>
                  <a:cubicBezTo>
                    <a:pt x="17" y="6"/>
                    <a:pt x="21" y="2"/>
                    <a:pt x="27" y="2"/>
                  </a:cubicBezTo>
                  <a:close/>
                  <a:moveTo>
                    <a:pt x="22" y="19"/>
                  </a:moveTo>
                  <a:cubicBezTo>
                    <a:pt x="22" y="20"/>
                    <a:pt x="22" y="20"/>
                    <a:pt x="22" y="20"/>
                  </a:cubicBezTo>
                  <a:cubicBezTo>
                    <a:pt x="30" y="20"/>
                    <a:pt x="42" y="19"/>
                    <a:pt x="57" y="19"/>
                  </a:cubicBezTo>
                  <a:cubicBezTo>
                    <a:pt x="57" y="18"/>
                    <a:pt x="57" y="17"/>
                    <a:pt x="57" y="16"/>
                  </a:cubicBezTo>
                  <a:cubicBezTo>
                    <a:pt x="56" y="13"/>
                    <a:pt x="54" y="10"/>
                    <a:pt x="50" y="9"/>
                  </a:cubicBezTo>
                  <a:cubicBezTo>
                    <a:pt x="44" y="8"/>
                    <a:pt x="37" y="7"/>
                    <a:pt x="31" y="9"/>
                  </a:cubicBezTo>
                  <a:cubicBezTo>
                    <a:pt x="25" y="11"/>
                    <a:pt x="22" y="14"/>
                    <a:pt x="22" y="19"/>
                  </a:cubicBezTo>
                  <a:close/>
                  <a:moveTo>
                    <a:pt x="22" y="27"/>
                  </a:moveTo>
                  <a:cubicBezTo>
                    <a:pt x="22" y="28"/>
                    <a:pt x="22" y="29"/>
                    <a:pt x="23" y="31"/>
                  </a:cubicBezTo>
                  <a:cubicBezTo>
                    <a:pt x="23" y="32"/>
                    <a:pt x="23" y="33"/>
                    <a:pt x="23" y="34"/>
                  </a:cubicBezTo>
                  <a:cubicBezTo>
                    <a:pt x="57" y="34"/>
                    <a:pt x="57" y="34"/>
                    <a:pt x="57" y="34"/>
                  </a:cubicBezTo>
                  <a:cubicBezTo>
                    <a:pt x="57" y="27"/>
                    <a:pt x="57" y="27"/>
                    <a:pt x="57" y="27"/>
                  </a:cubicBezTo>
                  <a:cubicBezTo>
                    <a:pt x="45" y="26"/>
                    <a:pt x="33" y="26"/>
                    <a:pt x="22" y="27"/>
                  </a:cubicBezTo>
                  <a:close/>
                  <a:moveTo>
                    <a:pt x="35" y="50"/>
                  </a:moveTo>
                  <a:cubicBezTo>
                    <a:pt x="48" y="50"/>
                    <a:pt x="48" y="50"/>
                    <a:pt x="48" y="50"/>
                  </a:cubicBezTo>
                  <a:cubicBezTo>
                    <a:pt x="53" y="50"/>
                    <a:pt x="55" y="47"/>
                    <a:pt x="57" y="42"/>
                  </a:cubicBezTo>
                  <a:cubicBezTo>
                    <a:pt x="57" y="41"/>
                    <a:pt x="57" y="41"/>
                    <a:pt x="57" y="41"/>
                  </a:cubicBezTo>
                  <a:cubicBezTo>
                    <a:pt x="43" y="41"/>
                    <a:pt x="32" y="41"/>
                    <a:pt x="24" y="42"/>
                  </a:cubicBezTo>
                  <a:cubicBezTo>
                    <a:pt x="24" y="43"/>
                    <a:pt x="24" y="43"/>
                    <a:pt x="25" y="44"/>
                  </a:cubicBezTo>
                  <a:cubicBezTo>
                    <a:pt x="27" y="48"/>
                    <a:pt x="30" y="50"/>
                    <a:pt x="35" y="5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25" name="iṣlîḋè"/>
            <p:cNvSpPr/>
            <p:nvPr/>
          </p:nvSpPr>
          <p:spPr bwMode="auto">
            <a:xfrm>
              <a:off x="2604984" y="5259978"/>
              <a:ext cx="177800" cy="255588"/>
            </a:xfrm>
            <a:custGeom>
              <a:avLst/>
              <a:gdLst>
                <a:gd name="T0" fmla="*/ 5 w 96"/>
                <a:gd name="T1" fmla="*/ 37 h 138"/>
                <a:gd name="T2" fmla="*/ 24 w 96"/>
                <a:gd name="T3" fmla="*/ 49 h 138"/>
                <a:gd name="T4" fmla="*/ 7 w 96"/>
                <a:gd name="T5" fmla="*/ 26 h 138"/>
                <a:gd name="T6" fmla="*/ 0 w 96"/>
                <a:gd name="T7" fmla="*/ 22 h 138"/>
                <a:gd name="T8" fmla="*/ 44 w 96"/>
                <a:gd name="T9" fmla="*/ 19 h 138"/>
                <a:gd name="T10" fmla="*/ 40 w 96"/>
                <a:gd name="T11" fmla="*/ 26 h 138"/>
                <a:gd name="T12" fmla="*/ 29 w 96"/>
                <a:gd name="T13" fmla="*/ 49 h 138"/>
                <a:gd name="T14" fmla="*/ 42 w 96"/>
                <a:gd name="T15" fmla="*/ 39 h 138"/>
                <a:gd name="T16" fmla="*/ 36 w 96"/>
                <a:gd name="T17" fmla="*/ 64 h 138"/>
                <a:gd name="T18" fmla="*/ 44 w 96"/>
                <a:gd name="T19" fmla="*/ 70 h 138"/>
                <a:gd name="T20" fmla="*/ 30 w 96"/>
                <a:gd name="T21" fmla="*/ 78 h 138"/>
                <a:gd name="T22" fmla="*/ 48 w 96"/>
                <a:gd name="T23" fmla="*/ 111 h 138"/>
                <a:gd name="T24" fmla="*/ 42 w 96"/>
                <a:gd name="T25" fmla="*/ 124 h 138"/>
                <a:gd name="T26" fmla="*/ 33 w 96"/>
                <a:gd name="T27" fmla="*/ 93 h 138"/>
                <a:gd name="T28" fmla="*/ 30 w 96"/>
                <a:gd name="T29" fmla="*/ 116 h 138"/>
                <a:gd name="T30" fmla="*/ 24 w 96"/>
                <a:gd name="T31" fmla="*/ 133 h 138"/>
                <a:gd name="T32" fmla="*/ 20 w 96"/>
                <a:gd name="T33" fmla="*/ 93 h 138"/>
                <a:gd name="T34" fmla="*/ 11 w 96"/>
                <a:gd name="T35" fmla="*/ 122 h 138"/>
                <a:gd name="T36" fmla="*/ 8 w 96"/>
                <a:gd name="T37" fmla="*/ 102 h 138"/>
                <a:gd name="T38" fmla="*/ 24 w 96"/>
                <a:gd name="T39" fmla="*/ 81 h 138"/>
                <a:gd name="T40" fmla="*/ 3 w 96"/>
                <a:gd name="T41" fmla="*/ 77 h 138"/>
                <a:gd name="T42" fmla="*/ 14 w 96"/>
                <a:gd name="T43" fmla="*/ 70 h 138"/>
                <a:gd name="T44" fmla="*/ 20 w 96"/>
                <a:gd name="T45" fmla="*/ 65 h 138"/>
                <a:gd name="T46" fmla="*/ 2 w 96"/>
                <a:gd name="T47" fmla="*/ 37 h 138"/>
                <a:gd name="T48" fmla="*/ 40 w 96"/>
                <a:gd name="T49" fmla="*/ 3 h 138"/>
                <a:gd name="T50" fmla="*/ 14 w 96"/>
                <a:gd name="T51" fmla="*/ 11 h 138"/>
                <a:gd name="T52" fmla="*/ 5 w 96"/>
                <a:gd name="T53" fmla="*/ 6 h 138"/>
                <a:gd name="T54" fmla="*/ 33 w 96"/>
                <a:gd name="T55" fmla="*/ 26 h 138"/>
                <a:gd name="T56" fmla="*/ 27 w 96"/>
                <a:gd name="T57" fmla="*/ 45 h 138"/>
                <a:gd name="T58" fmla="*/ 54 w 96"/>
                <a:gd name="T59" fmla="*/ 2 h 138"/>
                <a:gd name="T60" fmla="*/ 58 w 96"/>
                <a:gd name="T61" fmla="*/ 10 h 138"/>
                <a:gd name="T62" fmla="*/ 88 w 96"/>
                <a:gd name="T63" fmla="*/ 22 h 138"/>
                <a:gd name="T64" fmla="*/ 74 w 96"/>
                <a:gd name="T65" fmla="*/ 37 h 138"/>
                <a:gd name="T66" fmla="*/ 62 w 96"/>
                <a:gd name="T67" fmla="*/ 66 h 138"/>
                <a:gd name="T68" fmla="*/ 53 w 96"/>
                <a:gd name="T69" fmla="*/ 136 h 138"/>
                <a:gd name="T70" fmla="*/ 48 w 96"/>
                <a:gd name="T71" fmla="*/ 130 h 138"/>
                <a:gd name="T72" fmla="*/ 55 w 96"/>
                <a:gd name="T73" fmla="*/ 48 h 138"/>
                <a:gd name="T74" fmla="*/ 76 w 96"/>
                <a:gd name="T75" fmla="*/ 31 h 138"/>
                <a:gd name="T76" fmla="*/ 65 w 96"/>
                <a:gd name="T77" fmla="*/ 18 h 138"/>
                <a:gd name="T78" fmla="*/ 52 w 96"/>
                <a:gd name="T79" fmla="*/ 13 h 138"/>
                <a:gd name="T80" fmla="*/ 94 w 96"/>
                <a:gd name="T81" fmla="*/ 74 h 138"/>
                <a:gd name="T82" fmla="*/ 76 w 96"/>
                <a:gd name="T83" fmla="*/ 54 h 138"/>
                <a:gd name="T84" fmla="*/ 83 w 96"/>
                <a:gd name="T85" fmla="*/ 119 h 138"/>
                <a:gd name="T86" fmla="*/ 88 w 96"/>
                <a:gd name="T87" fmla="*/ 133 h 138"/>
                <a:gd name="T88" fmla="*/ 70 w 96"/>
                <a:gd name="T89" fmla="*/ 93 h 138"/>
                <a:gd name="T90" fmla="*/ 70 w 96"/>
                <a:gd name="T91" fmla="*/ 42 h 138"/>
                <a:gd name="T92" fmla="*/ 95 w 96"/>
                <a:gd name="T93" fmla="*/ 70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96" h="138">
                  <a:moveTo>
                    <a:pt x="2" y="37"/>
                  </a:moveTo>
                  <a:cubicBezTo>
                    <a:pt x="2" y="36"/>
                    <a:pt x="2" y="35"/>
                    <a:pt x="3" y="35"/>
                  </a:cubicBezTo>
                  <a:cubicBezTo>
                    <a:pt x="4" y="35"/>
                    <a:pt x="5" y="36"/>
                    <a:pt x="5" y="37"/>
                  </a:cubicBezTo>
                  <a:cubicBezTo>
                    <a:pt x="9" y="49"/>
                    <a:pt x="14" y="56"/>
                    <a:pt x="21" y="59"/>
                  </a:cubicBezTo>
                  <a:cubicBezTo>
                    <a:pt x="21" y="59"/>
                    <a:pt x="22" y="60"/>
                    <a:pt x="24" y="60"/>
                  </a:cubicBezTo>
                  <a:cubicBezTo>
                    <a:pt x="24" y="56"/>
                    <a:pt x="24" y="53"/>
                    <a:pt x="24" y="49"/>
                  </a:cubicBezTo>
                  <a:cubicBezTo>
                    <a:pt x="21" y="48"/>
                    <a:pt x="18" y="46"/>
                    <a:pt x="16" y="42"/>
                  </a:cubicBezTo>
                  <a:cubicBezTo>
                    <a:pt x="13" y="38"/>
                    <a:pt x="12" y="33"/>
                    <a:pt x="12" y="26"/>
                  </a:cubicBezTo>
                  <a:cubicBezTo>
                    <a:pt x="9" y="26"/>
                    <a:pt x="8" y="26"/>
                    <a:pt x="7" y="26"/>
                  </a:cubicBezTo>
                  <a:cubicBezTo>
                    <a:pt x="4" y="27"/>
                    <a:pt x="2" y="27"/>
                    <a:pt x="1" y="25"/>
                  </a:cubicBezTo>
                  <a:cubicBezTo>
                    <a:pt x="0" y="24"/>
                    <a:pt x="0" y="23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1" y="19"/>
                    <a:pt x="2" y="18"/>
                    <a:pt x="4" y="19"/>
                  </a:cubicBezTo>
                  <a:cubicBezTo>
                    <a:pt x="6" y="19"/>
                    <a:pt x="8" y="19"/>
                    <a:pt x="11" y="19"/>
                  </a:cubicBezTo>
                  <a:cubicBezTo>
                    <a:pt x="44" y="19"/>
                    <a:pt x="44" y="19"/>
                    <a:pt x="44" y="19"/>
                  </a:cubicBezTo>
                  <a:cubicBezTo>
                    <a:pt x="46" y="19"/>
                    <a:pt x="48" y="20"/>
                    <a:pt x="48" y="23"/>
                  </a:cubicBezTo>
                  <a:cubicBezTo>
                    <a:pt x="47" y="25"/>
                    <a:pt x="45" y="26"/>
                    <a:pt x="42" y="26"/>
                  </a:cubicBezTo>
                  <a:cubicBezTo>
                    <a:pt x="42" y="26"/>
                    <a:pt x="41" y="26"/>
                    <a:pt x="40" y="26"/>
                  </a:cubicBezTo>
                  <a:cubicBezTo>
                    <a:pt x="40" y="26"/>
                    <a:pt x="40" y="26"/>
                    <a:pt x="40" y="26"/>
                  </a:cubicBezTo>
                  <a:cubicBezTo>
                    <a:pt x="39" y="34"/>
                    <a:pt x="38" y="39"/>
                    <a:pt x="37" y="42"/>
                  </a:cubicBezTo>
                  <a:cubicBezTo>
                    <a:pt x="34" y="46"/>
                    <a:pt x="32" y="49"/>
                    <a:pt x="29" y="49"/>
                  </a:cubicBezTo>
                  <a:cubicBezTo>
                    <a:pt x="30" y="53"/>
                    <a:pt x="30" y="56"/>
                    <a:pt x="30" y="60"/>
                  </a:cubicBezTo>
                  <a:cubicBezTo>
                    <a:pt x="31" y="60"/>
                    <a:pt x="32" y="59"/>
                    <a:pt x="33" y="58"/>
                  </a:cubicBezTo>
                  <a:cubicBezTo>
                    <a:pt x="39" y="56"/>
                    <a:pt x="42" y="49"/>
                    <a:pt x="42" y="39"/>
                  </a:cubicBezTo>
                  <a:cubicBezTo>
                    <a:pt x="43" y="37"/>
                    <a:pt x="44" y="36"/>
                    <a:pt x="46" y="36"/>
                  </a:cubicBezTo>
                  <a:cubicBezTo>
                    <a:pt x="47" y="36"/>
                    <a:pt x="48" y="37"/>
                    <a:pt x="48" y="39"/>
                  </a:cubicBezTo>
                  <a:cubicBezTo>
                    <a:pt x="49" y="49"/>
                    <a:pt x="45" y="57"/>
                    <a:pt x="36" y="64"/>
                  </a:cubicBezTo>
                  <a:cubicBezTo>
                    <a:pt x="34" y="65"/>
                    <a:pt x="32" y="66"/>
                    <a:pt x="30" y="66"/>
                  </a:cubicBezTo>
                  <a:cubicBezTo>
                    <a:pt x="30" y="70"/>
                    <a:pt x="30" y="70"/>
                    <a:pt x="30" y="70"/>
                  </a:cubicBezTo>
                  <a:cubicBezTo>
                    <a:pt x="44" y="70"/>
                    <a:pt x="44" y="70"/>
                    <a:pt x="44" y="70"/>
                  </a:cubicBezTo>
                  <a:cubicBezTo>
                    <a:pt x="47" y="70"/>
                    <a:pt x="49" y="71"/>
                    <a:pt x="49" y="73"/>
                  </a:cubicBezTo>
                  <a:cubicBezTo>
                    <a:pt x="49" y="76"/>
                    <a:pt x="47" y="77"/>
                    <a:pt x="43" y="77"/>
                  </a:cubicBezTo>
                  <a:cubicBezTo>
                    <a:pt x="37" y="77"/>
                    <a:pt x="33" y="77"/>
                    <a:pt x="30" y="78"/>
                  </a:cubicBezTo>
                  <a:cubicBezTo>
                    <a:pt x="30" y="80"/>
                    <a:pt x="30" y="82"/>
                    <a:pt x="30" y="84"/>
                  </a:cubicBezTo>
                  <a:cubicBezTo>
                    <a:pt x="34" y="84"/>
                    <a:pt x="37" y="87"/>
                    <a:pt x="40" y="91"/>
                  </a:cubicBezTo>
                  <a:cubicBezTo>
                    <a:pt x="44" y="96"/>
                    <a:pt x="46" y="103"/>
                    <a:pt x="48" y="111"/>
                  </a:cubicBezTo>
                  <a:cubicBezTo>
                    <a:pt x="49" y="116"/>
                    <a:pt x="49" y="120"/>
                    <a:pt x="48" y="124"/>
                  </a:cubicBezTo>
                  <a:cubicBezTo>
                    <a:pt x="47" y="125"/>
                    <a:pt x="46" y="125"/>
                    <a:pt x="45" y="125"/>
                  </a:cubicBezTo>
                  <a:cubicBezTo>
                    <a:pt x="44" y="125"/>
                    <a:pt x="43" y="125"/>
                    <a:pt x="42" y="124"/>
                  </a:cubicBezTo>
                  <a:cubicBezTo>
                    <a:pt x="42" y="123"/>
                    <a:pt x="42" y="121"/>
                    <a:pt x="42" y="118"/>
                  </a:cubicBezTo>
                  <a:cubicBezTo>
                    <a:pt x="41" y="116"/>
                    <a:pt x="41" y="114"/>
                    <a:pt x="41" y="113"/>
                  </a:cubicBezTo>
                  <a:cubicBezTo>
                    <a:pt x="40" y="104"/>
                    <a:pt x="37" y="97"/>
                    <a:pt x="33" y="93"/>
                  </a:cubicBezTo>
                  <a:cubicBezTo>
                    <a:pt x="33" y="92"/>
                    <a:pt x="32" y="91"/>
                    <a:pt x="30" y="91"/>
                  </a:cubicBezTo>
                  <a:cubicBezTo>
                    <a:pt x="31" y="97"/>
                    <a:pt x="31" y="101"/>
                    <a:pt x="31" y="105"/>
                  </a:cubicBezTo>
                  <a:cubicBezTo>
                    <a:pt x="31" y="107"/>
                    <a:pt x="31" y="111"/>
                    <a:pt x="30" y="116"/>
                  </a:cubicBezTo>
                  <a:cubicBezTo>
                    <a:pt x="30" y="124"/>
                    <a:pt x="30" y="129"/>
                    <a:pt x="29" y="133"/>
                  </a:cubicBezTo>
                  <a:cubicBezTo>
                    <a:pt x="29" y="136"/>
                    <a:pt x="28" y="137"/>
                    <a:pt x="27" y="137"/>
                  </a:cubicBezTo>
                  <a:cubicBezTo>
                    <a:pt x="26" y="137"/>
                    <a:pt x="25" y="136"/>
                    <a:pt x="24" y="133"/>
                  </a:cubicBezTo>
                  <a:cubicBezTo>
                    <a:pt x="24" y="120"/>
                    <a:pt x="24" y="111"/>
                    <a:pt x="24" y="105"/>
                  </a:cubicBezTo>
                  <a:cubicBezTo>
                    <a:pt x="24" y="100"/>
                    <a:pt x="24" y="95"/>
                    <a:pt x="24" y="90"/>
                  </a:cubicBezTo>
                  <a:cubicBezTo>
                    <a:pt x="22" y="91"/>
                    <a:pt x="21" y="92"/>
                    <a:pt x="20" y="93"/>
                  </a:cubicBezTo>
                  <a:cubicBezTo>
                    <a:pt x="18" y="94"/>
                    <a:pt x="16" y="98"/>
                    <a:pt x="14" y="102"/>
                  </a:cubicBezTo>
                  <a:cubicBezTo>
                    <a:pt x="13" y="104"/>
                    <a:pt x="13" y="104"/>
                    <a:pt x="13" y="104"/>
                  </a:cubicBezTo>
                  <a:cubicBezTo>
                    <a:pt x="12" y="108"/>
                    <a:pt x="11" y="114"/>
                    <a:pt x="11" y="122"/>
                  </a:cubicBezTo>
                  <a:cubicBezTo>
                    <a:pt x="10" y="124"/>
                    <a:pt x="9" y="125"/>
                    <a:pt x="7" y="125"/>
                  </a:cubicBezTo>
                  <a:cubicBezTo>
                    <a:pt x="6" y="125"/>
                    <a:pt x="5" y="124"/>
                    <a:pt x="5" y="122"/>
                  </a:cubicBezTo>
                  <a:cubicBezTo>
                    <a:pt x="6" y="115"/>
                    <a:pt x="7" y="108"/>
                    <a:pt x="8" y="102"/>
                  </a:cubicBezTo>
                  <a:cubicBezTo>
                    <a:pt x="9" y="97"/>
                    <a:pt x="11" y="92"/>
                    <a:pt x="14" y="89"/>
                  </a:cubicBezTo>
                  <a:cubicBezTo>
                    <a:pt x="17" y="86"/>
                    <a:pt x="20" y="84"/>
                    <a:pt x="24" y="84"/>
                  </a:cubicBezTo>
                  <a:cubicBezTo>
                    <a:pt x="24" y="81"/>
                    <a:pt x="24" y="81"/>
                    <a:pt x="24" y="81"/>
                  </a:cubicBezTo>
                  <a:cubicBezTo>
                    <a:pt x="24" y="80"/>
                    <a:pt x="24" y="79"/>
                    <a:pt x="24" y="78"/>
                  </a:cubicBezTo>
                  <a:cubicBezTo>
                    <a:pt x="14" y="78"/>
                    <a:pt x="9" y="78"/>
                    <a:pt x="9" y="78"/>
                  </a:cubicBezTo>
                  <a:cubicBezTo>
                    <a:pt x="6" y="79"/>
                    <a:pt x="4" y="79"/>
                    <a:pt x="3" y="77"/>
                  </a:cubicBezTo>
                  <a:cubicBezTo>
                    <a:pt x="2" y="76"/>
                    <a:pt x="2" y="74"/>
                    <a:pt x="3" y="72"/>
                  </a:cubicBezTo>
                  <a:cubicBezTo>
                    <a:pt x="3" y="70"/>
                    <a:pt x="4" y="70"/>
                    <a:pt x="7" y="70"/>
                  </a:cubicBezTo>
                  <a:cubicBezTo>
                    <a:pt x="8" y="70"/>
                    <a:pt x="10" y="70"/>
                    <a:pt x="14" y="70"/>
                  </a:cubicBezTo>
                  <a:cubicBezTo>
                    <a:pt x="24" y="70"/>
                    <a:pt x="24" y="70"/>
                    <a:pt x="24" y="70"/>
                  </a:cubicBezTo>
                  <a:cubicBezTo>
                    <a:pt x="24" y="66"/>
                    <a:pt x="24" y="66"/>
                    <a:pt x="24" y="66"/>
                  </a:cubicBezTo>
                  <a:cubicBezTo>
                    <a:pt x="22" y="66"/>
                    <a:pt x="21" y="66"/>
                    <a:pt x="20" y="65"/>
                  </a:cubicBezTo>
                  <a:cubicBezTo>
                    <a:pt x="12" y="62"/>
                    <a:pt x="6" y="56"/>
                    <a:pt x="2" y="46"/>
                  </a:cubicBezTo>
                  <a:cubicBezTo>
                    <a:pt x="2" y="46"/>
                    <a:pt x="2" y="43"/>
                    <a:pt x="2" y="40"/>
                  </a:cubicBezTo>
                  <a:cubicBezTo>
                    <a:pt x="2" y="39"/>
                    <a:pt x="2" y="38"/>
                    <a:pt x="2" y="37"/>
                  </a:cubicBezTo>
                  <a:close/>
                  <a:moveTo>
                    <a:pt x="9" y="3"/>
                  </a:moveTo>
                  <a:cubicBezTo>
                    <a:pt x="11" y="3"/>
                    <a:pt x="15" y="3"/>
                    <a:pt x="19" y="3"/>
                  </a:cubicBezTo>
                  <a:cubicBezTo>
                    <a:pt x="40" y="3"/>
                    <a:pt x="40" y="3"/>
                    <a:pt x="40" y="3"/>
                  </a:cubicBezTo>
                  <a:cubicBezTo>
                    <a:pt x="43" y="3"/>
                    <a:pt x="44" y="5"/>
                    <a:pt x="44" y="7"/>
                  </a:cubicBezTo>
                  <a:cubicBezTo>
                    <a:pt x="44" y="9"/>
                    <a:pt x="42" y="10"/>
                    <a:pt x="39" y="10"/>
                  </a:cubicBezTo>
                  <a:cubicBezTo>
                    <a:pt x="34" y="10"/>
                    <a:pt x="25" y="10"/>
                    <a:pt x="14" y="11"/>
                  </a:cubicBezTo>
                  <a:cubicBezTo>
                    <a:pt x="13" y="11"/>
                    <a:pt x="12" y="11"/>
                    <a:pt x="11" y="11"/>
                  </a:cubicBezTo>
                  <a:cubicBezTo>
                    <a:pt x="7" y="11"/>
                    <a:pt x="5" y="11"/>
                    <a:pt x="5" y="9"/>
                  </a:cubicBezTo>
                  <a:cubicBezTo>
                    <a:pt x="5" y="9"/>
                    <a:pt x="4" y="8"/>
                    <a:pt x="5" y="6"/>
                  </a:cubicBezTo>
                  <a:cubicBezTo>
                    <a:pt x="5" y="5"/>
                    <a:pt x="5" y="5"/>
                    <a:pt x="5" y="5"/>
                  </a:cubicBezTo>
                  <a:cubicBezTo>
                    <a:pt x="5" y="3"/>
                    <a:pt x="6" y="3"/>
                    <a:pt x="9" y="3"/>
                  </a:cubicBezTo>
                  <a:close/>
                  <a:moveTo>
                    <a:pt x="33" y="26"/>
                  </a:moveTo>
                  <a:cubicBezTo>
                    <a:pt x="28" y="26"/>
                    <a:pt x="23" y="26"/>
                    <a:pt x="17" y="26"/>
                  </a:cubicBezTo>
                  <a:cubicBezTo>
                    <a:pt x="18" y="32"/>
                    <a:pt x="20" y="38"/>
                    <a:pt x="24" y="42"/>
                  </a:cubicBezTo>
                  <a:cubicBezTo>
                    <a:pt x="25" y="44"/>
                    <a:pt x="26" y="45"/>
                    <a:pt x="27" y="45"/>
                  </a:cubicBezTo>
                  <a:cubicBezTo>
                    <a:pt x="28" y="45"/>
                    <a:pt x="29" y="44"/>
                    <a:pt x="29" y="42"/>
                  </a:cubicBezTo>
                  <a:cubicBezTo>
                    <a:pt x="32" y="38"/>
                    <a:pt x="33" y="33"/>
                    <a:pt x="33" y="26"/>
                  </a:cubicBezTo>
                  <a:close/>
                  <a:moveTo>
                    <a:pt x="54" y="2"/>
                  </a:moveTo>
                  <a:cubicBezTo>
                    <a:pt x="55" y="0"/>
                    <a:pt x="57" y="0"/>
                    <a:pt x="58" y="1"/>
                  </a:cubicBezTo>
                  <a:cubicBezTo>
                    <a:pt x="59" y="2"/>
                    <a:pt x="60" y="4"/>
                    <a:pt x="59" y="6"/>
                  </a:cubicBezTo>
                  <a:cubicBezTo>
                    <a:pt x="57" y="8"/>
                    <a:pt x="57" y="9"/>
                    <a:pt x="58" y="10"/>
                  </a:cubicBezTo>
                  <a:cubicBezTo>
                    <a:pt x="59" y="11"/>
                    <a:pt x="61" y="12"/>
                    <a:pt x="63" y="11"/>
                  </a:cubicBezTo>
                  <a:cubicBezTo>
                    <a:pt x="67" y="9"/>
                    <a:pt x="73" y="9"/>
                    <a:pt x="80" y="11"/>
                  </a:cubicBezTo>
                  <a:cubicBezTo>
                    <a:pt x="84" y="13"/>
                    <a:pt x="87" y="16"/>
                    <a:pt x="88" y="22"/>
                  </a:cubicBezTo>
                  <a:cubicBezTo>
                    <a:pt x="89" y="27"/>
                    <a:pt x="88" y="32"/>
                    <a:pt x="85" y="35"/>
                  </a:cubicBezTo>
                  <a:cubicBezTo>
                    <a:pt x="84" y="38"/>
                    <a:pt x="81" y="39"/>
                    <a:pt x="75" y="37"/>
                  </a:cubicBezTo>
                  <a:cubicBezTo>
                    <a:pt x="75" y="37"/>
                    <a:pt x="74" y="37"/>
                    <a:pt x="74" y="37"/>
                  </a:cubicBezTo>
                  <a:cubicBezTo>
                    <a:pt x="69" y="37"/>
                    <a:pt x="66" y="37"/>
                    <a:pt x="63" y="38"/>
                  </a:cubicBezTo>
                  <a:cubicBezTo>
                    <a:pt x="62" y="38"/>
                    <a:pt x="61" y="40"/>
                    <a:pt x="61" y="43"/>
                  </a:cubicBezTo>
                  <a:cubicBezTo>
                    <a:pt x="62" y="48"/>
                    <a:pt x="62" y="56"/>
                    <a:pt x="62" y="66"/>
                  </a:cubicBezTo>
                  <a:cubicBezTo>
                    <a:pt x="62" y="70"/>
                    <a:pt x="61" y="76"/>
                    <a:pt x="61" y="84"/>
                  </a:cubicBezTo>
                  <a:cubicBezTo>
                    <a:pt x="59" y="99"/>
                    <a:pt x="58" y="110"/>
                    <a:pt x="57" y="116"/>
                  </a:cubicBezTo>
                  <a:cubicBezTo>
                    <a:pt x="57" y="122"/>
                    <a:pt x="55" y="128"/>
                    <a:pt x="53" y="136"/>
                  </a:cubicBezTo>
                  <a:cubicBezTo>
                    <a:pt x="52" y="137"/>
                    <a:pt x="51" y="138"/>
                    <a:pt x="50" y="138"/>
                  </a:cubicBezTo>
                  <a:cubicBezTo>
                    <a:pt x="48" y="138"/>
                    <a:pt x="48" y="137"/>
                    <a:pt x="48" y="136"/>
                  </a:cubicBezTo>
                  <a:cubicBezTo>
                    <a:pt x="48" y="135"/>
                    <a:pt x="48" y="133"/>
                    <a:pt x="48" y="130"/>
                  </a:cubicBezTo>
                  <a:cubicBezTo>
                    <a:pt x="49" y="127"/>
                    <a:pt x="49" y="126"/>
                    <a:pt x="49" y="125"/>
                  </a:cubicBezTo>
                  <a:cubicBezTo>
                    <a:pt x="53" y="104"/>
                    <a:pt x="55" y="85"/>
                    <a:pt x="55" y="68"/>
                  </a:cubicBezTo>
                  <a:cubicBezTo>
                    <a:pt x="56" y="60"/>
                    <a:pt x="56" y="54"/>
                    <a:pt x="55" y="48"/>
                  </a:cubicBezTo>
                  <a:cubicBezTo>
                    <a:pt x="54" y="45"/>
                    <a:pt x="53" y="42"/>
                    <a:pt x="52" y="40"/>
                  </a:cubicBezTo>
                  <a:cubicBezTo>
                    <a:pt x="50" y="38"/>
                    <a:pt x="51" y="36"/>
                    <a:pt x="54" y="34"/>
                  </a:cubicBezTo>
                  <a:cubicBezTo>
                    <a:pt x="58" y="30"/>
                    <a:pt x="66" y="29"/>
                    <a:pt x="76" y="31"/>
                  </a:cubicBezTo>
                  <a:cubicBezTo>
                    <a:pt x="81" y="32"/>
                    <a:pt x="83" y="30"/>
                    <a:pt x="83" y="25"/>
                  </a:cubicBezTo>
                  <a:cubicBezTo>
                    <a:pt x="83" y="21"/>
                    <a:pt x="81" y="18"/>
                    <a:pt x="77" y="18"/>
                  </a:cubicBezTo>
                  <a:cubicBezTo>
                    <a:pt x="70" y="17"/>
                    <a:pt x="66" y="17"/>
                    <a:pt x="65" y="18"/>
                  </a:cubicBezTo>
                  <a:cubicBezTo>
                    <a:pt x="63" y="19"/>
                    <a:pt x="60" y="19"/>
                    <a:pt x="57" y="19"/>
                  </a:cubicBezTo>
                  <a:cubicBezTo>
                    <a:pt x="57" y="18"/>
                    <a:pt x="55" y="17"/>
                    <a:pt x="53" y="15"/>
                  </a:cubicBezTo>
                  <a:cubicBezTo>
                    <a:pt x="53" y="14"/>
                    <a:pt x="52" y="14"/>
                    <a:pt x="52" y="13"/>
                  </a:cubicBezTo>
                  <a:cubicBezTo>
                    <a:pt x="50" y="10"/>
                    <a:pt x="51" y="6"/>
                    <a:pt x="54" y="2"/>
                  </a:cubicBezTo>
                  <a:close/>
                  <a:moveTo>
                    <a:pt x="95" y="70"/>
                  </a:moveTo>
                  <a:cubicBezTo>
                    <a:pt x="96" y="72"/>
                    <a:pt x="95" y="73"/>
                    <a:pt x="94" y="74"/>
                  </a:cubicBezTo>
                  <a:cubicBezTo>
                    <a:pt x="92" y="74"/>
                    <a:pt x="91" y="74"/>
                    <a:pt x="90" y="72"/>
                  </a:cubicBezTo>
                  <a:cubicBezTo>
                    <a:pt x="88" y="67"/>
                    <a:pt x="84" y="62"/>
                    <a:pt x="78" y="56"/>
                  </a:cubicBezTo>
                  <a:cubicBezTo>
                    <a:pt x="77" y="55"/>
                    <a:pt x="76" y="54"/>
                    <a:pt x="76" y="54"/>
                  </a:cubicBezTo>
                  <a:cubicBezTo>
                    <a:pt x="75" y="56"/>
                    <a:pt x="75" y="56"/>
                    <a:pt x="75" y="56"/>
                  </a:cubicBezTo>
                  <a:cubicBezTo>
                    <a:pt x="75" y="61"/>
                    <a:pt x="75" y="73"/>
                    <a:pt x="77" y="93"/>
                  </a:cubicBezTo>
                  <a:cubicBezTo>
                    <a:pt x="78" y="99"/>
                    <a:pt x="80" y="107"/>
                    <a:pt x="83" y="119"/>
                  </a:cubicBezTo>
                  <a:cubicBezTo>
                    <a:pt x="84" y="122"/>
                    <a:pt x="85" y="124"/>
                    <a:pt x="85" y="124"/>
                  </a:cubicBezTo>
                  <a:cubicBezTo>
                    <a:pt x="86" y="126"/>
                    <a:pt x="86" y="128"/>
                    <a:pt x="87" y="131"/>
                  </a:cubicBezTo>
                  <a:cubicBezTo>
                    <a:pt x="88" y="132"/>
                    <a:pt x="88" y="133"/>
                    <a:pt x="88" y="133"/>
                  </a:cubicBezTo>
                  <a:cubicBezTo>
                    <a:pt x="88" y="135"/>
                    <a:pt x="88" y="136"/>
                    <a:pt x="86" y="136"/>
                  </a:cubicBezTo>
                  <a:cubicBezTo>
                    <a:pt x="84" y="136"/>
                    <a:pt x="83" y="135"/>
                    <a:pt x="82" y="133"/>
                  </a:cubicBezTo>
                  <a:cubicBezTo>
                    <a:pt x="77" y="123"/>
                    <a:pt x="73" y="110"/>
                    <a:pt x="70" y="93"/>
                  </a:cubicBezTo>
                  <a:cubicBezTo>
                    <a:pt x="69" y="79"/>
                    <a:pt x="68" y="68"/>
                    <a:pt x="68" y="58"/>
                  </a:cubicBezTo>
                  <a:cubicBezTo>
                    <a:pt x="68" y="51"/>
                    <a:pt x="68" y="46"/>
                    <a:pt x="68" y="44"/>
                  </a:cubicBezTo>
                  <a:cubicBezTo>
                    <a:pt x="68" y="43"/>
                    <a:pt x="69" y="42"/>
                    <a:pt x="70" y="42"/>
                  </a:cubicBezTo>
                  <a:cubicBezTo>
                    <a:pt x="71" y="41"/>
                    <a:pt x="71" y="41"/>
                    <a:pt x="72" y="42"/>
                  </a:cubicBezTo>
                  <a:cubicBezTo>
                    <a:pt x="76" y="45"/>
                    <a:pt x="78" y="48"/>
                    <a:pt x="80" y="49"/>
                  </a:cubicBezTo>
                  <a:cubicBezTo>
                    <a:pt x="86" y="54"/>
                    <a:pt x="91" y="61"/>
                    <a:pt x="95" y="7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26" name="íṣ1ïḑe"/>
            <p:cNvSpPr/>
            <p:nvPr/>
          </p:nvSpPr>
          <p:spPr bwMode="auto">
            <a:xfrm>
              <a:off x="1750909" y="4905965"/>
              <a:ext cx="93663" cy="87313"/>
            </a:xfrm>
            <a:custGeom>
              <a:avLst/>
              <a:gdLst>
                <a:gd name="T0" fmla="*/ 51 w 51"/>
                <a:gd name="T1" fmla="*/ 17 h 47"/>
                <a:gd name="T2" fmla="*/ 46 w 51"/>
                <a:gd name="T3" fmla="*/ 25 h 47"/>
                <a:gd name="T4" fmla="*/ 26 w 51"/>
                <a:gd name="T5" fmla="*/ 13 h 47"/>
                <a:gd name="T6" fmla="*/ 20 w 51"/>
                <a:gd name="T7" fmla="*/ 9 h 47"/>
                <a:gd name="T8" fmla="*/ 14 w 51"/>
                <a:gd name="T9" fmla="*/ 9 h 47"/>
                <a:gd name="T10" fmla="*/ 10 w 51"/>
                <a:gd name="T11" fmla="*/ 13 h 47"/>
                <a:gd name="T12" fmla="*/ 8 w 51"/>
                <a:gd name="T13" fmla="*/ 19 h 47"/>
                <a:gd name="T14" fmla="*/ 10 w 51"/>
                <a:gd name="T15" fmla="*/ 23 h 47"/>
                <a:gd name="T16" fmla="*/ 17 w 51"/>
                <a:gd name="T17" fmla="*/ 27 h 47"/>
                <a:gd name="T18" fmla="*/ 37 w 51"/>
                <a:gd name="T19" fmla="*/ 40 h 47"/>
                <a:gd name="T20" fmla="*/ 33 w 51"/>
                <a:gd name="T21" fmla="*/ 47 h 47"/>
                <a:gd name="T22" fmla="*/ 13 w 51"/>
                <a:gd name="T23" fmla="*/ 35 h 47"/>
                <a:gd name="T24" fmla="*/ 4 w 51"/>
                <a:gd name="T25" fmla="*/ 29 h 47"/>
                <a:gd name="T26" fmla="*/ 1 w 51"/>
                <a:gd name="T27" fmla="*/ 24 h 47"/>
                <a:gd name="T28" fmla="*/ 0 w 51"/>
                <a:gd name="T29" fmla="*/ 18 h 47"/>
                <a:gd name="T30" fmla="*/ 3 w 51"/>
                <a:gd name="T31" fmla="*/ 10 h 47"/>
                <a:gd name="T32" fmla="*/ 10 w 51"/>
                <a:gd name="T33" fmla="*/ 2 h 47"/>
                <a:gd name="T34" fmla="*/ 15 w 51"/>
                <a:gd name="T35" fmla="*/ 0 h 47"/>
                <a:gd name="T36" fmla="*/ 21 w 51"/>
                <a:gd name="T37" fmla="*/ 0 h 47"/>
                <a:gd name="T38" fmla="*/ 31 w 51"/>
                <a:gd name="T39" fmla="*/ 5 h 47"/>
                <a:gd name="T40" fmla="*/ 51 w 51"/>
                <a:gd name="T41" fmla="*/ 17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51" h="47">
                  <a:moveTo>
                    <a:pt x="51" y="17"/>
                  </a:moveTo>
                  <a:cubicBezTo>
                    <a:pt x="46" y="25"/>
                    <a:pt x="46" y="25"/>
                    <a:pt x="46" y="25"/>
                  </a:cubicBezTo>
                  <a:cubicBezTo>
                    <a:pt x="26" y="13"/>
                    <a:pt x="26" y="13"/>
                    <a:pt x="26" y="13"/>
                  </a:cubicBezTo>
                  <a:cubicBezTo>
                    <a:pt x="23" y="11"/>
                    <a:pt x="21" y="10"/>
                    <a:pt x="20" y="9"/>
                  </a:cubicBezTo>
                  <a:cubicBezTo>
                    <a:pt x="18" y="9"/>
                    <a:pt x="16" y="9"/>
                    <a:pt x="14" y="9"/>
                  </a:cubicBezTo>
                  <a:cubicBezTo>
                    <a:pt x="13" y="10"/>
                    <a:pt x="11" y="11"/>
                    <a:pt x="10" y="13"/>
                  </a:cubicBezTo>
                  <a:cubicBezTo>
                    <a:pt x="9" y="16"/>
                    <a:pt x="8" y="17"/>
                    <a:pt x="8" y="19"/>
                  </a:cubicBezTo>
                  <a:cubicBezTo>
                    <a:pt x="9" y="21"/>
                    <a:pt x="9" y="22"/>
                    <a:pt x="10" y="23"/>
                  </a:cubicBezTo>
                  <a:cubicBezTo>
                    <a:pt x="12" y="24"/>
                    <a:pt x="14" y="25"/>
                    <a:pt x="17" y="27"/>
                  </a:cubicBezTo>
                  <a:cubicBezTo>
                    <a:pt x="37" y="40"/>
                    <a:pt x="37" y="40"/>
                    <a:pt x="37" y="40"/>
                  </a:cubicBezTo>
                  <a:cubicBezTo>
                    <a:pt x="33" y="47"/>
                    <a:pt x="33" y="47"/>
                    <a:pt x="33" y="47"/>
                  </a:cubicBezTo>
                  <a:cubicBezTo>
                    <a:pt x="13" y="35"/>
                    <a:pt x="13" y="35"/>
                    <a:pt x="13" y="35"/>
                  </a:cubicBezTo>
                  <a:cubicBezTo>
                    <a:pt x="9" y="33"/>
                    <a:pt x="6" y="31"/>
                    <a:pt x="4" y="29"/>
                  </a:cubicBezTo>
                  <a:cubicBezTo>
                    <a:pt x="2" y="28"/>
                    <a:pt x="1" y="26"/>
                    <a:pt x="1" y="24"/>
                  </a:cubicBezTo>
                  <a:cubicBezTo>
                    <a:pt x="0" y="22"/>
                    <a:pt x="0" y="20"/>
                    <a:pt x="0" y="18"/>
                  </a:cubicBezTo>
                  <a:cubicBezTo>
                    <a:pt x="0" y="15"/>
                    <a:pt x="2" y="13"/>
                    <a:pt x="3" y="10"/>
                  </a:cubicBezTo>
                  <a:cubicBezTo>
                    <a:pt x="6" y="6"/>
                    <a:pt x="8" y="4"/>
                    <a:pt x="10" y="2"/>
                  </a:cubicBezTo>
                  <a:cubicBezTo>
                    <a:pt x="11" y="1"/>
                    <a:pt x="13" y="0"/>
                    <a:pt x="15" y="0"/>
                  </a:cubicBezTo>
                  <a:cubicBezTo>
                    <a:pt x="17" y="0"/>
                    <a:pt x="19" y="0"/>
                    <a:pt x="21" y="0"/>
                  </a:cubicBezTo>
                  <a:cubicBezTo>
                    <a:pt x="23" y="1"/>
                    <a:pt x="27" y="3"/>
                    <a:pt x="31" y="5"/>
                  </a:cubicBezTo>
                  <a:lnTo>
                    <a:pt x="51" y="1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27" name="íṧḷîde"/>
            <p:cNvSpPr/>
            <p:nvPr/>
          </p:nvSpPr>
          <p:spPr bwMode="auto">
            <a:xfrm>
              <a:off x="1704872" y="4971053"/>
              <a:ext cx="100013" cy="92075"/>
            </a:xfrm>
            <a:custGeom>
              <a:avLst/>
              <a:gdLst>
                <a:gd name="T0" fmla="*/ 17 w 63"/>
                <a:gd name="T1" fmla="*/ 0 h 58"/>
                <a:gd name="T2" fmla="*/ 63 w 63"/>
                <a:gd name="T3" fmla="*/ 21 h 58"/>
                <a:gd name="T4" fmla="*/ 59 w 63"/>
                <a:gd name="T5" fmla="*/ 30 h 58"/>
                <a:gd name="T6" fmla="*/ 19 w 63"/>
                <a:gd name="T7" fmla="*/ 35 h 58"/>
                <a:gd name="T8" fmla="*/ 50 w 63"/>
                <a:gd name="T9" fmla="*/ 50 h 58"/>
                <a:gd name="T10" fmla="*/ 46 w 63"/>
                <a:gd name="T11" fmla="*/ 58 h 58"/>
                <a:gd name="T12" fmla="*/ 0 w 63"/>
                <a:gd name="T13" fmla="*/ 37 h 58"/>
                <a:gd name="T14" fmla="*/ 4 w 63"/>
                <a:gd name="T15" fmla="*/ 26 h 58"/>
                <a:gd name="T16" fmla="*/ 43 w 63"/>
                <a:gd name="T17" fmla="*/ 22 h 58"/>
                <a:gd name="T18" fmla="*/ 12 w 63"/>
                <a:gd name="T19" fmla="*/ 8 h 58"/>
                <a:gd name="T20" fmla="*/ 17 w 63"/>
                <a:gd name="T21" fmla="*/ 0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63" h="58">
                  <a:moveTo>
                    <a:pt x="17" y="0"/>
                  </a:moveTo>
                  <a:lnTo>
                    <a:pt x="63" y="21"/>
                  </a:lnTo>
                  <a:lnTo>
                    <a:pt x="59" y="30"/>
                  </a:lnTo>
                  <a:lnTo>
                    <a:pt x="19" y="35"/>
                  </a:lnTo>
                  <a:lnTo>
                    <a:pt x="50" y="50"/>
                  </a:lnTo>
                  <a:lnTo>
                    <a:pt x="46" y="58"/>
                  </a:lnTo>
                  <a:lnTo>
                    <a:pt x="0" y="37"/>
                  </a:lnTo>
                  <a:lnTo>
                    <a:pt x="4" y="26"/>
                  </a:lnTo>
                  <a:lnTo>
                    <a:pt x="43" y="22"/>
                  </a:lnTo>
                  <a:lnTo>
                    <a:pt x="12" y="8"/>
                  </a:lnTo>
                  <a:lnTo>
                    <a:pt x="1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28" name="íS1îḍé"/>
            <p:cNvSpPr/>
            <p:nvPr/>
          </p:nvSpPr>
          <p:spPr bwMode="auto">
            <a:xfrm>
              <a:off x="1690584" y="5045665"/>
              <a:ext cx="84138" cy="44450"/>
            </a:xfrm>
            <a:custGeom>
              <a:avLst/>
              <a:gdLst>
                <a:gd name="T0" fmla="*/ 5 w 53"/>
                <a:gd name="T1" fmla="*/ 0 h 28"/>
                <a:gd name="T2" fmla="*/ 53 w 53"/>
                <a:gd name="T3" fmla="*/ 19 h 28"/>
                <a:gd name="T4" fmla="*/ 49 w 53"/>
                <a:gd name="T5" fmla="*/ 28 h 28"/>
                <a:gd name="T6" fmla="*/ 0 w 53"/>
                <a:gd name="T7" fmla="*/ 10 h 28"/>
                <a:gd name="T8" fmla="*/ 5 w 53"/>
                <a:gd name="T9" fmla="*/ 0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3" h="28">
                  <a:moveTo>
                    <a:pt x="5" y="0"/>
                  </a:moveTo>
                  <a:lnTo>
                    <a:pt x="53" y="19"/>
                  </a:lnTo>
                  <a:lnTo>
                    <a:pt x="49" y="28"/>
                  </a:lnTo>
                  <a:lnTo>
                    <a:pt x="0" y="10"/>
                  </a:lnTo>
                  <a:lnTo>
                    <a:pt x="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29" name="íṧļïḋè"/>
            <p:cNvSpPr/>
            <p:nvPr/>
          </p:nvSpPr>
          <p:spPr bwMode="auto">
            <a:xfrm>
              <a:off x="1674709" y="5091703"/>
              <a:ext cx="92075" cy="73025"/>
            </a:xfrm>
            <a:custGeom>
              <a:avLst/>
              <a:gdLst>
                <a:gd name="T0" fmla="*/ 4 w 58"/>
                <a:gd name="T1" fmla="*/ 3 h 46"/>
                <a:gd name="T2" fmla="*/ 58 w 58"/>
                <a:gd name="T3" fmla="*/ 0 h 46"/>
                <a:gd name="T4" fmla="*/ 55 w 58"/>
                <a:gd name="T5" fmla="*/ 11 h 46"/>
                <a:gd name="T6" fmla="*/ 14 w 58"/>
                <a:gd name="T7" fmla="*/ 13 h 46"/>
                <a:gd name="T8" fmla="*/ 46 w 58"/>
                <a:gd name="T9" fmla="*/ 35 h 46"/>
                <a:gd name="T10" fmla="*/ 44 w 58"/>
                <a:gd name="T11" fmla="*/ 46 h 46"/>
                <a:gd name="T12" fmla="*/ 0 w 58"/>
                <a:gd name="T13" fmla="*/ 14 h 46"/>
                <a:gd name="T14" fmla="*/ 4 w 58"/>
                <a:gd name="T15" fmla="*/ 3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8" h="46">
                  <a:moveTo>
                    <a:pt x="4" y="3"/>
                  </a:moveTo>
                  <a:lnTo>
                    <a:pt x="58" y="0"/>
                  </a:lnTo>
                  <a:lnTo>
                    <a:pt x="55" y="11"/>
                  </a:lnTo>
                  <a:lnTo>
                    <a:pt x="14" y="13"/>
                  </a:lnTo>
                  <a:lnTo>
                    <a:pt x="46" y="35"/>
                  </a:lnTo>
                  <a:lnTo>
                    <a:pt x="44" y="46"/>
                  </a:lnTo>
                  <a:lnTo>
                    <a:pt x="0" y="14"/>
                  </a:lnTo>
                  <a:lnTo>
                    <a:pt x="4" y="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30" name="ïṡḷiḋé"/>
            <p:cNvSpPr/>
            <p:nvPr/>
          </p:nvSpPr>
          <p:spPr bwMode="auto">
            <a:xfrm>
              <a:off x="1652484" y="5153615"/>
              <a:ext cx="90488" cy="73025"/>
            </a:xfrm>
            <a:custGeom>
              <a:avLst/>
              <a:gdLst>
                <a:gd name="T0" fmla="*/ 7 w 57"/>
                <a:gd name="T1" fmla="*/ 0 h 46"/>
                <a:gd name="T2" fmla="*/ 57 w 57"/>
                <a:gd name="T3" fmla="*/ 10 h 46"/>
                <a:gd name="T4" fmla="*/ 50 w 57"/>
                <a:gd name="T5" fmla="*/ 46 h 46"/>
                <a:gd name="T6" fmla="*/ 42 w 57"/>
                <a:gd name="T7" fmla="*/ 45 h 46"/>
                <a:gd name="T8" fmla="*/ 47 w 57"/>
                <a:gd name="T9" fmla="*/ 18 h 46"/>
                <a:gd name="T10" fmla="*/ 36 w 57"/>
                <a:gd name="T11" fmla="*/ 16 h 46"/>
                <a:gd name="T12" fmla="*/ 30 w 57"/>
                <a:gd name="T13" fmla="*/ 40 h 46"/>
                <a:gd name="T14" fmla="*/ 22 w 57"/>
                <a:gd name="T15" fmla="*/ 39 h 46"/>
                <a:gd name="T16" fmla="*/ 27 w 57"/>
                <a:gd name="T17" fmla="*/ 14 h 46"/>
                <a:gd name="T18" fmla="*/ 14 w 57"/>
                <a:gd name="T19" fmla="*/ 11 h 46"/>
                <a:gd name="T20" fmla="*/ 8 w 57"/>
                <a:gd name="T21" fmla="*/ 39 h 46"/>
                <a:gd name="T22" fmla="*/ 0 w 57"/>
                <a:gd name="T23" fmla="*/ 38 h 46"/>
                <a:gd name="T24" fmla="*/ 7 w 57"/>
                <a:gd name="T25" fmla="*/ 0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57" h="46">
                  <a:moveTo>
                    <a:pt x="7" y="0"/>
                  </a:moveTo>
                  <a:lnTo>
                    <a:pt x="57" y="10"/>
                  </a:lnTo>
                  <a:lnTo>
                    <a:pt x="50" y="46"/>
                  </a:lnTo>
                  <a:lnTo>
                    <a:pt x="42" y="45"/>
                  </a:lnTo>
                  <a:lnTo>
                    <a:pt x="47" y="18"/>
                  </a:lnTo>
                  <a:lnTo>
                    <a:pt x="36" y="16"/>
                  </a:lnTo>
                  <a:lnTo>
                    <a:pt x="30" y="40"/>
                  </a:lnTo>
                  <a:lnTo>
                    <a:pt x="22" y="39"/>
                  </a:lnTo>
                  <a:lnTo>
                    <a:pt x="27" y="14"/>
                  </a:lnTo>
                  <a:lnTo>
                    <a:pt x="14" y="11"/>
                  </a:lnTo>
                  <a:lnTo>
                    <a:pt x="8" y="39"/>
                  </a:lnTo>
                  <a:lnTo>
                    <a:pt x="0" y="38"/>
                  </a:lnTo>
                  <a:lnTo>
                    <a:pt x="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31" name="ïşļiḋe"/>
            <p:cNvSpPr/>
            <p:nvPr/>
          </p:nvSpPr>
          <p:spPr bwMode="auto">
            <a:xfrm>
              <a:off x="1641372" y="5231403"/>
              <a:ext cx="88900" cy="71438"/>
            </a:xfrm>
            <a:custGeom>
              <a:avLst/>
              <a:gdLst>
                <a:gd name="T0" fmla="*/ 4 w 48"/>
                <a:gd name="T1" fmla="*/ 0 h 39"/>
                <a:gd name="T2" fmla="*/ 48 w 48"/>
                <a:gd name="T3" fmla="*/ 4 h 39"/>
                <a:gd name="T4" fmla="*/ 46 w 48"/>
                <a:gd name="T5" fmla="*/ 23 h 39"/>
                <a:gd name="T6" fmla="*/ 44 w 48"/>
                <a:gd name="T7" fmla="*/ 33 h 39"/>
                <a:gd name="T8" fmla="*/ 39 w 48"/>
                <a:gd name="T9" fmla="*/ 38 h 39"/>
                <a:gd name="T10" fmla="*/ 32 w 48"/>
                <a:gd name="T11" fmla="*/ 39 h 39"/>
                <a:gd name="T12" fmla="*/ 24 w 48"/>
                <a:gd name="T13" fmla="*/ 35 h 39"/>
                <a:gd name="T14" fmla="*/ 21 w 48"/>
                <a:gd name="T15" fmla="*/ 26 h 39"/>
                <a:gd name="T16" fmla="*/ 17 w 48"/>
                <a:gd name="T17" fmla="*/ 30 h 39"/>
                <a:gd name="T18" fmla="*/ 9 w 48"/>
                <a:gd name="T19" fmla="*/ 35 h 39"/>
                <a:gd name="T20" fmla="*/ 0 w 48"/>
                <a:gd name="T21" fmla="*/ 39 h 39"/>
                <a:gd name="T22" fmla="*/ 1 w 48"/>
                <a:gd name="T23" fmla="*/ 29 h 39"/>
                <a:gd name="T24" fmla="*/ 12 w 48"/>
                <a:gd name="T25" fmla="*/ 23 h 39"/>
                <a:gd name="T26" fmla="*/ 18 w 48"/>
                <a:gd name="T27" fmla="*/ 19 h 39"/>
                <a:gd name="T28" fmla="*/ 20 w 48"/>
                <a:gd name="T29" fmla="*/ 17 h 39"/>
                <a:gd name="T30" fmla="*/ 21 w 48"/>
                <a:gd name="T31" fmla="*/ 12 h 39"/>
                <a:gd name="T32" fmla="*/ 22 w 48"/>
                <a:gd name="T33" fmla="*/ 11 h 39"/>
                <a:gd name="T34" fmla="*/ 3 w 48"/>
                <a:gd name="T35" fmla="*/ 9 h 39"/>
                <a:gd name="T36" fmla="*/ 4 w 48"/>
                <a:gd name="T37" fmla="*/ 0 h 39"/>
                <a:gd name="T38" fmla="*/ 29 w 48"/>
                <a:gd name="T39" fmla="*/ 11 h 39"/>
                <a:gd name="T40" fmla="*/ 28 w 48"/>
                <a:gd name="T41" fmla="*/ 18 h 39"/>
                <a:gd name="T42" fmla="*/ 28 w 48"/>
                <a:gd name="T43" fmla="*/ 26 h 39"/>
                <a:gd name="T44" fmla="*/ 29 w 48"/>
                <a:gd name="T45" fmla="*/ 28 h 39"/>
                <a:gd name="T46" fmla="*/ 32 w 48"/>
                <a:gd name="T47" fmla="*/ 30 h 39"/>
                <a:gd name="T48" fmla="*/ 36 w 48"/>
                <a:gd name="T49" fmla="*/ 29 h 39"/>
                <a:gd name="T50" fmla="*/ 38 w 48"/>
                <a:gd name="T51" fmla="*/ 26 h 39"/>
                <a:gd name="T52" fmla="*/ 39 w 48"/>
                <a:gd name="T53" fmla="*/ 19 h 39"/>
                <a:gd name="T54" fmla="*/ 40 w 48"/>
                <a:gd name="T55" fmla="*/ 12 h 39"/>
                <a:gd name="T56" fmla="*/ 29 w 48"/>
                <a:gd name="T57" fmla="*/ 11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48" h="39">
                  <a:moveTo>
                    <a:pt x="4" y="0"/>
                  </a:moveTo>
                  <a:cubicBezTo>
                    <a:pt x="48" y="4"/>
                    <a:pt x="48" y="4"/>
                    <a:pt x="48" y="4"/>
                  </a:cubicBezTo>
                  <a:cubicBezTo>
                    <a:pt x="46" y="23"/>
                    <a:pt x="46" y="23"/>
                    <a:pt x="46" y="23"/>
                  </a:cubicBezTo>
                  <a:cubicBezTo>
                    <a:pt x="46" y="27"/>
                    <a:pt x="45" y="31"/>
                    <a:pt x="44" y="33"/>
                  </a:cubicBezTo>
                  <a:cubicBezTo>
                    <a:pt x="43" y="35"/>
                    <a:pt x="41" y="36"/>
                    <a:pt x="39" y="38"/>
                  </a:cubicBezTo>
                  <a:cubicBezTo>
                    <a:pt x="37" y="39"/>
                    <a:pt x="35" y="39"/>
                    <a:pt x="32" y="39"/>
                  </a:cubicBezTo>
                  <a:cubicBezTo>
                    <a:pt x="29" y="38"/>
                    <a:pt x="26" y="37"/>
                    <a:pt x="24" y="35"/>
                  </a:cubicBezTo>
                  <a:cubicBezTo>
                    <a:pt x="22" y="33"/>
                    <a:pt x="21" y="30"/>
                    <a:pt x="21" y="26"/>
                  </a:cubicBezTo>
                  <a:cubicBezTo>
                    <a:pt x="20" y="28"/>
                    <a:pt x="18" y="29"/>
                    <a:pt x="17" y="30"/>
                  </a:cubicBezTo>
                  <a:cubicBezTo>
                    <a:pt x="16" y="32"/>
                    <a:pt x="13" y="33"/>
                    <a:pt x="9" y="35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1" y="29"/>
                    <a:pt x="1" y="29"/>
                    <a:pt x="1" y="29"/>
                  </a:cubicBezTo>
                  <a:cubicBezTo>
                    <a:pt x="12" y="23"/>
                    <a:pt x="12" y="23"/>
                    <a:pt x="12" y="23"/>
                  </a:cubicBezTo>
                  <a:cubicBezTo>
                    <a:pt x="15" y="21"/>
                    <a:pt x="17" y="20"/>
                    <a:pt x="18" y="19"/>
                  </a:cubicBezTo>
                  <a:cubicBezTo>
                    <a:pt x="19" y="18"/>
                    <a:pt x="20" y="18"/>
                    <a:pt x="20" y="17"/>
                  </a:cubicBezTo>
                  <a:cubicBezTo>
                    <a:pt x="21" y="16"/>
                    <a:pt x="21" y="14"/>
                    <a:pt x="21" y="12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3" y="9"/>
                    <a:pt x="3" y="9"/>
                    <a:pt x="3" y="9"/>
                  </a:cubicBezTo>
                  <a:lnTo>
                    <a:pt x="4" y="0"/>
                  </a:lnTo>
                  <a:close/>
                  <a:moveTo>
                    <a:pt x="29" y="11"/>
                  </a:moveTo>
                  <a:cubicBezTo>
                    <a:pt x="28" y="18"/>
                    <a:pt x="28" y="18"/>
                    <a:pt x="28" y="18"/>
                  </a:cubicBezTo>
                  <a:cubicBezTo>
                    <a:pt x="28" y="22"/>
                    <a:pt x="27" y="25"/>
                    <a:pt x="28" y="26"/>
                  </a:cubicBezTo>
                  <a:cubicBezTo>
                    <a:pt x="28" y="27"/>
                    <a:pt x="28" y="28"/>
                    <a:pt x="29" y="28"/>
                  </a:cubicBezTo>
                  <a:cubicBezTo>
                    <a:pt x="30" y="29"/>
                    <a:pt x="31" y="30"/>
                    <a:pt x="32" y="30"/>
                  </a:cubicBezTo>
                  <a:cubicBezTo>
                    <a:pt x="34" y="30"/>
                    <a:pt x="35" y="30"/>
                    <a:pt x="36" y="29"/>
                  </a:cubicBezTo>
                  <a:cubicBezTo>
                    <a:pt x="37" y="28"/>
                    <a:pt x="38" y="27"/>
                    <a:pt x="38" y="26"/>
                  </a:cubicBezTo>
                  <a:cubicBezTo>
                    <a:pt x="38" y="25"/>
                    <a:pt x="39" y="23"/>
                    <a:pt x="39" y="19"/>
                  </a:cubicBezTo>
                  <a:cubicBezTo>
                    <a:pt x="40" y="12"/>
                    <a:pt x="40" y="12"/>
                    <a:pt x="40" y="12"/>
                  </a:cubicBezTo>
                  <a:lnTo>
                    <a:pt x="29" y="1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32" name="îś1iḓê"/>
            <p:cNvSpPr/>
            <p:nvPr/>
          </p:nvSpPr>
          <p:spPr bwMode="auto">
            <a:xfrm>
              <a:off x="1641372" y="5312365"/>
              <a:ext cx="82550" cy="66675"/>
            </a:xfrm>
            <a:custGeom>
              <a:avLst/>
              <a:gdLst>
                <a:gd name="T0" fmla="*/ 15 w 45"/>
                <a:gd name="T1" fmla="*/ 0 h 36"/>
                <a:gd name="T2" fmla="*/ 16 w 45"/>
                <a:gd name="T3" fmla="*/ 8 h 36"/>
                <a:gd name="T4" fmla="*/ 9 w 45"/>
                <a:gd name="T5" fmla="*/ 12 h 36"/>
                <a:gd name="T6" fmla="*/ 7 w 45"/>
                <a:gd name="T7" fmla="*/ 18 h 36"/>
                <a:gd name="T8" fmla="*/ 9 w 45"/>
                <a:gd name="T9" fmla="*/ 25 h 36"/>
                <a:gd name="T10" fmla="*/ 13 w 45"/>
                <a:gd name="T11" fmla="*/ 27 h 36"/>
                <a:gd name="T12" fmla="*/ 16 w 45"/>
                <a:gd name="T13" fmla="*/ 26 h 36"/>
                <a:gd name="T14" fmla="*/ 18 w 45"/>
                <a:gd name="T15" fmla="*/ 23 h 36"/>
                <a:gd name="T16" fmla="*/ 20 w 45"/>
                <a:gd name="T17" fmla="*/ 15 h 36"/>
                <a:gd name="T18" fmla="*/ 24 w 45"/>
                <a:gd name="T19" fmla="*/ 5 h 36"/>
                <a:gd name="T20" fmla="*/ 33 w 45"/>
                <a:gd name="T21" fmla="*/ 1 h 36"/>
                <a:gd name="T22" fmla="*/ 39 w 45"/>
                <a:gd name="T23" fmla="*/ 3 h 36"/>
                <a:gd name="T24" fmla="*/ 44 w 45"/>
                <a:gd name="T25" fmla="*/ 9 h 36"/>
                <a:gd name="T26" fmla="*/ 45 w 45"/>
                <a:gd name="T27" fmla="*/ 17 h 36"/>
                <a:gd name="T28" fmla="*/ 42 w 45"/>
                <a:gd name="T29" fmla="*/ 30 h 36"/>
                <a:gd name="T30" fmla="*/ 32 w 45"/>
                <a:gd name="T31" fmla="*/ 34 h 36"/>
                <a:gd name="T32" fmla="*/ 31 w 45"/>
                <a:gd name="T33" fmla="*/ 25 h 36"/>
                <a:gd name="T34" fmla="*/ 36 w 45"/>
                <a:gd name="T35" fmla="*/ 23 h 36"/>
                <a:gd name="T36" fmla="*/ 38 w 45"/>
                <a:gd name="T37" fmla="*/ 17 h 36"/>
                <a:gd name="T38" fmla="*/ 36 w 45"/>
                <a:gd name="T39" fmla="*/ 11 h 36"/>
                <a:gd name="T40" fmla="*/ 33 w 45"/>
                <a:gd name="T41" fmla="*/ 10 h 36"/>
                <a:gd name="T42" fmla="*/ 31 w 45"/>
                <a:gd name="T43" fmla="*/ 11 h 36"/>
                <a:gd name="T44" fmla="*/ 28 w 45"/>
                <a:gd name="T45" fmla="*/ 19 h 36"/>
                <a:gd name="T46" fmla="*/ 25 w 45"/>
                <a:gd name="T47" fmla="*/ 29 h 36"/>
                <a:gd name="T48" fmla="*/ 20 w 45"/>
                <a:gd name="T49" fmla="*/ 34 h 36"/>
                <a:gd name="T50" fmla="*/ 13 w 45"/>
                <a:gd name="T51" fmla="*/ 36 h 36"/>
                <a:gd name="T52" fmla="*/ 6 w 45"/>
                <a:gd name="T53" fmla="*/ 33 h 36"/>
                <a:gd name="T54" fmla="*/ 1 w 45"/>
                <a:gd name="T55" fmla="*/ 28 h 36"/>
                <a:gd name="T56" fmla="*/ 0 w 45"/>
                <a:gd name="T57" fmla="*/ 18 h 36"/>
                <a:gd name="T58" fmla="*/ 3 w 45"/>
                <a:gd name="T59" fmla="*/ 5 h 36"/>
                <a:gd name="T60" fmla="*/ 15 w 45"/>
                <a:gd name="T61" fmla="*/ 0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45" h="36">
                  <a:moveTo>
                    <a:pt x="15" y="0"/>
                  </a:moveTo>
                  <a:cubicBezTo>
                    <a:pt x="16" y="8"/>
                    <a:pt x="16" y="8"/>
                    <a:pt x="16" y="8"/>
                  </a:cubicBezTo>
                  <a:cubicBezTo>
                    <a:pt x="13" y="9"/>
                    <a:pt x="10" y="10"/>
                    <a:pt x="9" y="12"/>
                  </a:cubicBezTo>
                  <a:cubicBezTo>
                    <a:pt x="8" y="13"/>
                    <a:pt x="7" y="15"/>
                    <a:pt x="7" y="18"/>
                  </a:cubicBezTo>
                  <a:cubicBezTo>
                    <a:pt x="7" y="21"/>
                    <a:pt x="8" y="23"/>
                    <a:pt x="9" y="25"/>
                  </a:cubicBezTo>
                  <a:cubicBezTo>
                    <a:pt x="10" y="26"/>
                    <a:pt x="12" y="27"/>
                    <a:pt x="13" y="27"/>
                  </a:cubicBezTo>
                  <a:cubicBezTo>
                    <a:pt x="14" y="27"/>
                    <a:pt x="15" y="26"/>
                    <a:pt x="16" y="26"/>
                  </a:cubicBezTo>
                  <a:cubicBezTo>
                    <a:pt x="17" y="25"/>
                    <a:pt x="17" y="24"/>
                    <a:pt x="18" y="23"/>
                  </a:cubicBezTo>
                  <a:cubicBezTo>
                    <a:pt x="18" y="22"/>
                    <a:pt x="19" y="19"/>
                    <a:pt x="20" y="15"/>
                  </a:cubicBezTo>
                  <a:cubicBezTo>
                    <a:pt x="21" y="11"/>
                    <a:pt x="22" y="7"/>
                    <a:pt x="24" y="5"/>
                  </a:cubicBezTo>
                  <a:cubicBezTo>
                    <a:pt x="26" y="3"/>
                    <a:pt x="29" y="1"/>
                    <a:pt x="33" y="1"/>
                  </a:cubicBezTo>
                  <a:cubicBezTo>
                    <a:pt x="35" y="1"/>
                    <a:pt x="37" y="2"/>
                    <a:pt x="39" y="3"/>
                  </a:cubicBezTo>
                  <a:cubicBezTo>
                    <a:pt x="41" y="4"/>
                    <a:pt x="43" y="6"/>
                    <a:pt x="44" y="9"/>
                  </a:cubicBezTo>
                  <a:cubicBezTo>
                    <a:pt x="45" y="11"/>
                    <a:pt x="45" y="14"/>
                    <a:pt x="45" y="17"/>
                  </a:cubicBezTo>
                  <a:cubicBezTo>
                    <a:pt x="45" y="23"/>
                    <a:pt x="44" y="27"/>
                    <a:pt x="42" y="30"/>
                  </a:cubicBezTo>
                  <a:cubicBezTo>
                    <a:pt x="39" y="33"/>
                    <a:pt x="36" y="34"/>
                    <a:pt x="32" y="34"/>
                  </a:cubicBezTo>
                  <a:cubicBezTo>
                    <a:pt x="31" y="25"/>
                    <a:pt x="31" y="25"/>
                    <a:pt x="31" y="25"/>
                  </a:cubicBezTo>
                  <a:cubicBezTo>
                    <a:pt x="34" y="25"/>
                    <a:pt x="35" y="24"/>
                    <a:pt x="36" y="23"/>
                  </a:cubicBezTo>
                  <a:cubicBezTo>
                    <a:pt x="37" y="22"/>
                    <a:pt x="38" y="20"/>
                    <a:pt x="38" y="17"/>
                  </a:cubicBezTo>
                  <a:cubicBezTo>
                    <a:pt x="38" y="15"/>
                    <a:pt x="37" y="13"/>
                    <a:pt x="36" y="11"/>
                  </a:cubicBezTo>
                  <a:cubicBezTo>
                    <a:pt x="35" y="10"/>
                    <a:pt x="35" y="10"/>
                    <a:pt x="33" y="10"/>
                  </a:cubicBezTo>
                  <a:cubicBezTo>
                    <a:pt x="32" y="10"/>
                    <a:pt x="31" y="10"/>
                    <a:pt x="31" y="11"/>
                  </a:cubicBezTo>
                  <a:cubicBezTo>
                    <a:pt x="30" y="12"/>
                    <a:pt x="29" y="15"/>
                    <a:pt x="28" y="19"/>
                  </a:cubicBezTo>
                  <a:cubicBezTo>
                    <a:pt x="27" y="24"/>
                    <a:pt x="26" y="27"/>
                    <a:pt x="25" y="29"/>
                  </a:cubicBezTo>
                  <a:cubicBezTo>
                    <a:pt x="24" y="31"/>
                    <a:pt x="22" y="33"/>
                    <a:pt x="20" y="34"/>
                  </a:cubicBezTo>
                  <a:cubicBezTo>
                    <a:pt x="18" y="35"/>
                    <a:pt x="16" y="36"/>
                    <a:pt x="13" y="36"/>
                  </a:cubicBezTo>
                  <a:cubicBezTo>
                    <a:pt x="11" y="36"/>
                    <a:pt x="8" y="35"/>
                    <a:pt x="6" y="33"/>
                  </a:cubicBezTo>
                  <a:cubicBezTo>
                    <a:pt x="4" y="32"/>
                    <a:pt x="2" y="30"/>
                    <a:pt x="1" y="28"/>
                  </a:cubicBezTo>
                  <a:cubicBezTo>
                    <a:pt x="0" y="25"/>
                    <a:pt x="0" y="22"/>
                    <a:pt x="0" y="18"/>
                  </a:cubicBezTo>
                  <a:cubicBezTo>
                    <a:pt x="0" y="12"/>
                    <a:pt x="1" y="8"/>
                    <a:pt x="3" y="5"/>
                  </a:cubicBezTo>
                  <a:cubicBezTo>
                    <a:pt x="6" y="2"/>
                    <a:pt x="10" y="0"/>
                    <a:pt x="15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33" name="íş1ïḓe"/>
            <p:cNvSpPr/>
            <p:nvPr/>
          </p:nvSpPr>
          <p:spPr bwMode="auto">
            <a:xfrm>
              <a:off x="1642959" y="5385390"/>
              <a:ext cx="84138" cy="22225"/>
            </a:xfrm>
            <a:custGeom>
              <a:avLst/>
              <a:gdLst>
                <a:gd name="T0" fmla="*/ 0 w 53"/>
                <a:gd name="T1" fmla="*/ 5 h 14"/>
                <a:gd name="T2" fmla="*/ 51 w 53"/>
                <a:gd name="T3" fmla="*/ 0 h 14"/>
                <a:gd name="T4" fmla="*/ 53 w 53"/>
                <a:gd name="T5" fmla="*/ 11 h 14"/>
                <a:gd name="T6" fmla="*/ 1 w 53"/>
                <a:gd name="T7" fmla="*/ 14 h 14"/>
                <a:gd name="T8" fmla="*/ 0 w 53"/>
                <a:gd name="T9" fmla="*/ 5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3" h="14">
                  <a:moveTo>
                    <a:pt x="0" y="5"/>
                  </a:moveTo>
                  <a:lnTo>
                    <a:pt x="51" y="0"/>
                  </a:lnTo>
                  <a:lnTo>
                    <a:pt x="53" y="11"/>
                  </a:lnTo>
                  <a:lnTo>
                    <a:pt x="1" y="14"/>
                  </a:lnTo>
                  <a:lnTo>
                    <a:pt x="0" y="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34" name="ïṩlîḋè"/>
            <p:cNvSpPr/>
            <p:nvPr/>
          </p:nvSpPr>
          <p:spPr bwMode="auto">
            <a:xfrm>
              <a:off x="1649309" y="5407615"/>
              <a:ext cx="84138" cy="66675"/>
            </a:xfrm>
            <a:custGeom>
              <a:avLst/>
              <a:gdLst>
                <a:gd name="T0" fmla="*/ 0 w 53"/>
                <a:gd name="T1" fmla="*/ 22 h 42"/>
                <a:gd name="T2" fmla="*/ 42 w 53"/>
                <a:gd name="T3" fmla="*/ 17 h 42"/>
                <a:gd name="T4" fmla="*/ 39 w 53"/>
                <a:gd name="T5" fmla="*/ 1 h 42"/>
                <a:gd name="T6" fmla="*/ 49 w 53"/>
                <a:gd name="T7" fmla="*/ 0 h 42"/>
                <a:gd name="T8" fmla="*/ 53 w 53"/>
                <a:gd name="T9" fmla="*/ 41 h 42"/>
                <a:gd name="T10" fmla="*/ 45 w 53"/>
                <a:gd name="T11" fmla="*/ 42 h 42"/>
                <a:gd name="T12" fmla="*/ 43 w 53"/>
                <a:gd name="T13" fmla="*/ 27 h 42"/>
                <a:gd name="T14" fmla="*/ 1 w 53"/>
                <a:gd name="T15" fmla="*/ 33 h 42"/>
                <a:gd name="T16" fmla="*/ 0 w 53"/>
                <a:gd name="T17" fmla="*/ 22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3" h="42">
                  <a:moveTo>
                    <a:pt x="0" y="22"/>
                  </a:moveTo>
                  <a:lnTo>
                    <a:pt x="42" y="17"/>
                  </a:lnTo>
                  <a:lnTo>
                    <a:pt x="39" y="1"/>
                  </a:lnTo>
                  <a:lnTo>
                    <a:pt x="49" y="0"/>
                  </a:lnTo>
                  <a:lnTo>
                    <a:pt x="53" y="41"/>
                  </a:lnTo>
                  <a:lnTo>
                    <a:pt x="45" y="42"/>
                  </a:lnTo>
                  <a:lnTo>
                    <a:pt x="43" y="27"/>
                  </a:lnTo>
                  <a:lnTo>
                    <a:pt x="1" y="33"/>
                  </a:lnTo>
                  <a:lnTo>
                    <a:pt x="0" y="2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35" name="ïṣľîďe"/>
            <p:cNvSpPr/>
            <p:nvPr/>
          </p:nvSpPr>
          <p:spPr bwMode="auto">
            <a:xfrm>
              <a:off x="1662009" y="5471115"/>
              <a:ext cx="90488" cy="73025"/>
            </a:xfrm>
            <a:custGeom>
              <a:avLst/>
              <a:gdLst>
                <a:gd name="T0" fmla="*/ 0 w 57"/>
                <a:gd name="T1" fmla="*/ 29 h 46"/>
                <a:gd name="T2" fmla="*/ 21 w 57"/>
                <a:gd name="T3" fmla="*/ 24 h 46"/>
                <a:gd name="T4" fmla="*/ 45 w 57"/>
                <a:gd name="T5" fmla="*/ 0 h 46"/>
                <a:gd name="T6" fmla="*/ 49 w 57"/>
                <a:gd name="T7" fmla="*/ 11 h 46"/>
                <a:gd name="T8" fmla="*/ 31 w 57"/>
                <a:gd name="T9" fmla="*/ 28 h 46"/>
                <a:gd name="T10" fmla="*/ 53 w 57"/>
                <a:gd name="T11" fmla="*/ 35 h 46"/>
                <a:gd name="T12" fmla="*/ 57 w 57"/>
                <a:gd name="T13" fmla="*/ 46 h 46"/>
                <a:gd name="T14" fmla="*/ 23 w 57"/>
                <a:gd name="T15" fmla="*/ 35 h 46"/>
                <a:gd name="T16" fmla="*/ 2 w 57"/>
                <a:gd name="T17" fmla="*/ 39 h 46"/>
                <a:gd name="T18" fmla="*/ 0 w 57"/>
                <a:gd name="T19" fmla="*/ 29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7" h="46">
                  <a:moveTo>
                    <a:pt x="0" y="29"/>
                  </a:moveTo>
                  <a:lnTo>
                    <a:pt x="21" y="24"/>
                  </a:lnTo>
                  <a:lnTo>
                    <a:pt x="45" y="0"/>
                  </a:lnTo>
                  <a:lnTo>
                    <a:pt x="49" y="11"/>
                  </a:lnTo>
                  <a:lnTo>
                    <a:pt x="31" y="28"/>
                  </a:lnTo>
                  <a:lnTo>
                    <a:pt x="53" y="35"/>
                  </a:lnTo>
                  <a:lnTo>
                    <a:pt x="57" y="46"/>
                  </a:lnTo>
                  <a:lnTo>
                    <a:pt x="23" y="35"/>
                  </a:lnTo>
                  <a:lnTo>
                    <a:pt x="2" y="39"/>
                  </a:lnTo>
                  <a:lnTo>
                    <a:pt x="0" y="2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36" name="íśļiḓe"/>
            <p:cNvSpPr/>
            <p:nvPr/>
          </p:nvSpPr>
          <p:spPr bwMode="auto">
            <a:xfrm>
              <a:off x="1704872" y="5609228"/>
              <a:ext cx="85725" cy="80963"/>
            </a:xfrm>
            <a:custGeom>
              <a:avLst/>
              <a:gdLst>
                <a:gd name="T0" fmla="*/ 15 w 47"/>
                <a:gd name="T1" fmla="*/ 2 h 44"/>
                <a:gd name="T2" fmla="*/ 26 w 47"/>
                <a:gd name="T3" fmla="*/ 0 h 44"/>
                <a:gd name="T4" fmla="*/ 33 w 47"/>
                <a:gd name="T5" fmla="*/ 1 h 44"/>
                <a:gd name="T6" fmla="*/ 39 w 47"/>
                <a:gd name="T7" fmla="*/ 4 h 44"/>
                <a:gd name="T8" fmla="*/ 44 w 47"/>
                <a:gd name="T9" fmla="*/ 12 h 44"/>
                <a:gd name="T10" fmla="*/ 45 w 47"/>
                <a:gd name="T11" fmla="*/ 29 h 44"/>
                <a:gd name="T12" fmla="*/ 32 w 47"/>
                <a:gd name="T13" fmla="*/ 41 h 44"/>
                <a:gd name="T14" fmla="*/ 15 w 47"/>
                <a:gd name="T15" fmla="*/ 43 h 44"/>
                <a:gd name="T16" fmla="*/ 3 w 47"/>
                <a:gd name="T17" fmla="*/ 31 h 44"/>
                <a:gd name="T18" fmla="*/ 2 w 47"/>
                <a:gd name="T19" fmla="*/ 14 h 44"/>
                <a:gd name="T20" fmla="*/ 15 w 47"/>
                <a:gd name="T21" fmla="*/ 2 h 44"/>
                <a:gd name="T22" fmla="*/ 19 w 47"/>
                <a:gd name="T23" fmla="*/ 10 h 44"/>
                <a:gd name="T24" fmla="*/ 10 w 47"/>
                <a:gd name="T25" fmla="*/ 18 h 44"/>
                <a:gd name="T26" fmla="*/ 10 w 47"/>
                <a:gd name="T27" fmla="*/ 28 h 44"/>
                <a:gd name="T28" fmla="*/ 17 w 47"/>
                <a:gd name="T29" fmla="*/ 34 h 44"/>
                <a:gd name="T30" fmla="*/ 29 w 47"/>
                <a:gd name="T31" fmla="*/ 33 h 44"/>
                <a:gd name="T32" fmla="*/ 38 w 47"/>
                <a:gd name="T33" fmla="*/ 25 h 44"/>
                <a:gd name="T34" fmla="*/ 37 w 47"/>
                <a:gd name="T35" fmla="*/ 16 h 44"/>
                <a:gd name="T36" fmla="*/ 30 w 47"/>
                <a:gd name="T37" fmla="*/ 9 h 44"/>
                <a:gd name="T38" fmla="*/ 19 w 47"/>
                <a:gd name="T39" fmla="*/ 10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47" h="44">
                  <a:moveTo>
                    <a:pt x="15" y="2"/>
                  </a:moveTo>
                  <a:cubicBezTo>
                    <a:pt x="19" y="0"/>
                    <a:pt x="23" y="0"/>
                    <a:pt x="26" y="0"/>
                  </a:cubicBezTo>
                  <a:cubicBezTo>
                    <a:pt x="28" y="0"/>
                    <a:pt x="31" y="0"/>
                    <a:pt x="33" y="1"/>
                  </a:cubicBezTo>
                  <a:cubicBezTo>
                    <a:pt x="35" y="2"/>
                    <a:pt x="37" y="3"/>
                    <a:pt x="39" y="4"/>
                  </a:cubicBezTo>
                  <a:cubicBezTo>
                    <a:pt x="41" y="6"/>
                    <a:pt x="43" y="9"/>
                    <a:pt x="44" y="12"/>
                  </a:cubicBezTo>
                  <a:cubicBezTo>
                    <a:pt x="47" y="18"/>
                    <a:pt x="47" y="24"/>
                    <a:pt x="45" y="29"/>
                  </a:cubicBezTo>
                  <a:cubicBezTo>
                    <a:pt x="43" y="34"/>
                    <a:pt x="39" y="38"/>
                    <a:pt x="32" y="41"/>
                  </a:cubicBezTo>
                  <a:cubicBezTo>
                    <a:pt x="26" y="44"/>
                    <a:pt x="20" y="44"/>
                    <a:pt x="15" y="43"/>
                  </a:cubicBezTo>
                  <a:cubicBezTo>
                    <a:pt x="9" y="41"/>
                    <a:pt x="5" y="37"/>
                    <a:pt x="3" y="31"/>
                  </a:cubicBezTo>
                  <a:cubicBezTo>
                    <a:pt x="0" y="25"/>
                    <a:pt x="0" y="19"/>
                    <a:pt x="2" y="14"/>
                  </a:cubicBezTo>
                  <a:cubicBezTo>
                    <a:pt x="4" y="9"/>
                    <a:pt x="8" y="5"/>
                    <a:pt x="15" y="2"/>
                  </a:cubicBezTo>
                  <a:close/>
                  <a:moveTo>
                    <a:pt x="19" y="10"/>
                  </a:moveTo>
                  <a:cubicBezTo>
                    <a:pt x="14" y="12"/>
                    <a:pt x="11" y="15"/>
                    <a:pt x="10" y="18"/>
                  </a:cubicBezTo>
                  <a:cubicBezTo>
                    <a:pt x="8" y="21"/>
                    <a:pt x="8" y="24"/>
                    <a:pt x="10" y="28"/>
                  </a:cubicBezTo>
                  <a:cubicBezTo>
                    <a:pt x="11" y="31"/>
                    <a:pt x="13" y="33"/>
                    <a:pt x="17" y="34"/>
                  </a:cubicBezTo>
                  <a:cubicBezTo>
                    <a:pt x="20" y="35"/>
                    <a:pt x="24" y="35"/>
                    <a:pt x="29" y="33"/>
                  </a:cubicBezTo>
                  <a:cubicBezTo>
                    <a:pt x="33" y="31"/>
                    <a:pt x="36" y="28"/>
                    <a:pt x="38" y="25"/>
                  </a:cubicBezTo>
                  <a:cubicBezTo>
                    <a:pt x="39" y="22"/>
                    <a:pt x="39" y="19"/>
                    <a:pt x="37" y="16"/>
                  </a:cubicBezTo>
                  <a:cubicBezTo>
                    <a:pt x="36" y="12"/>
                    <a:pt x="34" y="10"/>
                    <a:pt x="30" y="9"/>
                  </a:cubicBezTo>
                  <a:cubicBezTo>
                    <a:pt x="27" y="8"/>
                    <a:pt x="23" y="8"/>
                    <a:pt x="19" y="1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37" name="î$ḷïďe"/>
            <p:cNvSpPr/>
            <p:nvPr/>
          </p:nvSpPr>
          <p:spPr bwMode="auto">
            <a:xfrm>
              <a:off x="1733447" y="5675903"/>
              <a:ext cx="98425" cy="66675"/>
            </a:xfrm>
            <a:custGeom>
              <a:avLst/>
              <a:gdLst>
                <a:gd name="T0" fmla="*/ 0 w 62"/>
                <a:gd name="T1" fmla="*/ 26 h 42"/>
                <a:gd name="T2" fmla="*/ 45 w 62"/>
                <a:gd name="T3" fmla="*/ 0 h 42"/>
                <a:gd name="T4" fmla="*/ 62 w 62"/>
                <a:gd name="T5" fmla="*/ 30 h 42"/>
                <a:gd name="T6" fmla="*/ 55 w 62"/>
                <a:gd name="T7" fmla="*/ 35 h 42"/>
                <a:gd name="T8" fmla="*/ 43 w 62"/>
                <a:gd name="T9" fmla="*/ 14 h 42"/>
                <a:gd name="T10" fmla="*/ 32 w 62"/>
                <a:gd name="T11" fmla="*/ 20 h 42"/>
                <a:gd name="T12" fmla="*/ 43 w 62"/>
                <a:gd name="T13" fmla="*/ 38 h 42"/>
                <a:gd name="T14" fmla="*/ 35 w 62"/>
                <a:gd name="T15" fmla="*/ 42 h 42"/>
                <a:gd name="T16" fmla="*/ 25 w 62"/>
                <a:gd name="T17" fmla="*/ 23 h 42"/>
                <a:gd name="T18" fmla="*/ 6 w 62"/>
                <a:gd name="T19" fmla="*/ 35 h 42"/>
                <a:gd name="T20" fmla="*/ 0 w 62"/>
                <a:gd name="T21" fmla="*/ 26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62" h="42">
                  <a:moveTo>
                    <a:pt x="0" y="26"/>
                  </a:moveTo>
                  <a:lnTo>
                    <a:pt x="45" y="0"/>
                  </a:lnTo>
                  <a:lnTo>
                    <a:pt x="62" y="30"/>
                  </a:lnTo>
                  <a:lnTo>
                    <a:pt x="55" y="35"/>
                  </a:lnTo>
                  <a:lnTo>
                    <a:pt x="43" y="14"/>
                  </a:lnTo>
                  <a:lnTo>
                    <a:pt x="32" y="20"/>
                  </a:lnTo>
                  <a:lnTo>
                    <a:pt x="43" y="38"/>
                  </a:lnTo>
                  <a:lnTo>
                    <a:pt x="35" y="42"/>
                  </a:lnTo>
                  <a:lnTo>
                    <a:pt x="25" y="23"/>
                  </a:lnTo>
                  <a:lnTo>
                    <a:pt x="6" y="35"/>
                  </a:lnTo>
                  <a:lnTo>
                    <a:pt x="0" y="2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38" name="îśḻîḍe"/>
            <p:cNvSpPr/>
            <p:nvPr/>
          </p:nvSpPr>
          <p:spPr bwMode="auto">
            <a:xfrm>
              <a:off x="1812822" y="5785440"/>
              <a:ext cx="85725" cy="82550"/>
            </a:xfrm>
            <a:custGeom>
              <a:avLst/>
              <a:gdLst>
                <a:gd name="T0" fmla="*/ 6 w 46"/>
                <a:gd name="T1" fmla="*/ 13 h 45"/>
                <a:gd name="T2" fmla="*/ 12 w 46"/>
                <a:gd name="T3" fmla="*/ 19 h 45"/>
                <a:gd name="T4" fmla="*/ 9 w 46"/>
                <a:gd name="T5" fmla="*/ 26 h 45"/>
                <a:gd name="T6" fmla="*/ 11 w 46"/>
                <a:gd name="T7" fmla="*/ 32 h 45"/>
                <a:gd name="T8" fmla="*/ 17 w 46"/>
                <a:gd name="T9" fmla="*/ 36 h 45"/>
                <a:gd name="T10" fmla="*/ 22 w 46"/>
                <a:gd name="T11" fmla="*/ 35 h 45"/>
                <a:gd name="T12" fmla="*/ 23 w 46"/>
                <a:gd name="T13" fmla="*/ 32 h 45"/>
                <a:gd name="T14" fmla="*/ 22 w 46"/>
                <a:gd name="T15" fmla="*/ 29 h 45"/>
                <a:gd name="T16" fmla="*/ 19 w 46"/>
                <a:gd name="T17" fmla="*/ 22 h 45"/>
                <a:gd name="T18" fmla="*/ 16 w 46"/>
                <a:gd name="T19" fmla="*/ 12 h 45"/>
                <a:gd name="T20" fmla="*/ 21 w 46"/>
                <a:gd name="T21" fmla="*/ 3 h 45"/>
                <a:gd name="T22" fmla="*/ 27 w 46"/>
                <a:gd name="T23" fmla="*/ 0 h 45"/>
                <a:gd name="T24" fmla="*/ 34 w 46"/>
                <a:gd name="T25" fmla="*/ 2 h 45"/>
                <a:gd name="T26" fmla="*/ 40 w 46"/>
                <a:gd name="T27" fmla="*/ 8 h 45"/>
                <a:gd name="T28" fmla="*/ 45 w 46"/>
                <a:gd name="T29" fmla="*/ 19 h 45"/>
                <a:gd name="T30" fmla="*/ 41 w 46"/>
                <a:gd name="T31" fmla="*/ 29 h 45"/>
                <a:gd name="T32" fmla="*/ 35 w 46"/>
                <a:gd name="T33" fmla="*/ 22 h 45"/>
                <a:gd name="T34" fmla="*/ 37 w 46"/>
                <a:gd name="T35" fmla="*/ 17 h 45"/>
                <a:gd name="T36" fmla="*/ 35 w 46"/>
                <a:gd name="T37" fmla="*/ 12 h 45"/>
                <a:gd name="T38" fmla="*/ 30 w 46"/>
                <a:gd name="T39" fmla="*/ 8 h 45"/>
                <a:gd name="T40" fmla="*/ 27 w 46"/>
                <a:gd name="T41" fmla="*/ 9 h 45"/>
                <a:gd name="T42" fmla="*/ 25 w 46"/>
                <a:gd name="T43" fmla="*/ 12 h 45"/>
                <a:gd name="T44" fmla="*/ 28 w 46"/>
                <a:gd name="T45" fmla="*/ 20 h 45"/>
                <a:gd name="T46" fmla="*/ 32 w 46"/>
                <a:gd name="T47" fmla="*/ 29 h 45"/>
                <a:gd name="T48" fmla="*/ 31 w 46"/>
                <a:gd name="T49" fmla="*/ 36 h 45"/>
                <a:gd name="T50" fmla="*/ 27 w 46"/>
                <a:gd name="T51" fmla="*/ 42 h 45"/>
                <a:gd name="T52" fmla="*/ 20 w 46"/>
                <a:gd name="T53" fmla="*/ 45 h 45"/>
                <a:gd name="T54" fmla="*/ 13 w 46"/>
                <a:gd name="T55" fmla="*/ 43 h 45"/>
                <a:gd name="T56" fmla="*/ 6 w 46"/>
                <a:gd name="T57" fmla="*/ 37 h 45"/>
                <a:gd name="T58" fmla="*/ 0 w 46"/>
                <a:gd name="T59" fmla="*/ 24 h 45"/>
                <a:gd name="T60" fmla="*/ 6 w 46"/>
                <a:gd name="T61" fmla="*/ 13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46" h="45">
                  <a:moveTo>
                    <a:pt x="6" y="13"/>
                  </a:moveTo>
                  <a:cubicBezTo>
                    <a:pt x="12" y="19"/>
                    <a:pt x="12" y="19"/>
                    <a:pt x="12" y="19"/>
                  </a:cubicBezTo>
                  <a:cubicBezTo>
                    <a:pt x="10" y="21"/>
                    <a:pt x="9" y="24"/>
                    <a:pt x="9" y="26"/>
                  </a:cubicBezTo>
                  <a:cubicBezTo>
                    <a:pt x="9" y="28"/>
                    <a:pt x="10" y="30"/>
                    <a:pt x="11" y="32"/>
                  </a:cubicBezTo>
                  <a:cubicBezTo>
                    <a:pt x="13" y="34"/>
                    <a:pt x="15" y="35"/>
                    <a:pt x="17" y="36"/>
                  </a:cubicBezTo>
                  <a:cubicBezTo>
                    <a:pt x="19" y="36"/>
                    <a:pt x="20" y="36"/>
                    <a:pt x="22" y="35"/>
                  </a:cubicBezTo>
                  <a:cubicBezTo>
                    <a:pt x="22" y="34"/>
                    <a:pt x="23" y="33"/>
                    <a:pt x="23" y="32"/>
                  </a:cubicBezTo>
                  <a:cubicBezTo>
                    <a:pt x="23" y="32"/>
                    <a:pt x="23" y="30"/>
                    <a:pt x="22" y="29"/>
                  </a:cubicBezTo>
                  <a:cubicBezTo>
                    <a:pt x="22" y="28"/>
                    <a:pt x="21" y="26"/>
                    <a:pt x="19" y="22"/>
                  </a:cubicBezTo>
                  <a:cubicBezTo>
                    <a:pt x="17" y="18"/>
                    <a:pt x="16" y="14"/>
                    <a:pt x="16" y="12"/>
                  </a:cubicBezTo>
                  <a:cubicBezTo>
                    <a:pt x="17" y="8"/>
                    <a:pt x="18" y="5"/>
                    <a:pt x="21" y="3"/>
                  </a:cubicBezTo>
                  <a:cubicBezTo>
                    <a:pt x="23" y="1"/>
                    <a:pt x="25" y="1"/>
                    <a:pt x="27" y="0"/>
                  </a:cubicBezTo>
                  <a:cubicBezTo>
                    <a:pt x="29" y="0"/>
                    <a:pt x="31" y="1"/>
                    <a:pt x="34" y="2"/>
                  </a:cubicBezTo>
                  <a:cubicBezTo>
                    <a:pt x="36" y="3"/>
                    <a:pt x="38" y="5"/>
                    <a:pt x="40" y="8"/>
                  </a:cubicBezTo>
                  <a:cubicBezTo>
                    <a:pt x="44" y="12"/>
                    <a:pt x="46" y="16"/>
                    <a:pt x="45" y="19"/>
                  </a:cubicBezTo>
                  <a:cubicBezTo>
                    <a:pt x="45" y="23"/>
                    <a:pt x="44" y="26"/>
                    <a:pt x="41" y="29"/>
                  </a:cubicBezTo>
                  <a:cubicBezTo>
                    <a:pt x="35" y="22"/>
                    <a:pt x="35" y="22"/>
                    <a:pt x="35" y="22"/>
                  </a:cubicBezTo>
                  <a:cubicBezTo>
                    <a:pt x="36" y="21"/>
                    <a:pt x="37" y="19"/>
                    <a:pt x="37" y="17"/>
                  </a:cubicBezTo>
                  <a:cubicBezTo>
                    <a:pt x="37" y="16"/>
                    <a:pt x="36" y="14"/>
                    <a:pt x="35" y="12"/>
                  </a:cubicBezTo>
                  <a:cubicBezTo>
                    <a:pt x="33" y="10"/>
                    <a:pt x="31" y="9"/>
                    <a:pt x="30" y="8"/>
                  </a:cubicBezTo>
                  <a:cubicBezTo>
                    <a:pt x="28" y="8"/>
                    <a:pt x="27" y="8"/>
                    <a:pt x="27" y="9"/>
                  </a:cubicBezTo>
                  <a:cubicBezTo>
                    <a:pt x="26" y="10"/>
                    <a:pt x="25" y="11"/>
                    <a:pt x="25" y="12"/>
                  </a:cubicBezTo>
                  <a:cubicBezTo>
                    <a:pt x="25" y="13"/>
                    <a:pt x="26" y="16"/>
                    <a:pt x="28" y="20"/>
                  </a:cubicBezTo>
                  <a:cubicBezTo>
                    <a:pt x="30" y="24"/>
                    <a:pt x="31" y="27"/>
                    <a:pt x="32" y="29"/>
                  </a:cubicBezTo>
                  <a:cubicBezTo>
                    <a:pt x="32" y="32"/>
                    <a:pt x="32" y="34"/>
                    <a:pt x="31" y="36"/>
                  </a:cubicBezTo>
                  <a:cubicBezTo>
                    <a:pt x="31" y="38"/>
                    <a:pt x="29" y="40"/>
                    <a:pt x="27" y="42"/>
                  </a:cubicBezTo>
                  <a:cubicBezTo>
                    <a:pt x="25" y="43"/>
                    <a:pt x="23" y="44"/>
                    <a:pt x="20" y="45"/>
                  </a:cubicBezTo>
                  <a:cubicBezTo>
                    <a:pt x="18" y="45"/>
                    <a:pt x="15" y="44"/>
                    <a:pt x="13" y="43"/>
                  </a:cubicBezTo>
                  <a:cubicBezTo>
                    <a:pt x="10" y="42"/>
                    <a:pt x="8" y="40"/>
                    <a:pt x="6" y="37"/>
                  </a:cubicBezTo>
                  <a:cubicBezTo>
                    <a:pt x="2" y="32"/>
                    <a:pt x="0" y="28"/>
                    <a:pt x="0" y="24"/>
                  </a:cubicBezTo>
                  <a:cubicBezTo>
                    <a:pt x="1" y="20"/>
                    <a:pt x="2" y="17"/>
                    <a:pt x="6" y="1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39" name="í$ļîḋê"/>
            <p:cNvSpPr/>
            <p:nvPr/>
          </p:nvSpPr>
          <p:spPr bwMode="auto">
            <a:xfrm>
              <a:off x="1868384" y="5844178"/>
              <a:ext cx="82550" cy="82550"/>
            </a:xfrm>
            <a:custGeom>
              <a:avLst/>
              <a:gdLst>
                <a:gd name="T0" fmla="*/ 25 w 45"/>
                <a:gd name="T1" fmla="*/ 33 h 45"/>
                <a:gd name="T2" fmla="*/ 29 w 45"/>
                <a:gd name="T3" fmla="*/ 41 h 45"/>
                <a:gd name="T4" fmla="*/ 17 w 45"/>
                <a:gd name="T5" fmla="*/ 44 h 45"/>
                <a:gd name="T6" fmla="*/ 6 w 45"/>
                <a:gd name="T7" fmla="*/ 38 h 45"/>
                <a:gd name="T8" fmla="*/ 0 w 45"/>
                <a:gd name="T9" fmla="*/ 24 h 45"/>
                <a:gd name="T10" fmla="*/ 8 w 45"/>
                <a:gd name="T11" fmla="*/ 8 h 45"/>
                <a:gd name="T12" fmla="*/ 24 w 45"/>
                <a:gd name="T13" fmla="*/ 0 h 45"/>
                <a:gd name="T14" fmla="*/ 39 w 45"/>
                <a:gd name="T15" fmla="*/ 7 h 45"/>
                <a:gd name="T16" fmla="*/ 45 w 45"/>
                <a:gd name="T17" fmla="*/ 19 h 45"/>
                <a:gd name="T18" fmla="*/ 42 w 45"/>
                <a:gd name="T19" fmla="*/ 28 h 45"/>
                <a:gd name="T20" fmla="*/ 34 w 45"/>
                <a:gd name="T21" fmla="*/ 23 h 45"/>
                <a:gd name="T22" fmla="*/ 36 w 45"/>
                <a:gd name="T23" fmla="*/ 17 h 45"/>
                <a:gd name="T24" fmla="*/ 33 w 45"/>
                <a:gd name="T25" fmla="*/ 12 h 45"/>
                <a:gd name="T26" fmla="*/ 25 w 45"/>
                <a:gd name="T27" fmla="*/ 9 h 45"/>
                <a:gd name="T28" fmla="*/ 15 w 45"/>
                <a:gd name="T29" fmla="*/ 14 h 45"/>
                <a:gd name="T30" fmla="*/ 8 w 45"/>
                <a:gd name="T31" fmla="*/ 25 h 45"/>
                <a:gd name="T32" fmla="*/ 11 w 45"/>
                <a:gd name="T33" fmla="*/ 33 h 45"/>
                <a:gd name="T34" fmla="*/ 17 w 45"/>
                <a:gd name="T35" fmla="*/ 36 h 45"/>
                <a:gd name="T36" fmla="*/ 25 w 45"/>
                <a:gd name="T37" fmla="*/ 33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5" h="45">
                  <a:moveTo>
                    <a:pt x="25" y="33"/>
                  </a:moveTo>
                  <a:cubicBezTo>
                    <a:pt x="29" y="41"/>
                    <a:pt x="29" y="41"/>
                    <a:pt x="29" y="41"/>
                  </a:cubicBezTo>
                  <a:cubicBezTo>
                    <a:pt x="25" y="44"/>
                    <a:pt x="21" y="45"/>
                    <a:pt x="17" y="44"/>
                  </a:cubicBezTo>
                  <a:cubicBezTo>
                    <a:pt x="13" y="44"/>
                    <a:pt x="9" y="42"/>
                    <a:pt x="6" y="38"/>
                  </a:cubicBezTo>
                  <a:cubicBezTo>
                    <a:pt x="2" y="34"/>
                    <a:pt x="0" y="29"/>
                    <a:pt x="0" y="24"/>
                  </a:cubicBezTo>
                  <a:cubicBezTo>
                    <a:pt x="0" y="19"/>
                    <a:pt x="3" y="13"/>
                    <a:pt x="8" y="8"/>
                  </a:cubicBezTo>
                  <a:cubicBezTo>
                    <a:pt x="13" y="3"/>
                    <a:pt x="18" y="1"/>
                    <a:pt x="24" y="0"/>
                  </a:cubicBezTo>
                  <a:cubicBezTo>
                    <a:pt x="29" y="0"/>
                    <a:pt x="34" y="2"/>
                    <a:pt x="39" y="7"/>
                  </a:cubicBezTo>
                  <a:cubicBezTo>
                    <a:pt x="42" y="10"/>
                    <a:pt x="44" y="15"/>
                    <a:pt x="45" y="19"/>
                  </a:cubicBezTo>
                  <a:cubicBezTo>
                    <a:pt x="45" y="22"/>
                    <a:pt x="44" y="25"/>
                    <a:pt x="42" y="28"/>
                  </a:cubicBezTo>
                  <a:cubicBezTo>
                    <a:pt x="34" y="23"/>
                    <a:pt x="34" y="23"/>
                    <a:pt x="34" y="23"/>
                  </a:cubicBezTo>
                  <a:cubicBezTo>
                    <a:pt x="36" y="21"/>
                    <a:pt x="36" y="19"/>
                    <a:pt x="36" y="17"/>
                  </a:cubicBezTo>
                  <a:cubicBezTo>
                    <a:pt x="36" y="15"/>
                    <a:pt x="35" y="13"/>
                    <a:pt x="33" y="12"/>
                  </a:cubicBezTo>
                  <a:cubicBezTo>
                    <a:pt x="31" y="9"/>
                    <a:pt x="28" y="8"/>
                    <a:pt x="25" y="9"/>
                  </a:cubicBezTo>
                  <a:cubicBezTo>
                    <a:pt x="22" y="9"/>
                    <a:pt x="18" y="11"/>
                    <a:pt x="15" y="14"/>
                  </a:cubicBezTo>
                  <a:cubicBezTo>
                    <a:pt x="11" y="18"/>
                    <a:pt x="9" y="22"/>
                    <a:pt x="8" y="25"/>
                  </a:cubicBezTo>
                  <a:cubicBezTo>
                    <a:pt x="8" y="28"/>
                    <a:pt x="9" y="31"/>
                    <a:pt x="11" y="33"/>
                  </a:cubicBezTo>
                  <a:cubicBezTo>
                    <a:pt x="13" y="35"/>
                    <a:pt x="15" y="36"/>
                    <a:pt x="17" y="36"/>
                  </a:cubicBezTo>
                  <a:cubicBezTo>
                    <a:pt x="20" y="36"/>
                    <a:pt x="22" y="35"/>
                    <a:pt x="25" y="3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40" name="íṩḷiḋé"/>
            <p:cNvSpPr/>
            <p:nvPr/>
          </p:nvSpPr>
          <p:spPr bwMode="auto">
            <a:xfrm>
              <a:off x="1916009" y="5887040"/>
              <a:ext cx="65088" cy="71438"/>
            </a:xfrm>
            <a:custGeom>
              <a:avLst/>
              <a:gdLst>
                <a:gd name="T0" fmla="*/ 0 w 41"/>
                <a:gd name="T1" fmla="*/ 38 h 45"/>
                <a:gd name="T2" fmla="*/ 34 w 41"/>
                <a:gd name="T3" fmla="*/ 0 h 45"/>
                <a:gd name="T4" fmla="*/ 41 w 41"/>
                <a:gd name="T5" fmla="*/ 6 h 45"/>
                <a:gd name="T6" fmla="*/ 8 w 41"/>
                <a:gd name="T7" fmla="*/ 45 h 45"/>
                <a:gd name="T8" fmla="*/ 0 w 41"/>
                <a:gd name="T9" fmla="*/ 38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1" h="45">
                  <a:moveTo>
                    <a:pt x="0" y="38"/>
                  </a:moveTo>
                  <a:lnTo>
                    <a:pt x="34" y="0"/>
                  </a:lnTo>
                  <a:lnTo>
                    <a:pt x="41" y="6"/>
                  </a:lnTo>
                  <a:lnTo>
                    <a:pt x="8" y="45"/>
                  </a:lnTo>
                  <a:lnTo>
                    <a:pt x="0" y="3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41" name="îsľïďé"/>
            <p:cNvSpPr/>
            <p:nvPr/>
          </p:nvSpPr>
          <p:spPr bwMode="auto">
            <a:xfrm>
              <a:off x="1941409" y="5904503"/>
              <a:ext cx="96838" cy="101600"/>
            </a:xfrm>
            <a:custGeom>
              <a:avLst/>
              <a:gdLst>
                <a:gd name="T0" fmla="*/ 0 w 61"/>
                <a:gd name="T1" fmla="*/ 41 h 64"/>
                <a:gd name="T2" fmla="*/ 31 w 61"/>
                <a:gd name="T3" fmla="*/ 0 h 64"/>
                <a:gd name="T4" fmla="*/ 61 w 61"/>
                <a:gd name="T5" fmla="*/ 22 h 64"/>
                <a:gd name="T6" fmla="*/ 56 w 61"/>
                <a:gd name="T7" fmla="*/ 29 h 64"/>
                <a:gd name="T8" fmla="*/ 34 w 61"/>
                <a:gd name="T9" fmla="*/ 13 h 64"/>
                <a:gd name="T10" fmla="*/ 27 w 61"/>
                <a:gd name="T11" fmla="*/ 22 h 64"/>
                <a:gd name="T12" fmla="*/ 47 w 61"/>
                <a:gd name="T13" fmla="*/ 37 h 64"/>
                <a:gd name="T14" fmla="*/ 42 w 61"/>
                <a:gd name="T15" fmla="*/ 44 h 64"/>
                <a:gd name="T16" fmla="*/ 21 w 61"/>
                <a:gd name="T17" fmla="*/ 29 h 64"/>
                <a:gd name="T18" fmla="*/ 13 w 61"/>
                <a:gd name="T19" fmla="*/ 40 h 64"/>
                <a:gd name="T20" fmla="*/ 36 w 61"/>
                <a:gd name="T21" fmla="*/ 57 h 64"/>
                <a:gd name="T22" fmla="*/ 31 w 61"/>
                <a:gd name="T23" fmla="*/ 64 h 64"/>
                <a:gd name="T24" fmla="*/ 0 w 61"/>
                <a:gd name="T25" fmla="*/ 41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1" h="64">
                  <a:moveTo>
                    <a:pt x="0" y="41"/>
                  </a:moveTo>
                  <a:lnTo>
                    <a:pt x="31" y="0"/>
                  </a:lnTo>
                  <a:lnTo>
                    <a:pt x="61" y="22"/>
                  </a:lnTo>
                  <a:lnTo>
                    <a:pt x="56" y="29"/>
                  </a:lnTo>
                  <a:lnTo>
                    <a:pt x="34" y="13"/>
                  </a:lnTo>
                  <a:lnTo>
                    <a:pt x="27" y="22"/>
                  </a:lnTo>
                  <a:lnTo>
                    <a:pt x="47" y="37"/>
                  </a:lnTo>
                  <a:lnTo>
                    <a:pt x="42" y="44"/>
                  </a:lnTo>
                  <a:lnTo>
                    <a:pt x="21" y="29"/>
                  </a:lnTo>
                  <a:lnTo>
                    <a:pt x="13" y="40"/>
                  </a:lnTo>
                  <a:lnTo>
                    <a:pt x="36" y="57"/>
                  </a:lnTo>
                  <a:lnTo>
                    <a:pt x="31" y="64"/>
                  </a:lnTo>
                  <a:lnTo>
                    <a:pt x="0" y="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42" name="íśliḋé"/>
            <p:cNvSpPr/>
            <p:nvPr/>
          </p:nvSpPr>
          <p:spPr bwMode="auto">
            <a:xfrm>
              <a:off x="2004909" y="5947365"/>
              <a:ext cx="96838" cy="101600"/>
            </a:xfrm>
            <a:custGeom>
              <a:avLst/>
              <a:gdLst>
                <a:gd name="T0" fmla="*/ 0 w 61"/>
                <a:gd name="T1" fmla="*/ 43 h 64"/>
                <a:gd name="T2" fmla="*/ 27 w 61"/>
                <a:gd name="T3" fmla="*/ 0 h 64"/>
                <a:gd name="T4" fmla="*/ 35 w 61"/>
                <a:gd name="T5" fmla="*/ 5 h 64"/>
                <a:gd name="T6" fmla="*/ 36 w 61"/>
                <a:gd name="T7" fmla="*/ 45 h 64"/>
                <a:gd name="T8" fmla="*/ 53 w 61"/>
                <a:gd name="T9" fmla="*/ 15 h 64"/>
                <a:gd name="T10" fmla="*/ 61 w 61"/>
                <a:gd name="T11" fmla="*/ 21 h 64"/>
                <a:gd name="T12" fmla="*/ 35 w 61"/>
                <a:gd name="T13" fmla="*/ 64 h 64"/>
                <a:gd name="T14" fmla="*/ 27 w 61"/>
                <a:gd name="T15" fmla="*/ 59 h 64"/>
                <a:gd name="T16" fmla="*/ 25 w 61"/>
                <a:gd name="T17" fmla="*/ 20 h 64"/>
                <a:gd name="T18" fmla="*/ 8 w 61"/>
                <a:gd name="T19" fmla="*/ 49 h 64"/>
                <a:gd name="T20" fmla="*/ 0 w 61"/>
                <a:gd name="T21" fmla="*/ 43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61" h="64">
                  <a:moveTo>
                    <a:pt x="0" y="43"/>
                  </a:moveTo>
                  <a:lnTo>
                    <a:pt x="27" y="0"/>
                  </a:lnTo>
                  <a:lnTo>
                    <a:pt x="35" y="5"/>
                  </a:lnTo>
                  <a:lnTo>
                    <a:pt x="36" y="45"/>
                  </a:lnTo>
                  <a:lnTo>
                    <a:pt x="53" y="15"/>
                  </a:lnTo>
                  <a:lnTo>
                    <a:pt x="61" y="21"/>
                  </a:lnTo>
                  <a:lnTo>
                    <a:pt x="35" y="64"/>
                  </a:lnTo>
                  <a:lnTo>
                    <a:pt x="27" y="59"/>
                  </a:lnTo>
                  <a:lnTo>
                    <a:pt x="25" y="20"/>
                  </a:lnTo>
                  <a:lnTo>
                    <a:pt x="8" y="49"/>
                  </a:lnTo>
                  <a:lnTo>
                    <a:pt x="0" y="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43" name="iSļiďê"/>
            <p:cNvSpPr/>
            <p:nvPr/>
          </p:nvSpPr>
          <p:spPr bwMode="auto">
            <a:xfrm>
              <a:off x="2087459" y="5993403"/>
              <a:ext cx="79375" cy="87313"/>
            </a:xfrm>
            <a:custGeom>
              <a:avLst/>
              <a:gdLst>
                <a:gd name="T0" fmla="*/ 28 w 43"/>
                <a:gd name="T1" fmla="*/ 33 h 47"/>
                <a:gd name="T2" fmla="*/ 34 w 43"/>
                <a:gd name="T3" fmla="*/ 39 h 47"/>
                <a:gd name="T4" fmla="*/ 24 w 43"/>
                <a:gd name="T5" fmla="*/ 46 h 47"/>
                <a:gd name="T6" fmla="*/ 12 w 43"/>
                <a:gd name="T7" fmla="*/ 44 h 47"/>
                <a:gd name="T8" fmla="*/ 1 w 43"/>
                <a:gd name="T9" fmla="*/ 33 h 47"/>
                <a:gd name="T10" fmla="*/ 3 w 43"/>
                <a:gd name="T11" fmla="*/ 15 h 47"/>
                <a:gd name="T12" fmla="*/ 15 w 43"/>
                <a:gd name="T13" fmla="*/ 2 h 47"/>
                <a:gd name="T14" fmla="*/ 32 w 43"/>
                <a:gd name="T15" fmla="*/ 3 h 47"/>
                <a:gd name="T16" fmla="*/ 41 w 43"/>
                <a:gd name="T17" fmla="*/ 13 h 47"/>
                <a:gd name="T18" fmla="*/ 42 w 43"/>
                <a:gd name="T19" fmla="*/ 22 h 47"/>
                <a:gd name="T20" fmla="*/ 33 w 43"/>
                <a:gd name="T21" fmla="*/ 20 h 47"/>
                <a:gd name="T22" fmla="*/ 33 w 43"/>
                <a:gd name="T23" fmla="*/ 14 h 47"/>
                <a:gd name="T24" fmla="*/ 28 w 43"/>
                <a:gd name="T25" fmla="*/ 10 h 47"/>
                <a:gd name="T26" fmla="*/ 19 w 43"/>
                <a:gd name="T27" fmla="*/ 10 h 47"/>
                <a:gd name="T28" fmla="*/ 12 w 43"/>
                <a:gd name="T29" fmla="*/ 19 h 47"/>
                <a:gd name="T30" fmla="*/ 9 w 43"/>
                <a:gd name="T31" fmla="*/ 31 h 47"/>
                <a:gd name="T32" fmla="*/ 15 w 43"/>
                <a:gd name="T33" fmla="*/ 37 h 47"/>
                <a:gd name="T34" fmla="*/ 22 w 43"/>
                <a:gd name="T35" fmla="*/ 38 h 47"/>
                <a:gd name="T36" fmla="*/ 28 w 43"/>
                <a:gd name="T37" fmla="*/ 33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3" h="47">
                  <a:moveTo>
                    <a:pt x="28" y="33"/>
                  </a:moveTo>
                  <a:cubicBezTo>
                    <a:pt x="34" y="39"/>
                    <a:pt x="34" y="39"/>
                    <a:pt x="34" y="39"/>
                  </a:cubicBezTo>
                  <a:cubicBezTo>
                    <a:pt x="31" y="43"/>
                    <a:pt x="28" y="45"/>
                    <a:pt x="24" y="46"/>
                  </a:cubicBezTo>
                  <a:cubicBezTo>
                    <a:pt x="20" y="47"/>
                    <a:pt x="16" y="46"/>
                    <a:pt x="12" y="44"/>
                  </a:cubicBezTo>
                  <a:cubicBezTo>
                    <a:pt x="7" y="42"/>
                    <a:pt x="3" y="38"/>
                    <a:pt x="1" y="33"/>
                  </a:cubicBezTo>
                  <a:cubicBezTo>
                    <a:pt x="0" y="27"/>
                    <a:pt x="0" y="22"/>
                    <a:pt x="3" y="15"/>
                  </a:cubicBezTo>
                  <a:cubicBezTo>
                    <a:pt x="6" y="9"/>
                    <a:pt x="10" y="4"/>
                    <a:pt x="15" y="2"/>
                  </a:cubicBezTo>
                  <a:cubicBezTo>
                    <a:pt x="21" y="0"/>
                    <a:pt x="26" y="1"/>
                    <a:pt x="32" y="3"/>
                  </a:cubicBezTo>
                  <a:cubicBezTo>
                    <a:pt x="36" y="5"/>
                    <a:pt x="40" y="9"/>
                    <a:pt x="41" y="13"/>
                  </a:cubicBezTo>
                  <a:cubicBezTo>
                    <a:pt x="42" y="16"/>
                    <a:pt x="43" y="19"/>
                    <a:pt x="42" y="22"/>
                  </a:cubicBezTo>
                  <a:cubicBezTo>
                    <a:pt x="33" y="20"/>
                    <a:pt x="33" y="20"/>
                    <a:pt x="33" y="20"/>
                  </a:cubicBezTo>
                  <a:cubicBezTo>
                    <a:pt x="34" y="18"/>
                    <a:pt x="34" y="16"/>
                    <a:pt x="33" y="14"/>
                  </a:cubicBezTo>
                  <a:cubicBezTo>
                    <a:pt x="32" y="12"/>
                    <a:pt x="30" y="11"/>
                    <a:pt x="28" y="10"/>
                  </a:cubicBezTo>
                  <a:cubicBezTo>
                    <a:pt x="25" y="8"/>
                    <a:pt x="22" y="8"/>
                    <a:pt x="19" y="10"/>
                  </a:cubicBezTo>
                  <a:cubicBezTo>
                    <a:pt x="16" y="11"/>
                    <a:pt x="14" y="14"/>
                    <a:pt x="12" y="19"/>
                  </a:cubicBezTo>
                  <a:cubicBezTo>
                    <a:pt x="9" y="24"/>
                    <a:pt x="9" y="28"/>
                    <a:pt x="9" y="31"/>
                  </a:cubicBezTo>
                  <a:cubicBezTo>
                    <a:pt x="10" y="34"/>
                    <a:pt x="12" y="36"/>
                    <a:pt x="15" y="37"/>
                  </a:cubicBezTo>
                  <a:cubicBezTo>
                    <a:pt x="17" y="38"/>
                    <a:pt x="19" y="38"/>
                    <a:pt x="22" y="38"/>
                  </a:cubicBezTo>
                  <a:cubicBezTo>
                    <a:pt x="24" y="37"/>
                    <a:pt x="26" y="35"/>
                    <a:pt x="28" y="3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44" name="íSliḋé"/>
            <p:cNvSpPr/>
            <p:nvPr/>
          </p:nvSpPr>
          <p:spPr bwMode="auto">
            <a:xfrm>
              <a:off x="2157309" y="6017215"/>
              <a:ext cx="82550" cy="96838"/>
            </a:xfrm>
            <a:custGeom>
              <a:avLst/>
              <a:gdLst>
                <a:gd name="T0" fmla="*/ 0 w 52"/>
                <a:gd name="T1" fmla="*/ 49 h 61"/>
                <a:gd name="T2" fmla="*/ 16 w 52"/>
                <a:gd name="T3" fmla="*/ 0 h 61"/>
                <a:gd name="T4" fmla="*/ 52 w 52"/>
                <a:gd name="T5" fmla="*/ 13 h 61"/>
                <a:gd name="T6" fmla="*/ 50 w 52"/>
                <a:gd name="T7" fmla="*/ 21 h 61"/>
                <a:gd name="T8" fmla="*/ 23 w 52"/>
                <a:gd name="T9" fmla="*/ 12 h 61"/>
                <a:gd name="T10" fmla="*/ 20 w 52"/>
                <a:gd name="T11" fmla="*/ 22 h 61"/>
                <a:gd name="T12" fmla="*/ 44 w 52"/>
                <a:gd name="T13" fmla="*/ 30 h 61"/>
                <a:gd name="T14" fmla="*/ 41 w 52"/>
                <a:gd name="T15" fmla="*/ 38 h 61"/>
                <a:gd name="T16" fmla="*/ 18 w 52"/>
                <a:gd name="T17" fmla="*/ 30 h 61"/>
                <a:gd name="T18" fmla="*/ 13 w 52"/>
                <a:gd name="T19" fmla="*/ 43 h 61"/>
                <a:gd name="T20" fmla="*/ 40 w 52"/>
                <a:gd name="T21" fmla="*/ 52 h 61"/>
                <a:gd name="T22" fmla="*/ 36 w 52"/>
                <a:gd name="T23" fmla="*/ 61 h 61"/>
                <a:gd name="T24" fmla="*/ 0 w 52"/>
                <a:gd name="T25" fmla="*/ 49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52" h="61">
                  <a:moveTo>
                    <a:pt x="0" y="49"/>
                  </a:moveTo>
                  <a:lnTo>
                    <a:pt x="16" y="0"/>
                  </a:lnTo>
                  <a:lnTo>
                    <a:pt x="52" y="13"/>
                  </a:lnTo>
                  <a:lnTo>
                    <a:pt x="50" y="21"/>
                  </a:lnTo>
                  <a:lnTo>
                    <a:pt x="23" y="12"/>
                  </a:lnTo>
                  <a:lnTo>
                    <a:pt x="20" y="22"/>
                  </a:lnTo>
                  <a:lnTo>
                    <a:pt x="44" y="30"/>
                  </a:lnTo>
                  <a:lnTo>
                    <a:pt x="41" y="38"/>
                  </a:lnTo>
                  <a:lnTo>
                    <a:pt x="18" y="30"/>
                  </a:lnTo>
                  <a:lnTo>
                    <a:pt x="13" y="43"/>
                  </a:lnTo>
                  <a:lnTo>
                    <a:pt x="40" y="52"/>
                  </a:lnTo>
                  <a:lnTo>
                    <a:pt x="36" y="61"/>
                  </a:lnTo>
                  <a:lnTo>
                    <a:pt x="0" y="4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45" name="îŝ1îḑè"/>
            <p:cNvSpPr/>
            <p:nvPr/>
          </p:nvSpPr>
          <p:spPr bwMode="auto">
            <a:xfrm>
              <a:off x="2663722" y="6026740"/>
              <a:ext cx="77788" cy="92075"/>
            </a:xfrm>
            <a:custGeom>
              <a:avLst/>
              <a:gdLst>
                <a:gd name="T0" fmla="*/ 49 w 49"/>
                <a:gd name="T1" fmla="*/ 42 h 58"/>
                <a:gd name="T2" fmla="*/ 39 w 49"/>
                <a:gd name="T3" fmla="*/ 45 h 58"/>
                <a:gd name="T4" fmla="*/ 31 w 49"/>
                <a:gd name="T5" fmla="*/ 36 h 58"/>
                <a:gd name="T6" fmla="*/ 11 w 49"/>
                <a:gd name="T7" fmla="*/ 43 h 58"/>
                <a:gd name="T8" fmla="*/ 11 w 49"/>
                <a:gd name="T9" fmla="*/ 55 h 58"/>
                <a:gd name="T10" fmla="*/ 0 w 49"/>
                <a:gd name="T11" fmla="*/ 58 h 58"/>
                <a:gd name="T12" fmla="*/ 3 w 49"/>
                <a:gd name="T13" fmla="*/ 3 h 58"/>
                <a:gd name="T14" fmla="*/ 13 w 49"/>
                <a:gd name="T15" fmla="*/ 0 h 58"/>
                <a:gd name="T16" fmla="*/ 49 w 49"/>
                <a:gd name="T17" fmla="*/ 42 h 58"/>
                <a:gd name="T18" fmla="*/ 25 w 49"/>
                <a:gd name="T19" fmla="*/ 29 h 58"/>
                <a:gd name="T20" fmla="*/ 12 w 49"/>
                <a:gd name="T21" fmla="*/ 14 h 58"/>
                <a:gd name="T22" fmla="*/ 11 w 49"/>
                <a:gd name="T23" fmla="*/ 34 h 58"/>
                <a:gd name="T24" fmla="*/ 25 w 49"/>
                <a:gd name="T25" fmla="*/ 29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8">
                  <a:moveTo>
                    <a:pt x="49" y="42"/>
                  </a:moveTo>
                  <a:lnTo>
                    <a:pt x="39" y="45"/>
                  </a:lnTo>
                  <a:lnTo>
                    <a:pt x="31" y="36"/>
                  </a:lnTo>
                  <a:lnTo>
                    <a:pt x="11" y="43"/>
                  </a:lnTo>
                  <a:lnTo>
                    <a:pt x="11" y="55"/>
                  </a:lnTo>
                  <a:lnTo>
                    <a:pt x="0" y="58"/>
                  </a:lnTo>
                  <a:lnTo>
                    <a:pt x="3" y="3"/>
                  </a:lnTo>
                  <a:lnTo>
                    <a:pt x="13" y="0"/>
                  </a:lnTo>
                  <a:lnTo>
                    <a:pt x="49" y="42"/>
                  </a:lnTo>
                  <a:close/>
                  <a:moveTo>
                    <a:pt x="25" y="29"/>
                  </a:moveTo>
                  <a:lnTo>
                    <a:pt x="12" y="14"/>
                  </a:lnTo>
                  <a:lnTo>
                    <a:pt x="11" y="34"/>
                  </a:lnTo>
                  <a:lnTo>
                    <a:pt x="25" y="2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46" name="íṩḻiḋê"/>
            <p:cNvSpPr/>
            <p:nvPr/>
          </p:nvSpPr>
          <p:spPr bwMode="auto">
            <a:xfrm>
              <a:off x="2714522" y="5990228"/>
              <a:ext cx="92075" cy="101600"/>
            </a:xfrm>
            <a:custGeom>
              <a:avLst/>
              <a:gdLst>
                <a:gd name="T0" fmla="*/ 21 w 58"/>
                <a:gd name="T1" fmla="*/ 64 h 64"/>
                <a:gd name="T2" fmla="*/ 0 w 58"/>
                <a:gd name="T3" fmla="*/ 17 h 64"/>
                <a:gd name="T4" fmla="*/ 9 w 58"/>
                <a:gd name="T5" fmla="*/ 12 h 64"/>
                <a:gd name="T6" fmla="*/ 43 w 58"/>
                <a:gd name="T7" fmla="*/ 36 h 64"/>
                <a:gd name="T8" fmla="*/ 29 w 58"/>
                <a:gd name="T9" fmla="*/ 4 h 64"/>
                <a:gd name="T10" fmla="*/ 37 w 58"/>
                <a:gd name="T11" fmla="*/ 0 h 64"/>
                <a:gd name="T12" fmla="*/ 58 w 58"/>
                <a:gd name="T13" fmla="*/ 46 h 64"/>
                <a:gd name="T14" fmla="*/ 49 w 58"/>
                <a:gd name="T15" fmla="*/ 51 h 64"/>
                <a:gd name="T16" fmla="*/ 16 w 58"/>
                <a:gd name="T17" fmla="*/ 29 h 64"/>
                <a:gd name="T18" fmla="*/ 30 w 58"/>
                <a:gd name="T19" fmla="*/ 59 h 64"/>
                <a:gd name="T20" fmla="*/ 21 w 58"/>
                <a:gd name="T21" fmla="*/ 64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8" h="64">
                  <a:moveTo>
                    <a:pt x="21" y="64"/>
                  </a:moveTo>
                  <a:lnTo>
                    <a:pt x="0" y="17"/>
                  </a:lnTo>
                  <a:lnTo>
                    <a:pt x="9" y="12"/>
                  </a:lnTo>
                  <a:lnTo>
                    <a:pt x="43" y="36"/>
                  </a:lnTo>
                  <a:lnTo>
                    <a:pt x="29" y="4"/>
                  </a:lnTo>
                  <a:lnTo>
                    <a:pt x="37" y="0"/>
                  </a:lnTo>
                  <a:lnTo>
                    <a:pt x="58" y="46"/>
                  </a:lnTo>
                  <a:lnTo>
                    <a:pt x="49" y="51"/>
                  </a:lnTo>
                  <a:lnTo>
                    <a:pt x="16" y="29"/>
                  </a:lnTo>
                  <a:lnTo>
                    <a:pt x="30" y="59"/>
                  </a:lnTo>
                  <a:lnTo>
                    <a:pt x="21" y="6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47" name="îṧľíḍe"/>
            <p:cNvSpPr/>
            <p:nvPr/>
          </p:nvSpPr>
          <p:spPr bwMode="auto">
            <a:xfrm>
              <a:off x="2781197" y="5963240"/>
              <a:ext cx="85725" cy="95250"/>
            </a:xfrm>
            <a:custGeom>
              <a:avLst/>
              <a:gdLst>
                <a:gd name="T0" fmla="*/ 0 w 47"/>
                <a:gd name="T1" fmla="*/ 13 h 51"/>
                <a:gd name="T2" fmla="*/ 14 w 47"/>
                <a:gd name="T3" fmla="*/ 4 h 51"/>
                <a:gd name="T4" fmla="*/ 22 w 47"/>
                <a:gd name="T5" fmla="*/ 1 h 51"/>
                <a:gd name="T6" fmla="*/ 29 w 47"/>
                <a:gd name="T7" fmla="*/ 1 h 51"/>
                <a:gd name="T8" fmla="*/ 37 w 47"/>
                <a:gd name="T9" fmla="*/ 5 h 51"/>
                <a:gd name="T10" fmla="*/ 43 w 47"/>
                <a:gd name="T11" fmla="*/ 14 h 51"/>
                <a:gd name="T12" fmla="*/ 47 w 47"/>
                <a:gd name="T13" fmla="*/ 22 h 51"/>
                <a:gd name="T14" fmla="*/ 46 w 47"/>
                <a:gd name="T15" fmla="*/ 31 h 51"/>
                <a:gd name="T16" fmla="*/ 43 w 47"/>
                <a:gd name="T17" fmla="*/ 38 h 51"/>
                <a:gd name="T18" fmla="*/ 36 w 47"/>
                <a:gd name="T19" fmla="*/ 42 h 51"/>
                <a:gd name="T20" fmla="*/ 22 w 47"/>
                <a:gd name="T21" fmla="*/ 51 h 51"/>
                <a:gd name="T22" fmla="*/ 0 w 47"/>
                <a:gd name="T23" fmla="*/ 13 h 51"/>
                <a:gd name="T24" fmla="*/ 11 w 47"/>
                <a:gd name="T25" fmla="*/ 15 h 51"/>
                <a:gd name="T26" fmla="*/ 26 w 47"/>
                <a:gd name="T27" fmla="*/ 40 h 51"/>
                <a:gd name="T28" fmla="*/ 32 w 47"/>
                <a:gd name="T29" fmla="*/ 37 h 51"/>
                <a:gd name="T30" fmla="*/ 36 w 47"/>
                <a:gd name="T31" fmla="*/ 33 h 51"/>
                <a:gd name="T32" fmla="*/ 38 w 47"/>
                <a:gd name="T33" fmla="*/ 30 h 51"/>
                <a:gd name="T34" fmla="*/ 38 w 47"/>
                <a:gd name="T35" fmla="*/ 25 h 51"/>
                <a:gd name="T36" fmla="*/ 35 w 47"/>
                <a:gd name="T37" fmla="*/ 18 h 51"/>
                <a:gd name="T38" fmla="*/ 30 w 47"/>
                <a:gd name="T39" fmla="*/ 11 h 51"/>
                <a:gd name="T40" fmla="*/ 26 w 47"/>
                <a:gd name="T41" fmla="*/ 9 h 51"/>
                <a:gd name="T42" fmla="*/ 21 w 47"/>
                <a:gd name="T43" fmla="*/ 9 h 51"/>
                <a:gd name="T44" fmla="*/ 15 w 47"/>
                <a:gd name="T45" fmla="*/ 13 h 51"/>
                <a:gd name="T46" fmla="*/ 11 w 47"/>
                <a:gd name="T47" fmla="*/ 15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47" h="51">
                  <a:moveTo>
                    <a:pt x="0" y="13"/>
                  </a:moveTo>
                  <a:cubicBezTo>
                    <a:pt x="14" y="4"/>
                    <a:pt x="14" y="4"/>
                    <a:pt x="14" y="4"/>
                  </a:cubicBezTo>
                  <a:cubicBezTo>
                    <a:pt x="17" y="3"/>
                    <a:pt x="20" y="1"/>
                    <a:pt x="22" y="1"/>
                  </a:cubicBezTo>
                  <a:cubicBezTo>
                    <a:pt x="24" y="0"/>
                    <a:pt x="27" y="0"/>
                    <a:pt x="29" y="1"/>
                  </a:cubicBezTo>
                  <a:cubicBezTo>
                    <a:pt x="32" y="2"/>
                    <a:pt x="34" y="3"/>
                    <a:pt x="37" y="5"/>
                  </a:cubicBezTo>
                  <a:cubicBezTo>
                    <a:pt x="39" y="7"/>
                    <a:pt x="41" y="10"/>
                    <a:pt x="43" y="14"/>
                  </a:cubicBezTo>
                  <a:cubicBezTo>
                    <a:pt x="45" y="17"/>
                    <a:pt x="46" y="20"/>
                    <a:pt x="47" y="22"/>
                  </a:cubicBezTo>
                  <a:cubicBezTo>
                    <a:pt x="47" y="26"/>
                    <a:pt x="47" y="29"/>
                    <a:pt x="46" y="31"/>
                  </a:cubicBezTo>
                  <a:cubicBezTo>
                    <a:pt x="46" y="34"/>
                    <a:pt x="45" y="36"/>
                    <a:pt x="43" y="38"/>
                  </a:cubicBezTo>
                  <a:cubicBezTo>
                    <a:pt x="41" y="39"/>
                    <a:pt x="39" y="41"/>
                    <a:pt x="36" y="42"/>
                  </a:cubicBezTo>
                  <a:cubicBezTo>
                    <a:pt x="22" y="51"/>
                    <a:pt x="22" y="51"/>
                    <a:pt x="22" y="51"/>
                  </a:cubicBezTo>
                  <a:lnTo>
                    <a:pt x="0" y="13"/>
                  </a:lnTo>
                  <a:close/>
                  <a:moveTo>
                    <a:pt x="11" y="15"/>
                  </a:moveTo>
                  <a:cubicBezTo>
                    <a:pt x="26" y="40"/>
                    <a:pt x="26" y="40"/>
                    <a:pt x="26" y="40"/>
                  </a:cubicBezTo>
                  <a:cubicBezTo>
                    <a:pt x="32" y="37"/>
                    <a:pt x="32" y="37"/>
                    <a:pt x="32" y="37"/>
                  </a:cubicBezTo>
                  <a:cubicBezTo>
                    <a:pt x="34" y="35"/>
                    <a:pt x="35" y="34"/>
                    <a:pt x="36" y="33"/>
                  </a:cubicBezTo>
                  <a:cubicBezTo>
                    <a:pt x="37" y="32"/>
                    <a:pt x="38" y="31"/>
                    <a:pt x="38" y="30"/>
                  </a:cubicBezTo>
                  <a:cubicBezTo>
                    <a:pt x="39" y="29"/>
                    <a:pt x="39" y="27"/>
                    <a:pt x="38" y="25"/>
                  </a:cubicBezTo>
                  <a:cubicBezTo>
                    <a:pt x="38" y="23"/>
                    <a:pt x="37" y="21"/>
                    <a:pt x="35" y="18"/>
                  </a:cubicBezTo>
                  <a:cubicBezTo>
                    <a:pt x="33" y="15"/>
                    <a:pt x="32" y="13"/>
                    <a:pt x="30" y="11"/>
                  </a:cubicBezTo>
                  <a:cubicBezTo>
                    <a:pt x="29" y="10"/>
                    <a:pt x="27" y="9"/>
                    <a:pt x="26" y="9"/>
                  </a:cubicBezTo>
                  <a:cubicBezTo>
                    <a:pt x="25" y="9"/>
                    <a:pt x="23" y="9"/>
                    <a:pt x="21" y="9"/>
                  </a:cubicBezTo>
                  <a:cubicBezTo>
                    <a:pt x="20" y="10"/>
                    <a:pt x="18" y="11"/>
                    <a:pt x="15" y="13"/>
                  </a:cubicBezTo>
                  <a:lnTo>
                    <a:pt x="11" y="1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48" name="ïṩḻiḍe"/>
            <p:cNvSpPr/>
            <p:nvPr/>
          </p:nvSpPr>
          <p:spPr bwMode="auto">
            <a:xfrm>
              <a:off x="2876447" y="5888628"/>
              <a:ext cx="80963" cy="88900"/>
            </a:xfrm>
            <a:custGeom>
              <a:avLst/>
              <a:gdLst>
                <a:gd name="T0" fmla="*/ 43 w 51"/>
                <a:gd name="T1" fmla="*/ 56 h 56"/>
                <a:gd name="T2" fmla="*/ 16 w 51"/>
                <a:gd name="T3" fmla="*/ 22 h 56"/>
                <a:gd name="T4" fmla="*/ 5 w 51"/>
                <a:gd name="T5" fmla="*/ 31 h 56"/>
                <a:gd name="T6" fmla="*/ 0 w 51"/>
                <a:gd name="T7" fmla="*/ 25 h 56"/>
                <a:gd name="T8" fmla="*/ 31 w 51"/>
                <a:gd name="T9" fmla="*/ 0 h 56"/>
                <a:gd name="T10" fmla="*/ 37 w 51"/>
                <a:gd name="T11" fmla="*/ 7 h 56"/>
                <a:gd name="T12" fmla="*/ 24 w 51"/>
                <a:gd name="T13" fmla="*/ 16 h 56"/>
                <a:gd name="T14" fmla="*/ 51 w 51"/>
                <a:gd name="T15" fmla="*/ 49 h 56"/>
                <a:gd name="T16" fmla="*/ 43 w 51"/>
                <a:gd name="T17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1" h="56">
                  <a:moveTo>
                    <a:pt x="43" y="56"/>
                  </a:moveTo>
                  <a:lnTo>
                    <a:pt x="16" y="22"/>
                  </a:lnTo>
                  <a:lnTo>
                    <a:pt x="5" y="31"/>
                  </a:lnTo>
                  <a:lnTo>
                    <a:pt x="0" y="25"/>
                  </a:lnTo>
                  <a:lnTo>
                    <a:pt x="31" y="0"/>
                  </a:lnTo>
                  <a:lnTo>
                    <a:pt x="37" y="7"/>
                  </a:lnTo>
                  <a:lnTo>
                    <a:pt x="24" y="16"/>
                  </a:lnTo>
                  <a:lnTo>
                    <a:pt x="51" y="49"/>
                  </a:lnTo>
                  <a:lnTo>
                    <a:pt x="43" y="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49" name="íśļïḓè"/>
            <p:cNvSpPr/>
            <p:nvPr/>
          </p:nvSpPr>
          <p:spPr bwMode="auto">
            <a:xfrm>
              <a:off x="2925659" y="5845765"/>
              <a:ext cx="101600" cy="100013"/>
            </a:xfrm>
            <a:custGeom>
              <a:avLst/>
              <a:gdLst>
                <a:gd name="T0" fmla="*/ 36 w 64"/>
                <a:gd name="T1" fmla="*/ 63 h 63"/>
                <a:gd name="T2" fmla="*/ 0 w 64"/>
                <a:gd name="T3" fmla="*/ 26 h 63"/>
                <a:gd name="T4" fmla="*/ 28 w 64"/>
                <a:gd name="T5" fmla="*/ 0 h 63"/>
                <a:gd name="T6" fmla="*/ 34 w 64"/>
                <a:gd name="T7" fmla="*/ 6 h 63"/>
                <a:gd name="T8" fmla="*/ 14 w 64"/>
                <a:gd name="T9" fmla="*/ 26 h 63"/>
                <a:gd name="T10" fmla="*/ 22 w 64"/>
                <a:gd name="T11" fmla="*/ 34 h 63"/>
                <a:gd name="T12" fmla="*/ 41 w 64"/>
                <a:gd name="T13" fmla="*/ 16 h 63"/>
                <a:gd name="T14" fmla="*/ 47 w 64"/>
                <a:gd name="T15" fmla="*/ 22 h 63"/>
                <a:gd name="T16" fmla="*/ 28 w 64"/>
                <a:gd name="T17" fmla="*/ 39 h 63"/>
                <a:gd name="T18" fmla="*/ 38 w 64"/>
                <a:gd name="T19" fmla="*/ 50 h 63"/>
                <a:gd name="T20" fmla="*/ 58 w 64"/>
                <a:gd name="T21" fmla="*/ 30 h 63"/>
                <a:gd name="T22" fmla="*/ 64 w 64"/>
                <a:gd name="T23" fmla="*/ 36 h 63"/>
                <a:gd name="T24" fmla="*/ 36 w 64"/>
                <a:gd name="T25" fmla="*/ 63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4" h="63">
                  <a:moveTo>
                    <a:pt x="36" y="63"/>
                  </a:moveTo>
                  <a:lnTo>
                    <a:pt x="0" y="26"/>
                  </a:lnTo>
                  <a:lnTo>
                    <a:pt x="28" y="0"/>
                  </a:lnTo>
                  <a:lnTo>
                    <a:pt x="34" y="6"/>
                  </a:lnTo>
                  <a:lnTo>
                    <a:pt x="14" y="26"/>
                  </a:lnTo>
                  <a:lnTo>
                    <a:pt x="22" y="34"/>
                  </a:lnTo>
                  <a:lnTo>
                    <a:pt x="41" y="16"/>
                  </a:lnTo>
                  <a:lnTo>
                    <a:pt x="47" y="22"/>
                  </a:lnTo>
                  <a:lnTo>
                    <a:pt x="28" y="39"/>
                  </a:lnTo>
                  <a:lnTo>
                    <a:pt x="38" y="50"/>
                  </a:lnTo>
                  <a:lnTo>
                    <a:pt x="58" y="30"/>
                  </a:lnTo>
                  <a:lnTo>
                    <a:pt x="64" y="36"/>
                  </a:lnTo>
                  <a:lnTo>
                    <a:pt x="36" y="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50" name="íṩḻîde"/>
            <p:cNvSpPr/>
            <p:nvPr/>
          </p:nvSpPr>
          <p:spPr bwMode="auto">
            <a:xfrm>
              <a:off x="2985984" y="5801315"/>
              <a:ext cx="82550" cy="80963"/>
            </a:xfrm>
            <a:custGeom>
              <a:avLst/>
              <a:gdLst>
                <a:gd name="T0" fmla="*/ 34 w 45"/>
                <a:gd name="T1" fmla="*/ 19 h 44"/>
                <a:gd name="T2" fmla="*/ 41 w 45"/>
                <a:gd name="T3" fmla="*/ 14 h 44"/>
                <a:gd name="T4" fmla="*/ 45 w 45"/>
                <a:gd name="T5" fmla="*/ 26 h 44"/>
                <a:gd name="T6" fmla="*/ 40 w 45"/>
                <a:gd name="T7" fmla="*/ 37 h 44"/>
                <a:gd name="T8" fmla="*/ 26 w 45"/>
                <a:gd name="T9" fmla="*/ 44 h 44"/>
                <a:gd name="T10" fmla="*/ 10 w 45"/>
                <a:gd name="T11" fmla="*/ 38 h 44"/>
                <a:gd name="T12" fmla="*/ 1 w 45"/>
                <a:gd name="T13" fmla="*/ 22 h 44"/>
                <a:gd name="T14" fmla="*/ 6 w 45"/>
                <a:gd name="T15" fmla="*/ 7 h 44"/>
                <a:gd name="T16" fmla="*/ 18 w 45"/>
                <a:gd name="T17" fmla="*/ 0 h 44"/>
                <a:gd name="T18" fmla="*/ 27 w 45"/>
                <a:gd name="T19" fmla="*/ 2 h 44"/>
                <a:gd name="T20" fmla="*/ 23 w 45"/>
                <a:gd name="T21" fmla="*/ 10 h 44"/>
                <a:gd name="T22" fmla="*/ 17 w 45"/>
                <a:gd name="T23" fmla="*/ 9 h 44"/>
                <a:gd name="T24" fmla="*/ 11 w 45"/>
                <a:gd name="T25" fmla="*/ 12 h 44"/>
                <a:gd name="T26" fmla="*/ 9 w 45"/>
                <a:gd name="T27" fmla="*/ 21 h 44"/>
                <a:gd name="T28" fmla="*/ 15 w 45"/>
                <a:gd name="T29" fmla="*/ 30 h 44"/>
                <a:gd name="T30" fmla="*/ 26 w 45"/>
                <a:gd name="T31" fmla="*/ 36 h 44"/>
                <a:gd name="T32" fmla="*/ 34 w 45"/>
                <a:gd name="T33" fmla="*/ 32 h 44"/>
                <a:gd name="T34" fmla="*/ 36 w 45"/>
                <a:gd name="T35" fmla="*/ 26 h 44"/>
                <a:gd name="T36" fmla="*/ 34 w 45"/>
                <a:gd name="T37" fmla="*/ 19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5" h="44">
                  <a:moveTo>
                    <a:pt x="34" y="19"/>
                  </a:moveTo>
                  <a:cubicBezTo>
                    <a:pt x="41" y="14"/>
                    <a:pt x="41" y="14"/>
                    <a:pt x="41" y="14"/>
                  </a:cubicBezTo>
                  <a:cubicBezTo>
                    <a:pt x="44" y="18"/>
                    <a:pt x="45" y="22"/>
                    <a:pt x="45" y="26"/>
                  </a:cubicBezTo>
                  <a:cubicBezTo>
                    <a:pt x="45" y="30"/>
                    <a:pt x="43" y="34"/>
                    <a:pt x="40" y="37"/>
                  </a:cubicBezTo>
                  <a:cubicBezTo>
                    <a:pt x="36" y="42"/>
                    <a:pt x="31" y="44"/>
                    <a:pt x="26" y="44"/>
                  </a:cubicBezTo>
                  <a:cubicBezTo>
                    <a:pt x="21" y="44"/>
                    <a:pt x="15" y="42"/>
                    <a:pt x="10" y="38"/>
                  </a:cubicBezTo>
                  <a:cubicBezTo>
                    <a:pt x="4" y="33"/>
                    <a:pt x="1" y="28"/>
                    <a:pt x="1" y="22"/>
                  </a:cubicBezTo>
                  <a:cubicBezTo>
                    <a:pt x="0" y="17"/>
                    <a:pt x="2" y="12"/>
                    <a:pt x="6" y="7"/>
                  </a:cubicBezTo>
                  <a:cubicBezTo>
                    <a:pt x="10" y="3"/>
                    <a:pt x="14" y="1"/>
                    <a:pt x="18" y="0"/>
                  </a:cubicBezTo>
                  <a:cubicBezTo>
                    <a:pt x="21" y="0"/>
                    <a:pt x="24" y="1"/>
                    <a:pt x="27" y="2"/>
                  </a:cubicBezTo>
                  <a:cubicBezTo>
                    <a:pt x="23" y="10"/>
                    <a:pt x="23" y="10"/>
                    <a:pt x="23" y="10"/>
                  </a:cubicBezTo>
                  <a:cubicBezTo>
                    <a:pt x="21" y="9"/>
                    <a:pt x="19" y="9"/>
                    <a:pt x="17" y="9"/>
                  </a:cubicBezTo>
                  <a:cubicBezTo>
                    <a:pt x="15" y="9"/>
                    <a:pt x="13" y="11"/>
                    <a:pt x="11" y="12"/>
                  </a:cubicBezTo>
                  <a:cubicBezTo>
                    <a:pt x="9" y="15"/>
                    <a:pt x="8" y="18"/>
                    <a:pt x="9" y="21"/>
                  </a:cubicBezTo>
                  <a:cubicBezTo>
                    <a:pt x="9" y="24"/>
                    <a:pt x="12" y="27"/>
                    <a:pt x="15" y="30"/>
                  </a:cubicBezTo>
                  <a:cubicBezTo>
                    <a:pt x="20" y="34"/>
                    <a:pt x="23" y="36"/>
                    <a:pt x="26" y="36"/>
                  </a:cubicBezTo>
                  <a:cubicBezTo>
                    <a:pt x="29" y="36"/>
                    <a:pt x="32" y="35"/>
                    <a:pt x="34" y="32"/>
                  </a:cubicBezTo>
                  <a:cubicBezTo>
                    <a:pt x="36" y="31"/>
                    <a:pt x="36" y="29"/>
                    <a:pt x="36" y="26"/>
                  </a:cubicBezTo>
                  <a:cubicBezTo>
                    <a:pt x="36" y="24"/>
                    <a:pt x="35" y="22"/>
                    <a:pt x="34" y="1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51" name="îŝḷïḓê"/>
            <p:cNvSpPr/>
            <p:nvPr/>
          </p:nvSpPr>
          <p:spPr bwMode="auto">
            <a:xfrm>
              <a:off x="3022497" y="5733053"/>
              <a:ext cx="103188" cy="101600"/>
            </a:xfrm>
            <a:custGeom>
              <a:avLst/>
              <a:gdLst>
                <a:gd name="T0" fmla="*/ 42 w 65"/>
                <a:gd name="T1" fmla="*/ 64 h 64"/>
                <a:gd name="T2" fmla="*/ 0 w 65"/>
                <a:gd name="T3" fmla="*/ 34 h 64"/>
                <a:gd name="T4" fmla="*/ 6 w 65"/>
                <a:gd name="T5" fmla="*/ 26 h 64"/>
                <a:gd name="T6" fmla="*/ 22 w 65"/>
                <a:gd name="T7" fmla="*/ 37 h 64"/>
                <a:gd name="T8" fmla="*/ 33 w 65"/>
                <a:gd name="T9" fmla="*/ 21 h 64"/>
                <a:gd name="T10" fmla="*/ 17 w 65"/>
                <a:gd name="T11" fmla="*/ 9 h 64"/>
                <a:gd name="T12" fmla="*/ 23 w 65"/>
                <a:gd name="T13" fmla="*/ 0 h 64"/>
                <a:gd name="T14" fmla="*/ 65 w 65"/>
                <a:gd name="T15" fmla="*/ 30 h 64"/>
                <a:gd name="T16" fmla="*/ 59 w 65"/>
                <a:gd name="T17" fmla="*/ 38 h 64"/>
                <a:gd name="T18" fmla="*/ 40 w 65"/>
                <a:gd name="T19" fmla="*/ 26 h 64"/>
                <a:gd name="T20" fmla="*/ 29 w 65"/>
                <a:gd name="T21" fmla="*/ 42 h 64"/>
                <a:gd name="T22" fmla="*/ 47 w 65"/>
                <a:gd name="T23" fmla="*/ 55 h 64"/>
                <a:gd name="T24" fmla="*/ 42 w 65"/>
                <a:gd name="T25" fmla="*/ 64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5" h="64">
                  <a:moveTo>
                    <a:pt x="42" y="64"/>
                  </a:moveTo>
                  <a:lnTo>
                    <a:pt x="0" y="34"/>
                  </a:lnTo>
                  <a:lnTo>
                    <a:pt x="6" y="26"/>
                  </a:lnTo>
                  <a:lnTo>
                    <a:pt x="22" y="37"/>
                  </a:lnTo>
                  <a:lnTo>
                    <a:pt x="33" y="21"/>
                  </a:lnTo>
                  <a:lnTo>
                    <a:pt x="17" y="9"/>
                  </a:lnTo>
                  <a:lnTo>
                    <a:pt x="23" y="0"/>
                  </a:lnTo>
                  <a:lnTo>
                    <a:pt x="65" y="30"/>
                  </a:lnTo>
                  <a:lnTo>
                    <a:pt x="59" y="38"/>
                  </a:lnTo>
                  <a:lnTo>
                    <a:pt x="40" y="26"/>
                  </a:lnTo>
                  <a:lnTo>
                    <a:pt x="29" y="42"/>
                  </a:lnTo>
                  <a:lnTo>
                    <a:pt x="47" y="55"/>
                  </a:lnTo>
                  <a:lnTo>
                    <a:pt x="42" y="6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52" name="îşḷîḑe"/>
            <p:cNvSpPr/>
            <p:nvPr/>
          </p:nvSpPr>
          <p:spPr bwMode="auto">
            <a:xfrm>
              <a:off x="3062184" y="5672728"/>
              <a:ext cx="103188" cy="95250"/>
            </a:xfrm>
            <a:custGeom>
              <a:avLst/>
              <a:gdLst>
                <a:gd name="T0" fmla="*/ 44 w 65"/>
                <a:gd name="T1" fmla="*/ 60 h 60"/>
                <a:gd name="T2" fmla="*/ 0 w 65"/>
                <a:gd name="T3" fmla="*/ 34 h 60"/>
                <a:gd name="T4" fmla="*/ 5 w 65"/>
                <a:gd name="T5" fmla="*/ 26 h 60"/>
                <a:gd name="T6" fmla="*/ 46 w 65"/>
                <a:gd name="T7" fmla="*/ 24 h 60"/>
                <a:gd name="T8" fmla="*/ 15 w 65"/>
                <a:gd name="T9" fmla="*/ 8 h 60"/>
                <a:gd name="T10" fmla="*/ 20 w 65"/>
                <a:gd name="T11" fmla="*/ 0 h 60"/>
                <a:gd name="T12" fmla="*/ 65 w 65"/>
                <a:gd name="T13" fmla="*/ 24 h 60"/>
                <a:gd name="T14" fmla="*/ 59 w 65"/>
                <a:gd name="T15" fmla="*/ 33 h 60"/>
                <a:gd name="T16" fmla="*/ 20 w 65"/>
                <a:gd name="T17" fmla="*/ 34 h 60"/>
                <a:gd name="T18" fmla="*/ 49 w 65"/>
                <a:gd name="T19" fmla="*/ 52 h 60"/>
                <a:gd name="T20" fmla="*/ 44 w 65"/>
                <a:gd name="T21" fmla="*/ 6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65" h="60">
                  <a:moveTo>
                    <a:pt x="44" y="60"/>
                  </a:moveTo>
                  <a:lnTo>
                    <a:pt x="0" y="34"/>
                  </a:lnTo>
                  <a:lnTo>
                    <a:pt x="5" y="26"/>
                  </a:lnTo>
                  <a:lnTo>
                    <a:pt x="46" y="24"/>
                  </a:lnTo>
                  <a:lnTo>
                    <a:pt x="15" y="8"/>
                  </a:lnTo>
                  <a:lnTo>
                    <a:pt x="20" y="0"/>
                  </a:lnTo>
                  <a:lnTo>
                    <a:pt x="65" y="24"/>
                  </a:lnTo>
                  <a:lnTo>
                    <a:pt x="59" y="33"/>
                  </a:lnTo>
                  <a:lnTo>
                    <a:pt x="20" y="34"/>
                  </a:lnTo>
                  <a:lnTo>
                    <a:pt x="49" y="52"/>
                  </a:lnTo>
                  <a:lnTo>
                    <a:pt x="44" y="6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53" name="îşḷïḋê"/>
            <p:cNvSpPr/>
            <p:nvPr/>
          </p:nvSpPr>
          <p:spPr bwMode="auto">
            <a:xfrm>
              <a:off x="3106634" y="5606053"/>
              <a:ext cx="87313" cy="84138"/>
            </a:xfrm>
            <a:custGeom>
              <a:avLst/>
              <a:gdLst>
                <a:gd name="T0" fmla="*/ 15 w 47"/>
                <a:gd name="T1" fmla="*/ 43 h 46"/>
                <a:gd name="T2" fmla="*/ 5 w 47"/>
                <a:gd name="T3" fmla="*/ 36 h 46"/>
                <a:gd name="T4" fmla="*/ 2 w 47"/>
                <a:gd name="T5" fmla="*/ 30 h 46"/>
                <a:gd name="T6" fmla="*/ 0 w 47"/>
                <a:gd name="T7" fmla="*/ 23 h 46"/>
                <a:gd name="T8" fmla="*/ 2 w 47"/>
                <a:gd name="T9" fmla="*/ 14 h 46"/>
                <a:gd name="T10" fmla="*/ 14 w 47"/>
                <a:gd name="T11" fmla="*/ 2 h 46"/>
                <a:gd name="T12" fmla="*/ 32 w 47"/>
                <a:gd name="T13" fmla="*/ 3 h 46"/>
                <a:gd name="T14" fmla="*/ 45 w 47"/>
                <a:gd name="T15" fmla="*/ 15 h 46"/>
                <a:gd name="T16" fmla="*/ 44 w 47"/>
                <a:gd name="T17" fmla="*/ 32 h 46"/>
                <a:gd name="T18" fmla="*/ 32 w 47"/>
                <a:gd name="T19" fmla="*/ 44 h 46"/>
                <a:gd name="T20" fmla="*/ 15 w 47"/>
                <a:gd name="T21" fmla="*/ 43 h 46"/>
                <a:gd name="T22" fmla="*/ 18 w 47"/>
                <a:gd name="T23" fmla="*/ 34 h 46"/>
                <a:gd name="T24" fmla="*/ 30 w 47"/>
                <a:gd name="T25" fmla="*/ 35 h 46"/>
                <a:gd name="T26" fmla="*/ 37 w 47"/>
                <a:gd name="T27" fmla="*/ 29 h 46"/>
                <a:gd name="T28" fmla="*/ 37 w 47"/>
                <a:gd name="T29" fmla="*/ 19 h 46"/>
                <a:gd name="T30" fmla="*/ 28 w 47"/>
                <a:gd name="T31" fmla="*/ 12 h 46"/>
                <a:gd name="T32" fmla="*/ 16 w 47"/>
                <a:gd name="T33" fmla="*/ 10 h 46"/>
                <a:gd name="T34" fmla="*/ 9 w 47"/>
                <a:gd name="T35" fmla="*/ 17 h 46"/>
                <a:gd name="T36" fmla="*/ 9 w 47"/>
                <a:gd name="T37" fmla="*/ 27 h 46"/>
                <a:gd name="T38" fmla="*/ 18 w 47"/>
                <a:gd name="T39" fmla="*/ 34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47" h="46">
                  <a:moveTo>
                    <a:pt x="15" y="43"/>
                  </a:moveTo>
                  <a:cubicBezTo>
                    <a:pt x="11" y="41"/>
                    <a:pt x="8" y="39"/>
                    <a:pt x="5" y="36"/>
                  </a:cubicBezTo>
                  <a:cubicBezTo>
                    <a:pt x="4" y="34"/>
                    <a:pt x="2" y="32"/>
                    <a:pt x="2" y="30"/>
                  </a:cubicBezTo>
                  <a:cubicBezTo>
                    <a:pt x="1" y="28"/>
                    <a:pt x="0" y="26"/>
                    <a:pt x="0" y="23"/>
                  </a:cubicBezTo>
                  <a:cubicBezTo>
                    <a:pt x="0" y="20"/>
                    <a:pt x="1" y="17"/>
                    <a:pt x="2" y="14"/>
                  </a:cubicBezTo>
                  <a:cubicBezTo>
                    <a:pt x="5" y="8"/>
                    <a:pt x="9" y="4"/>
                    <a:pt x="14" y="2"/>
                  </a:cubicBezTo>
                  <a:cubicBezTo>
                    <a:pt x="19" y="0"/>
                    <a:pt x="25" y="1"/>
                    <a:pt x="32" y="3"/>
                  </a:cubicBezTo>
                  <a:cubicBezTo>
                    <a:pt x="38" y="6"/>
                    <a:pt x="43" y="10"/>
                    <a:pt x="45" y="15"/>
                  </a:cubicBezTo>
                  <a:cubicBezTo>
                    <a:pt x="47" y="21"/>
                    <a:pt x="47" y="26"/>
                    <a:pt x="44" y="32"/>
                  </a:cubicBezTo>
                  <a:cubicBezTo>
                    <a:pt x="41" y="38"/>
                    <a:pt x="38" y="42"/>
                    <a:pt x="32" y="44"/>
                  </a:cubicBezTo>
                  <a:cubicBezTo>
                    <a:pt x="27" y="46"/>
                    <a:pt x="21" y="45"/>
                    <a:pt x="15" y="43"/>
                  </a:cubicBezTo>
                  <a:close/>
                  <a:moveTo>
                    <a:pt x="18" y="34"/>
                  </a:moveTo>
                  <a:cubicBezTo>
                    <a:pt x="23" y="36"/>
                    <a:pt x="27" y="37"/>
                    <a:pt x="30" y="35"/>
                  </a:cubicBezTo>
                  <a:cubicBezTo>
                    <a:pt x="33" y="34"/>
                    <a:pt x="36" y="32"/>
                    <a:pt x="37" y="29"/>
                  </a:cubicBezTo>
                  <a:cubicBezTo>
                    <a:pt x="39" y="26"/>
                    <a:pt x="39" y="23"/>
                    <a:pt x="37" y="19"/>
                  </a:cubicBezTo>
                  <a:cubicBezTo>
                    <a:pt x="36" y="16"/>
                    <a:pt x="33" y="14"/>
                    <a:pt x="28" y="12"/>
                  </a:cubicBezTo>
                  <a:cubicBezTo>
                    <a:pt x="23" y="10"/>
                    <a:pt x="19" y="9"/>
                    <a:pt x="16" y="10"/>
                  </a:cubicBezTo>
                  <a:cubicBezTo>
                    <a:pt x="13" y="11"/>
                    <a:pt x="11" y="14"/>
                    <a:pt x="9" y="17"/>
                  </a:cubicBezTo>
                  <a:cubicBezTo>
                    <a:pt x="8" y="20"/>
                    <a:pt x="8" y="23"/>
                    <a:pt x="9" y="27"/>
                  </a:cubicBezTo>
                  <a:cubicBezTo>
                    <a:pt x="11" y="30"/>
                    <a:pt x="14" y="32"/>
                    <a:pt x="18" y="3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54" name="îṣlïḍè"/>
            <p:cNvSpPr/>
            <p:nvPr/>
          </p:nvSpPr>
          <p:spPr bwMode="auto">
            <a:xfrm>
              <a:off x="3128859" y="5560015"/>
              <a:ext cx="93663" cy="57150"/>
            </a:xfrm>
            <a:custGeom>
              <a:avLst/>
              <a:gdLst>
                <a:gd name="T0" fmla="*/ 49 w 59"/>
                <a:gd name="T1" fmla="*/ 36 h 36"/>
                <a:gd name="T2" fmla="*/ 0 w 59"/>
                <a:gd name="T3" fmla="*/ 21 h 36"/>
                <a:gd name="T4" fmla="*/ 4 w 59"/>
                <a:gd name="T5" fmla="*/ 10 h 36"/>
                <a:gd name="T6" fmla="*/ 43 w 59"/>
                <a:gd name="T7" fmla="*/ 24 h 36"/>
                <a:gd name="T8" fmla="*/ 51 w 59"/>
                <a:gd name="T9" fmla="*/ 0 h 36"/>
                <a:gd name="T10" fmla="*/ 59 w 59"/>
                <a:gd name="T11" fmla="*/ 2 h 36"/>
                <a:gd name="T12" fmla="*/ 49 w 59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9" h="36">
                  <a:moveTo>
                    <a:pt x="49" y="36"/>
                  </a:moveTo>
                  <a:lnTo>
                    <a:pt x="0" y="21"/>
                  </a:lnTo>
                  <a:lnTo>
                    <a:pt x="4" y="10"/>
                  </a:lnTo>
                  <a:lnTo>
                    <a:pt x="43" y="24"/>
                  </a:lnTo>
                  <a:lnTo>
                    <a:pt x="51" y="0"/>
                  </a:lnTo>
                  <a:lnTo>
                    <a:pt x="59" y="2"/>
                  </a:lnTo>
                  <a:lnTo>
                    <a:pt x="49" y="3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55" name="ïṩḷîḓê"/>
            <p:cNvSpPr/>
            <p:nvPr/>
          </p:nvSpPr>
          <p:spPr bwMode="auto">
            <a:xfrm>
              <a:off x="3152672" y="5469528"/>
              <a:ext cx="85725" cy="80963"/>
            </a:xfrm>
            <a:custGeom>
              <a:avLst/>
              <a:gdLst>
                <a:gd name="T0" fmla="*/ 18 w 46"/>
                <a:gd name="T1" fmla="*/ 43 h 44"/>
                <a:gd name="T2" fmla="*/ 8 w 46"/>
                <a:gd name="T3" fmla="*/ 38 h 44"/>
                <a:gd name="T4" fmla="*/ 3 w 46"/>
                <a:gd name="T5" fmla="*/ 33 h 44"/>
                <a:gd name="T6" fmla="*/ 0 w 46"/>
                <a:gd name="T7" fmla="*/ 27 h 44"/>
                <a:gd name="T8" fmla="*/ 1 w 46"/>
                <a:gd name="T9" fmla="*/ 17 h 44"/>
                <a:gd name="T10" fmla="*/ 10 w 46"/>
                <a:gd name="T11" fmla="*/ 3 h 44"/>
                <a:gd name="T12" fmla="*/ 28 w 46"/>
                <a:gd name="T13" fmla="*/ 1 h 44"/>
                <a:gd name="T14" fmla="*/ 43 w 46"/>
                <a:gd name="T15" fmla="*/ 11 h 44"/>
                <a:gd name="T16" fmla="*/ 45 w 46"/>
                <a:gd name="T17" fmla="*/ 27 h 44"/>
                <a:gd name="T18" fmla="*/ 36 w 46"/>
                <a:gd name="T19" fmla="*/ 41 h 44"/>
                <a:gd name="T20" fmla="*/ 18 w 46"/>
                <a:gd name="T21" fmla="*/ 43 h 44"/>
                <a:gd name="T22" fmla="*/ 20 w 46"/>
                <a:gd name="T23" fmla="*/ 34 h 44"/>
                <a:gd name="T24" fmla="*/ 32 w 46"/>
                <a:gd name="T25" fmla="*/ 33 h 44"/>
                <a:gd name="T26" fmla="*/ 38 w 46"/>
                <a:gd name="T27" fmla="*/ 25 h 44"/>
                <a:gd name="T28" fmla="*/ 36 w 46"/>
                <a:gd name="T29" fmla="*/ 16 h 44"/>
                <a:gd name="T30" fmla="*/ 25 w 46"/>
                <a:gd name="T31" fmla="*/ 10 h 44"/>
                <a:gd name="T32" fmla="*/ 14 w 46"/>
                <a:gd name="T33" fmla="*/ 11 h 44"/>
                <a:gd name="T34" fmla="*/ 8 w 46"/>
                <a:gd name="T35" fmla="*/ 19 h 44"/>
                <a:gd name="T36" fmla="*/ 10 w 46"/>
                <a:gd name="T37" fmla="*/ 28 h 44"/>
                <a:gd name="T38" fmla="*/ 20 w 46"/>
                <a:gd name="T39" fmla="*/ 34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46" h="44">
                  <a:moveTo>
                    <a:pt x="18" y="43"/>
                  </a:moveTo>
                  <a:cubicBezTo>
                    <a:pt x="14" y="42"/>
                    <a:pt x="10" y="40"/>
                    <a:pt x="8" y="38"/>
                  </a:cubicBezTo>
                  <a:cubicBezTo>
                    <a:pt x="6" y="37"/>
                    <a:pt x="4" y="35"/>
                    <a:pt x="3" y="33"/>
                  </a:cubicBezTo>
                  <a:cubicBezTo>
                    <a:pt x="1" y="31"/>
                    <a:pt x="1" y="29"/>
                    <a:pt x="0" y="27"/>
                  </a:cubicBezTo>
                  <a:cubicBezTo>
                    <a:pt x="0" y="24"/>
                    <a:pt x="0" y="21"/>
                    <a:pt x="1" y="17"/>
                  </a:cubicBezTo>
                  <a:cubicBezTo>
                    <a:pt x="2" y="11"/>
                    <a:pt x="5" y="6"/>
                    <a:pt x="10" y="3"/>
                  </a:cubicBezTo>
                  <a:cubicBezTo>
                    <a:pt x="15" y="0"/>
                    <a:pt x="21" y="0"/>
                    <a:pt x="28" y="1"/>
                  </a:cubicBezTo>
                  <a:cubicBezTo>
                    <a:pt x="34" y="3"/>
                    <a:pt x="39" y="6"/>
                    <a:pt x="43" y="11"/>
                  </a:cubicBezTo>
                  <a:cubicBezTo>
                    <a:pt x="46" y="15"/>
                    <a:pt x="46" y="21"/>
                    <a:pt x="45" y="27"/>
                  </a:cubicBezTo>
                  <a:cubicBezTo>
                    <a:pt x="44" y="33"/>
                    <a:pt x="40" y="38"/>
                    <a:pt x="36" y="41"/>
                  </a:cubicBezTo>
                  <a:cubicBezTo>
                    <a:pt x="31" y="44"/>
                    <a:pt x="25" y="44"/>
                    <a:pt x="18" y="43"/>
                  </a:cubicBezTo>
                  <a:close/>
                  <a:moveTo>
                    <a:pt x="20" y="34"/>
                  </a:moveTo>
                  <a:cubicBezTo>
                    <a:pt x="25" y="35"/>
                    <a:pt x="29" y="35"/>
                    <a:pt x="32" y="33"/>
                  </a:cubicBezTo>
                  <a:cubicBezTo>
                    <a:pt x="35" y="31"/>
                    <a:pt x="37" y="29"/>
                    <a:pt x="38" y="25"/>
                  </a:cubicBezTo>
                  <a:cubicBezTo>
                    <a:pt x="38" y="22"/>
                    <a:pt x="38" y="19"/>
                    <a:pt x="36" y="16"/>
                  </a:cubicBezTo>
                  <a:cubicBezTo>
                    <a:pt x="34" y="13"/>
                    <a:pt x="30" y="11"/>
                    <a:pt x="25" y="10"/>
                  </a:cubicBezTo>
                  <a:cubicBezTo>
                    <a:pt x="20" y="9"/>
                    <a:pt x="16" y="9"/>
                    <a:pt x="14" y="11"/>
                  </a:cubicBezTo>
                  <a:cubicBezTo>
                    <a:pt x="11" y="13"/>
                    <a:pt x="9" y="15"/>
                    <a:pt x="8" y="19"/>
                  </a:cubicBezTo>
                  <a:cubicBezTo>
                    <a:pt x="7" y="22"/>
                    <a:pt x="8" y="25"/>
                    <a:pt x="10" y="28"/>
                  </a:cubicBezTo>
                  <a:cubicBezTo>
                    <a:pt x="12" y="31"/>
                    <a:pt x="15" y="33"/>
                    <a:pt x="20" y="3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56" name="ïSļiďé"/>
            <p:cNvSpPr/>
            <p:nvPr/>
          </p:nvSpPr>
          <p:spPr bwMode="auto">
            <a:xfrm>
              <a:off x="3165372" y="5390153"/>
              <a:ext cx="85725" cy="77788"/>
            </a:xfrm>
            <a:custGeom>
              <a:avLst/>
              <a:gdLst>
                <a:gd name="T0" fmla="*/ 29 w 46"/>
                <a:gd name="T1" fmla="*/ 21 h 42"/>
                <a:gd name="T2" fmla="*/ 22 w 46"/>
                <a:gd name="T3" fmla="*/ 20 h 42"/>
                <a:gd name="T4" fmla="*/ 24 w 46"/>
                <a:gd name="T5" fmla="*/ 1 h 42"/>
                <a:gd name="T6" fmla="*/ 41 w 46"/>
                <a:gd name="T7" fmla="*/ 3 h 42"/>
                <a:gd name="T8" fmla="*/ 45 w 46"/>
                <a:gd name="T9" fmla="*/ 11 h 42"/>
                <a:gd name="T10" fmla="*/ 46 w 46"/>
                <a:gd name="T11" fmla="*/ 22 h 42"/>
                <a:gd name="T12" fmla="*/ 42 w 46"/>
                <a:gd name="T13" fmla="*/ 34 h 42"/>
                <a:gd name="T14" fmla="*/ 33 w 46"/>
                <a:gd name="T15" fmla="*/ 41 h 42"/>
                <a:gd name="T16" fmla="*/ 21 w 46"/>
                <a:gd name="T17" fmla="*/ 42 h 42"/>
                <a:gd name="T18" fmla="*/ 9 w 46"/>
                <a:gd name="T19" fmla="*/ 38 h 42"/>
                <a:gd name="T20" fmla="*/ 2 w 46"/>
                <a:gd name="T21" fmla="*/ 28 h 42"/>
                <a:gd name="T22" fmla="*/ 1 w 46"/>
                <a:gd name="T23" fmla="*/ 18 h 42"/>
                <a:gd name="T24" fmla="*/ 6 w 46"/>
                <a:gd name="T25" fmla="*/ 5 h 42"/>
                <a:gd name="T26" fmla="*/ 16 w 46"/>
                <a:gd name="T27" fmla="*/ 0 h 42"/>
                <a:gd name="T28" fmla="*/ 16 w 46"/>
                <a:gd name="T29" fmla="*/ 9 h 42"/>
                <a:gd name="T30" fmla="*/ 11 w 46"/>
                <a:gd name="T31" fmla="*/ 12 h 42"/>
                <a:gd name="T32" fmla="*/ 8 w 46"/>
                <a:gd name="T33" fmla="*/ 18 h 42"/>
                <a:gd name="T34" fmla="*/ 11 w 46"/>
                <a:gd name="T35" fmla="*/ 28 h 42"/>
                <a:gd name="T36" fmla="*/ 21 w 46"/>
                <a:gd name="T37" fmla="*/ 33 h 42"/>
                <a:gd name="T38" fmla="*/ 34 w 46"/>
                <a:gd name="T39" fmla="*/ 31 h 42"/>
                <a:gd name="T40" fmla="*/ 38 w 46"/>
                <a:gd name="T41" fmla="*/ 22 h 42"/>
                <a:gd name="T42" fmla="*/ 38 w 46"/>
                <a:gd name="T43" fmla="*/ 16 h 42"/>
                <a:gd name="T44" fmla="*/ 36 w 46"/>
                <a:gd name="T45" fmla="*/ 11 h 42"/>
                <a:gd name="T46" fmla="*/ 30 w 46"/>
                <a:gd name="T47" fmla="*/ 11 h 42"/>
                <a:gd name="T48" fmla="*/ 29 w 46"/>
                <a:gd name="T49" fmla="*/ 21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46" h="42">
                  <a:moveTo>
                    <a:pt x="29" y="21"/>
                  </a:moveTo>
                  <a:cubicBezTo>
                    <a:pt x="22" y="20"/>
                    <a:pt x="22" y="20"/>
                    <a:pt x="22" y="20"/>
                  </a:cubicBezTo>
                  <a:cubicBezTo>
                    <a:pt x="24" y="1"/>
                    <a:pt x="24" y="1"/>
                    <a:pt x="24" y="1"/>
                  </a:cubicBezTo>
                  <a:cubicBezTo>
                    <a:pt x="41" y="3"/>
                    <a:pt x="41" y="3"/>
                    <a:pt x="41" y="3"/>
                  </a:cubicBezTo>
                  <a:cubicBezTo>
                    <a:pt x="43" y="5"/>
                    <a:pt x="44" y="8"/>
                    <a:pt x="45" y="11"/>
                  </a:cubicBezTo>
                  <a:cubicBezTo>
                    <a:pt x="46" y="15"/>
                    <a:pt x="46" y="19"/>
                    <a:pt x="46" y="22"/>
                  </a:cubicBezTo>
                  <a:cubicBezTo>
                    <a:pt x="46" y="27"/>
                    <a:pt x="44" y="31"/>
                    <a:pt x="42" y="34"/>
                  </a:cubicBezTo>
                  <a:cubicBezTo>
                    <a:pt x="39" y="37"/>
                    <a:pt x="36" y="39"/>
                    <a:pt x="33" y="41"/>
                  </a:cubicBezTo>
                  <a:cubicBezTo>
                    <a:pt x="29" y="42"/>
                    <a:pt x="25" y="42"/>
                    <a:pt x="21" y="42"/>
                  </a:cubicBezTo>
                  <a:cubicBezTo>
                    <a:pt x="16" y="41"/>
                    <a:pt x="12" y="40"/>
                    <a:pt x="9" y="38"/>
                  </a:cubicBezTo>
                  <a:cubicBezTo>
                    <a:pt x="6" y="35"/>
                    <a:pt x="3" y="32"/>
                    <a:pt x="2" y="28"/>
                  </a:cubicBezTo>
                  <a:cubicBezTo>
                    <a:pt x="1" y="25"/>
                    <a:pt x="0" y="22"/>
                    <a:pt x="1" y="18"/>
                  </a:cubicBezTo>
                  <a:cubicBezTo>
                    <a:pt x="1" y="12"/>
                    <a:pt x="3" y="8"/>
                    <a:pt x="6" y="5"/>
                  </a:cubicBezTo>
                  <a:cubicBezTo>
                    <a:pt x="8" y="2"/>
                    <a:pt x="12" y="1"/>
                    <a:pt x="16" y="0"/>
                  </a:cubicBezTo>
                  <a:cubicBezTo>
                    <a:pt x="16" y="9"/>
                    <a:pt x="16" y="9"/>
                    <a:pt x="16" y="9"/>
                  </a:cubicBezTo>
                  <a:cubicBezTo>
                    <a:pt x="14" y="10"/>
                    <a:pt x="12" y="11"/>
                    <a:pt x="11" y="12"/>
                  </a:cubicBezTo>
                  <a:cubicBezTo>
                    <a:pt x="10" y="14"/>
                    <a:pt x="9" y="16"/>
                    <a:pt x="8" y="18"/>
                  </a:cubicBezTo>
                  <a:cubicBezTo>
                    <a:pt x="8" y="22"/>
                    <a:pt x="9" y="25"/>
                    <a:pt x="11" y="28"/>
                  </a:cubicBezTo>
                  <a:cubicBezTo>
                    <a:pt x="13" y="31"/>
                    <a:pt x="17" y="32"/>
                    <a:pt x="21" y="33"/>
                  </a:cubicBezTo>
                  <a:cubicBezTo>
                    <a:pt x="27" y="33"/>
                    <a:pt x="31" y="33"/>
                    <a:pt x="34" y="31"/>
                  </a:cubicBezTo>
                  <a:cubicBezTo>
                    <a:pt x="36" y="29"/>
                    <a:pt x="38" y="26"/>
                    <a:pt x="38" y="22"/>
                  </a:cubicBezTo>
                  <a:cubicBezTo>
                    <a:pt x="39" y="20"/>
                    <a:pt x="39" y="18"/>
                    <a:pt x="38" y="16"/>
                  </a:cubicBezTo>
                  <a:cubicBezTo>
                    <a:pt x="37" y="14"/>
                    <a:pt x="37" y="13"/>
                    <a:pt x="36" y="11"/>
                  </a:cubicBezTo>
                  <a:cubicBezTo>
                    <a:pt x="30" y="11"/>
                    <a:pt x="30" y="11"/>
                    <a:pt x="30" y="11"/>
                  </a:cubicBezTo>
                  <a:lnTo>
                    <a:pt x="29" y="2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57" name="îSḷiḋè"/>
            <p:cNvSpPr/>
            <p:nvPr/>
          </p:nvSpPr>
          <p:spPr bwMode="auto">
            <a:xfrm>
              <a:off x="3173309" y="5313953"/>
              <a:ext cx="80963" cy="76200"/>
            </a:xfrm>
            <a:custGeom>
              <a:avLst/>
              <a:gdLst>
                <a:gd name="T0" fmla="*/ 51 w 51"/>
                <a:gd name="T1" fmla="*/ 30 h 48"/>
                <a:gd name="T2" fmla="*/ 29 w 51"/>
                <a:gd name="T3" fmla="*/ 29 h 48"/>
                <a:gd name="T4" fmla="*/ 0 w 51"/>
                <a:gd name="T5" fmla="*/ 48 h 48"/>
                <a:gd name="T6" fmla="*/ 0 w 51"/>
                <a:gd name="T7" fmla="*/ 36 h 48"/>
                <a:gd name="T8" fmla="*/ 20 w 51"/>
                <a:gd name="T9" fmla="*/ 24 h 48"/>
                <a:gd name="T10" fmla="*/ 0 w 51"/>
                <a:gd name="T11" fmla="*/ 12 h 48"/>
                <a:gd name="T12" fmla="*/ 0 w 51"/>
                <a:gd name="T13" fmla="*/ 0 h 48"/>
                <a:gd name="T14" fmla="*/ 30 w 51"/>
                <a:gd name="T15" fmla="*/ 20 h 48"/>
                <a:gd name="T16" fmla="*/ 51 w 51"/>
                <a:gd name="T17" fmla="*/ 20 h 48"/>
                <a:gd name="T18" fmla="*/ 51 w 51"/>
                <a:gd name="T19" fmla="*/ 30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" h="48">
                  <a:moveTo>
                    <a:pt x="51" y="30"/>
                  </a:moveTo>
                  <a:lnTo>
                    <a:pt x="29" y="29"/>
                  </a:lnTo>
                  <a:lnTo>
                    <a:pt x="0" y="48"/>
                  </a:lnTo>
                  <a:lnTo>
                    <a:pt x="0" y="36"/>
                  </a:lnTo>
                  <a:lnTo>
                    <a:pt x="20" y="24"/>
                  </a:lnTo>
                  <a:lnTo>
                    <a:pt x="0" y="12"/>
                  </a:lnTo>
                  <a:lnTo>
                    <a:pt x="0" y="0"/>
                  </a:lnTo>
                  <a:lnTo>
                    <a:pt x="30" y="20"/>
                  </a:lnTo>
                  <a:lnTo>
                    <a:pt x="51" y="20"/>
                  </a:lnTo>
                  <a:lnTo>
                    <a:pt x="51" y="3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58" name="îṣḷíḋé"/>
            <p:cNvSpPr/>
            <p:nvPr/>
          </p:nvSpPr>
          <p:spPr bwMode="auto">
            <a:xfrm>
              <a:off x="3163784" y="5193303"/>
              <a:ext cx="87313" cy="76200"/>
            </a:xfrm>
            <a:custGeom>
              <a:avLst/>
              <a:gdLst>
                <a:gd name="T0" fmla="*/ 4 w 47"/>
                <a:gd name="T1" fmla="*/ 41 h 41"/>
                <a:gd name="T2" fmla="*/ 1 w 47"/>
                <a:gd name="T3" fmla="*/ 24 h 41"/>
                <a:gd name="T4" fmla="*/ 0 w 47"/>
                <a:gd name="T5" fmla="*/ 16 h 41"/>
                <a:gd name="T6" fmla="*/ 2 w 47"/>
                <a:gd name="T7" fmla="*/ 11 h 41"/>
                <a:gd name="T8" fmla="*/ 5 w 47"/>
                <a:gd name="T9" fmla="*/ 7 h 41"/>
                <a:gd name="T10" fmla="*/ 10 w 47"/>
                <a:gd name="T11" fmla="*/ 5 h 41"/>
                <a:gd name="T12" fmla="*/ 16 w 47"/>
                <a:gd name="T13" fmla="*/ 6 h 41"/>
                <a:gd name="T14" fmla="*/ 20 w 47"/>
                <a:gd name="T15" fmla="*/ 10 h 41"/>
                <a:gd name="T16" fmla="*/ 23 w 47"/>
                <a:gd name="T17" fmla="*/ 3 h 41"/>
                <a:gd name="T18" fmla="*/ 29 w 47"/>
                <a:gd name="T19" fmla="*/ 0 h 41"/>
                <a:gd name="T20" fmla="*/ 35 w 47"/>
                <a:gd name="T21" fmla="*/ 1 h 41"/>
                <a:gd name="T22" fmla="*/ 40 w 47"/>
                <a:gd name="T23" fmla="*/ 4 h 41"/>
                <a:gd name="T24" fmla="*/ 43 w 47"/>
                <a:gd name="T25" fmla="*/ 10 h 41"/>
                <a:gd name="T26" fmla="*/ 45 w 47"/>
                <a:gd name="T27" fmla="*/ 20 h 41"/>
                <a:gd name="T28" fmla="*/ 47 w 47"/>
                <a:gd name="T29" fmla="*/ 35 h 41"/>
                <a:gd name="T30" fmla="*/ 4 w 47"/>
                <a:gd name="T31" fmla="*/ 41 h 41"/>
                <a:gd name="T32" fmla="*/ 10 w 47"/>
                <a:gd name="T33" fmla="*/ 31 h 41"/>
                <a:gd name="T34" fmla="*/ 20 w 47"/>
                <a:gd name="T35" fmla="*/ 30 h 41"/>
                <a:gd name="T36" fmla="*/ 19 w 47"/>
                <a:gd name="T37" fmla="*/ 24 h 41"/>
                <a:gd name="T38" fmla="*/ 18 w 47"/>
                <a:gd name="T39" fmla="*/ 18 h 41"/>
                <a:gd name="T40" fmla="*/ 16 w 47"/>
                <a:gd name="T41" fmla="*/ 15 h 41"/>
                <a:gd name="T42" fmla="*/ 12 w 47"/>
                <a:gd name="T43" fmla="*/ 14 h 41"/>
                <a:gd name="T44" fmla="*/ 9 w 47"/>
                <a:gd name="T45" fmla="*/ 15 h 41"/>
                <a:gd name="T46" fmla="*/ 8 w 47"/>
                <a:gd name="T47" fmla="*/ 19 h 41"/>
                <a:gd name="T48" fmla="*/ 9 w 47"/>
                <a:gd name="T49" fmla="*/ 26 h 41"/>
                <a:gd name="T50" fmla="*/ 10 w 47"/>
                <a:gd name="T51" fmla="*/ 31 h 41"/>
                <a:gd name="T52" fmla="*/ 27 w 47"/>
                <a:gd name="T53" fmla="*/ 29 h 41"/>
                <a:gd name="T54" fmla="*/ 39 w 47"/>
                <a:gd name="T55" fmla="*/ 27 h 41"/>
                <a:gd name="T56" fmla="*/ 37 w 47"/>
                <a:gd name="T57" fmla="*/ 19 h 41"/>
                <a:gd name="T58" fmla="*/ 36 w 47"/>
                <a:gd name="T59" fmla="*/ 13 h 41"/>
                <a:gd name="T60" fmla="*/ 34 w 47"/>
                <a:gd name="T61" fmla="*/ 10 h 41"/>
                <a:gd name="T62" fmla="*/ 30 w 47"/>
                <a:gd name="T63" fmla="*/ 10 h 41"/>
                <a:gd name="T64" fmla="*/ 27 w 47"/>
                <a:gd name="T65" fmla="*/ 11 h 41"/>
                <a:gd name="T66" fmla="*/ 25 w 47"/>
                <a:gd name="T67" fmla="*/ 14 h 41"/>
                <a:gd name="T68" fmla="*/ 26 w 47"/>
                <a:gd name="T69" fmla="*/ 22 h 41"/>
                <a:gd name="T70" fmla="*/ 27 w 47"/>
                <a:gd name="T71" fmla="*/ 29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47" h="41">
                  <a:moveTo>
                    <a:pt x="4" y="41"/>
                  </a:moveTo>
                  <a:cubicBezTo>
                    <a:pt x="1" y="24"/>
                    <a:pt x="1" y="24"/>
                    <a:pt x="1" y="24"/>
                  </a:cubicBezTo>
                  <a:cubicBezTo>
                    <a:pt x="1" y="20"/>
                    <a:pt x="0" y="18"/>
                    <a:pt x="0" y="16"/>
                  </a:cubicBezTo>
                  <a:cubicBezTo>
                    <a:pt x="1" y="14"/>
                    <a:pt x="1" y="13"/>
                    <a:pt x="2" y="11"/>
                  </a:cubicBezTo>
                  <a:cubicBezTo>
                    <a:pt x="2" y="10"/>
                    <a:pt x="3" y="9"/>
                    <a:pt x="5" y="7"/>
                  </a:cubicBezTo>
                  <a:cubicBezTo>
                    <a:pt x="6" y="6"/>
                    <a:pt x="8" y="6"/>
                    <a:pt x="10" y="5"/>
                  </a:cubicBezTo>
                  <a:cubicBezTo>
                    <a:pt x="12" y="5"/>
                    <a:pt x="14" y="5"/>
                    <a:pt x="16" y="6"/>
                  </a:cubicBezTo>
                  <a:cubicBezTo>
                    <a:pt x="17" y="7"/>
                    <a:pt x="19" y="8"/>
                    <a:pt x="20" y="10"/>
                  </a:cubicBezTo>
                  <a:cubicBezTo>
                    <a:pt x="20" y="7"/>
                    <a:pt x="21" y="5"/>
                    <a:pt x="23" y="3"/>
                  </a:cubicBezTo>
                  <a:cubicBezTo>
                    <a:pt x="25" y="2"/>
                    <a:pt x="27" y="1"/>
                    <a:pt x="29" y="0"/>
                  </a:cubicBezTo>
                  <a:cubicBezTo>
                    <a:pt x="31" y="0"/>
                    <a:pt x="33" y="0"/>
                    <a:pt x="35" y="1"/>
                  </a:cubicBezTo>
                  <a:cubicBezTo>
                    <a:pt x="37" y="2"/>
                    <a:pt x="39" y="3"/>
                    <a:pt x="40" y="4"/>
                  </a:cubicBezTo>
                  <a:cubicBezTo>
                    <a:pt x="42" y="5"/>
                    <a:pt x="43" y="7"/>
                    <a:pt x="43" y="10"/>
                  </a:cubicBezTo>
                  <a:cubicBezTo>
                    <a:pt x="44" y="11"/>
                    <a:pt x="44" y="15"/>
                    <a:pt x="45" y="20"/>
                  </a:cubicBezTo>
                  <a:cubicBezTo>
                    <a:pt x="47" y="35"/>
                    <a:pt x="47" y="35"/>
                    <a:pt x="47" y="35"/>
                  </a:cubicBezTo>
                  <a:lnTo>
                    <a:pt x="4" y="41"/>
                  </a:lnTo>
                  <a:close/>
                  <a:moveTo>
                    <a:pt x="10" y="31"/>
                  </a:moveTo>
                  <a:cubicBezTo>
                    <a:pt x="20" y="30"/>
                    <a:pt x="20" y="30"/>
                    <a:pt x="20" y="30"/>
                  </a:cubicBezTo>
                  <a:cubicBezTo>
                    <a:pt x="19" y="24"/>
                    <a:pt x="19" y="24"/>
                    <a:pt x="19" y="24"/>
                  </a:cubicBezTo>
                  <a:cubicBezTo>
                    <a:pt x="18" y="21"/>
                    <a:pt x="18" y="19"/>
                    <a:pt x="18" y="18"/>
                  </a:cubicBezTo>
                  <a:cubicBezTo>
                    <a:pt x="17" y="16"/>
                    <a:pt x="17" y="15"/>
                    <a:pt x="16" y="15"/>
                  </a:cubicBezTo>
                  <a:cubicBezTo>
                    <a:pt x="15" y="14"/>
                    <a:pt x="14" y="14"/>
                    <a:pt x="12" y="14"/>
                  </a:cubicBezTo>
                  <a:cubicBezTo>
                    <a:pt x="11" y="14"/>
                    <a:pt x="10" y="14"/>
                    <a:pt x="9" y="15"/>
                  </a:cubicBezTo>
                  <a:cubicBezTo>
                    <a:pt x="8" y="16"/>
                    <a:pt x="8" y="17"/>
                    <a:pt x="8" y="19"/>
                  </a:cubicBezTo>
                  <a:cubicBezTo>
                    <a:pt x="8" y="20"/>
                    <a:pt x="8" y="22"/>
                    <a:pt x="9" y="26"/>
                  </a:cubicBezTo>
                  <a:lnTo>
                    <a:pt x="10" y="31"/>
                  </a:lnTo>
                  <a:close/>
                  <a:moveTo>
                    <a:pt x="27" y="29"/>
                  </a:moveTo>
                  <a:cubicBezTo>
                    <a:pt x="39" y="27"/>
                    <a:pt x="39" y="27"/>
                    <a:pt x="39" y="27"/>
                  </a:cubicBezTo>
                  <a:cubicBezTo>
                    <a:pt x="37" y="19"/>
                    <a:pt x="37" y="19"/>
                    <a:pt x="37" y="19"/>
                  </a:cubicBezTo>
                  <a:cubicBezTo>
                    <a:pt x="37" y="16"/>
                    <a:pt x="37" y="14"/>
                    <a:pt x="36" y="13"/>
                  </a:cubicBezTo>
                  <a:cubicBezTo>
                    <a:pt x="36" y="12"/>
                    <a:pt x="35" y="11"/>
                    <a:pt x="34" y="10"/>
                  </a:cubicBezTo>
                  <a:cubicBezTo>
                    <a:pt x="33" y="10"/>
                    <a:pt x="32" y="9"/>
                    <a:pt x="30" y="10"/>
                  </a:cubicBezTo>
                  <a:cubicBezTo>
                    <a:pt x="29" y="10"/>
                    <a:pt x="28" y="10"/>
                    <a:pt x="27" y="11"/>
                  </a:cubicBezTo>
                  <a:cubicBezTo>
                    <a:pt x="26" y="12"/>
                    <a:pt x="26" y="13"/>
                    <a:pt x="25" y="14"/>
                  </a:cubicBezTo>
                  <a:cubicBezTo>
                    <a:pt x="25" y="15"/>
                    <a:pt x="25" y="18"/>
                    <a:pt x="26" y="22"/>
                  </a:cubicBezTo>
                  <a:lnTo>
                    <a:pt x="27" y="2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59" name="îṩliďè"/>
            <p:cNvSpPr/>
            <p:nvPr/>
          </p:nvSpPr>
          <p:spPr bwMode="auto">
            <a:xfrm>
              <a:off x="3146322" y="5120278"/>
              <a:ext cx="93663" cy="79375"/>
            </a:xfrm>
            <a:custGeom>
              <a:avLst/>
              <a:gdLst>
                <a:gd name="T0" fmla="*/ 59 w 59"/>
                <a:gd name="T1" fmla="*/ 37 h 50"/>
                <a:gd name="T2" fmla="*/ 9 w 59"/>
                <a:gd name="T3" fmla="*/ 50 h 50"/>
                <a:gd name="T4" fmla="*/ 0 w 59"/>
                <a:gd name="T5" fmla="*/ 13 h 50"/>
                <a:gd name="T6" fmla="*/ 8 w 59"/>
                <a:gd name="T7" fmla="*/ 10 h 50"/>
                <a:gd name="T8" fmla="*/ 15 w 59"/>
                <a:gd name="T9" fmla="*/ 37 h 50"/>
                <a:gd name="T10" fmla="*/ 25 w 59"/>
                <a:gd name="T11" fmla="*/ 35 h 50"/>
                <a:gd name="T12" fmla="*/ 19 w 59"/>
                <a:gd name="T13" fmla="*/ 9 h 50"/>
                <a:gd name="T14" fmla="*/ 27 w 59"/>
                <a:gd name="T15" fmla="*/ 8 h 50"/>
                <a:gd name="T16" fmla="*/ 34 w 59"/>
                <a:gd name="T17" fmla="*/ 32 h 50"/>
                <a:gd name="T18" fmla="*/ 47 w 59"/>
                <a:gd name="T19" fmla="*/ 29 h 50"/>
                <a:gd name="T20" fmla="*/ 40 w 59"/>
                <a:gd name="T21" fmla="*/ 1 h 50"/>
                <a:gd name="T22" fmla="*/ 49 w 59"/>
                <a:gd name="T23" fmla="*/ 0 h 50"/>
                <a:gd name="T24" fmla="*/ 59 w 59"/>
                <a:gd name="T25" fmla="*/ 37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59" h="50">
                  <a:moveTo>
                    <a:pt x="59" y="37"/>
                  </a:moveTo>
                  <a:lnTo>
                    <a:pt x="9" y="50"/>
                  </a:lnTo>
                  <a:lnTo>
                    <a:pt x="0" y="13"/>
                  </a:lnTo>
                  <a:lnTo>
                    <a:pt x="8" y="10"/>
                  </a:lnTo>
                  <a:lnTo>
                    <a:pt x="15" y="37"/>
                  </a:lnTo>
                  <a:lnTo>
                    <a:pt x="25" y="35"/>
                  </a:lnTo>
                  <a:lnTo>
                    <a:pt x="19" y="9"/>
                  </a:lnTo>
                  <a:lnTo>
                    <a:pt x="27" y="8"/>
                  </a:lnTo>
                  <a:lnTo>
                    <a:pt x="34" y="32"/>
                  </a:lnTo>
                  <a:lnTo>
                    <a:pt x="47" y="29"/>
                  </a:lnTo>
                  <a:lnTo>
                    <a:pt x="40" y="1"/>
                  </a:lnTo>
                  <a:lnTo>
                    <a:pt x="49" y="0"/>
                  </a:lnTo>
                  <a:lnTo>
                    <a:pt x="59" y="3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60" name="iṧlíḋè"/>
            <p:cNvSpPr/>
            <p:nvPr/>
          </p:nvSpPr>
          <p:spPr bwMode="auto">
            <a:xfrm>
              <a:off x="3138384" y="5096465"/>
              <a:ext cx="82550" cy="38100"/>
            </a:xfrm>
            <a:custGeom>
              <a:avLst/>
              <a:gdLst>
                <a:gd name="T0" fmla="*/ 52 w 52"/>
                <a:gd name="T1" fmla="*/ 9 h 24"/>
                <a:gd name="T2" fmla="*/ 3 w 52"/>
                <a:gd name="T3" fmla="*/ 24 h 24"/>
                <a:gd name="T4" fmla="*/ 0 w 52"/>
                <a:gd name="T5" fmla="*/ 15 h 24"/>
                <a:gd name="T6" fmla="*/ 49 w 52"/>
                <a:gd name="T7" fmla="*/ 0 h 24"/>
                <a:gd name="T8" fmla="*/ 52 w 52"/>
                <a:gd name="T9" fmla="*/ 9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2" h="24">
                  <a:moveTo>
                    <a:pt x="52" y="9"/>
                  </a:moveTo>
                  <a:lnTo>
                    <a:pt x="3" y="24"/>
                  </a:lnTo>
                  <a:lnTo>
                    <a:pt x="0" y="15"/>
                  </a:lnTo>
                  <a:lnTo>
                    <a:pt x="49" y="0"/>
                  </a:lnTo>
                  <a:lnTo>
                    <a:pt x="52" y="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61" name="islïḓè"/>
            <p:cNvSpPr/>
            <p:nvPr/>
          </p:nvSpPr>
          <p:spPr bwMode="auto">
            <a:xfrm>
              <a:off x="3120922" y="5047253"/>
              <a:ext cx="88900" cy="52388"/>
            </a:xfrm>
            <a:custGeom>
              <a:avLst/>
              <a:gdLst>
                <a:gd name="T0" fmla="*/ 3 w 48"/>
                <a:gd name="T1" fmla="*/ 20 h 28"/>
                <a:gd name="T2" fmla="*/ 0 w 48"/>
                <a:gd name="T3" fmla="*/ 12 h 28"/>
                <a:gd name="T4" fmla="*/ 26 w 48"/>
                <a:gd name="T5" fmla="*/ 2 h 28"/>
                <a:gd name="T6" fmla="*/ 34 w 48"/>
                <a:gd name="T7" fmla="*/ 0 h 28"/>
                <a:gd name="T8" fmla="*/ 42 w 48"/>
                <a:gd name="T9" fmla="*/ 3 h 28"/>
                <a:gd name="T10" fmla="*/ 47 w 48"/>
                <a:gd name="T11" fmla="*/ 10 h 28"/>
                <a:gd name="T12" fmla="*/ 47 w 48"/>
                <a:gd name="T13" fmla="*/ 21 h 28"/>
                <a:gd name="T14" fmla="*/ 38 w 48"/>
                <a:gd name="T15" fmla="*/ 28 h 28"/>
                <a:gd name="T16" fmla="*/ 34 w 48"/>
                <a:gd name="T17" fmla="*/ 20 h 28"/>
                <a:gd name="T18" fmla="*/ 39 w 48"/>
                <a:gd name="T19" fmla="*/ 17 h 28"/>
                <a:gd name="T20" fmla="*/ 40 w 48"/>
                <a:gd name="T21" fmla="*/ 13 h 28"/>
                <a:gd name="T22" fmla="*/ 37 w 48"/>
                <a:gd name="T23" fmla="*/ 9 h 28"/>
                <a:gd name="T24" fmla="*/ 30 w 48"/>
                <a:gd name="T25" fmla="*/ 10 h 28"/>
                <a:gd name="T26" fmla="*/ 3 w 48"/>
                <a:gd name="T27" fmla="*/ 20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8" h="28">
                  <a:moveTo>
                    <a:pt x="3" y="20"/>
                  </a:moveTo>
                  <a:cubicBezTo>
                    <a:pt x="0" y="12"/>
                    <a:pt x="0" y="12"/>
                    <a:pt x="0" y="12"/>
                  </a:cubicBezTo>
                  <a:cubicBezTo>
                    <a:pt x="26" y="2"/>
                    <a:pt x="26" y="2"/>
                    <a:pt x="26" y="2"/>
                  </a:cubicBezTo>
                  <a:cubicBezTo>
                    <a:pt x="29" y="1"/>
                    <a:pt x="32" y="0"/>
                    <a:pt x="34" y="0"/>
                  </a:cubicBezTo>
                  <a:cubicBezTo>
                    <a:pt x="37" y="0"/>
                    <a:pt x="39" y="1"/>
                    <a:pt x="42" y="3"/>
                  </a:cubicBezTo>
                  <a:cubicBezTo>
                    <a:pt x="44" y="4"/>
                    <a:pt x="46" y="7"/>
                    <a:pt x="47" y="10"/>
                  </a:cubicBezTo>
                  <a:cubicBezTo>
                    <a:pt x="48" y="14"/>
                    <a:pt x="48" y="18"/>
                    <a:pt x="47" y="21"/>
                  </a:cubicBezTo>
                  <a:cubicBezTo>
                    <a:pt x="45" y="24"/>
                    <a:pt x="42" y="26"/>
                    <a:pt x="38" y="28"/>
                  </a:cubicBezTo>
                  <a:cubicBezTo>
                    <a:pt x="34" y="20"/>
                    <a:pt x="34" y="20"/>
                    <a:pt x="34" y="20"/>
                  </a:cubicBezTo>
                  <a:cubicBezTo>
                    <a:pt x="37" y="19"/>
                    <a:pt x="38" y="18"/>
                    <a:pt x="39" y="17"/>
                  </a:cubicBezTo>
                  <a:cubicBezTo>
                    <a:pt x="40" y="16"/>
                    <a:pt x="40" y="14"/>
                    <a:pt x="40" y="13"/>
                  </a:cubicBezTo>
                  <a:cubicBezTo>
                    <a:pt x="39" y="11"/>
                    <a:pt x="38" y="10"/>
                    <a:pt x="37" y="9"/>
                  </a:cubicBezTo>
                  <a:cubicBezTo>
                    <a:pt x="35" y="9"/>
                    <a:pt x="33" y="9"/>
                    <a:pt x="30" y="10"/>
                  </a:cubicBezTo>
                  <a:lnTo>
                    <a:pt x="3" y="2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62" name="íṥ1iḍe"/>
            <p:cNvSpPr/>
            <p:nvPr/>
          </p:nvSpPr>
          <p:spPr bwMode="auto">
            <a:xfrm>
              <a:off x="3112984" y="5017090"/>
              <a:ext cx="80963" cy="46038"/>
            </a:xfrm>
            <a:custGeom>
              <a:avLst/>
              <a:gdLst>
                <a:gd name="T0" fmla="*/ 51 w 51"/>
                <a:gd name="T1" fmla="*/ 9 h 29"/>
                <a:gd name="T2" fmla="*/ 3 w 51"/>
                <a:gd name="T3" fmla="*/ 29 h 29"/>
                <a:gd name="T4" fmla="*/ 0 w 51"/>
                <a:gd name="T5" fmla="*/ 19 h 29"/>
                <a:gd name="T6" fmla="*/ 46 w 51"/>
                <a:gd name="T7" fmla="*/ 0 h 29"/>
                <a:gd name="T8" fmla="*/ 51 w 51"/>
                <a:gd name="T9" fmla="*/ 9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1" h="29">
                  <a:moveTo>
                    <a:pt x="51" y="9"/>
                  </a:moveTo>
                  <a:lnTo>
                    <a:pt x="3" y="29"/>
                  </a:lnTo>
                  <a:lnTo>
                    <a:pt x="0" y="19"/>
                  </a:lnTo>
                  <a:lnTo>
                    <a:pt x="46" y="0"/>
                  </a:lnTo>
                  <a:lnTo>
                    <a:pt x="51" y="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63" name="iṥľîḋé"/>
            <p:cNvSpPr/>
            <p:nvPr/>
          </p:nvSpPr>
          <p:spPr bwMode="auto">
            <a:xfrm>
              <a:off x="3081234" y="4948828"/>
              <a:ext cx="101600" cy="93663"/>
            </a:xfrm>
            <a:custGeom>
              <a:avLst/>
              <a:gdLst>
                <a:gd name="T0" fmla="*/ 64 w 64"/>
                <a:gd name="T1" fmla="*/ 36 h 59"/>
                <a:gd name="T2" fmla="*/ 18 w 64"/>
                <a:gd name="T3" fmla="*/ 59 h 59"/>
                <a:gd name="T4" fmla="*/ 14 w 64"/>
                <a:gd name="T5" fmla="*/ 50 h 59"/>
                <a:gd name="T6" fmla="*/ 35 w 64"/>
                <a:gd name="T7" fmla="*/ 16 h 59"/>
                <a:gd name="T8" fmla="*/ 3 w 64"/>
                <a:gd name="T9" fmla="*/ 31 h 59"/>
                <a:gd name="T10" fmla="*/ 0 w 64"/>
                <a:gd name="T11" fmla="*/ 22 h 59"/>
                <a:gd name="T12" fmla="*/ 45 w 64"/>
                <a:gd name="T13" fmla="*/ 0 h 59"/>
                <a:gd name="T14" fmla="*/ 50 w 64"/>
                <a:gd name="T15" fmla="*/ 8 h 59"/>
                <a:gd name="T16" fmla="*/ 29 w 64"/>
                <a:gd name="T17" fmla="*/ 42 h 59"/>
                <a:gd name="T18" fmla="*/ 59 w 64"/>
                <a:gd name="T19" fmla="*/ 26 h 59"/>
                <a:gd name="T20" fmla="*/ 64 w 64"/>
                <a:gd name="T21" fmla="*/ 36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64" h="59">
                  <a:moveTo>
                    <a:pt x="64" y="36"/>
                  </a:moveTo>
                  <a:lnTo>
                    <a:pt x="18" y="59"/>
                  </a:lnTo>
                  <a:lnTo>
                    <a:pt x="14" y="50"/>
                  </a:lnTo>
                  <a:lnTo>
                    <a:pt x="35" y="16"/>
                  </a:lnTo>
                  <a:lnTo>
                    <a:pt x="3" y="31"/>
                  </a:lnTo>
                  <a:lnTo>
                    <a:pt x="0" y="22"/>
                  </a:lnTo>
                  <a:lnTo>
                    <a:pt x="45" y="0"/>
                  </a:lnTo>
                  <a:lnTo>
                    <a:pt x="50" y="8"/>
                  </a:lnTo>
                  <a:lnTo>
                    <a:pt x="29" y="42"/>
                  </a:lnTo>
                  <a:lnTo>
                    <a:pt x="59" y="26"/>
                  </a:lnTo>
                  <a:lnTo>
                    <a:pt x="64" y="3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64" name="îślidè"/>
            <p:cNvSpPr/>
            <p:nvPr/>
          </p:nvSpPr>
          <p:spPr bwMode="auto">
            <a:xfrm>
              <a:off x="3047897" y="4877390"/>
              <a:ext cx="84138" cy="88900"/>
            </a:xfrm>
            <a:custGeom>
              <a:avLst/>
              <a:gdLst>
                <a:gd name="T0" fmla="*/ 28 w 46"/>
                <a:gd name="T1" fmla="*/ 21 h 48"/>
                <a:gd name="T2" fmla="*/ 22 w 46"/>
                <a:gd name="T3" fmla="*/ 25 h 48"/>
                <a:gd name="T4" fmla="*/ 11 w 46"/>
                <a:gd name="T5" fmla="*/ 9 h 48"/>
                <a:gd name="T6" fmla="*/ 26 w 46"/>
                <a:gd name="T7" fmla="*/ 0 h 48"/>
                <a:gd name="T8" fmla="*/ 35 w 46"/>
                <a:gd name="T9" fmla="*/ 4 h 48"/>
                <a:gd name="T10" fmla="*/ 42 w 46"/>
                <a:gd name="T11" fmla="*/ 12 h 48"/>
                <a:gd name="T12" fmla="*/ 46 w 46"/>
                <a:gd name="T13" fmla="*/ 24 h 48"/>
                <a:gd name="T14" fmla="*/ 43 w 46"/>
                <a:gd name="T15" fmla="*/ 35 h 48"/>
                <a:gd name="T16" fmla="*/ 35 w 46"/>
                <a:gd name="T17" fmla="*/ 43 h 48"/>
                <a:gd name="T18" fmla="*/ 23 w 46"/>
                <a:gd name="T19" fmla="*/ 47 h 48"/>
                <a:gd name="T20" fmla="*/ 12 w 46"/>
                <a:gd name="T21" fmla="*/ 45 h 48"/>
                <a:gd name="T22" fmla="*/ 4 w 46"/>
                <a:gd name="T23" fmla="*/ 37 h 48"/>
                <a:gd name="T24" fmla="*/ 0 w 46"/>
                <a:gd name="T25" fmla="*/ 24 h 48"/>
                <a:gd name="T26" fmla="*/ 5 w 46"/>
                <a:gd name="T27" fmla="*/ 14 h 48"/>
                <a:gd name="T28" fmla="*/ 11 w 46"/>
                <a:gd name="T29" fmla="*/ 21 h 48"/>
                <a:gd name="T30" fmla="*/ 9 w 46"/>
                <a:gd name="T31" fmla="*/ 27 h 48"/>
                <a:gd name="T32" fmla="*/ 11 w 46"/>
                <a:gd name="T33" fmla="*/ 33 h 48"/>
                <a:gd name="T34" fmla="*/ 19 w 46"/>
                <a:gd name="T35" fmla="*/ 39 h 48"/>
                <a:gd name="T36" fmla="*/ 30 w 46"/>
                <a:gd name="T37" fmla="*/ 36 h 48"/>
                <a:gd name="T38" fmla="*/ 38 w 46"/>
                <a:gd name="T39" fmla="*/ 26 h 48"/>
                <a:gd name="T40" fmla="*/ 36 w 46"/>
                <a:gd name="T41" fmla="*/ 17 h 48"/>
                <a:gd name="T42" fmla="*/ 32 w 46"/>
                <a:gd name="T43" fmla="*/ 13 h 48"/>
                <a:gd name="T44" fmla="*/ 27 w 46"/>
                <a:gd name="T45" fmla="*/ 10 h 48"/>
                <a:gd name="T46" fmla="*/ 23 w 46"/>
                <a:gd name="T47" fmla="*/ 13 h 48"/>
                <a:gd name="T48" fmla="*/ 28 w 46"/>
                <a:gd name="T49" fmla="*/ 21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46" h="48">
                  <a:moveTo>
                    <a:pt x="28" y="21"/>
                  </a:moveTo>
                  <a:cubicBezTo>
                    <a:pt x="22" y="25"/>
                    <a:pt x="22" y="25"/>
                    <a:pt x="22" y="25"/>
                  </a:cubicBezTo>
                  <a:cubicBezTo>
                    <a:pt x="11" y="9"/>
                    <a:pt x="11" y="9"/>
                    <a:pt x="11" y="9"/>
                  </a:cubicBezTo>
                  <a:cubicBezTo>
                    <a:pt x="26" y="0"/>
                    <a:pt x="26" y="0"/>
                    <a:pt x="26" y="0"/>
                  </a:cubicBezTo>
                  <a:cubicBezTo>
                    <a:pt x="29" y="1"/>
                    <a:pt x="31" y="2"/>
                    <a:pt x="35" y="4"/>
                  </a:cubicBezTo>
                  <a:cubicBezTo>
                    <a:pt x="38" y="6"/>
                    <a:pt x="40" y="9"/>
                    <a:pt x="42" y="12"/>
                  </a:cubicBezTo>
                  <a:cubicBezTo>
                    <a:pt x="45" y="16"/>
                    <a:pt x="46" y="20"/>
                    <a:pt x="46" y="24"/>
                  </a:cubicBezTo>
                  <a:cubicBezTo>
                    <a:pt x="46" y="28"/>
                    <a:pt x="45" y="31"/>
                    <a:pt x="43" y="35"/>
                  </a:cubicBezTo>
                  <a:cubicBezTo>
                    <a:pt x="41" y="38"/>
                    <a:pt x="38" y="41"/>
                    <a:pt x="35" y="43"/>
                  </a:cubicBezTo>
                  <a:cubicBezTo>
                    <a:pt x="31" y="46"/>
                    <a:pt x="27" y="47"/>
                    <a:pt x="23" y="47"/>
                  </a:cubicBezTo>
                  <a:cubicBezTo>
                    <a:pt x="19" y="48"/>
                    <a:pt x="15" y="47"/>
                    <a:pt x="12" y="45"/>
                  </a:cubicBezTo>
                  <a:cubicBezTo>
                    <a:pt x="9" y="43"/>
                    <a:pt x="6" y="41"/>
                    <a:pt x="4" y="37"/>
                  </a:cubicBezTo>
                  <a:cubicBezTo>
                    <a:pt x="1" y="32"/>
                    <a:pt x="0" y="28"/>
                    <a:pt x="0" y="24"/>
                  </a:cubicBezTo>
                  <a:cubicBezTo>
                    <a:pt x="0" y="21"/>
                    <a:pt x="2" y="17"/>
                    <a:pt x="5" y="14"/>
                  </a:cubicBezTo>
                  <a:cubicBezTo>
                    <a:pt x="11" y="21"/>
                    <a:pt x="11" y="21"/>
                    <a:pt x="11" y="21"/>
                  </a:cubicBezTo>
                  <a:cubicBezTo>
                    <a:pt x="10" y="23"/>
                    <a:pt x="9" y="24"/>
                    <a:pt x="9" y="27"/>
                  </a:cubicBezTo>
                  <a:cubicBezTo>
                    <a:pt x="8" y="29"/>
                    <a:pt x="9" y="31"/>
                    <a:pt x="11" y="33"/>
                  </a:cubicBezTo>
                  <a:cubicBezTo>
                    <a:pt x="13" y="36"/>
                    <a:pt x="15" y="38"/>
                    <a:pt x="19" y="39"/>
                  </a:cubicBezTo>
                  <a:cubicBezTo>
                    <a:pt x="22" y="39"/>
                    <a:pt x="26" y="38"/>
                    <a:pt x="30" y="36"/>
                  </a:cubicBezTo>
                  <a:cubicBezTo>
                    <a:pt x="34" y="33"/>
                    <a:pt x="37" y="30"/>
                    <a:pt x="38" y="26"/>
                  </a:cubicBezTo>
                  <a:cubicBezTo>
                    <a:pt x="39" y="23"/>
                    <a:pt x="38" y="20"/>
                    <a:pt x="36" y="17"/>
                  </a:cubicBezTo>
                  <a:cubicBezTo>
                    <a:pt x="35" y="15"/>
                    <a:pt x="34" y="14"/>
                    <a:pt x="32" y="13"/>
                  </a:cubicBezTo>
                  <a:cubicBezTo>
                    <a:pt x="30" y="11"/>
                    <a:pt x="29" y="10"/>
                    <a:pt x="27" y="10"/>
                  </a:cubicBezTo>
                  <a:cubicBezTo>
                    <a:pt x="23" y="13"/>
                    <a:pt x="23" y="13"/>
                    <a:pt x="23" y="13"/>
                  </a:cubicBezTo>
                  <a:lnTo>
                    <a:pt x="28" y="2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65" name="îŝ1ide"/>
            <p:cNvSpPr/>
            <p:nvPr/>
          </p:nvSpPr>
          <p:spPr bwMode="auto">
            <a:xfrm>
              <a:off x="1981097" y="4907553"/>
              <a:ext cx="931863" cy="969963"/>
            </a:xfrm>
            <a:custGeom>
              <a:avLst/>
              <a:gdLst>
                <a:gd name="T0" fmla="*/ 488 w 506"/>
                <a:gd name="T1" fmla="*/ 144 h 525"/>
                <a:gd name="T2" fmla="*/ 449 w 506"/>
                <a:gd name="T3" fmla="*/ 161 h 525"/>
                <a:gd name="T4" fmla="*/ 473 w 506"/>
                <a:gd name="T5" fmla="*/ 361 h 525"/>
                <a:gd name="T6" fmla="*/ 434 w 506"/>
                <a:gd name="T7" fmla="*/ 382 h 525"/>
                <a:gd name="T8" fmla="*/ 463 w 506"/>
                <a:gd name="T9" fmla="*/ 392 h 525"/>
                <a:gd name="T10" fmla="*/ 434 w 506"/>
                <a:gd name="T11" fmla="*/ 455 h 525"/>
                <a:gd name="T12" fmla="*/ 418 w 506"/>
                <a:gd name="T13" fmla="*/ 525 h 525"/>
                <a:gd name="T14" fmla="*/ 328 w 506"/>
                <a:gd name="T15" fmla="*/ 392 h 525"/>
                <a:gd name="T16" fmla="*/ 200 w 506"/>
                <a:gd name="T17" fmla="*/ 376 h 525"/>
                <a:gd name="T18" fmla="*/ 179 w 506"/>
                <a:gd name="T19" fmla="*/ 525 h 525"/>
                <a:gd name="T20" fmla="*/ 72 w 506"/>
                <a:gd name="T21" fmla="*/ 510 h 525"/>
                <a:gd name="T22" fmla="*/ 44 w 506"/>
                <a:gd name="T23" fmla="*/ 439 h 525"/>
                <a:gd name="T24" fmla="*/ 72 w 506"/>
                <a:gd name="T25" fmla="*/ 392 h 525"/>
                <a:gd name="T26" fmla="*/ 57 w 506"/>
                <a:gd name="T27" fmla="*/ 382 h 525"/>
                <a:gd name="T28" fmla="*/ 18 w 506"/>
                <a:gd name="T29" fmla="*/ 161 h 525"/>
                <a:gd name="T30" fmla="*/ 56 w 506"/>
                <a:gd name="T31" fmla="*/ 144 h 525"/>
                <a:gd name="T32" fmla="*/ 0 w 506"/>
                <a:gd name="T33" fmla="*/ 21 h 525"/>
                <a:gd name="T34" fmla="*/ 92 w 506"/>
                <a:gd name="T35" fmla="*/ 21 h 525"/>
                <a:gd name="T36" fmla="*/ 403 w 506"/>
                <a:gd name="T37" fmla="*/ 82 h 525"/>
                <a:gd name="T38" fmla="*/ 457 w 506"/>
                <a:gd name="T39" fmla="*/ 0 h 525"/>
                <a:gd name="T40" fmla="*/ 461 w 506"/>
                <a:gd name="T41" fmla="*/ 82 h 525"/>
                <a:gd name="T42" fmla="*/ 455 w 506"/>
                <a:gd name="T43" fmla="*/ 24 h 525"/>
                <a:gd name="T44" fmla="*/ 435 w 506"/>
                <a:gd name="T45" fmla="*/ 82 h 525"/>
                <a:gd name="T46" fmla="*/ 454 w 506"/>
                <a:gd name="T47" fmla="*/ 127 h 525"/>
                <a:gd name="T48" fmla="*/ 49 w 506"/>
                <a:gd name="T49" fmla="*/ 112 h 525"/>
                <a:gd name="T50" fmla="*/ 78 w 506"/>
                <a:gd name="T51" fmla="*/ 127 h 525"/>
                <a:gd name="T52" fmla="*/ 81 w 506"/>
                <a:gd name="T53" fmla="*/ 161 h 525"/>
                <a:gd name="T54" fmla="*/ 426 w 506"/>
                <a:gd name="T55" fmla="*/ 145 h 525"/>
                <a:gd name="T56" fmla="*/ 454 w 506"/>
                <a:gd name="T57" fmla="*/ 127 h 525"/>
                <a:gd name="T58" fmla="*/ 450 w 506"/>
                <a:gd name="T59" fmla="*/ 178 h 525"/>
                <a:gd name="T60" fmla="*/ 65 w 506"/>
                <a:gd name="T61" fmla="*/ 335 h 525"/>
                <a:gd name="T62" fmla="*/ 421 w 506"/>
                <a:gd name="T63" fmla="*/ 349 h 525"/>
                <a:gd name="T64" fmla="*/ 398 w 506"/>
                <a:gd name="T65" fmla="*/ 490 h 525"/>
                <a:gd name="T66" fmla="*/ 356 w 506"/>
                <a:gd name="T67" fmla="*/ 371 h 525"/>
                <a:gd name="T68" fmla="*/ 389 w 506"/>
                <a:gd name="T69" fmla="*/ 496 h 525"/>
                <a:gd name="T70" fmla="*/ 150 w 506"/>
                <a:gd name="T71" fmla="*/ 496 h 525"/>
                <a:gd name="T72" fmla="*/ 108 w 506"/>
                <a:gd name="T73" fmla="*/ 371 h 525"/>
                <a:gd name="T74" fmla="*/ 117 w 506"/>
                <a:gd name="T75" fmla="*/ 496 h 525"/>
                <a:gd name="T76" fmla="*/ 71 w 506"/>
                <a:gd name="T77" fmla="*/ 82 h 525"/>
                <a:gd name="T78" fmla="*/ 51 w 506"/>
                <a:gd name="T79" fmla="*/ 24 h 525"/>
                <a:gd name="T80" fmla="*/ 45 w 506"/>
                <a:gd name="T81" fmla="*/ 82 h 5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506" h="525">
                  <a:moveTo>
                    <a:pt x="506" y="21"/>
                  </a:moveTo>
                  <a:cubicBezTo>
                    <a:pt x="488" y="144"/>
                    <a:pt x="488" y="144"/>
                    <a:pt x="488" y="144"/>
                  </a:cubicBezTo>
                  <a:cubicBezTo>
                    <a:pt x="450" y="144"/>
                    <a:pt x="450" y="144"/>
                    <a:pt x="450" y="144"/>
                  </a:cubicBezTo>
                  <a:cubicBezTo>
                    <a:pt x="449" y="161"/>
                    <a:pt x="449" y="161"/>
                    <a:pt x="449" y="161"/>
                  </a:cubicBezTo>
                  <a:cubicBezTo>
                    <a:pt x="488" y="161"/>
                    <a:pt x="488" y="161"/>
                    <a:pt x="488" y="161"/>
                  </a:cubicBezTo>
                  <a:cubicBezTo>
                    <a:pt x="473" y="361"/>
                    <a:pt x="473" y="361"/>
                    <a:pt x="473" y="361"/>
                  </a:cubicBezTo>
                  <a:cubicBezTo>
                    <a:pt x="473" y="372"/>
                    <a:pt x="462" y="382"/>
                    <a:pt x="450" y="382"/>
                  </a:cubicBezTo>
                  <a:cubicBezTo>
                    <a:pt x="434" y="382"/>
                    <a:pt x="434" y="382"/>
                    <a:pt x="434" y="382"/>
                  </a:cubicBezTo>
                  <a:cubicBezTo>
                    <a:pt x="434" y="392"/>
                    <a:pt x="434" y="392"/>
                    <a:pt x="434" y="392"/>
                  </a:cubicBezTo>
                  <a:cubicBezTo>
                    <a:pt x="463" y="392"/>
                    <a:pt x="463" y="392"/>
                    <a:pt x="463" y="392"/>
                  </a:cubicBezTo>
                  <a:cubicBezTo>
                    <a:pt x="463" y="439"/>
                    <a:pt x="463" y="439"/>
                    <a:pt x="463" y="439"/>
                  </a:cubicBezTo>
                  <a:cubicBezTo>
                    <a:pt x="463" y="448"/>
                    <a:pt x="450" y="455"/>
                    <a:pt x="434" y="455"/>
                  </a:cubicBezTo>
                  <a:cubicBezTo>
                    <a:pt x="434" y="510"/>
                    <a:pt x="434" y="510"/>
                    <a:pt x="434" y="510"/>
                  </a:cubicBezTo>
                  <a:cubicBezTo>
                    <a:pt x="434" y="518"/>
                    <a:pt x="427" y="525"/>
                    <a:pt x="418" y="525"/>
                  </a:cubicBezTo>
                  <a:cubicBezTo>
                    <a:pt x="328" y="525"/>
                    <a:pt x="328" y="525"/>
                    <a:pt x="328" y="525"/>
                  </a:cubicBezTo>
                  <a:cubicBezTo>
                    <a:pt x="328" y="392"/>
                    <a:pt x="328" y="392"/>
                    <a:pt x="328" y="392"/>
                  </a:cubicBezTo>
                  <a:cubicBezTo>
                    <a:pt x="328" y="383"/>
                    <a:pt x="318" y="376"/>
                    <a:pt x="307" y="376"/>
                  </a:cubicBezTo>
                  <a:cubicBezTo>
                    <a:pt x="200" y="376"/>
                    <a:pt x="200" y="376"/>
                    <a:pt x="200" y="376"/>
                  </a:cubicBezTo>
                  <a:cubicBezTo>
                    <a:pt x="188" y="376"/>
                    <a:pt x="179" y="383"/>
                    <a:pt x="179" y="392"/>
                  </a:cubicBezTo>
                  <a:cubicBezTo>
                    <a:pt x="179" y="525"/>
                    <a:pt x="179" y="525"/>
                    <a:pt x="179" y="525"/>
                  </a:cubicBezTo>
                  <a:cubicBezTo>
                    <a:pt x="89" y="525"/>
                    <a:pt x="89" y="525"/>
                    <a:pt x="89" y="525"/>
                  </a:cubicBezTo>
                  <a:cubicBezTo>
                    <a:pt x="80" y="525"/>
                    <a:pt x="72" y="518"/>
                    <a:pt x="72" y="510"/>
                  </a:cubicBezTo>
                  <a:cubicBezTo>
                    <a:pt x="72" y="455"/>
                    <a:pt x="72" y="455"/>
                    <a:pt x="72" y="455"/>
                  </a:cubicBezTo>
                  <a:cubicBezTo>
                    <a:pt x="56" y="455"/>
                    <a:pt x="44" y="448"/>
                    <a:pt x="44" y="439"/>
                  </a:cubicBezTo>
                  <a:cubicBezTo>
                    <a:pt x="44" y="392"/>
                    <a:pt x="44" y="392"/>
                    <a:pt x="44" y="392"/>
                  </a:cubicBezTo>
                  <a:cubicBezTo>
                    <a:pt x="72" y="392"/>
                    <a:pt x="72" y="392"/>
                    <a:pt x="72" y="392"/>
                  </a:cubicBezTo>
                  <a:cubicBezTo>
                    <a:pt x="72" y="382"/>
                    <a:pt x="72" y="382"/>
                    <a:pt x="72" y="382"/>
                  </a:cubicBezTo>
                  <a:cubicBezTo>
                    <a:pt x="57" y="382"/>
                    <a:pt x="57" y="382"/>
                    <a:pt x="57" y="382"/>
                  </a:cubicBezTo>
                  <a:cubicBezTo>
                    <a:pt x="44" y="382"/>
                    <a:pt x="34" y="372"/>
                    <a:pt x="34" y="361"/>
                  </a:cubicBezTo>
                  <a:cubicBezTo>
                    <a:pt x="18" y="161"/>
                    <a:pt x="18" y="161"/>
                    <a:pt x="18" y="161"/>
                  </a:cubicBezTo>
                  <a:cubicBezTo>
                    <a:pt x="58" y="161"/>
                    <a:pt x="58" y="161"/>
                    <a:pt x="58" y="161"/>
                  </a:cubicBezTo>
                  <a:cubicBezTo>
                    <a:pt x="56" y="144"/>
                    <a:pt x="56" y="144"/>
                    <a:pt x="56" y="144"/>
                  </a:cubicBezTo>
                  <a:cubicBezTo>
                    <a:pt x="18" y="144"/>
                    <a:pt x="18" y="144"/>
                    <a:pt x="18" y="144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2" y="7"/>
                    <a:pt x="31" y="0"/>
                    <a:pt x="49" y="0"/>
                  </a:cubicBezTo>
                  <a:cubicBezTo>
                    <a:pt x="73" y="0"/>
                    <a:pt x="80" y="3"/>
                    <a:pt x="92" y="21"/>
                  </a:cubicBezTo>
                  <a:cubicBezTo>
                    <a:pt x="103" y="82"/>
                    <a:pt x="103" y="82"/>
                    <a:pt x="103" y="82"/>
                  </a:cubicBezTo>
                  <a:cubicBezTo>
                    <a:pt x="403" y="82"/>
                    <a:pt x="403" y="82"/>
                    <a:pt x="403" y="82"/>
                  </a:cubicBezTo>
                  <a:cubicBezTo>
                    <a:pt x="415" y="21"/>
                    <a:pt x="415" y="21"/>
                    <a:pt x="415" y="21"/>
                  </a:cubicBezTo>
                  <a:cubicBezTo>
                    <a:pt x="426" y="3"/>
                    <a:pt x="433" y="0"/>
                    <a:pt x="457" y="0"/>
                  </a:cubicBezTo>
                  <a:cubicBezTo>
                    <a:pt x="475" y="0"/>
                    <a:pt x="504" y="7"/>
                    <a:pt x="506" y="21"/>
                  </a:cubicBezTo>
                  <a:close/>
                  <a:moveTo>
                    <a:pt x="461" y="82"/>
                  </a:moveTo>
                  <a:cubicBezTo>
                    <a:pt x="469" y="32"/>
                    <a:pt x="469" y="32"/>
                    <a:pt x="469" y="32"/>
                  </a:cubicBezTo>
                  <a:cubicBezTo>
                    <a:pt x="469" y="24"/>
                    <a:pt x="463" y="24"/>
                    <a:pt x="455" y="24"/>
                  </a:cubicBezTo>
                  <a:cubicBezTo>
                    <a:pt x="450" y="24"/>
                    <a:pt x="447" y="26"/>
                    <a:pt x="445" y="32"/>
                  </a:cubicBezTo>
                  <a:cubicBezTo>
                    <a:pt x="435" y="82"/>
                    <a:pt x="435" y="82"/>
                    <a:pt x="435" y="82"/>
                  </a:cubicBezTo>
                  <a:lnTo>
                    <a:pt x="461" y="82"/>
                  </a:lnTo>
                  <a:close/>
                  <a:moveTo>
                    <a:pt x="454" y="127"/>
                  </a:moveTo>
                  <a:cubicBezTo>
                    <a:pt x="457" y="112"/>
                    <a:pt x="457" y="112"/>
                    <a:pt x="457" y="112"/>
                  </a:cubicBezTo>
                  <a:cubicBezTo>
                    <a:pt x="49" y="112"/>
                    <a:pt x="49" y="112"/>
                    <a:pt x="49" y="112"/>
                  </a:cubicBezTo>
                  <a:cubicBezTo>
                    <a:pt x="52" y="127"/>
                    <a:pt x="52" y="127"/>
                    <a:pt x="52" y="127"/>
                  </a:cubicBezTo>
                  <a:cubicBezTo>
                    <a:pt x="78" y="127"/>
                    <a:pt x="78" y="127"/>
                    <a:pt x="78" y="127"/>
                  </a:cubicBezTo>
                  <a:cubicBezTo>
                    <a:pt x="80" y="145"/>
                    <a:pt x="80" y="145"/>
                    <a:pt x="80" y="145"/>
                  </a:cubicBezTo>
                  <a:cubicBezTo>
                    <a:pt x="81" y="161"/>
                    <a:pt x="81" y="161"/>
                    <a:pt x="81" y="161"/>
                  </a:cubicBezTo>
                  <a:cubicBezTo>
                    <a:pt x="425" y="161"/>
                    <a:pt x="425" y="161"/>
                    <a:pt x="425" y="161"/>
                  </a:cubicBezTo>
                  <a:cubicBezTo>
                    <a:pt x="426" y="145"/>
                    <a:pt x="426" y="145"/>
                    <a:pt x="426" y="145"/>
                  </a:cubicBezTo>
                  <a:cubicBezTo>
                    <a:pt x="428" y="127"/>
                    <a:pt x="428" y="127"/>
                    <a:pt x="428" y="127"/>
                  </a:cubicBezTo>
                  <a:lnTo>
                    <a:pt x="454" y="127"/>
                  </a:lnTo>
                  <a:close/>
                  <a:moveTo>
                    <a:pt x="441" y="335"/>
                  </a:moveTo>
                  <a:cubicBezTo>
                    <a:pt x="450" y="178"/>
                    <a:pt x="450" y="178"/>
                    <a:pt x="450" y="178"/>
                  </a:cubicBezTo>
                  <a:cubicBezTo>
                    <a:pt x="56" y="178"/>
                    <a:pt x="56" y="178"/>
                    <a:pt x="56" y="178"/>
                  </a:cubicBezTo>
                  <a:cubicBezTo>
                    <a:pt x="65" y="335"/>
                    <a:pt x="65" y="335"/>
                    <a:pt x="65" y="335"/>
                  </a:cubicBezTo>
                  <a:cubicBezTo>
                    <a:pt x="65" y="343"/>
                    <a:pt x="74" y="349"/>
                    <a:pt x="85" y="349"/>
                  </a:cubicBezTo>
                  <a:cubicBezTo>
                    <a:pt x="421" y="349"/>
                    <a:pt x="421" y="349"/>
                    <a:pt x="421" y="349"/>
                  </a:cubicBezTo>
                  <a:cubicBezTo>
                    <a:pt x="432" y="349"/>
                    <a:pt x="441" y="343"/>
                    <a:pt x="441" y="335"/>
                  </a:cubicBezTo>
                  <a:close/>
                  <a:moveTo>
                    <a:pt x="398" y="490"/>
                  </a:moveTo>
                  <a:cubicBezTo>
                    <a:pt x="398" y="371"/>
                    <a:pt x="398" y="371"/>
                    <a:pt x="398" y="371"/>
                  </a:cubicBezTo>
                  <a:cubicBezTo>
                    <a:pt x="356" y="371"/>
                    <a:pt x="356" y="371"/>
                    <a:pt x="356" y="371"/>
                  </a:cubicBezTo>
                  <a:cubicBezTo>
                    <a:pt x="356" y="496"/>
                    <a:pt x="356" y="496"/>
                    <a:pt x="356" y="496"/>
                  </a:cubicBezTo>
                  <a:cubicBezTo>
                    <a:pt x="389" y="496"/>
                    <a:pt x="389" y="496"/>
                    <a:pt x="389" y="496"/>
                  </a:cubicBezTo>
                  <a:cubicBezTo>
                    <a:pt x="394" y="496"/>
                    <a:pt x="398" y="496"/>
                    <a:pt x="398" y="490"/>
                  </a:cubicBezTo>
                  <a:close/>
                  <a:moveTo>
                    <a:pt x="150" y="496"/>
                  </a:moveTo>
                  <a:cubicBezTo>
                    <a:pt x="150" y="371"/>
                    <a:pt x="150" y="371"/>
                    <a:pt x="150" y="371"/>
                  </a:cubicBezTo>
                  <a:cubicBezTo>
                    <a:pt x="108" y="371"/>
                    <a:pt x="108" y="371"/>
                    <a:pt x="108" y="371"/>
                  </a:cubicBezTo>
                  <a:cubicBezTo>
                    <a:pt x="108" y="490"/>
                    <a:pt x="108" y="490"/>
                    <a:pt x="108" y="490"/>
                  </a:cubicBezTo>
                  <a:cubicBezTo>
                    <a:pt x="108" y="496"/>
                    <a:pt x="112" y="496"/>
                    <a:pt x="117" y="496"/>
                  </a:cubicBezTo>
                  <a:lnTo>
                    <a:pt x="150" y="496"/>
                  </a:lnTo>
                  <a:close/>
                  <a:moveTo>
                    <a:pt x="71" y="82"/>
                  </a:moveTo>
                  <a:cubicBezTo>
                    <a:pt x="61" y="32"/>
                    <a:pt x="61" y="32"/>
                    <a:pt x="61" y="32"/>
                  </a:cubicBezTo>
                  <a:cubicBezTo>
                    <a:pt x="60" y="26"/>
                    <a:pt x="57" y="24"/>
                    <a:pt x="51" y="24"/>
                  </a:cubicBezTo>
                  <a:cubicBezTo>
                    <a:pt x="43" y="24"/>
                    <a:pt x="37" y="24"/>
                    <a:pt x="37" y="32"/>
                  </a:cubicBezTo>
                  <a:cubicBezTo>
                    <a:pt x="45" y="82"/>
                    <a:pt x="45" y="82"/>
                    <a:pt x="45" y="82"/>
                  </a:cubicBezTo>
                  <a:lnTo>
                    <a:pt x="71" y="8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66" name="í$ḻíde"/>
            <p:cNvSpPr/>
            <p:nvPr/>
          </p:nvSpPr>
          <p:spPr bwMode="auto">
            <a:xfrm>
              <a:off x="2144609" y="5142503"/>
              <a:ext cx="604838" cy="3175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sz="1350"/>
            </a:p>
          </p:txBody>
        </p:sp>
      </p:grpSp>
      <p:pic>
        <p:nvPicPr>
          <p:cNvPr id="70" name="图片 69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518" t="7796" r="24414" b="7796"/>
          <a:stretch>
            <a:fillRect/>
          </a:stretch>
        </p:blipFill>
        <p:spPr>
          <a:xfrm>
            <a:off x="-1" y="0"/>
            <a:ext cx="4578223" cy="6858000"/>
          </a:xfrm>
          <a:prstGeom prst="rect">
            <a:avLst/>
          </a:prstGeom>
        </p:spPr>
      </p:pic>
      <p:sp>
        <p:nvSpPr>
          <p:cNvPr id="72" name="矩形 71"/>
          <p:cNvSpPr/>
          <p:nvPr userDrawn="1"/>
        </p:nvSpPr>
        <p:spPr>
          <a:xfrm>
            <a:off x="0" y="0"/>
            <a:ext cx="4590220" cy="6858000"/>
          </a:xfrm>
          <a:prstGeom prst="rect">
            <a:avLst/>
          </a:prstGeom>
          <a:gradFill flip="none" rotWithShape="1">
            <a:gsLst>
              <a:gs pos="0">
                <a:srgbClr val="A22B17">
                  <a:lumMod val="94000"/>
                  <a:lumOff val="6000"/>
                </a:srgbClr>
              </a:gs>
              <a:gs pos="100000">
                <a:srgbClr val="A22B17">
                  <a:alpha val="72000"/>
                  <a:lumMod val="85000"/>
                  <a:lumOff val="15000"/>
                </a:srgb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zh-CN" altLang="en-US" sz="1350" dirty="0"/>
          </a:p>
        </p:txBody>
      </p:sp>
    </p:spTree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/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Date Placeholder 2"/>
          <p:cNvSpPr/>
          <p:nvPr>
            <p:ph type="dt" sz="half" idx="10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Footer Placeholder 3"/>
          <p:cNvSpPr/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5" name="Slide Number Placeholder 4"/>
          <p:cNvSpPr/>
          <p:nvPr>
            <p:ph type="sldNum" sz="quarter" idx="12"/>
          </p:nvPr>
        </p:nvSpPr>
        <p:spPr/>
        <p:txBody>
          <a:bodyPr/>
          <a:lstStyle/>
          <a:p>
            <a:fld id="{D1595ABF-967E-497C-9510-A74E7142EDE3}" type="slidenum">
              <a:rPr lang="en-US" altLang="zh-CN" smtClean="0"/>
            </a:fld>
            <a:endParaRPr lang="en-US" altLang="zh-CN"/>
          </a:p>
        </p:txBody>
      </p:sp>
    </p:spTree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/>
          <p:nvPr>
            <p:ph type="dt" sz="half" idx="10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3" name="Footer Placeholder 2"/>
          <p:cNvSpPr/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Slide Number Placeholder 3"/>
          <p:cNvSpPr/>
          <p:nvPr>
            <p:ph type="sldNum" sz="quarter" idx="12"/>
          </p:nvPr>
        </p:nvSpPr>
        <p:spPr/>
        <p:txBody>
          <a:bodyPr/>
          <a:lstStyle/>
          <a:p>
            <a:fld id="{C01B3F58-CA4D-4939-B8FB-135C75D2DC6C}" type="slidenum">
              <a:rPr lang="en-US" altLang="zh-CN" smtClean="0"/>
            </a:fld>
            <a:endParaRPr lang="en-US" altLang="zh-CN"/>
          </a:p>
        </p:txBody>
      </p:sp>
    </p:spTree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/>
          <p:nvPr>
            <p:ph type="title"/>
          </p:nvPr>
        </p:nvSpPr>
        <p:spPr>
          <a:xfrm>
            <a:off x="5907087" y="266700"/>
            <a:ext cx="3008313" cy="2095500"/>
          </a:xfrm>
        </p:spPr>
        <p:txBody>
          <a:bodyPr anchor="b"/>
          <a:lstStyle>
            <a:lvl1pPr algn="ctr">
              <a:lnSpc>
                <a:spcPct val="100000"/>
              </a:lnSpc>
              <a:defRPr sz="2800" b="0">
                <a:effectLst>
                  <a:outerShdw blurRad="50800" dist="25400" dir="5400000" algn="t" rotWithShape="0">
                    <a:prstClr val="black">
                      <a:alpha val="25000"/>
                    </a:prstClr>
                  </a:outerShdw>
                </a:effectLst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Content Placeholder 2"/>
          <p:cNvSpPr/>
          <p:nvPr>
            <p:ph idx="1"/>
          </p:nvPr>
        </p:nvSpPr>
        <p:spPr>
          <a:xfrm>
            <a:off x="719137" y="273050"/>
            <a:ext cx="4995863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en-US" dirty="0"/>
          </a:p>
        </p:txBody>
      </p:sp>
      <p:sp>
        <p:nvSpPr>
          <p:cNvPr id="4" name="Text Placeholder 3"/>
          <p:cNvSpPr/>
          <p:nvPr>
            <p:ph type="body" sz="half" idx="2"/>
          </p:nvPr>
        </p:nvSpPr>
        <p:spPr>
          <a:xfrm>
            <a:off x="5907087" y="2438400"/>
            <a:ext cx="3008313" cy="3687763"/>
          </a:xfrm>
        </p:spPr>
        <p:txBody>
          <a:bodyPr>
            <a:normAutofit/>
          </a:bodyPr>
          <a:lstStyle>
            <a:lvl1pPr marL="0" indent="0" algn="ctr">
              <a:lnSpc>
                <a:spcPct val="125000"/>
              </a:lnSpc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</p:txBody>
      </p:sp>
      <p:sp>
        <p:nvSpPr>
          <p:cNvPr id="5" name="Date Placeholder 4"/>
          <p:cNvSpPr/>
          <p:nvPr>
            <p:ph type="dt" sz="half" idx="10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Footer Placeholder 5"/>
          <p:cNvSpPr/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Slide Number Placeholder 6"/>
          <p:cNvSpPr/>
          <p:nvPr>
            <p:ph type="sldNum" sz="quarter" idx="12"/>
          </p:nvPr>
        </p:nvSpPr>
        <p:spPr/>
        <p:txBody>
          <a:bodyPr/>
          <a:lstStyle/>
          <a:p>
            <a:fld id="{5571450D-DA25-4221-86B2-FBE23F8B94BF}" type="slidenum">
              <a:rPr lang="en-US" altLang="zh-CN" smtClean="0"/>
            </a:fld>
            <a:endParaRPr lang="en-US" altLang="zh-CN"/>
          </a:p>
        </p:txBody>
      </p:sp>
    </p:spTree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/>
          <p:nvPr>
            <p:ph type="title"/>
          </p:nvPr>
        </p:nvSpPr>
        <p:spPr>
          <a:xfrm>
            <a:off x="1679576" y="228600"/>
            <a:ext cx="5711824" cy="895350"/>
          </a:xfrm>
        </p:spPr>
        <p:txBody>
          <a:bodyPr anchor="b"/>
          <a:lstStyle>
            <a:lvl1pPr algn="ctr">
              <a:lnSpc>
                <a:spcPct val="100000"/>
              </a:lnSpc>
              <a:defRPr sz="2800" b="0"/>
            </a:lvl1pPr>
          </a:lstStyle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Picture Placeholder 2"/>
          <p:cNvSpPr/>
          <p:nvPr>
            <p:ph type="pic" idx="1"/>
          </p:nvPr>
        </p:nvSpPr>
        <p:spPr>
          <a:xfrm>
            <a:off x="1508126" y="1143000"/>
            <a:ext cx="6054724" cy="4541044"/>
          </a:xfrm>
          <a:ln w="76200">
            <a:solidFill>
              <a:schemeClr val="bg1"/>
            </a:solidFill>
          </a:ln>
          <a:effectLst>
            <a:outerShdw blurRad="88900" dist="50800" dir="5400000" algn="ctr" rotWithShape="0">
              <a:srgbClr val="000000">
                <a:alpha val="25000"/>
              </a:srgbClr>
            </a:outerShdw>
          </a:effectLst>
        </p:spPr>
        <p:txBody>
          <a:bodyPr anchor="t"/>
          <a:lstStyle>
            <a:lvl1pPr marL="0" indent="0" algn="ctr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zh-CN" altLang="en-US"/>
              <a:t>单击图标添加图片</a:t>
            </a:r>
            <a:endParaRPr lang="en-US" dirty="0"/>
          </a:p>
        </p:txBody>
      </p:sp>
      <p:sp>
        <p:nvSpPr>
          <p:cNvPr id="4" name="Text Placeholder 3"/>
          <p:cNvSpPr/>
          <p:nvPr>
            <p:ph type="body" sz="half" idx="2"/>
          </p:nvPr>
        </p:nvSpPr>
        <p:spPr>
          <a:xfrm>
            <a:off x="1679576" y="5810250"/>
            <a:ext cx="5711824" cy="533400"/>
          </a:xfrm>
        </p:spPr>
        <p:txBody>
          <a:bodyPr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</p:txBody>
      </p:sp>
      <p:sp>
        <p:nvSpPr>
          <p:cNvPr id="5" name="Date Placeholder 4"/>
          <p:cNvSpPr/>
          <p:nvPr>
            <p:ph type="dt" sz="half" idx="10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Footer Placeholder 5"/>
          <p:cNvSpPr/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Slide Number Placeholder 6"/>
          <p:cNvSpPr/>
          <p:nvPr>
            <p:ph type="sldNum" sz="quarter" idx="12"/>
          </p:nvPr>
        </p:nvSpPr>
        <p:spPr/>
        <p:txBody>
          <a:bodyPr/>
          <a:lstStyle/>
          <a:p>
            <a:fld id="{F4350D45-2C81-4F62-900E-2CCD0CB50662}" type="slidenum">
              <a:rPr lang="en-US" altLang="zh-CN" smtClean="0"/>
            </a:fld>
            <a:endParaRPr lang="en-US" altLang="zh-CN"/>
          </a:p>
        </p:txBody>
      </p:sp>
    </p:spTree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/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Vertical Text Placeholder 2"/>
          <p:cNvSpPr/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en-US"/>
          </a:p>
        </p:txBody>
      </p:sp>
      <p:sp>
        <p:nvSpPr>
          <p:cNvPr id="4" name="Date Placeholder 3"/>
          <p:cNvSpPr/>
          <p:nvPr>
            <p:ph type="dt" sz="half" idx="10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5" name="Footer Placeholder 4"/>
          <p:cNvSpPr/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Slide Number Placeholder 5"/>
          <p:cNvSpPr/>
          <p:nvPr>
            <p:ph type="sldNum" sz="quarter" idx="12"/>
          </p:nvPr>
        </p:nvSpPr>
        <p:spPr/>
        <p:txBody>
          <a:bodyPr/>
          <a:lstStyle/>
          <a:p>
            <a:fld id="{FD62AE7F-91BC-46A8-923A-2FFE59703368}" type="slidenum">
              <a:rPr lang="en-US" altLang="zh-CN" smtClean="0"/>
            </a:fld>
            <a:endParaRPr lang="en-US" altLang="zh-CN"/>
          </a:p>
        </p:txBody>
      </p:sp>
    </p:spTree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垂直排列标题与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/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Vertical Text Placeholder 2"/>
          <p:cNvSpPr/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en-US"/>
          </a:p>
        </p:txBody>
      </p:sp>
      <p:sp>
        <p:nvSpPr>
          <p:cNvPr id="4" name="Date Placeholder 3"/>
          <p:cNvSpPr/>
          <p:nvPr>
            <p:ph type="dt" sz="half" idx="10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5" name="Footer Placeholder 4"/>
          <p:cNvSpPr/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Slide Number Placeholder 5"/>
          <p:cNvSpPr/>
          <p:nvPr>
            <p:ph type="sldNum" sz="quarter" idx="12"/>
          </p:nvPr>
        </p:nvSpPr>
        <p:spPr/>
        <p:txBody>
          <a:bodyPr/>
          <a:lstStyle/>
          <a:p>
            <a:fld id="{345A3E52-B309-4112-95D7-74EFCDBE49F7}" type="slidenum">
              <a:rPr lang="en-US" altLang="zh-CN" smtClean="0"/>
            </a:fld>
            <a:endParaRPr lang="en-US" altLang="zh-CN"/>
          </a:p>
        </p:txBody>
      </p:sp>
    </p:spTree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8999" name="标题 1"/>
          <p:cNvSpPr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1049000" name="副标题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zh-CN" altLang="en-US"/>
              <a:t>单击此处编辑母版副标题样式</a:t>
            </a:r>
            <a:endParaRPr lang="zh-CN" altLang="en-US"/>
          </a:p>
        </p:txBody>
      </p:sp>
      <p:sp>
        <p:nvSpPr>
          <p:cNvPr id="1049001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97B5FA-0921-464F-AAE1-844C04324D75}" type="datetimeFigureOut">
              <a:rPr lang="zh-CN" altLang="en-US" smtClean="0"/>
            </a:fld>
            <a:endParaRPr lang="zh-CN" altLang="en-US"/>
          </a:p>
        </p:txBody>
      </p:sp>
      <p:sp>
        <p:nvSpPr>
          <p:cNvPr id="1049002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1049003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5CE74E-AB26-4998-AD42-012C4C1AD076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9629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1049630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zh-CN" altLang="en-US"/>
          </a:p>
        </p:txBody>
      </p:sp>
      <p:sp>
        <p:nvSpPr>
          <p:cNvPr id="1049631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97B5FA-0921-464F-AAE1-844C04324D75}" type="datetimeFigureOut">
              <a:rPr lang="zh-CN" altLang="en-US" smtClean="0"/>
            </a:fld>
            <a:endParaRPr lang="zh-CN" altLang="en-US"/>
          </a:p>
        </p:txBody>
      </p:sp>
      <p:sp>
        <p:nvSpPr>
          <p:cNvPr id="1049632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1049633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5CE74E-AB26-4998-AD42-012C4C1AD076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9499" name="标题 1"/>
          <p:cNvSpPr>
            <a:spLocks noGrp="1"/>
          </p:cNvSpPr>
          <p:nvPr>
            <p:ph type="title"/>
          </p:nvPr>
        </p:nvSpPr>
        <p:spPr>
          <a:xfrm>
            <a:off x="623888" y="1709738"/>
            <a:ext cx="78867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1049500" name="文本占位符 2"/>
          <p:cNvSpPr>
            <a:spLocks noGrp="1"/>
          </p:cNvSpPr>
          <p:nvPr>
            <p:ph type="body" idx="1"/>
          </p:nvPr>
        </p:nvSpPr>
        <p:spPr>
          <a:xfrm>
            <a:off x="623888" y="4589463"/>
            <a:ext cx="78867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</p:txBody>
      </p:sp>
      <p:sp>
        <p:nvSpPr>
          <p:cNvPr id="1049501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97B5FA-0921-464F-AAE1-844C04324D75}" type="datetimeFigureOut">
              <a:rPr lang="zh-CN" altLang="en-US" smtClean="0"/>
            </a:fld>
            <a:endParaRPr lang="zh-CN" altLang="en-US"/>
          </a:p>
        </p:txBody>
      </p:sp>
      <p:sp>
        <p:nvSpPr>
          <p:cNvPr id="1049502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1049503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5CE74E-AB26-4998-AD42-012C4C1AD076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9746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1049747" name="内容占位符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86200" cy="435133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zh-CN" altLang="en-US"/>
          </a:p>
        </p:txBody>
      </p:sp>
      <p:sp>
        <p:nvSpPr>
          <p:cNvPr id="1049748" name="内容占位符 3"/>
          <p:cNvSpPr>
            <a:spLocks noGrp="1"/>
          </p:cNvSpPr>
          <p:nvPr>
            <p:ph sz="half" idx="2"/>
          </p:nvPr>
        </p:nvSpPr>
        <p:spPr>
          <a:xfrm>
            <a:off x="4629150" y="1825625"/>
            <a:ext cx="3886200" cy="435133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zh-CN" altLang="en-US"/>
          </a:p>
        </p:txBody>
      </p:sp>
      <p:sp>
        <p:nvSpPr>
          <p:cNvPr id="1049749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97B5FA-0921-464F-AAE1-844C04324D75}" type="datetimeFigureOut">
              <a:rPr lang="zh-CN" altLang="en-US" smtClean="0"/>
            </a:fld>
            <a:endParaRPr lang="zh-CN" altLang="en-US"/>
          </a:p>
        </p:txBody>
      </p:sp>
      <p:sp>
        <p:nvSpPr>
          <p:cNvPr id="1049750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1049751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5CE74E-AB26-4998-AD42-012C4C1AD076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图片 16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796" b="7796"/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18" name="矩形 17"/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bg1">
              <a:alpha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350" dirty="0"/>
          </a:p>
        </p:txBody>
      </p:sp>
      <p:sp>
        <p:nvSpPr>
          <p:cNvPr id="135" name="矩形 134"/>
          <p:cNvSpPr/>
          <p:nvPr userDrawn="1"/>
        </p:nvSpPr>
        <p:spPr>
          <a:xfrm>
            <a:off x="9064520" y="319741"/>
            <a:ext cx="89822" cy="274912"/>
          </a:xfrm>
          <a:prstGeom prst="rect">
            <a:avLst/>
          </a:prstGeom>
          <a:gradFill flip="none" rotWithShape="1">
            <a:gsLst>
              <a:gs pos="0">
                <a:srgbClr val="A22B17">
                  <a:lumMod val="94000"/>
                  <a:lumOff val="6000"/>
                </a:srgbClr>
              </a:gs>
              <a:gs pos="100000">
                <a:srgbClr val="A22B17">
                  <a:alpha val="72000"/>
                  <a:lumMod val="85000"/>
                  <a:lumOff val="15000"/>
                </a:srgb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zh-CN" altLang="en-US" sz="1350"/>
          </a:p>
        </p:txBody>
      </p:sp>
      <p:grpSp>
        <p:nvGrpSpPr>
          <p:cNvPr id="13" name="组合 12"/>
          <p:cNvGrpSpPr/>
          <p:nvPr userDrawn="1"/>
        </p:nvGrpSpPr>
        <p:grpSpPr>
          <a:xfrm>
            <a:off x="-5370" y="295364"/>
            <a:ext cx="779843" cy="381305"/>
            <a:chOff x="-12553" y="243604"/>
            <a:chExt cx="1039791" cy="381305"/>
          </a:xfrm>
        </p:grpSpPr>
        <p:grpSp>
          <p:nvGrpSpPr>
            <p:cNvPr id="7" name="组合 6"/>
            <p:cNvGrpSpPr/>
            <p:nvPr userDrawn="1"/>
          </p:nvGrpSpPr>
          <p:grpSpPr>
            <a:xfrm>
              <a:off x="-12553" y="243604"/>
              <a:ext cx="889307" cy="381305"/>
              <a:chOff x="-12553" y="243604"/>
              <a:chExt cx="889307" cy="381305"/>
            </a:xfrm>
          </p:grpSpPr>
          <p:pic>
            <p:nvPicPr>
              <p:cNvPr id="6" name="图片 5"/>
              <p:cNvPicPr>
                <a:picLocks noChangeAspect="1"/>
              </p:cNvPicPr>
              <p:nvPr userDrawn="1"/>
            </p:nvPicPr>
            <p:blipFill rotWithShape="1">
              <a:blip r:embed="rId3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t="17800" b="17765"/>
              <a:stretch>
                <a:fillRect/>
              </a:stretch>
            </p:blipFill>
            <p:spPr>
              <a:xfrm>
                <a:off x="-12553" y="243604"/>
                <a:ext cx="887999" cy="381305"/>
              </a:xfrm>
              <a:prstGeom prst="rect">
                <a:avLst/>
              </a:prstGeom>
            </p:spPr>
          </p:pic>
          <p:sp>
            <p:nvSpPr>
              <p:cNvPr id="4" name="矩形 3"/>
              <p:cNvSpPr/>
              <p:nvPr userDrawn="1"/>
            </p:nvSpPr>
            <p:spPr>
              <a:xfrm>
                <a:off x="-11245" y="243604"/>
                <a:ext cx="887999" cy="381305"/>
              </a:xfrm>
              <a:prstGeom prst="rect">
                <a:avLst/>
              </a:prstGeom>
              <a:gradFill flip="none" rotWithShape="1">
                <a:gsLst>
                  <a:gs pos="0">
                    <a:srgbClr val="A22B17">
                      <a:lumMod val="94000"/>
                      <a:lumOff val="6000"/>
                    </a:srgbClr>
                  </a:gs>
                  <a:gs pos="100000">
                    <a:srgbClr val="A22B17">
                      <a:alpha val="72000"/>
                      <a:lumMod val="85000"/>
                      <a:lumOff val="15000"/>
                    </a:srgbClr>
                  </a:gs>
                </a:gsLst>
                <a:lin ang="5400000" scaled="1"/>
                <a:tileRect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lvl="0" algn="ctr"/>
                <a:endParaRPr lang="zh-CN" altLang="en-US" sz="1350" dirty="0"/>
              </a:p>
            </p:txBody>
          </p:sp>
        </p:grpSp>
        <p:sp>
          <p:nvSpPr>
            <p:cNvPr id="130" name="矩形 129"/>
            <p:cNvSpPr/>
            <p:nvPr userDrawn="1"/>
          </p:nvSpPr>
          <p:spPr>
            <a:xfrm>
              <a:off x="924704" y="243604"/>
              <a:ext cx="102534" cy="381305"/>
            </a:xfrm>
            <a:prstGeom prst="rect">
              <a:avLst/>
            </a:prstGeom>
            <a:gradFill flip="none" rotWithShape="1">
              <a:gsLst>
                <a:gs pos="0">
                  <a:srgbClr val="A22B17">
                    <a:lumMod val="94000"/>
                    <a:lumOff val="6000"/>
                  </a:srgbClr>
                </a:gs>
                <a:gs pos="100000">
                  <a:srgbClr val="A22B17">
                    <a:alpha val="72000"/>
                    <a:lumMod val="85000"/>
                    <a:lumOff val="15000"/>
                  </a:srgb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zh-CN" altLang="en-US" sz="1350"/>
            </a:p>
          </p:txBody>
        </p:sp>
      </p:grpSp>
      <p:grpSp>
        <p:nvGrpSpPr>
          <p:cNvPr id="131" name="组合 130"/>
          <p:cNvGrpSpPr/>
          <p:nvPr userDrawn="1"/>
        </p:nvGrpSpPr>
        <p:grpSpPr>
          <a:xfrm>
            <a:off x="6802120" y="225425"/>
            <a:ext cx="2115820" cy="453390"/>
            <a:chOff x="9721458" y="225521"/>
            <a:chExt cx="2169381" cy="453584"/>
          </a:xfrm>
        </p:grpSpPr>
        <p:sp>
          <p:nvSpPr>
            <p:cNvPr id="132" name="îS1îḋé"/>
            <p:cNvSpPr/>
            <p:nvPr/>
          </p:nvSpPr>
          <p:spPr bwMode="auto">
            <a:xfrm>
              <a:off x="9721458" y="225521"/>
              <a:ext cx="453179" cy="453584"/>
            </a:xfrm>
            <a:prstGeom prst="ellipse">
              <a:avLst/>
            </a:prstGeom>
            <a:noFill/>
            <a:ln w="15875" cap="flat">
              <a:solidFill>
                <a:srgbClr val="CA351C"/>
              </a:solidFill>
              <a:prstDash val="solid"/>
              <a:miter lim="800000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anchor="ctr"/>
            <a:lstStyle/>
            <a:p>
              <a:pPr algn="r"/>
              <a:endParaRPr sz="1350"/>
            </a:p>
          </p:txBody>
        </p:sp>
        <p:sp>
          <p:nvSpPr>
            <p:cNvPr id="133" name="îṣḷïďé"/>
            <p:cNvSpPr/>
            <p:nvPr/>
          </p:nvSpPr>
          <p:spPr bwMode="auto">
            <a:xfrm>
              <a:off x="9777346" y="281409"/>
              <a:ext cx="340998" cy="341403"/>
            </a:xfrm>
            <a:prstGeom prst="ellipse">
              <a:avLst/>
            </a:prstGeom>
            <a:noFill/>
            <a:ln w="9525" cap="flat">
              <a:solidFill>
                <a:srgbClr val="B8311A"/>
              </a:solidFill>
              <a:prstDash val="solid"/>
              <a:miter lim="800000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anchor="ctr"/>
            <a:lstStyle/>
            <a:p>
              <a:pPr algn="r"/>
              <a:endParaRPr sz="1350"/>
            </a:p>
          </p:txBody>
        </p:sp>
        <p:grpSp>
          <p:nvGrpSpPr>
            <p:cNvPr id="134" name="组合 133"/>
            <p:cNvGrpSpPr/>
            <p:nvPr userDrawn="1"/>
          </p:nvGrpSpPr>
          <p:grpSpPr>
            <a:xfrm>
              <a:off x="9742315" y="240303"/>
              <a:ext cx="411466" cy="424020"/>
              <a:chOff x="1641372" y="4491628"/>
              <a:chExt cx="1612900" cy="1662113"/>
            </a:xfrm>
            <a:solidFill>
              <a:srgbClr val="CA351C"/>
            </a:solidFill>
          </p:grpSpPr>
          <p:sp>
            <p:nvSpPr>
              <p:cNvPr id="188" name="ïś1íďê"/>
              <p:cNvSpPr/>
              <p:nvPr/>
            </p:nvSpPr>
            <p:spPr bwMode="auto">
              <a:xfrm>
                <a:off x="2889147" y="4701178"/>
                <a:ext cx="153988" cy="138113"/>
              </a:xfrm>
              <a:custGeom>
                <a:avLst/>
                <a:gdLst>
                  <a:gd name="T0" fmla="*/ 62 w 83"/>
                  <a:gd name="T1" fmla="*/ 8 h 75"/>
                  <a:gd name="T2" fmla="*/ 53 w 83"/>
                  <a:gd name="T3" fmla="*/ 10 h 75"/>
                  <a:gd name="T4" fmla="*/ 57 w 83"/>
                  <a:gd name="T5" fmla="*/ 0 h 75"/>
                  <a:gd name="T6" fmla="*/ 44 w 83"/>
                  <a:gd name="T7" fmla="*/ 21 h 75"/>
                  <a:gd name="T8" fmla="*/ 58 w 83"/>
                  <a:gd name="T9" fmla="*/ 11 h 75"/>
                  <a:gd name="T10" fmla="*/ 54 w 83"/>
                  <a:gd name="T11" fmla="*/ 18 h 75"/>
                  <a:gd name="T12" fmla="*/ 28 w 83"/>
                  <a:gd name="T13" fmla="*/ 18 h 75"/>
                  <a:gd name="T14" fmla="*/ 19 w 83"/>
                  <a:gd name="T15" fmla="*/ 17 h 75"/>
                  <a:gd name="T16" fmla="*/ 25 w 83"/>
                  <a:gd name="T17" fmla="*/ 12 h 75"/>
                  <a:gd name="T18" fmla="*/ 1 w 83"/>
                  <a:gd name="T19" fmla="*/ 30 h 75"/>
                  <a:gd name="T20" fmla="*/ 13 w 83"/>
                  <a:gd name="T21" fmla="*/ 24 h 75"/>
                  <a:gd name="T22" fmla="*/ 36 w 83"/>
                  <a:gd name="T23" fmla="*/ 28 h 75"/>
                  <a:gd name="T24" fmla="*/ 22 w 83"/>
                  <a:gd name="T25" fmla="*/ 35 h 75"/>
                  <a:gd name="T26" fmla="*/ 45 w 83"/>
                  <a:gd name="T27" fmla="*/ 41 h 75"/>
                  <a:gd name="T28" fmla="*/ 42 w 83"/>
                  <a:gd name="T29" fmla="*/ 41 h 75"/>
                  <a:gd name="T30" fmla="*/ 35 w 83"/>
                  <a:gd name="T31" fmla="*/ 40 h 75"/>
                  <a:gd name="T32" fmla="*/ 37 w 83"/>
                  <a:gd name="T33" fmla="*/ 45 h 75"/>
                  <a:gd name="T34" fmla="*/ 12 w 83"/>
                  <a:gd name="T35" fmla="*/ 34 h 75"/>
                  <a:gd name="T36" fmla="*/ 9 w 83"/>
                  <a:gd name="T37" fmla="*/ 35 h 75"/>
                  <a:gd name="T38" fmla="*/ 20 w 83"/>
                  <a:gd name="T39" fmla="*/ 64 h 75"/>
                  <a:gd name="T40" fmla="*/ 0 w 83"/>
                  <a:gd name="T41" fmla="*/ 57 h 75"/>
                  <a:gd name="T42" fmla="*/ 35 w 83"/>
                  <a:gd name="T43" fmla="*/ 58 h 75"/>
                  <a:gd name="T44" fmla="*/ 46 w 83"/>
                  <a:gd name="T45" fmla="*/ 57 h 75"/>
                  <a:gd name="T46" fmla="*/ 42 w 83"/>
                  <a:gd name="T47" fmla="*/ 48 h 75"/>
                  <a:gd name="T48" fmla="*/ 62 w 83"/>
                  <a:gd name="T49" fmla="*/ 57 h 75"/>
                  <a:gd name="T50" fmla="*/ 61 w 83"/>
                  <a:gd name="T51" fmla="*/ 35 h 75"/>
                  <a:gd name="T52" fmla="*/ 62 w 83"/>
                  <a:gd name="T53" fmla="*/ 34 h 75"/>
                  <a:gd name="T54" fmla="*/ 66 w 83"/>
                  <a:gd name="T55" fmla="*/ 16 h 75"/>
                  <a:gd name="T56" fmla="*/ 63 w 83"/>
                  <a:gd name="T57" fmla="*/ 44 h 75"/>
                  <a:gd name="T58" fmla="*/ 54 w 83"/>
                  <a:gd name="T59" fmla="*/ 32 h 75"/>
                  <a:gd name="T60" fmla="*/ 60 w 83"/>
                  <a:gd name="T61" fmla="*/ 27 h 75"/>
                  <a:gd name="T62" fmla="*/ 67 w 83"/>
                  <a:gd name="T63" fmla="*/ 18 h 75"/>
                  <a:gd name="T64" fmla="*/ 77 w 83"/>
                  <a:gd name="T65" fmla="*/ 23 h 75"/>
                  <a:gd name="T66" fmla="*/ 60 w 83"/>
                  <a:gd name="T67" fmla="*/ 27 h 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83" h="75">
                    <a:moveTo>
                      <a:pt x="66" y="16"/>
                    </a:moveTo>
                    <a:cubicBezTo>
                      <a:pt x="65" y="13"/>
                      <a:pt x="63" y="11"/>
                      <a:pt x="62" y="8"/>
                    </a:cubicBezTo>
                    <a:cubicBezTo>
                      <a:pt x="59" y="9"/>
                      <a:pt x="57" y="9"/>
                      <a:pt x="54" y="10"/>
                    </a:cubicBezTo>
                    <a:cubicBezTo>
                      <a:pt x="54" y="10"/>
                      <a:pt x="53" y="10"/>
                      <a:pt x="53" y="10"/>
                    </a:cubicBezTo>
                    <a:cubicBezTo>
                      <a:pt x="54" y="7"/>
                      <a:pt x="57" y="6"/>
                      <a:pt x="59" y="3"/>
                    </a:cubicBezTo>
                    <a:cubicBezTo>
                      <a:pt x="58" y="2"/>
                      <a:pt x="58" y="1"/>
                      <a:pt x="57" y="0"/>
                    </a:cubicBezTo>
                    <a:cubicBezTo>
                      <a:pt x="48" y="1"/>
                      <a:pt x="37" y="9"/>
                      <a:pt x="42" y="19"/>
                    </a:cubicBezTo>
                    <a:cubicBezTo>
                      <a:pt x="42" y="19"/>
                      <a:pt x="43" y="20"/>
                      <a:pt x="44" y="21"/>
                    </a:cubicBezTo>
                    <a:cubicBezTo>
                      <a:pt x="47" y="19"/>
                      <a:pt x="48" y="15"/>
                      <a:pt x="51" y="14"/>
                    </a:cubicBezTo>
                    <a:cubicBezTo>
                      <a:pt x="53" y="13"/>
                      <a:pt x="55" y="13"/>
                      <a:pt x="58" y="11"/>
                    </a:cubicBezTo>
                    <a:cubicBezTo>
                      <a:pt x="58" y="11"/>
                      <a:pt x="59" y="11"/>
                      <a:pt x="59" y="11"/>
                    </a:cubicBezTo>
                    <a:cubicBezTo>
                      <a:pt x="57" y="14"/>
                      <a:pt x="56" y="16"/>
                      <a:pt x="54" y="18"/>
                    </a:cubicBezTo>
                    <a:cubicBezTo>
                      <a:pt x="54" y="21"/>
                      <a:pt x="55" y="24"/>
                      <a:pt x="54" y="27"/>
                    </a:cubicBezTo>
                    <a:cubicBezTo>
                      <a:pt x="54" y="27"/>
                      <a:pt x="30" y="18"/>
                      <a:pt x="28" y="18"/>
                    </a:cubicBezTo>
                    <a:cubicBezTo>
                      <a:pt x="25" y="17"/>
                      <a:pt x="22" y="17"/>
                      <a:pt x="20" y="17"/>
                    </a:cubicBezTo>
                    <a:cubicBezTo>
                      <a:pt x="19" y="17"/>
                      <a:pt x="19" y="17"/>
                      <a:pt x="19" y="17"/>
                    </a:cubicBezTo>
                    <a:cubicBezTo>
                      <a:pt x="22" y="15"/>
                      <a:pt x="23" y="15"/>
                      <a:pt x="25" y="13"/>
                    </a:cubicBezTo>
                    <a:cubicBezTo>
                      <a:pt x="25" y="12"/>
                      <a:pt x="25" y="12"/>
                      <a:pt x="25" y="12"/>
                    </a:cubicBezTo>
                    <a:cubicBezTo>
                      <a:pt x="18" y="12"/>
                      <a:pt x="11" y="16"/>
                      <a:pt x="4" y="18"/>
                    </a:cubicBezTo>
                    <a:cubicBezTo>
                      <a:pt x="0" y="22"/>
                      <a:pt x="0" y="25"/>
                      <a:pt x="1" y="30"/>
                    </a:cubicBezTo>
                    <a:cubicBezTo>
                      <a:pt x="3" y="31"/>
                      <a:pt x="3" y="31"/>
                      <a:pt x="3" y="31"/>
                    </a:cubicBezTo>
                    <a:cubicBezTo>
                      <a:pt x="6" y="29"/>
                      <a:pt x="9" y="26"/>
                      <a:pt x="13" y="24"/>
                    </a:cubicBezTo>
                    <a:cubicBezTo>
                      <a:pt x="19" y="20"/>
                      <a:pt x="30" y="22"/>
                      <a:pt x="37" y="27"/>
                    </a:cubicBezTo>
                    <a:cubicBezTo>
                      <a:pt x="37" y="28"/>
                      <a:pt x="36" y="28"/>
                      <a:pt x="36" y="28"/>
                    </a:cubicBezTo>
                    <a:cubicBezTo>
                      <a:pt x="31" y="29"/>
                      <a:pt x="28" y="28"/>
                      <a:pt x="22" y="32"/>
                    </a:cubicBezTo>
                    <a:cubicBezTo>
                      <a:pt x="22" y="33"/>
                      <a:pt x="22" y="34"/>
                      <a:pt x="22" y="35"/>
                    </a:cubicBezTo>
                    <a:cubicBezTo>
                      <a:pt x="22" y="37"/>
                      <a:pt x="22" y="37"/>
                      <a:pt x="24" y="39"/>
                    </a:cubicBezTo>
                    <a:cubicBezTo>
                      <a:pt x="31" y="37"/>
                      <a:pt x="37" y="36"/>
                      <a:pt x="45" y="41"/>
                    </a:cubicBezTo>
                    <a:cubicBezTo>
                      <a:pt x="44" y="41"/>
                      <a:pt x="44" y="41"/>
                      <a:pt x="44" y="41"/>
                    </a:cubicBezTo>
                    <a:cubicBezTo>
                      <a:pt x="43" y="41"/>
                      <a:pt x="42" y="41"/>
                      <a:pt x="42" y="41"/>
                    </a:cubicBezTo>
                    <a:cubicBezTo>
                      <a:pt x="41" y="40"/>
                      <a:pt x="40" y="39"/>
                      <a:pt x="39" y="39"/>
                    </a:cubicBezTo>
                    <a:cubicBezTo>
                      <a:pt x="37" y="41"/>
                      <a:pt x="37" y="41"/>
                      <a:pt x="35" y="40"/>
                    </a:cubicBezTo>
                    <a:cubicBezTo>
                      <a:pt x="35" y="40"/>
                      <a:pt x="34" y="41"/>
                      <a:pt x="34" y="41"/>
                    </a:cubicBezTo>
                    <a:cubicBezTo>
                      <a:pt x="35" y="43"/>
                      <a:pt x="35" y="43"/>
                      <a:pt x="37" y="45"/>
                    </a:cubicBezTo>
                    <a:cubicBezTo>
                      <a:pt x="36" y="46"/>
                      <a:pt x="36" y="47"/>
                      <a:pt x="35" y="48"/>
                    </a:cubicBezTo>
                    <a:cubicBezTo>
                      <a:pt x="27" y="44"/>
                      <a:pt x="20" y="40"/>
                      <a:pt x="12" y="34"/>
                    </a:cubicBezTo>
                    <a:cubicBezTo>
                      <a:pt x="11" y="34"/>
                      <a:pt x="11" y="34"/>
                      <a:pt x="10" y="34"/>
                    </a:cubicBezTo>
                    <a:cubicBezTo>
                      <a:pt x="9" y="34"/>
                      <a:pt x="9" y="35"/>
                      <a:pt x="9" y="35"/>
                    </a:cubicBezTo>
                    <a:cubicBezTo>
                      <a:pt x="11" y="55"/>
                      <a:pt x="20" y="44"/>
                      <a:pt x="31" y="54"/>
                    </a:cubicBezTo>
                    <a:cubicBezTo>
                      <a:pt x="27" y="58"/>
                      <a:pt x="23" y="61"/>
                      <a:pt x="20" y="64"/>
                    </a:cubicBezTo>
                    <a:cubicBezTo>
                      <a:pt x="15" y="63"/>
                      <a:pt x="6" y="55"/>
                      <a:pt x="1" y="56"/>
                    </a:cubicBezTo>
                    <a:cubicBezTo>
                      <a:pt x="1" y="56"/>
                      <a:pt x="1" y="56"/>
                      <a:pt x="0" y="57"/>
                    </a:cubicBezTo>
                    <a:cubicBezTo>
                      <a:pt x="2" y="62"/>
                      <a:pt x="7" y="67"/>
                      <a:pt x="9" y="72"/>
                    </a:cubicBezTo>
                    <a:cubicBezTo>
                      <a:pt x="17" y="75"/>
                      <a:pt x="26" y="66"/>
                      <a:pt x="35" y="58"/>
                    </a:cubicBezTo>
                    <a:cubicBezTo>
                      <a:pt x="37" y="60"/>
                      <a:pt x="39" y="63"/>
                      <a:pt x="42" y="65"/>
                    </a:cubicBezTo>
                    <a:cubicBezTo>
                      <a:pt x="46" y="63"/>
                      <a:pt x="46" y="60"/>
                      <a:pt x="46" y="57"/>
                    </a:cubicBezTo>
                    <a:cubicBezTo>
                      <a:pt x="45" y="54"/>
                      <a:pt x="43" y="53"/>
                      <a:pt x="40" y="50"/>
                    </a:cubicBezTo>
                    <a:cubicBezTo>
                      <a:pt x="41" y="49"/>
                      <a:pt x="42" y="48"/>
                      <a:pt x="42" y="48"/>
                    </a:cubicBezTo>
                    <a:cubicBezTo>
                      <a:pt x="46" y="48"/>
                      <a:pt x="49" y="48"/>
                      <a:pt x="53" y="46"/>
                    </a:cubicBezTo>
                    <a:cubicBezTo>
                      <a:pt x="56" y="49"/>
                      <a:pt x="59" y="53"/>
                      <a:pt x="62" y="57"/>
                    </a:cubicBezTo>
                    <a:cubicBezTo>
                      <a:pt x="65" y="56"/>
                      <a:pt x="68" y="55"/>
                      <a:pt x="70" y="52"/>
                    </a:cubicBezTo>
                    <a:cubicBezTo>
                      <a:pt x="72" y="47"/>
                      <a:pt x="66" y="40"/>
                      <a:pt x="61" y="35"/>
                    </a:cubicBezTo>
                    <a:cubicBezTo>
                      <a:pt x="61" y="35"/>
                      <a:pt x="61" y="35"/>
                      <a:pt x="61" y="35"/>
                    </a:cubicBezTo>
                    <a:cubicBezTo>
                      <a:pt x="62" y="34"/>
                      <a:pt x="62" y="34"/>
                      <a:pt x="62" y="34"/>
                    </a:cubicBezTo>
                    <a:cubicBezTo>
                      <a:pt x="69" y="34"/>
                      <a:pt x="72" y="37"/>
                      <a:pt x="79" y="32"/>
                    </a:cubicBezTo>
                    <a:cubicBezTo>
                      <a:pt x="83" y="17"/>
                      <a:pt x="74" y="21"/>
                      <a:pt x="66" y="16"/>
                    </a:cubicBezTo>
                    <a:close/>
                    <a:moveTo>
                      <a:pt x="63" y="44"/>
                    </a:moveTo>
                    <a:cubicBezTo>
                      <a:pt x="63" y="44"/>
                      <a:pt x="63" y="44"/>
                      <a:pt x="63" y="44"/>
                    </a:cubicBezTo>
                    <a:cubicBezTo>
                      <a:pt x="55" y="42"/>
                      <a:pt x="46" y="34"/>
                      <a:pt x="38" y="32"/>
                    </a:cubicBezTo>
                    <a:cubicBezTo>
                      <a:pt x="43" y="28"/>
                      <a:pt x="48" y="31"/>
                      <a:pt x="54" y="32"/>
                    </a:cubicBezTo>
                    <a:cubicBezTo>
                      <a:pt x="57" y="36"/>
                      <a:pt x="60" y="40"/>
                      <a:pt x="63" y="44"/>
                    </a:cubicBezTo>
                    <a:close/>
                    <a:moveTo>
                      <a:pt x="60" y="27"/>
                    </a:moveTo>
                    <a:cubicBezTo>
                      <a:pt x="60" y="27"/>
                      <a:pt x="60" y="26"/>
                      <a:pt x="59" y="26"/>
                    </a:cubicBezTo>
                    <a:cubicBezTo>
                      <a:pt x="61" y="23"/>
                      <a:pt x="63" y="20"/>
                      <a:pt x="67" y="18"/>
                    </a:cubicBezTo>
                    <a:cubicBezTo>
                      <a:pt x="69" y="19"/>
                      <a:pt x="71" y="19"/>
                      <a:pt x="74" y="20"/>
                    </a:cubicBezTo>
                    <a:cubicBezTo>
                      <a:pt x="75" y="21"/>
                      <a:pt x="76" y="22"/>
                      <a:pt x="77" y="23"/>
                    </a:cubicBezTo>
                    <a:cubicBezTo>
                      <a:pt x="77" y="24"/>
                      <a:pt x="77" y="24"/>
                      <a:pt x="77" y="25"/>
                    </a:cubicBezTo>
                    <a:cubicBezTo>
                      <a:pt x="72" y="29"/>
                      <a:pt x="66" y="27"/>
                      <a:pt x="60" y="2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189" name="ïṩḻîḓé"/>
              <p:cNvSpPr/>
              <p:nvPr/>
            </p:nvSpPr>
            <p:spPr bwMode="auto">
              <a:xfrm>
                <a:off x="2728809" y="4582115"/>
                <a:ext cx="101600" cy="147638"/>
              </a:xfrm>
              <a:custGeom>
                <a:avLst/>
                <a:gdLst>
                  <a:gd name="T0" fmla="*/ 47 w 55"/>
                  <a:gd name="T1" fmla="*/ 0 h 80"/>
                  <a:gd name="T2" fmla="*/ 49 w 55"/>
                  <a:gd name="T3" fmla="*/ 20 h 80"/>
                  <a:gd name="T4" fmla="*/ 51 w 55"/>
                  <a:gd name="T5" fmla="*/ 34 h 80"/>
                  <a:gd name="T6" fmla="*/ 28 w 55"/>
                  <a:gd name="T7" fmla="*/ 38 h 80"/>
                  <a:gd name="T8" fmla="*/ 41 w 55"/>
                  <a:gd name="T9" fmla="*/ 68 h 80"/>
                  <a:gd name="T10" fmla="*/ 25 w 55"/>
                  <a:gd name="T11" fmla="*/ 74 h 80"/>
                  <a:gd name="T12" fmla="*/ 26 w 55"/>
                  <a:gd name="T13" fmla="*/ 39 h 80"/>
                  <a:gd name="T14" fmla="*/ 23 w 55"/>
                  <a:gd name="T15" fmla="*/ 40 h 80"/>
                  <a:gd name="T16" fmla="*/ 7 w 55"/>
                  <a:gd name="T17" fmla="*/ 54 h 80"/>
                  <a:gd name="T18" fmla="*/ 0 w 55"/>
                  <a:gd name="T19" fmla="*/ 43 h 80"/>
                  <a:gd name="T20" fmla="*/ 14 w 55"/>
                  <a:gd name="T21" fmla="*/ 28 h 80"/>
                  <a:gd name="T22" fmla="*/ 6 w 55"/>
                  <a:gd name="T23" fmla="*/ 15 h 80"/>
                  <a:gd name="T24" fmla="*/ 7 w 55"/>
                  <a:gd name="T25" fmla="*/ 15 h 80"/>
                  <a:gd name="T26" fmla="*/ 26 w 55"/>
                  <a:gd name="T27" fmla="*/ 18 h 80"/>
                  <a:gd name="T28" fmla="*/ 47 w 55"/>
                  <a:gd name="T29" fmla="*/ 0 h 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55" h="80">
                    <a:moveTo>
                      <a:pt x="47" y="0"/>
                    </a:moveTo>
                    <a:cubicBezTo>
                      <a:pt x="55" y="7"/>
                      <a:pt x="49" y="11"/>
                      <a:pt x="49" y="20"/>
                    </a:cubicBezTo>
                    <a:cubicBezTo>
                      <a:pt x="49" y="25"/>
                      <a:pt x="55" y="25"/>
                      <a:pt x="51" y="34"/>
                    </a:cubicBezTo>
                    <a:cubicBezTo>
                      <a:pt x="44" y="37"/>
                      <a:pt x="34" y="32"/>
                      <a:pt x="28" y="38"/>
                    </a:cubicBezTo>
                    <a:cubicBezTo>
                      <a:pt x="38" y="44"/>
                      <a:pt x="45" y="59"/>
                      <a:pt x="41" y="68"/>
                    </a:cubicBezTo>
                    <a:cubicBezTo>
                      <a:pt x="39" y="74"/>
                      <a:pt x="28" y="80"/>
                      <a:pt x="25" y="74"/>
                    </a:cubicBezTo>
                    <a:cubicBezTo>
                      <a:pt x="19" y="62"/>
                      <a:pt x="39" y="55"/>
                      <a:pt x="26" y="39"/>
                    </a:cubicBezTo>
                    <a:cubicBezTo>
                      <a:pt x="25" y="39"/>
                      <a:pt x="25" y="39"/>
                      <a:pt x="23" y="40"/>
                    </a:cubicBezTo>
                    <a:cubicBezTo>
                      <a:pt x="17" y="44"/>
                      <a:pt x="14" y="52"/>
                      <a:pt x="7" y="54"/>
                    </a:cubicBezTo>
                    <a:cubicBezTo>
                      <a:pt x="2" y="51"/>
                      <a:pt x="2" y="48"/>
                      <a:pt x="0" y="43"/>
                    </a:cubicBezTo>
                    <a:cubicBezTo>
                      <a:pt x="3" y="39"/>
                      <a:pt x="14" y="30"/>
                      <a:pt x="14" y="28"/>
                    </a:cubicBezTo>
                    <a:cubicBezTo>
                      <a:pt x="14" y="25"/>
                      <a:pt x="7" y="19"/>
                      <a:pt x="6" y="15"/>
                    </a:cubicBezTo>
                    <a:cubicBezTo>
                      <a:pt x="6" y="15"/>
                      <a:pt x="7" y="15"/>
                      <a:pt x="7" y="15"/>
                    </a:cubicBezTo>
                    <a:cubicBezTo>
                      <a:pt x="13" y="15"/>
                      <a:pt x="20" y="18"/>
                      <a:pt x="26" y="18"/>
                    </a:cubicBezTo>
                    <a:cubicBezTo>
                      <a:pt x="34" y="17"/>
                      <a:pt x="41" y="5"/>
                      <a:pt x="47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190" name="išḷïḓe"/>
              <p:cNvSpPr/>
              <p:nvPr/>
            </p:nvSpPr>
            <p:spPr bwMode="auto">
              <a:xfrm>
                <a:off x="2490684" y="4510678"/>
                <a:ext cx="144463" cy="160338"/>
              </a:xfrm>
              <a:custGeom>
                <a:avLst/>
                <a:gdLst>
                  <a:gd name="T0" fmla="*/ 55 w 78"/>
                  <a:gd name="T1" fmla="*/ 64 h 87"/>
                  <a:gd name="T2" fmla="*/ 62 w 78"/>
                  <a:gd name="T3" fmla="*/ 50 h 87"/>
                  <a:gd name="T4" fmla="*/ 54 w 78"/>
                  <a:gd name="T5" fmla="*/ 43 h 87"/>
                  <a:gd name="T6" fmla="*/ 69 w 78"/>
                  <a:gd name="T7" fmla="*/ 29 h 87"/>
                  <a:gd name="T8" fmla="*/ 67 w 78"/>
                  <a:gd name="T9" fmla="*/ 21 h 87"/>
                  <a:gd name="T10" fmla="*/ 70 w 78"/>
                  <a:gd name="T11" fmla="*/ 11 h 87"/>
                  <a:gd name="T12" fmla="*/ 69 w 78"/>
                  <a:gd name="T13" fmla="*/ 3 h 87"/>
                  <a:gd name="T14" fmla="*/ 64 w 78"/>
                  <a:gd name="T15" fmla="*/ 0 h 87"/>
                  <a:gd name="T16" fmla="*/ 63 w 78"/>
                  <a:gd name="T17" fmla="*/ 0 h 87"/>
                  <a:gd name="T18" fmla="*/ 63 w 78"/>
                  <a:gd name="T19" fmla="*/ 12 h 87"/>
                  <a:gd name="T20" fmla="*/ 42 w 78"/>
                  <a:gd name="T21" fmla="*/ 25 h 87"/>
                  <a:gd name="T22" fmla="*/ 42 w 78"/>
                  <a:gd name="T23" fmla="*/ 33 h 87"/>
                  <a:gd name="T24" fmla="*/ 33 w 78"/>
                  <a:gd name="T25" fmla="*/ 36 h 87"/>
                  <a:gd name="T26" fmla="*/ 39 w 78"/>
                  <a:gd name="T27" fmla="*/ 33 h 87"/>
                  <a:gd name="T28" fmla="*/ 39 w 78"/>
                  <a:gd name="T29" fmla="*/ 23 h 87"/>
                  <a:gd name="T30" fmla="*/ 36 w 78"/>
                  <a:gd name="T31" fmla="*/ 0 h 87"/>
                  <a:gd name="T32" fmla="*/ 36 w 78"/>
                  <a:gd name="T33" fmla="*/ 0 h 87"/>
                  <a:gd name="T34" fmla="*/ 36 w 78"/>
                  <a:gd name="T35" fmla="*/ 8 h 87"/>
                  <a:gd name="T36" fmla="*/ 30 w 78"/>
                  <a:gd name="T37" fmla="*/ 24 h 87"/>
                  <a:gd name="T38" fmla="*/ 1 w 78"/>
                  <a:gd name="T39" fmla="*/ 29 h 87"/>
                  <a:gd name="T40" fmla="*/ 0 w 78"/>
                  <a:gd name="T41" fmla="*/ 31 h 87"/>
                  <a:gd name="T42" fmla="*/ 18 w 78"/>
                  <a:gd name="T43" fmla="*/ 39 h 87"/>
                  <a:gd name="T44" fmla="*/ 25 w 78"/>
                  <a:gd name="T45" fmla="*/ 36 h 87"/>
                  <a:gd name="T46" fmla="*/ 25 w 78"/>
                  <a:gd name="T47" fmla="*/ 36 h 87"/>
                  <a:gd name="T48" fmla="*/ 3 w 78"/>
                  <a:gd name="T49" fmla="*/ 62 h 87"/>
                  <a:gd name="T50" fmla="*/ 5 w 78"/>
                  <a:gd name="T51" fmla="*/ 67 h 87"/>
                  <a:gd name="T52" fmla="*/ 12 w 78"/>
                  <a:gd name="T53" fmla="*/ 66 h 87"/>
                  <a:gd name="T54" fmla="*/ 22 w 78"/>
                  <a:gd name="T55" fmla="*/ 74 h 87"/>
                  <a:gd name="T56" fmla="*/ 25 w 78"/>
                  <a:gd name="T57" fmla="*/ 61 h 87"/>
                  <a:gd name="T58" fmla="*/ 30 w 78"/>
                  <a:gd name="T59" fmla="*/ 49 h 87"/>
                  <a:gd name="T60" fmla="*/ 48 w 78"/>
                  <a:gd name="T61" fmla="*/ 63 h 87"/>
                  <a:gd name="T62" fmla="*/ 24 w 78"/>
                  <a:gd name="T63" fmla="*/ 71 h 87"/>
                  <a:gd name="T64" fmla="*/ 48 w 78"/>
                  <a:gd name="T65" fmla="*/ 71 h 87"/>
                  <a:gd name="T66" fmla="*/ 51 w 78"/>
                  <a:gd name="T67" fmla="*/ 69 h 87"/>
                  <a:gd name="T68" fmla="*/ 77 w 78"/>
                  <a:gd name="T69" fmla="*/ 87 h 87"/>
                  <a:gd name="T70" fmla="*/ 78 w 78"/>
                  <a:gd name="T71" fmla="*/ 86 h 87"/>
                  <a:gd name="T72" fmla="*/ 55 w 78"/>
                  <a:gd name="T73" fmla="*/ 64 h 87"/>
                  <a:gd name="T74" fmla="*/ 15 w 78"/>
                  <a:gd name="T75" fmla="*/ 64 h 87"/>
                  <a:gd name="T76" fmla="*/ 15 w 78"/>
                  <a:gd name="T77" fmla="*/ 65 h 87"/>
                  <a:gd name="T78" fmla="*/ 11 w 78"/>
                  <a:gd name="T79" fmla="*/ 63 h 87"/>
                  <a:gd name="T80" fmla="*/ 12 w 78"/>
                  <a:gd name="T81" fmla="*/ 60 h 87"/>
                  <a:gd name="T82" fmla="*/ 15 w 78"/>
                  <a:gd name="T83" fmla="*/ 57 h 87"/>
                  <a:gd name="T84" fmla="*/ 17 w 78"/>
                  <a:gd name="T85" fmla="*/ 58 h 87"/>
                  <a:gd name="T86" fmla="*/ 15 w 78"/>
                  <a:gd name="T87" fmla="*/ 64 h 87"/>
                  <a:gd name="T88" fmla="*/ 32 w 78"/>
                  <a:gd name="T89" fmla="*/ 46 h 87"/>
                  <a:gd name="T90" fmla="*/ 44 w 78"/>
                  <a:gd name="T91" fmla="*/ 34 h 87"/>
                  <a:gd name="T92" fmla="*/ 52 w 78"/>
                  <a:gd name="T93" fmla="*/ 35 h 87"/>
                  <a:gd name="T94" fmla="*/ 46 w 78"/>
                  <a:gd name="T95" fmla="*/ 50 h 87"/>
                  <a:gd name="T96" fmla="*/ 48 w 78"/>
                  <a:gd name="T97" fmla="*/ 52 h 87"/>
                  <a:gd name="T98" fmla="*/ 56 w 78"/>
                  <a:gd name="T99" fmla="*/ 50 h 87"/>
                  <a:gd name="T100" fmla="*/ 52 w 78"/>
                  <a:gd name="T101" fmla="*/ 61 h 87"/>
                  <a:gd name="T102" fmla="*/ 32 w 78"/>
                  <a:gd name="T103" fmla="*/ 46 h 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78" h="87">
                    <a:moveTo>
                      <a:pt x="55" y="64"/>
                    </a:moveTo>
                    <a:cubicBezTo>
                      <a:pt x="58" y="60"/>
                      <a:pt x="60" y="55"/>
                      <a:pt x="62" y="50"/>
                    </a:cubicBezTo>
                    <a:cubicBezTo>
                      <a:pt x="61" y="47"/>
                      <a:pt x="58" y="44"/>
                      <a:pt x="54" y="43"/>
                    </a:cubicBezTo>
                    <a:cubicBezTo>
                      <a:pt x="57" y="36"/>
                      <a:pt x="64" y="33"/>
                      <a:pt x="69" y="29"/>
                    </a:cubicBezTo>
                    <a:cubicBezTo>
                      <a:pt x="69" y="25"/>
                      <a:pt x="67" y="24"/>
                      <a:pt x="67" y="21"/>
                    </a:cubicBezTo>
                    <a:cubicBezTo>
                      <a:pt x="68" y="18"/>
                      <a:pt x="69" y="15"/>
                      <a:pt x="70" y="11"/>
                    </a:cubicBezTo>
                    <a:cubicBezTo>
                      <a:pt x="70" y="9"/>
                      <a:pt x="69" y="6"/>
                      <a:pt x="69" y="3"/>
                    </a:cubicBezTo>
                    <a:cubicBezTo>
                      <a:pt x="68" y="2"/>
                      <a:pt x="67" y="1"/>
                      <a:pt x="64" y="0"/>
                    </a:cubicBezTo>
                    <a:cubicBezTo>
                      <a:pt x="64" y="0"/>
                      <a:pt x="63" y="0"/>
                      <a:pt x="63" y="0"/>
                    </a:cubicBezTo>
                    <a:cubicBezTo>
                      <a:pt x="61" y="5"/>
                      <a:pt x="63" y="8"/>
                      <a:pt x="63" y="12"/>
                    </a:cubicBezTo>
                    <a:cubicBezTo>
                      <a:pt x="63" y="24"/>
                      <a:pt x="52" y="26"/>
                      <a:pt x="42" y="25"/>
                    </a:cubicBezTo>
                    <a:cubicBezTo>
                      <a:pt x="41" y="28"/>
                      <a:pt x="41" y="31"/>
                      <a:pt x="42" y="33"/>
                    </a:cubicBezTo>
                    <a:cubicBezTo>
                      <a:pt x="39" y="34"/>
                      <a:pt x="36" y="35"/>
                      <a:pt x="33" y="36"/>
                    </a:cubicBezTo>
                    <a:cubicBezTo>
                      <a:pt x="34" y="32"/>
                      <a:pt x="36" y="32"/>
                      <a:pt x="39" y="33"/>
                    </a:cubicBezTo>
                    <a:cubicBezTo>
                      <a:pt x="41" y="29"/>
                      <a:pt x="38" y="27"/>
                      <a:pt x="39" y="23"/>
                    </a:cubicBezTo>
                    <a:cubicBezTo>
                      <a:pt x="39" y="14"/>
                      <a:pt x="53" y="6"/>
                      <a:pt x="36" y="0"/>
                    </a:cubicBezTo>
                    <a:cubicBezTo>
                      <a:pt x="36" y="0"/>
                      <a:pt x="36" y="0"/>
                      <a:pt x="36" y="0"/>
                    </a:cubicBezTo>
                    <a:cubicBezTo>
                      <a:pt x="35" y="3"/>
                      <a:pt x="36" y="5"/>
                      <a:pt x="36" y="8"/>
                    </a:cubicBezTo>
                    <a:cubicBezTo>
                      <a:pt x="34" y="14"/>
                      <a:pt x="32" y="19"/>
                      <a:pt x="30" y="24"/>
                    </a:cubicBezTo>
                    <a:cubicBezTo>
                      <a:pt x="22" y="26"/>
                      <a:pt x="9" y="26"/>
                      <a:pt x="1" y="29"/>
                    </a:cubicBezTo>
                    <a:cubicBezTo>
                      <a:pt x="1" y="30"/>
                      <a:pt x="1" y="30"/>
                      <a:pt x="0" y="31"/>
                    </a:cubicBezTo>
                    <a:cubicBezTo>
                      <a:pt x="1" y="35"/>
                      <a:pt x="12" y="39"/>
                      <a:pt x="18" y="39"/>
                    </a:cubicBezTo>
                    <a:cubicBezTo>
                      <a:pt x="20" y="38"/>
                      <a:pt x="22" y="37"/>
                      <a:pt x="25" y="36"/>
                    </a:cubicBezTo>
                    <a:cubicBezTo>
                      <a:pt x="25" y="36"/>
                      <a:pt x="25" y="36"/>
                      <a:pt x="25" y="36"/>
                    </a:cubicBezTo>
                    <a:cubicBezTo>
                      <a:pt x="21" y="52"/>
                      <a:pt x="9" y="50"/>
                      <a:pt x="3" y="62"/>
                    </a:cubicBezTo>
                    <a:cubicBezTo>
                      <a:pt x="4" y="63"/>
                      <a:pt x="4" y="65"/>
                      <a:pt x="5" y="67"/>
                    </a:cubicBezTo>
                    <a:cubicBezTo>
                      <a:pt x="7" y="67"/>
                      <a:pt x="10" y="67"/>
                      <a:pt x="12" y="66"/>
                    </a:cubicBezTo>
                    <a:cubicBezTo>
                      <a:pt x="17" y="68"/>
                      <a:pt x="17" y="72"/>
                      <a:pt x="22" y="74"/>
                    </a:cubicBezTo>
                    <a:cubicBezTo>
                      <a:pt x="25" y="71"/>
                      <a:pt x="24" y="66"/>
                      <a:pt x="25" y="61"/>
                    </a:cubicBezTo>
                    <a:cubicBezTo>
                      <a:pt x="25" y="56"/>
                      <a:pt x="28" y="52"/>
                      <a:pt x="30" y="49"/>
                    </a:cubicBezTo>
                    <a:cubicBezTo>
                      <a:pt x="40" y="53"/>
                      <a:pt x="42" y="58"/>
                      <a:pt x="48" y="63"/>
                    </a:cubicBezTo>
                    <a:cubicBezTo>
                      <a:pt x="44" y="74"/>
                      <a:pt x="29" y="63"/>
                      <a:pt x="24" y="71"/>
                    </a:cubicBezTo>
                    <a:cubicBezTo>
                      <a:pt x="39" y="78"/>
                      <a:pt x="36" y="74"/>
                      <a:pt x="48" y="71"/>
                    </a:cubicBezTo>
                    <a:cubicBezTo>
                      <a:pt x="49" y="70"/>
                      <a:pt x="50" y="70"/>
                      <a:pt x="51" y="69"/>
                    </a:cubicBezTo>
                    <a:cubicBezTo>
                      <a:pt x="58" y="79"/>
                      <a:pt x="58" y="87"/>
                      <a:pt x="77" y="87"/>
                    </a:cubicBezTo>
                    <a:cubicBezTo>
                      <a:pt x="77" y="87"/>
                      <a:pt x="78" y="86"/>
                      <a:pt x="78" y="86"/>
                    </a:cubicBezTo>
                    <a:cubicBezTo>
                      <a:pt x="74" y="76"/>
                      <a:pt x="60" y="73"/>
                      <a:pt x="55" y="64"/>
                    </a:cubicBezTo>
                    <a:close/>
                    <a:moveTo>
                      <a:pt x="15" y="64"/>
                    </a:moveTo>
                    <a:cubicBezTo>
                      <a:pt x="15" y="65"/>
                      <a:pt x="15" y="65"/>
                      <a:pt x="15" y="65"/>
                    </a:cubicBezTo>
                    <a:cubicBezTo>
                      <a:pt x="14" y="64"/>
                      <a:pt x="13" y="64"/>
                      <a:pt x="11" y="63"/>
                    </a:cubicBezTo>
                    <a:cubicBezTo>
                      <a:pt x="11" y="62"/>
                      <a:pt x="12" y="61"/>
                      <a:pt x="12" y="60"/>
                    </a:cubicBezTo>
                    <a:cubicBezTo>
                      <a:pt x="13" y="59"/>
                      <a:pt x="14" y="58"/>
                      <a:pt x="15" y="57"/>
                    </a:cubicBezTo>
                    <a:cubicBezTo>
                      <a:pt x="16" y="57"/>
                      <a:pt x="16" y="58"/>
                      <a:pt x="17" y="58"/>
                    </a:cubicBezTo>
                    <a:cubicBezTo>
                      <a:pt x="16" y="60"/>
                      <a:pt x="16" y="62"/>
                      <a:pt x="15" y="64"/>
                    </a:cubicBezTo>
                    <a:close/>
                    <a:moveTo>
                      <a:pt x="32" y="46"/>
                    </a:moveTo>
                    <a:cubicBezTo>
                      <a:pt x="35" y="43"/>
                      <a:pt x="44" y="37"/>
                      <a:pt x="44" y="34"/>
                    </a:cubicBezTo>
                    <a:cubicBezTo>
                      <a:pt x="47" y="34"/>
                      <a:pt x="49" y="35"/>
                      <a:pt x="52" y="35"/>
                    </a:cubicBezTo>
                    <a:cubicBezTo>
                      <a:pt x="50" y="40"/>
                      <a:pt x="45" y="44"/>
                      <a:pt x="46" y="50"/>
                    </a:cubicBezTo>
                    <a:cubicBezTo>
                      <a:pt x="46" y="51"/>
                      <a:pt x="47" y="51"/>
                      <a:pt x="48" y="52"/>
                    </a:cubicBezTo>
                    <a:cubicBezTo>
                      <a:pt x="50" y="51"/>
                      <a:pt x="53" y="49"/>
                      <a:pt x="56" y="50"/>
                    </a:cubicBezTo>
                    <a:cubicBezTo>
                      <a:pt x="55" y="54"/>
                      <a:pt x="53" y="57"/>
                      <a:pt x="52" y="61"/>
                    </a:cubicBezTo>
                    <a:cubicBezTo>
                      <a:pt x="45" y="56"/>
                      <a:pt x="44" y="49"/>
                      <a:pt x="32" y="4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191" name="ï$ľíḍe"/>
              <p:cNvSpPr/>
              <p:nvPr/>
            </p:nvSpPr>
            <p:spPr bwMode="auto">
              <a:xfrm>
                <a:off x="2255734" y="4491628"/>
                <a:ext cx="136525" cy="174625"/>
              </a:xfrm>
              <a:custGeom>
                <a:avLst/>
                <a:gdLst>
                  <a:gd name="T0" fmla="*/ 74 w 74"/>
                  <a:gd name="T1" fmla="*/ 41 h 94"/>
                  <a:gd name="T2" fmla="*/ 64 w 74"/>
                  <a:gd name="T3" fmla="*/ 35 h 94"/>
                  <a:gd name="T4" fmla="*/ 51 w 74"/>
                  <a:gd name="T5" fmla="*/ 5 h 94"/>
                  <a:gd name="T6" fmla="*/ 58 w 74"/>
                  <a:gd name="T7" fmla="*/ 39 h 94"/>
                  <a:gd name="T8" fmla="*/ 47 w 74"/>
                  <a:gd name="T9" fmla="*/ 47 h 94"/>
                  <a:gd name="T10" fmla="*/ 55 w 74"/>
                  <a:gd name="T11" fmla="*/ 34 h 94"/>
                  <a:gd name="T12" fmla="*/ 47 w 74"/>
                  <a:gd name="T13" fmla="*/ 29 h 94"/>
                  <a:gd name="T14" fmla="*/ 54 w 74"/>
                  <a:gd name="T15" fmla="*/ 22 h 94"/>
                  <a:gd name="T16" fmla="*/ 54 w 74"/>
                  <a:gd name="T17" fmla="*/ 20 h 94"/>
                  <a:gd name="T18" fmla="*/ 54 w 74"/>
                  <a:gd name="T19" fmla="*/ 19 h 94"/>
                  <a:gd name="T20" fmla="*/ 41 w 74"/>
                  <a:gd name="T21" fmla="*/ 19 h 94"/>
                  <a:gd name="T22" fmla="*/ 44 w 74"/>
                  <a:gd name="T23" fmla="*/ 22 h 94"/>
                  <a:gd name="T24" fmla="*/ 44 w 74"/>
                  <a:gd name="T25" fmla="*/ 32 h 94"/>
                  <a:gd name="T26" fmla="*/ 48 w 74"/>
                  <a:gd name="T27" fmla="*/ 37 h 94"/>
                  <a:gd name="T28" fmla="*/ 40 w 74"/>
                  <a:gd name="T29" fmla="*/ 58 h 94"/>
                  <a:gd name="T30" fmla="*/ 44 w 74"/>
                  <a:gd name="T31" fmla="*/ 61 h 94"/>
                  <a:gd name="T32" fmla="*/ 59 w 74"/>
                  <a:gd name="T33" fmla="*/ 46 h 94"/>
                  <a:gd name="T34" fmla="*/ 59 w 74"/>
                  <a:gd name="T35" fmla="*/ 46 h 94"/>
                  <a:gd name="T36" fmla="*/ 66 w 74"/>
                  <a:gd name="T37" fmla="*/ 93 h 94"/>
                  <a:gd name="T38" fmla="*/ 68 w 74"/>
                  <a:gd name="T39" fmla="*/ 93 h 94"/>
                  <a:gd name="T40" fmla="*/ 65 w 74"/>
                  <a:gd name="T41" fmla="*/ 42 h 94"/>
                  <a:gd name="T42" fmla="*/ 73 w 74"/>
                  <a:gd name="T43" fmla="*/ 41 h 94"/>
                  <a:gd name="T44" fmla="*/ 74 w 74"/>
                  <a:gd name="T45" fmla="*/ 41 h 94"/>
                  <a:gd name="T46" fmla="*/ 43 w 74"/>
                  <a:gd name="T47" fmla="*/ 42 h 94"/>
                  <a:gd name="T48" fmla="*/ 35 w 74"/>
                  <a:gd name="T49" fmla="*/ 48 h 94"/>
                  <a:gd name="T50" fmla="*/ 39 w 74"/>
                  <a:gd name="T51" fmla="*/ 38 h 94"/>
                  <a:gd name="T52" fmla="*/ 37 w 74"/>
                  <a:gd name="T53" fmla="*/ 29 h 94"/>
                  <a:gd name="T54" fmla="*/ 40 w 74"/>
                  <a:gd name="T55" fmla="*/ 27 h 94"/>
                  <a:gd name="T56" fmla="*/ 34 w 74"/>
                  <a:gd name="T57" fmla="*/ 16 h 94"/>
                  <a:gd name="T58" fmla="*/ 32 w 74"/>
                  <a:gd name="T59" fmla="*/ 15 h 94"/>
                  <a:gd name="T60" fmla="*/ 4 w 74"/>
                  <a:gd name="T61" fmla="*/ 46 h 94"/>
                  <a:gd name="T62" fmla="*/ 30 w 74"/>
                  <a:gd name="T63" fmla="*/ 29 h 94"/>
                  <a:gd name="T64" fmla="*/ 8 w 74"/>
                  <a:gd name="T65" fmla="*/ 52 h 94"/>
                  <a:gd name="T66" fmla="*/ 0 w 74"/>
                  <a:gd name="T67" fmla="*/ 56 h 94"/>
                  <a:gd name="T68" fmla="*/ 3 w 74"/>
                  <a:gd name="T69" fmla="*/ 61 h 94"/>
                  <a:gd name="T70" fmla="*/ 23 w 74"/>
                  <a:gd name="T71" fmla="*/ 54 h 94"/>
                  <a:gd name="T72" fmla="*/ 25 w 74"/>
                  <a:gd name="T73" fmla="*/ 53 h 94"/>
                  <a:gd name="T74" fmla="*/ 25 w 74"/>
                  <a:gd name="T75" fmla="*/ 53 h 94"/>
                  <a:gd name="T76" fmla="*/ 20 w 74"/>
                  <a:gd name="T77" fmla="*/ 72 h 94"/>
                  <a:gd name="T78" fmla="*/ 25 w 74"/>
                  <a:gd name="T79" fmla="*/ 76 h 94"/>
                  <a:gd name="T80" fmla="*/ 26 w 74"/>
                  <a:gd name="T81" fmla="*/ 76 h 94"/>
                  <a:gd name="T82" fmla="*/ 30 w 74"/>
                  <a:gd name="T83" fmla="*/ 67 h 94"/>
                  <a:gd name="T84" fmla="*/ 31 w 74"/>
                  <a:gd name="T85" fmla="*/ 66 h 94"/>
                  <a:gd name="T86" fmla="*/ 32 w 74"/>
                  <a:gd name="T87" fmla="*/ 75 h 94"/>
                  <a:gd name="T88" fmla="*/ 35 w 74"/>
                  <a:gd name="T89" fmla="*/ 76 h 94"/>
                  <a:gd name="T90" fmla="*/ 38 w 74"/>
                  <a:gd name="T91" fmla="*/ 76 h 94"/>
                  <a:gd name="T92" fmla="*/ 35 w 74"/>
                  <a:gd name="T93" fmla="*/ 61 h 94"/>
                  <a:gd name="T94" fmla="*/ 43 w 74"/>
                  <a:gd name="T95" fmla="*/ 42 h 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74" h="94">
                    <a:moveTo>
                      <a:pt x="74" y="41"/>
                    </a:moveTo>
                    <a:cubicBezTo>
                      <a:pt x="73" y="36"/>
                      <a:pt x="70" y="34"/>
                      <a:pt x="64" y="35"/>
                    </a:cubicBezTo>
                    <a:cubicBezTo>
                      <a:pt x="63" y="24"/>
                      <a:pt x="67" y="0"/>
                      <a:pt x="51" y="5"/>
                    </a:cubicBezTo>
                    <a:cubicBezTo>
                      <a:pt x="50" y="9"/>
                      <a:pt x="61" y="31"/>
                      <a:pt x="58" y="39"/>
                    </a:cubicBezTo>
                    <a:cubicBezTo>
                      <a:pt x="58" y="39"/>
                      <a:pt x="47" y="47"/>
                      <a:pt x="47" y="47"/>
                    </a:cubicBezTo>
                    <a:cubicBezTo>
                      <a:pt x="48" y="41"/>
                      <a:pt x="53" y="39"/>
                      <a:pt x="55" y="34"/>
                    </a:cubicBezTo>
                    <a:cubicBezTo>
                      <a:pt x="56" y="30"/>
                      <a:pt x="49" y="31"/>
                      <a:pt x="47" y="29"/>
                    </a:cubicBezTo>
                    <a:cubicBezTo>
                      <a:pt x="48" y="26"/>
                      <a:pt x="51" y="23"/>
                      <a:pt x="54" y="22"/>
                    </a:cubicBezTo>
                    <a:cubicBezTo>
                      <a:pt x="54" y="21"/>
                      <a:pt x="54" y="21"/>
                      <a:pt x="54" y="20"/>
                    </a:cubicBezTo>
                    <a:cubicBezTo>
                      <a:pt x="54" y="20"/>
                      <a:pt x="54" y="19"/>
                      <a:pt x="54" y="19"/>
                    </a:cubicBezTo>
                    <a:cubicBezTo>
                      <a:pt x="50" y="17"/>
                      <a:pt x="45" y="17"/>
                      <a:pt x="41" y="19"/>
                    </a:cubicBezTo>
                    <a:cubicBezTo>
                      <a:pt x="41" y="22"/>
                      <a:pt x="42" y="22"/>
                      <a:pt x="44" y="22"/>
                    </a:cubicBezTo>
                    <a:cubicBezTo>
                      <a:pt x="44" y="26"/>
                      <a:pt x="44" y="29"/>
                      <a:pt x="44" y="32"/>
                    </a:cubicBezTo>
                    <a:cubicBezTo>
                      <a:pt x="45" y="34"/>
                      <a:pt x="47" y="35"/>
                      <a:pt x="48" y="37"/>
                    </a:cubicBezTo>
                    <a:cubicBezTo>
                      <a:pt x="46" y="41"/>
                      <a:pt x="35" y="51"/>
                      <a:pt x="40" y="58"/>
                    </a:cubicBezTo>
                    <a:cubicBezTo>
                      <a:pt x="41" y="60"/>
                      <a:pt x="42" y="60"/>
                      <a:pt x="44" y="61"/>
                    </a:cubicBezTo>
                    <a:cubicBezTo>
                      <a:pt x="49" y="55"/>
                      <a:pt x="51" y="50"/>
                      <a:pt x="59" y="46"/>
                    </a:cubicBezTo>
                    <a:cubicBezTo>
                      <a:pt x="59" y="46"/>
                      <a:pt x="59" y="46"/>
                      <a:pt x="59" y="46"/>
                    </a:cubicBezTo>
                    <a:cubicBezTo>
                      <a:pt x="61" y="60"/>
                      <a:pt x="59" y="83"/>
                      <a:pt x="66" y="93"/>
                    </a:cubicBezTo>
                    <a:cubicBezTo>
                      <a:pt x="67" y="94"/>
                      <a:pt x="67" y="93"/>
                      <a:pt x="68" y="93"/>
                    </a:cubicBezTo>
                    <a:cubicBezTo>
                      <a:pt x="68" y="78"/>
                      <a:pt x="67" y="60"/>
                      <a:pt x="65" y="42"/>
                    </a:cubicBezTo>
                    <a:cubicBezTo>
                      <a:pt x="68" y="42"/>
                      <a:pt x="72" y="42"/>
                      <a:pt x="73" y="41"/>
                    </a:cubicBezTo>
                    <a:cubicBezTo>
                      <a:pt x="74" y="41"/>
                      <a:pt x="74" y="41"/>
                      <a:pt x="74" y="41"/>
                    </a:cubicBezTo>
                    <a:close/>
                    <a:moveTo>
                      <a:pt x="43" y="42"/>
                    </a:moveTo>
                    <a:cubicBezTo>
                      <a:pt x="39" y="44"/>
                      <a:pt x="38" y="46"/>
                      <a:pt x="35" y="48"/>
                    </a:cubicBezTo>
                    <a:cubicBezTo>
                      <a:pt x="35" y="42"/>
                      <a:pt x="39" y="42"/>
                      <a:pt x="39" y="38"/>
                    </a:cubicBezTo>
                    <a:cubicBezTo>
                      <a:pt x="40" y="35"/>
                      <a:pt x="37" y="33"/>
                      <a:pt x="37" y="29"/>
                    </a:cubicBezTo>
                    <a:cubicBezTo>
                      <a:pt x="38" y="28"/>
                      <a:pt x="39" y="28"/>
                      <a:pt x="40" y="27"/>
                    </a:cubicBezTo>
                    <a:cubicBezTo>
                      <a:pt x="41" y="24"/>
                      <a:pt x="36" y="16"/>
                      <a:pt x="34" y="16"/>
                    </a:cubicBezTo>
                    <a:cubicBezTo>
                      <a:pt x="33" y="16"/>
                      <a:pt x="32" y="15"/>
                      <a:pt x="32" y="15"/>
                    </a:cubicBezTo>
                    <a:cubicBezTo>
                      <a:pt x="22" y="28"/>
                      <a:pt x="10" y="30"/>
                      <a:pt x="4" y="46"/>
                    </a:cubicBezTo>
                    <a:cubicBezTo>
                      <a:pt x="13" y="41"/>
                      <a:pt x="17" y="31"/>
                      <a:pt x="30" y="29"/>
                    </a:cubicBezTo>
                    <a:cubicBezTo>
                      <a:pt x="29" y="39"/>
                      <a:pt x="16" y="48"/>
                      <a:pt x="8" y="52"/>
                    </a:cubicBezTo>
                    <a:cubicBezTo>
                      <a:pt x="4" y="54"/>
                      <a:pt x="2" y="52"/>
                      <a:pt x="0" y="56"/>
                    </a:cubicBezTo>
                    <a:cubicBezTo>
                      <a:pt x="0" y="59"/>
                      <a:pt x="1" y="60"/>
                      <a:pt x="3" y="61"/>
                    </a:cubicBezTo>
                    <a:cubicBezTo>
                      <a:pt x="10" y="63"/>
                      <a:pt x="22" y="58"/>
                      <a:pt x="23" y="54"/>
                    </a:cubicBezTo>
                    <a:cubicBezTo>
                      <a:pt x="24" y="54"/>
                      <a:pt x="24" y="53"/>
                      <a:pt x="25" y="53"/>
                    </a:cubicBezTo>
                    <a:cubicBezTo>
                      <a:pt x="25" y="53"/>
                      <a:pt x="25" y="53"/>
                      <a:pt x="25" y="53"/>
                    </a:cubicBezTo>
                    <a:cubicBezTo>
                      <a:pt x="23" y="59"/>
                      <a:pt x="22" y="66"/>
                      <a:pt x="20" y="72"/>
                    </a:cubicBezTo>
                    <a:cubicBezTo>
                      <a:pt x="21" y="74"/>
                      <a:pt x="23" y="75"/>
                      <a:pt x="25" y="76"/>
                    </a:cubicBezTo>
                    <a:cubicBezTo>
                      <a:pt x="25" y="76"/>
                      <a:pt x="26" y="76"/>
                      <a:pt x="26" y="76"/>
                    </a:cubicBezTo>
                    <a:cubicBezTo>
                      <a:pt x="28" y="73"/>
                      <a:pt x="29" y="70"/>
                      <a:pt x="30" y="67"/>
                    </a:cubicBezTo>
                    <a:cubicBezTo>
                      <a:pt x="31" y="67"/>
                      <a:pt x="31" y="67"/>
                      <a:pt x="31" y="66"/>
                    </a:cubicBezTo>
                    <a:cubicBezTo>
                      <a:pt x="32" y="69"/>
                      <a:pt x="32" y="72"/>
                      <a:pt x="32" y="75"/>
                    </a:cubicBezTo>
                    <a:cubicBezTo>
                      <a:pt x="33" y="75"/>
                      <a:pt x="34" y="76"/>
                      <a:pt x="35" y="76"/>
                    </a:cubicBezTo>
                    <a:cubicBezTo>
                      <a:pt x="36" y="76"/>
                      <a:pt x="37" y="76"/>
                      <a:pt x="38" y="76"/>
                    </a:cubicBezTo>
                    <a:cubicBezTo>
                      <a:pt x="37" y="71"/>
                      <a:pt x="36" y="66"/>
                      <a:pt x="35" y="61"/>
                    </a:cubicBezTo>
                    <a:cubicBezTo>
                      <a:pt x="38" y="54"/>
                      <a:pt x="40" y="48"/>
                      <a:pt x="43" y="4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192" name="î$ḻîḑe"/>
              <p:cNvSpPr/>
              <p:nvPr/>
            </p:nvSpPr>
            <p:spPr bwMode="auto">
              <a:xfrm>
                <a:off x="2055709" y="4566240"/>
                <a:ext cx="136525" cy="150813"/>
              </a:xfrm>
              <a:custGeom>
                <a:avLst/>
                <a:gdLst>
                  <a:gd name="T0" fmla="*/ 55 w 74"/>
                  <a:gd name="T1" fmla="*/ 53 h 82"/>
                  <a:gd name="T2" fmla="*/ 54 w 74"/>
                  <a:gd name="T3" fmla="*/ 51 h 82"/>
                  <a:gd name="T4" fmla="*/ 57 w 74"/>
                  <a:gd name="T5" fmla="*/ 49 h 82"/>
                  <a:gd name="T6" fmla="*/ 56 w 74"/>
                  <a:gd name="T7" fmla="*/ 45 h 82"/>
                  <a:gd name="T8" fmla="*/ 52 w 74"/>
                  <a:gd name="T9" fmla="*/ 45 h 82"/>
                  <a:gd name="T10" fmla="*/ 51 w 74"/>
                  <a:gd name="T11" fmla="*/ 44 h 82"/>
                  <a:gd name="T12" fmla="*/ 60 w 74"/>
                  <a:gd name="T13" fmla="*/ 32 h 82"/>
                  <a:gd name="T14" fmla="*/ 60 w 74"/>
                  <a:gd name="T15" fmla="*/ 30 h 82"/>
                  <a:gd name="T16" fmla="*/ 34 w 74"/>
                  <a:gd name="T17" fmla="*/ 38 h 82"/>
                  <a:gd name="T18" fmla="*/ 33 w 74"/>
                  <a:gd name="T19" fmla="*/ 38 h 82"/>
                  <a:gd name="T20" fmla="*/ 60 w 74"/>
                  <a:gd name="T21" fmla="*/ 16 h 82"/>
                  <a:gd name="T22" fmla="*/ 61 w 74"/>
                  <a:gd name="T23" fmla="*/ 10 h 82"/>
                  <a:gd name="T24" fmla="*/ 42 w 74"/>
                  <a:gd name="T25" fmla="*/ 11 h 82"/>
                  <a:gd name="T26" fmla="*/ 27 w 74"/>
                  <a:gd name="T27" fmla="*/ 0 h 82"/>
                  <a:gd name="T28" fmla="*/ 24 w 74"/>
                  <a:gd name="T29" fmla="*/ 0 h 82"/>
                  <a:gd name="T30" fmla="*/ 29 w 74"/>
                  <a:gd name="T31" fmla="*/ 21 h 82"/>
                  <a:gd name="T32" fmla="*/ 11 w 74"/>
                  <a:gd name="T33" fmla="*/ 39 h 82"/>
                  <a:gd name="T34" fmla="*/ 1 w 74"/>
                  <a:gd name="T35" fmla="*/ 44 h 82"/>
                  <a:gd name="T36" fmla="*/ 0 w 74"/>
                  <a:gd name="T37" fmla="*/ 47 h 82"/>
                  <a:gd name="T38" fmla="*/ 35 w 74"/>
                  <a:gd name="T39" fmla="*/ 26 h 82"/>
                  <a:gd name="T40" fmla="*/ 35 w 74"/>
                  <a:gd name="T41" fmla="*/ 26 h 82"/>
                  <a:gd name="T42" fmla="*/ 30 w 74"/>
                  <a:gd name="T43" fmla="*/ 48 h 82"/>
                  <a:gd name="T44" fmla="*/ 40 w 74"/>
                  <a:gd name="T45" fmla="*/ 57 h 82"/>
                  <a:gd name="T46" fmla="*/ 35 w 74"/>
                  <a:gd name="T47" fmla="*/ 78 h 82"/>
                  <a:gd name="T48" fmla="*/ 45 w 74"/>
                  <a:gd name="T49" fmla="*/ 82 h 82"/>
                  <a:gd name="T50" fmla="*/ 47 w 74"/>
                  <a:gd name="T51" fmla="*/ 80 h 82"/>
                  <a:gd name="T52" fmla="*/ 46 w 74"/>
                  <a:gd name="T53" fmla="*/ 67 h 82"/>
                  <a:gd name="T54" fmla="*/ 47 w 74"/>
                  <a:gd name="T55" fmla="*/ 66 h 82"/>
                  <a:gd name="T56" fmla="*/ 50 w 74"/>
                  <a:gd name="T57" fmla="*/ 73 h 82"/>
                  <a:gd name="T58" fmla="*/ 58 w 74"/>
                  <a:gd name="T59" fmla="*/ 79 h 82"/>
                  <a:gd name="T60" fmla="*/ 59 w 74"/>
                  <a:gd name="T61" fmla="*/ 79 h 82"/>
                  <a:gd name="T62" fmla="*/ 53 w 74"/>
                  <a:gd name="T63" fmla="*/ 57 h 82"/>
                  <a:gd name="T64" fmla="*/ 56 w 74"/>
                  <a:gd name="T65" fmla="*/ 55 h 82"/>
                  <a:gd name="T66" fmla="*/ 56 w 74"/>
                  <a:gd name="T67" fmla="*/ 55 h 82"/>
                  <a:gd name="T68" fmla="*/ 69 w 74"/>
                  <a:gd name="T69" fmla="*/ 69 h 82"/>
                  <a:gd name="T70" fmla="*/ 74 w 74"/>
                  <a:gd name="T71" fmla="*/ 64 h 82"/>
                  <a:gd name="T72" fmla="*/ 55 w 74"/>
                  <a:gd name="T73" fmla="*/ 53 h 82"/>
                  <a:gd name="T74" fmla="*/ 40 w 74"/>
                  <a:gd name="T75" fmla="*/ 46 h 82"/>
                  <a:gd name="T76" fmla="*/ 39 w 74"/>
                  <a:gd name="T77" fmla="*/ 46 h 82"/>
                  <a:gd name="T78" fmla="*/ 38 w 74"/>
                  <a:gd name="T79" fmla="*/ 46 h 82"/>
                  <a:gd name="T80" fmla="*/ 37 w 74"/>
                  <a:gd name="T81" fmla="*/ 44 h 82"/>
                  <a:gd name="T82" fmla="*/ 44 w 74"/>
                  <a:gd name="T83" fmla="*/ 36 h 82"/>
                  <a:gd name="T84" fmla="*/ 46 w 74"/>
                  <a:gd name="T85" fmla="*/ 35 h 82"/>
                  <a:gd name="T86" fmla="*/ 46 w 74"/>
                  <a:gd name="T87" fmla="*/ 35 h 82"/>
                  <a:gd name="T88" fmla="*/ 40 w 74"/>
                  <a:gd name="T89" fmla="*/ 46 h 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74" h="82">
                    <a:moveTo>
                      <a:pt x="55" y="53"/>
                    </a:moveTo>
                    <a:cubicBezTo>
                      <a:pt x="55" y="53"/>
                      <a:pt x="54" y="52"/>
                      <a:pt x="54" y="51"/>
                    </a:cubicBezTo>
                    <a:cubicBezTo>
                      <a:pt x="55" y="51"/>
                      <a:pt x="56" y="50"/>
                      <a:pt x="57" y="49"/>
                    </a:cubicBezTo>
                    <a:cubicBezTo>
                      <a:pt x="57" y="48"/>
                      <a:pt x="56" y="47"/>
                      <a:pt x="56" y="45"/>
                    </a:cubicBezTo>
                    <a:cubicBezTo>
                      <a:pt x="54" y="45"/>
                      <a:pt x="53" y="45"/>
                      <a:pt x="52" y="45"/>
                    </a:cubicBezTo>
                    <a:cubicBezTo>
                      <a:pt x="51" y="45"/>
                      <a:pt x="51" y="44"/>
                      <a:pt x="51" y="44"/>
                    </a:cubicBezTo>
                    <a:cubicBezTo>
                      <a:pt x="53" y="40"/>
                      <a:pt x="59" y="36"/>
                      <a:pt x="60" y="32"/>
                    </a:cubicBezTo>
                    <a:cubicBezTo>
                      <a:pt x="60" y="31"/>
                      <a:pt x="60" y="31"/>
                      <a:pt x="60" y="30"/>
                    </a:cubicBezTo>
                    <a:cubicBezTo>
                      <a:pt x="50" y="21"/>
                      <a:pt x="41" y="31"/>
                      <a:pt x="34" y="38"/>
                    </a:cubicBezTo>
                    <a:cubicBezTo>
                      <a:pt x="33" y="38"/>
                      <a:pt x="33" y="38"/>
                      <a:pt x="33" y="38"/>
                    </a:cubicBezTo>
                    <a:cubicBezTo>
                      <a:pt x="34" y="30"/>
                      <a:pt x="48" y="16"/>
                      <a:pt x="60" y="16"/>
                    </a:cubicBezTo>
                    <a:cubicBezTo>
                      <a:pt x="61" y="14"/>
                      <a:pt x="61" y="12"/>
                      <a:pt x="61" y="10"/>
                    </a:cubicBezTo>
                    <a:cubicBezTo>
                      <a:pt x="50" y="3"/>
                      <a:pt x="52" y="11"/>
                      <a:pt x="42" y="11"/>
                    </a:cubicBezTo>
                    <a:cubicBezTo>
                      <a:pt x="38" y="10"/>
                      <a:pt x="32" y="1"/>
                      <a:pt x="27" y="0"/>
                    </a:cubicBezTo>
                    <a:cubicBezTo>
                      <a:pt x="26" y="0"/>
                      <a:pt x="25" y="0"/>
                      <a:pt x="24" y="0"/>
                    </a:cubicBezTo>
                    <a:cubicBezTo>
                      <a:pt x="21" y="5"/>
                      <a:pt x="30" y="14"/>
                      <a:pt x="29" y="21"/>
                    </a:cubicBezTo>
                    <a:cubicBezTo>
                      <a:pt x="19" y="27"/>
                      <a:pt x="17" y="33"/>
                      <a:pt x="11" y="39"/>
                    </a:cubicBezTo>
                    <a:cubicBezTo>
                      <a:pt x="8" y="42"/>
                      <a:pt x="4" y="42"/>
                      <a:pt x="1" y="44"/>
                    </a:cubicBezTo>
                    <a:cubicBezTo>
                      <a:pt x="1" y="45"/>
                      <a:pt x="0" y="46"/>
                      <a:pt x="0" y="47"/>
                    </a:cubicBezTo>
                    <a:cubicBezTo>
                      <a:pt x="11" y="69"/>
                      <a:pt x="23" y="30"/>
                      <a:pt x="35" y="26"/>
                    </a:cubicBezTo>
                    <a:cubicBezTo>
                      <a:pt x="35" y="26"/>
                      <a:pt x="35" y="26"/>
                      <a:pt x="35" y="26"/>
                    </a:cubicBezTo>
                    <a:cubicBezTo>
                      <a:pt x="33" y="33"/>
                      <a:pt x="28" y="39"/>
                      <a:pt x="30" y="48"/>
                    </a:cubicBezTo>
                    <a:cubicBezTo>
                      <a:pt x="30" y="51"/>
                      <a:pt x="37" y="56"/>
                      <a:pt x="40" y="57"/>
                    </a:cubicBezTo>
                    <a:cubicBezTo>
                      <a:pt x="37" y="64"/>
                      <a:pt x="32" y="69"/>
                      <a:pt x="35" y="78"/>
                    </a:cubicBezTo>
                    <a:cubicBezTo>
                      <a:pt x="39" y="79"/>
                      <a:pt x="42" y="80"/>
                      <a:pt x="45" y="82"/>
                    </a:cubicBezTo>
                    <a:cubicBezTo>
                      <a:pt x="46" y="81"/>
                      <a:pt x="46" y="81"/>
                      <a:pt x="47" y="80"/>
                    </a:cubicBezTo>
                    <a:cubicBezTo>
                      <a:pt x="49" y="77"/>
                      <a:pt x="45" y="70"/>
                      <a:pt x="46" y="67"/>
                    </a:cubicBezTo>
                    <a:cubicBezTo>
                      <a:pt x="46" y="66"/>
                      <a:pt x="46" y="66"/>
                      <a:pt x="47" y="66"/>
                    </a:cubicBezTo>
                    <a:cubicBezTo>
                      <a:pt x="48" y="67"/>
                      <a:pt x="49" y="71"/>
                      <a:pt x="50" y="73"/>
                    </a:cubicBezTo>
                    <a:cubicBezTo>
                      <a:pt x="52" y="76"/>
                      <a:pt x="55" y="77"/>
                      <a:pt x="58" y="79"/>
                    </a:cubicBezTo>
                    <a:cubicBezTo>
                      <a:pt x="58" y="79"/>
                      <a:pt x="58" y="79"/>
                      <a:pt x="59" y="79"/>
                    </a:cubicBezTo>
                    <a:cubicBezTo>
                      <a:pt x="60" y="72"/>
                      <a:pt x="53" y="64"/>
                      <a:pt x="53" y="57"/>
                    </a:cubicBezTo>
                    <a:cubicBezTo>
                      <a:pt x="54" y="56"/>
                      <a:pt x="55" y="56"/>
                      <a:pt x="56" y="55"/>
                    </a:cubicBezTo>
                    <a:cubicBezTo>
                      <a:pt x="56" y="55"/>
                      <a:pt x="56" y="55"/>
                      <a:pt x="56" y="55"/>
                    </a:cubicBezTo>
                    <a:cubicBezTo>
                      <a:pt x="63" y="60"/>
                      <a:pt x="59" y="67"/>
                      <a:pt x="69" y="69"/>
                    </a:cubicBezTo>
                    <a:cubicBezTo>
                      <a:pt x="71" y="67"/>
                      <a:pt x="72" y="66"/>
                      <a:pt x="74" y="64"/>
                    </a:cubicBezTo>
                    <a:cubicBezTo>
                      <a:pt x="71" y="56"/>
                      <a:pt x="63" y="51"/>
                      <a:pt x="55" y="53"/>
                    </a:cubicBezTo>
                    <a:close/>
                    <a:moveTo>
                      <a:pt x="40" y="46"/>
                    </a:moveTo>
                    <a:cubicBezTo>
                      <a:pt x="40" y="46"/>
                      <a:pt x="39" y="46"/>
                      <a:pt x="39" y="46"/>
                    </a:cubicBezTo>
                    <a:cubicBezTo>
                      <a:pt x="38" y="46"/>
                      <a:pt x="38" y="46"/>
                      <a:pt x="38" y="46"/>
                    </a:cubicBezTo>
                    <a:cubicBezTo>
                      <a:pt x="38" y="45"/>
                      <a:pt x="37" y="45"/>
                      <a:pt x="37" y="44"/>
                    </a:cubicBezTo>
                    <a:cubicBezTo>
                      <a:pt x="39" y="41"/>
                      <a:pt x="42" y="39"/>
                      <a:pt x="44" y="36"/>
                    </a:cubicBezTo>
                    <a:cubicBezTo>
                      <a:pt x="45" y="36"/>
                      <a:pt x="45" y="35"/>
                      <a:pt x="46" y="35"/>
                    </a:cubicBezTo>
                    <a:cubicBezTo>
                      <a:pt x="46" y="35"/>
                      <a:pt x="46" y="35"/>
                      <a:pt x="46" y="35"/>
                    </a:cubicBezTo>
                    <a:cubicBezTo>
                      <a:pt x="44" y="39"/>
                      <a:pt x="42" y="42"/>
                      <a:pt x="40" y="4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193" name="ïşḻíḍe"/>
              <p:cNvSpPr/>
              <p:nvPr/>
            </p:nvSpPr>
            <p:spPr bwMode="auto">
              <a:xfrm>
                <a:off x="1882672" y="4669428"/>
                <a:ext cx="160338" cy="169863"/>
              </a:xfrm>
              <a:custGeom>
                <a:avLst/>
                <a:gdLst>
                  <a:gd name="T0" fmla="*/ 29 w 87"/>
                  <a:gd name="T1" fmla="*/ 8 h 92"/>
                  <a:gd name="T2" fmla="*/ 52 w 87"/>
                  <a:gd name="T3" fmla="*/ 17 h 92"/>
                  <a:gd name="T4" fmla="*/ 61 w 87"/>
                  <a:gd name="T5" fmla="*/ 16 h 92"/>
                  <a:gd name="T6" fmla="*/ 62 w 87"/>
                  <a:gd name="T7" fmla="*/ 17 h 92"/>
                  <a:gd name="T8" fmla="*/ 69 w 87"/>
                  <a:gd name="T9" fmla="*/ 42 h 92"/>
                  <a:gd name="T10" fmla="*/ 86 w 87"/>
                  <a:gd name="T11" fmla="*/ 35 h 92"/>
                  <a:gd name="T12" fmla="*/ 87 w 87"/>
                  <a:gd name="T13" fmla="*/ 39 h 92"/>
                  <a:gd name="T14" fmla="*/ 76 w 87"/>
                  <a:gd name="T15" fmla="*/ 55 h 92"/>
                  <a:gd name="T16" fmla="*/ 67 w 87"/>
                  <a:gd name="T17" fmla="*/ 76 h 92"/>
                  <a:gd name="T18" fmla="*/ 65 w 87"/>
                  <a:gd name="T19" fmla="*/ 74 h 92"/>
                  <a:gd name="T20" fmla="*/ 69 w 87"/>
                  <a:gd name="T21" fmla="*/ 53 h 92"/>
                  <a:gd name="T22" fmla="*/ 55 w 87"/>
                  <a:gd name="T23" fmla="*/ 40 h 92"/>
                  <a:gd name="T24" fmla="*/ 45 w 87"/>
                  <a:gd name="T25" fmla="*/ 44 h 92"/>
                  <a:gd name="T26" fmla="*/ 46 w 87"/>
                  <a:gd name="T27" fmla="*/ 89 h 92"/>
                  <a:gd name="T28" fmla="*/ 38 w 87"/>
                  <a:gd name="T29" fmla="*/ 92 h 92"/>
                  <a:gd name="T30" fmla="*/ 27 w 87"/>
                  <a:gd name="T31" fmla="*/ 68 h 92"/>
                  <a:gd name="T32" fmla="*/ 14 w 87"/>
                  <a:gd name="T33" fmla="*/ 70 h 92"/>
                  <a:gd name="T34" fmla="*/ 12 w 87"/>
                  <a:gd name="T35" fmla="*/ 65 h 92"/>
                  <a:gd name="T36" fmla="*/ 18 w 87"/>
                  <a:gd name="T37" fmla="*/ 58 h 92"/>
                  <a:gd name="T38" fmla="*/ 0 w 87"/>
                  <a:gd name="T39" fmla="*/ 42 h 92"/>
                  <a:gd name="T40" fmla="*/ 0 w 87"/>
                  <a:gd name="T41" fmla="*/ 42 h 92"/>
                  <a:gd name="T42" fmla="*/ 21 w 87"/>
                  <a:gd name="T43" fmla="*/ 39 h 92"/>
                  <a:gd name="T44" fmla="*/ 27 w 87"/>
                  <a:gd name="T45" fmla="*/ 48 h 92"/>
                  <a:gd name="T46" fmla="*/ 34 w 87"/>
                  <a:gd name="T47" fmla="*/ 52 h 92"/>
                  <a:gd name="T48" fmla="*/ 36 w 87"/>
                  <a:gd name="T49" fmla="*/ 62 h 92"/>
                  <a:gd name="T50" fmla="*/ 39 w 87"/>
                  <a:gd name="T51" fmla="*/ 44 h 92"/>
                  <a:gd name="T52" fmla="*/ 46 w 87"/>
                  <a:gd name="T53" fmla="*/ 28 h 92"/>
                  <a:gd name="T54" fmla="*/ 29 w 87"/>
                  <a:gd name="T55" fmla="*/ 8 h 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87" h="92">
                    <a:moveTo>
                      <a:pt x="29" y="8"/>
                    </a:moveTo>
                    <a:cubicBezTo>
                      <a:pt x="42" y="0"/>
                      <a:pt x="43" y="12"/>
                      <a:pt x="52" y="17"/>
                    </a:cubicBezTo>
                    <a:cubicBezTo>
                      <a:pt x="55" y="15"/>
                      <a:pt x="58" y="15"/>
                      <a:pt x="61" y="16"/>
                    </a:cubicBezTo>
                    <a:cubicBezTo>
                      <a:pt x="61" y="16"/>
                      <a:pt x="62" y="17"/>
                      <a:pt x="62" y="17"/>
                    </a:cubicBezTo>
                    <a:cubicBezTo>
                      <a:pt x="62" y="26"/>
                      <a:pt x="58" y="33"/>
                      <a:pt x="69" y="42"/>
                    </a:cubicBezTo>
                    <a:cubicBezTo>
                      <a:pt x="75" y="35"/>
                      <a:pt x="80" y="33"/>
                      <a:pt x="86" y="35"/>
                    </a:cubicBezTo>
                    <a:cubicBezTo>
                      <a:pt x="87" y="36"/>
                      <a:pt x="87" y="38"/>
                      <a:pt x="87" y="39"/>
                    </a:cubicBezTo>
                    <a:cubicBezTo>
                      <a:pt x="83" y="45"/>
                      <a:pt x="80" y="50"/>
                      <a:pt x="76" y="55"/>
                    </a:cubicBezTo>
                    <a:cubicBezTo>
                      <a:pt x="71" y="62"/>
                      <a:pt x="71" y="70"/>
                      <a:pt x="67" y="76"/>
                    </a:cubicBezTo>
                    <a:cubicBezTo>
                      <a:pt x="66" y="75"/>
                      <a:pt x="66" y="75"/>
                      <a:pt x="65" y="74"/>
                    </a:cubicBezTo>
                    <a:cubicBezTo>
                      <a:pt x="63" y="66"/>
                      <a:pt x="67" y="60"/>
                      <a:pt x="69" y="53"/>
                    </a:cubicBezTo>
                    <a:cubicBezTo>
                      <a:pt x="64" y="51"/>
                      <a:pt x="60" y="46"/>
                      <a:pt x="55" y="40"/>
                    </a:cubicBezTo>
                    <a:cubicBezTo>
                      <a:pt x="52" y="42"/>
                      <a:pt x="49" y="41"/>
                      <a:pt x="45" y="44"/>
                    </a:cubicBezTo>
                    <a:cubicBezTo>
                      <a:pt x="40" y="59"/>
                      <a:pt x="48" y="75"/>
                      <a:pt x="46" y="89"/>
                    </a:cubicBezTo>
                    <a:cubicBezTo>
                      <a:pt x="43" y="92"/>
                      <a:pt x="41" y="91"/>
                      <a:pt x="38" y="92"/>
                    </a:cubicBezTo>
                    <a:cubicBezTo>
                      <a:pt x="31" y="83"/>
                      <a:pt x="33" y="76"/>
                      <a:pt x="27" y="68"/>
                    </a:cubicBezTo>
                    <a:cubicBezTo>
                      <a:pt x="23" y="71"/>
                      <a:pt x="18" y="71"/>
                      <a:pt x="14" y="70"/>
                    </a:cubicBezTo>
                    <a:cubicBezTo>
                      <a:pt x="12" y="68"/>
                      <a:pt x="12" y="67"/>
                      <a:pt x="12" y="65"/>
                    </a:cubicBezTo>
                    <a:cubicBezTo>
                      <a:pt x="14" y="63"/>
                      <a:pt x="16" y="60"/>
                      <a:pt x="18" y="58"/>
                    </a:cubicBezTo>
                    <a:cubicBezTo>
                      <a:pt x="13" y="49"/>
                      <a:pt x="3" y="48"/>
                      <a:pt x="0" y="42"/>
                    </a:cubicBezTo>
                    <a:cubicBezTo>
                      <a:pt x="0" y="42"/>
                      <a:pt x="0" y="42"/>
                      <a:pt x="0" y="42"/>
                    </a:cubicBezTo>
                    <a:cubicBezTo>
                      <a:pt x="6" y="39"/>
                      <a:pt x="15" y="35"/>
                      <a:pt x="21" y="39"/>
                    </a:cubicBezTo>
                    <a:cubicBezTo>
                      <a:pt x="23" y="42"/>
                      <a:pt x="25" y="45"/>
                      <a:pt x="27" y="48"/>
                    </a:cubicBezTo>
                    <a:cubicBezTo>
                      <a:pt x="29" y="50"/>
                      <a:pt x="31" y="51"/>
                      <a:pt x="34" y="52"/>
                    </a:cubicBezTo>
                    <a:cubicBezTo>
                      <a:pt x="34" y="55"/>
                      <a:pt x="35" y="58"/>
                      <a:pt x="36" y="62"/>
                    </a:cubicBezTo>
                    <a:cubicBezTo>
                      <a:pt x="39" y="56"/>
                      <a:pt x="38" y="50"/>
                      <a:pt x="39" y="44"/>
                    </a:cubicBezTo>
                    <a:cubicBezTo>
                      <a:pt x="42" y="39"/>
                      <a:pt x="44" y="34"/>
                      <a:pt x="46" y="28"/>
                    </a:cubicBezTo>
                    <a:cubicBezTo>
                      <a:pt x="42" y="22"/>
                      <a:pt x="31" y="15"/>
                      <a:pt x="29" y="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194" name="íṩľíḑè"/>
              <p:cNvSpPr/>
              <p:nvPr/>
            </p:nvSpPr>
            <p:spPr bwMode="auto">
              <a:xfrm>
                <a:off x="2243034" y="6066428"/>
                <a:ext cx="22225" cy="25400"/>
              </a:xfrm>
              <a:custGeom>
                <a:avLst/>
                <a:gdLst>
                  <a:gd name="T0" fmla="*/ 0 w 14"/>
                  <a:gd name="T1" fmla="*/ 12 h 16"/>
                  <a:gd name="T2" fmla="*/ 2 w 14"/>
                  <a:gd name="T3" fmla="*/ 0 h 16"/>
                  <a:gd name="T4" fmla="*/ 14 w 14"/>
                  <a:gd name="T5" fmla="*/ 4 h 16"/>
                  <a:gd name="T6" fmla="*/ 11 w 14"/>
                  <a:gd name="T7" fmla="*/ 16 h 16"/>
                  <a:gd name="T8" fmla="*/ 0 w 14"/>
                  <a:gd name="T9" fmla="*/ 12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4" h="16">
                    <a:moveTo>
                      <a:pt x="0" y="12"/>
                    </a:moveTo>
                    <a:lnTo>
                      <a:pt x="2" y="0"/>
                    </a:lnTo>
                    <a:lnTo>
                      <a:pt x="14" y="4"/>
                    </a:lnTo>
                    <a:lnTo>
                      <a:pt x="11" y="16"/>
                    </a:lnTo>
                    <a:lnTo>
                      <a:pt x="0" y="1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195" name="îṣḷïḓê"/>
              <p:cNvSpPr/>
              <p:nvPr/>
            </p:nvSpPr>
            <p:spPr bwMode="auto">
              <a:xfrm>
                <a:off x="2292247" y="6042615"/>
                <a:ext cx="49213" cy="100013"/>
              </a:xfrm>
              <a:custGeom>
                <a:avLst/>
                <a:gdLst>
                  <a:gd name="T0" fmla="*/ 17 w 27"/>
                  <a:gd name="T1" fmla="*/ 54 h 54"/>
                  <a:gd name="T2" fmla="*/ 7 w 27"/>
                  <a:gd name="T3" fmla="*/ 52 h 54"/>
                  <a:gd name="T4" fmla="*/ 14 w 27"/>
                  <a:gd name="T5" fmla="*/ 15 h 54"/>
                  <a:gd name="T6" fmla="*/ 0 w 27"/>
                  <a:gd name="T7" fmla="*/ 20 h 54"/>
                  <a:gd name="T8" fmla="*/ 1 w 27"/>
                  <a:gd name="T9" fmla="*/ 11 h 54"/>
                  <a:gd name="T10" fmla="*/ 11 w 27"/>
                  <a:gd name="T11" fmla="*/ 7 h 54"/>
                  <a:gd name="T12" fmla="*/ 18 w 27"/>
                  <a:gd name="T13" fmla="*/ 0 h 54"/>
                  <a:gd name="T14" fmla="*/ 27 w 27"/>
                  <a:gd name="T15" fmla="*/ 2 h 54"/>
                  <a:gd name="T16" fmla="*/ 17 w 27"/>
                  <a:gd name="T17" fmla="*/ 54 h 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7" h="54">
                    <a:moveTo>
                      <a:pt x="17" y="54"/>
                    </a:moveTo>
                    <a:cubicBezTo>
                      <a:pt x="7" y="52"/>
                      <a:pt x="7" y="52"/>
                      <a:pt x="7" y="52"/>
                    </a:cubicBezTo>
                    <a:cubicBezTo>
                      <a:pt x="14" y="15"/>
                      <a:pt x="14" y="15"/>
                      <a:pt x="14" y="15"/>
                    </a:cubicBezTo>
                    <a:cubicBezTo>
                      <a:pt x="10" y="17"/>
                      <a:pt x="5" y="19"/>
                      <a:pt x="0" y="20"/>
                    </a:cubicBezTo>
                    <a:cubicBezTo>
                      <a:pt x="1" y="11"/>
                      <a:pt x="1" y="11"/>
                      <a:pt x="1" y="11"/>
                    </a:cubicBezTo>
                    <a:cubicBezTo>
                      <a:pt x="4" y="10"/>
                      <a:pt x="7" y="9"/>
                      <a:pt x="11" y="7"/>
                    </a:cubicBezTo>
                    <a:cubicBezTo>
                      <a:pt x="14" y="6"/>
                      <a:pt x="17" y="3"/>
                      <a:pt x="18" y="0"/>
                    </a:cubicBezTo>
                    <a:cubicBezTo>
                      <a:pt x="27" y="2"/>
                      <a:pt x="27" y="2"/>
                      <a:pt x="27" y="2"/>
                    </a:cubicBezTo>
                    <a:lnTo>
                      <a:pt x="17" y="5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196" name="i$ḻîḓé"/>
              <p:cNvSpPr/>
              <p:nvPr/>
            </p:nvSpPr>
            <p:spPr bwMode="auto">
              <a:xfrm>
                <a:off x="2363684" y="6052140"/>
                <a:ext cx="66675" cy="100013"/>
              </a:xfrm>
              <a:custGeom>
                <a:avLst/>
                <a:gdLst>
                  <a:gd name="T0" fmla="*/ 0 w 36"/>
                  <a:gd name="T1" fmla="*/ 40 h 54"/>
                  <a:gd name="T2" fmla="*/ 10 w 36"/>
                  <a:gd name="T3" fmla="*/ 39 h 54"/>
                  <a:gd name="T4" fmla="*/ 11 w 36"/>
                  <a:gd name="T5" fmla="*/ 44 h 54"/>
                  <a:gd name="T6" fmla="*/ 15 w 36"/>
                  <a:gd name="T7" fmla="*/ 46 h 54"/>
                  <a:gd name="T8" fmla="*/ 21 w 36"/>
                  <a:gd name="T9" fmla="*/ 43 h 54"/>
                  <a:gd name="T10" fmla="*/ 24 w 36"/>
                  <a:gd name="T11" fmla="*/ 31 h 54"/>
                  <a:gd name="T12" fmla="*/ 15 w 36"/>
                  <a:gd name="T13" fmla="*/ 35 h 54"/>
                  <a:gd name="T14" fmla="*/ 4 w 36"/>
                  <a:gd name="T15" fmla="*/ 30 h 54"/>
                  <a:gd name="T16" fmla="*/ 0 w 36"/>
                  <a:gd name="T17" fmla="*/ 17 h 54"/>
                  <a:gd name="T18" fmla="*/ 6 w 36"/>
                  <a:gd name="T19" fmla="*/ 4 h 54"/>
                  <a:gd name="T20" fmla="*/ 19 w 36"/>
                  <a:gd name="T21" fmla="*/ 0 h 54"/>
                  <a:gd name="T22" fmla="*/ 31 w 36"/>
                  <a:gd name="T23" fmla="*/ 7 h 54"/>
                  <a:gd name="T24" fmla="*/ 35 w 36"/>
                  <a:gd name="T25" fmla="*/ 28 h 54"/>
                  <a:gd name="T26" fmla="*/ 28 w 36"/>
                  <a:gd name="T27" fmla="*/ 49 h 54"/>
                  <a:gd name="T28" fmla="*/ 14 w 36"/>
                  <a:gd name="T29" fmla="*/ 54 h 54"/>
                  <a:gd name="T30" fmla="*/ 4 w 36"/>
                  <a:gd name="T31" fmla="*/ 50 h 54"/>
                  <a:gd name="T32" fmla="*/ 0 w 36"/>
                  <a:gd name="T33" fmla="*/ 40 h 54"/>
                  <a:gd name="T34" fmla="*/ 24 w 36"/>
                  <a:gd name="T35" fmla="*/ 19 h 54"/>
                  <a:gd name="T36" fmla="*/ 23 w 36"/>
                  <a:gd name="T37" fmla="*/ 11 h 54"/>
                  <a:gd name="T38" fmla="*/ 18 w 36"/>
                  <a:gd name="T39" fmla="*/ 8 h 54"/>
                  <a:gd name="T40" fmla="*/ 13 w 36"/>
                  <a:gd name="T41" fmla="*/ 10 h 54"/>
                  <a:gd name="T42" fmla="*/ 10 w 36"/>
                  <a:gd name="T43" fmla="*/ 17 h 54"/>
                  <a:gd name="T44" fmla="*/ 12 w 36"/>
                  <a:gd name="T45" fmla="*/ 25 h 54"/>
                  <a:gd name="T46" fmla="*/ 17 w 36"/>
                  <a:gd name="T47" fmla="*/ 28 h 54"/>
                  <a:gd name="T48" fmla="*/ 22 w 36"/>
                  <a:gd name="T49" fmla="*/ 26 h 54"/>
                  <a:gd name="T50" fmla="*/ 24 w 36"/>
                  <a:gd name="T51" fmla="*/ 19 h 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6" h="54">
                    <a:moveTo>
                      <a:pt x="0" y="40"/>
                    </a:moveTo>
                    <a:cubicBezTo>
                      <a:pt x="10" y="39"/>
                      <a:pt x="10" y="39"/>
                      <a:pt x="10" y="39"/>
                    </a:cubicBezTo>
                    <a:cubicBezTo>
                      <a:pt x="10" y="41"/>
                      <a:pt x="10" y="43"/>
                      <a:pt x="11" y="44"/>
                    </a:cubicBezTo>
                    <a:cubicBezTo>
                      <a:pt x="12" y="45"/>
                      <a:pt x="14" y="46"/>
                      <a:pt x="15" y="46"/>
                    </a:cubicBezTo>
                    <a:cubicBezTo>
                      <a:pt x="17" y="46"/>
                      <a:pt x="19" y="45"/>
                      <a:pt x="21" y="43"/>
                    </a:cubicBezTo>
                    <a:cubicBezTo>
                      <a:pt x="22" y="41"/>
                      <a:pt x="24" y="37"/>
                      <a:pt x="24" y="31"/>
                    </a:cubicBezTo>
                    <a:cubicBezTo>
                      <a:pt x="22" y="34"/>
                      <a:pt x="18" y="35"/>
                      <a:pt x="15" y="35"/>
                    </a:cubicBezTo>
                    <a:cubicBezTo>
                      <a:pt x="10" y="35"/>
                      <a:pt x="7" y="33"/>
                      <a:pt x="4" y="30"/>
                    </a:cubicBezTo>
                    <a:cubicBezTo>
                      <a:pt x="1" y="26"/>
                      <a:pt x="0" y="22"/>
                      <a:pt x="0" y="17"/>
                    </a:cubicBezTo>
                    <a:cubicBezTo>
                      <a:pt x="1" y="11"/>
                      <a:pt x="3" y="7"/>
                      <a:pt x="6" y="4"/>
                    </a:cubicBezTo>
                    <a:cubicBezTo>
                      <a:pt x="10" y="1"/>
                      <a:pt x="14" y="0"/>
                      <a:pt x="19" y="0"/>
                    </a:cubicBezTo>
                    <a:cubicBezTo>
                      <a:pt x="24" y="0"/>
                      <a:pt x="28" y="3"/>
                      <a:pt x="31" y="7"/>
                    </a:cubicBezTo>
                    <a:cubicBezTo>
                      <a:pt x="35" y="12"/>
                      <a:pt x="36" y="19"/>
                      <a:pt x="35" y="28"/>
                    </a:cubicBezTo>
                    <a:cubicBezTo>
                      <a:pt x="34" y="38"/>
                      <a:pt x="32" y="44"/>
                      <a:pt x="28" y="49"/>
                    </a:cubicBezTo>
                    <a:cubicBezTo>
                      <a:pt x="24" y="53"/>
                      <a:pt x="20" y="54"/>
                      <a:pt x="14" y="54"/>
                    </a:cubicBezTo>
                    <a:cubicBezTo>
                      <a:pt x="10" y="54"/>
                      <a:pt x="7" y="52"/>
                      <a:pt x="4" y="50"/>
                    </a:cubicBezTo>
                    <a:cubicBezTo>
                      <a:pt x="2" y="48"/>
                      <a:pt x="0" y="44"/>
                      <a:pt x="0" y="40"/>
                    </a:cubicBezTo>
                    <a:close/>
                    <a:moveTo>
                      <a:pt x="24" y="19"/>
                    </a:moveTo>
                    <a:cubicBezTo>
                      <a:pt x="25" y="16"/>
                      <a:pt x="24" y="13"/>
                      <a:pt x="23" y="11"/>
                    </a:cubicBezTo>
                    <a:cubicBezTo>
                      <a:pt x="21" y="10"/>
                      <a:pt x="20" y="9"/>
                      <a:pt x="18" y="8"/>
                    </a:cubicBezTo>
                    <a:cubicBezTo>
                      <a:pt x="16" y="8"/>
                      <a:pt x="14" y="9"/>
                      <a:pt x="13" y="10"/>
                    </a:cubicBezTo>
                    <a:cubicBezTo>
                      <a:pt x="11" y="12"/>
                      <a:pt x="11" y="14"/>
                      <a:pt x="10" y="17"/>
                    </a:cubicBezTo>
                    <a:cubicBezTo>
                      <a:pt x="10" y="21"/>
                      <a:pt x="11" y="23"/>
                      <a:pt x="12" y="25"/>
                    </a:cubicBezTo>
                    <a:cubicBezTo>
                      <a:pt x="13" y="27"/>
                      <a:pt x="15" y="28"/>
                      <a:pt x="17" y="28"/>
                    </a:cubicBezTo>
                    <a:cubicBezTo>
                      <a:pt x="19" y="28"/>
                      <a:pt x="20" y="27"/>
                      <a:pt x="22" y="26"/>
                    </a:cubicBezTo>
                    <a:cubicBezTo>
                      <a:pt x="23" y="24"/>
                      <a:pt x="24" y="22"/>
                      <a:pt x="24" y="1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197" name="îṧľîḋé"/>
              <p:cNvSpPr/>
              <p:nvPr/>
            </p:nvSpPr>
            <p:spPr bwMode="auto">
              <a:xfrm>
                <a:off x="2446234" y="6053728"/>
                <a:ext cx="66675" cy="100013"/>
              </a:xfrm>
              <a:custGeom>
                <a:avLst/>
                <a:gdLst>
                  <a:gd name="T0" fmla="*/ 0 w 36"/>
                  <a:gd name="T1" fmla="*/ 40 h 54"/>
                  <a:gd name="T2" fmla="*/ 10 w 36"/>
                  <a:gd name="T3" fmla="*/ 39 h 54"/>
                  <a:gd name="T4" fmla="*/ 13 w 36"/>
                  <a:gd name="T5" fmla="*/ 44 h 54"/>
                  <a:gd name="T6" fmla="*/ 18 w 36"/>
                  <a:gd name="T7" fmla="*/ 46 h 54"/>
                  <a:gd name="T8" fmla="*/ 23 w 36"/>
                  <a:gd name="T9" fmla="*/ 43 h 54"/>
                  <a:gd name="T10" fmla="*/ 25 w 36"/>
                  <a:gd name="T11" fmla="*/ 35 h 54"/>
                  <a:gd name="T12" fmla="*/ 23 w 36"/>
                  <a:gd name="T13" fmla="*/ 28 h 54"/>
                  <a:gd name="T14" fmla="*/ 17 w 36"/>
                  <a:gd name="T15" fmla="*/ 26 h 54"/>
                  <a:gd name="T16" fmla="*/ 9 w 36"/>
                  <a:gd name="T17" fmla="*/ 30 h 54"/>
                  <a:gd name="T18" fmla="*/ 1 w 36"/>
                  <a:gd name="T19" fmla="*/ 29 h 54"/>
                  <a:gd name="T20" fmla="*/ 5 w 36"/>
                  <a:gd name="T21" fmla="*/ 1 h 54"/>
                  <a:gd name="T22" fmla="*/ 32 w 36"/>
                  <a:gd name="T23" fmla="*/ 0 h 54"/>
                  <a:gd name="T24" fmla="*/ 32 w 36"/>
                  <a:gd name="T25" fmla="*/ 10 h 54"/>
                  <a:gd name="T26" fmla="*/ 13 w 36"/>
                  <a:gd name="T27" fmla="*/ 10 h 54"/>
                  <a:gd name="T28" fmla="*/ 12 w 36"/>
                  <a:gd name="T29" fmla="*/ 19 h 54"/>
                  <a:gd name="T30" fmla="*/ 19 w 36"/>
                  <a:gd name="T31" fmla="*/ 17 h 54"/>
                  <a:gd name="T32" fmla="*/ 30 w 36"/>
                  <a:gd name="T33" fmla="*/ 22 h 54"/>
                  <a:gd name="T34" fmla="*/ 36 w 36"/>
                  <a:gd name="T35" fmla="*/ 34 h 54"/>
                  <a:gd name="T36" fmla="*/ 32 w 36"/>
                  <a:gd name="T37" fmla="*/ 46 h 54"/>
                  <a:gd name="T38" fmla="*/ 18 w 36"/>
                  <a:gd name="T39" fmla="*/ 54 h 54"/>
                  <a:gd name="T40" fmla="*/ 6 w 36"/>
                  <a:gd name="T41" fmla="*/ 50 h 54"/>
                  <a:gd name="T42" fmla="*/ 0 w 36"/>
                  <a:gd name="T43" fmla="*/ 40 h 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36" h="54">
                    <a:moveTo>
                      <a:pt x="0" y="40"/>
                    </a:moveTo>
                    <a:cubicBezTo>
                      <a:pt x="10" y="39"/>
                      <a:pt x="10" y="39"/>
                      <a:pt x="10" y="39"/>
                    </a:cubicBezTo>
                    <a:cubicBezTo>
                      <a:pt x="11" y="41"/>
                      <a:pt x="11" y="43"/>
                      <a:pt x="13" y="44"/>
                    </a:cubicBezTo>
                    <a:cubicBezTo>
                      <a:pt x="14" y="45"/>
                      <a:pt x="16" y="46"/>
                      <a:pt x="18" y="46"/>
                    </a:cubicBezTo>
                    <a:cubicBezTo>
                      <a:pt x="20" y="46"/>
                      <a:pt x="22" y="45"/>
                      <a:pt x="23" y="43"/>
                    </a:cubicBezTo>
                    <a:cubicBezTo>
                      <a:pt x="25" y="41"/>
                      <a:pt x="25" y="38"/>
                      <a:pt x="25" y="35"/>
                    </a:cubicBezTo>
                    <a:cubicBezTo>
                      <a:pt x="25" y="32"/>
                      <a:pt x="24" y="29"/>
                      <a:pt x="23" y="28"/>
                    </a:cubicBezTo>
                    <a:cubicBezTo>
                      <a:pt x="21" y="26"/>
                      <a:pt x="19" y="25"/>
                      <a:pt x="17" y="26"/>
                    </a:cubicBezTo>
                    <a:cubicBezTo>
                      <a:pt x="14" y="26"/>
                      <a:pt x="11" y="27"/>
                      <a:pt x="9" y="30"/>
                    </a:cubicBezTo>
                    <a:cubicBezTo>
                      <a:pt x="1" y="29"/>
                      <a:pt x="1" y="29"/>
                      <a:pt x="1" y="29"/>
                    </a:cubicBezTo>
                    <a:cubicBezTo>
                      <a:pt x="5" y="1"/>
                      <a:pt x="5" y="1"/>
                      <a:pt x="5" y="1"/>
                    </a:cubicBezTo>
                    <a:cubicBezTo>
                      <a:pt x="32" y="0"/>
                      <a:pt x="32" y="0"/>
                      <a:pt x="32" y="0"/>
                    </a:cubicBezTo>
                    <a:cubicBezTo>
                      <a:pt x="32" y="10"/>
                      <a:pt x="32" y="10"/>
                      <a:pt x="32" y="10"/>
                    </a:cubicBezTo>
                    <a:cubicBezTo>
                      <a:pt x="13" y="10"/>
                      <a:pt x="13" y="10"/>
                      <a:pt x="13" y="10"/>
                    </a:cubicBezTo>
                    <a:cubicBezTo>
                      <a:pt x="12" y="19"/>
                      <a:pt x="12" y="19"/>
                      <a:pt x="12" y="19"/>
                    </a:cubicBezTo>
                    <a:cubicBezTo>
                      <a:pt x="14" y="18"/>
                      <a:pt x="16" y="17"/>
                      <a:pt x="19" y="17"/>
                    </a:cubicBezTo>
                    <a:cubicBezTo>
                      <a:pt x="23" y="17"/>
                      <a:pt x="27" y="19"/>
                      <a:pt x="30" y="22"/>
                    </a:cubicBezTo>
                    <a:cubicBezTo>
                      <a:pt x="34" y="25"/>
                      <a:pt x="35" y="29"/>
                      <a:pt x="36" y="34"/>
                    </a:cubicBezTo>
                    <a:cubicBezTo>
                      <a:pt x="36" y="39"/>
                      <a:pt x="35" y="43"/>
                      <a:pt x="32" y="46"/>
                    </a:cubicBezTo>
                    <a:cubicBezTo>
                      <a:pt x="29" y="51"/>
                      <a:pt x="24" y="54"/>
                      <a:pt x="18" y="54"/>
                    </a:cubicBezTo>
                    <a:cubicBezTo>
                      <a:pt x="13" y="54"/>
                      <a:pt x="9" y="53"/>
                      <a:pt x="6" y="50"/>
                    </a:cubicBezTo>
                    <a:cubicBezTo>
                      <a:pt x="3" y="48"/>
                      <a:pt x="1" y="44"/>
                      <a:pt x="0" y="4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198" name="i$ḻïḑê"/>
              <p:cNvSpPr/>
              <p:nvPr/>
            </p:nvSpPr>
            <p:spPr bwMode="auto">
              <a:xfrm>
                <a:off x="2522434" y="6045790"/>
                <a:ext cx="74613" cy="103188"/>
              </a:xfrm>
              <a:custGeom>
                <a:avLst/>
                <a:gdLst>
                  <a:gd name="T0" fmla="*/ 39 w 40"/>
                  <a:gd name="T1" fmla="*/ 42 h 56"/>
                  <a:gd name="T2" fmla="*/ 40 w 40"/>
                  <a:gd name="T3" fmla="*/ 51 h 56"/>
                  <a:gd name="T4" fmla="*/ 5 w 40"/>
                  <a:gd name="T5" fmla="*/ 56 h 56"/>
                  <a:gd name="T6" fmla="*/ 7 w 40"/>
                  <a:gd name="T7" fmla="*/ 46 h 56"/>
                  <a:gd name="T8" fmla="*/ 16 w 40"/>
                  <a:gd name="T9" fmla="*/ 32 h 56"/>
                  <a:gd name="T10" fmla="*/ 23 w 40"/>
                  <a:gd name="T11" fmla="*/ 22 h 56"/>
                  <a:gd name="T12" fmla="*/ 24 w 40"/>
                  <a:gd name="T13" fmla="*/ 15 h 56"/>
                  <a:gd name="T14" fmla="*/ 22 w 40"/>
                  <a:gd name="T15" fmla="*/ 10 h 56"/>
                  <a:gd name="T16" fmla="*/ 17 w 40"/>
                  <a:gd name="T17" fmla="*/ 9 h 56"/>
                  <a:gd name="T18" fmla="*/ 12 w 40"/>
                  <a:gd name="T19" fmla="*/ 12 h 56"/>
                  <a:gd name="T20" fmla="*/ 11 w 40"/>
                  <a:gd name="T21" fmla="*/ 19 h 56"/>
                  <a:gd name="T22" fmla="*/ 1 w 40"/>
                  <a:gd name="T23" fmla="*/ 19 h 56"/>
                  <a:gd name="T24" fmla="*/ 4 w 40"/>
                  <a:gd name="T25" fmla="*/ 6 h 56"/>
                  <a:gd name="T26" fmla="*/ 16 w 40"/>
                  <a:gd name="T27" fmla="*/ 1 h 56"/>
                  <a:gd name="T28" fmla="*/ 28 w 40"/>
                  <a:gd name="T29" fmla="*/ 3 h 56"/>
                  <a:gd name="T30" fmla="*/ 34 w 40"/>
                  <a:gd name="T31" fmla="*/ 13 h 56"/>
                  <a:gd name="T32" fmla="*/ 34 w 40"/>
                  <a:gd name="T33" fmla="*/ 20 h 56"/>
                  <a:gd name="T34" fmla="*/ 31 w 40"/>
                  <a:gd name="T35" fmla="*/ 27 h 56"/>
                  <a:gd name="T36" fmla="*/ 26 w 40"/>
                  <a:gd name="T37" fmla="*/ 35 h 56"/>
                  <a:gd name="T38" fmla="*/ 20 w 40"/>
                  <a:gd name="T39" fmla="*/ 42 h 56"/>
                  <a:gd name="T40" fmla="*/ 19 w 40"/>
                  <a:gd name="T41" fmla="*/ 45 h 56"/>
                  <a:gd name="T42" fmla="*/ 39 w 40"/>
                  <a:gd name="T43" fmla="*/ 42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40" h="56">
                    <a:moveTo>
                      <a:pt x="39" y="42"/>
                    </a:moveTo>
                    <a:cubicBezTo>
                      <a:pt x="40" y="51"/>
                      <a:pt x="40" y="51"/>
                      <a:pt x="40" y="51"/>
                    </a:cubicBezTo>
                    <a:cubicBezTo>
                      <a:pt x="5" y="56"/>
                      <a:pt x="5" y="56"/>
                      <a:pt x="5" y="56"/>
                    </a:cubicBezTo>
                    <a:cubicBezTo>
                      <a:pt x="5" y="53"/>
                      <a:pt x="5" y="49"/>
                      <a:pt x="7" y="46"/>
                    </a:cubicBezTo>
                    <a:cubicBezTo>
                      <a:pt x="8" y="42"/>
                      <a:pt x="11" y="38"/>
                      <a:pt x="16" y="32"/>
                    </a:cubicBezTo>
                    <a:cubicBezTo>
                      <a:pt x="20" y="27"/>
                      <a:pt x="22" y="23"/>
                      <a:pt x="23" y="22"/>
                    </a:cubicBezTo>
                    <a:cubicBezTo>
                      <a:pt x="24" y="19"/>
                      <a:pt x="25" y="17"/>
                      <a:pt x="24" y="15"/>
                    </a:cubicBezTo>
                    <a:cubicBezTo>
                      <a:pt x="24" y="13"/>
                      <a:pt x="23" y="11"/>
                      <a:pt x="22" y="10"/>
                    </a:cubicBezTo>
                    <a:cubicBezTo>
                      <a:pt x="21" y="9"/>
                      <a:pt x="19" y="9"/>
                      <a:pt x="17" y="9"/>
                    </a:cubicBezTo>
                    <a:cubicBezTo>
                      <a:pt x="15" y="10"/>
                      <a:pt x="13" y="11"/>
                      <a:pt x="12" y="12"/>
                    </a:cubicBezTo>
                    <a:cubicBezTo>
                      <a:pt x="11" y="13"/>
                      <a:pt x="10" y="16"/>
                      <a:pt x="11" y="19"/>
                    </a:cubicBezTo>
                    <a:cubicBezTo>
                      <a:pt x="1" y="19"/>
                      <a:pt x="1" y="19"/>
                      <a:pt x="1" y="19"/>
                    </a:cubicBezTo>
                    <a:cubicBezTo>
                      <a:pt x="0" y="13"/>
                      <a:pt x="2" y="9"/>
                      <a:pt x="4" y="6"/>
                    </a:cubicBezTo>
                    <a:cubicBezTo>
                      <a:pt x="7" y="3"/>
                      <a:pt x="11" y="2"/>
                      <a:pt x="16" y="1"/>
                    </a:cubicBezTo>
                    <a:cubicBezTo>
                      <a:pt x="21" y="0"/>
                      <a:pt x="25" y="1"/>
                      <a:pt x="28" y="3"/>
                    </a:cubicBezTo>
                    <a:cubicBezTo>
                      <a:pt x="32" y="6"/>
                      <a:pt x="34" y="9"/>
                      <a:pt x="34" y="13"/>
                    </a:cubicBezTo>
                    <a:cubicBezTo>
                      <a:pt x="35" y="15"/>
                      <a:pt x="35" y="18"/>
                      <a:pt x="34" y="20"/>
                    </a:cubicBezTo>
                    <a:cubicBezTo>
                      <a:pt x="34" y="22"/>
                      <a:pt x="33" y="25"/>
                      <a:pt x="31" y="27"/>
                    </a:cubicBezTo>
                    <a:cubicBezTo>
                      <a:pt x="30" y="29"/>
                      <a:pt x="28" y="32"/>
                      <a:pt x="26" y="35"/>
                    </a:cubicBezTo>
                    <a:cubicBezTo>
                      <a:pt x="23" y="38"/>
                      <a:pt x="21" y="41"/>
                      <a:pt x="20" y="42"/>
                    </a:cubicBezTo>
                    <a:cubicBezTo>
                      <a:pt x="20" y="43"/>
                      <a:pt x="19" y="44"/>
                      <a:pt x="19" y="45"/>
                    </a:cubicBezTo>
                    <a:lnTo>
                      <a:pt x="39" y="4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199" name="íṧlíḍe"/>
              <p:cNvSpPr/>
              <p:nvPr/>
            </p:nvSpPr>
            <p:spPr bwMode="auto">
              <a:xfrm>
                <a:off x="2611334" y="6072778"/>
                <a:ext cx="22225" cy="23813"/>
              </a:xfrm>
              <a:custGeom>
                <a:avLst/>
                <a:gdLst>
                  <a:gd name="T0" fmla="*/ 3 w 14"/>
                  <a:gd name="T1" fmla="*/ 15 h 15"/>
                  <a:gd name="T2" fmla="*/ 0 w 14"/>
                  <a:gd name="T3" fmla="*/ 3 h 15"/>
                  <a:gd name="T4" fmla="*/ 11 w 14"/>
                  <a:gd name="T5" fmla="*/ 0 h 15"/>
                  <a:gd name="T6" fmla="*/ 14 w 14"/>
                  <a:gd name="T7" fmla="*/ 12 h 15"/>
                  <a:gd name="T8" fmla="*/ 3 w 14"/>
                  <a:gd name="T9" fmla="*/ 15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4" h="15">
                    <a:moveTo>
                      <a:pt x="3" y="15"/>
                    </a:moveTo>
                    <a:lnTo>
                      <a:pt x="0" y="3"/>
                    </a:lnTo>
                    <a:lnTo>
                      <a:pt x="11" y="0"/>
                    </a:lnTo>
                    <a:lnTo>
                      <a:pt x="14" y="12"/>
                    </a:lnTo>
                    <a:lnTo>
                      <a:pt x="3" y="1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200" name="îŝľîḓê"/>
              <p:cNvSpPr/>
              <p:nvPr/>
            </p:nvSpPr>
            <p:spPr bwMode="auto">
              <a:xfrm>
                <a:off x="2108097" y="5261565"/>
                <a:ext cx="141288" cy="257175"/>
              </a:xfrm>
              <a:custGeom>
                <a:avLst/>
                <a:gdLst>
                  <a:gd name="T0" fmla="*/ 12 w 77"/>
                  <a:gd name="T1" fmla="*/ 25 h 139"/>
                  <a:gd name="T2" fmla="*/ 9 w 77"/>
                  <a:gd name="T3" fmla="*/ 21 h 139"/>
                  <a:gd name="T4" fmla="*/ 12 w 77"/>
                  <a:gd name="T5" fmla="*/ 17 h 139"/>
                  <a:gd name="T6" fmla="*/ 39 w 77"/>
                  <a:gd name="T7" fmla="*/ 21 h 139"/>
                  <a:gd name="T8" fmla="*/ 46 w 77"/>
                  <a:gd name="T9" fmla="*/ 36 h 139"/>
                  <a:gd name="T10" fmla="*/ 46 w 77"/>
                  <a:gd name="T11" fmla="*/ 39 h 139"/>
                  <a:gd name="T12" fmla="*/ 61 w 77"/>
                  <a:gd name="T13" fmla="*/ 33 h 139"/>
                  <a:gd name="T14" fmla="*/ 57 w 77"/>
                  <a:gd name="T15" fmla="*/ 16 h 139"/>
                  <a:gd name="T16" fmla="*/ 35 w 77"/>
                  <a:gd name="T17" fmla="*/ 9 h 139"/>
                  <a:gd name="T18" fmla="*/ 27 w 77"/>
                  <a:gd name="T19" fmla="*/ 3 h 139"/>
                  <a:gd name="T20" fmla="*/ 32 w 77"/>
                  <a:gd name="T21" fmla="*/ 0 h 139"/>
                  <a:gd name="T22" fmla="*/ 61 w 77"/>
                  <a:gd name="T23" fmla="*/ 9 h 139"/>
                  <a:gd name="T24" fmla="*/ 72 w 77"/>
                  <a:gd name="T25" fmla="*/ 30 h 139"/>
                  <a:gd name="T26" fmla="*/ 48 w 77"/>
                  <a:gd name="T27" fmla="*/ 45 h 139"/>
                  <a:gd name="T28" fmla="*/ 45 w 77"/>
                  <a:gd name="T29" fmla="*/ 46 h 139"/>
                  <a:gd name="T30" fmla="*/ 45 w 77"/>
                  <a:gd name="T31" fmla="*/ 54 h 139"/>
                  <a:gd name="T32" fmla="*/ 59 w 77"/>
                  <a:gd name="T33" fmla="*/ 61 h 139"/>
                  <a:gd name="T34" fmla="*/ 77 w 77"/>
                  <a:gd name="T35" fmla="*/ 80 h 139"/>
                  <a:gd name="T36" fmla="*/ 75 w 77"/>
                  <a:gd name="T37" fmla="*/ 84 h 139"/>
                  <a:gd name="T38" fmla="*/ 71 w 77"/>
                  <a:gd name="T39" fmla="*/ 83 h 139"/>
                  <a:gd name="T40" fmla="*/ 59 w 77"/>
                  <a:gd name="T41" fmla="*/ 70 h 139"/>
                  <a:gd name="T42" fmla="*/ 45 w 77"/>
                  <a:gd name="T43" fmla="*/ 63 h 139"/>
                  <a:gd name="T44" fmla="*/ 45 w 77"/>
                  <a:gd name="T45" fmla="*/ 77 h 139"/>
                  <a:gd name="T46" fmla="*/ 53 w 77"/>
                  <a:gd name="T47" fmla="*/ 83 h 139"/>
                  <a:gd name="T48" fmla="*/ 66 w 77"/>
                  <a:gd name="T49" fmla="*/ 102 h 139"/>
                  <a:gd name="T50" fmla="*/ 72 w 77"/>
                  <a:gd name="T51" fmla="*/ 121 h 139"/>
                  <a:gd name="T52" fmla="*/ 70 w 77"/>
                  <a:gd name="T53" fmla="*/ 124 h 139"/>
                  <a:gd name="T54" fmla="*/ 67 w 77"/>
                  <a:gd name="T55" fmla="*/ 122 h 139"/>
                  <a:gd name="T56" fmla="*/ 64 w 77"/>
                  <a:gd name="T57" fmla="*/ 115 h 139"/>
                  <a:gd name="T58" fmla="*/ 55 w 77"/>
                  <a:gd name="T59" fmla="*/ 97 h 139"/>
                  <a:gd name="T60" fmla="*/ 45 w 77"/>
                  <a:gd name="T61" fmla="*/ 87 h 139"/>
                  <a:gd name="T62" fmla="*/ 45 w 77"/>
                  <a:gd name="T63" fmla="*/ 102 h 139"/>
                  <a:gd name="T64" fmla="*/ 44 w 77"/>
                  <a:gd name="T65" fmla="*/ 136 h 139"/>
                  <a:gd name="T66" fmla="*/ 41 w 77"/>
                  <a:gd name="T67" fmla="*/ 139 h 139"/>
                  <a:gd name="T68" fmla="*/ 38 w 77"/>
                  <a:gd name="T69" fmla="*/ 137 h 139"/>
                  <a:gd name="T70" fmla="*/ 37 w 77"/>
                  <a:gd name="T71" fmla="*/ 103 h 139"/>
                  <a:gd name="T72" fmla="*/ 37 w 77"/>
                  <a:gd name="T73" fmla="*/ 86 h 139"/>
                  <a:gd name="T74" fmla="*/ 28 w 77"/>
                  <a:gd name="T75" fmla="*/ 92 h 139"/>
                  <a:gd name="T76" fmla="*/ 19 w 77"/>
                  <a:gd name="T77" fmla="*/ 109 h 139"/>
                  <a:gd name="T78" fmla="*/ 12 w 77"/>
                  <a:gd name="T79" fmla="*/ 121 h 139"/>
                  <a:gd name="T80" fmla="*/ 8 w 77"/>
                  <a:gd name="T81" fmla="*/ 122 h 139"/>
                  <a:gd name="T82" fmla="*/ 7 w 77"/>
                  <a:gd name="T83" fmla="*/ 120 h 139"/>
                  <a:gd name="T84" fmla="*/ 8 w 77"/>
                  <a:gd name="T85" fmla="*/ 117 h 139"/>
                  <a:gd name="T86" fmla="*/ 11 w 77"/>
                  <a:gd name="T87" fmla="*/ 106 h 139"/>
                  <a:gd name="T88" fmla="*/ 22 w 77"/>
                  <a:gd name="T89" fmla="*/ 86 h 139"/>
                  <a:gd name="T90" fmla="*/ 37 w 77"/>
                  <a:gd name="T91" fmla="*/ 76 h 139"/>
                  <a:gd name="T92" fmla="*/ 37 w 77"/>
                  <a:gd name="T93" fmla="*/ 68 h 139"/>
                  <a:gd name="T94" fmla="*/ 37 w 77"/>
                  <a:gd name="T95" fmla="*/ 63 h 139"/>
                  <a:gd name="T96" fmla="*/ 24 w 77"/>
                  <a:gd name="T97" fmla="*/ 69 h 139"/>
                  <a:gd name="T98" fmla="*/ 16 w 77"/>
                  <a:gd name="T99" fmla="*/ 77 h 139"/>
                  <a:gd name="T100" fmla="*/ 9 w 77"/>
                  <a:gd name="T101" fmla="*/ 85 h 139"/>
                  <a:gd name="T102" fmla="*/ 6 w 77"/>
                  <a:gd name="T103" fmla="*/ 86 h 139"/>
                  <a:gd name="T104" fmla="*/ 5 w 77"/>
                  <a:gd name="T105" fmla="*/ 82 h 139"/>
                  <a:gd name="T106" fmla="*/ 22 w 77"/>
                  <a:gd name="T107" fmla="*/ 60 h 139"/>
                  <a:gd name="T108" fmla="*/ 37 w 77"/>
                  <a:gd name="T109" fmla="*/ 54 h 139"/>
                  <a:gd name="T110" fmla="*/ 37 w 77"/>
                  <a:gd name="T111" fmla="*/ 47 h 139"/>
                  <a:gd name="T112" fmla="*/ 3 w 77"/>
                  <a:gd name="T113" fmla="*/ 45 h 139"/>
                  <a:gd name="T114" fmla="*/ 0 w 77"/>
                  <a:gd name="T115" fmla="*/ 40 h 139"/>
                  <a:gd name="T116" fmla="*/ 5 w 77"/>
                  <a:gd name="T117" fmla="*/ 38 h 139"/>
                  <a:gd name="T118" fmla="*/ 37 w 77"/>
                  <a:gd name="T119" fmla="*/ 39 h 139"/>
                  <a:gd name="T120" fmla="*/ 37 w 77"/>
                  <a:gd name="T121" fmla="*/ 39 h 139"/>
                  <a:gd name="T122" fmla="*/ 33 w 77"/>
                  <a:gd name="T123" fmla="*/ 28 h 139"/>
                  <a:gd name="T124" fmla="*/ 12 w 77"/>
                  <a:gd name="T125" fmla="*/ 25 h 1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77" h="139">
                    <a:moveTo>
                      <a:pt x="12" y="25"/>
                    </a:moveTo>
                    <a:cubicBezTo>
                      <a:pt x="10" y="25"/>
                      <a:pt x="9" y="24"/>
                      <a:pt x="9" y="21"/>
                    </a:cubicBezTo>
                    <a:cubicBezTo>
                      <a:pt x="9" y="18"/>
                      <a:pt x="10" y="17"/>
                      <a:pt x="12" y="17"/>
                    </a:cubicBezTo>
                    <a:cubicBezTo>
                      <a:pt x="24" y="17"/>
                      <a:pt x="33" y="18"/>
                      <a:pt x="39" y="21"/>
                    </a:cubicBezTo>
                    <a:cubicBezTo>
                      <a:pt x="45" y="24"/>
                      <a:pt x="47" y="28"/>
                      <a:pt x="46" y="36"/>
                    </a:cubicBezTo>
                    <a:cubicBezTo>
                      <a:pt x="46" y="37"/>
                      <a:pt x="46" y="38"/>
                      <a:pt x="46" y="39"/>
                    </a:cubicBezTo>
                    <a:cubicBezTo>
                      <a:pt x="53" y="38"/>
                      <a:pt x="58" y="35"/>
                      <a:pt x="61" y="33"/>
                    </a:cubicBezTo>
                    <a:cubicBezTo>
                      <a:pt x="65" y="27"/>
                      <a:pt x="64" y="22"/>
                      <a:pt x="57" y="16"/>
                    </a:cubicBezTo>
                    <a:cubicBezTo>
                      <a:pt x="52" y="12"/>
                      <a:pt x="44" y="9"/>
                      <a:pt x="35" y="9"/>
                    </a:cubicBezTo>
                    <a:cubicBezTo>
                      <a:pt x="30" y="8"/>
                      <a:pt x="28" y="6"/>
                      <a:pt x="27" y="3"/>
                    </a:cubicBezTo>
                    <a:cubicBezTo>
                      <a:pt x="27" y="1"/>
                      <a:pt x="29" y="0"/>
                      <a:pt x="32" y="0"/>
                    </a:cubicBezTo>
                    <a:cubicBezTo>
                      <a:pt x="44" y="0"/>
                      <a:pt x="53" y="3"/>
                      <a:pt x="61" y="9"/>
                    </a:cubicBezTo>
                    <a:cubicBezTo>
                      <a:pt x="69" y="16"/>
                      <a:pt x="73" y="23"/>
                      <a:pt x="72" y="30"/>
                    </a:cubicBezTo>
                    <a:cubicBezTo>
                      <a:pt x="68" y="37"/>
                      <a:pt x="60" y="43"/>
                      <a:pt x="48" y="45"/>
                    </a:cubicBezTo>
                    <a:cubicBezTo>
                      <a:pt x="47" y="46"/>
                      <a:pt x="46" y="46"/>
                      <a:pt x="45" y="46"/>
                    </a:cubicBezTo>
                    <a:cubicBezTo>
                      <a:pt x="45" y="48"/>
                      <a:pt x="45" y="51"/>
                      <a:pt x="45" y="54"/>
                    </a:cubicBezTo>
                    <a:cubicBezTo>
                      <a:pt x="49" y="54"/>
                      <a:pt x="54" y="57"/>
                      <a:pt x="59" y="61"/>
                    </a:cubicBezTo>
                    <a:cubicBezTo>
                      <a:pt x="66" y="66"/>
                      <a:pt x="72" y="72"/>
                      <a:pt x="77" y="80"/>
                    </a:cubicBezTo>
                    <a:cubicBezTo>
                      <a:pt x="77" y="82"/>
                      <a:pt x="77" y="83"/>
                      <a:pt x="75" y="84"/>
                    </a:cubicBezTo>
                    <a:cubicBezTo>
                      <a:pt x="74" y="85"/>
                      <a:pt x="72" y="85"/>
                      <a:pt x="71" y="83"/>
                    </a:cubicBezTo>
                    <a:cubicBezTo>
                      <a:pt x="69" y="80"/>
                      <a:pt x="65" y="76"/>
                      <a:pt x="59" y="70"/>
                    </a:cubicBezTo>
                    <a:cubicBezTo>
                      <a:pt x="54" y="66"/>
                      <a:pt x="49" y="64"/>
                      <a:pt x="45" y="63"/>
                    </a:cubicBezTo>
                    <a:cubicBezTo>
                      <a:pt x="45" y="77"/>
                      <a:pt x="45" y="77"/>
                      <a:pt x="45" y="77"/>
                    </a:cubicBezTo>
                    <a:cubicBezTo>
                      <a:pt x="48" y="78"/>
                      <a:pt x="51" y="80"/>
                      <a:pt x="53" y="83"/>
                    </a:cubicBezTo>
                    <a:cubicBezTo>
                      <a:pt x="59" y="88"/>
                      <a:pt x="63" y="94"/>
                      <a:pt x="66" y="102"/>
                    </a:cubicBezTo>
                    <a:cubicBezTo>
                      <a:pt x="71" y="109"/>
                      <a:pt x="73" y="116"/>
                      <a:pt x="72" y="121"/>
                    </a:cubicBezTo>
                    <a:cubicBezTo>
                      <a:pt x="72" y="122"/>
                      <a:pt x="72" y="123"/>
                      <a:pt x="70" y="124"/>
                    </a:cubicBezTo>
                    <a:cubicBezTo>
                      <a:pt x="69" y="124"/>
                      <a:pt x="68" y="124"/>
                      <a:pt x="67" y="122"/>
                    </a:cubicBezTo>
                    <a:cubicBezTo>
                      <a:pt x="67" y="121"/>
                      <a:pt x="66" y="118"/>
                      <a:pt x="64" y="115"/>
                    </a:cubicBezTo>
                    <a:cubicBezTo>
                      <a:pt x="60" y="107"/>
                      <a:pt x="57" y="102"/>
                      <a:pt x="55" y="97"/>
                    </a:cubicBezTo>
                    <a:cubicBezTo>
                      <a:pt x="51" y="91"/>
                      <a:pt x="48" y="88"/>
                      <a:pt x="45" y="87"/>
                    </a:cubicBezTo>
                    <a:cubicBezTo>
                      <a:pt x="45" y="102"/>
                      <a:pt x="45" y="102"/>
                      <a:pt x="45" y="102"/>
                    </a:cubicBezTo>
                    <a:cubicBezTo>
                      <a:pt x="45" y="117"/>
                      <a:pt x="45" y="128"/>
                      <a:pt x="44" y="136"/>
                    </a:cubicBezTo>
                    <a:cubicBezTo>
                      <a:pt x="43" y="137"/>
                      <a:pt x="42" y="138"/>
                      <a:pt x="41" y="139"/>
                    </a:cubicBezTo>
                    <a:cubicBezTo>
                      <a:pt x="40" y="139"/>
                      <a:pt x="39" y="139"/>
                      <a:pt x="38" y="137"/>
                    </a:cubicBezTo>
                    <a:cubicBezTo>
                      <a:pt x="37" y="135"/>
                      <a:pt x="37" y="123"/>
                      <a:pt x="37" y="103"/>
                    </a:cubicBezTo>
                    <a:cubicBezTo>
                      <a:pt x="37" y="97"/>
                      <a:pt x="37" y="92"/>
                      <a:pt x="37" y="86"/>
                    </a:cubicBezTo>
                    <a:cubicBezTo>
                      <a:pt x="34" y="87"/>
                      <a:pt x="31" y="89"/>
                      <a:pt x="28" y="92"/>
                    </a:cubicBezTo>
                    <a:cubicBezTo>
                      <a:pt x="24" y="98"/>
                      <a:pt x="21" y="103"/>
                      <a:pt x="19" y="109"/>
                    </a:cubicBezTo>
                    <a:cubicBezTo>
                      <a:pt x="17" y="113"/>
                      <a:pt x="15" y="117"/>
                      <a:pt x="12" y="121"/>
                    </a:cubicBezTo>
                    <a:cubicBezTo>
                      <a:pt x="11" y="122"/>
                      <a:pt x="9" y="122"/>
                      <a:pt x="8" y="122"/>
                    </a:cubicBezTo>
                    <a:cubicBezTo>
                      <a:pt x="7" y="122"/>
                      <a:pt x="7" y="121"/>
                      <a:pt x="7" y="120"/>
                    </a:cubicBezTo>
                    <a:cubicBezTo>
                      <a:pt x="7" y="119"/>
                      <a:pt x="7" y="118"/>
                      <a:pt x="8" y="117"/>
                    </a:cubicBezTo>
                    <a:cubicBezTo>
                      <a:pt x="9" y="112"/>
                      <a:pt x="10" y="108"/>
                      <a:pt x="11" y="106"/>
                    </a:cubicBezTo>
                    <a:cubicBezTo>
                      <a:pt x="13" y="101"/>
                      <a:pt x="17" y="94"/>
                      <a:pt x="22" y="86"/>
                    </a:cubicBezTo>
                    <a:cubicBezTo>
                      <a:pt x="27" y="80"/>
                      <a:pt x="32" y="77"/>
                      <a:pt x="37" y="76"/>
                    </a:cubicBezTo>
                    <a:cubicBezTo>
                      <a:pt x="37" y="68"/>
                      <a:pt x="37" y="68"/>
                      <a:pt x="37" y="68"/>
                    </a:cubicBezTo>
                    <a:cubicBezTo>
                      <a:pt x="37" y="63"/>
                      <a:pt x="37" y="63"/>
                      <a:pt x="37" y="63"/>
                    </a:cubicBezTo>
                    <a:cubicBezTo>
                      <a:pt x="33" y="64"/>
                      <a:pt x="29" y="66"/>
                      <a:pt x="24" y="69"/>
                    </a:cubicBezTo>
                    <a:cubicBezTo>
                      <a:pt x="23" y="70"/>
                      <a:pt x="20" y="72"/>
                      <a:pt x="16" y="77"/>
                    </a:cubicBezTo>
                    <a:cubicBezTo>
                      <a:pt x="13" y="81"/>
                      <a:pt x="11" y="83"/>
                      <a:pt x="9" y="85"/>
                    </a:cubicBezTo>
                    <a:cubicBezTo>
                      <a:pt x="8" y="86"/>
                      <a:pt x="7" y="87"/>
                      <a:pt x="6" y="86"/>
                    </a:cubicBezTo>
                    <a:cubicBezTo>
                      <a:pt x="5" y="86"/>
                      <a:pt x="5" y="84"/>
                      <a:pt x="5" y="82"/>
                    </a:cubicBezTo>
                    <a:cubicBezTo>
                      <a:pt x="10" y="73"/>
                      <a:pt x="15" y="65"/>
                      <a:pt x="22" y="60"/>
                    </a:cubicBezTo>
                    <a:cubicBezTo>
                      <a:pt x="27" y="56"/>
                      <a:pt x="32" y="54"/>
                      <a:pt x="37" y="54"/>
                    </a:cubicBezTo>
                    <a:cubicBezTo>
                      <a:pt x="37" y="47"/>
                      <a:pt x="37" y="47"/>
                      <a:pt x="37" y="47"/>
                    </a:cubicBezTo>
                    <a:cubicBezTo>
                      <a:pt x="22" y="49"/>
                      <a:pt x="10" y="48"/>
                      <a:pt x="3" y="45"/>
                    </a:cubicBezTo>
                    <a:cubicBezTo>
                      <a:pt x="1" y="44"/>
                      <a:pt x="0" y="42"/>
                      <a:pt x="0" y="40"/>
                    </a:cubicBezTo>
                    <a:cubicBezTo>
                      <a:pt x="1" y="38"/>
                      <a:pt x="3" y="38"/>
                      <a:pt x="5" y="38"/>
                    </a:cubicBezTo>
                    <a:cubicBezTo>
                      <a:pt x="12" y="40"/>
                      <a:pt x="22" y="40"/>
                      <a:pt x="37" y="39"/>
                    </a:cubicBezTo>
                    <a:cubicBezTo>
                      <a:pt x="37" y="39"/>
                      <a:pt x="37" y="39"/>
                      <a:pt x="37" y="39"/>
                    </a:cubicBezTo>
                    <a:cubicBezTo>
                      <a:pt x="38" y="32"/>
                      <a:pt x="36" y="29"/>
                      <a:pt x="33" y="28"/>
                    </a:cubicBezTo>
                    <a:cubicBezTo>
                      <a:pt x="26" y="25"/>
                      <a:pt x="19" y="24"/>
                      <a:pt x="12" y="2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201" name="íṣlíḑe"/>
              <p:cNvSpPr/>
              <p:nvPr/>
            </p:nvSpPr>
            <p:spPr bwMode="auto">
              <a:xfrm>
                <a:off x="2273197" y="5255215"/>
                <a:ext cx="163513" cy="263525"/>
              </a:xfrm>
              <a:custGeom>
                <a:avLst/>
                <a:gdLst>
                  <a:gd name="T0" fmla="*/ 47 w 88"/>
                  <a:gd name="T1" fmla="*/ 8 h 143"/>
                  <a:gd name="T2" fmla="*/ 74 w 88"/>
                  <a:gd name="T3" fmla="*/ 14 h 143"/>
                  <a:gd name="T4" fmla="*/ 82 w 88"/>
                  <a:gd name="T5" fmla="*/ 26 h 143"/>
                  <a:gd name="T6" fmla="*/ 79 w 88"/>
                  <a:gd name="T7" fmla="*/ 75 h 143"/>
                  <a:gd name="T8" fmla="*/ 86 w 88"/>
                  <a:gd name="T9" fmla="*/ 136 h 143"/>
                  <a:gd name="T10" fmla="*/ 73 w 88"/>
                  <a:gd name="T11" fmla="*/ 45 h 143"/>
                  <a:gd name="T12" fmla="*/ 67 w 88"/>
                  <a:gd name="T13" fmla="*/ 44 h 143"/>
                  <a:gd name="T14" fmla="*/ 54 w 88"/>
                  <a:gd name="T15" fmla="*/ 58 h 143"/>
                  <a:gd name="T16" fmla="*/ 22 w 88"/>
                  <a:gd name="T17" fmla="*/ 54 h 143"/>
                  <a:gd name="T18" fmla="*/ 15 w 88"/>
                  <a:gd name="T19" fmla="*/ 45 h 143"/>
                  <a:gd name="T20" fmla="*/ 11 w 88"/>
                  <a:gd name="T21" fmla="*/ 91 h 143"/>
                  <a:gd name="T22" fmla="*/ 9 w 88"/>
                  <a:gd name="T23" fmla="*/ 118 h 143"/>
                  <a:gd name="T24" fmla="*/ 2 w 88"/>
                  <a:gd name="T25" fmla="*/ 139 h 143"/>
                  <a:gd name="T26" fmla="*/ 6 w 88"/>
                  <a:gd name="T27" fmla="*/ 80 h 143"/>
                  <a:gd name="T28" fmla="*/ 2 w 88"/>
                  <a:gd name="T29" fmla="*/ 26 h 143"/>
                  <a:gd name="T30" fmla="*/ 32 w 88"/>
                  <a:gd name="T31" fmla="*/ 10 h 143"/>
                  <a:gd name="T32" fmla="*/ 39 w 88"/>
                  <a:gd name="T33" fmla="*/ 0 h 143"/>
                  <a:gd name="T34" fmla="*/ 24 w 88"/>
                  <a:gd name="T35" fmla="*/ 23 h 143"/>
                  <a:gd name="T36" fmla="*/ 66 w 88"/>
                  <a:gd name="T37" fmla="*/ 29 h 143"/>
                  <a:gd name="T38" fmla="*/ 67 w 88"/>
                  <a:gd name="T39" fmla="*/ 37 h 143"/>
                  <a:gd name="T40" fmla="*/ 73 w 88"/>
                  <a:gd name="T41" fmla="*/ 34 h 143"/>
                  <a:gd name="T42" fmla="*/ 66 w 88"/>
                  <a:gd name="T43" fmla="*/ 20 h 143"/>
                  <a:gd name="T44" fmla="*/ 13 w 88"/>
                  <a:gd name="T45" fmla="*/ 21 h 143"/>
                  <a:gd name="T46" fmla="*/ 12 w 88"/>
                  <a:gd name="T47" fmla="*/ 32 h 143"/>
                  <a:gd name="T48" fmla="*/ 17 w 88"/>
                  <a:gd name="T49" fmla="*/ 38 h 143"/>
                  <a:gd name="T50" fmla="*/ 24 w 88"/>
                  <a:gd name="T51" fmla="*/ 23 h 143"/>
                  <a:gd name="T52" fmla="*/ 61 w 88"/>
                  <a:gd name="T53" fmla="*/ 64 h 143"/>
                  <a:gd name="T54" fmla="*/ 66 w 88"/>
                  <a:gd name="T55" fmla="*/ 96 h 143"/>
                  <a:gd name="T56" fmla="*/ 61 w 88"/>
                  <a:gd name="T57" fmla="*/ 136 h 143"/>
                  <a:gd name="T58" fmla="*/ 59 w 88"/>
                  <a:gd name="T59" fmla="*/ 143 h 143"/>
                  <a:gd name="T60" fmla="*/ 46 w 88"/>
                  <a:gd name="T61" fmla="*/ 105 h 143"/>
                  <a:gd name="T62" fmla="*/ 30 w 88"/>
                  <a:gd name="T63" fmla="*/ 140 h 143"/>
                  <a:gd name="T64" fmla="*/ 26 w 88"/>
                  <a:gd name="T65" fmla="*/ 137 h 143"/>
                  <a:gd name="T66" fmla="*/ 32 w 88"/>
                  <a:gd name="T67" fmla="*/ 121 h 143"/>
                  <a:gd name="T68" fmla="*/ 35 w 88"/>
                  <a:gd name="T69" fmla="*/ 105 h 143"/>
                  <a:gd name="T70" fmla="*/ 18 w 88"/>
                  <a:gd name="T71" fmla="*/ 75 h 143"/>
                  <a:gd name="T72" fmla="*/ 24 w 88"/>
                  <a:gd name="T73" fmla="*/ 35 h 143"/>
                  <a:gd name="T74" fmla="*/ 39 w 88"/>
                  <a:gd name="T75" fmla="*/ 37 h 143"/>
                  <a:gd name="T76" fmla="*/ 34 w 88"/>
                  <a:gd name="T77" fmla="*/ 29 h 143"/>
                  <a:gd name="T78" fmla="*/ 24 w 88"/>
                  <a:gd name="T79" fmla="*/ 35 h 143"/>
                  <a:gd name="T80" fmla="*/ 62 w 88"/>
                  <a:gd name="T81" fmla="*/ 84 h 143"/>
                  <a:gd name="T82" fmla="*/ 43 w 88"/>
                  <a:gd name="T83" fmla="*/ 81 h 143"/>
                  <a:gd name="T84" fmla="*/ 25 w 88"/>
                  <a:gd name="T85" fmla="*/ 87 h 143"/>
                  <a:gd name="T86" fmla="*/ 26 w 88"/>
                  <a:gd name="T87" fmla="*/ 48 h 143"/>
                  <a:gd name="T88" fmla="*/ 38 w 88"/>
                  <a:gd name="T89" fmla="*/ 52 h 143"/>
                  <a:gd name="T90" fmla="*/ 25 w 88"/>
                  <a:gd name="T91" fmla="*/ 44 h 143"/>
                  <a:gd name="T92" fmla="*/ 32 w 88"/>
                  <a:gd name="T93" fmla="*/ 69 h 143"/>
                  <a:gd name="T94" fmla="*/ 41 w 88"/>
                  <a:gd name="T95" fmla="*/ 75 h 143"/>
                  <a:gd name="T96" fmla="*/ 57 w 88"/>
                  <a:gd name="T97" fmla="*/ 70 h 143"/>
                  <a:gd name="T98" fmla="*/ 56 w 88"/>
                  <a:gd name="T99" fmla="*/ 98 h 143"/>
                  <a:gd name="T100" fmla="*/ 54 w 88"/>
                  <a:gd name="T101" fmla="*/ 93 h 143"/>
                  <a:gd name="T102" fmla="*/ 36 w 88"/>
                  <a:gd name="T103" fmla="*/ 93 h 143"/>
                  <a:gd name="T104" fmla="*/ 32 w 88"/>
                  <a:gd name="T105" fmla="*/ 98 h 143"/>
                  <a:gd name="T106" fmla="*/ 56 w 88"/>
                  <a:gd name="T107" fmla="*/ 29 h 143"/>
                  <a:gd name="T108" fmla="*/ 46 w 88"/>
                  <a:gd name="T109" fmla="*/ 29 h 143"/>
                  <a:gd name="T110" fmla="*/ 60 w 88"/>
                  <a:gd name="T111" fmla="*/ 37 h 143"/>
                  <a:gd name="T112" fmla="*/ 56 w 88"/>
                  <a:gd name="T113" fmla="*/ 29 h 143"/>
                  <a:gd name="T114" fmla="*/ 60 w 88"/>
                  <a:gd name="T115" fmla="*/ 43 h 143"/>
                  <a:gd name="T116" fmla="*/ 46 w 88"/>
                  <a:gd name="T117" fmla="*/ 52 h 143"/>
                  <a:gd name="T118" fmla="*/ 59 w 88"/>
                  <a:gd name="T119" fmla="*/ 48 h 1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88" h="143">
                    <a:moveTo>
                      <a:pt x="43" y="2"/>
                    </a:moveTo>
                    <a:cubicBezTo>
                      <a:pt x="45" y="3"/>
                      <a:pt x="47" y="6"/>
                      <a:pt x="47" y="8"/>
                    </a:cubicBezTo>
                    <a:cubicBezTo>
                      <a:pt x="47" y="9"/>
                      <a:pt x="48" y="10"/>
                      <a:pt x="49" y="10"/>
                    </a:cubicBezTo>
                    <a:cubicBezTo>
                      <a:pt x="57" y="10"/>
                      <a:pt x="66" y="12"/>
                      <a:pt x="74" y="14"/>
                    </a:cubicBezTo>
                    <a:cubicBezTo>
                      <a:pt x="78" y="16"/>
                      <a:pt x="81" y="18"/>
                      <a:pt x="81" y="19"/>
                    </a:cubicBezTo>
                    <a:cubicBezTo>
                      <a:pt x="82" y="21"/>
                      <a:pt x="82" y="24"/>
                      <a:pt x="82" y="26"/>
                    </a:cubicBezTo>
                    <a:cubicBezTo>
                      <a:pt x="82" y="27"/>
                      <a:pt x="82" y="27"/>
                      <a:pt x="82" y="28"/>
                    </a:cubicBezTo>
                    <a:cubicBezTo>
                      <a:pt x="79" y="39"/>
                      <a:pt x="78" y="55"/>
                      <a:pt x="79" y="75"/>
                    </a:cubicBezTo>
                    <a:cubicBezTo>
                      <a:pt x="80" y="87"/>
                      <a:pt x="83" y="106"/>
                      <a:pt x="87" y="131"/>
                    </a:cubicBezTo>
                    <a:cubicBezTo>
                      <a:pt x="88" y="134"/>
                      <a:pt x="87" y="135"/>
                      <a:pt x="86" y="136"/>
                    </a:cubicBezTo>
                    <a:cubicBezTo>
                      <a:pt x="84" y="137"/>
                      <a:pt x="82" y="136"/>
                      <a:pt x="82" y="133"/>
                    </a:cubicBezTo>
                    <a:cubicBezTo>
                      <a:pt x="74" y="106"/>
                      <a:pt x="71" y="76"/>
                      <a:pt x="73" y="45"/>
                    </a:cubicBezTo>
                    <a:cubicBezTo>
                      <a:pt x="72" y="45"/>
                      <a:pt x="71" y="44"/>
                      <a:pt x="70" y="44"/>
                    </a:cubicBezTo>
                    <a:cubicBezTo>
                      <a:pt x="69" y="44"/>
                      <a:pt x="68" y="44"/>
                      <a:pt x="67" y="44"/>
                    </a:cubicBezTo>
                    <a:cubicBezTo>
                      <a:pt x="67" y="48"/>
                      <a:pt x="66" y="51"/>
                      <a:pt x="64" y="54"/>
                    </a:cubicBezTo>
                    <a:cubicBezTo>
                      <a:pt x="62" y="57"/>
                      <a:pt x="59" y="59"/>
                      <a:pt x="54" y="58"/>
                    </a:cubicBezTo>
                    <a:cubicBezTo>
                      <a:pt x="47" y="58"/>
                      <a:pt x="39" y="58"/>
                      <a:pt x="32" y="58"/>
                    </a:cubicBezTo>
                    <a:cubicBezTo>
                      <a:pt x="28" y="59"/>
                      <a:pt x="25" y="58"/>
                      <a:pt x="22" y="54"/>
                    </a:cubicBezTo>
                    <a:cubicBezTo>
                      <a:pt x="20" y="51"/>
                      <a:pt x="19" y="48"/>
                      <a:pt x="18" y="45"/>
                    </a:cubicBezTo>
                    <a:cubicBezTo>
                      <a:pt x="17" y="45"/>
                      <a:pt x="16" y="45"/>
                      <a:pt x="15" y="45"/>
                    </a:cubicBezTo>
                    <a:cubicBezTo>
                      <a:pt x="14" y="45"/>
                      <a:pt x="13" y="45"/>
                      <a:pt x="13" y="45"/>
                    </a:cubicBezTo>
                    <a:cubicBezTo>
                      <a:pt x="13" y="60"/>
                      <a:pt x="13" y="75"/>
                      <a:pt x="11" y="91"/>
                    </a:cubicBezTo>
                    <a:cubicBezTo>
                      <a:pt x="11" y="95"/>
                      <a:pt x="11" y="102"/>
                      <a:pt x="10" y="111"/>
                    </a:cubicBezTo>
                    <a:cubicBezTo>
                      <a:pt x="10" y="108"/>
                      <a:pt x="10" y="111"/>
                      <a:pt x="9" y="118"/>
                    </a:cubicBezTo>
                    <a:cubicBezTo>
                      <a:pt x="9" y="124"/>
                      <a:pt x="8" y="130"/>
                      <a:pt x="6" y="134"/>
                    </a:cubicBezTo>
                    <a:cubicBezTo>
                      <a:pt x="5" y="138"/>
                      <a:pt x="3" y="139"/>
                      <a:pt x="2" y="139"/>
                    </a:cubicBezTo>
                    <a:cubicBezTo>
                      <a:pt x="0" y="139"/>
                      <a:pt x="0" y="137"/>
                      <a:pt x="0" y="133"/>
                    </a:cubicBezTo>
                    <a:cubicBezTo>
                      <a:pt x="3" y="112"/>
                      <a:pt x="5" y="94"/>
                      <a:pt x="6" y="80"/>
                    </a:cubicBezTo>
                    <a:cubicBezTo>
                      <a:pt x="8" y="64"/>
                      <a:pt x="7" y="51"/>
                      <a:pt x="6" y="38"/>
                    </a:cubicBezTo>
                    <a:cubicBezTo>
                      <a:pt x="5" y="34"/>
                      <a:pt x="4" y="30"/>
                      <a:pt x="2" y="26"/>
                    </a:cubicBezTo>
                    <a:cubicBezTo>
                      <a:pt x="0" y="21"/>
                      <a:pt x="1" y="17"/>
                      <a:pt x="6" y="16"/>
                    </a:cubicBezTo>
                    <a:cubicBezTo>
                      <a:pt x="14" y="12"/>
                      <a:pt x="23" y="11"/>
                      <a:pt x="32" y="10"/>
                    </a:cubicBezTo>
                    <a:cubicBezTo>
                      <a:pt x="36" y="9"/>
                      <a:pt x="38" y="7"/>
                      <a:pt x="38" y="4"/>
                    </a:cubicBezTo>
                    <a:cubicBezTo>
                      <a:pt x="38" y="2"/>
                      <a:pt x="38" y="1"/>
                      <a:pt x="39" y="0"/>
                    </a:cubicBezTo>
                    <a:cubicBezTo>
                      <a:pt x="41" y="0"/>
                      <a:pt x="42" y="0"/>
                      <a:pt x="43" y="2"/>
                    </a:cubicBezTo>
                    <a:close/>
                    <a:moveTo>
                      <a:pt x="24" y="23"/>
                    </a:moveTo>
                    <a:cubicBezTo>
                      <a:pt x="33" y="22"/>
                      <a:pt x="44" y="22"/>
                      <a:pt x="58" y="23"/>
                    </a:cubicBezTo>
                    <a:cubicBezTo>
                      <a:pt x="63" y="24"/>
                      <a:pt x="66" y="26"/>
                      <a:pt x="66" y="29"/>
                    </a:cubicBezTo>
                    <a:cubicBezTo>
                      <a:pt x="66" y="30"/>
                      <a:pt x="66" y="30"/>
                      <a:pt x="67" y="31"/>
                    </a:cubicBezTo>
                    <a:cubicBezTo>
                      <a:pt x="67" y="33"/>
                      <a:pt x="67" y="35"/>
                      <a:pt x="67" y="37"/>
                    </a:cubicBezTo>
                    <a:cubicBezTo>
                      <a:pt x="69" y="38"/>
                      <a:pt x="71" y="38"/>
                      <a:pt x="73" y="38"/>
                    </a:cubicBezTo>
                    <a:cubicBezTo>
                      <a:pt x="73" y="37"/>
                      <a:pt x="73" y="36"/>
                      <a:pt x="73" y="34"/>
                    </a:cubicBezTo>
                    <a:cubicBezTo>
                      <a:pt x="73" y="32"/>
                      <a:pt x="73" y="30"/>
                      <a:pt x="74" y="29"/>
                    </a:cubicBezTo>
                    <a:cubicBezTo>
                      <a:pt x="75" y="25"/>
                      <a:pt x="72" y="21"/>
                      <a:pt x="66" y="20"/>
                    </a:cubicBezTo>
                    <a:cubicBezTo>
                      <a:pt x="58" y="17"/>
                      <a:pt x="50" y="16"/>
                      <a:pt x="40" y="16"/>
                    </a:cubicBezTo>
                    <a:cubicBezTo>
                      <a:pt x="29" y="16"/>
                      <a:pt x="20" y="18"/>
                      <a:pt x="13" y="21"/>
                    </a:cubicBezTo>
                    <a:cubicBezTo>
                      <a:pt x="11" y="22"/>
                      <a:pt x="11" y="24"/>
                      <a:pt x="11" y="26"/>
                    </a:cubicBezTo>
                    <a:cubicBezTo>
                      <a:pt x="11" y="28"/>
                      <a:pt x="12" y="30"/>
                      <a:pt x="12" y="32"/>
                    </a:cubicBezTo>
                    <a:cubicBezTo>
                      <a:pt x="12" y="35"/>
                      <a:pt x="12" y="37"/>
                      <a:pt x="12" y="38"/>
                    </a:cubicBezTo>
                    <a:cubicBezTo>
                      <a:pt x="14" y="38"/>
                      <a:pt x="15" y="38"/>
                      <a:pt x="17" y="38"/>
                    </a:cubicBezTo>
                    <a:cubicBezTo>
                      <a:pt x="17" y="35"/>
                      <a:pt x="17" y="32"/>
                      <a:pt x="17" y="30"/>
                    </a:cubicBezTo>
                    <a:cubicBezTo>
                      <a:pt x="18" y="26"/>
                      <a:pt x="20" y="24"/>
                      <a:pt x="24" y="23"/>
                    </a:cubicBezTo>
                    <a:close/>
                    <a:moveTo>
                      <a:pt x="28" y="64"/>
                    </a:moveTo>
                    <a:cubicBezTo>
                      <a:pt x="39" y="62"/>
                      <a:pt x="50" y="62"/>
                      <a:pt x="61" y="64"/>
                    </a:cubicBezTo>
                    <a:cubicBezTo>
                      <a:pt x="65" y="65"/>
                      <a:pt x="67" y="67"/>
                      <a:pt x="67" y="71"/>
                    </a:cubicBezTo>
                    <a:cubicBezTo>
                      <a:pt x="69" y="79"/>
                      <a:pt x="68" y="88"/>
                      <a:pt x="66" y="96"/>
                    </a:cubicBezTo>
                    <a:cubicBezTo>
                      <a:pt x="65" y="102"/>
                      <a:pt x="61" y="105"/>
                      <a:pt x="54" y="105"/>
                    </a:cubicBezTo>
                    <a:cubicBezTo>
                      <a:pt x="55" y="115"/>
                      <a:pt x="57" y="125"/>
                      <a:pt x="61" y="136"/>
                    </a:cubicBezTo>
                    <a:cubicBezTo>
                      <a:pt x="63" y="138"/>
                      <a:pt x="63" y="140"/>
                      <a:pt x="61" y="142"/>
                    </a:cubicBezTo>
                    <a:cubicBezTo>
                      <a:pt x="60" y="142"/>
                      <a:pt x="59" y="143"/>
                      <a:pt x="59" y="143"/>
                    </a:cubicBezTo>
                    <a:cubicBezTo>
                      <a:pt x="58" y="143"/>
                      <a:pt x="57" y="142"/>
                      <a:pt x="57" y="141"/>
                    </a:cubicBezTo>
                    <a:cubicBezTo>
                      <a:pt x="52" y="131"/>
                      <a:pt x="48" y="120"/>
                      <a:pt x="46" y="105"/>
                    </a:cubicBezTo>
                    <a:cubicBezTo>
                      <a:pt x="41" y="105"/>
                      <a:pt x="41" y="105"/>
                      <a:pt x="41" y="105"/>
                    </a:cubicBezTo>
                    <a:cubicBezTo>
                      <a:pt x="40" y="120"/>
                      <a:pt x="37" y="131"/>
                      <a:pt x="30" y="140"/>
                    </a:cubicBezTo>
                    <a:cubicBezTo>
                      <a:pt x="29" y="141"/>
                      <a:pt x="27" y="142"/>
                      <a:pt x="26" y="142"/>
                    </a:cubicBezTo>
                    <a:cubicBezTo>
                      <a:pt x="25" y="141"/>
                      <a:pt x="25" y="139"/>
                      <a:pt x="26" y="137"/>
                    </a:cubicBezTo>
                    <a:cubicBezTo>
                      <a:pt x="26" y="137"/>
                      <a:pt x="26" y="135"/>
                      <a:pt x="28" y="132"/>
                    </a:cubicBezTo>
                    <a:cubicBezTo>
                      <a:pt x="30" y="127"/>
                      <a:pt x="32" y="123"/>
                      <a:pt x="32" y="121"/>
                    </a:cubicBezTo>
                    <a:cubicBezTo>
                      <a:pt x="33" y="118"/>
                      <a:pt x="34" y="113"/>
                      <a:pt x="35" y="107"/>
                    </a:cubicBezTo>
                    <a:cubicBezTo>
                      <a:pt x="35" y="106"/>
                      <a:pt x="35" y="106"/>
                      <a:pt x="35" y="105"/>
                    </a:cubicBezTo>
                    <a:cubicBezTo>
                      <a:pt x="29" y="105"/>
                      <a:pt x="25" y="103"/>
                      <a:pt x="22" y="98"/>
                    </a:cubicBezTo>
                    <a:cubicBezTo>
                      <a:pt x="19" y="93"/>
                      <a:pt x="17" y="85"/>
                      <a:pt x="18" y="75"/>
                    </a:cubicBezTo>
                    <a:cubicBezTo>
                      <a:pt x="19" y="68"/>
                      <a:pt x="22" y="65"/>
                      <a:pt x="28" y="64"/>
                    </a:cubicBezTo>
                    <a:close/>
                    <a:moveTo>
                      <a:pt x="24" y="35"/>
                    </a:moveTo>
                    <a:cubicBezTo>
                      <a:pt x="24" y="36"/>
                      <a:pt x="24" y="36"/>
                      <a:pt x="24" y="37"/>
                    </a:cubicBezTo>
                    <a:cubicBezTo>
                      <a:pt x="29" y="37"/>
                      <a:pt x="34" y="37"/>
                      <a:pt x="39" y="37"/>
                    </a:cubicBezTo>
                    <a:cubicBezTo>
                      <a:pt x="39" y="34"/>
                      <a:pt x="38" y="31"/>
                      <a:pt x="38" y="29"/>
                    </a:cubicBezTo>
                    <a:cubicBezTo>
                      <a:pt x="37" y="29"/>
                      <a:pt x="36" y="29"/>
                      <a:pt x="34" y="29"/>
                    </a:cubicBezTo>
                    <a:cubicBezTo>
                      <a:pt x="31" y="29"/>
                      <a:pt x="30" y="29"/>
                      <a:pt x="28" y="29"/>
                    </a:cubicBezTo>
                    <a:cubicBezTo>
                      <a:pt x="25" y="31"/>
                      <a:pt x="24" y="32"/>
                      <a:pt x="24" y="35"/>
                    </a:cubicBezTo>
                    <a:close/>
                    <a:moveTo>
                      <a:pt x="61" y="87"/>
                    </a:moveTo>
                    <a:cubicBezTo>
                      <a:pt x="61" y="86"/>
                      <a:pt x="62" y="85"/>
                      <a:pt x="62" y="84"/>
                    </a:cubicBezTo>
                    <a:cubicBezTo>
                      <a:pt x="62" y="83"/>
                      <a:pt x="62" y="82"/>
                      <a:pt x="62" y="82"/>
                    </a:cubicBezTo>
                    <a:cubicBezTo>
                      <a:pt x="56" y="81"/>
                      <a:pt x="50" y="80"/>
                      <a:pt x="43" y="81"/>
                    </a:cubicBezTo>
                    <a:cubicBezTo>
                      <a:pt x="37" y="81"/>
                      <a:pt x="31" y="82"/>
                      <a:pt x="24" y="83"/>
                    </a:cubicBezTo>
                    <a:cubicBezTo>
                      <a:pt x="25" y="87"/>
                      <a:pt x="25" y="87"/>
                      <a:pt x="25" y="87"/>
                    </a:cubicBezTo>
                    <a:cubicBezTo>
                      <a:pt x="35" y="86"/>
                      <a:pt x="48" y="86"/>
                      <a:pt x="61" y="87"/>
                    </a:cubicBezTo>
                    <a:close/>
                    <a:moveTo>
                      <a:pt x="26" y="48"/>
                    </a:moveTo>
                    <a:cubicBezTo>
                      <a:pt x="28" y="51"/>
                      <a:pt x="30" y="52"/>
                      <a:pt x="35" y="52"/>
                    </a:cubicBezTo>
                    <a:cubicBezTo>
                      <a:pt x="38" y="52"/>
                      <a:pt x="38" y="52"/>
                      <a:pt x="38" y="52"/>
                    </a:cubicBezTo>
                    <a:cubicBezTo>
                      <a:pt x="38" y="49"/>
                      <a:pt x="39" y="46"/>
                      <a:pt x="39" y="44"/>
                    </a:cubicBezTo>
                    <a:cubicBezTo>
                      <a:pt x="34" y="44"/>
                      <a:pt x="30" y="44"/>
                      <a:pt x="25" y="44"/>
                    </a:cubicBezTo>
                    <a:cubicBezTo>
                      <a:pt x="25" y="46"/>
                      <a:pt x="25" y="47"/>
                      <a:pt x="26" y="48"/>
                    </a:cubicBezTo>
                    <a:close/>
                    <a:moveTo>
                      <a:pt x="32" y="69"/>
                    </a:moveTo>
                    <a:cubicBezTo>
                      <a:pt x="28" y="70"/>
                      <a:pt x="25" y="72"/>
                      <a:pt x="25" y="76"/>
                    </a:cubicBezTo>
                    <a:cubicBezTo>
                      <a:pt x="30" y="75"/>
                      <a:pt x="35" y="75"/>
                      <a:pt x="41" y="75"/>
                    </a:cubicBezTo>
                    <a:cubicBezTo>
                      <a:pt x="46" y="74"/>
                      <a:pt x="53" y="74"/>
                      <a:pt x="61" y="75"/>
                    </a:cubicBezTo>
                    <a:cubicBezTo>
                      <a:pt x="61" y="72"/>
                      <a:pt x="59" y="71"/>
                      <a:pt x="57" y="70"/>
                    </a:cubicBezTo>
                    <a:cubicBezTo>
                      <a:pt x="49" y="68"/>
                      <a:pt x="40" y="68"/>
                      <a:pt x="32" y="69"/>
                    </a:cubicBezTo>
                    <a:close/>
                    <a:moveTo>
                      <a:pt x="56" y="98"/>
                    </a:moveTo>
                    <a:cubicBezTo>
                      <a:pt x="59" y="97"/>
                      <a:pt x="60" y="96"/>
                      <a:pt x="61" y="93"/>
                    </a:cubicBezTo>
                    <a:cubicBezTo>
                      <a:pt x="60" y="93"/>
                      <a:pt x="57" y="93"/>
                      <a:pt x="54" y="93"/>
                    </a:cubicBezTo>
                    <a:cubicBezTo>
                      <a:pt x="48" y="92"/>
                      <a:pt x="44" y="92"/>
                      <a:pt x="41" y="92"/>
                    </a:cubicBezTo>
                    <a:cubicBezTo>
                      <a:pt x="40" y="92"/>
                      <a:pt x="38" y="92"/>
                      <a:pt x="36" y="93"/>
                    </a:cubicBezTo>
                    <a:cubicBezTo>
                      <a:pt x="31" y="93"/>
                      <a:pt x="28" y="94"/>
                      <a:pt x="26" y="94"/>
                    </a:cubicBezTo>
                    <a:cubicBezTo>
                      <a:pt x="27" y="96"/>
                      <a:pt x="29" y="98"/>
                      <a:pt x="32" y="98"/>
                    </a:cubicBezTo>
                    <a:cubicBezTo>
                      <a:pt x="39" y="99"/>
                      <a:pt x="47" y="99"/>
                      <a:pt x="56" y="98"/>
                    </a:cubicBezTo>
                    <a:close/>
                    <a:moveTo>
                      <a:pt x="56" y="29"/>
                    </a:moveTo>
                    <a:cubicBezTo>
                      <a:pt x="55" y="29"/>
                      <a:pt x="53" y="29"/>
                      <a:pt x="51" y="29"/>
                    </a:cubicBezTo>
                    <a:cubicBezTo>
                      <a:pt x="49" y="29"/>
                      <a:pt x="47" y="29"/>
                      <a:pt x="46" y="29"/>
                    </a:cubicBezTo>
                    <a:cubicBezTo>
                      <a:pt x="46" y="31"/>
                      <a:pt x="46" y="34"/>
                      <a:pt x="46" y="37"/>
                    </a:cubicBezTo>
                    <a:cubicBezTo>
                      <a:pt x="50" y="37"/>
                      <a:pt x="55" y="37"/>
                      <a:pt x="60" y="37"/>
                    </a:cubicBezTo>
                    <a:cubicBezTo>
                      <a:pt x="60" y="35"/>
                      <a:pt x="60" y="35"/>
                      <a:pt x="60" y="35"/>
                    </a:cubicBezTo>
                    <a:cubicBezTo>
                      <a:pt x="60" y="32"/>
                      <a:pt x="58" y="30"/>
                      <a:pt x="56" y="29"/>
                    </a:cubicBezTo>
                    <a:close/>
                    <a:moveTo>
                      <a:pt x="59" y="48"/>
                    </a:moveTo>
                    <a:cubicBezTo>
                      <a:pt x="59" y="47"/>
                      <a:pt x="59" y="45"/>
                      <a:pt x="60" y="43"/>
                    </a:cubicBezTo>
                    <a:cubicBezTo>
                      <a:pt x="55" y="43"/>
                      <a:pt x="51" y="43"/>
                      <a:pt x="46" y="43"/>
                    </a:cubicBezTo>
                    <a:cubicBezTo>
                      <a:pt x="46" y="52"/>
                      <a:pt x="46" y="52"/>
                      <a:pt x="46" y="52"/>
                    </a:cubicBezTo>
                    <a:cubicBezTo>
                      <a:pt x="48" y="52"/>
                      <a:pt x="51" y="52"/>
                      <a:pt x="54" y="52"/>
                    </a:cubicBezTo>
                    <a:cubicBezTo>
                      <a:pt x="57" y="51"/>
                      <a:pt x="59" y="49"/>
                      <a:pt x="59" y="4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202" name="îSḻide"/>
              <p:cNvSpPr/>
              <p:nvPr/>
            </p:nvSpPr>
            <p:spPr bwMode="auto">
              <a:xfrm>
                <a:off x="2449409" y="5256803"/>
                <a:ext cx="139700" cy="265113"/>
              </a:xfrm>
              <a:custGeom>
                <a:avLst/>
                <a:gdLst>
                  <a:gd name="T0" fmla="*/ 56 w 76"/>
                  <a:gd name="T1" fmla="*/ 3 h 144"/>
                  <a:gd name="T2" fmla="*/ 61 w 76"/>
                  <a:gd name="T3" fmla="*/ 45 h 144"/>
                  <a:gd name="T4" fmla="*/ 50 w 76"/>
                  <a:gd name="T5" fmla="*/ 74 h 144"/>
                  <a:gd name="T6" fmla="*/ 68 w 76"/>
                  <a:gd name="T7" fmla="*/ 65 h 144"/>
                  <a:gd name="T8" fmla="*/ 70 w 76"/>
                  <a:gd name="T9" fmla="*/ 31 h 144"/>
                  <a:gd name="T10" fmla="*/ 74 w 76"/>
                  <a:gd name="T11" fmla="*/ 31 h 144"/>
                  <a:gd name="T12" fmla="*/ 74 w 76"/>
                  <a:gd name="T13" fmla="*/ 64 h 144"/>
                  <a:gd name="T14" fmla="*/ 50 w 76"/>
                  <a:gd name="T15" fmla="*/ 81 h 144"/>
                  <a:gd name="T16" fmla="*/ 69 w 76"/>
                  <a:gd name="T17" fmla="*/ 103 h 144"/>
                  <a:gd name="T18" fmla="*/ 74 w 76"/>
                  <a:gd name="T19" fmla="*/ 140 h 144"/>
                  <a:gd name="T20" fmla="*/ 63 w 76"/>
                  <a:gd name="T21" fmla="*/ 105 h 144"/>
                  <a:gd name="T22" fmla="*/ 52 w 76"/>
                  <a:gd name="T23" fmla="*/ 138 h 144"/>
                  <a:gd name="T24" fmla="*/ 46 w 76"/>
                  <a:gd name="T25" fmla="*/ 139 h 144"/>
                  <a:gd name="T26" fmla="*/ 42 w 76"/>
                  <a:gd name="T27" fmla="*/ 57 h 144"/>
                  <a:gd name="T28" fmla="*/ 35 w 76"/>
                  <a:gd name="T29" fmla="*/ 132 h 144"/>
                  <a:gd name="T30" fmla="*/ 27 w 76"/>
                  <a:gd name="T31" fmla="*/ 136 h 144"/>
                  <a:gd name="T32" fmla="*/ 29 w 76"/>
                  <a:gd name="T33" fmla="*/ 95 h 144"/>
                  <a:gd name="T34" fmla="*/ 5 w 76"/>
                  <a:gd name="T35" fmla="*/ 135 h 144"/>
                  <a:gd name="T36" fmla="*/ 0 w 76"/>
                  <a:gd name="T37" fmla="*/ 135 h 144"/>
                  <a:gd name="T38" fmla="*/ 30 w 76"/>
                  <a:gd name="T39" fmla="*/ 86 h 144"/>
                  <a:gd name="T40" fmla="*/ 26 w 76"/>
                  <a:gd name="T41" fmla="*/ 80 h 144"/>
                  <a:gd name="T42" fmla="*/ 5 w 76"/>
                  <a:gd name="T43" fmla="*/ 66 h 144"/>
                  <a:gd name="T44" fmla="*/ 3 w 76"/>
                  <a:gd name="T45" fmla="*/ 29 h 144"/>
                  <a:gd name="T46" fmla="*/ 9 w 76"/>
                  <a:gd name="T47" fmla="*/ 59 h 144"/>
                  <a:gd name="T48" fmla="*/ 31 w 76"/>
                  <a:gd name="T49" fmla="*/ 74 h 144"/>
                  <a:gd name="T50" fmla="*/ 32 w 76"/>
                  <a:gd name="T51" fmla="*/ 57 h 144"/>
                  <a:gd name="T52" fmla="*/ 16 w 76"/>
                  <a:gd name="T53" fmla="*/ 14 h 144"/>
                  <a:gd name="T54" fmla="*/ 22 w 76"/>
                  <a:gd name="T55" fmla="*/ 19 h 144"/>
                  <a:gd name="T56" fmla="*/ 57 w 76"/>
                  <a:gd name="T57" fmla="*/ 19 h 144"/>
                  <a:gd name="T58" fmla="*/ 50 w 76"/>
                  <a:gd name="T59" fmla="*/ 9 h 144"/>
                  <a:gd name="T60" fmla="*/ 22 w 76"/>
                  <a:gd name="T61" fmla="*/ 19 h 144"/>
                  <a:gd name="T62" fmla="*/ 23 w 76"/>
                  <a:gd name="T63" fmla="*/ 31 h 144"/>
                  <a:gd name="T64" fmla="*/ 57 w 76"/>
                  <a:gd name="T65" fmla="*/ 34 h 144"/>
                  <a:gd name="T66" fmla="*/ 22 w 76"/>
                  <a:gd name="T67" fmla="*/ 27 h 144"/>
                  <a:gd name="T68" fmla="*/ 48 w 76"/>
                  <a:gd name="T69" fmla="*/ 50 h 144"/>
                  <a:gd name="T70" fmla="*/ 57 w 76"/>
                  <a:gd name="T71" fmla="*/ 41 h 144"/>
                  <a:gd name="T72" fmla="*/ 25 w 76"/>
                  <a:gd name="T73" fmla="*/ 44 h 1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76" h="144">
                    <a:moveTo>
                      <a:pt x="27" y="2"/>
                    </a:moveTo>
                    <a:cubicBezTo>
                      <a:pt x="37" y="0"/>
                      <a:pt x="47" y="0"/>
                      <a:pt x="56" y="3"/>
                    </a:cubicBezTo>
                    <a:cubicBezTo>
                      <a:pt x="60" y="3"/>
                      <a:pt x="62" y="7"/>
                      <a:pt x="63" y="15"/>
                    </a:cubicBezTo>
                    <a:cubicBezTo>
                      <a:pt x="65" y="25"/>
                      <a:pt x="64" y="35"/>
                      <a:pt x="61" y="45"/>
                    </a:cubicBezTo>
                    <a:cubicBezTo>
                      <a:pt x="60" y="53"/>
                      <a:pt x="55" y="56"/>
                      <a:pt x="49" y="57"/>
                    </a:cubicBezTo>
                    <a:cubicBezTo>
                      <a:pt x="49" y="62"/>
                      <a:pt x="50" y="68"/>
                      <a:pt x="50" y="74"/>
                    </a:cubicBezTo>
                    <a:cubicBezTo>
                      <a:pt x="53" y="74"/>
                      <a:pt x="56" y="74"/>
                      <a:pt x="58" y="74"/>
                    </a:cubicBezTo>
                    <a:cubicBezTo>
                      <a:pt x="62" y="75"/>
                      <a:pt x="66" y="72"/>
                      <a:pt x="68" y="65"/>
                    </a:cubicBezTo>
                    <a:cubicBezTo>
                      <a:pt x="69" y="62"/>
                      <a:pt x="70" y="53"/>
                      <a:pt x="70" y="39"/>
                    </a:cubicBezTo>
                    <a:cubicBezTo>
                      <a:pt x="70" y="35"/>
                      <a:pt x="70" y="32"/>
                      <a:pt x="70" y="31"/>
                    </a:cubicBezTo>
                    <a:cubicBezTo>
                      <a:pt x="71" y="31"/>
                      <a:pt x="71" y="30"/>
                      <a:pt x="72" y="30"/>
                    </a:cubicBezTo>
                    <a:cubicBezTo>
                      <a:pt x="73" y="30"/>
                      <a:pt x="74" y="30"/>
                      <a:pt x="74" y="31"/>
                    </a:cubicBezTo>
                    <a:cubicBezTo>
                      <a:pt x="75" y="33"/>
                      <a:pt x="76" y="36"/>
                      <a:pt x="76" y="41"/>
                    </a:cubicBezTo>
                    <a:cubicBezTo>
                      <a:pt x="76" y="49"/>
                      <a:pt x="75" y="56"/>
                      <a:pt x="74" y="64"/>
                    </a:cubicBezTo>
                    <a:cubicBezTo>
                      <a:pt x="72" y="75"/>
                      <a:pt x="67" y="81"/>
                      <a:pt x="58" y="81"/>
                    </a:cubicBezTo>
                    <a:cubicBezTo>
                      <a:pt x="50" y="81"/>
                      <a:pt x="50" y="81"/>
                      <a:pt x="50" y="81"/>
                    </a:cubicBezTo>
                    <a:cubicBezTo>
                      <a:pt x="50" y="87"/>
                      <a:pt x="50" y="87"/>
                      <a:pt x="50" y="87"/>
                    </a:cubicBezTo>
                    <a:cubicBezTo>
                      <a:pt x="60" y="87"/>
                      <a:pt x="66" y="92"/>
                      <a:pt x="69" y="103"/>
                    </a:cubicBezTo>
                    <a:cubicBezTo>
                      <a:pt x="72" y="112"/>
                      <a:pt x="74" y="122"/>
                      <a:pt x="76" y="134"/>
                    </a:cubicBezTo>
                    <a:cubicBezTo>
                      <a:pt x="76" y="138"/>
                      <a:pt x="75" y="140"/>
                      <a:pt x="74" y="140"/>
                    </a:cubicBezTo>
                    <a:cubicBezTo>
                      <a:pt x="72" y="141"/>
                      <a:pt x="71" y="139"/>
                      <a:pt x="70" y="136"/>
                    </a:cubicBezTo>
                    <a:cubicBezTo>
                      <a:pt x="68" y="126"/>
                      <a:pt x="66" y="116"/>
                      <a:pt x="63" y="105"/>
                    </a:cubicBezTo>
                    <a:cubicBezTo>
                      <a:pt x="61" y="98"/>
                      <a:pt x="57" y="95"/>
                      <a:pt x="50" y="95"/>
                    </a:cubicBezTo>
                    <a:cubicBezTo>
                      <a:pt x="50" y="109"/>
                      <a:pt x="51" y="123"/>
                      <a:pt x="52" y="138"/>
                    </a:cubicBezTo>
                    <a:cubicBezTo>
                      <a:pt x="52" y="141"/>
                      <a:pt x="51" y="143"/>
                      <a:pt x="49" y="144"/>
                    </a:cubicBezTo>
                    <a:cubicBezTo>
                      <a:pt x="47" y="144"/>
                      <a:pt x="46" y="142"/>
                      <a:pt x="46" y="139"/>
                    </a:cubicBezTo>
                    <a:cubicBezTo>
                      <a:pt x="44" y="134"/>
                      <a:pt x="43" y="118"/>
                      <a:pt x="43" y="92"/>
                    </a:cubicBezTo>
                    <a:cubicBezTo>
                      <a:pt x="43" y="76"/>
                      <a:pt x="43" y="64"/>
                      <a:pt x="42" y="57"/>
                    </a:cubicBezTo>
                    <a:cubicBezTo>
                      <a:pt x="38" y="57"/>
                      <a:pt x="38" y="57"/>
                      <a:pt x="38" y="57"/>
                    </a:cubicBezTo>
                    <a:cubicBezTo>
                      <a:pt x="36" y="88"/>
                      <a:pt x="35" y="113"/>
                      <a:pt x="35" y="132"/>
                    </a:cubicBezTo>
                    <a:cubicBezTo>
                      <a:pt x="35" y="138"/>
                      <a:pt x="33" y="142"/>
                      <a:pt x="31" y="142"/>
                    </a:cubicBezTo>
                    <a:cubicBezTo>
                      <a:pt x="29" y="142"/>
                      <a:pt x="27" y="140"/>
                      <a:pt x="27" y="136"/>
                    </a:cubicBezTo>
                    <a:cubicBezTo>
                      <a:pt x="27" y="136"/>
                      <a:pt x="27" y="134"/>
                      <a:pt x="27" y="132"/>
                    </a:cubicBezTo>
                    <a:cubicBezTo>
                      <a:pt x="28" y="118"/>
                      <a:pt x="29" y="105"/>
                      <a:pt x="29" y="95"/>
                    </a:cubicBezTo>
                    <a:cubicBezTo>
                      <a:pt x="19" y="95"/>
                      <a:pt x="14" y="98"/>
                      <a:pt x="13" y="105"/>
                    </a:cubicBezTo>
                    <a:cubicBezTo>
                      <a:pt x="10" y="114"/>
                      <a:pt x="7" y="124"/>
                      <a:pt x="5" y="135"/>
                    </a:cubicBezTo>
                    <a:cubicBezTo>
                      <a:pt x="4" y="137"/>
                      <a:pt x="3" y="139"/>
                      <a:pt x="2" y="139"/>
                    </a:cubicBezTo>
                    <a:cubicBezTo>
                      <a:pt x="1" y="140"/>
                      <a:pt x="0" y="138"/>
                      <a:pt x="0" y="135"/>
                    </a:cubicBezTo>
                    <a:cubicBezTo>
                      <a:pt x="0" y="125"/>
                      <a:pt x="2" y="115"/>
                      <a:pt x="7" y="104"/>
                    </a:cubicBezTo>
                    <a:cubicBezTo>
                      <a:pt x="11" y="92"/>
                      <a:pt x="18" y="86"/>
                      <a:pt x="30" y="86"/>
                    </a:cubicBezTo>
                    <a:cubicBezTo>
                      <a:pt x="30" y="85"/>
                      <a:pt x="30" y="83"/>
                      <a:pt x="31" y="80"/>
                    </a:cubicBezTo>
                    <a:cubicBezTo>
                      <a:pt x="29" y="81"/>
                      <a:pt x="28" y="81"/>
                      <a:pt x="26" y="80"/>
                    </a:cubicBezTo>
                    <a:cubicBezTo>
                      <a:pt x="24" y="80"/>
                      <a:pt x="23" y="80"/>
                      <a:pt x="22" y="80"/>
                    </a:cubicBezTo>
                    <a:cubicBezTo>
                      <a:pt x="14" y="81"/>
                      <a:pt x="8" y="76"/>
                      <a:pt x="5" y="66"/>
                    </a:cubicBezTo>
                    <a:cubicBezTo>
                      <a:pt x="2" y="59"/>
                      <a:pt x="0" y="49"/>
                      <a:pt x="0" y="37"/>
                    </a:cubicBezTo>
                    <a:cubicBezTo>
                      <a:pt x="0" y="32"/>
                      <a:pt x="1" y="29"/>
                      <a:pt x="3" y="29"/>
                    </a:cubicBezTo>
                    <a:cubicBezTo>
                      <a:pt x="6" y="31"/>
                      <a:pt x="8" y="35"/>
                      <a:pt x="8" y="39"/>
                    </a:cubicBezTo>
                    <a:cubicBezTo>
                      <a:pt x="7" y="45"/>
                      <a:pt x="7" y="52"/>
                      <a:pt x="9" y="59"/>
                    </a:cubicBezTo>
                    <a:cubicBezTo>
                      <a:pt x="10" y="68"/>
                      <a:pt x="16" y="73"/>
                      <a:pt x="24" y="74"/>
                    </a:cubicBezTo>
                    <a:cubicBezTo>
                      <a:pt x="26" y="74"/>
                      <a:pt x="29" y="74"/>
                      <a:pt x="31" y="74"/>
                    </a:cubicBezTo>
                    <a:cubicBezTo>
                      <a:pt x="31" y="72"/>
                      <a:pt x="31" y="69"/>
                      <a:pt x="31" y="65"/>
                    </a:cubicBezTo>
                    <a:cubicBezTo>
                      <a:pt x="31" y="61"/>
                      <a:pt x="32" y="58"/>
                      <a:pt x="32" y="57"/>
                    </a:cubicBezTo>
                    <a:cubicBezTo>
                      <a:pt x="25" y="56"/>
                      <a:pt x="20" y="53"/>
                      <a:pt x="19" y="48"/>
                    </a:cubicBezTo>
                    <a:cubicBezTo>
                      <a:pt x="15" y="36"/>
                      <a:pt x="14" y="25"/>
                      <a:pt x="16" y="14"/>
                    </a:cubicBezTo>
                    <a:cubicBezTo>
                      <a:pt x="17" y="6"/>
                      <a:pt x="21" y="2"/>
                      <a:pt x="27" y="2"/>
                    </a:cubicBezTo>
                    <a:close/>
                    <a:moveTo>
                      <a:pt x="22" y="19"/>
                    </a:moveTo>
                    <a:cubicBezTo>
                      <a:pt x="22" y="20"/>
                      <a:pt x="22" y="20"/>
                      <a:pt x="22" y="20"/>
                    </a:cubicBezTo>
                    <a:cubicBezTo>
                      <a:pt x="30" y="20"/>
                      <a:pt x="42" y="19"/>
                      <a:pt x="57" y="19"/>
                    </a:cubicBezTo>
                    <a:cubicBezTo>
                      <a:pt x="57" y="18"/>
                      <a:pt x="57" y="17"/>
                      <a:pt x="57" y="16"/>
                    </a:cubicBezTo>
                    <a:cubicBezTo>
                      <a:pt x="56" y="13"/>
                      <a:pt x="54" y="10"/>
                      <a:pt x="50" y="9"/>
                    </a:cubicBezTo>
                    <a:cubicBezTo>
                      <a:pt x="44" y="8"/>
                      <a:pt x="37" y="7"/>
                      <a:pt x="31" y="9"/>
                    </a:cubicBezTo>
                    <a:cubicBezTo>
                      <a:pt x="25" y="11"/>
                      <a:pt x="22" y="14"/>
                      <a:pt x="22" y="19"/>
                    </a:cubicBezTo>
                    <a:close/>
                    <a:moveTo>
                      <a:pt x="22" y="27"/>
                    </a:moveTo>
                    <a:cubicBezTo>
                      <a:pt x="22" y="28"/>
                      <a:pt x="22" y="29"/>
                      <a:pt x="23" y="31"/>
                    </a:cubicBezTo>
                    <a:cubicBezTo>
                      <a:pt x="23" y="32"/>
                      <a:pt x="23" y="33"/>
                      <a:pt x="23" y="34"/>
                    </a:cubicBezTo>
                    <a:cubicBezTo>
                      <a:pt x="57" y="34"/>
                      <a:pt x="57" y="34"/>
                      <a:pt x="57" y="34"/>
                    </a:cubicBezTo>
                    <a:cubicBezTo>
                      <a:pt x="57" y="27"/>
                      <a:pt x="57" y="27"/>
                      <a:pt x="57" y="27"/>
                    </a:cubicBezTo>
                    <a:cubicBezTo>
                      <a:pt x="45" y="26"/>
                      <a:pt x="33" y="26"/>
                      <a:pt x="22" y="27"/>
                    </a:cubicBezTo>
                    <a:close/>
                    <a:moveTo>
                      <a:pt x="35" y="50"/>
                    </a:moveTo>
                    <a:cubicBezTo>
                      <a:pt x="48" y="50"/>
                      <a:pt x="48" y="50"/>
                      <a:pt x="48" y="50"/>
                    </a:cubicBezTo>
                    <a:cubicBezTo>
                      <a:pt x="53" y="50"/>
                      <a:pt x="55" y="47"/>
                      <a:pt x="57" y="42"/>
                    </a:cubicBezTo>
                    <a:cubicBezTo>
                      <a:pt x="57" y="41"/>
                      <a:pt x="57" y="41"/>
                      <a:pt x="57" y="41"/>
                    </a:cubicBezTo>
                    <a:cubicBezTo>
                      <a:pt x="43" y="41"/>
                      <a:pt x="32" y="41"/>
                      <a:pt x="24" y="42"/>
                    </a:cubicBezTo>
                    <a:cubicBezTo>
                      <a:pt x="24" y="43"/>
                      <a:pt x="24" y="43"/>
                      <a:pt x="25" y="44"/>
                    </a:cubicBezTo>
                    <a:cubicBezTo>
                      <a:pt x="27" y="48"/>
                      <a:pt x="30" y="50"/>
                      <a:pt x="35" y="5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203" name="iṣlîḋè"/>
              <p:cNvSpPr/>
              <p:nvPr/>
            </p:nvSpPr>
            <p:spPr bwMode="auto">
              <a:xfrm>
                <a:off x="2604984" y="5259978"/>
                <a:ext cx="177800" cy="255588"/>
              </a:xfrm>
              <a:custGeom>
                <a:avLst/>
                <a:gdLst>
                  <a:gd name="T0" fmla="*/ 5 w 96"/>
                  <a:gd name="T1" fmla="*/ 37 h 138"/>
                  <a:gd name="T2" fmla="*/ 24 w 96"/>
                  <a:gd name="T3" fmla="*/ 49 h 138"/>
                  <a:gd name="T4" fmla="*/ 7 w 96"/>
                  <a:gd name="T5" fmla="*/ 26 h 138"/>
                  <a:gd name="T6" fmla="*/ 0 w 96"/>
                  <a:gd name="T7" fmla="*/ 22 h 138"/>
                  <a:gd name="T8" fmla="*/ 44 w 96"/>
                  <a:gd name="T9" fmla="*/ 19 h 138"/>
                  <a:gd name="T10" fmla="*/ 40 w 96"/>
                  <a:gd name="T11" fmla="*/ 26 h 138"/>
                  <a:gd name="T12" fmla="*/ 29 w 96"/>
                  <a:gd name="T13" fmla="*/ 49 h 138"/>
                  <a:gd name="T14" fmla="*/ 42 w 96"/>
                  <a:gd name="T15" fmla="*/ 39 h 138"/>
                  <a:gd name="T16" fmla="*/ 36 w 96"/>
                  <a:gd name="T17" fmla="*/ 64 h 138"/>
                  <a:gd name="T18" fmla="*/ 44 w 96"/>
                  <a:gd name="T19" fmla="*/ 70 h 138"/>
                  <a:gd name="T20" fmla="*/ 30 w 96"/>
                  <a:gd name="T21" fmla="*/ 78 h 138"/>
                  <a:gd name="T22" fmla="*/ 48 w 96"/>
                  <a:gd name="T23" fmla="*/ 111 h 138"/>
                  <a:gd name="T24" fmla="*/ 42 w 96"/>
                  <a:gd name="T25" fmla="*/ 124 h 138"/>
                  <a:gd name="T26" fmla="*/ 33 w 96"/>
                  <a:gd name="T27" fmla="*/ 93 h 138"/>
                  <a:gd name="T28" fmla="*/ 30 w 96"/>
                  <a:gd name="T29" fmla="*/ 116 h 138"/>
                  <a:gd name="T30" fmla="*/ 24 w 96"/>
                  <a:gd name="T31" fmla="*/ 133 h 138"/>
                  <a:gd name="T32" fmla="*/ 20 w 96"/>
                  <a:gd name="T33" fmla="*/ 93 h 138"/>
                  <a:gd name="T34" fmla="*/ 11 w 96"/>
                  <a:gd name="T35" fmla="*/ 122 h 138"/>
                  <a:gd name="T36" fmla="*/ 8 w 96"/>
                  <a:gd name="T37" fmla="*/ 102 h 138"/>
                  <a:gd name="T38" fmla="*/ 24 w 96"/>
                  <a:gd name="T39" fmla="*/ 81 h 138"/>
                  <a:gd name="T40" fmla="*/ 3 w 96"/>
                  <a:gd name="T41" fmla="*/ 77 h 138"/>
                  <a:gd name="T42" fmla="*/ 14 w 96"/>
                  <a:gd name="T43" fmla="*/ 70 h 138"/>
                  <a:gd name="T44" fmla="*/ 20 w 96"/>
                  <a:gd name="T45" fmla="*/ 65 h 138"/>
                  <a:gd name="T46" fmla="*/ 2 w 96"/>
                  <a:gd name="T47" fmla="*/ 37 h 138"/>
                  <a:gd name="T48" fmla="*/ 40 w 96"/>
                  <a:gd name="T49" fmla="*/ 3 h 138"/>
                  <a:gd name="T50" fmla="*/ 14 w 96"/>
                  <a:gd name="T51" fmla="*/ 11 h 138"/>
                  <a:gd name="T52" fmla="*/ 5 w 96"/>
                  <a:gd name="T53" fmla="*/ 6 h 138"/>
                  <a:gd name="T54" fmla="*/ 33 w 96"/>
                  <a:gd name="T55" fmla="*/ 26 h 138"/>
                  <a:gd name="T56" fmla="*/ 27 w 96"/>
                  <a:gd name="T57" fmla="*/ 45 h 138"/>
                  <a:gd name="T58" fmla="*/ 54 w 96"/>
                  <a:gd name="T59" fmla="*/ 2 h 138"/>
                  <a:gd name="T60" fmla="*/ 58 w 96"/>
                  <a:gd name="T61" fmla="*/ 10 h 138"/>
                  <a:gd name="T62" fmla="*/ 88 w 96"/>
                  <a:gd name="T63" fmla="*/ 22 h 138"/>
                  <a:gd name="T64" fmla="*/ 74 w 96"/>
                  <a:gd name="T65" fmla="*/ 37 h 138"/>
                  <a:gd name="T66" fmla="*/ 62 w 96"/>
                  <a:gd name="T67" fmla="*/ 66 h 138"/>
                  <a:gd name="T68" fmla="*/ 53 w 96"/>
                  <a:gd name="T69" fmla="*/ 136 h 138"/>
                  <a:gd name="T70" fmla="*/ 48 w 96"/>
                  <a:gd name="T71" fmla="*/ 130 h 138"/>
                  <a:gd name="T72" fmla="*/ 55 w 96"/>
                  <a:gd name="T73" fmla="*/ 48 h 138"/>
                  <a:gd name="T74" fmla="*/ 76 w 96"/>
                  <a:gd name="T75" fmla="*/ 31 h 138"/>
                  <a:gd name="T76" fmla="*/ 65 w 96"/>
                  <a:gd name="T77" fmla="*/ 18 h 138"/>
                  <a:gd name="T78" fmla="*/ 52 w 96"/>
                  <a:gd name="T79" fmla="*/ 13 h 138"/>
                  <a:gd name="T80" fmla="*/ 94 w 96"/>
                  <a:gd name="T81" fmla="*/ 74 h 138"/>
                  <a:gd name="T82" fmla="*/ 76 w 96"/>
                  <a:gd name="T83" fmla="*/ 54 h 138"/>
                  <a:gd name="T84" fmla="*/ 83 w 96"/>
                  <a:gd name="T85" fmla="*/ 119 h 138"/>
                  <a:gd name="T86" fmla="*/ 88 w 96"/>
                  <a:gd name="T87" fmla="*/ 133 h 138"/>
                  <a:gd name="T88" fmla="*/ 70 w 96"/>
                  <a:gd name="T89" fmla="*/ 93 h 138"/>
                  <a:gd name="T90" fmla="*/ 70 w 96"/>
                  <a:gd name="T91" fmla="*/ 42 h 138"/>
                  <a:gd name="T92" fmla="*/ 95 w 96"/>
                  <a:gd name="T93" fmla="*/ 70 h 1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96" h="138">
                    <a:moveTo>
                      <a:pt x="2" y="37"/>
                    </a:moveTo>
                    <a:cubicBezTo>
                      <a:pt x="2" y="36"/>
                      <a:pt x="2" y="35"/>
                      <a:pt x="3" y="35"/>
                    </a:cubicBezTo>
                    <a:cubicBezTo>
                      <a:pt x="4" y="35"/>
                      <a:pt x="5" y="36"/>
                      <a:pt x="5" y="37"/>
                    </a:cubicBezTo>
                    <a:cubicBezTo>
                      <a:pt x="9" y="49"/>
                      <a:pt x="14" y="56"/>
                      <a:pt x="21" y="59"/>
                    </a:cubicBezTo>
                    <a:cubicBezTo>
                      <a:pt x="21" y="59"/>
                      <a:pt x="22" y="60"/>
                      <a:pt x="24" y="60"/>
                    </a:cubicBezTo>
                    <a:cubicBezTo>
                      <a:pt x="24" y="56"/>
                      <a:pt x="24" y="53"/>
                      <a:pt x="24" y="49"/>
                    </a:cubicBezTo>
                    <a:cubicBezTo>
                      <a:pt x="21" y="48"/>
                      <a:pt x="18" y="46"/>
                      <a:pt x="16" y="42"/>
                    </a:cubicBezTo>
                    <a:cubicBezTo>
                      <a:pt x="13" y="38"/>
                      <a:pt x="12" y="33"/>
                      <a:pt x="12" y="26"/>
                    </a:cubicBezTo>
                    <a:cubicBezTo>
                      <a:pt x="9" y="26"/>
                      <a:pt x="8" y="26"/>
                      <a:pt x="7" y="26"/>
                    </a:cubicBezTo>
                    <a:cubicBezTo>
                      <a:pt x="4" y="27"/>
                      <a:pt x="2" y="27"/>
                      <a:pt x="1" y="25"/>
                    </a:cubicBezTo>
                    <a:cubicBezTo>
                      <a:pt x="0" y="24"/>
                      <a:pt x="0" y="23"/>
                      <a:pt x="0" y="22"/>
                    </a:cubicBezTo>
                    <a:cubicBezTo>
                      <a:pt x="0" y="22"/>
                      <a:pt x="0" y="22"/>
                      <a:pt x="0" y="22"/>
                    </a:cubicBezTo>
                    <a:cubicBezTo>
                      <a:pt x="1" y="19"/>
                      <a:pt x="2" y="18"/>
                      <a:pt x="4" y="19"/>
                    </a:cubicBezTo>
                    <a:cubicBezTo>
                      <a:pt x="6" y="19"/>
                      <a:pt x="8" y="19"/>
                      <a:pt x="11" y="19"/>
                    </a:cubicBezTo>
                    <a:cubicBezTo>
                      <a:pt x="44" y="19"/>
                      <a:pt x="44" y="19"/>
                      <a:pt x="44" y="19"/>
                    </a:cubicBezTo>
                    <a:cubicBezTo>
                      <a:pt x="46" y="19"/>
                      <a:pt x="48" y="20"/>
                      <a:pt x="48" y="23"/>
                    </a:cubicBezTo>
                    <a:cubicBezTo>
                      <a:pt x="47" y="25"/>
                      <a:pt x="45" y="26"/>
                      <a:pt x="42" y="26"/>
                    </a:cubicBezTo>
                    <a:cubicBezTo>
                      <a:pt x="42" y="26"/>
                      <a:pt x="41" y="26"/>
                      <a:pt x="40" y="26"/>
                    </a:cubicBezTo>
                    <a:cubicBezTo>
                      <a:pt x="40" y="26"/>
                      <a:pt x="40" y="26"/>
                      <a:pt x="40" y="26"/>
                    </a:cubicBezTo>
                    <a:cubicBezTo>
                      <a:pt x="39" y="34"/>
                      <a:pt x="38" y="39"/>
                      <a:pt x="37" y="42"/>
                    </a:cubicBezTo>
                    <a:cubicBezTo>
                      <a:pt x="34" y="46"/>
                      <a:pt x="32" y="49"/>
                      <a:pt x="29" y="49"/>
                    </a:cubicBezTo>
                    <a:cubicBezTo>
                      <a:pt x="30" y="53"/>
                      <a:pt x="30" y="56"/>
                      <a:pt x="30" y="60"/>
                    </a:cubicBezTo>
                    <a:cubicBezTo>
                      <a:pt x="31" y="60"/>
                      <a:pt x="32" y="59"/>
                      <a:pt x="33" y="58"/>
                    </a:cubicBezTo>
                    <a:cubicBezTo>
                      <a:pt x="39" y="56"/>
                      <a:pt x="42" y="49"/>
                      <a:pt x="42" y="39"/>
                    </a:cubicBezTo>
                    <a:cubicBezTo>
                      <a:pt x="43" y="37"/>
                      <a:pt x="44" y="36"/>
                      <a:pt x="46" y="36"/>
                    </a:cubicBezTo>
                    <a:cubicBezTo>
                      <a:pt x="47" y="36"/>
                      <a:pt x="48" y="37"/>
                      <a:pt x="48" y="39"/>
                    </a:cubicBezTo>
                    <a:cubicBezTo>
                      <a:pt x="49" y="49"/>
                      <a:pt x="45" y="57"/>
                      <a:pt x="36" y="64"/>
                    </a:cubicBezTo>
                    <a:cubicBezTo>
                      <a:pt x="34" y="65"/>
                      <a:pt x="32" y="66"/>
                      <a:pt x="30" y="66"/>
                    </a:cubicBezTo>
                    <a:cubicBezTo>
                      <a:pt x="30" y="70"/>
                      <a:pt x="30" y="70"/>
                      <a:pt x="30" y="70"/>
                    </a:cubicBezTo>
                    <a:cubicBezTo>
                      <a:pt x="44" y="70"/>
                      <a:pt x="44" y="70"/>
                      <a:pt x="44" y="70"/>
                    </a:cubicBezTo>
                    <a:cubicBezTo>
                      <a:pt x="47" y="70"/>
                      <a:pt x="49" y="71"/>
                      <a:pt x="49" y="73"/>
                    </a:cubicBezTo>
                    <a:cubicBezTo>
                      <a:pt x="49" y="76"/>
                      <a:pt x="47" y="77"/>
                      <a:pt x="43" y="77"/>
                    </a:cubicBezTo>
                    <a:cubicBezTo>
                      <a:pt x="37" y="77"/>
                      <a:pt x="33" y="77"/>
                      <a:pt x="30" y="78"/>
                    </a:cubicBezTo>
                    <a:cubicBezTo>
                      <a:pt x="30" y="80"/>
                      <a:pt x="30" y="82"/>
                      <a:pt x="30" y="84"/>
                    </a:cubicBezTo>
                    <a:cubicBezTo>
                      <a:pt x="34" y="84"/>
                      <a:pt x="37" y="87"/>
                      <a:pt x="40" y="91"/>
                    </a:cubicBezTo>
                    <a:cubicBezTo>
                      <a:pt x="44" y="96"/>
                      <a:pt x="46" y="103"/>
                      <a:pt x="48" y="111"/>
                    </a:cubicBezTo>
                    <a:cubicBezTo>
                      <a:pt x="49" y="116"/>
                      <a:pt x="49" y="120"/>
                      <a:pt x="48" y="124"/>
                    </a:cubicBezTo>
                    <a:cubicBezTo>
                      <a:pt x="47" y="125"/>
                      <a:pt x="46" y="125"/>
                      <a:pt x="45" y="125"/>
                    </a:cubicBezTo>
                    <a:cubicBezTo>
                      <a:pt x="44" y="125"/>
                      <a:pt x="43" y="125"/>
                      <a:pt x="42" y="124"/>
                    </a:cubicBezTo>
                    <a:cubicBezTo>
                      <a:pt x="42" y="123"/>
                      <a:pt x="42" y="121"/>
                      <a:pt x="42" y="118"/>
                    </a:cubicBezTo>
                    <a:cubicBezTo>
                      <a:pt x="41" y="116"/>
                      <a:pt x="41" y="114"/>
                      <a:pt x="41" y="113"/>
                    </a:cubicBezTo>
                    <a:cubicBezTo>
                      <a:pt x="40" y="104"/>
                      <a:pt x="37" y="97"/>
                      <a:pt x="33" y="93"/>
                    </a:cubicBezTo>
                    <a:cubicBezTo>
                      <a:pt x="33" y="92"/>
                      <a:pt x="32" y="91"/>
                      <a:pt x="30" y="91"/>
                    </a:cubicBezTo>
                    <a:cubicBezTo>
                      <a:pt x="31" y="97"/>
                      <a:pt x="31" y="101"/>
                      <a:pt x="31" y="105"/>
                    </a:cubicBezTo>
                    <a:cubicBezTo>
                      <a:pt x="31" y="107"/>
                      <a:pt x="31" y="111"/>
                      <a:pt x="30" y="116"/>
                    </a:cubicBezTo>
                    <a:cubicBezTo>
                      <a:pt x="30" y="124"/>
                      <a:pt x="30" y="129"/>
                      <a:pt x="29" y="133"/>
                    </a:cubicBezTo>
                    <a:cubicBezTo>
                      <a:pt x="29" y="136"/>
                      <a:pt x="28" y="137"/>
                      <a:pt x="27" y="137"/>
                    </a:cubicBezTo>
                    <a:cubicBezTo>
                      <a:pt x="26" y="137"/>
                      <a:pt x="25" y="136"/>
                      <a:pt x="24" y="133"/>
                    </a:cubicBezTo>
                    <a:cubicBezTo>
                      <a:pt x="24" y="120"/>
                      <a:pt x="24" y="111"/>
                      <a:pt x="24" y="105"/>
                    </a:cubicBezTo>
                    <a:cubicBezTo>
                      <a:pt x="24" y="100"/>
                      <a:pt x="24" y="95"/>
                      <a:pt x="24" y="90"/>
                    </a:cubicBezTo>
                    <a:cubicBezTo>
                      <a:pt x="22" y="91"/>
                      <a:pt x="21" y="92"/>
                      <a:pt x="20" y="93"/>
                    </a:cubicBezTo>
                    <a:cubicBezTo>
                      <a:pt x="18" y="94"/>
                      <a:pt x="16" y="98"/>
                      <a:pt x="14" y="102"/>
                    </a:cubicBezTo>
                    <a:cubicBezTo>
                      <a:pt x="13" y="104"/>
                      <a:pt x="13" y="104"/>
                      <a:pt x="13" y="104"/>
                    </a:cubicBezTo>
                    <a:cubicBezTo>
                      <a:pt x="12" y="108"/>
                      <a:pt x="11" y="114"/>
                      <a:pt x="11" y="122"/>
                    </a:cubicBezTo>
                    <a:cubicBezTo>
                      <a:pt x="10" y="124"/>
                      <a:pt x="9" y="125"/>
                      <a:pt x="7" y="125"/>
                    </a:cubicBezTo>
                    <a:cubicBezTo>
                      <a:pt x="6" y="125"/>
                      <a:pt x="5" y="124"/>
                      <a:pt x="5" y="122"/>
                    </a:cubicBezTo>
                    <a:cubicBezTo>
                      <a:pt x="6" y="115"/>
                      <a:pt x="7" y="108"/>
                      <a:pt x="8" y="102"/>
                    </a:cubicBezTo>
                    <a:cubicBezTo>
                      <a:pt x="9" y="97"/>
                      <a:pt x="11" y="92"/>
                      <a:pt x="14" y="89"/>
                    </a:cubicBezTo>
                    <a:cubicBezTo>
                      <a:pt x="17" y="86"/>
                      <a:pt x="20" y="84"/>
                      <a:pt x="24" y="84"/>
                    </a:cubicBezTo>
                    <a:cubicBezTo>
                      <a:pt x="24" y="81"/>
                      <a:pt x="24" y="81"/>
                      <a:pt x="24" y="81"/>
                    </a:cubicBezTo>
                    <a:cubicBezTo>
                      <a:pt x="24" y="80"/>
                      <a:pt x="24" y="79"/>
                      <a:pt x="24" y="78"/>
                    </a:cubicBezTo>
                    <a:cubicBezTo>
                      <a:pt x="14" y="78"/>
                      <a:pt x="9" y="78"/>
                      <a:pt x="9" y="78"/>
                    </a:cubicBezTo>
                    <a:cubicBezTo>
                      <a:pt x="6" y="79"/>
                      <a:pt x="4" y="79"/>
                      <a:pt x="3" y="77"/>
                    </a:cubicBezTo>
                    <a:cubicBezTo>
                      <a:pt x="2" y="76"/>
                      <a:pt x="2" y="74"/>
                      <a:pt x="3" y="72"/>
                    </a:cubicBezTo>
                    <a:cubicBezTo>
                      <a:pt x="3" y="70"/>
                      <a:pt x="4" y="70"/>
                      <a:pt x="7" y="70"/>
                    </a:cubicBezTo>
                    <a:cubicBezTo>
                      <a:pt x="8" y="70"/>
                      <a:pt x="10" y="70"/>
                      <a:pt x="14" y="70"/>
                    </a:cubicBezTo>
                    <a:cubicBezTo>
                      <a:pt x="24" y="70"/>
                      <a:pt x="24" y="70"/>
                      <a:pt x="24" y="70"/>
                    </a:cubicBezTo>
                    <a:cubicBezTo>
                      <a:pt x="24" y="66"/>
                      <a:pt x="24" y="66"/>
                      <a:pt x="24" y="66"/>
                    </a:cubicBezTo>
                    <a:cubicBezTo>
                      <a:pt x="22" y="66"/>
                      <a:pt x="21" y="66"/>
                      <a:pt x="20" y="65"/>
                    </a:cubicBezTo>
                    <a:cubicBezTo>
                      <a:pt x="12" y="62"/>
                      <a:pt x="6" y="56"/>
                      <a:pt x="2" y="46"/>
                    </a:cubicBezTo>
                    <a:cubicBezTo>
                      <a:pt x="2" y="46"/>
                      <a:pt x="2" y="43"/>
                      <a:pt x="2" y="40"/>
                    </a:cubicBezTo>
                    <a:cubicBezTo>
                      <a:pt x="2" y="39"/>
                      <a:pt x="2" y="38"/>
                      <a:pt x="2" y="37"/>
                    </a:cubicBezTo>
                    <a:close/>
                    <a:moveTo>
                      <a:pt x="9" y="3"/>
                    </a:moveTo>
                    <a:cubicBezTo>
                      <a:pt x="11" y="3"/>
                      <a:pt x="15" y="3"/>
                      <a:pt x="19" y="3"/>
                    </a:cubicBezTo>
                    <a:cubicBezTo>
                      <a:pt x="40" y="3"/>
                      <a:pt x="40" y="3"/>
                      <a:pt x="40" y="3"/>
                    </a:cubicBezTo>
                    <a:cubicBezTo>
                      <a:pt x="43" y="3"/>
                      <a:pt x="44" y="5"/>
                      <a:pt x="44" y="7"/>
                    </a:cubicBezTo>
                    <a:cubicBezTo>
                      <a:pt x="44" y="9"/>
                      <a:pt x="42" y="10"/>
                      <a:pt x="39" y="10"/>
                    </a:cubicBezTo>
                    <a:cubicBezTo>
                      <a:pt x="34" y="10"/>
                      <a:pt x="25" y="10"/>
                      <a:pt x="14" y="11"/>
                    </a:cubicBezTo>
                    <a:cubicBezTo>
                      <a:pt x="13" y="11"/>
                      <a:pt x="12" y="11"/>
                      <a:pt x="11" y="11"/>
                    </a:cubicBezTo>
                    <a:cubicBezTo>
                      <a:pt x="7" y="11"/>
                      <a:pt x="5" y="11"/>
                      <a:pt x="5" y="9"/>
                    </a:cubicBezTo>
                    <a:cubicBezTo>
                      <a:pt x="5" y="9"/>
                      <a:pt x="4" y="8"/>
                      <a:pt x="5" y="6"/>
                    </a:cubicBezTo>
                    <a:cubicBezTo>
                      <a:pt x="5" y="5"/>
                      <a:pt x="5" y="5"/>
                      <a:pt x="5" y="5"/>
                    </a:cubicBezTo>
                    <a:cubicBezTo>
                      <a:pt x="5" y="3"/>
                      <a:pt x="6" y="3"/>
                      <a:pt x="9" y="3"/>
                    </a:cubicBezTo>
                    <a:close/>
                    <a:moveTo>
                      <a:pt x="33" y="26"/>
                    </a:moveTo>
                    <a:cubicBezTo>
                      <a:pt x="28" y="26"/>
                      <a:pt x="23" y="26"/>
                      <a:pt x="17" y="26"/>
                    </a:cubicBezTo>
                    <a:cubicBezTo>
                      <a:pt x="18" y="32"/>
                      <a:pt x="20" y="38"/>
                      <a:pt x="24" y="42"/>
                    </a:cubicBezTo>
                    <a:cubicBezTo>
                      <a:pt x="25" y="44"/>
                      <a:pt x="26" y="45"/>
                      <a:pt x="27" y="45"/>
                    </a:cubicBezTo>
                    <a:cubicBezTo>
                      <a:pt x="28" y="45"/>
                      <a:pt x="29" y="44"/>
                      <a:pt x="29" y="42"/>
                    </a:cubicBezTo>
                    <a:cubicBezTo>
                      <a:pt x="32" y="38"/>
                      <a:pt x="33" y="33"/>
                      <a:pt x="33" y="26"/>
                    </a:cubicBezTo>
                    <a:close/>
                    <a:moveTo>
                      <a:pt x="54" y="2"/>
                    </a:moveTo>
                    <a:cubicBezTo>
                      <a:pt x="55" y="0"/>
                      <a:pt x="57" y="0"/>
                      <a:pt x="58" y="1"/>
                    </a:cubicBezTo>
                    <a:cubicBezTo>
                      <a:pt x="59" y="2"/>
                      <a:pt x="60" y="4"/>
                      <a:pt x="59" y="6"/>
                    </a:cubicBezTo>
                    <a:cubicBezTo>
                      <a:pt x="57" y="8"/>
                      <a:pt x="57" y="9"/>
                      <a:pt x="58" y="10"/>
                    </a:cubicBezTo>
                    <a:cubicBezTo>
                      <a:pt x="59" y="11"/>
                      <a:pt x="61" y="12"/>
                      <a:pt x="63" y="11"/>
                    </a:cubicBezTo>
                    <a:cubicBezTo>
                      <a:pt x="67" y="9"/>
                      <a:pt x="73" y="9"/>
                      <a:pt x="80" y="11"/>
                    </a:cubicBezTo>
                    <a:cubicBezTo>
                      <a:pt x="84" y="13"/>
                      <a:pt x="87" y="16"/>
                      <a:pt x="88" y="22"/>
                    </a:cubicBezTo>
                    <a:cubicBezTo>
                      <a:pt x="89" y="27"/>
                      <a:pt x="88" y="32"/>
                      <a:pt x="85" y="35"/>
                    </a:cubicBezTo>
                    <a:cubicBezTo>
                      <a:pt x="84" y="38"/>
                      <a:pt x="81" y="39"/>
                      <a:pt x="75" y="37"/>
                    </a:cubicBezTo>
                    <a:cubicBezTo>
                      <a:pt x="75" y="37"/>
                      <a:pt x="74" y="37"/>
                      <a:pt x="74" y="37"/>
                    </a:cubicBezTo>
                    <a:cubicBezTo>
                      <a:pt x="69" y="37"/>
                      <a:pt x="66" y="37"/>
                      <a:pt x="63" y="38"/>
                    </a:cubicBezTo>
                    <a:cubicBezTo>
                      <a:pt x="62" y="38"/>
                      <a:pt x="61" y="40"/>
                      <a:pt x="61" y="43"/>
                    </a:cubicBezTo>
                    <a:cubicBezTo>
                      <a:pt x="62" y="48"/>
                      <a:pt x="62" y="56"/>
                      <a:pt x="62" y="66"/>
                    </a:cubicBezTo>
                    <a:cubicBezTo>
                      <a:pt x="62" y="70"/>
                      <a:pt x="61" y="76"/>
                      <a:pt x="61" y="84"/>
                    </a:cubicBezTo>
                    <a:cubicBezTo>
                      <a:pt x="59" y="99"/>
                      <a:pt x="58" y="110"/>
                      <a:pt x="57" y="116"/>
                    </a:cubicBezTo>
                    <a:cubicBezTo>
                      <a:pt x="57" y="122"/>
                      <a:pt x="55" y="128"/>
                      <a:pt x="53" y="136"/>
                    </a:cubicBezTo>
                    <a:cubicBezTo>
                      <a:pt x="52" y="137"/>
                      <a:pt x="51" y="138"/>
                      <a:pt x="50" y="138"/>
                    </a:cubicBezTo>
                    <a:cubicBezTo>
                      <a:pt x="48" y="138"/>
                      <a:pt x="48" y="137"/>
                      <a:pt x="48" y="136"/>
                    </a:cubicBezTo>
                    <a:cubicBezTo>
                      <a:pt x="48" y="135"/>
                      <a:pt x="48" y="133"/>
                      <a:pt x="48" y="130"/>
                    </a:cubicBezTo>
                    <a:cubicBezTo>
                      <a:pt x="49" y="127"/>
                      <a:pt x="49" y="126"/>
                      <a:pt x="49" y="125"/>
                    </a:cubicBezTo>
                    <a:cubicBezTo>
                      <a:pt x="53" y="104"/>
                      <a:pt x="55" y="85"/>
                      <a:pt x="55" y="68"/>
                    </a:cubicBezTo>
                    <a:cubicBezTo>
                      <a:pt x="56" y="60"/>
                      <a:pt x="56" y="54"/>
                      <a:pt x="55" y="48"/>
                    </a:cubicBezTo>
                    <a:cubicBezTo>
                      <a:pt x="54" y="45"/>
                      <a:pt x="53" y="42"/>
                      <a:pt x="52" y="40"/>
                    </a:cubicBezTo>
                    <a:cubicBezTo>
                      <a:pt x="50" y="38"/>
                      <a:pt x="51" y="36"/>
                      <a:pt x="54" y="34"/>
                    </a:cubicBezTo>
                    <a:cubicBezTo>
                      <a:pt x="58" y="30"/>
                      <a:pt x="66" y="29"/>
                      <a:pt x="76" y="31"/>
                    </a:cubicBezTo>
                    <a:cubicBezTo>
                      <a:pt x="81" y="32"/>
                      <a:pt x="83" y="30"/>
                      <a:pt x="83" y="25"/>
                    </a:cubicBezTo>
                    <a:cubicBezTo>
                      <a:pt x="83" y="21"/>
                      <a:pt x="81" y="18"/>
                      <a:pt x="77" y="18"/>
                    </a:cubicBezTo>
                    <a:cubicBezTo>
                      <a:pt x="70" y="17"/>
                      <a:pt x="66" y="17"/>
                      <a:pt x="65" y="18"/>
                    </a:cubicBezTo>
                    <a:cubicBezTo>
                      <a:pt x="63" y="19"/>
                      <a:pt x="60" y="19"/>
                      <a:pt x="57" y="19"/>
                    </a:cubicBezTo>
                    <a:cubicBezTo>
                      <a:pt x="57" y="18"/>
                      <a:pt x="55" y="17"/>
                      <a:pt x="53" y="15"/>
                    </a:cubicBezTo>
                    <a:cubicBezTo>
                      <a:pt x="53" y="14"/>
                      <a:pt x="52" y="14"/>
                      <a:pt x="52" y="13"/>
                    </a:cubicBezTo>
                    <a:cubicBezTo>
                      <a:pt x="50" y="10"/>
                      <a:pt x="51" y="6"/>
                      <a:pt x="54" y="2"/>
                    </a:cubicBezTo>
                    <a:close/>
                    <a:moveTo>
                      <a:pt x="95" y="70"/>
                    </a:moveTo>
                    <a:cubicBezTo>
                      <a:pt x="96" y="72"/>
                      <a:pt x="95" y="73"/>
                      <a:pt x="94" y="74"/>
                    </a:cubicBezTo>
                    <a:cubicBezTo>
                      <a:pt x="92" y="74"/>
                      <a:pt x="91" y="74"/>
                      <a:pt x="90" y="72"/>
                    </a:cubicBezTo>
                    <a:cubicBezTo>
                      <a:pt x="88" y="67"/>
                      <a:pt x="84" y="62"/>
                      <a:pt x="78" y="56"/>
                    </a:cubicBezTo>
                    <a:cubicBezTo>
                      <a:pt x="77" y="55"/>
                      <a:pt x="76" y="54"/>
                      <a:pt x="76" y="54"/>
                    </a:cubicBezTo>
                    <a:cubicBezTo>
                      <a:pt x="75" y="56"/>
                      <a:pt x="75" y="56"/>
                      <a:pt x="75" y="56"/>
                    </a:cubicBezTo>
                    <a:cubicBezTo>
                      <a:pt x="75" y="61"/>
                      <a:pt x="75" y="73"/>
                      <a:pt x="77" y="93"/>
                    </a:cubicBezTo>
                    <a:cubicBezTo>
                      <a:pt x="78" y="99"/>
                      <a:pt x="80" y="107"/>
                      <a:pt x="83" y="119"/>
                    </a:cubicBezTo>
                    <a:cubicBezTo>
                      <a:pt x="84" y="122"/>
                      <a:pt x="85" y="124"/>
                      <a:pt x="85" y="124"/>
                    </a:cubicBezTo>
                    <a:cubicBezTo>
                      <a:pt x="86" y="126"/>
                      <a:pt x="86" y="128"/>
                      <a:pt x="87" y="131"/>
                    </a:cubicBezTo>
                    <a:cubicBezTo>
                      <a:pt x="88" y="132"/>
                      <a:pt x="88" y="133"/>
                      <a:pt x="88" y="133"/>
                    </a:cubicBezTo>
                    <a:cubicBezTo>
                      <a:pt x="88" y="135"/>
                      <a:pt x="88" y="136"/>
                      <a:pt x="86" y="136"/>
                    </a:cubicBezTo>
                    <a:cubicBezTo>
                      <a:pt x="84" y="136"/>
                      <a:pt x="83" y="135"/>
                      <a:pt x="82" y="133"/>
                    </a:cubicBezTo>
                    <a:cubicBezTo>
                      <a:pt x="77" y="123"/>
                      <a:pt x="73" y="110"/>
                      <a:pt x="70" y="93"/>
                    </a:cubicBezTo>
                    <a:cubicBezTo>
                      <a:pt x="69" y="79"/>
                      <a:pt x="68" y="68"/>
                      <a:pt x="68" y="58"/>
                    </a:cubicBezTo>
                    <a:cubicBezTo>
                      <a:pt x="68" y="51"/>
                      <a:pt x="68" y="46"/>
                      <a:pt x="68" y="44"/>
                    </a:cubicBezTo>
                    <a:cubicBezTo>
                      <a:pt x="68" y="43"/>
                      <a:pt x="69" y="42"/>
                      <a:pt x="70" y="42"/>
                    </a:cubicBezTo>
                    <a:cubicBezTo>
                      <a:pt x="71" y="41"/>
                      <a:pt x="71" y="41"/>
                      <a:pt x="72" y="42"/>
                    </a:cubicBezTo>
                    <a:cubicBezTo>
                      <a:pt x="76" y="45"/>
                      <a:pt x="78" y="48"/>
                      <a:pt x="80" y="49"/>
                    </a:cubicBezTo>
                    <a:cubicBezTo>
                      <a:pt x="86" y="54"/>
                      <a:pt x="91" y="61"/>
                      <a:pt x="95" y="7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204" name="íṣ1ïḑe"/>
              <p:cNvSpPr/>
              <p:nvPr/>
            </p:nvSpPr>
            <p:spPr bwMode="auto">
              <a:xfrm>
                <a:off x="1750909" y="4905965"/>
                <a:ext cx="93663" cy="87313"/>
              </a:xfrm>
              <a:custGeom>
                <a:avLst/>
                <a:gdLst>
                  <a:gd name="T0" fmla="*/ 51 w 51"/>
                  <a:gd name="T1" fmla="*/ 17 h 47"/>
                  <a:gd name="T2" fmla="*/ 46 w 51"/>
                  <a:gd name="T3" fmla="*/ 25 h 47"/>
                  <a:gd name="T4" fmla="*/ 26 w 51"/>
                  <a:gd name="T5" fmla="*/ 13 h 47"/>
                  <a:gd name="T6" fmla="*/ 20 w 51"/>
                  <a:gd name="T7" fmla="*/ 9 h 47"/>
                  <a:gd name="T8" fmla="*/ 14 w 51"/>
                  <a:gd name="T9" fmla="*/ 9 h 47"/>
                  <a:gd name="T10" fmla="*/ 10 w 51"/>
                  <a:gd name="T11" fmla="*/ 13 h 47"/>
                  <a:gd name="T12" fmla="*/ 8 w 51"/>
                  <a:gd name="T13" fmla="*/ 19 h 47"/>
                  <a:gd name="T14" fmla="*/ 10 w 51"/>
                  <a:gd name="T15" fmla="*/ 23 h 47"/>
                  <a:gd name="T16" fmla="*/ 17 w 51"/>
                  <a:gd name="T17" fmla="*/ 27 h 47"/>
                  <a:gd name="T18" fmla="*/ 37 w 51"/>
                  <a:gd name="T19" fmla="*/ 40 h 47"/>
                  <a:gd name="T20" fmla="*/ 33 w 51"/>
                  <a:gd name="T21" fmla="*/ 47 h 47"/>
                  <a:gd name="T22" fmla="*/ 13 w 51"/>
                  <a:gd name="T23" fmla="*/ 35 h 47"/>
                  <a:gd name="T24" fmla="*/ 4 w 51"/>
                  <a:gd name="T25" fmla="*/ 29 h 47"/>
                  <a:gd name="T26" fmla="*/ 1 w 51"/>
                  <a:gd name="T27" fmla="*/ 24 h 47"/>
                  <a:gd name="T28" fmla="*/ 0 w 51"/>
                  <a:gd name="T29" fmla="*/ 18 h 47"/>
                  <a:gd name="T30" fmla="*/ 3 w 51"/>
                  <a:gd name="T31" fmla="*/ 10 h 47"/>
                  <a:gd name="T32" fmla="*/ 10 w 51"/>
                  <a:gd name="T33" fmla="*/ 2 h 47"/>
                  <a:gd name="T34" fmla="*/ 15 w 51"/>
                  <a:gd name="T35" fmla="*/ 0 h 47"/>
                  <a:gd name="T36" fmla="*/ 21 w 51"/>
                  <a:gd name="T37" fmla="*/ 0 h 47"/>
                  <a:gd name="T38" fmla="*/ 31 w 51"/>
                  <a:gd name="T39" fmla="*/ 5 h 47"/>
                  <a:gd name="T40" fmla="*/ 51 w 51"/>
                  <a:gd name="T41" fmla="*/ 17 h 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51" h="47">
                    <a:moveTo>
                      <a:pt x="51" y="17"/>
                    </a:moveTo>
                    <a:cubicBezTo>
                      <a:pt x="46" y="25"/>
                      <a:pt x="46" y="25"/>
                      <a:pt x="46" y="25"/>
                    </a:cubicBezTo>
                    <a:cubicBezTo>
                      <a:pt x="26" y="13"/>
                      <a:pt x="26" y="13"/>
                      <a:pt x="26" y="13"/>
                    </a:cubicBezTo>
                    <a:cubicBezTo>
                      <a:pt x="23" y="11"/>
                      <a:pt x="21" y="10"/>
                      <a:pt x="20" y="9"/>
                    </a:cubicBezTo>
                    <a:cubicBezTo>
                      <a:pt x="18" y="9"/>
                      <a:pt x="16" y="9"/>
                      <a:pt x="14" y="9"/>
                    </a:cubicBezTo>
                    <a:cubicBezTo>
                      <a:pt x="13" y="10"/>
                      <a:pt x="11" y="11"/>
                      <a:pt x="10" y="13"/>
                    </a:cubicBezTo>
                    <a:cubicBezTo>
                      <a:pt x="9" y="16"/>
                      <a:pt x="8" y="17"/>
                      <a:pt x="8" y="19"/>
                    </a:cubicBezTo>
                    <a:cubicBezTo>
                      <a:pt x="9" y="21"/>
                      <a:pt x="9" y="22"/>
                      <a:pt x="10" y="23"/>
                    </a:cubicBezTo>
                    <a:cubicBezTo>
                      <a:pt x="12" y="24"/>
                      <a:pt x="14" y="25"/>
                      <a:pt x="17" y="27"/>
                    </a:cubicBezTo>
                    <a:cubicBezTo>
                      <a:pt x="37" y="40"/>
                      <a:pt x="37" y="40"/>
                      <a:pt x="37" y="40"/>
                    </a:cubicBezTo>
                    <a:cubicBezTo>
                      <a:pt x="33" y="47"/>
                      <a:pt x="33" y="47"/>
                      <a:pt x="33" y="47"/>
                    </a:cubicBezTo>
                    <a:cubicBezTo>
                      <a:pt x="13" y="35"/>
                      <a:pt x="13" y="35"/>
                      <a:pt x="13" y="35"/>
                    </a:cubicBezTo>
                    <a:cubicBezTo>
                      <a:pt x="9" y="33"/>
                      <a:pt x="6" y="31"/>
                      <a:pt x="4" y="29"/>
                    </a:cubicBezTo>
                    <a:cubicBezTo>
                      <a:pt x="2" y="28"/>
                      <a:pt x="1" y="26"/>
                      <a:pt x="1" y="24"/>
                    </a:cubicBezTo>
                    <a:cubicBezTo>
                      <a:pt x="0" y="22"/>
                      <a:pt x="0" y="20"/>
                      <a:pt x="0" y="18"/>
                    </a:cubicBezTo>
                    <a:cubicBezTo>
                      <a:pt x="0" y="15"/>
                      <a:pt x="2" y="13"/>
                      <a:pt x="3" y="10"/>
                    </a:cubicBezTo>
                    <a:cubicBezTo>
                      <a:pt x="6" y="6"/>
                      <a:pt x="8" y="4"/>
                      <a:pt x="10" y="2"/>
                    </a:cubicBezTo>
                    <a:cubicBezTo>
                      <a:pt x="11" y="1"/>
                      <a:pt x="13" y="0"/>
                      <a:pt x="15" y="0"/>
                    </a:cubicBezTo>
                    <a:cubicBezTo>
                      <a:pt x="17" y="0"/>
                      <a:pt x="19" y="0"/>
                      <a:pt x="21" y="0"/>
                    </a:cubicBezTo>
                    <a:cubicBezTo>
                      <a:pt x="23" y="1"/>
                      <a:pt x="27" y="3"/>
                      <a:pt x="31" y="5"/>
                    </a:cubicBezTo>
                    <a:lnTo>
                      <a:pt x="51" y="1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205" name="íṧḷîde"/>
              <p:cNvSpPr/>
              <p:nvPr/>
            </p:nvSpPr>
            <p:spPr bwMode="auto">
              <a:xfrm>
                <a:off x="1704872" y="4971053"/>
                <a:ext cx="100013" cy="92075"/>
              </a:xfrm>
              <a:custGeom>
                <a:avLst/>
                <a:gdLst>
                  <a:gd name="T0" fmla="*/ 17 w 63"/>
                  <a:gd name="T1" fmla="*/ 0 h 58"/>
                  <a:gd name="T2" fmla="*/ 63 w 63"/>
                  <a:gd name="T3" fmla="*/ 21 h 58"/>
                  <a:gd name="T4" fmla="*/ 59 w 63"/>
                  <a:gd name="T5" fmla="*/ 30 h 58"/>
                  <a:gd name="T6" fmla="*/ 19 w 63"/>
                  <a:gd name="T7" fmla="*/ 35 h 58"/>
                  <a:gd name="T8" fmla="*/ 50 w 63"/>
                  <a:gd name="T9" fmla="*/ 50 h 58"/>
                  <a:gd name="T10" fmla="*/ 46 w 63"/>
                  <a:gd name="T11" fmla="*/ 58 h 58"/>
                  <a:gd name="T12" fmla="*/ 0 w 63"/>
                  <a:gd name="T13" fmla="*/ 37 h 58"/>
                  <a:gd name="T14" fmla="*/ 4 w 63"/>
                  <a:gd name="T15" fmla="*/ 26 h 58"/>
                  <a:gd name="T16" fmla="*/ 43 w 63"/>
                  <a:gd name="T17" fmla="*/ 22 h 58"/>
                  <a:gd name="T18" fmla="*/ 12 w 63"/>
                  <a:gd name="T19" fmla="*/ 8 h 58"/>
                  <a:gd name="T20" fmla="*/ 17 w 63"/>
                  <a:gd name="T21" fmla="*/ 0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63" h="58">
                    <a:moveTo>
                      <a:pt x="17" y="0"/>
                    </a:moveTo>
                    <a:lnTo>
                      <a:pt x="63" y="21"/>
                    </a:lnTo>
                    <a:lnTo>
                      <a:pt x="59" y="30"/>
                    </a:lnTo>
                    <a:lnTo>
                      <a:pt x="19" y="35"/>
                    </a:lnTo>
                    <a:lnTo>
                      <a:pt x="50" y="50"/>
                    </a:lnTo>
                    <a:lnTo>
                      <a:pt x="46" y="58"/>
                    </a:lnTo>
                    <a:lnTo>
                      <a:pt x="0" y="37"/>
                    </a:lnTo>
                    <a:lnTo>
                      <a:pt x="4" y="26"/>
                    </a:lnTo>
                    <a:lnTo>
                      <a:pt x="43" y="22"/>
                    </a:lnTo>
                    <a:lnTo>
                      <a:pt x="12" y="8"/>
                    </a:lnTo>
                    <a:lnTo>
                      <a:pt x="17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206" name="íS1îḍé"/>
              <p:cNvSpPr/>
              <p:nvPr/>
            </p:nvSpPr>
            <p:spPr bwMode="auto">
              <a:xfrm>
                <a:off x="1690584" y="5045665"/>
                <a:ext cx="84138" cy="44450"/>
              </a:xfrm>
              <a:custGeom>
                <a:avLst/>
                <a:gdLst>
                  <a:gd name="T0" fmla="*/ 5 w 53"/>
                  <a:gd name="T1" fmla="*/ 0 h 28"/>
                  <a:gd name="T2" fmla="*/ 53 w 53"/>
                  <a:gd name="T3" fmla="*/ 19 h 28"/>
                  <a:gd name="T4" fmla="*/ 49 w 53"/>
                  <a:gd name="T5" fmla="*/ 28 h 28"/>
                  <a:gd name="T6" fmla="*/ 0 w 53"/>
                  <a:gd name="T7" fmla="*/ 10 h 28"/>
                  <a:gd name="T8" fmla="*/ 5 w 53"/>
                  <a:gd name="T9" fmla="*/ 0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3" h="28">
                    <a:moveTo>
                      <a:pt x="5" y="0"/>
                    </a:moveTo>
                    <a:lnTo>
                      <a:pt x="53" y="19"/>
                    </a:lnTo>
                    <a:lnTo>
                      <a:pt x="49" y="28"/>
                    </a:lnTo>
                    <a:lnTo>
                      <a:pt x="0" y="10"/>
                    </a:lnTo>
                    <a:lnTo>
                      <a:pt x="5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207" name="íṧļïḋè"/>
              <p:cNvSpPr/>
              <p:nvPr/>
            </p:nvSpPr>
            <p:spPr bwMode="auto">
              <a:xfrm>
                <a:off x="1674709" y="5091703"/>
                <a:ext cx="92075" cy="73025"/>
              </a:xfrm>
              <a:custGeom>
                <a:avLst/>
                <a:gdLst>
                  <a:gd name="T0" fmla="*/ 4 w 58"/>
                  <a:gd name="T1" fmla="*/ 3 h 46"/>
                  <a:gd name="T2" fmla="*/ 58 w 58"/>
                  <a:gd name="T3" fmla="*/ 0 h 46"/>
                  <a:gd name="T4" fmla="*/ 55 w 58"/>
                  <a:gd name="T5" fmla="*/ 11 h 46"/>
                  <a:gd name="T6" fmla="*/ 14 w 58"/>
                  <a:gd name="T7" fmla="*/ 13 h 46"/>
                  <a:gd name="T8" fmla="*/ 46 w 58"/>
                  <a:gd name="T9" fmla="*/ 35 h 46"/>
                  <a:gd name="T10" fmla="*/ 44 w 58"/>
                  <a:gd name="T11" fmla="*/ 46 h 46"/>
                  <a:gd name="T12" fmla="*/ 0 w 58"/>
                  <a:gd name="T13" fmla="*/ 14 h 46"/>
                  <a:gd name="T14" fmla="*/ 4 w 58"/>
                  <a:gd name="T15" fmla="*/ 3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58" h="46">
                    <a:moveTo>
                      <a:pt x="4" y="3"/>
                    </a:moveTo>
                    <a:lnTo>
                      <a:pt x="58" y="0"/>
                    </a:lnTo>
                    <a:lnTo>
                      <a:pt x="55" y="11"/>
                    </a:lnTo>
                    <a:lnTo>
                      <a:pt x="14" y="13"/>
                    </a:lnTo>
                    <a:lnTo>
                      <a:pt x="46" y="35"/>
                    </a:lnTo>
                    <a:lnTo>
                      <a:pt x="44" y="46"/>
                    </a:lnTo>
                    <a:lnTo>
                      <a:pt x="0" y="14"/>
                    </a:lnTo>
                    <a:lnTo>
                      <a:pt x="4" y="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208" name="ïṡḷiḋé"/>
              <p:cNvSpPr/>
              <p:nvPr/>
            </p:nvSpPr>
            <p:spPr bwMode="auto">
              <a:xfrm>
                <a:off x="1652484" y="5153615"/>
                <a:ext cx="90488" cy="73025"/>
              </a:xfrm>
              <a:custGeom>
                <a:avLst/>
                <a:gdLst>
                  <a:gd name="T0" fmla="*/ 7 w 57"/>
                  <a:gd name="T1" fmla="*/ 0 h 46"/>
                  <a:gd name="T2" fmla="*/ 57 w 57"/>
                  <a:gd name="T3" fmla="*/ 10 h 46"/>
                  <a:gd name="T4" fmla="*/ 50 w 57"/>
                  <a:gd name="T5" fmla="*/ 46 h 46"/>
                  <a:gd name="T6" fmla="*/ 42 w 57"/>
                  <a:gd name="T7" fmla="*/ 45 h 46"/>
                  <a:gd name="T8" fmla="*/ 47 w 57"/>
                  <a:gd name="T9" fmla="*/ 18 h 46"/>
                  <a:gd name="T10" fmla="*/ 36 w 57"/>
                  <a:gd name="T11" fmla="*/ 16 h 46"/>
                  <a:gd name="T12" fmla="*/ 30 w 57"/>
                  <a:gd name="T13" fmla="*/ 40 h 46"/>
                  <a:gd name="T14" fmla="*/ 22 w 57"/>
                  <a:gd name="T15" fmla="*/ 39 h 46"/>
                  <a:gd name="T16" fmla="*/ 27 w 57"/>
                  <a:gd name="T17" fmla="*/ 14 h 46"/>
                  <a:gd name="T18" fmla="*/ 14 w 57"/>
                  <a:gd name="T19" fmla="*/ 11 h 46"/>
                  <a:gd name="T20" fmla="*/ 8 w 57"/>
                  <a:gd name="T21" fmla="*/ 39 h 46"/>
                  <a:gd name="T22" fmla="*/ 0 w 57"/>
                  <a:gd name="T23" fmla="*/ 38 h 46"/>
                  <a:gd name="T24" fmla="*/ 7 w 57"/>
                  <a:gd name="T25" fmla="*/ 0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57" h="46">
                    <a:moveTo>
                      <a:pt x="7" y="0"/>
                    </a:moveTo>
                    <a:lnTo>
                      <a:pt x="57" y="10"/>
                    </a:lnTo>
                    <a:lnTo>
                      <a:pt x="50" y="46"/>
                    </a:lnTo>
                    <a:lnTo>
                      <a:pt x="42" y="45"/>
                    </a:lnTo>
                    <a:lnTo>
                      <a:pt x="47" y="18"/>
                    </a:lnTo>
                    <a:lnTo>
                      <a:pt x="36" y="16"/>
                    </a:lnTo>
                    <a:lnTo>
                      <a:pt x="30" y="40"/>
                    </a:lnTo>
                    <a:lnTo>
                      <a:pt x="22" y="39"/>
                    </a:lnTo>
                    <a:lnTo>
                      <a:pt x="27" y="14"/>
                    </a:lnTo>
                    <a:lnTo>
                      <a:pt x="14" y="11"/>
                    </a:lnTo>
                    <a:lnTo>
                      <a:pt x="8" y="39"/>
                    </a:lnTo>
                    <a:lnTo>
                      <a:pt x="0" y="38"/>
                    </a:lnTo>
                    <a:lnTo>
                      <a:pt x="7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209" name="ïşļiḋe"/>
              <p:cNvSpPr/>
              <p:nvPr/>
            </p:nvSpPr>
            <p:spPr bwMode="auto">
              <a:xfrm>
                <a:off x="1641372" y="5231403"/>
                <a:ext cx="88900" cy="71438"/>
              </a:xfrm>
              <a:custGeom>
                <a:avLst/>
                <a:gdLst>
                  <a:gd name="T0" fmla="*/ 4 w 48"/>
                  <a:gd name="T1" fmla="*/ 0 h 39"/>
                  <a:gd name="T2" fmla="*/ 48 w 48"/>
                  <a:gd name="T3" fmla="*/ 4 h 39"/>
                  <a:gd name="T4" fmla="*/ 46 w 48"/>
                  <a:gd name="T5" fmla="*/ 23 h 39"/>
                  <a:gd name="T6" fmla="*/ 44 w 48"/>
                  <a:gd name="T7" fmla="*/ 33 h 39"/>
                  <a:gd name="T8" fmla="*/ 39 w 48"/>
                  <a:gd name="T9" fmla="*/ 38 h 39"/>
                  <a:gd name="T10" fmla="*/ 32 w 48"/>
                  <a:gd name="T11" fmla="*/ 39 h 39"/>
                  <a:gd name="T12" fmla="*/ 24 w 48"/>
                  <a:gd name="T13" fmla="*/ 35 h 39"/>
                  <a:gd name="T14" fmla="*/ 21 w 48"/>
                  <a:gd name="T15" fmla="*/ 26 h 39"/>
                  <a:gd name="T16" fmla="*/ 17 w 48"/>
                  <a:gd name="T17" fmla="*/ 30 h 39"/>
                  <a:gd name="T18" fmla="*/ 9 w 48"/>
                  <a:gd name="T19" fmla="*/ 35 h 39"/>
                  <a:gd name="T20" fmla="*/ 0 w 48"/>
                  <a:gd name="T21" fmla="*/ 39 h 39"/>
                  <a:gd name="T22" fmla="*/ 1 w 48"/>
                  <a:gd name="T23" fmla="*/ 29 h 39"/>
                  <a:gd name="T24" fmla="*/ 12 w 48"/>
                  <a:gd name="T25" fmla="*/ 23 h 39"/>
                  <a:gd name="T26" fmla="*/ 18 w 48"/>
                  <a:gd name="T27" fmla="*/ 19 h 39"/>
                  <a:gd name="T28" fmla="*/ 20 w 48"/>
                  <a:gd name="T29" fmla="*/ 17 h 39"/>
                  <a:gd name="T30" fmla="*/ 21 w 48"/>
                  <a:gd name="T31" fmla="*/ 12 h 39"/>
                  <a:gd name="T32" fmla="*/ 22 w 48"/>
                  <a:gd name="T33" fmla="*/ 11 h 39"/>
                  <a:gd name="T34" fmla="*/ 3 w 48"/>
                  <a:gd name="T35" fmla="*/ 9 h 39"/>
                  <a:gd name="T36" fmla="*/ 4 w 48"/>
                  <a:gd name="T37" fmla="*/ 0 h 39"/>
                  <a:gd name="T38" fmla="*/ 29 w 48"/>
                  <a:gd name="T39" fmla="*/ 11 h 39"/>
                  <a:gd name="T40" fmla="*/ 28 w 48"/>
                  <a:gd name="T41" fmla="*/ 18 h 39"/>
                  <a:gd name="T42" fmla="*/ 28 w 48"/>
                  <a:gd name="T43" fmla="*/ 26 h 39"/>
                  <a:gd name="T44" fmla="*/ 29 w 48"/>
                  <a:gd name="T45" fmla="*/ 28 h 39"/>
                  <a:gd name="T46" fmla="*/ 32 w 48"/>
                  <a:gd name="T47" fmla="*/ 30 h 39"/>
                  <a:gd name="T48" fmla="*/ 36 w 48"/>
                  <a:gd name="T49" fmla="*/ 29 h 39"/>
                  <a:gd name="T50" fmla="*/ 38 w 48"/>
                  <a:gd name="T51" fmla="*/ 26 h 39"/>
                  <a:gd name="T52" fmla="*/ 39 w 48"/>
                  <a:gd name="T53" fmla="*/ 19 h 39"/>
                  <a:gd name="T54" fmla="*/ 40 w 48"/>
                  <a:gd name="T55" fmla="*/ 12 h 39"/>
                  <a:gd name="T56" fmla="*/ 29 w 48"/>
                  <a:gd name="T57" fmla="*/ 11 h 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48" h="39">
                    <a:moveTo>
                      <a:pt x="4" y="0"/>
                    </a:moveTo>
                    <a:cubicBezTo>
                      <a:pt x="48" y="4"/>
                      <a:pt x="48" y="4"/>
                      <a:pt x="48" y="4"/>
                    </a:cubicBezTo>
                    <a:cubicBezTo>
                      <a:pt x="46" y="23"/>
                      <a:pt x="46" y="23"/>
                      <a:pt x="46" y="23"/>
                    </a:cubicBezTo>
                    <a:cubicBezTo>
                      <a:pt x="46" y="27"/>
                      <a:pt x="45" y="31"/>
                      <a:pt x="44" y="33"/>
                    </a:cubicBezTo>
                    <a:cubicBezTo>
                      <a:pt x="43" y="35"/>
                      <a:pt x="41" y="36"/>
                      <a:pt x="39" y="38"/>
                    </a:cubicBezTo>
                    <a:cubicBezTo>
                      <a:pt x="37" y="39"/>
                      <a:pt x="35" y="39"/>
                      <a:pt x="32" y="39"/>
                    </a:cubicBezTo>
                    <a:cubicBezTo>
                      <a:pt x="29" y="38"/>
                      <a:pt x="26" y="37"/>
                      <a:pt x="24" y="35"/>
                    </a:cubicBezTo>
                    <a:cubicBezTo>
                      <a:pt x="22" y="33"/>
                      <a:pt x="21" y="30"/>
                      <a:pt x="21" y="26"/>
                    </a:cubicBezTo>
                    <a:cubicBezTo>
                      <a:pt x="20" y="28"/>
                      <a:pt x="18" y="29"/>
                      <a:pt x="17" y="30"/>
                    </a:cubicBezTo>
                    <a:cubicBezTo>
                      <a:pt x="16" y="32"/>
                      <a:pt x="13" y="33"/>
                      <a:pt x="9" y="35"/>
                    </a:cubicBezTo>
                    <a:cubicBezTo>
                      <a:pt x="0" y="39"/>
                      <a:pt x="0" y="39"/>
                      <a:pt x="0" y="39"/>
                    </a:cubicBezTo>
                    <a:cubicBezTo>
                      <a:pt x="1" y="29"/>
                      <a:pt x="1" y="29"/>
                      <a:pt x="1" y="29"/>
                    </a:cubicBezTo>
                    <a:cubicBezTo>
                      <a:pt x="12" y="23"/>
                      <a:pt x="12" y="23"/>
                      <a:pt x="12" y="23"/>
                    </a:cubicBezTo>
                    <a:cubicBezTo>
                      <a:pt x="15" y="21"/>
                      <a:pt x="17" y="20"/>
                      <a:pt x="18" y="19"/>
                    </a:cubicBezTo>
                    <a:cubicBezTo>
                      <a:pt x="19" y="18"/>
                      <a:pt x="20" y="18"/>
                      <a:pt x="20" y="17"/>
                    </a:cubicBezTo>
                    <a:cubicBezTo>
                      <a:pt x="21" y="16"/>
                      <a:pt x="21" y="14"/>
                      <a:pt x="21" y="12"/>
                    </a:cubicBezTo>
                    <a:cubicBezTo>
                      <a:pt x="22" y="11"/>
                      <a:pt x="22" y="11"/>
                      <a:pt x="22" y="11"/>
                    </a:cubicBezTo>
                    <a:cubicBezTo>
                      <a:pt x="3" y="9"/>
                      <a:pt x="3" y="9"/>
                      <a:pt x="3" y="9"/>
                    </a:cubicBezTo>
                    <a:lnTo>
                      <a:pt x="4" y="0"/>
                    </a:lnTo>
                    <a:close/>
                    <a:moveTo>
                      <a:pt x="29" y="11"/>
                    </a:moveTo>
                    <a:cubicBezTo>
                      <a:pt x="28" y="18"/>
                      <a:pt x="28" y="18"/>
                      <a:pt x="28" y="18"/>
                    </a:cubicBezTo>
                    <a:cubicBezTo>
                      <a:pt x="28" y="22"/>
                      <a:pt x="27" y="25"/>
                      <a:pt x="28" y="26"/>
                    </a:cubicBezTo>
                    <a:cubicBezTo>
                      <a:pt x="28" y="27"/>
                      <a:pt x="28" y="28"/>
                      <a:pt x="29" y="28"/>
                    </a:cubicBezTo>
                    <a:cubicBezTo>
                      <a:pt x="30" y="29"/>
                      <a:pt x="31" y="30"/>
                      <a:pt x="32" y="30"/>
                    </a:cubicBezTo>
                    <a:cubicBezTo>
                      <a:pt x="34" y="30"/>
                      <a:pt x="35" y="30"/>
                      <a:pt x="36" y="29"/>
                    </a:cubicBezTo>
                    <a:cubicBezTo>
                      <a:pt x="37" y="28"/>
                      <a:pt x="38" y="27"/>
                      <a:pt x="38" y="26"/>
                    </a:cubicBezTo>
                    <a:cubicBezTo>
                      <a:pt x="38" y="25"/>
                      <a:pt x="39" y="23"/>
                      <a:pt x="39" y="19"/>
                    </a:cubicBezTo>
                    <a:cubicBezTo>
                      <a:pt x="40" y="12"/>
                      <a:pt x="40" y="12"/>
                      <a:pt x="40" y="12"/>
                    </a:cubicBezTo>
                    <a:lnTo>
                      <a:pt x="29" y="1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210" name="îś1iḓê"/>
              <p:cNvSpPr/>
              <p:nvPr/>
            </p:nvSpPr>
            <p:spPr bwMode="auto">
              <a:xfrm>
                <a:off x="1641372" y="5312365"/>
                <a:ext cx="82550" cy="66675"/>
              </a:xfrm>
              <a:custGeom>
                <a:avLst/>
                <a:gdLst>
                  <a:gd name="T0" fmla="*/ 15 w 45"/>
                  <a:gd name="T1" fmla="*/ 0 h 36"/>
                  <a:gd name="T2" fmla="*/ 16 w 45"/>
                  <a:gd name="T3" fmla="*/ 8 h 36"/>
                  <a:gd name="T4" fmla="*/ 9 w 45"/>
                  <a:gd name="T5" fmla="*/ 12 h 36"/>
                  <a:gd name="T6" fmla="*/ 7 w 45"/>
                  <a:gd name="T7" fmla="*/ 18 h 36"/>
                  <a:gd name="T8" fmla="*/ 9 w 45"/>
                  <a:gd name="T9" fmla="*/ 25 h 36"/>
                  <a:gd name="T10" fmla="*/ 13 w 45"/>
                  <a:gd name="T11" fmla="*/ 27 h 36"/>
                  <a:gd name="T12" fmla="*/ 16 w 45"/>
                  <a:gd name="T13" fmla="*/ 26 h 36"/>
                  <a:gd name="T14" fmla="*/ 18 w 45"/>
                  <a:gd name="T15" fmla="*/ 23 h 36"/>
                  <a:gd name="T16" fmla="*/ 20 w 45"/>
                  <a:gd name="T17" fmla="*/ 15 h 36"/>
                  <a:gd name="T18" fmla="*/ 24 w 45"/>
                  <a:gd name="T19" fmla="*/ 5 h 36"/>
                  <a:gd name="T20" fmla="*/ 33 w 45"/>
                  <a:gd name="T21" fmla="*/ 1 h 36"/>
                  <a:gd name="T22" fmla="*/ 39 w 45"/>
                  <a:gd name="T23" fmla="*/ 3 h 36"/>
                  <a:gd name="T24" fmla="*/ 44 w 45"/>
                  <a:gd name="T25" fmla="*/ 9 h 36"/>
                  <a:gd name="T26" fmla="*/ 45 w 45"/>
                  <a:gd name="T27" fmla="*/ 17 h 36"/>
                  <a:gd name="T28" fmla="*/ 42 w 45"/>
                  <a:gd name="T29" fmla="*/ 30 h 36"/>
                  <a:gd name="T30" fmla="*/ 32 w 45"/>
                  <a:gd name="T31" fmla="*/ 34 h 36"/>
                  <a:gd name="T32" fmla="*/ 31 w 45"/>
                  <a:gd name="T33" fmla="*/ 25 h 36"/>
                  <a:gd name="T34" fmla="*/ 36 w 45"/>
                  <a:gd name="T35" fmla="*/ 23 h 36"/>
                  <a:gd name="T36" fmla="*/ 38 w 45"/>
                  <a:gd name="T37" fmla="*/ 17 h 36"/>
                  <a:gd name="T38" fmla="*/ 36 w 45"/>
                  <a:gd name="T39" fmla="*/ 11 h 36"/>
                  <a:gd name="T40" fmla="*/ 33 w 45"/>
                  <a:gd name="T41" fmla="*/ 10 h 36"/>
                  <a:gd name="T42" fmla="*/ 31 w 45"/>
                  <a:gd name="T43" fmla="*/ 11 h 36"/>
                  <a:gd name="T44" fmla="*/ 28 w 45"/>
                  <a:gd name="T45" fmla="*/ 19 h 36"/>
                  <a:gd name="T46" fmla="*/ 25 w 45"/>
                  <a:gd name="T47" fmla="*/ 29 h 36"/>
                  <a:gd name="T48" fmla="*/ 20 w 45"/>
                  <a:gd name="T49" fmla="*/ 34 h 36"/>
                  <a:gd name="T50" fmla="*/ 13 w 45"/>
                  <a:gd name="T51" fmla="*/ 36 h 36"/>
                  <a:gd name="T52" fmla="*/ 6 w 45"/>
                  <a:gd name="T53" fmla="*/ 33 h 36"/>
                  <a:gd name="T54" fmla="*/ 1 w 45"/>
                  <a:gd name="T55" fmla="*/ 28 h 36"/>
                  <a:gd name="T56" fmla="*/ 0 w 45"/>
                  <a:gd name="T57" fmla="*/ 18 h 36"/>
                  <a:gd name="T58" fmla="*/ 3 w 45"/>
                  <a:gd name="T59" fmla="*/ 5 h 36"/>
                  <a:gd name="T60" fmla="*/ 15 w 45"/>
                  <a:gd name="T61" fmla="*/ 0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45" h="36">
                    <a:moveTo>
                      <a:pt x="15" y="0"/>
                    </a:moveTo>
                    <a:cubicBezTo>
                      <a:pt x="16" y="8"/>
                      <a:pt x="16" y="8"/>
                      <a:pt x="16" y="8"/>
                    </a:cubicBezTo>
                    <a:cubicBezTo>
                      <a:pt x="13" y="9"/>
                      <a:pt x="10" y="10"/>
                      <a:pt x="9" y="12"/>
                    </a:cubicBezTo>
                    <a:cubicBezTo>
                      <a:pt x="8" y="13"/>
                      <a:pt x="7" y="15"/>
                      <a:pt x="7" y="18"/>
                    </a:cubicBezTo>
                    <a:cubicBezTo>
                      <a:pt x="7" y="21"/>
                      <a:pt x="8" y="23"/>
                      <a:pt x="9" y="25"/>
                    </a:cubicBezTo>
                    <a:cubicBezTo>
                      <a:pt x="10" y="26"/>
                      <a:pt x="12" y="27"/>
                      <a:pt x="13" y="27"/>
                    </a:cubicBezTo>
                    <a:cubicBezTo>
                      <a:pt x="14" y="27"/>
                      <a:pt x="15" y="26"/>
                      <a:pt x="16" y="26"/>
                    </a:cubicBezTo>
                    <a:cubicBezTo>
                      <a:pt x="17" y="25"/>
                      <a:pt x="17" y="24"/>
                      <a:pt x="18" y="23"/>
                    </a:cubicBezTo>
                    <a:cubicBezTo>
                      <a:pt x="18" y="22"/>
                      <a:pt x="19" y="19"/>
                      <a:pt x="20" y="15"/>
                    </a:cubicBezTo>
                    <a:cubicBezTo>
                      <a:pt x="21" y="11"/>
                      <a:pt x="22" y="7"/>
                      <a:pt x="24" y="5"/>
                    </a:cubicBezTo>
                    <a:cubicBezTo>
                      <a:pt x="26" y="3"/>
                      <a:pt x="29" y="1"/>
                      <a:pt x="33" y="1"/>
                    </a:cubicBezTo>
                    <a:cubicBezTo>
                      <a:pt x="35" y="1"/>
                      <a:pt x="37" y="2"/>
                      <a:pt x="39" y="3"/>
                    </a:cubicBezTo>
                    <a:cubicBezTo>
                      <a:pt x="41" y="4"/>
                      <a:pt x="43" y="6"/>
                      <a:pt x="44" y="9"/>
                    </a:cubicBezTo>
                    <a:cubicBezTo>
                      <a:pt x="45" y="11"/>
                      <a:pt x="45" y="14"/>
                      <a:pt x="45" y="17"/>
                    </a:cubicBezTo>
                    <a:cubicBezTo>
                      <a:pt x="45" y="23"/>
                      <a:pt x="44" y="27"/>
                      <a:pt x="42" y="30"/>
                    </a:cubicBezTo>
                    <a:cubicBezTo>
                      <a:pt x="39" y="33"/>
                      <a:pt x="36" y="34"/>
                      <a:pt x="32" y="34"/>
                    </a:cubicBezTo>
                    <a:cubicBezTo>
                      <a:pt x="31" y="25"/>
                      <a:pt x="31" y="25"/>
                      <a:pt x="31" y="25"/>
                    </a:cubicBezTo>
                    <a:cubicBezTo>
                      <a:pt x="34" y="25"/>
                      <a:pt x="35" y="24"/>
                      <a:pt x="36" y="23"/>
                    </a:cubicBezTo>
                    <a:cubicBezTo>
                      <a:pt x="37" y="22"/>
                      <a:pt x="38" y="20"/>
                      <a:pt x="38" y="17"/>
                    </a:cubicBezTo>
                    <a:cubicBezTo>
                      <a:pt x="38" y="15"/>
                      <a:pt x="37" y="13"/>
                      <a:pt x="36" y="11"/>
                    </a:cubicBezTo>
                    <a:cubicBezTo>
                      <a:pt x="35" y="10"/>
                      <a:pt x="35" y="10"/>
                      <a:pt x="33" y="10"/>
                    </a:cubicBezTo>
                    <a:cubicBezTo>
                      <a:pt x="32" y="10"/>
                      <a:pt x="31" y="10"/>
                      <a:pt x="31" y="11"/>
                    </a:cubicBezTo>
                    <a:cubicBezTo>
                      <a:pt x="30" y="12"/>
                      <a:pt x="29" y="15"/>
                      <a:pt x="28" y="19"/>
                    </a:cubicBezTo>
                    <a:cubicBezTo>
                      <a:pt x="27" y="24"/>
                      <a:pt x="26" y="27"/>
                      <a:pt x="25" y="29"/>
                    </a:cubicBezTo>
                    <a:cubicBezTo>
                      <a:pt x="24" y="31"/>
                      <a:pt x="22" y="33"/>
                      <a:pt x="20" y="34"/>
                    </a:cubicBezTo>
                    <a:cubicBezTo>
                      <a:pt x="18" y="35"/>
                      <a:pt x="16" y="36"/>
                      <a:pt x="13" y="36"/>
                    </a:cubicBezTo>
                    <a:cubicBezTo>
                      <a:pt x="11" y="36"/>
                      <a:pt x="8" y="35"/>
                      <a:pt x="6" y="33"/>
                    </a:cubicBezTo>
                    <a:cubicBezTo>
                      <a:pt x="4" y="32"/>
                      <a:pt x="2" y="30"/>
                      <a:pt x="1" y="28"/>
                    </a:cubicBezTo>
                    <a:cubicBezTo>
                      <a:pt x="0" y="25"/>
                      <a:pt x="0" y="22"/>
                      <a:pt x="0" y="18"/>
                    </a:cubicBezTo>
                    <a:cubicBezTo>
                      <a:pt x="0" y="12"/>
                      <a:pt x="1" y="8"/>
                      <a:pt x="3" y="5"/>
                    </a:cubicBezTo>
                    <a:cubicBezTo>
                      <a:pt x="6" y="2"/>
                      <a:pt x="10" y="0"/>
                      <a:pt x="15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211" name="íş1ïḓe"/>
              <p:cNvSpPr/>
              <p:nvPr/>
            </p:nvSpPr>
            <p:spPr bwMode="auto">
              <a:xfrm>
                <a:off x="1642959" y="5385390"/>
                <a:ext cx="84138" cy="22225"/>
              </a:xfrm>
              <a:custGeom>
                <a:avLst/>
                <a:gdLst>
                  <a:gd name="T0" fmla="*/ 0 w 53"/>
                  <a:gd name="T1" fmla="*/ 5 h 14"/>
                  <a:gd name="T2" fmla="*/ 51 w 53"/>
                  <a:gd name="T3" fmla="*/ 0 h 14"/>
                  <a:gd name="T4" fmla="*/ 53 w 53"/>
                  <a:gd name="T5" fmla="*/ 11 h 14"/>
                  <a:gd name="T6" fmla="*/ 1 w 53"/>
                  <a:gd name="T7" fmla="*/ 14 h 14"/>
                  <a:gd name="T8" fmla="*/ 0 w 53"/>
                  <a:gd name="T9" fmla="*/ 5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3" h="14">
                    <a:moveTo>
                      <a:pt x="0" y="5"/>
                    </a:moveTo>
                    <a:lnTo>
                      <a:pt x="51" y="0"/>
                    </a:lnTo>
                    <a:lnTo>
                      <a:pt x="53" y="11"/>
                    </a:lnTo>
                    <a:lnTo>
                      <a:pt x="1" y="14"/>
                    </a:lnTo>
                    <a:lnTo>
                      <a:pt x="0" y="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212" name="ïṩlîḋè"/>
              <p:cNvSpPr/>
              <p:nvPr/>
            </p:nvSpPr>
            <p:spPr bwMode="auto">
              <a:xfrm>
                <a:off x="1649309" y="5407615"/>
                <a:ext cx="84138" cy="66675"/>
              </a:xfrm>
              <a:custGeom>
                <a:avLst/>
                <a:gdLst>
                  <a:gd name="T0" fmla="*/ 0 w 53"/>
                  <a:gd name="T1" fmla="*/ 22 h 42"/>
                  <a:gd name="T2" fmla="*/ 42 w 53"/>
                  <a:gd name="T3" fmla="*/ 17 h 42"/>
                  <a:gd name="T4" fmla="*/ 39 w 53"/>
                  <a:gd name="T5" fmla="*/ 1 h 42"/>
                  <a:gd name="T6" fmla="*/ 49 w 53"/>
                  <a:gd name="T7" fmla="*/ 0 h 42"/>
                  <a:gd name="T8" fmla="*/ 53 w 53"/>
                  <a:gd name="T9" fmla="*/ 41 h 42"/>
                  <a:gd name="T10" fmla="*/ 45 w 53"/>
                  <a:gd name="T11" fmla="*/ 42 h 42"/>
                  <a:gd name="T12" fmla="*/ 43 w 53"/>
                  <a:gd name="T13" fmla="*/ 27 h 42"/>
                  <a:gd name="T14" fmla="*/ 1 w 53"/>
                  <a:gd name="T15" fmla="*/ 33 h 42"/>
                  <a:gd name="T16" fmla="*/ 0 w 53"/>
                  <a:gd name="T17" fmla="*/ 22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3" h="42">
                    <a:moveTo>
                      <a:pt x="0" y="22"/>
                    </a:moveTo>
                    <a:lnTo>
                      <a:pt x="42" y="17"/>
                    </a:lnTo>
                    <a:lnTo>
                      <a:pt x="39" y="1"/>
                    </a:lnTo>
                    <a:lnTo>
                      <a:pt x="49" y="0"/>
                    </a:lnTo>
                    <a:lnTo>
                      <a:pt x="53" y="41"/>
                    </a:lnTo>
                    <a:lnTo>
                      <a:pt x="45" y="42"/>
                    </a:lnTo>
                    <a:lnTo>
                      <a:pt x="43" y="27"/>
                    </a:lnTo>
                    <a:lnTo>
                      <a:pt x="1" y="33"/>
                    </a:lnTo>
                    <a:lnTo>
                      <a:pt x="0" y="2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213" name="ïṣľîďe"/>
              <p:cNvSpPr/>
              <p:nvPr/>
            </p:nvSpPr>
            <p:spPr bwMode="auto">
              <a:xfrm>
                <a:off x="1662009" y="5471115"/>
                <a:ext cx="90488" cy="73025"/>
              </a:xfrm>
              <a:custGeom>
                <a:avLst/>
                <a:gdLst>
                  <a:gd name="T0" fmla="*/ 0 w 57"/>
                  <a:gd name="T1" fmla="*/ 29 h 46"/>
                  <a:gd name="T2" fmla="*/ 21 w 57"/>
                  <a:gd name="T3" fmla="*/ 24 h 46"/>
                  <a:gd name="T4" fmla="*/ 45 w 57"/>
                  <a:gd name="T5" fmla="*/ 0 h 46"/>
                  <a:gd name="T6" fmla="*/ 49 w 57"/>
                  <a:gd name="T7" fmla="*/ 11 h 46"/>
                  <a:gd name="T8" fmla="*/ 31 w 57"/>
                  <a:gd name="T9" fmla="*/ 28 h 46"/>
                  <a:gd name="T10" fmla="*/ 53 w 57"/>
                  <a:gd name="T11" fmla="*/ 35 h 46"/>
                  <a:gd name="T12" fmla="*/ 57 w 57"/>
                  <a:gd name="T13" fmla="*/ 46 h 46"/>
                  <a:gd name="T14" fmla="*/ 23 w 57"/>
                  <a:gd name="T15" fmla="*/ 35 h 46"/>
                  <a:gd name="T16" fmla="*/ 2 w 57"/>
                  <a:gd name="T17" fmla="*/ 39 h 46"/>
                  <a:gd name="T18" fmla="*/ 0 w 57"/>
                  <a:gd name="T19" fmla="*/ 29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57" h="46">
                    <a:moveTo>
                      <a:pt x="0" y="29"/>
                    </a:moveTo>
                    <a:lnTo>
                      <a:pt x="21" y="24"/>
                    </a:lnTo>
                    <a:lnTo>
                      <a:pt x="45" y="0"/>
                    </a:lnTo>
                    <a:lnTo>
                      <a:pt x="49" y="11"/>
                    </a:lnTo>
                    <a:lnTo>
                      <a:pt x="31" y="28"/>
                    </a:lnTo>
                    <a:lnTo>
                      <a:pt x="53" y="35"/>
                    </a:lnTo>
                    <a:lnTo>
                      <a:pt x="57" y="46"/>
                    </a:lnTo>
                    <a:lnTo>
                      <a:pt x="23" y="35"/>
                    </a:lnTo>
                    <a:lnTo>
                      <a:pt x="2" y="39"/>
                    </a:lnTo>
                    <a:lnTo>
                      <a:pt x="0" y="2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214" name="íśļiḓe"/>
              <p:cNvSpPr/>
              <p:nvPr/>
            </p:nvSpPr>
            <p:spPr bwMode="auto">
              <a:xfrm>
                <a:off x="1704872" y="5609228"/>
                <a:ext cx="85725" cy="80963"/>
              </a:xfrm>
              <a:custGeom>
                <a:avLst/>
                <a:gdLst>
                  <a:gd name="T0" fmla="*/ 15 w 47"/>
                  <a:gd name="T1" fmla="*/ 2 h 44"/>
                  <a:gd name="T2" fmla="*/ 26 w 47"/>
                  <a:gd name="T3" fmla="*/ 0 h 44"/>
                  <a:gd name="T4" fmla="*/ 33 w 47"/>
                  <a:gd name="T5" fmla="*/ 1 h 44"/>
                  <a:gd name="T6" fmla="*/ 39 w 47"/>
                  <a:gd name="T7" fmla="*/ 4 h 44"/>
                  <a:gd name="T8" fmla="*/ 44 w 47"/>
                  <a:gd name="T9" fmla="*/ 12 h 44"/>
                  <a:gd name="T10" fmla="*/ 45 w 47"/>
                  <a:gd name="T11" fmla="*/ 29 h 44"/>
                  <a:gd name="T12" fmla="*/ 32 w 47"/>
                  <a:gd name="T13" fmla="*/ 41 h 44"/>
                  <a:gd name="T14" fmla="*/ 15 w 47"/>
                  <a:gd name="T15" fmla="*/ 43 h 44"/>
                  <a:gd name="T16" fmla="*/ 3 w 47"/>
                  <a:gd name="T17" fmla="*/ 31 h 44"/>
                  <a:gd name="T18" fmla="*/ 2 w 47"/>
                  <a:gd name="T19" fmla="*/ 14 h 44"/>
                  <a:gd name="T20" fmla="*/ 15 w 47"/>
                  <a:gd name="T21" fmla="*/ 2 h 44"/>
                  <a:gd name="T22" fmla="*/ 19 w 47"/>
                  <a:gd name="T23" fmla="*/ 10 h 44"/>
                  <a:gd name="T24" fmla="*/ 10 w 47"/>
                  <a:gd name="T25" fmla="*/ 18 h 44"/>
                  <a:gd name="T26" fmla="*/ 10 w 47"/>
                  <a:gd name="T27" fmla="*/ 28 h 44"/>
                  <a:gd name="T28" fmla="*/ 17 w 47"/>
                  <a:gd name="T29" fmla="*/ 34 h 44"/>
                  <a:gd name="T30" fmla="*/ 29 w 47"/>
                  <a:gd name="T31" fmla="*/ 33 h 44"/>
                  <a:gd name="T32" fmla="*/ 38 w 47"/>
                  <a:gd name="T33" fmla="*/ 25 h 44"/>
                  <a:gd name="T34" fmla="*/ 37 w 47"/>
                  <a:gd name="T35" fmla="*/ 16 h 44"/>
                  <a:gd name="T36" fmla="*/ 30 w 47"/>
                  <a:gd name="T37" fmla="*/ 9 h 44"/>
                  <a:gd name="T38" fmla="*/ 19 w 47"/>
                  <a:gd name="T39" fmla="*/ 10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47" h="44">
                    <a:moveTo>
                      <a:pt x="15" y="2"/>
                    </a:moveTo>
                    <a:cubicBezTo>
                      <a:pt x="19" y="0"/>
                      <a:pt x="23" y="0"/>
                      <a:pt x="26" y="0"/>
                    </a:cubicBezTo>
                    <a:cubicBezTo>
                      <a:pt x="28" y="0"/>
                      <a:pt x="31" y="0"/>
                      <a:pt x="33" y="1"/>
                    </a:cubicBezTo>
                    <a:cubicBezTo>
                      <a:pt x="35" y="2"/>
                      <a:pt x="37" y="3"/>
                      <a:pt x="39" y="4"/>
                    </a:cubicBezTo>
                    <a:cubicBezTo>
                      <a:pt x="41" y="6"/>
                      <a:pt x="43" y="9"/>
                      <a:pt x="44" y="12"/>
                    </a:cubicBezTo>
                    <a:cubicBezTo>
                      <a:pt x="47" y="18"/>
                      <a:pt x="47" y="24"/>
                      <a:pt x="45" y="29"/>
                    </a:cubicBezTo>
                    <a:cubicBezTo>
                      <a:pt x="43" y="34"/>
                      <a:pt x="39" y="38"/>
                      <a:pt x="32" y="41"/>
                    </a:cubicBezTo>
                    <a:cubicBezTo>
                      <a:pt x="26" y="44"/>
                      <a:pt x="20" y="44"/>
                      <a:pt x="15" y="43"/>
                    </a:cubicBezTo>
                    <a:cubicBezTo>
                      <a:pt x="9" y="41"/>
                      <a:pt x="5" y="37"/>
                      <a:pt x="3" y="31"/>
                    </a:cubicBezTo>
                    <a:cubicBezTo>
                      <a:pt x="0" y="25"/>
                      <a:pt x="0" y="19"/>
                      <a:pt x="2" y="14"/>
                    </a:cubicBezTo>
                    <a:cubicBezTo>
                      <a:pt x="4" y="9"/>
                      <a:pt x="8" y="5"/>
                      <a:pt x="15" y="2"/>
                    </a:cubicBezTo>
                    <a:close/>
                    <a:moveTo>
                      <a:pt x="19" y="10"/>
                    </a:moveTo>
                    <a:cubicBezTo>
                      <a:pt x="14" y="12"/>
                      <a:pt x="11" y="15"/>
                      <a:pt x="10" y="18"/>
                    </a:cubicBezTo>
                    <a:cubicBezTo>
                      <a:pt x="8" y="21"/>
                      <a:pt x="8" y="24"/>
                      <a:pt x="10" y="28"/>
                    </a:cubicBezTo>
                    <a:cubicBezTo>
                      <a:pt x="11" y="31"/>
                      <a:pt x="13" y="33"/>
                      <a:pt x="17" y="34"/>
                    </a:cubicBezTo>
                    <a:cubicBezTo>
                      <a:pt x="20" y="35"/>
                      <a:pt x="24" y="35"/>
                      <a:pt x="29" y="33"/>
                    </a:cubicBezTo>
                    <a:cubicBezTo>
                      <a:pt x="33" y="31"/>
                      <a:pt x="36" y="28"/>
                      <a:pt x="38" y="25"/>
                    </a:cubicBezTo>
                    <a:cubicBezTo>
                      <a:pt x="39" y="22"/>
                      <a:pt x="39" y="19"/>
                      <a:pt x="37" y="16"/>
                    </a:cubicBezTo>
                    <a:cubicBezTo>
                      <a:pt x="36" y="12"/>
                      <a:pt x="34" y="10"/>
                      <a:pt x="30" y="9"/>
                    </a:cubicBezTo>
                    <a:cubicBezTo>
                      <a:pt x="27" y="8"/>
                      <a:pt x="23" y="8"/>
                      <a:pt x="19" y="1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215" name="î$ḷïďe"/>
              <p:cNvSpPr/>
              <p:nvPr/>
            </p:nvSpPr>
            <p:spPr bwMode="auto">
              <a:xfrm>
                <a:off x="1733447" y="5675903"/>
                <a:ext cx="98425" cy="66675"/>
              </a:xfrm>
              <a:custGeom>
                <a:avLst/>
                <a:gdLst>
                  <a:gd name="T0" fmla="*/ 0 w 62"/>
                  <a:gd name="T1" fmla="*/ 26 h 42"/>
                  <a:gd name="T2" fmla="*/ 45 w 62"/>
                  <a:gd name="T3" fmla="*/ 0 h 42"/>
                  <a:gd name="T4" fmla="*/ 62 w 62"/>
                  <a:gd name="T5" fmla="*/ 30 h 42"/>
                  <a:gd name="T6" fmla="*/ 55 w 62"/>
                  <a:gd name="T7" fmla="*/ 35 h 42"/>
                  <a:gd name="T8" fmla="*/ 43 w 62"/>
                  <a:gd name="T9" fmla="*/ 14 h 42"/>
                  <a:gd name="T10" fmla="*/ 32 w 62"/>
                  <a:gd name="T11" fmla="*/ 20 h 42"/>
                  <a:gd name="T12" fmla="*/ 43 w 62"/>
                  <a:gd name="T13" fmla="*/ 38 h 42"/>
                  <a:gd name="T14" fmla="*/ 35 w 62"/>
                  <a:gd name="T15" fmla="*/ 42 h 42"/>
                  <a:gd name="T16" fmla="*/ 25 w 62"/>
                  <a:gd name="T17" fmla="*/ 23 h 42"/>
                  <a:gd name="T18" fmla="*/ 6 w 62"/>
                  <a:gd name="T19" fmla="*/ 35 h 42"/>
                  <a:gd name="T20" fmla="*/ 0 w 62"/>
                  <a:gd name="T21" fmla="*/ 26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62" h="42">
                    <a:moveTo>
                      <a:pt x="0" y="26"/>
                    </a:moveTo>
                    <a:lnTo>
                      <a:pt x="45" y="0"/>
                    </a:lnTo>
                    <a:lnTo>
                      <a:pt x="62" y="30"/>
                    </a:lnTo>
                    <a:lnTo>
                      <a:pt x="55" y="35"/>
                    </a:lnTo>
                    <a:lnTo>
                      <a:pt x="43" y="14"/>
                    </a:lnTo>
                    <a:lnTo>
                      <a:pt x="32" y="20"/>
                    </a:lnTo>
                    <a:lnTo>
                      <a:pt x="43" y="38"/>
                    </a:lnTo>
                    <a:lnTo>
                      <a:pt x="35" y="42"/>
                    </a:lnTo>
                    <a:lnTo>
                      <a:pt x="25" y="23"/>
                    </a:lnTo>
                    <a:lnTo>
                      <a:pt x="6" y="35"/>
                    </a:lnTo>
                    <a:lnTo>
                      <a:pt x="0" y="26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216" name="îśḻîḍe"/>
              <p:cNvSpPr/>
              <p:nvPr/>
            </p:nvSpPr>
            <p:spPr bwMode="auto">
              <a:xfrm>
                <a:off x="1812822" y="5785440"/>
                <a:ext cx="85725" cy="82550"/>
              </a:xfrm>
              <a:custGeom>
                <a:avLst/>
                <a:gdLst>
                  <a:gd name="T0" fmla="*/ 6 w 46"/>
                  <a:gd name="T1" fmla="*/ 13 h 45"/>
                  <a:gd name="T2" fmla="*/ 12 w 46"/>
                  <a:gd name="T3" fmla="*/ 19 h 45"/>
                  <a:gd name="T4" fmla="*/ 9 w 46"/>
                  <a:gd name="T5" fmla="*/ 26 h 45"/>
                  <a:gd name="T6" fmla="*/ 11 w 46"/>
                  <a:gd name="T7" fmla="*/ 32 h 45"/>
                  <a:gd name="T8" fmla="*/ 17 w 46"/>
                  <a:gd name="T9" fmla="*/ 36 h 45"/>
                  <a:gd name="T10" fmla="*/ 22 w 46"/>
                  <a:gd name="T11" fmla="*/ 35 h 45"/>
                  <a:gd name="T12" fmla="*/ 23 w 46"/>
                  <a:gd name="T13" fmla="*/ 32 h 45"/>
                  <a:gd name="T14" fmla="*/ 22 w 46"/>
                  <a:gd name="T15" fmla="*/ 29 h 45"/>
                  <a:gd name="T16" fmla="*/ 19 w 46"/>
                  <a:gd name="T17" fmla="*/ 22 h 45"/>
                  <a:gd name="T18" fmla="*/ 16 w 46"/>
                  <a:gd name="T19" fmla="*/ 12 h 45"/>
                  <a:gd name="T20" fmla="*/ 21 w 46"/>
                  <a:gd name="T21" fmla="*/ 3 h 45"/>
                  <a:gd name="T22" fmla="*/ 27 w 46"/>
                  <a:gd name="T23" fmla="*/ 0 h 45"/>
                  <a:gd name="T24" fmla="*/ 34 w 46"/>
                  <a:gd name="T25" fmla="*/ 2 h 45"/>
                  <a:gd name="T26" fmla="*/ 40 w 46"/>
                  <a:gd name="T27" fmla="*/ 8 h 45"/>
                  <a:gd name="T28" fmla="*/ 45 w 46"/>
                  <a:gd name="T29" fmla="*/ 19 h 45"/>
                  <a:gd name="T30" fmla="*/ 41 w 46"/>
                  <a:gd name="T31" fmla="*/ 29 h 45"/>
                  <a:gd name="T32" fmla="*/ 35 w 46"/>
                  <a:gd name="T33" fmla="*/ 22 h 45"/>
                  <a:gd name="T34" fmla="*/ 37 w 46"/>
                  <a:gd name="T35" fmla="*/ 17 h 45"/>
                  <a:gd name="T36" fmla="*/ 35 w 46"/>
                  <a:gd name="T37" fmla="*/ 12 h 45"/>
                  <a:gd name="T38" fmla="*/ 30 w 46"/>
                  <a:gd name="T39" fmla="*/ 8 h 45"/>
                  <a:gd name="T40" fmla="*/ 27 w 46"/>
                  <a:gd name="T41" fmla="*/ 9 h 45"/>
                  <a:gd name="T42" fmla="*/ 25 w 46"/>
                  <a:gd name="T43" fmla="*/ 12 h 45"/>
                  <a:gd name="T44" fmla="*/ 28 w 46"/>
                  <a:gd name="T45" fmla="*/ 20 h 45"/>
                  <a:gd name="T46" fmla="*/ 32 w 46"/>
                  <a:gd name="T47" fmla="*/ 29 h 45"/>
                  <a:gd name="T48" fmla="*/ 31 w 46"/>
                  <a:gd name="T49" fmla="*/ 36 h 45"/>
                  <a:gd name="T50" fmla="*/ 27 w 46"/>
                  <a:gd name="T51" fmla="*/ 42 h 45"/>
                  <a:gd name="T52" fmla="*/ 20 w 46"/>
                  <a:gd name="T53" fmla="*/ 45 h 45"/>
                  <a:gd name="T54" fmla="*/ 13 w 46"/>
                  <a:gd name="T55" fmla="*/ 43 h 45"/>
                  <a:gd name="T56" fmla="*/ 6 w 46"/>
                  <a:gd name="T57" fmla="*/ 37 h 45"/>
                  <a:gd name="T58" fmla="*/ 0 w 46"/>
                  <a:gd name="T59" fmla="*/ 24 h 45"/>
                  <a:gd name="T60" fmla="*/ 6 w 46"/>
                  <a:gd name="T61" fmla="*/ 13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46" h="45">
                    <a:moveTo>
                      <a:pt x="6" y="13"/>
                    </a:moveTo>
                    <a:cubicBezTo>
                      <a:pt x="12" y="19"/>
                      <a:pt x="12" y="19"/>
                      <a:pt x="12" y="19"/>
                    </a:cubicBezTo>
                    <a:cubicBezTo>
                      <a:pt x="10" y="21"/>
                      <a:pt x="9" y="24"/>
                      <a:pt x="9" y="26"/>
                    </a:cubicBezTo>
                    <a:cubicBezTo>
                      <a:pt x="9" y="28"/>
                      <a:pt x="10" y="30"/>
                      <a:pt x="11" y="32"/>
                    </a:cubicBezTo>
                    <a:cubicBezTo>
                      <a:pt x="13" y="34"/>
                      <a:pt x="15" y="35"/>
                      <a:pt x="17" y="36"/>
                    </a:cubicBezTo>
                    <a:cubicBezTo>
                      <a:pt x="19" y="36"/>
                      <a:pt x="20" y="36"/>
                      <a:pt x="22" y="35"/>
                    </a:cubicBezTo>
                    <a:cubicBezTo>
                      <a:pt x="22" y="34"/>
                      <a:pt x="23" y="33"/>
                      <a:pt x="23" y="32"/>
                    </a:cubicBezTo>
                    <a:cubicBezTo>
                      <a:pt x="23" y="32"/>
                      <a:pt x="23" y="30"/>
                      <a:pt x="22" y="29"/>
                    </a:cubicBezTo>
                    <a:cubicBezTo>
                      <a:pt x="22" y="28"/>
                      <a:pt x="21" y="26"/>
                      <a:pt x="19" y="22"/>
                    </a:cubicBezTo>
                    <a:cubicBezTo>
                      <a:pt x="17" y="18"/>
                      <a:pt x="16" y="14"/>
                      <a:pt x="16" y="12"/>
                    </a:cubicBezTo>
                    <a:cubicBezTo>
                      <a:pt x="17" y="8"/>
                      <a:pt x="18" y="5"/>
                      <a:pt x="21" y="3"/>
                    </a:cubicBezTo>
                    <a:cubicBezTo>
                      <a:pt x="23" y="1"/>
                      <a:pt x="25" y="1"/>
                      <a:pt x="27" y="0"/>
                    </a:cubicBezTo>
                    <a:cubicBezTo>
                      <a:pt x="29" y="0"/>
                      <a:pt x="31" y="1"/>
                      <a:pt x="34" y="2"/>
                    </a:cubicBezTo>
                    <a:cubicBezTo>
                      <a:pt x="36" y="3"/>
                      <a:pt x="38" y="5"/>
                      <a:pt x="40" y="8"/>
                    </a:cubicBezTo>
                    <a:cubicBezTo>
                      <a:pt x="44" y="12"/>
                      <a:pt x="46" y="16"/>
                      <a:pt x="45" y="19"/>
                    </a:cubicBezTo>
                    <a:cubicBezTo>
                      <a:pt x="45" y="23"/>
                      <a:pt x="44" y="26"/>
                      <a:pt x="41" y="29"/>
                    </a:cubicBezTo>
                    <a:cubicBezTo>
                      <a:pt x="35" y="22"/>
                      <a:pt x="35" y="22"/>
                      <a:pt x="35" y="22"/>
                    </a:cubicBezTo>
                    <a:cubicBezTo>
                      <a:pt x="36" y="21"/>
                      <a:pt x="37" y="19"/>
                      <a:pt x="37" y="17"/>
                    </a:cubicBezTo>
                    <a:cubicBezTo>
                      <a:pt x="37" y="16"/>
                      <a:pt x="36" y="14"/>
                      <a:pt x="35" y="12"/>
                    </a:cubicBezTo>
                    <a:cubicBezTo>
                      <a:pt x="33" y="10"/>
                      <a:pt x="31" y="9"/>
                      <a:pt x="30" y="8"/>
                    </a:cubicBezTo>
                    <a:cubicBezTo>
                      <a:pt x="28" y="8"/>
                      <a:pt x="27" y="8"/>
                      <a:pt x="27" y="9"/>
                    </a:cubicBezTo>
                    <a:cubicBezTo>
                      <a:pt x="26" y="10"/>
                      <a:pt x="25" y="11"/>
                      <a:pt x="25" y="12"/>
                    </a:cubicBezTo>
                    <a:cubicBezTo>
                      <a:pt x="25" y="13"/>
                      <a:pt x="26" y="16"/>
                      <a:pt x="28" y="20"/>
                    </a:cubicBezTo>
                    <a:cubicBezTo>
                      <a:pt x="30" y="24"/>
                      <a:pt x="31" y="27"/>
                      <a:pt x="32" y="29"/>
                    </a:cubicBezTo>
                    <a:cubicBezTo>
                      <a:pt x="32" y="32"/>
                      <a:pt x="32" y="34"/>
                      <a:pt x="31" y="36"/>
                    </a:cubicBezTo>
                    <a:cubicBezTo>
                      <a:pt x="31" y="38"/>
                      <a:pt x="29" y="40"/>
                      <a:pt x="27" y="42"/>
                    </a:cubicBezTo>
                    <a:cubicBezTo>
                      <a:pt x="25" y="43"/>
                      <a:pt x="23" y="44"/>
                      <a:pt x="20" y="45"/>
                    </a:cubicBezTo>
                    <a:cubicBezTo>
                      <a:pt x="18" y="45"/>
                      <a:pt x="15" y="44"/>
                      <a:pt x="13" y="43"/>
                    </a:cubicBezTo>
                    <a:cubicBezTo>
                      <a:pt x="10" y="42"/>
                      <a:pt x="8" y="40"/>
                      <a:pt x="6" y="37"/>
                    </a:cubicBezTo>
                    <a:cubicBezTo>
                      <a:pt x="2" y="32"/>
                      <a:pt x="0" y="28"/>
                      <a:pt x="0" y="24"/>
                    </a:cubicBezTo>
                    <a:cubicBezTo>
                      <a:pt x="1" y="20"/>
                      <a:pt x="2" y="17"/>
                      <a:pt x="6" y="1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217" name="í$ļîḋê"/>
              <p:cNvSpPr/>
              <p:nvPr/>
            </p:nvSpPr>
            <p:spPr bwMode="auto">
              <a:xfrm>
                <a:off x="1868384" y="5844178"/>
                <a:ext cx="82550" cy="82550"/>
              </a:xfrm>
              <a:custGeom>
                <a:avLst/>
                <a:gdLst>
                  <a:gd name="T0" fmla="*/ 25 w 45"/>
                  <a:gd name="T1" fmla="*/ 33 h 45"/>
                  <a:gd name="T2" fmla="*/ 29 w 45"/>
                  <a:gd name="T3" fmla="*/ 41 h 45"/>
                  <a:gd name="T4" fmla="*/ 17 w 45"/>
                  <a:gd name="T5" fmla="*/ 44 h 45"/>
                  <a:gd name="T6" fmla="*/ 6 w 45"/>
                  <a:gd name="T7" fmla="*/ 38 h 45"/>
                  <a:gd name="T8" fmla="*/ 0 w 45"/>
                  <a:gd name="T9" fmla="*/ 24 h 45"/>
                  <a:gd name="T10" fmla="*/ 8 w 45"/>
                  <a:gd name="T11" fmla="*/ 8 h 45"/>
                  <a:gd name="T12" fmla="*/ 24 w 45"/>
                  <a:gd name="T13" fmla="*/ 0 h 45"/>
                  <a:gd name="T14" fmla="*/ 39 w 45"/>
                  <a:gd name="T15" fmla="*/ 7 h 45"/>
                  <a:gd name="T16" fmla="*/ 45 w 45"/>
                  <a:gd name="T17" fmla="*/ 19 h 45"/>
                  <a:gd name="T18" fmla="*/ 42 w 45"/>
                  <a:gd name="T19" fmla="*/ 28 h 45"/>
                  <a:gd name="T20" fmla="*/ 34 w 45"/>
                  <a:gd name="T21" fmla="*/ 23 h 45"/>
                  <a:gd name="T22" fmla="*/ 36 w 45"/>
                  <a:gd name="T23" fmla="*/ 17 h 45"/>
                  <a:gd name="T24" fmla="*/ 33 w 45"/>
                  <a:gd name="T25" fmla="*/ 12 h 45"/>
                  <a:gd name="T26" fmla="*/ 25 w 45"/>
                  <a:gd name="T27" fmla="*/ 9 h 45"/>
                  <a:gd name="T28" fmla="*/ 15 w 45"/>
                  <a:gd name="T29" fmla="*/ 14 h 45"/>
                  <a:gd name="T30" fmla="*/ 8 w 45"/>
                  <a:gd name="T31" fmla="*/ 25 h 45"/>
                  <a:gd name="T32" fmla="*/ 11 w 45"/>
                  <a:gd name="T33" fmla="*/ 33 h 45"/>
                  <a:gd name="T34" fmla="*/ 17 w 45"/>
                  <a:gd name="T35" fmla="*/ 36 h 45"/>
                  <a:gd name="T36" fmla="*/ 25 w 45"/>
                  <a:gd name="T37" fmla="*/ 33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45" h="45">
                    <a:moveTo>
                      <a:pt x="25" y="33"/>
                    </a:moveTo>
                    <a:cubicBezTo>
                      <a:pt x="29" y="41"/>
                      <a:pt x="29" y="41"/>
                      <a:pt x="29" y="41"/>
                    </a:cubicBezTo>
                    <a:cubicBezTo>
                      <a:pt x="25" y="44"/>
                      <a:pt x="21" y="45"/>
                      <a:pt x="17" y="44"/>
                    </a:cubicBezTo>
                    <a:cubicBezTo>
                      <a:pt x="13" y="44"/>
                      <a:pt x="9" y="42"/>
                      <a:pt x="6" y="38"/>
                    </a:cubicBezTo>
                    <a:cubicBezTo>
                      <a:pt x="2" y="34"/>
                      <a:pt x="0" y="29"/>
                      <a:pt x="0" y="24"/>
                    </a:cubicBezTo>
                    <a:cubicBezTo>
                      <a:pt x="0" y="19"/>
                      <a:pt x="3" y="13"/>
                      <a:pt x="8" y="8"/>
                    </a:cubicBezTo>
                    <a:cubicBezTo>
                      <a:pt x="13" y="3"/>
                      <a:pt x="18" y="1"/>
                      <a:pt x="24" y="0"/>
                    </a:cubicBezTo>
                    <a:cubicBezTo>
                      <a:pt x="29" y="0"/>
                      <a:pt x="34" y="2"/>
                      <a:pt x="39" y="7"/>
                    </a:cubicBezTo>
                    <a:cubicBezTo>
                      <a:pt x="42" y="10"/>
                      <a:pt x="44" y="15"/>
                      <a:pt x="45" y="19"/>
                    </a:cubicBezTo>
                    <a:cubicBezTo>
                      <a:pt x="45" y="22"/>
                      <a:pt x="44" y="25"/>
                      <a:pt x="42" y="28"/>
                    </a:cubicBezTo>
                    <a:cubicBezTo>
                      <a:pt x="34" y="23"/>
                      <a:pt x="34" y="23"/>
                      <a:pt x="34" y="23"/>
                    </a:cubicBezTo>
                    <a:cubicBezTo>
                      <a:pt x="36" y="21"/>
                      <a:pt x="36" y="19"/>
                      <a:pt x="36" y="17"/>
                    </a:cubicBezTo>
                    <a:cubicBezTo>
                      <a:pt x="36" y="15"/>
                      <a:pt x="35" y="13"/>
                      <a:pt x="33" y="12"/>
                    </a:cubicBezTo>
                    <a:cubicBezTo>
                      <a:pt x="31" y="9"/>
                      <a:pt x="28" y="8"/>
                      <a:pt x="25" y="9"/>
                    </a:cubicBezTo>
                    <a:cubicBezTo>
                      <a:pt x="22" y="9"/>
                      <a:pt x="18" y="11"/>
                      <a:pt x="15" y="14"/>
                    </a:cubicBezTo>
                    <a:cubicBezTo>
                      <a:pt x="11" y="18"/>
                      <a:pt x="9" y="22"/>
                      <a:pt x="8" y="25"/>
                    </a:cubicBezTo>
                    <a:cubicBezTo>
                      <a:pt x="8" y="28"/>
                      <a:pt x="9" y="31"/>
                      <a:pt x="11" y="33"/>
                    </a:cubicBezTo>
                    <a:cubicBezTo>
                      <a:pt x="13" y="35"/>
                      <a:pt x="15" y="36"/>
                      <a:pt x="17" y="36"/>
                    </a:cubicBezTo>
                    <a:cubicBezTo>
                      <a:pt x="20" y="36"/>
                      <a:pt x="22" y="35"/>
                      <a:pt x="25" y="3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218" name="íṩḷiḋé"/>
              <p:cNvSpPr/>
              <p:nvPr/>
            </p:nvSpPr>
            <p:spPr bwMode="auto">
              <a:xfrm>
                <a:off x="1916009" y="5887040"/>
                <a:ext cx="65088" cy="71438"/>
              </a:xfrm>
              <a:custGeom>
                <a:avLst/>
                <a:gdLst>
                  <a:gd name="T0" fmla="*/ 0 w 41"/>
                  <a:gd name="T1" fmla="*/ 38 h 45"/>
                  <a:gd name="T2" fmla="*/ 34 w 41"/>
                  <a:gd name="T3" fmla="*/ 0 h 45"/>
                  <a:gd name="T4" fmla="*/ 41 w 41"/>
                  <a:gd name="T5" fmla="*/ 6 h 45"/>
                  <a:gd name="T6" fmla="*/ 8 w 41"/>
                  <a:gd name="T7" fmla="*/ 45 h 45"/>
                  <a:gd name="T8" fmla="*/ 0 w 41"/>
                  <a:gd name="T9" fmla="*/ 38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1" h="45">
                    <a:moveTo>
                      <a:pt x="0" y="38"/>
                    </a:moveTo>
                    <a:lnTo>
                      <a:pt x="34" y="0"/>
                    </a:lnTo>
                    <a:lnTo>
                      <a:pt x="41" y="6"/>
                    </a:lnTo>
                    <a:lnTo>
                      <a:pt x="8" y="45"/>
                    </a:lnTo>
                    <a:lnTo>
                      <a:pt x="0" y="3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219" name="îsľïďé"/>
              <p:cNvSpPr/>
              <p:nvPr/>
            </p:nvSpPr>
            <p:spPr bwMode="auto">
              <a:xfrm>
                <a:off x="1941409" y="5904503"/>
                <a:ext cx="96838" cy="101600"/>
              </a:xfrm>
              <a:custGeom>
                <a:avLst/>
                <a:gdLst>
                  <a:gd name="T0" fmla="*/ 0 w 61"/>
                  <a:gd name="T1" fmla="*/ 41 h 64"/>
                  <a:gd name="T2" fmla="*/ 31 w 61"/>
                  <a:gd name="T3" fmla="*/ 0 h 64"/>
                  <a:gd name="T4" fmla="*/ 61 w 61"/>
                  <a:gd name="T5" fmla="*/ 22 h 64"/>
                  <a:gd name="T6" fmla="*/ 56 w 61"/>
                  <a:gd name="T7" fmla="*/ 29 h 64"/>
                  <a:gd name="T8" fmla="*/ 34 w 61"/>
                  <a:gd name="T9" fmla="*/ 13 h 64"/>
                  <a:gd name="T10" fmla="*/ 27 w 61"/>
                  <a:gd name="T11" fmla="*/ 22 h 64"/>
                  <a:gd name="T12" fmla="*/ 47 w 61"/>
                  <a:gd name="T13" fmla="*/ 37 h 64"/>
                  <a:gd name="T14" fmla="*/ 42 w 61"/>
                  <a:gd name="T15" fmla="*/ 44 h 64"/>
                  <a:gd name="T16" fmla="*/ 21 w 61"/>
                  <a:gd name="T17" fmla="*/ 29 h 64"/>
                  <a:gd name="T18" fmla="*/ 13 w 61"/>
                  <a:gd name="T19" fmla="*/ 40 h 64"/>
                  <a:gd name="T20" fmla="*/ 36 w 61"/>
                  <a:gd name="T21" fmla="*/ 57 h 64"/>
                  <a:gd name="T22" fmla="*/ 31 w 61"/>
                  <a:gd name="T23" fmla="*/ 64 h 64"/>
                  <a:gd name="T24" fmla="*/ 0 w 61"/>
                  <a:gd name="T25" fmla="*/ 41 h 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1" h="64">
                    <a:moveTo>
                      <a:pt x="0" y="41"/>
                    </a:moveTo>
                    <a:lnTo>
                      <a:pt x="31" y="0"/>
                    </a:lnTo>
                    <a:lnTo>
                      <a:pt x="61" y="22"/>
                    </a:lnTo>
                    <a:lnTo>
                      <a:pt x="56" y="29"/>
                    </a:lnTo>
                    <a:lnTo>
                      <a:pt x="34" y="13"/>
                    </a:lnTo>
                    <a:lnTo>
                      <a:pt x="27" y="22"/>
                    </a:lnTo>
                    <a:lnTo>
                      <a:pt x="47" y="37"/>
                    </a:lnTo>
                    <a:lnTo>
                      <a:pt x="42" y="44"/>
                    </a:lnTo>
                    <a:lnTo>
                      <a:pt x="21" y="29"/>
                    </a:lnTo>
                    <a:lnTo>
                      <a:pt x="13" y="40"/>
                    </a:lnTo>
                    <a:lnTo>
                      <a:pt x="36" y="57"/>
                    </a:lnTo>
                    <a:lnTo>
                      <a:pt x="31" y="64"/>
                    </a:lnTo>
                    <a:lnTo>
                      <a:pt x="0" y="4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220" name="íśliḋé"/>
              <p:cNvSpPr/>
              <p:nvPr/>
            </p:nvSpPr>
            <p:spPr bwMode="auto">
              <a:xfrm>
                <a:off x="2004909" y="5947365"/>
                <a:ext cx="96838" cy="101600"/>
              </a:xfrm>
              <a:custGeom>
                <a:avLst/>
                <a:gdLst>
                  <a:gd name="T0" fmla="*/ 0 w 61"/>
                  <a:gd name="T1" fmla="*/ 43 h 64"/>
                  <a:gd name="T2" fmla="*/ 27 w 61"/>
                  <a:gd name="T3" fmla="*/ 0 h 64"/>
                  <a:gd name="T4" fmla="*/ 35 w 61"/>
                  <a:gd name="T5" fmla="*/ 5 h 64"/>
                  <a:gd name="T6" fmla="*/ 36 w 61"/>
                  <a:gd name="T7" fmla="*/ 45 h 64"/>
                  <a:gd name="T8" fmla="*/ 53 w 61"/>
                  <a:gd name="T9" fmla="*/ 15 h 64"/>
                  <a:gd name="T10" fmla="*/ 61 w 61"/>
                  <a:gd name="T11" fmla="*/ 21 h 64"/>
                  <a:gd name="T12" fmla="*/ 35 w 61"/>
                  <a:gd name="T13" fmla="*/ 64 h 64"/>
                  <a:gd name="T14" fmla="*/ 27 w 61"/>
                  <a:gd name="T15" fmla="*/ 59 h 64"/>
                  <a:gd name="T16" fmla="*/ 25 w 61"/>
                  <a:gd name="T17" fmla="*/ 20 h 64"/>
                  <a:gd name="T18" fmla="*/ 8 w 61"/>
                  <a:gd name="T19" fmla="*/ 49 h 64"/>
                  <a:gd name="T20" fmla="*/ 0 w 61"/>
                  <a:gd name="T21" fmla="*/ 43 h 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61" h="64">
                    <a:moveTo>
                      <a:pt x="0" y="43"/>
                    </a:moveTo>
                    <a:lnTo>
                      <a:pt x="27" y="0"/>
                    </a:lnTo>
                    <a:lnTo>
                      <a:pt x="35" y="5"/>
                    </a:lnTo>
                    <a:lnTo>
                      <a:pt x="36" y="45"/>
                    </a:lnTo>
                    <a:lnTo>
                      <a:pt x="53" y="15"/>
                    </a:lnTo>
                    <a:lnTo>
                      <a:pt x="61" y="21"/>
                    </a:lnTo>
                    <a:lnTo>
                      <a:pt x="35" y="64"/>
                    </a:lnTo>
                    <a:lnTo>
                      <a:pt x="27" y="59"/>
                    </a:lnTo>
                    <a:lnTo>
                      <a:pt x="25" y="20"/>
                    </a:lnTo>
                    <a:lnTo>
                      <a:pt x="8" y="49"/>
                    </a:lnTo>
                    <a:lnTo>
                      <a:pt x="0" y="4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221" name="iSļiďê"/>
              <p:cNvSpPr/>
              <p:nvPr/>
            </p:nvSpPr>
            <p:spPr bwMode="auto">
              <a:xfrm>
                <a:off x="2087459" y="5993403"/>
                <a:ext cx="79375" cy="87313"/>
              </a:xfrm>
              <a:custGeom>
                <a:avLst/>
                <a:gdLst>
                  <a:gd name="T0" fmla="*/ 28 w 43"/>
                  <a:gd name="T1" fmla="*/ 33 h 47"/>
                  <a:gd name="T2" fmla="*/ 34 w 43"/>
                  <a:gd name="T3" fmla="*/ 39 h 47"/>
                  <a:gd name="T4" fmla="*/ 24 w 43"/>
                  <a:gd name="T5" fmla="*/ 46 h 47"/>
                  <a:gd name="T6" fmla="*/ 12 w 43"/>
                  <a:gd name="T7" fmla="*/ 44 h 47"/>
                  <a:gd name="T8" fmla="*/ 1 w 43"/>
                  <a:gd name="T9" fmla="*/ 33 h 47"/>
                  <a:gd name="T10" fmla="*/ 3 w 43"/>
                  <a:gd name="T11" fmla="*/ 15 h 47"/>
                  <a:gd name="T12" fmla="*/ 15 w 43"/>
                  <a:gd name="T13" fmla="*/ 2 h 47"/>
                  <a:gd name="T14" fmla="*/ 32 w 43"/>
                  <a:gd name="T15" fmla="*/ 3 h 47"/>
                  <a:gd name="T16" fmla="*/ 41 w 43"/>
                  <a:gd name="T17" fmla="*/ 13 h 47"/>
                  <a:gd name="T18" fmla="*/ 42 w 43"/>
                  <a:gd name="T19" fmla="*/ 22 h 47"/>
                  <a:gd name="T20" fmla="*/ 33 w 43"/>
                  <a:gd name="T21" fmla="*/ 20 h 47"/>
                  <a:gd name="T22" fmla="*/ 33 w 43"/>
                  <a:gd name="T23" fmla="*/ 14 h 47"/>
                  <a:gd name="T24" fmla="*/ 28 w 43"/>
                  <a:gd name="T25" fmla="*/ 10 h 47"/>
                  <a:gd name="T26" fmla="*/ 19 w 43"/>
                  <a:gd name="T27" fmla="*/ 10 h 47"/>
                  <a:gd name="T28" fmla="*/ 12 w 43"/>
                  <a:gd name="T29" fmla="*/ 19 h 47"/>
                  <a:gd name="T30" fmla="*/ 9 w 43"/>
                  <a:gd name="T31" fmla="*/ 31 h 47"/>
                  <a:gd name="T32" fmla="*/ 15 w 43"/>
                  <a:gd name="T33" fmla="*/ 37 h 47"/>
                  <a:gd name="T34" fmla="*/ 22 w 43"/>
                  <a:gd name="T35" fmla="*/ 38 h 47"/>
                  <a:gd name="T36" fmla="*/ 28 w 43"/>
                  <a:gd name="T37" fmla="*/ 33 h 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43" h="47">
                    <a:moveTo>
                      <a:pt x="28" y="33"/>
                    </a:moveTo>
                    <a:cubicBezTo>
                      <a:pt x="34" y="39"/>
                      <a:pt x="34" y="39"/>
                      <a:pt x="34" y="39"/>
                    </a:cubicBezTo>
                    <a:cubicBezTo>
                      <a:pt x="31" y="43"/>
                      <a:pt x="28" y="45"/>
                      <a:pt x="24" y="46"/>
                    </a:cubicBezTo>
                    <a:cubicBezTo>
                      <a:pt x="20" y="47"/>
                      <a:pt x="16" y="46"/>
                      <a:pt x="12" y="44"/>
                    </a:cubicBezTo>
                    <a:cubicBezTo>
                      <a:pt x="7" y="42"/>
                      <a:pt x="3" y="38"/>
                      <a:pt x="1" y="33"/>
                    </a:cubicBezTo>
                    <a:cubicBezTo>
                      <a:pt x="0" y="27"/>
                      <a:pt x="0" y="22"/>
                      <a:pt x="3" y="15"/>
                    </a:cubicBezTo>
                    <a:cubicBezTo>
                      <a:pt x="6" y="9"/>
                      <a:pt x="10" y="4"/>
                      <a:pt x="15" y="2"/>
                    </a:cubicBezTo>
                    <a:cubicBezTo>
                      <a:pt x="21" y="0"/>
                      <a:pt x="26" y="1"/>
                      <a:pt x="32" y="3"/>
                    </a:cubicBezTo>
                    <a:cubicBezTo>
                      <a:pt x="36" y="5"/>
                      <a:pt x="40" y="9"/>
                      <a:pt x="41" y="13"/>
                    </a:cubicBezTo>
                    <a:cubicBezTo>
                      <a:pt x="42" y="16"/>
                      <a:pt x="43" y="19"/>
                      <a:pt x="42" y="22"/>
                    </a:cubicBezTo>
                    <a:cubicBezTo>
                      <a:pt x="33" y="20"/>
                      <a:pt x="33" y="20"/>
                      <a:pt x="33" y="20"/>
                    </a:cubicBezTo>
                    <a:cubicBezTo>
                      <a:pt x="34" y="18"/>
                      <a:pt x="34" y="16"/>
                      <a:pt x="33" y="14"/>
                    </a:cubicBezTo>
                    <a:cubicBezTo>
                      <a:pt x="32" y="12"/>
                      <a:pt x="30" y="11"/>
                      <a:pt x="28" y="10"/>
                    </a:cubicBezTo>
                    <a:cubicBezTo>
                      <a:pt x="25" y="8"/>
                      <a:pt x="22" y="8"/>
                      <a:pt x="19" y="10"/>
                    </a:cubicBezTo>
                    <a:cubicBezTo>
                      <a:pt x="16" y="11"/>
                      <a:pt x="14" y="14"/>
                      <a:pt x="12" y="19"/>
                    </a:cubicBezTo>
                    <a:cubicBezTo>
                      <a:pt x="9" y="24"/>
                      <a:pt x="9" y="28"/>
                      <a:pt x="9" y="31"/>
                    </a:cubicBezTo>
                    <a:cubicBezTo>
                      <a:pt x="10" y="34"/>
                      <a:pt x="12" y="36"/>
                      <a:pt x="15" y="37"/>
                    </a:cubicBezTo>
                    <a:cubicBezTo>
                      <a:pt x="17" y="38"/>
                      <a:pt x="19" y="38"/>
                      <a:pt x="22" y="38"/>
                    </a:cubicBezTo>
                    <a:cubicBezTo>
                      <a:pt x="24" y="37"/>
                      <a:pt x="26" y="35"/>
                      <a:pt x="28" y="3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222" name="íSliḋé"/>
              <p:cNvSpPr/>
              <p:nvPr/>
            </p:nvSpPr>
            <p:spPr bwMode="auto">
              <a:xfrm>
                <a:off x="2157309" y="6017215"/>
                <a:ext cx="82550" cy="96838"/>
              </a:xfrm>
              <a:custGeom>
                <a:avLst/>
                <a:gdLst>
                  <a:gd name="T0" fmla="*/ 0 w 52"/>
                  <a:gd name="T1" fmla="*/ 49 h 61"/>
                  <a:gd name="T2" fmla="*/ 16 w 52"/>
                  <a:gd name="T3" fmla="*/ 0 h 61"/>
                  <a:gd name="T4" fmla="*/ 52 w 52"/>
                  <a:gd name="T5" fmla="*/ 13 h 61"/>
                  <a:gd name="T6" fmla="*/ 50 w 52"/>
                  <a:gd name="T7" fmla="*/ 21 h 61"/>
                  <a:gd name="T8" fmla="*/ 23 w 52"/>
                  <a:gd name="T9" fmla="*/ 12 h 61"/>
                  <a:gd name="T10" fmla="*/ 20 w 52"/>
                  <a:gd name="T11" fmla="*/ 22 h 61"/>
                  <a:gd name="T12" fmla="*/ 44 w 52"/>
                  <a:gd name="T13" fmla="*/ 30 h 61"/>
                  <a:gd name="T14" fmla="*/ 41 w 52"/>
                  <a:gd name="T15" fmla="*/ 38 h 61"/>
                  <a:gd name="T16" fmla="*/ 18 w 52"/>
                  <a:gd name="T17" fmla="*/ 30 h 61"/>
                  <a:gd name="T18" fmla="*/ 13 w 52"/>
                  <a:gd name="T19" fmla="*/ 43 h 61"/>
                  <a:gd name="T20" fmla="*/ 40 w 52"/>
                  <a:gd name="T21" fmla="*/ 52 h 61"/>
                  <a:gd name="T22" fmla="*/ 36 w 52"/>
                  <a:gd name="T23" fmla="*/ 61 h 61"/>
                  <a:gd name="T24" fmla="*/ 0 w 52"/>
                  <a:gd name="T25" fmla="*/ 49 h 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52" h="61">
                    <a:moveTo>
                      <a:pt x="0" y="49"/>
                    </a:moveTo>
                    <a:lnTo>
                      <a:pt x="16" y="0"/>
                    </a:lnTo>
                    <a:lnTo>
                      <a:pt x="52" y="13"/>
                    </a:lnTo>
                    <a:lnTo>
                      <a:pt x="50" y="21"/>
                    </a:lnTo>
                    <a:lnTo>
                      <a:pt x="23" y="12"/>
                    </a:lnTo>
                    <a:lnTo>
                      <a:pt x="20" y="22"/>
                    </a:lnTo>
                    <a:lnTo>
                      <a:pt x="44" y="30"/>
                    </a:lnTo>
                    <a:lnTo>
                      <a:pt x="41" y="38"/>
                    </a:lnTo>
                    <a:lnTo>
                      <a:pt x="18" y="30"/>
                    </a:lnTo>
                    <a:lnTo>
                      <a:pt x="13" y="43"/>
                    </a:lnTo>
                    <a:lnTo>
                      <a:pt x="40" y="52"/>
                    </a:lnTo>
                    <a:lnTo>
                      <a:pt x="36" y="61"/>
                    </a:lnTo>
                    <a:lnTo>
                      <a:pt x="0" y="4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223" name="îŝ1îḑè"/>
              <p:cNvSpPr/>
              <p:nvPr/>
            </p:nvSpPr>
            <p:spPr bwMode="auto">
              <a:xfrm>
                <a:off x="2663722" y="6026740"/>
                <a:ext cx="77788" cy="92075"/>
              </a:xfrm>
              <a:custGeom>
                <a:avLst/>
                <a:gdLst>
                  <a:gd name="T0" fmla="*/ 49 w 49"/>
                  <a:gd name="T1" fmla="*/ 42 h 58"/>
                  <a:gd name="T2" fmla="*/ 39 w 49"/>
                  <a:gd name="T3" fmla="*/ 45 h 58"/>
                  <a:gd name="T4" fmla="*/ 31 w 49"/>
                  <a:gd name="T5" fmla="*/ 36 h 58"/>
                  <a:gd name="T6" fmla="*/ 11 w 49"/>
                  <a:gd name="T7" fmla="*/ 43 h 58"/>
                  <a:gd name="T8" fmla="*/ 11 w 49"/>
                  <a:gd name="T9" fmla="*/ 55 h 58"/>
                  <a:gd name="T10" fmla="*/ 0 w 49"/>
                  <a:gd name="T11" fmla="*/ 58 h 58"/>
                  <a:gd name="T12" fmla="*/ 3 w 49"/>
                  <a:gd name="T13" fmla="*/ 3 h 58"/>
                  <a:gd name="T14" fmla="*/ 13 w 49"/>
                  <a:gd name="T15" fmla="*/ 0 h 58"/>
                  <a:gd name="T16" fmla="*/ 49 w 49"/>
                  <a:gd name="T17" fmla="*/ 42 h 58"/>
                  <a:gd name="T18" fmla="*/ 25 w 49"/>
                  <a:gd name="T19" fmla="*/ 29 h 58"/>
                  <a:gd name="T20" fmla="*/ 12 w 49"/>
                  <a:gd name="T21" fmla="*/ 14 h 58"/>
                  <a:gd name="T22" fmla="*/ 11 w 49"/>
                  <a:gd name="T23" fmla="*/ 34 h 58"/>
                  <a:gd name="T24" fmla="*/ 25 w 49"/>
                  <a:gd name="T25" fmla="*/ 29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49" h="58">
                    <a:moveTo>
                      <a:pt x="49" y="42"/>
                    </a:moveTo>
                    <a:lnTo>
                      <a:pt x="39" y="45"/>
                    </a:lnTo>
                    <a:lnTo>
                      <a:pt x="31" y="36"/>
                    </a:lnTo>
                    <a:lnTo>
                      <a:pt x="11" y="43"/>
                    </a:lnTo>
                    <a:lnTo>
                      <a:pt x="11" y="55"/>
                    </a:lnTo>
                    <a:lnTo>
                      <a:pt x="0" y="58"/>
                    </a:lnTo>
                    <a:lnTo>
                      <a:pt x="3" y="3"/>
                    </a:lnTo>
                    <a:lnTo>
                      <a:pt x="13" y="0"/>
                    </a:lnTo>
                    <a:lnTo>
                      <a:pt x="49" y="42"/>
                    </a:lnTo>
                    <a:close/>
                    <a:moveTo>
                      <a:pt x="25" y="29"/>
                    </a:moveTo>
                    <a:lnTo>
                      <a:pt x="12" y="14"/>
                    </a:lnTo>
                    <a:lnTo>
                      <a:pt x="11" y="34"/>
                    </a:lnTo>
                    <a:lnTo>
                      <a:pt x="25" y="2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224" name="íṩḻiḋê"/>
              <p:cNvSpPr/>
              <p:nvPr/>
            </p:nvSpPr>
            <p:spPr bwMode="auto">
              <a:xfrm>
                <a:off x="2714522" y="5990228"/>
                <a:ext cx="92075" cy="101600"/>
              </a:xfrm>
              <a:custGeom>
                <a:avLst/>
                <a:gdLst>
                  <a:gd name="T0" fmla="*/ 21 w 58"/>
                  <a:gd name="T1" fmla="*/ 64 h 64"/>
                  <a:gd name="T2" fmla="*/ 0 w 58"/>
                  <a:gd name="T3" fmla="*/ 17 h 64"/>
                  <a:gd name="T4" fmla="*/ 9 w 58"/>
                  <a:gd name="T5" fmla="*/ 12 h 64"/>
                  <a:gd name="T6" fmla="*/ 43 w 58"/>
                  <a:gd name="T7" fmla="*/ 36 h 64"/>
                  <a:gd name="T8" fmla="*/ 29 w 58"/>
                  <a:gd name="T9" fmla="*/ 4 h 64"/>
                  <a:gd name="T10" fmla="*/ 37 w 58"/>
                  <a:gd name="T11" fmla="*/ 0 h 64"/>
                  <a:gd name="T12" fmla="*/ 58 w 58"/>
                  <a:gd name="T13" fmla="*/ 46 h 64"/>
                  <a:gd name="T14" fmla="*/ 49 w 58"/>
                  <a:gd name="T15" fmla="*/ 51 h 64"/>
                  <a:gd name="T16" fmla="*/ 16 w 58"/>
                  <a:gd name="T17" fmla="*/ 29 h 64"/>
                  <a:gd name="T18" fmla="*/ 30 w 58"/>
                  <a:gd name="T19" fmla="*/ 59 h 64"/>
                  <a:gd name="T20" fmla="*/ 21 w 58"/>
                  <a:gd name="T21" fmla="*/ 64 h 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58" h="64">
                    <a:moveTo>
                      <a:pt x="21" y="64"/>
                    </a:moveTo>
                    <a:lnTo>
                      <a:pt x="0" y="17"/>
                    </a:lnTo>
                    <a:lnTo>
                      <a:pt x="9" y="12"/>
                    </a:lnTo>
                    <a:lnTo>
                      <a:pt x="43" y="36"/>
                    </a:lnTo>
                    <a:lnTo>
                      <a:pt x="29" y="4"/>
                    </a:lnTo>
                    <a:lnTo>
                      <a:pt x="37" y="0"/>
                    </a:lnTo>
                    <a:lnTo>
                      <a:pt x="58" y="46"/>
                    </a:lnTo>
                    <a:lnTo>
                      <a:pt x="49" y="51"/>
                    </a:lnTo>
                    <a:lnTo>
                      <a:pt x="16" y="29"/>
                    </a:lnTo>
                    <a:lnTo>
                      <a:pt x="30" y="59"/>
                    </a:lnTo>
                    <a:lnTo>
                      <a:pt x="21" y="6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225" name="îṧľíḍe"/>
              <p:cNvSpPr/>
              <p:nvPr/>
            </p:nvSpPr>
            <p:spPr bwMode="auto">
              <a:xfrm>
                <a:off x="2781197" y="5963240"/>
                <a:ext cx="85725" cy="95250"/>
              </a:xfrm>
              <a:custGeom>
                <a:avLst/>
                <a:gdLst>
                  <a:gd name="T0" fmla="*/ 0 w 47"/>
                  <a:gd name="T1" fmla="*/ 13 h 51"/>
                  <a:gd name="T2" fmla="*/ 14 w 47"/>
                  <a:gd name="T3" fmla="*/ 4 h 51"/>
                  <a:gd name="T4" fmla="*/ 22 w 47"/>
                  <a:gd name="T5" fmla="*/ 1 h 51"/>
                  <a:gd name="T6" fmla="*/ 29 w 47"/>
                  <a:gd name="T7" fmla="*/ 1 h 51"/>
                  <a:gd name="T8" fmla="*/ 37 w 47"/>
                  <a:gd name="T9" fmla="*/ 5 h 51"/>
                  <a:gd name="T10" fmla="*/ 43 w 47"/>
                  <a:gd name="T11" fmla="*/ 14 h 51"/>
                  <a:gd name="T12" fmla="*/ 47 w 47"/>
                  <a:gd name="T13" fmla="*/ 22 h 51"/>
                  <a:gd name="T14" fmla="*/ 46 w 47"/>
                  <a:gd name="T15" fmla="*/ 31 h 51"/>
                  <a:gd name="T16" fmla="*/ 43 w 47"/>
                  <a:gd name="T17" fmla="*/ 38 h 51"/>
                  <a:gd name="T18" fmla="*/ 36 w 47"/>
                  <a:gd name="T19" fmla="*/ 42 h 51"/>
                  <a:gd name="T20" fmla="*/ 22 w 47"/>
                  <a:gd name="T21" fmla="*/ 51 h 51"/>
                  <a:gd name="T22" fmla="*/ 0 w 47"/>
                  <a:gd name="T23" fmla="*/ 13 h 51"/>
                  <a:gd name="T24" fmla="*/ 11 w 47"/>
                  <a:gd name="T25" fmla="*/ 15 h 51"/>
                  <a:gd name="T26" fmla="*/ 26 w 47"/>
                  <a:gd name="T27" fmla="*/ 40 h 51"/>
                  <a:gd name="T28" fmla="*/ 32 w 47"/>
                  <a:gd name="T29" fmla="*/ 37 h 51"/>
                  <a:gd name="T30" fmla="*/ 36 w 47"/>
                  <a:gd name="T31" fmla="*/ 33 h 51"/>
                  <a:gd name="T32" fmla="*/ 38 w 47"/>
                  <a:gd name="T33" fmla="*/ 30 h 51"/>
                  <a:gd name="T34" fmla="*/ 38 w 47"/>
                  <a:gd name="T35" fmla="*/ 25 h 51"/>
                  <a:gd name="T36" fmla="*/ 35 w 47"/>
                  <a:gd name="T37" fmla="*/ 18 h 51"/>
                  <a:gd name="T38" fmla="*/ 30 w 47"/>
                  <a:gd name="T39" fmla="*/ 11 h 51"/>
                  <a:gd name="T40" fmla="*/ 26 w 47"/>
                  <a:gd name="T41" fmla="*/ 9 h 51"/>
                  <a:gd name="T42" fmla="*/ 21 w 47"/>
                  <a:gd name="T43" fmla="*/ 9 h 51"/>
                  <a:gd name="T44" fmla="*/ 15 w 47"/>
                  <a:gd name="T45" fmla="*/ 13 h 51"/>
                  <a:gd name="T46" fmla="*/ 11 w 47"/>
                  <a:gd name="T47" fmla="*/ 15 h 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47" h="51">
                    <a:moveTo>
                      <a:pt x="0" y="13"/>
                    </a:moveTo>
                    <a:cubicBezTo>
                      <a:pt x="14" y="4"/>
                      <a:pt x="14" y="4"/>
                      <a:pt x="14" y="4"/>
                    </a:cubicBezTo>
                    <a:cubicBezTo>
                      <a:pt x="17" y="3"/>
                      <a:pt x="20" y="1"/>
                      <a:pt x="22" y="1"/>
                    </a:cubicBezTo>
                    <a:cubicBezTo>
                      <a:pt x="24" y="0"/>
                      <a:pt x="27" y="0"/>
                      <a:pt x="29" y="1"/>
                    </a:cubicBezTo>
                    <a:cubicBezTo>
                      <a:pt x="32" y="2"/>
                      <a:pt x="34" y="3"/>
                      <a:pt x="37" y="5"/>
                    </a:cubicBezTo>
                    <a:cubicBezTo>
                      <a:pt x="39" y="7"/>
                      <a:pt x="41" y="10"/>
                      <a:pt x="43" y="14"/>
                    </a:cubicBezTo>
                    <a:cubicBezTo>
                      <a:pt x="45" y="17"/>
                      <a:pt x="46" y="20"/>
                      <a:pt x="47" y="22"/>
                    </a:cubicBezTo>
                    <a:cubicBezTo>
                      <a:pt x="47" y="26"/>
                      <a:pt x="47" y="29"/>
                      <a:pt x="46" y="31"/>
                    </a:cubicBezTo>
                    <a:cubicBezTo>
                      <a:pt x="46" y="34"/>
                      <a:pt x="45" y="36"/>
                      <a:pt x="43" y="38"/>
                    </a:cubicBezTo>
                    <a:cubicBezTo>
                      <a:pt x="41" y="39"/>
                      <a:pt x="39" y="41"/>
                      <a:pt x="36" y="42"/>
                    </a:cubicBezTo>
                    <a:cubicBezTo>
                      <a:pt x="22" y="51"/>
                      <a:pt x="22" y="51"/>
                      <a:pt x="22" y="51"/>
                    </a:cubicBezTo>
                    <a:lnTo>
                      <a:pt x="0" y="13"/>
                    </a:lnTo>
                    <a:close/>
                    <a:moveTo>
                      <a:pt x="11" y="15"/>
                    </a:moveTo>
                    <a:cubicBezTo>
                      <a:pt x="26" y="40"/>
                      <a:pt x="26" y="40"/>
                      <a:pt x="26" y="40"/>
                    </a:cubicBezTo>
                    <a:cubicBezTo>
                      <a:pt x="32" y="37"/>
                      <a:pt x="32" y="37"/>
                      <a:pt x="32" y="37"/>
                    </a:cubicBezTo>
                    <a:cubicBezTo>
                      <a:pt x="34" y="35"/>
                      <a:pt x="35" y="34"/>
                      <a:pt x="36" y="33"/>
                    </a:cubicBezTo>
                    <a:cubicBezTo>
                      <a:pt x="37" y="32"/>
                      <a:pt x="38" y="31"/>
                      <a:pt x="38" y="30"/>
                    </a:cubicBezTo>
                    <a:cubicBezTo>
                      <a:pt x="39" y="29"/>
                      <a:pt x="39" y="27"/>
                      <a:pt x="38" y="25"/>
                    </a:cubicBezTo>
                    <a:cubicBezTo>
                      <a:pt x="38" y="23"/>
                      <a:pt x="37" y="21"/>
                      <a:pt x="35" y="18"/>
                    </a:cubicBezTo>
                    <a:cubicBezTo>
                      <a:pt x="33" y="15"/>
                      <a:pt x="32" y="13"/>
                      <a:pt x="30" y="11"/>
                    </a:cubicBezTo>
                    <a:cubicBezTo>
                      <a:pt x="29" y="10"/>
                      <a:pt x="27" y="9"/>
                      <a:pt x="26" y="9"/>
                    </a:cubicBezTo>
                    <a:cubicBezTo>
                      <a:pt x="25" y="9"/>
                      <a:pt x="23" y="9"/>
                      <a:pt x="21" y="9"/>
                    </a:cubicBezTo>
                    <a:cubicBezTo>
                      <a:pt x="20" y="10"/>
                      <a:pt x="18" y="11"/>
                      <a:pt x="15" y="13"/>
                    </a:cubicBezTo>
                    <a:lnTo>
                      <a:pt x="11" y="1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226" name="ïṩḻiḍe"/>
              <p:cNvSpPr/>
              <p:nvPr/>
            </p:nvSpPr>
            <p:spPr bwMode="auto">
              <a:xfrm>
                <a:off x="2876447" y="5888628"/>
                <a:ext cx="80963" cy="88900"/>
              </a:xfrm>
              <a:custGeom>
                <a:avLst/>
                <a:gdLst>
                  <a:gd name="T0" fmla="*/ 43 w 51"/>
                  <a:gd name="T1" fmla="*/ 56 h 56"/>
                  <a:gd name="T2" fmla="*/ 16 w 51"/>
                  <a:gd name="T3" fmla="*/ 22 h 56"/>
                  <a:gd name="T4" fmla="*/ 5 w 51"/>
                  <a:gd name="T5" fmla="*/ 31 h 56"/>
                  <a:gd name="T6" fmla="*/ 0 w 51"/>
                  <a:gd name="T7" fmla="*/ 25 h 56"/>
                  <a:gd name="T8" fmla="*/ 31 w 51"/>
                  <a:gd name="T9" fmla="*/ 0 h 56"/>
                  <a:gd name="T10" fmla="*/ 37 w 51"/>
                  <a:gd name="T11" fmla="*/ 7 h 56"/>
                  <a:gd name="T12" fmla="*/ 24 w 51"/>
                  <a:gd name="T13" fmla="*/ 16 h 56"/>
                  <a:gd name="T14" fmla="*/ 51 w 51"/>
                  <a:gd name="T15" fmla="*/ 49 h 56"/>
                  <a:gd name="T16" fmla="*/ 43 w 51"/>
                  <a:gd name="T17" fmla="*/ 56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1" h="56">
                    <a:moveTo>
                      <a:pt x="43" y="56"/>
                    </a:moveTo>
                    <a:lnTo>
                      <a:pt x="16" y="22"/>
                    </a:lnTo>
                    <a:lnTo>
                      <a:pt x="5" y="31"/>
                    </a:lnTo>
                    <a:lnTo>
                      <a:pt x="0" y="25"/>
                    </a:lnTo>
                    <a:lnTo>
                      <a:pt x="31" y="0"/>
                    </a:lnTo>
                    <a:lnTo>
                      <a:pt x="37" y="7"/>
                    </a:lnTo>
                    <a:lnTo>
                      <a:pt x="24" y="16"/>
                    </a:lnTo>
                    <a:lnTo>
                      <a:pt x="51" y="49"/>
                    </a:lnTo>
                    <a:lnTo>
                      <a:pt x="43" y="56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227" name="íśļïḓè"/>
              <p:cNvSpPr/>
              <p:nvPr/>
            </p:nvSpPr>
            <p:spPr bwMode="auto">
              <a:xfrm>
                <a:off x="2925659" y="5845765"/>
                <a:ext cx="101600" cy="100013"/>
              </a:xfrm>
              <a:custGeom>
                <a:avLst/>
                <a:gdLst>
                  <a:gd name="T0" fmla="*/ 36 w 64"/>
                  <a:gd name="T1" fmla="*/ 63 h 63"/>
                  <a:gd name="T2" fmla="*/ 0 w 64"/>
                  <a:gd name="T3" fmla="*/ 26 h 63"/>
                  <a:gd name="T4" fmla="*/ 28 w 64"/>
                  <a:gd name="T5" fmla="*/ 0 h 63"/>
                  <a:gd name="T6" fmla="*/ 34 w 64"/>
                  <a:gd name="T7" fmla="*/ 6 h 63"/>
                  <a:gd name="T8" fmla="*/ 14 w 64"/>
                  <a:gd name="T9" fmla="*/ 26 h 63"/>
                  <a:gd name="T10" fmla="*/ 22 w 64"/>
                  <a:gd name="T11" fmla="*/ 34 h 63"/>
                  <a:gd name="T12" fmla="*/ 41 w 64"/>
                  <a:gd name="T13" fmla="*/ 16 h 63"/>
                  <a:gd name="T14" fmla="*/ 47 w 64"/>
                  <a:gd name="T15" fmla="*/ 22 h 63"/>
                  <a:gd name="T16" fmla="*/ 28 w 64"/>
                  <a:gd name="T17" fmla="*/ 39 h 63"/>
                  <a:gd name="T18" fmla="*/ 38 w 64"/>
                  <a:gd name="T19" fmla="*/ 50 h 63"/>
                  <a:gd name="T20" fmla="*/ 58 w 64"/>
                  <a:gd name="T21" fmla="*/ 30 h 63"/>
                  <a:gd name="T22" fmla="*/ 64 w 64"/>
                  <a:gd name="T23" fmla="*/ 36 h 63"/>
                  <a:gd name="T24" fmla="*/ 36 w 64"/>
                  <a:gd name="T25" fmla="*/ 63 h 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4" h="63">
                    <a:moveTo>
                      <a:pt x="36" y="63"/>
                    </a:moveTo>
                    <a:lnTo>
                      <a:pt x="0" y="26"/>
                    </a:lnTo>
                    <a:lnTo>
                      <a:pt x="28" y="0"/>
                    </a:lnTo>
                    <a:lnTo>
                      <a:pt x="34" y="6"/>
                    </a:lnTo>
                    <a:lnTo>
                      <a:pt x="14" y="26"/>
                    </a:lnTo>
                    <a:lnTo>
                      <a:pt x="22" y="34"/>
                    </a:lnTo>
                    <a:lnTo>
                      <a:pt x="41" y="16"/>
                    </a:lnTo>
                    <a:lnTo>
                      <a:pt x="47" y="22"/>
                    </a:lnTo>
                    <a:lnTo>
                      <a:pt x="28" y="39"/>
                    </a:lnTo>
                    <a:lnTo>
                      <a:pt x="38" y="50"/>
                    </a:lnTo>
                    <a:lnTo>
                      <a:pt x="58" y="30"/>
                    </a:lnTo>
                    <a:lnTo>
                      <a:pt x="64" y="36"/>
                    </a:lnTo>
                    <a:lnTo>
                      <a:pt x="36" y="6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228" name="íṩḻîde"/>
              <p:cNvSpPr/>
              <p:nvPr/>
            </p:nvSpPr>
            <p:spPr bwMode="auto">
              <a:xfrm>
                <a:off x="2985984" y="5801315"/>
                <a:ext cx="82550" cy="80963"/>
              </a:xfrm>
              <a:custGeom>
                <a:avLst/>
                <a:gdLst>
                  <a:gd name="T0" fmla="*/ 34 w 45"/>
                  <a:gd name="T1" fmla="*/ 19 h 44"/>
                  <a:gd name="T2" fmla="*/ 41 w 45"/>
                  <a:gd name="T3" fmla="*/ 14 h 44"/>
                  <a:gd name="T4" fmla="*/ 45 w 45"/>
                  <a:gd name="T5" fmla="*/ 26 h 44"/>
                  <a:gd name="T6" fmla="*/ 40 w 45"/>
                  <a:gd name="T7" fmla="*/ 37 h 44"/>
                  <a:gd name="T8" fmla="*/ 26 w 45"/>
                  <a:gd name="T9" fmla="*/ 44 h 44"/>
                  <a:gd name="T10" fmla="*/ 10 w 45"/>
                  <a:gd name="T11" fmla="*/ 38 h 44"/>
                  <a:gd name="T12" fmla="*/ 1 w 45"/>
                  <a:gd name="T13" fmla="*/ 22 h 44"/>
                  <a:gd name="T14" fmla="*/ 6 w 45"/>
                  <a:gd name="T15" fmla="*/ 7 h 44"/>
                  <a:gd name="T16" fmla="*/ 18 w 45"/>
                  <a:gd name="T17" fmla="*/ 0 h 44"/>
                  <a:gd name="T18" fmla="*/ 27 w 45"/>
                  <a:gd name="T19" fmla="*/ 2 h 44"/>
                  <a:gd name="T20" fmla="*/ 23 w 45"/>
                  <a:gd name="T21" fmla="*/ 10 h 44"/>
                  <a:gd name="T22" fmla="*/ 17 w 45"/>
                  <a:gd name="T23" fmla="*/ 9 h 44"/>
                  <a:gd name="T24" fmla="*/ 11 w 45"/>
                  <a:gd name="T25" fmla="*/ 12 h 44"/>
                  <a:gd name="T26" fmla="*/ 9 w 45"/>
                  <a:gd name="T27" fmla="*/ 21 h 44"/>
                  <a:gd name="T28" fmla="*/ 15 w 45"/>
                  <a:gd name="T29" fmla="*/ 30 h 44"/>
                  <a:gd name="T30" fmla="*/ 26 w 45"/>
                  <a:gd name="T31" fmla="*/ 36 h 44"/>
                  <a:gd name="T32" fmla="*/ 34 w 45"/>
                  <a:gd name="T33" fmla="*/ 32 h 44"/>
                  <a:gd name="T34" fmla="*/ 36 w 45"/>
                  <a:gd name="T35" fmla="*/ 26 h 44"/>
                  <a:gd name="T36" fmla="*/ 34 w 45"/>
                  <a:gd name="T37" fmla="*/ 19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45" h="44">
                    <a:moveTo>
                      <a:pt x="34" y="19"/>
                    </a:moveTo>
                    <a:cubicBezTo>
                      <a:pt x="41" y="14"/>
                      <a:pt x="41" y="14"/>
                      <a:pt x="41" y="14"/>
                    </a:cubicBezTo>
                    <a:cubicBezTo>
                      <a:pt x="44" y="18"/>
                      <a:pt x="45" y="22"/>
                      <a:pt x="45" y="26"/>
                    </a:cubicBezTo>
                    <a:cubicBezTo>
                      <a:pt x="45" y="30"/>
                      <a:pt x="43" y="34"/>
                      <a:pt x="40" y="37"/>
                    </a:cubicBezTo>
                    <a:cubicBezTo>
                      <a:pt x="36" y="42"/>
                      <a:pt x="31" y="44"/>
                      <a:pt x="26" y="44"/>
                    </a:cubicBezTo>
                    <a:cubicBezTo>
                      <a:pt x="21" y="44"/>
                      <a:pt x="15" y="42"/>
                      <a:pt x="10" y="38"/>
                    </a:cubicBezTo>
                    <a:cubicBezTo>
                      <a:pt x="4" y="33"/>
                      <a:pt x="1" y="28"/>
                      <a:pt x="1" y="22"/>
                    </a:cubicBezTo>
                    <a:cubicBezTo>
                      <a:pt x="0" y="17"/>
                      <a:pt x="2" y="12"/>
                      <a:pt x="6" y="7"/>
                    </a:cubicBezTo>
                    <a:cubicBezTo>
                      <a:pt x="10" y="3"/>
                      <a:pt x="14" y="1"/>
                      <a:pt x="18" y="0"/>
                    </a:cubicBezTo>
                    <a:cubicBezTo>
                      <a:pt x="21" y="0"/>
                      <a:pt x="24" y="1"/>
                      <a:pt x="27" y="2"/>
                    </a:cubicBezTo>
                    <a:cubicBezTo>
                      <a:pt x="23" y="10"/>
                      <a:pt x="23" y="10"/>
                      <a:pt x="23" y="10"/>
                    </a:cubicBezTo>
                    <a:cubicBezTo>
                      <a:pt x="21" y="9"/>
                      <a:pt x="19" y="9"/>
                      <a:pt x="17" y="9"/>
                    </a:cubicBezTo>
                    <a:cubicBezTo>
                      <a:pt x="15" y="9"/>
                      <a:pt x="13" y="11"/>
                      <a:pt x="11" y="12"/>
                    </a:cubicBezTo>
                    <a:cubicBezTo>
                      <a:pt x="9" y="15"/>
                      <a:pt x="8" y="18"/>
                      <a:pt x="9" y="21"/>
                    </a:cubicBezTo>
                    <a:cubicBezTo>
                      <a:pt x="9" y="24"/>
                      <a:pt x="12" y="27"/>
                      <a:pt x="15" y="30"/>
                    </a:cubicBezTo>
                    <a:cubicBezTo>
                      <a:pt x="20" y="34"/>
                      <a:pt x="23" y="36"/>
                      <a:pt x="26" y="36"/>
                    </a:cubicBezTo>
                    <a:cubicBezTo>
                      <a:pt x="29" y="36"/>
                      <a:pt x="32" y="35"/>
                      <a:pt x="34" y="32"/>
                    </a:cubicBezTo>
                    <a:cubicBezTo>
                      <a:pt x="36" y="31"/>
                      <a:pt x="36" y="29"/>
                      <a:pt x="36" y="26"/>
                    </a:cubicBezTo>
                    <a:cubicBezTo>
                      <a:pt x="36" y="24"/>
                      <a:pt x="35" y="22"/>
                      <a:pt x="34" y="1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229" name="îŝḷïḓê"/>
              <p:cNvSpPr/>
              <p:nvPr/>
            </p:nvSpPr>
            <p:spPr bwMode="auto">
              <a:xfrm>
                <a:off x="3022497" y="5733053"/>
                <a:ext cx="103188" cy="101600"/>
              </a:xfrm>
              <a:custGeom>
                <a:avLst/>
                <a:gdLst>
                  <a:gd name="T0" fmla="*/ 42 w 65"/>
                  <a:gd name="T1" fmla="*/ 64 h 64"/>
                  <a:gd name="T2" fmla="*/ 0 w 65"/>
                  <a:gd name="T3" fmla="*/ 34 h 64"/>
                  <a:gd name="T4" fmla="*/ 6 w 65"/>
                  <a:gd name="T5" fmla="*/ 26 h 64"/>
                  <a:gd name="T6" fmla="*/ 22 w 65"/>
                  <a:gd name="T7" fmla="*/ 37 h 64"/>
                  <a:gd name="T8" fmla="*/ 33 w 65"/>
                  <a:gd name="T9" fmla="*/ 21 h 64"/>
                  <a:gd name="T10" fmla="*/ 17 w 65"/>
                  <a:gd name="T11" fmla="*/ 9 h 64"/>
                  <a:gd name="T12" fmla="*/ 23 w 65"/>
                  <a:gd name="T13" fmla="*/ 0 h 64"/>
                  <a:gd name="T14" fmla="*/ 65 w 65"/>
                  <a:gd name="T15" fmla="*/ 30 h 64"/>
                  <a:gd name="T16" fmla="*/ 59 w 65"/>
                  <a:gd name="T17" fmla="*/ 38 h 64"/>
                  <a:gd name="T18" fmla="*/ 40 w 65"/>
                  <a:gd name="T19" fmla="*/ 26 h 64"/>
                  <a:gd name="T20" fmla="*/ 29 w 65"/>
                  <a:gd name="T21" fmla="*/ 42 h 64"/>
                  <a:gd name="T22" fmla="*/ 47 w 65"/>
                  <a:gd name="T23" fmla="*/ 55 h 64"/>
                  <a:gd name="T24" fmla="*/ 42 w 65"/>
                  <a:gd name="T25" fmla="*/ 64 h 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5" h="64">
                    <a:moveTo>
                      <a:pt x="42" y="64"/>
                    </a:moveTo>
                    <a:lnTo>
                      <a:pt x="0" y="34"/>
                    </a:lnTo>
                    <a:lnTo>
                      <a:pt x="6" y="26"/>
                    </a:lnTo>
                    <a:lnTo>
                      <a:pt x="22" y="37"/>
                    </a:lnTo>
                    <a:lnTo>
                      <a:pt x="33" y="21"/>
                    </a:lnTo>
                    <a:lnTo>
                      <a:pt x="17" y="9"/>
                    </a:lnTo>
                    <a:lnTo>
                      <a:pt x="23" y="0"/>
                    </a:lnTo>
                    <a:lnTo>
                      <a:pt x="65" y="30"/>
                    </a:lnTo>
                    <a:lnTo>
                      <a:pt x="59" y="38"/>
                    </a:lnTo>
                    <a:lnTo>
                      <a:pt x="40" y="26"/>
                    </a:lnTo>
                    <a:lnTo>
                      <a:pt x="29" y="42"/>
                    </a:lnTo>
                    <a:lnTo>
                      <a:pt x="47" y="55"/>
                    </a:lnTo>
                    <a:lnTo>
                      <a:pt x="42" y="6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230" name="îşḷîḑe"/>
              <p:cNvSpPr/>
              <p:nvPr/>
            </p:nvSpPr>
            <p:spPr bwMode="auto">
              <a:xfrm>
                <a:off x="3062184" y="5672728"/>
                <a:ext cx="103188" cy="95250"/>
              </a:xfrm>
              <a:custGeom>
                <a:avLst/>
                <a:gdLst>
                  <a:gd name="T0" fmla="*/ 44 w 65"/>
                  <a:gd name="T1" fmla="*/ 60 h 60"/>
                  <a:gd name="T2" fmla="*/ 0 w 65"/>
                  <a:gd name="T3" fmla="*/ 34 h 60"/>
                  <a:gd name="T4" fmla="*/ 5 w 65"/>
                  <a:gd name="T5" fmla="*/ 26 h 60"/>
                  <a:gd name="T6" fmla="*/ 46 w 65"/>
                  <a:gd name="T7" fmla="*/ 24 h 60"/>
                  <a:gd name="T8" fmla="*/ 15 w 65"/>
                  <a:gd name="T9" fmla="*/ 8 h 60"/>
                  <a:gd name="T10" fmla="*/ 20 w 65"/>
                  <a:gd name="T11" fmla="*/ 0 h 60"/>
                  <a:gd name="T12" fmla="*/ 65 w 65"/>
                  <a:gd name="T13" fmla="*/ 24 h 60"/>
                  <a:gd name="T14" fmla="*/ 59 w 65"/>
                  <a:gd name="T15" fmla="*/ 33 h 60"/>
                  <a:gd name="T16" fmla="*/ 20 w 65"/>
                  <a:gd name="T17" fmla="*/ 34 h 60"/>
                  <a:gd name="T18" fmla="*/ 49 w 65"/>
                  <a:gd name="T19" fmla="*/ 52 h 60"/>
                  <a:gd name="T20" fmla="*/ 44 w 65"/>
                  <a:gd name="T21" fmla="*/ 60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65" h="60">
                    <a:moveTo>
                      <a:pt x="44" y="60"/>
                    </a:moveTo>
                    <a:lnTo>
                      <a:pt x="0" y="34"/>
                    </a:lnTo>
                    <a:lnTo>
                      <a:pt x="5" y="26"/>
                    </a:lnTo>
                    <a:lnTo>
                      <a:pt x="46" y="24"/>
                    </a:lnTo>
                    <a:lnTo>
                      <a:pt x="15" y="8"/>
                    </a:lnTo>
                    <a:lnTo>
                      <a:pt x="20" y="0"/>
                    </a:lnTo>
                    <a:lnTo>
                      <a:pt x="65" y="24"/>
                    </a:lnTo>
                    <a:lnTo>
                      <a:pt x="59" y="33"/>
                    </a:lnTo>
                    <a:lnTo>
                      <a:pt x="20" y="34"/>
                    </a:lnTo>
                    <a:lnTo>
                      <a:pt x="49" y="52"/>
                    </a:lnTo>
                    <a:lnTo>
                      <a:pt x="44" y="6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231" name="îşḷïḋê"/>
              <p:cNvSpPr/>
              <p:nvPr/>
            </p:nvSpPr>
            <p:spPr bwMode="auto">
              <a:xfrm>
                <a:off x="3106634" y="5606053"/>
                <a:ext cx="87313" cy="84138"/>
              </a:xfrm>
              <a:custGeom>
                <a:avLst/>
                <a:gdLst>
                  <a:gd name="T0" fmla="*/ 15 w 47"/>
                  <a:gd name="T1" fmla="*/ 43 h 46"/>
                  <a:gd name="T2" fmla="*/ 5 w 47"/>
                  <a:gd name="T3" fmla="*/ 36 h 46"/>
                  <a:gd name="T4" fmla="*/ 2 w 47"/>
                  <a:gd name="T5" fmla="*/ 30 h 46"/>
                  <a:gd name="T6" fmla="*/ 0 w 47"/>
                  <a:gd name="T7" fmla="*/ 23 h 46"/>
                  <a:gd name="T8" fmla="*/ 2 w 47"/>
                  <a:gd name="T9" fmla="*/ 14 h 46"/>
                  <a:gd name="T10" fmla="*/ 14 w 47"/>
                  <a:gd name="T11" fmla="*/ 2 h 46"/>
                  <a:gd name="T12" fmla="*/ 32 w 47"/>
                  <a:gd name="T13" fmla="*/ 3 h 46"/>
                  <a:gd name="T14" fmla="*/ 45 w 47"/>
                  <a:gd name="T15" fmla="*/ 15 h 46"/>
                  <a:gd name="T16" fmla="*/ 44 w 47"/>
                  <a:gd name="T17" fmla="*/ 32 h 46"/>
                  <a:gd name="T18" fmla="*/ 32 w 47"/>
                  <a:gd name="T19" fmla="*/ 44 h 46"/>
                  <a:gd name="T20" fmla="*/ 15 w 47"/>
                  <a:gd name="T21" fmla="*/ 43 h 46"/>
                  <a:gd name="T22" fmla="*/ 18 w 47"/>
                  <a:gd name="T23" fmla="*/ 34 h 46"/>
                  <a:gd name="T24" fmla="*/ 30 w 47"/>
                  <a:gd name="T25" fmla="*/ 35 h 46"/>
                  <a:gd name="T26" fmla="*/ 37 w 47"/>
                  <a:gd name="T27" fmla="*/ 29 h 46"/>
                  <a:gd name="T28" fmla="*/ 37 w 47"/>
                  <a:gd name="T29" fmla="*/ 19 h 46"/>
                  <a:gd name="T30" fmla="*/ 28 w 47"/>
                  <a:gd name="T31" fmla="*/ 12 h 46"/>
                  <a:gd name="T32" fmla="*/ 16 w 47"/>
                  <a:gd name="T33" fmla="*/ 10 h 46"/>
                  <a:gd name="T34" fmla="*/ 9 w 47"/>
                  <a:gd name="T35" fmla="*/ 17 h 46"/>
                  <a:gd name="T36" fmla="*/ 9 w 47"/>
                  <a:gd name="T37" fmla="*/ 27 h 46"/>
                  <a:gd name="T38" fmla="*/ 18 w 47"/>
                  <a:gd name="T39" fmla="*/ 34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47" h="46">
                    <a:moveTo>
                      <a:pt x="15" y="43"/>
                    </a:moveTo>
                    <a:cubicBezTo>
                      <a:pt x="11" y="41"/>
                      <a:pt x="8" y="39"/>
                      <a:pt x="5" y="36"/>
                    </a:cubicBezTo>
                    <a:cubicBezTo>
                      <a:pt x="4" y="34"/>
                      <a:pt x="2" y="32"/>
                      <a:pt x="2" y="30"/>
                    </a:cubicBezTo>
                    <a:cubicBezTo>
                      <a:pt x="1" y="28"/>
                      <a:pt x="0" y="26"/>
                      <a:pt x="0" y="23"/>
                    </a:cubicBezTo>
                    <a:cubicBezTo>
                      <a:pt x="0" y="20"/>
                      <a:pt x="1" y="17"/>
                      <a:pt x="2" y="14"/>
                    </a:cubicBezTo>
                    <a:cubicBezTo>
                      <a:pt x="5" y="8"/>
                      <a:pt x="9" y="4"/>
                      <a:pt x="14" y="2"/>
                    </a:cubicBezTo>
                    <a:cubicBezTo>
                      <a:pt x="19" y="0"/>
                      <a:pt x="25" y="1"/>
                      <a:pt x="32" y="3"/>
                    </a:cubicBezTo>
                    <a:cubicBezTo>
                      <a:pt x="38" y="6"/>
                      <a:pt x="43" y="10"/>
                      <a:pt x="45" y="15"/>
                    </a:cubicBezTo>
                    <a:cubicBezTo>
                      <a:pt x="47" y="21"/>
                      <a:pt x="47" y="26"/>
                      <a:pt x="44" y="32"/>
                    </a:cubicBezTo>
                    <a:cubicBezTo>
                      <a:pt x="41" y="38"/>
                      <a:pt x="38" y="42"/>
                      <a:pt x="32" y="44"/>
                    </a:cubicBezTo>
                    <a:cubicBezTo>
                      <a:pt x="27" y="46"/>
                      <a:pt x="21" y="45"/>
                      <a:pt x="15" y="43"/>
                    </a:cubicBezTo>
                    <a:close/>
                    <a:moveTo>
                      <a:pt x="18" y="34"/>
                    </a:moveTo>
                    <a:cubicBezTo>
                      <a:pt x="23" y="36"/>
                      <a:pt x="27" y="37"/>
                      <a:pt x="30" y="35"/>
                    </a:cubicBezTo>
                    <a:cubicBezTo>
                      <a:pt x="33" y="34"/>
                      <a:pt x="36" y="32"/>
                      <a:pt x="37" y="29"/>
                    </a:cubicBezTo>
                    <a:cubicBezTo>
                      <a:pt x="39" y="26"/>
                      <a:pt x="39" y="23"/>
                      <a:pt x="37" y="19"/>
                    </a:cubicBezTo>
                    <a:cubicBezTo>
                      <a:pt x="36" y="16"/>
                      <a:pt x="33" y="14"/>
                      <a:pt x="28" y="12"/>
                    </a:cubicBezTo>
                    <a:cubicBezTo>
                      <a:pt x="23" y="10"/>
                      <a:pt x="19" y="9"/>
                      <a:pt x="16" y="10"/>
                    </a:cubicBezTo>
                    <a:cubicBezTo>
                      <a:pt x="13" y="11"/>
                      <a:pt x="11" y="14"/>
                      <a:pt x="9" y="17"/>
                    </a:cubicBezTo>
                    <a:cubicBezTo>
                      <a:pt x="8" y="20"/>
                      <a:pt x="8" y="23"/>
                      <a:pt x="9" y="27"/>
                    </a:cubicBezTo>
                    <a:cubicBezTo>
                      <a:pt x="11" y="30"/>
                      <a:pt x="14" y="32"/>
                      <a:pt x="18" y="3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232" name="îṣlïḍè"/>
              <p:cNvSpPr/>
              <p:nvPr/>
            </p:nvSpPr>
            <p:spPr bwMode="auto">
              <a:xfrm>
                <a:off x="3128859" y="5560015"/>
                <a:ext cx="93663" cy="57150"/>
              </a:xfrm>
              <a:custGeom>
                <a:avLst/>
                <a:gdLst>
                  <a:gd name="T0" fmla="*/ 49 w 59"/>
                  <a:gd name="T1" fmla="*/ 36 h 36"/>
                  <a:gd name="T2" fmla="*/ 0 w 59"/>
                  <a:gd name="T3" fmla="*/ 21 h 36"/>
                  <a:gd name="T4" fmla="*/ 4 w 59"/>
                  <a:gd name="T5" fmla="*/ 10 h 36"/>
                  <a:gd name="T6" fmla="*/ 43 w 59"/>
                  <a:gd name="T7" fmla="*/ 24 h 36"/>
                  <a:gd name="T8" fmla="*/ 51 w 59"/>
                  <a:gd name="T9" fmla="*/ 0 h 36"/>
                  <a:gd name="T10" fmla="*/ 59 w 59"/>
                  <a:gd name="T11" fmla="*/ 2 h 36"/>
                  <a:gd name="T12" fmla="*/ 49 w 59"/>
                  <a:gd name="T13" fmla="*/ 36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59" h="36">
                    <a:moveTo>
                      <a:pt x="49" y="36"/>
                    </a:moveTo>
                    <a:lnTo>
                      <a:pt x="0" y="21"/>
                    </a:lnTo>
                    <a:lnTo>
                      <a:pt x="4" y="10"/>
                    </a:lnTo>
                    <a:lnTo>
                      <a:pt x="43" y="24"/>
                    </a:lnTo>
                    <a:lnTo>
                      <a:pt x="51" y="0"/>
                    </a:lnTo>
                    <a:lnTo>
                      <a:pt x="59" y="2"/>
                    </a:lnTo>
                    <a:lnTo>
                      <a:pt x="49" y="36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233" name="ïṩḷîḓê"/>
              <p:cNvSpPr/>
              <p:nvPr/>
            </p:nvSpPr>
            <p:spPr bwMode="auto">
              <a:xfrm>
                <a:off x="3152672" y="5469528"/>
                <a:ext cx="85725" cy="80963"/>
              </a:xfrm>
              <a:custGeom>
                <a:avLst/>
                <a:gdLst>
                  <a:gd name="T0" fmla="*/ 18 w 46"/>
                  <a:gd name="T1" fmla="*/ 43 h 44"/>
                  <a:gd name="T2" fmla="*/ 8 w 46"/>
                  <a:gd name="T3" fmla="*/ 38 h 44"/>
                  <a:gd name="T4" fmla="*/ 3 w 46"/>
                  <a:gd name="T5" fmla="*/ 33 h 44"/>
                  <a:gd name="T6" fmla="*/ 0 w 46"/>
                  <a:gd name="T7" fmla="*/ 27 h 44"/>
                  <a:gd name="T8" fmla="*/ 1 w 46"/>
                  <a:gd name="T9" fmla="*/ 17 h 44"/>
                  <a:gd name="T10" fmla="*/ 10 w 46"/>
                  <a:gd name="T11" fmla="*/ 3 h 44"/>
                  <a:gd name="T12" fmla="*/ 28 w 46"/>
                  <a:gd name="T13" fmla="*/ 1 h 44"/>
                  <a:gd name="T14" fmla="*/ 43 w 46"/>
                  <a:gd name="T15" fmla="*/ 11 h 44"/>
                  <a:gd name="T16" fmla="*/ 45 w 46"/>
                  <a:gd name="T17" fmla="*/ 27 h 44"/>
                  <a:gd name="T18" fmla="*/ 36 w 46"/>
                  <a:gd name="T19" fmla="*/ 41 h 44"/>
                  <a:gd name="T20" fmla="*/ 18 w 46"/>
                  <a:gd name="T21" fmla="*/ 43 h 44"/>
                  <a:gd name="T22" fmla="*/ 20 w 46"/>
                  <a:gd name="T23" fmla="*/ 34 h 44"/>
                  <a:gd name="T24" fmla="*/ 32 w 46"/>
                  <a:gd name="T25" fmla="*/ 33 h 44"/>
                  <a:gd name="T26" fmla="*/ 38 w 46"/>
                  <a:gd name="T27" fmla="*/ 25 h 44"/>
                  <a:gd name="T28" fmla="*/ 36 w 46"/>
                  <a:gd name="T29" fmla="*/ 16 h 44"/>
                  <a:gd name="T30" fmla="*/ 25 w 46"/>
                  <a:gd name="T31" fmla="*/ 10 h 44"/>
                  <a:gd name="T32" fmla="*/ 14 w 46"/>
                  <a:gd name="T33" fmla="*/ 11 h 44"/>
                  <a:gd name="T34" fmla="*/ 8 w 46"/>
                  <a:gd name="T35" fmla="*/ 19 h 44"/>
                  <a:gd name="T36" fmla="*/ 10 w 46"/>
                  <a:gd name="T37" fmla="*/ 28 h 44"/>
                  <a:gd name="T38" fmla="*/ 20 w 46"/>
                  <a:gd name="T39" fmla="*/ 34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46" h="44">
                    <a:moveTo>
                      <a:pt x="18" y="43"/>
                    </a:moveTo>
                    <a:cubicBezTo>
                      <a:pt x="14" y="42"/>
                      <a:pt x="10" y="40"/>
                      <a:pt x="8" y="38"/>
                    </a:cubicBezTo>
                    <a:cubicBezTo>
                      <a:pt x="6" y="37"/>
                      <a:pt x="4" y="35"/>
                      <a:pt x="3" y="33"/>
                    </a:cubicBezTo>
                    <a:cubicBezTo>
                      <a:pt x="1" y="31"/>
                      <a:pt x="1" y="29"/>
                      <a:pt x="0" y="27"/>
                    </a:cubicBezTo>
                    <a:cubicBezTo>
                      <a:pt x="0" y="24"/>
                      <a:pt x="0" y="21"/>
                      <a:pt x="1" y="17"/>
                    </a:cubicBezTo>
                    <a:cubicBezTo>
                      <a:pt x="2" y="11"/>
                      <a:pt x="5" y="6"/>
                      <a:pt x="10" y="3"/>
                    </a:cubicBezTo>
                    <a:cubicBezTo>
                      <a:pt x="15" y="0"/>
                      <a:pt x="21" y="0"/>
                      <a:pt x="28" y="1"/>
                    </a:cubicBezTo>
                    <a:cubicBezTo>
                      <a:pt x="34" y="3"/>
                      <a:pt x="39" y="6"/>
                      <a:pt x="43" y="11"/>
                    </a:cubicBezTo>
                    <a:cubicBezTo>
                      <a:pt x="46" y="15"/>
                      <a:pt x="46" y="21"/>
                      <a:pt x="45" y="27"/>
                    </a:cubicBezTo>
                    <a:cubicBezTo>
                      <a:pt x="44" y="33"/>
                      <a:pt x="40" y="38"/>
                      <a:pt x="36" y="41"/>
                    </a:cubicBezTo>
                    <a:cubicBezTo>
                      <a:pt x="31" y="44"/>
                      <a:pt x="25" y="44"/>
                      <a:pt x="18" y="43"/>
                    </a:cubicBezTo>
                    <a:close/>
                    <a:moveTo>
                      <a:pt x="20" y="34"/>
                    </a:moveTo>
                    <a:cubicBezTo>
                      <a:pt x="25" y="35"/>
                      <a:pt x="29" y="35"/>
                      <a:pt x="32" y="33"/>
                    </a:cubicBezTo>
                    <a:cubicBezTo>
                      <a:pt x="35" y="31"/>
                      <a:pt x="37" y="29"/>
                      <a:pt x="38" y="25"/>
                    </a:cubicBezTo>
                    <a:cubicBezTo>
                      <a:pt x="38" y="22"/>
                      <a:pt x="38" y="19"/>
                      <a:pt x="36" y="16"/>
                    </a:cubicBezTo>
                    <a:cubicBezTo>
                      <a:pt x="34" y="13"/>
                      <a:pt x="30" y="11"/>
                      <a:pt x="25" y="10"/>
                    </a:cubicBezTo>
                    <a:cubicBezTo>
                      <a:pt x="20" y="9"/>
                      <a:pt x="16" y="9"/>
                      <a:pt x="14" y="11"/>
                    </a:cubicBezTo>
                    <a:cubicBezTo>
                      <a:pt x="11" y="13"/>
                      <a:pt x="9" y="15"/>
                      <a:pt x="8" y="19"/>
                    </a:cubicBezTo>
                    <a:cubicBezTo>
                      <a:pt x="7" y="22"/>
                      <a:pt x="8" y="25"/>
                      <a:pt x="10" y="28"/>
                    </a:cubicBezTo>
                    <a:cubicBezTo>
                      <a:pt x="12" y="31"/>
                      <a:pt x="15" y="33"/>
                      <a:pt x="20" y="3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234" name="ïSļiďé"/>
              <p:cNvSpPr/>
              <p:nvPr/>
            </p:nvSpPr>
            <p:spPr bwMode="auto">
              <a:xfrm>
                <a:off x="3165372" y="5390153"/>
                <a:ext cx="85725" cy="77788"/>
              </a:xfrm>
              <a:custGeom>
                <a:avLst/>
                <a:gdLst>
                  <a:gd name="T0" fmla="*/ 29 w 46"/>
                  <a:gd name="T1" fmla="*/ 21 h 42"/>
                  <a:gd name="T2" fmla="*/ 22 w 46"/>
                  <a:gd name="T3" fmla="*/ 20 h 42"/>
                  <a:gd name="T4" fmla="*/ 24 w 46"/>
                  <a:gd name="T5" fmla="*/ 1 h 42"/>
                  <a:gd name="T6" fmla="*/ 41 w 46"/>
                  <a:gd name="T7" fmla="*/ 3 h 42"/>
                  <a:gd name="T8" fmla="*/ 45 w 46"/>
                  <a:gd name="T9" fmla="*/ 11 h 42"/>
                  <a:gd name="T10" fmla="*/ 46 w 46"/>
                  <a:gd name="T11" fmla="*/ 22 h 42"/>
                  <a:gd name="T12" fmla="*/ 42 w 46"/>
                  <a:gd name="T13" fmla="*/ 34 h 42"/>
                  <a:gd name="T14" fmla="*/ 33 w 46"/>
                  <a:gd name="T15" fmla="*/ 41 h 42"/>
                  <a:gd name="T16" fmla="*/ 21 w 46"/>
                  <a:gd name="T17" fmla="*/ 42 h 42"/>
                  <a:gd name="T18" fmla="*/ 9 w 46"/>
                  <a:gd name="T19" fmla="*/ 38 h 42"/>
                  <a:gd name="T20" fmla="*/ 2 w 46"/>
                  <a:gd name="T21" fmla="*/ 28 h 42"/>
                  <a:gd name="T22" fmla="*/ 1 w 46"/>
                  <a:gd name="T23" fmla="*/ 18 h 42"/>
                  <a:gd name="T24" fmla="*/ 6 w 46"/>
                  <a:gd name="T25" fmla="*/ 5 h 42"/>
                  <a:gd name="T26" fmla="*/ 16 w 46"/>
                  <a:gd name="T27" fmla="*/ 0 h 42"/>
                  <a:gd name="T28" fmla="*/ 16 w 46"/>
                  <a:gd name="T29" fmla="*/ 9 h 42"/>
                  <a:gd name="T30" fmla="*/ 11 w 46"/>
                  <a:gd name="T31" fmla="*/ 12 h 42"/>
                  <a:gd name="T32" fmla="*/ 8 w 46"/>
                  <a:gd name="T33" fmla="*/ 18 h 42"/>
                  <a:gd name="T34" fmla="*/ 11 w 46"/>
                  <a:gd name="T35" fmla="*/ 28 h 42"/>
                  <a:gd name="T36" fmla="*/ 21 w 46"/>
                  <a:gd name="T37" fmla="*/ 33 h 42"/>
                  <a:gd name="T38" fmla="*/ 34 w 46"/>
                  <a:gd name="T39" fmla="*/ 31 h 42"/>
                  <a:gd name="T40" fmla="*/ 38 w 46"/>
                  <a:gd name="T41" fmla="*/ 22 h 42"/>
                  <a:gd name="T42" fmla="*/ 38 w 46"/>
                  <a:gd name="T43" fmla="*/ 16 h 42"/>
                  <a:gd name="T44" fmla="*/ 36 w 46"/>
                  <a:gd name="T45" fmla="*/ 11 h 42"/>
                  <a:gd name="T46" fmla="*/ 30 w 46"/>
                  <a:gd name="T47" fmla="*/ 11 h 42"/>
                  <a:gd name="T48" fmla="*/ 29 w 46"/>
                  <a:gd name="T49" fmla="*/ 21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46" h="42">
                    <a:moveTo>
                      <a:pt x="29" y="21"/>
                    </a:moveTo>
                    <a:cubicBezTo>
                      <a:pt x="22" y="20"/>
                      <a:pt x="22" y="20"/>
                      <a:pt x="22" y="20"/>
                    </a:cubicBezTo>
                    <a:cubicBezTo>
                      <a:pt x="24" y="1"/>
                      <a:pt x="24" y="1"/>
                      <a:pt x="24" y="1"/>
                    </a:cubicBezTo>
                    <a:cubicBezTo>
                      <a:pt x="41" y="3"/>
                      <a:pt x="41" y="3"/>
                      <a:pt x="41" y="3"/>
                    </a:cubicBezTo>
                    <a:cubicBezTo>
                      <a:pt x="43" y="5"/>
                      <a:pt x="44" y="8"/>
                      <a:pt x="45" y="11"/>
                    </a:cubicBezTo>
                    <a:cubicBezTo>
                      <a:pt x="46" y="15"/>
                      <a:pt x="46" y="19"/>
                      <a:pt x="46" y="22"/>
                    </a:cubicBezTo>
                    <a:cubicBezTo>
                      <a:pt x="46" y="27"/>
                      <a:pt x="44" y="31"/>
                      <a:pt x="42" y="34"/>
                    </a:cubicBezTo>
                    <a:cubicBezTo>
                      <a:pt x="39" y="37"/>
                      <a:pt x="36" y="39"/>
                      <a:pt x="33" y="41"/>
                    </a:cubicBezTo>
                    <a:cubicBezTo>
                      <a:pt x="29" y="42"/>
                      <a:pt x="25" y="42"/>
                      <a:pt x="21" y="42"/>
                    </a:cubicBezTo>
                    <a:cubicBezTo>
                      <a:pt x="16" y="41"/>
                      <a:pt x="12" y="40"/>
                      <a:pt x="9" y="38"/>
                    </a:cubicBezTo>
                    <a:cubicBezTo>
                      <a:pt x="6" y="35"/>
                      <a:pt x="3" y="32"/>
                      <a:pt x="2" y="28"/>
                    </a:cubicBezTo>
                    <a:cubicBezTo>
                      <a:pt x="1" y="25"/>
                      <a:pt x="0" y="22"/>
                      <a:pt x="1" y="18"/>
                    </a:cubicBezTo>
                    <a:cubicBezTo>
                      <a:pt x="1" y="12"/>
                      <a:pt x="3" y="8"/>
                      <a:pt x="6" y="5"/>
                    </a:cubicBezTo>
                    <a:cubicBezTo>
                      <a:pt x="8" y="2"/>
                      <a:pt x="12" y="1"/>
                      <a:pt x="16" y="0"/>
                    </a:cubicBezTo>
                    <a:cubicBezTo>
                      <a:pt x="16" y="9"/>
                      <a:pt x="16" y="9"/>
                      <a:pt x="16" y="9"/>
                    </a:cubicBezTo>
                    <a:cubicBezTo>
                      <a:pt x="14" y="10"/>
                      <a:pt x="12" y="11"/>
                      <a:pt x="11" y="12"/>
                    </a:cubicBezTo>
                    <a:cubicBezTo>
                      <a:pt x="10" y="14"/>
                      <a:pt x="9" y="16"/>
                      <a:pt x="8" y="18"/>
                    </a:cubicBezTo>
                    <a:cubicBezTo>
                      <a:pt x="8" y="22"/>
                      <a:pt x="9" y="25"/>
                      <a:pt x="11" y="28"/>
                    </a:cubicBezTo>
                    <a:cubicBezTo>
                      <a:pt x="13" y="31"/>
                      <a:pt x="17" y="32"/>
                      <a:pt x="21" y="33"/>
                    </a:cubicBezTo>
                    <a:cubicBezTo>
                      <a:pt x="27" y="33"/>
                      <a:pt x="31" y="33"/>
                      <a:pt x="34" y="31"/>
                    </a:cubicBezTo>
                    <a:cubicBezTo>
                      <a:pt x="36" y="29"/>
                      <a:pt x="38" y="26"/>
                      <a:pt x="38" y="22"/>
                    </a:cubicBezTo>
                    <a:cubicBezTo>
                      <a:pt x="39" y="20"/>
                      <a:pt x="39" y="18"/>
                      <a:pt x="38" y="16"/>
                    </a:cubicBezTo>
                    <a:cubicBezTo>
                      <a:pt x="37" y="14"/>
                      <a:pt x="37" y="13"/>
                      <a:pt x="36" y="11"/>
                    </a:cubicBezTo>
                    <a:cubicBezTo>
                      <a:pt x="30" y="11"/>
                      <a:pt x="30" y="11"/>
                      <a:pt x="30" y="11"/>
                    </a:cubicBezTo>
                    <a:lnTo>
                      <a:pt x="29" y="2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235" name="îSḷiḋè"/>
              <p:cNvSpPr/>
              <p:nvPr/>
            </p:nvSpPr>
            <p:spPr bwMode="auto">
              <a:xfrm>
                <a:off x="3173309" y="5313953"/>
                <a:ext cx="80963" cy="76200"/>
              </a:xfrm>
              <a:custGeom>
                <a:avLst/>
                <a:gdLst>
                  <a:gd name="T0" fmla="*/ 51 w 51"/>
                  <a:gd name="T1" fmla="*/ 30 h 48"/>
                  <a:gd name="T2" fmla="*/ 29 w 51"/>
                  <a:gd name="T3" fmla="*/ 29 h 48"/>
                  <a:gd name="T4" fmla="*/ 0 w 51"/>
                  <a:gd name="T5" fmla="*/ 48 h 48"/>
                  <a:gd name="T6" fmla="*/ 0 w 51"/>
                  <a:gd name="T7" fmla="*/ 36 h 48"/>
                  <a:gd name="T8" fmla="*/ 20 w 51"/>
                  <a:gd name="T9" fmla="*/ 24 h 48"/>
                  <a:gd name="T10" fmla="*/ 0 w 51"/>
                  <a:gd name="T11" fmla="*/ 12 h 48"/>
                  <a:gd name="T12" fmla="*/ 0 w 51"/>
                  <a:gd name="T13" fmla="*/ 0 h 48"/>
                  <a:gd name="T14" fmla="*/ 30 w 51"/>
                  <a:gd name="T15" fmla="*/ 20 h 48"/>
                  <a:gd name="T16" fmla="*/ 51 w 51"/>
                  <a:gd name="T17" fmla="*/ 20 h 48"/>
                  <a:gd name="T18" fmla="*/ 51 w 51"/>
                  <a:gd name="T19" fmla="*/ 30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51" h="48">
                    <a:moveTo>
                      <a:pt x="51" y="30"/>
                    </a:moveTo>
                    <a:lnTo>
                      <a:pt x="29" y="29"/>
                    </a:lnTo>
                    <a:lnTo>
                      <a:pt x="0" y="48"/>
                    </a:lnTo>
                    <a:lnTo>
                      <a:pt x="0" y="36"/>
                    </a:lnTo>
                    <a:lnTo>
                      <a:pt x="20" y="24"/>
                    </a:lnTo>
                    <a:lnTo>
                      <a:pt x="0" y="12"/>
                    </a:lnTo>
                    <a:lnTo>
                      <a:pt x="0" y="0"/>
                    </a:lnTo>
                    <a:lnTo>
                      <a:pt x="30" y="20"/>
                    </a:lnTo>
                    <a:lnTo>
                      <a:pt x="51" y="20"/>
                    </a:lnTo>
                    <a:lnTo>
                      <a:pt x="51" y="3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236" name="îṣḷíḋé"/>
              <p:cNvSpPr/>
              <p:nvPr/>
            </p:nvSpPr>
            <p:spPr bwMode="auto">
              <a:xfrm>
                <a:off x="3163784" y="5193303"/>
                <a:ext cx="87313" cy="76200"/>
              </a:xfrm>
              <a:custGeom>
                <a:avLst/>
                <a:gdLst>
                  <a:gd name="T0" fmla="*/ 4 w 47"/>
                  <a:gd name="T1" fmla="*/ 41 h 41"/>
                  <a:gd name="T2" fmla="*/ 1 w 47"/>
                  <a:gd name="T3" fmla="*/ 24 h 41"/>
                  <a:gd name="T4" fmla="*/ 0 w 47"/>
                  <a:gd name="T5" fmla="*/ 16 h 41"/>
                  <a:gd name="T6" fmla="*/ 2 w 47"/>
                  <a:gd name="T7" fmla="*/ 11 h 41"/>
                  <a:gd name="T8" fmla="*/ 5 w 47"/>
                  <a:gd name="T9" fmla="*/ 7 h 41"/>
                  <a:gd name="T10" fmla="*/ 10 w 47"/>
                  <a:gd name="T11" fmla="*/ 5 h 41"/>
                  <a:gd name="T12" fmla="*/ 16 w 47"/>
                  <a:gd name="T13" fmla="*/ 6 h 41"/>
                  <a:gd name="T14" fmla="*/ 20 w 47"/>
                  <a:gd name="T15" fmla="*/ 10 h 41"/>
                  <a:gd name="T16" fmla="*/ 23 w 47"/>
                  <a:gd name="T17" fmla="*/ 3 h 41"/>
                  <a:gd name="T18" fmla="*/ 29 w 47"/>
                  <a:gd name="T19" fmla="*/ 0 h 41"/>
                  <a:gd name="T20" fmla="*/ 35 w 47"/>
                  <a:gd name="T21" fmla="*/ 1 h 41"/>
                  <a:gd name="T22" fmla="*/ 40 w 47"/>
                  <a:gd name="T23" fmla="*/ 4 h 41"/>
                  <a:gd name="T24" fmla="*/ 43 w 47"/>
                  <a:gd name="T25" fmla="*/ 10 h 41"/>
                  <a:gd name="T26" fmla="*/ 45 w 47"/>
                  <a:gd name="T27" fmla="*/ 20 h 41"/>
                  <a:gd name="T28" fmla="*/ 47 w 47"/>
                  <a:gd name="T29" fmla="*/ 35 h 41"/>
                  <a:gd name="T30" fmla="*/ 4 w 47"/>
                  <a:gd name="T31" fmla="*/ 41 h 41"/>
                  <a:gd name="T32" fmla="*/ 10 w 47"/>
                  <a:gd name="T33" fmla="*/ 31 h 41"/>
                  <a:gd name="T34" fmla="*/ 20 w 47"/>
                  <a:gd name="T35" fmla="*/ 30 h 41"/>
                  <a:gd name="T36" fmla="*/ 19 w 47"/>
                  <a:gd name="T37" fmla="*/ 24 h 41"/>
                  <a:gd name="T38" fmla="*/ 18 w 47"/>
                  <a:gd name="T39" fmla="*/ 18 h 41"/>
                  <a:gd name="T40" fmla="*/ 16 w 47"/>
                  <a:gd name="T41" fmla="*/ 15 h 41"/>
                  <a:gd name="T42" fmla="*/ 12 w 47"/>
                  <a:gd name="T43" fmla="*/ 14 h 41"/>
                  <a:gd name="T44" fmla="*/ 9 w 47"/>
                  <a:gd name="T45" fmla="*/ 15 h 41"/>
                  <a:gd name="T46" fmla="*/ 8 w 47"/>
                  <a:gd name="T47" fmla="*/ 19 h 41"/>
                  <a:gd name="T48" fmla="*/ 9 w 47"/>
                  <a:gd name="T49" fmla="*/ 26 h 41"/>
                  <a:gd name="T50" fmla="*/ 10 w 47"/>
                  <a:gd name="T51" fmla="*/ 31 h 41"/>
                  <a:gd name="T52" fmla="*/ 27 w 47"/>
                  <a:gd name="T53" fmla="*/ 29 h 41"/>
                  <a:gd name="T54" fmla="*/ 39 w 47"/>
                  <a:gd name="T55" fmla="*/ 27 h 41"/>
                  <a:gd name="T56" fmla="*/ 37 w 47"/>
                  <a:gd name="T57" fmla="*/ 19 h 41"/>
                  <a:gd name="T58" fmla="*/ 36 w 47"/>
                  <a:gd name="T59" fmla="*/ 13 h 41"/>
                  <a:gd name="T60" fmla="*/ 34 w 47"/>
                  <a:gd name="T61" fmla="*/ 10 h 41"/>
                  <a:gd name="T62" fmla="*/ 30 w 47"/>
                  <a:gd name="T63" fmla="*/ 10 h 41"/>
                  <a:gd name="T64" fmla="*/ 27 w 47"/>
                  <a:gd name="T65" fmla="*/ 11 h 41"/>
                  <a:gd name="T66" fmla="*/ 25 w 47"/>
                  <a:gd name="T67" fmla="*/ 14 h 41"/>
                  <a:gd name="T68" fmla="*/ 26 w 47"/>
                  <a:gd name="T69" fmla="*/ 22 h 41"/>
                  <a:gd name="T70" fmla="*/ 27 w 47"/>
                  <a:gd name="T71" fmla="*/ 29 h 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47" h="41">
                    <a:moveTo>
                      <a:pt x="4" y="41"/>
                    </a:moveTo>
                    <a:cubicBezTo>
                      <a:pt x="1" y="24"/>
                      <a:pt x="1" y="24"/>
                      <a:pt x="1" y="24"/>
                    </a:cubicBezTo>
                    <a:cubicBezTo>
                      <a:pt x="1" y="20"/>
                      <a:pt x="0" y="18"/>
                      <a:pt x="0" y="16"/>
                    </a:cubicBezTo>
                    <a:cubicBezTo>
                      <a:pt x="1" y="14"/>
                      <a:pt x="1" y="13"/>
                      <a:pt x="2" y="11"/>
                    </a:cubicBezTo>
                    <a:cubicBezTo>
                      <a:pt x="2" y="10"/>
                      <a:pt x="3" y="9"/>
                      <a:pt x="5" y="7"/>
                    </a:cubicBezTo>
                    <a:cubicBezTo>
                      <a:pt x="6" y="6"/>
                      <a:pt x="8" y="6"/>
                      <a:pt x="10" y="5"/>
                    </a:cubicBezTo>
                    <a:cubicBezTo>
                      <a:pt x="12" y="5"/>
                      <a:pt x="14" y="5"/>
                      <a:pt x="16" y="6"/>
                    </a:cubicBezTo>
                    <a:cubicBezTo>
                      <a:pt x="17" y="7"/>
                      <a:pt x="19" y="8"/>
                      <a:pt x="20" y="10"/>
                    </a:cubicBezTo>
                    <a:cubicBezTo>
                      <a:pt x="20" y="7"/>
                      <a:pt x="21" y="5"/>
                      <a:pt x="23" y="3"/>
                    </a:cubicBezTo>
                    <a:cubicBezTo>
                      <a:pt x="25" y="2"/>
                      <a:pt x="27" y="1"/>
                      <a:pt x="29" y="0"/>
                    </a:cubicBezTo>
                    <a:cubicBezTo>
                      <a:pt x="31" y="0"/>
                      <a:pt x="33" y="0"/>
                      <a:pt x="35" y="1"/>
                    </a:cubicBezTo>
                    <a:cubicBezTo>
                      <a:pt x="37" y="2"/>
                      <a:pt x="39" y="3"/>
                      <a:pt x="40" y="4"/>
                    </a:cubicBezTo>
                    <a:cubicBezTo>
                      <a:pt x="42" y="5"/>
                      <a:pt x="43" y="7"/>
                      <a:pt x="43" y="10"/>
                    </a:cubicBezTo>
                    <a:cubicBezTo>
                      <a:pt x="44" y="11"/>
                      <a:pt x="44" y="15"/>
                      <a:pt x="45" y="20"/>
                    </a:cubicBezTo>
                    <a:cubicBezTo>
                      <a:pt x="47" y="35"/>
                      <a:pt x="47" y="35"/>
                      <a:pt x="47" y="35"/>
                    </a:cubicBezTo>
                    <a:lnTo>
                      <a:pt x="4" y="41"/>
                    </a:lnTo>
                    <a:close/>
                    <a:moveTo>
                      <a:pt x="10" y="31"/>
                    </a:moveTo>
                    <a:cubicBezTo>
                      <a:pt x="20" y="30"/>
                      <a:pt x="20" y="30"/>
                      <a:pt x="20" y="30"/>
                    </a:cubicBezTo>
                    <a:cubicBezTo>
                      <a:pt x="19" y="24"/>
                      <a:pt x="19" y="24"/>
                      <a:pt x="19" y="24"/>
                    </a:cubicBezTo>
                    <a:cubicBezTo>
                      <a:pt x="18" y="21"/>
                      <a:pt x="18" y="19"/>
                      <a:pt x="18" y="18"/>
                    </a:cubicBezTo>
                    <a:cubicBezTo>
                      <a:pt x="17" y="16"/>
                      <a:pt x="17" y="15"/>
                      <a:pt x="16" y="15"/>
                    </a:cubicBezTo>
                    <a:cubicBezTo>
                      <a:pt x="15" y="14"/>
                      <a:pt x="14" y="14"/>
                      <a:pt x="12" y="14"/>
                    </a:cubicBezTo>
                    <a:cubicBezTo>
                      <a:pt x="11" y="14"/>
                      <a:pt x="10" y="14"/>
                      <a:pt x="9" y="15"/>
                    </a:cubicBezTo>
                    <a:cubicBezTo>
                      <a:pt x="8" y="16"/>
                      <a:pt x="8" y="17"/>
                      <a:pt x="8" y="19"/>
                    </a:cubicBezTo>
                    <a:cubicBezTo>
                      <a:pt x="8" y="20"/>
                      <a:pt x="8" y="22"/>
                      <a:pt x="9" y="26"/>
                    </a:cubicBezTo>
                    <a:lnTo>
                      <a:pt x="10" y="31"/>
                    </a:lnTo>
                    <a:close/>
                    <a:moveTo>
                      <a:pt x="27" y="29"/>
                    </a:moveTo>
                    <a:cubicBezTo>
                      <a:pt x="39" y="27"/>
                      <a:pt x="39" y="27"/>
                      <a:pt x="39" y="27"/>
                    </a:cubicBezTo>
                    <a:cubicBezTo>
                      <a:pt x="37" y="19"/>
                      <a:pt x="37" y="19"/>
                      <a:pt x="37" y="19"/>
                    </a:cubicBezTo>
                    <a:cubicBezTo>
                      <a:pt x="37" y="16"/>
                      <a:pt x="37" y="14"/>
                      <a:pt x="36" y="13"/>
                    </a:cubicBezTo>
                    <a:cubicBezTo>
                      <a:pt x="36" y="12"/>
                      <a:pt x="35" y="11"/>
                      <a:pt x="34" y="10"/>
                    </a:cubicBezTo>
                    <a:cubicBezTo>
                      <a:pt x="33" y="10"/>
                      <a:pt x="32" y="9"/>
                      <a:pt x="30" y="10"/>
                    </a:cubicBezTo>
                    <a:cubicBezTo>
                      <a:pt x="29" y="10"/>
                      <a:pt x="28" y="10"/>
                      <a:pt x="27" y="11"/>
                    </a:cubicBezTo>
                    <a:cubicBezTo>
                      <a:pt x="26" y="12"/>
                      <a:pt x="26" y="13"/>
                      <a:pt x="25" y="14"/>
                    </a:cubicBezTo>
                    <a:cubicBezTo>
                      <a:pt x="25" y="15"/>
                      <a:pt x="25" y="18"/>
                      <a:pt x="26" y="22"/>
                    </a:cubicBezTo>
                    <a:lnTo>
                      <a:pt x="27" y="2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237" name="îṩliďè"/>
              <p:cNvSpPr/>
              <p:nvPr/>
            </p:nvSpPr>
            <p:spPr bwMode="auto">
              <a:xfrm>
                <a:off x="3146322" y="5120278"/>
                <a:ext cx="93663" cy="79375"/>
              </a:xfrm>
              <a:custGeom>
                <a:avLst/>
                <a:gdLst>
                  <a:gd name="T0" fmla="*/ 59 w 59"/>
                  <a:gd name="T1" fmla="*/ 37 h 50"/>
                  <a:gd name="T2" fmla="*/ 9 w 59"/>
                  <a:gd name="T3" fmla="*/ 50 h 50"/>
                  <a:gd name="T4" fmla="*/ 0 w 59"/>
                  <a:gd name="T5" fmla="*/ 13 h 50"/>
                  <a:gd name="T6" fmla="*/ 8 w 59"/>
                  <a:gd name="T7" fmla="*/ 10 h 50"/>
                  <a:gd name="T8" fmla="*/ 15 w 59"/>
                  <a:gd name="T9" fmla="*/ 37 h 50"/>
                  <a:gd name="T10" fmla="*/ 25 w 59"/>
                  <a:gd name="T11" fmla="*/ 35 h 50"/>
                  <a:gd name="T12" fmla="*/ 19 w 59"/>
                  <a:gd name="T13" fmla="*/ 9 h 50"/>
                  <a:gd name="T14" fmla="*/ 27 w 59"/>
                  <a:gd name="T15" fmla="*/ 8 h 50"/>
                  <a:gd name="T16" fmla="*/ 34 w 59"/>
                  <a:gd name="T17" fmla="*/ 32 h 50"/>
                  <a:gd name="T18" fmla="*/ 47 w 59"/>
                  <a:gd name="T19" fmla="*/ 29 h 50"/>
                  <a:gd name="T20" fmla="*/ 40 w 59"/>
                  <a:gd name="T21" fmla="*/ 1 h 50"/>
                  <a:gd name="T22" fmla="*/ 49 w 59"/>
                  <a:gd name="T23" fmla="*/ 0 h 50"/>
                  <a:gd name="T24" fmla="*/ 59 w 59"/>
                  <a:gd name="T25" fmla="*/ 37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59" h="50">
                    <a:moveTo>
                      <a:pt x="59" y="37"/>
                    </a:moveTo>
                    <a:lnTo>
                      <a:pt x="9" y="50"/>
                    </a:lnTo>
                    <a:lnTo>
                      <a:pt x="0" y="13"/>
                    </a:lnTo>
                    <a:lnTo>
                      <a:pt x="8" y="10"/>
                    </a:lnTo>
                    <a:lnTo>
                      <a:pt x="15" y="37"/>
                    </a:lnTo>
                    <a:lnTo>
                      <a:pt x="25" y="35"/>
                    </a:lnTo>
                    <a:lnTo>
                      <a:pt x="19" y="9"/>
                    </a:lnTo>
                    <a:lnTo>
                      <a:pt x="27" y="8"/>
                    </a:lnTo>
                    <a:lnTo>
                      <a:pt x="34" y="32"/>
                    </a:lnTo>
                    <a:lnTo>
                      <a:pt x="47" y="29"/>
                    </a:lnTo>
                    <a:lnTo>
                      <a:pt x="40" y="1"/>
                    </a:lnTo>
                    <a:lnTo>
                      <a:pt x="49" y="0"/>
                    </a:lnTo>
                    <a:lnTo>
                      <a:pt x="59" y="3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238" name="iṧlíḋè"/>
              <p:cNvSpPr/>
              <p:nvPr/>
            </p:nvSpPr>
            <p:spPr bwMode="auto">
              <a:xfrm>
                <a:off x="3138384" y="5096465"/>
                <a:ext cx="82550" cy="38100"/>
              </a:xfrm>
              <a:custGeom>
                <a:avLst/>
                <a:gdLst>
                  <a:gd name="T0" fmla="*/ 52 w 52"/>
                  <a:gd name="T1" fmla="*/ 9 h 24"/>
                  <a:gd name="T2" fmla="*/ 3 w 52"/>
                  <a:gd name="T3" fmla="*/ 24 h 24"/>
                  <a:gd name="T4" fmla="*/ 0 w 52"/>
                  <a:gd name="T5" fmla="*/ 15 h 24"/>
                  <a:gd name="T6" fmla="*/ 49 w 52"/>
                  <a:gd name="T7" fmla="*/ 0 h 24"/>
                  <a:gd name="T8" fmla="*/ 52 w 52"/>
                  <a:gd name="T9" fmla="*/ 9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2" h="24">
                    <a:moveTo>
                      <a:pt x="52" y="9"/>
                    </a:moveTo>
                    <a:lnTo>
                      <a:pt x="3" y="24"/>
                    </a:lnTo>
                    <a:lnTo>
                      <a:pt x="0" y="15"/>
                    </a:lnTo>
                    <a:lnTo>
                      <a:pt x="49" y="0"/>
                    </a:lnTo>
                    <a:lnTo>
                      <a:pt x="52" y="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239" name="islïḓè"/>
              <p:cNvSpPr/>
              <p:nvPr/>
            </p:nvSpPr>
            <p:spPr bwMode="auto">
              <a:xfrm>
                <a:off x="3120922" y="5047253"/>
                <a:ext cx="88900" cy="52388"/>
              </a:xfrm>
              <a:custGeom>
                <a:avLst/>
                <a:gdLst>
                  <a:gd name="T0" fmla="*/ 3 w 48"/>
                  <a:gd name="T1" fmla="*/ 20 h 28"/>
                  <a:gd name="T2" fmla="*/ 0 w 48"/>
                  <a:gd name="T3" fmla="*/ 12 h 28"/>
                  <a:gd name="T4" fmla="*/ 26 w 48"/>
                  <a:gd name="T5" fmla="*/ 2 h 28"/>
                  <a:gd name="T6" fmla="*/ 34 w 48"/>
                  <a:gd name="T7" fmla="*/ 0 h 28"/>
                  <a:gd name="T8" fmla="*/ 42 w 48"/>
                  <a:gd name="T9" fmla="*/ 3 h 28"/>
                  <a:gd name="T10" fmla="*/ 47 w 48"/>
                  <a:gd name="T11" fmla="*/ 10 h 28"/>
                  <a:gd name="T12" fmla="*/ 47 w 48"/>
                  <a:gd name="T13" fmla="*/ 21 h 28"/>
                  <a:gd name="T14" fmla="*/ 38 w 48"/>
                  <a:gd name="T15" fmla="*/ 28 h 28"/>
                  <a:gd name="T16" fmla="*/ 34 w 48"/>
                  <a:gd name="T17" fmla="*/ 20 h 28"/>
                  <a:gd name="T18" fmla="*/ 39 w 48"/>
                  <a:gd name="T19" fmla="*/ 17 h 28"/>
                  <a:gd name="T20" fmla="*/ 40 w 48"/>
                  <a:gd name="T21" fmla="*/ 13 h 28"/>
                  <a:gd name="T22" fmla="*/ 37 w 48"/>
                  <a:gd name="T23" fmla="*/ 9 h 28"/>
                  <a:gd name="T24" fmla="*/ 30 w 48"/>
                  <a:gd name="T25" fmla="*/ 10 h 28"/>
                  <a:gd name="T26" fmla="*/ 3 w 48"/>
                  <a:gd name="T27" fmla="*/ 20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48" h="28">
                    <a:moveTo>
                      <a:pt x="3" y="20"/>
                    </a:moveTo>
                    <a:cubicBezTo>
                      <a:pt x="0" y="12"/>
                      <a:pt x="0" y="12"/>
                      <a:pt x="0" y="12"/>
                    </a:cubicBezTo>
                    <a:cubicBezTo>
                      <a:pt x="26" y="2"/>
                      <a:pt x="26" y="2"/>
                      <a:pt x="26" y="2"/>
                    </a:cubicBezTo>
                    <a:cubicBezTo>
                      <a:pt x="29" y="1"/>
                      <a:pt x="32" y="0"/>
                      <a:pt x="34" y="0"/>
                    </a:cubicBezTo>
                    <a:cubicBezTo>
                      <a:pt x="37" y="0"/>
                      <a:pt x="39" y="1"/>
                      <a:pt x="42" y="3"/>
                    </a:cubicBezTo>
                    <a:cubicBezTo>
                      <a:pt x="44" y="4"/>
                      <a:pt x="46" y="7"/>
                      <a:pt x="47" y="10"/>
                    </a:cubicBezTo>
                    <a:cubicBezTo>
                      <a:pt x="48" y="14"/>
                      <a:pt x="48" y="18"/>
                      <a:pt x="47" y="21"/>
                    </a:cubicBezTo>
                    <a:cubicBezTo>
                      <a:pt x="45" y="24"/>
                      <a:pt x="42" y="26"/>
                      <a:pt x="38" y="28"/>
                    </a:cubicBezTo>
                    <a:cubicBezTo>
                      <a:pt x="34" y="20"/>
                      <a:pt x="34" y="20"/>
                      <a:pt x="34" y="20"/>
                    </a:cubicBezTo>
                    <a:cubicBezTo>
                      <a:pt x="37" y="19"/>
                      <a:pt x="38" y="18"/>
                      <a:pt x="39" y="17"/>
                    </a:cubicBezTo>
                    <a:cubicBezTo>
                      <a:pt x="40" y="16"/>
                      <a:pt x="40" y="14"/>
                      <a:pt x="40" y="13"/>
                    </a:cubicBezTo>
                    <a:cubicBezTo>
                      <a:pt x="39" y="11"/>
                      <a:pt x="38" y="10"/>
                      <a:pt x="37" y="9"/>
                    </a:cubicBezTo>
                    <a:cubicBezTo>
                      <a:pt x="35" y="9"/>
                      <a:pt x="33" y="9"/>
                      <a:pt x="30" y="10"/>
                    </a:cubicBezTo>
                    <a:lnTo>
                      <a:pt x="3" y="2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240" name="íṥ1iḍe"/>
              <p:cNvSpPr/>
              <p:nvPr/>
            </p:nvSpPr>
            <p:spPr bwMode="auto">
              <a:xfrm>
                <a:off x="3112984" y="5017090"/>
                <a:ext cx="80963" cy="46038"/>
              </a:xfrm>
              <a:custGeom>
                <a:avLst/>
                <a:gdLst>
                  <a:gd name="T0" fmla="*/ 51 w 51"/>
                  <a:gd name="T1" fmla="*/ 9 h 29"/>
                  <a:gd name="T2" fmla="*/ 3 w 51"/>
                  <a:gd name="T3" fmla="*/ 29 h 29"/>
                  <a:gd name="T4" fmla="*/ 0 w 51"/>
                  <a:gd name="T5" fmla="*/ 19 h 29"/>
                  <a:gd name="T6" fmla="*/ 46 w 51"/>
                  <a:gd name="T7" fmla="*/ 0 h 29"/>
                  <a:gd name="T8" fmla="*/ 51 w 51"/>
                  <a:gd name="T9" fmla="*/ 9 h 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1" h="29">
                    <a:moveTo>
                      <a:pt x="51" y="9"/>
                    </a:moveTo>
                    <a:lnTo>
                      <a:pt x="3" y="29"/>
                    </a:lnTo>
                    <a:lnTo>
                      <a:pt x="0" y="19"/>
                    </a:lnTo>
                    <a:lnTo>
                      <a:pt x="46" y="0"/>
                    </a:lnTo>
                    <a:lnTo>
                      <a:pt x="51" y="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241" name="iṥľîḋé"/>
              <p:cNvSpPr/>
              <p:nvPr/>
            </p:nvSpPr>
            <p:spPr bwMode="auto">
              <a:xfrm>
                <a:off x="3081234" y="4948828"/>
                <a:ext cx="101600" cy="93663"/>
              </a:xfrm>
              <a:custGeom>
                <a:avLst/>
                <a:gdLst>
                  <a:gd name="T0" fmla="*/ 64 w 64"/>
                  <a:gd name="T1" fmla="*/ 36 h 59"/>
                  <a:gd name="T2" fmla="*/ 18 w 64"/>
                  <a:gd name="T3" fmla="*/ 59 h 59"/>
                  <a:gd name="T4" fmla="*/ 14 w 64"/>
                  <a:gd name="T5" fmla="*/ 50 h 59"/>
                  <a:gd name="T6" fmla="*/ 35 w 64"/>
                  <a:gd name="T7" fmla="*/ 16 h 59"/>
                  <a:gd name="T8" fmla="*/ 3 w 64"/>
                  <a:gd name="T9" fmla="*/ 31 h 59"/>
                  <a:gd name="T10" fmla="*/ 0 w 64"/>
                  <a:gd name="T11" fmla="*/ 22 h 59"/>
                  <a:gd name="T12" fmla="*/ 45 w 64"/>
                  <a:gd name="T13" fmla="*/ 0 h 59"/>
                  <a:gd name="T14" fmla="*/ 50 w 64"/>
                  <a:gd name="T15" fmla="*/ 8 h 59"/>
                  <a:gd name="T16" fmla="*/ 29 w 64"/>
                  <a:gd name="T17" fmla="*/ 42 h 59"/>
                  <a:gd name="T18" fmla="*/ 59 w 64"/>
                  <a:gd name="T19" fmla="*/ 26 h 59"/>
                  <a:gd name="T20" fmla="*/ 64 w 64"/>
                  <a:gd name="T21" fmla="*/ 36 h 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64" h="59">
                    <a:moveTo>
                      <a:pt x="64" y="36"/>
                    </a:moveTo>
                    <a:lnTo>
                      <a:pt x="18" y="59"/>
                    </a:lnTo>
                    <a:lnTo>
                      <a:pt x="14" y="50"/>
                    </a:lnTo>
                    <a:lnTo>
                      <a:pt x="35" y="16"/>
                    </a:lnTo>
                    <a:lnTo>
                      <a:pt x="3" y="31"/>
                    </a:lnTo>
                    <a:lnTo>
                      <a:pt x="0" y="22"/>
                    </a:lnTo>
                    <a:lnTo>
                      <a:pt x="45" y="0"/>
                    </a:lnTo>
                    <a:lnTo>
                      <a:pt x="50" y="8"/>
                    </a:lnTo>
                    <a:lnTo>
                      <a:pt x="29" y="42"/>
                    </a:lnTo>
                    <a:lnTo>
                      <a:pt x="59" y="26"/>
                    </a:lnTo>
                    <a:lnTo>
                      <a:pt x="64" y="36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242" name="îślidè"/>
              <p:cNvSpPr/>
              <p:nvPr/>
            </p:nvSpPr>
            <p:spPr bwMode="auto">
              <a:xfrm>
                <a:off x="3047897" y="4877390"/>
                <a:ext cx="84138" cy="88900"/>
              </a:xfrm>
              <a:custGeom>
                <a:avLst/>
                <a:gdLst>
                  <a:gd name="T0" fmla="*/ 28 w 46"/>
                  <a:gd name="T1" fmla="*/ 21 h 48"/>
                  <a:gd name="T2" fmla="*/ 22 w 46"/>
                  <a:gd name="T3" fmla="*/ 25 h 48"/>
                  <a:gd name="T4" fmla="*/ 11 w 46"/>
                  <a:gd name="T5" fmla="*/ 9 h 48"/>
                  <a:gd name="T6" fmla="*/ 26 w 46"/>
                  <a:gd name="T7" fmla="*/ 0 h 48"/>
                  <a:gd name="T8" fmla="*/ 35 w 46"/>
                  <a:gd name="T9" fmla="*/ 4 h 48"/>
                  <a:gd name="T10" fmla="*/ 42 w 46"/>
                  <a:gd name="T11" fmla="*/ 12 h 48"/>
                  <a:gd name="T12" fmla="*/ 46 w 46"/>
                  <a:gd name="T13" fmla="*/ 24 h 48"/>
                  <a:gd name="T14" fmla="*/ 43 w 46"/>
                  <a:gd name="T15" fmla="*/ 35 h 48"/>
                  <a:gd name="T16" fmla="*/ 35 w 46"/>
                  <a:gd name="T17" fmla="*/ 43 h 48"/>
                  <a:gd name="T18" fmla="*/ 23 w 46"/>
                  <a:gd name="T19" fmla="*/ 47 h 48"/>
                  <a:gd name="T20" fmla="*/ 12 w 46"/>
                  <a:gd name="T21" fmla="*/ 45 h 48"/>
                  <a:gd name="T22" fmla="*/ 4 w 46"/>
                  <a:gd name="T23" fmla="*/ 37 h 48"/>
                  <a:gd name="T24" fmla="*/ 0 w 46"/>
                  <a:gd name="T25" fmla="*/ 24 h 48"/>
                  <a:gd name="T26" fmla="*/ 5 w 46"/>
                  <a:gd name="T27" fmla="*/ 14 h 48"/>
                  <a:gd name="T28" fmla="*/ 11 w 46"/>
                  <a:gd name="T29" fmla="*/ 21 h 48"/>
                  <a:gd name="T30" fmla="*/ 9 w 46"/>
                  <a:gd name="T31" fmla="*/ 27 h 48"/>
                  <a:gd name="T32" fmla="*/ 11 w 46"/>
                  <a:gd name="T33" fmla="*/ 33 h 48"/>
                  <a:gd name="T34" fmla="*/ 19 w 46"/>
                  <a:gd name="T35" fmla="*/ 39 h 48"/>
                  <a:gd name="T36" fmla="*/ 30 w 46"/>
                  <a:gd name="T37" fmla="*/ 36 h 48"/>
                  <a:gd name="T38" fmla="*/ 38 w 46"/>
                  <a:gd name="T39" fmla="*/ 26 h 48"/>
                  <a:gd name="T40" fmla="*/ 36 w 46"/>
                  <a:gd name="T41" fmla="*/ 17 h 48"/>
                  <a:gd name="T42" fmla="*/ 32 w 46"/>
                  <a:gd name="T43" fmla="*/ 13 h 48"/>
                  <a:gd name="T44" fmla="*/ 27 w 46"/>
                  <a:gd name="T45" fmla="*/ 10 h 48"/>
                  <a:gd name="T46" fmla="*/ 23 w 46"/>
                  <a:gd name="T47" fmla="*/ 13 h 48"/>
                  <a:gd name="T48" fmla="*/ 28 w 46"/>
                  <a:gd name="T49" fmla="*/ 21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46" h="48">
                    <a:moveTo>
                      <a:pt x="28" y="21"/>
                    </a:moveTo>
                    <a:cubicBezTo>
                      <a:pt x="22" y="25"/>
                      <a:pt x="22" y="25"/>
                      <a:pt x="22" y="25"/>
                    </a:cubicBezTo>
                    <a:cubicBezTo>
                      <a:pt x="11" y="9"/>
                      <a:pt x="11" y="9"/>
                      <a:pt x="11" y="9"/>
                    </a:cubicBezTo>
                    <a:cubicBezTo>
                      <a:pt x="26" y="0"/>
                      <a:pt x="26" y="0"/>
                      <a:pt x="26" y="0"/>
                    </a:cubicBezTo>
                    <a:cubicBezTo>
                      <a:pt x="29" y="1"/>
                      <a:pt x="31" y="2"/>
                      <a:pt x="35" y="4"/>
                    </a:cubicBezTo>
                    <a:cubicBezTo>
                      <a:pt x="38" y="6"/>
                      <a:pt x="40" y="9"/>
                      <a:pt x="42" y="12"/>
                    </a:cubicBezTo>
                    <a:cubicBezTo>
                      <a:pt x="45" y="16"/>
                      <a:pt x="46" y="20"/>
                      <a:pt x="46" y="24"/>
                    </a:cubicBezTo>
                    <a:cubicBezTo>
                      <a:pt x="46" y="28"/>
                      <a:pt x="45" y="31"/>
                      <a:pt x="43" y="35"/>
                    </a:cubicBezTo>
                    <a:cubicBezTo>
                      <a:pt x="41" y="38"/>
                      <a:pt x="38" y="41"/>
                      <a:pt x="35" y="43"/>
                    </a:cubicBezTo>
                    <a:cubicBezTo>
                      <a:pt x="31" y="46"/>
                      <a:pt x="27" y="47"/>
                      <a:pt x="23" y="47"/>
                    </a:cubicBezTo>
                    <a:cubicBezTo>
                      <a:pt x="19" y="48"/>
                      <a:pt x="15" y="47"/>
                      <a:pt x="12" y="45"/>
                    </a:cubicBezTo>
                    <a:cubicBezTo>
                      <a:pt x="9" y="43"/>
                      <a:pt x="6" y="41"/>
                      <a:pt x="4" y="37"/>
                    </a:cubicBezTo>
                    <a:cubicBezTo>
                      <a:pt x="1" y="32"/>
                      <a:pt x="0" y="28"/>
                      <a:pt x="0" y="24"/>
                    </a:cubicBezTo>
                    <a:cubicBezTo>
                      <a:pt x="0" y="21"/>
                      <a:pt x="2" y="17"/>
                      <a:pt x="5" y="14"/>
                    </a:cubicBezTo>
                    <a:cubicBezTo>
                      <a:pt x="11" y="21"/>
                      <a:pt x="11" y="21"/>
                      <a:pt x="11" y="21"/>
                    </a:cubicBezTo>
                    <a:cubicBezTo>
                      <a:pt x="10" y="23"/>
                      <a:pt x="9" y="24"/>
                      <a:pt x="9" y="27"/>
                    </a:cubicBezTo>
                    <a:cubicBezTo>
                      <a:pt x="8" y="29"/>
                      <a:pt x="9" y="31"/>
                      <a:pt x="11" y="33"/>
                    </a:cubicBezTo>
                    <a:cubicBezTo>
                      <a:pt x="13" y="36"/>
                      <a:pt x="15" y="38"/>
                      <a:pt x="19" y="39"/>
                    </a:cubicBezTo>
                    <a:cubicBezTo>
                      <a:pt x="22" y="39"/>
                      <a:pt x="26" y="38"/>
                      <a:pt x="30" y="36"/>
                    </a:cubicBezTo>
                    <a:cubicBezTo>
                      <a:pt x="34" y="33"/>
                      <a:pt x="37" y="30"/>
                      <a:pt x="38" y="26"/>
                    </a:cubicBezTo>
                    <a:cubicBezTo>
                      <a:pt x="39" y="23"/>
                      <a:pt x="38" y="20"/>
                      <a:pt x="36" y="17"/>
                    </a:cubicBezTo>
                    <a:cubicBezTo>
                      <a:pt x="35" y="15"/>
                      <a:pt x="34" y="14"/>
                      <a:pt x="32" y="13"/>
                    </a:cubicBezTo>
                    <a:cubicBezTo>
                      <a:pt x="30" y="11"/>
                      <a:pt x="29" y="10"/>
                      <a:pt x="27" y="10"/>
                    </a:cubicBezTo>
                    <a:cubicBezTo>
                      <a:pt x="23" y="13"/>
                      <a:pt x="23" y="13"/>
                      <a:pt x="23" y="13"/>
                    </a:cubicBezTo>
                    <a:lnTo>
                      <a:pt x="28" y="2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243" name="îŝ1ide"/>
              <p:cNvSpPr/>
              <p:nvPr/>
            </p:nvSpPr>
            <p:spPr bwMode="auto">
              <a:xfrm>
                <a:off x="1981097" y="4907553"/>
                <a:ext cx="931863" cy="969963"/>
              </a:xfrm>
              <a:custGeom>
                <a:avLst/>
                <a:gdLst>
                  <a:gd name="T0" fmla="*/ 488 w 506"/>
                  <a:gd name="T1" fmla="*/ 144 h 525"/>
                  <a:gd name="T2" fmla="*/ 449 w 506"/>
                  <a:gd name="T3" fmla="*/ 161 h 525"/>
                  <a:gd name="T4" fmla="*/ 473 w 506"/>
                  <a:gd name="T5" fmla="*/ 361 h 525"/>
                  <a:gd name="T6" fmla="*/ 434 w 506"/>
                  <a:gd name="T7" fmla="*/ 382 h 525"/>
                  <a:gd name="T8" fmla="*/ 463 w 506"/>
                  <a:gd name="T9" fmla="*/ 392 h 525"/>
                  <a:gd name="T10" fmla="*/ 434 w 506"/>
                  <a:gd name="T11" fmla="*/ 455 h 525"/>
                  <a:gd name="T12" fmla="*/ 418 w 506"/>
                  <a:gd name="T13" fmla="*/ 525 h 525"/>
                  <a:gd name="T14" fmla="*/ 328 w 506"/>
                  <a:gd name="T15" fmla="*/ 392 h 525"/>
                  <a:gd name="T16" fmla="*/ 200 w 506"/>
                  <a:gd name="T17" fmla="*/ 376 h 525"/>
                  <a:gd name="T18" fmla="*/ 179 w 506"/>
                  <a:gd name="T19" fmla="*/ 525 h 525"/>
                  <a:gd name="T20" fmla="*/ 72 w 506"/>
                  <a:gd name="T21" fmla="*/ 510 h 525"/>
                  <a:gd name="T22" fmla="*/ 44 w 506"/>
                  <a:gd name="T23" fmla="*/ 439 h 525"/>
                  <a:gd name="T24" fmla="*/ 72 w 506"/>
                  <a:gd name="T25" fmla="*/ 392 h 525"/>
                  <a:gd name="T26" fmla="*/ 57 w 506"/>
                  <a:gd name="T27" fmla="*/ 382 h 525"/>
                  <a:gd name="T28" fmla="*/ 18 w 506"/>
                  <a:gd name="T29" fmla="*/ 161 h 525"/>
                  <a:gd name="T30" fmla="*/ 56 w 506"/>
                  <a:gd name="T31" fmla="*/ 144 h 525"/>
                  <a:gd name="T32" fmla="*/ 0 w 506"/>
                  <a:gd name="T33" fmla="*/ 21 h 525"/>
                  <a:gd name="T34" fmla="*/ 92 w 506"/>
                  <a:gd name="T35" fmla="*/ 21 h 525"/>
                  <a:gd name="T36" fmla="*/ 403 w 506"/>
                  <a:gd name="T37" fmla="*/ 82 h 525"/>
                  <a:gd name="T38" fmla="*/ 457 w 506"/>
                  <a:gd name="T39" fmla="*/ 0 h 525"/>
                  <a:gd name="T40" fmla="*/ 461 w 506"/>
                  <a:gd name="T41" fmla="*/ 82 h 525"/>
                  <a:gd name="T42" fmla="*/ 455 w 506"/>
                  <a:gd name="T43" fmla="*/ 24 h 525"/>
                  <a:gd name="T44" fmla="*/ 435 w 506"/>
                  <a:gd name="T45" fmla="*/ 82 h 525"/>
                  <a:gd name="T46" fmla="*/ 454 w 506"/>
                  <a:gd name="T47" fmla="*/ 127 h 525"/>
                  <a:gd name="T48" fmla="*/ 49 w 506"/>
                  <a:gd name="T49" fmla="*/ 112 h 525"/>
                  <a:gd name="T50" fmla="*/ 78 w 506"/>
                  <a:gd name="T51" fmla="*/ 127 h 525"/>
                  <a:gd name="T52" fmla="*/ 81 w 506"/>
                  <a:gd name="T53" fmla="*/ 161 h 525"/>
                  <a:gd name="T54" fmla="*/ 426 w 506"/>
                  <a:gd name="T55" fmla="*/ 145 h 525"/>
                  <a:gd name="T56" fmla="*/ 454 w 506"/>
                  <a:gd name="T57" fmla="*/ 127 h 525"/>
                  <a:gd name="T58" fmla="*/ 450 w 506"/>
                  <a:gd name="T59" fmla="*/ 178 h 525"/>
                  <a:gd name="T60" fmla="*/ 65 w 506"/>
                  <a:gd name="T61" fmla="*/ 335 h 525"/>
                  <a:gd name="T62" fmla="*/ 421 w 506"/>
                  <a:gd name="T63" fmla="*/ 349 h 525"/>
                  <a:gd name="T64" fmla="*/ 398 w 506"/>
                  <a:gd name="T65" fmla="*/ 490 h 525"/>
                  <a:gd name="T66" fmla="*/ 356 w 506"/>
                  <a:gd name="T67" fmla="*/ 371 h 525"/>
                  <a:gd name="T68" fmla="*/ 389 w 506"/>
                  <a:gd name="T69" fmla="*/ 496 h 525"/>
                  <a:gd name="T70" fmla="*/ 150 w 506"/>
                  <a:gd name="T71" fmla="*/ 496 h 525"/>
                  <a:gd name="T72" fmla="*/ 108 w 506"/>
                  <a:gd name="T73" fmla="*/ 371 h 525"/>
                  <a:gd name="T74" fmla="*/ 117 w 506"/>
                  <a:gd name="T75" fmla="*/ 496 h 525"/>
                  <a:gd name="T76" fmla="*/ 71 w 506"/>
                  <a:gd name="T77" fmla="*/ 82 h 525"/>
                  <a:gd name="T78" fmla="*/ 51 w 506"/>
                  <a:gd name="T79" fmla="*/ 24 h 525"/>
                  <a:gd name="T80" fmla="*/ 45 w 506"/>
                  <a:gd name="T81" fmla="*/ 82 h 5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506" h="525">
                    <a:moveTo>
                      <a:pt x="506" y="21"/>
                    </a:moveTo>
                    <a:cubicBezTo>
                      <a:pt x="488" y="144"/>
                      <a:pt x="488" y="144"/>
                      <a:pt x="488" y="144"/>
                    </a:cubicBezTo>
                    <a:cubicBezTo>
                      <a:pt x="450" y="144"/>
                      <a:pt x="450" y="144"/>
                      <a:pt x="450" y="144"/>
                    </a:cubicBezTo>
                    <a:cubicBezTo>
                      <a:pt x="449" y="161"/>
                      <a:pt x="449" y="161"/>
                      <a:pt x="449" y="161"/>
                    </a:cubicBezTo>
                    <a:cubicBezTo>
                      <a:pt x="488" y="161"/>
                      <a:pt x="488" y="161"/>
                      <a:pt x="488" y="161"/>
                    </a:cubicBezTo>
                    <a:cubicBezTo>
                      <a:pt x="473" y="361"/>
                      <a:pt x="473" y="361"/>
                      <a:pt x="473" y="361"/>
                    </a:cubicBezTo>
                    <a:cubicBezTo>
                      <a:pt x="473" y="372"/>
                      <a:pt x="462" y="382"/>
                      <a:pt x="450" y="382"/>
                    </a:cubicBezTo>
                    <a:cubicBezTo>
                      <a:pt x="434" y="382"/>
                      <a:pt x="434" y="382"/>
                      <a:pt x="434" y="382"/>
                    </a:cubicBezTo>
                    <a:cubicBezTo>
                      <a:pt x="434" y="392"/>
                      <a:pt x="434" y="392"/>
                      <a:pt x="434" y="392"/>
                    </a:cubicBezTo>
                    <a:cubicBezTo>
                      <a:pt x="463" y="392"/>
                      <a:pt x="463" y="392"/>
                      <a:pt x="463" y="392"/>
                    </a:cubicBezTo>
                    <a:cubicBezTo>
                      <a:pt x="463" y="439"/>
                      <a:pt x="463" y="439"/>
                      <a:pt x="463" y="439"/>
                    </a:cubicBezTo>
                    <a:cubicBezTo>
                      <a:pt x="463" y="448"/>
                      <a:pt x="450" y="455"/>
                      <a:pt x="434" y="455"/>
                    </a:cubicBezTo>
                    <a:cubicBezTo>
                      <a:pt x="434" y="510"/>
                      <a:pt x="434" y="510"/>
                      <a:pt x="434" y="510"/>
                    </a:cubicBezTo>
                    <a:cubicBezTo>
                      <a:pt x="434" y="518"/>
                      <a:pt x="427" y="525"/>
                      <a:pt x="418" y="525"/>
                    </a:cubicBezTo>
                    <a:cubicBezTo>
                      <a:pt x="328" y="525"/>
                      <a:pt x="328" y="525"/>
                      <a:pt x="328" y="525"/>
                    </a:cubicBezTo>
                    <a:cubicBezTo>
                      <a:pt x="328" y="392"/>
                      <a:pt x="328" y="392"/>
                      <a:pt x="328" y="392"/>
                    </a:cubicBezTo>
                    <a:cubicBezTo>
                      <a:pt x="328" y="383"/>
                      <a:pt x="318" y="376"/>
                      <a:pt x="307" y="376"/>
                    </a:cubicBezTo>
                    <a:cubicBezTo>
                      <a:pt x="200" y="376"/>
                      <a:pt x="200" y="376"/>
                      <a:pt x="200" y="376"/>
                    </a:cubicBezTo>
                    <a:cubicBezTo>
                      <a:pt x="188" y="376"/>
                      <a:pt x="179" y="383"/>
                      <a:pt x="179" y="392"/>
                    </a:cubicBezTo>
                    <a:cubicBezTo>
                      <a:pt x="179" y="525"/>
                      <a:pt x="179" y="525"/>
                      <a:pt x="179" y="525"/>
                    </a:cubicBezTo>
                    <a:cubicBezTo>
                      <a:pt x="89" y="525"/>
                      <a:pt x="89" y="525"/>
                      <a:pt x="89" y="525"/>
                    </a:cubicBezTo>
                    <a:cubicBezTo>
                      <a:pt x="80" y="525"/>
                      <a:pt x="72" y="518"/>
                      <a:pt x="72" y="510"/>
                    </a:cubicBezTo>
                    <a:cubicBezTo>
                      <a:pt x="72" y="455"/>
                      <a:pt x="72" y="455"/>
                      <a:pt x="72" y="455"/>
                    </a:cubicBezTo>
                    <a:cubicBezTo>
                      <a:pt x="56" y="455"/>
                      <a:pt x="44" y="448"/>
                      <a:pt x="44" y="439"/>
                    </a:cubicBezTo>
                    <a:cubicBezTo>
                      <a:pt x="44" y="392"/>
                      <a:pt x="44" y="392"/>
                      <a:pt x="44" y="392"/>
                    </a:cubicBezTo>
                    <a:cubicBezTo>
                      <a:pt x="72" y="392"/>
                      <a:pt x="72" y="392"/>
                      <a:pt x="72" y="392"/>
                    </a:cubicBezTo>
                    <a:cubicBezTo>
                      <a:pt x="72" y="382"/>
                      <a:pt x="72" y="382"/>
                      <a:pt x="72" y="382"/>
                    </a:cubicBezTo>
                    <a:cubicBezTo>
                      <a:pt x="57" y="382"/>
                      <a:pt x="57" y="382"/>
                      <a:pt x="57" y="382"/>
                    </a:cubicBezTo>
                    <a:cubicBezTo>
                      <a:pt x="44" y="382"/>
                      <a:pt x="34" y="372"/>
                      <a:pt x="34" y="361"/>
                    </a:cubicBezTo>
                    <a:cubicBezTo>
                      <a:pt x="18" y="161"/>
                      <a:pt x="18" y="161"/>
                      <a:pt x="18" y="161"/>
                    </a:cubicBezTo>
                    <a:cubicBezTo>
                      <a:pt x="58" y="161"/>
                      <a:pt x="58" y="161"/>
                      <a:pt x="58" y="161"/>
                    </a:cubicBezTo>
                    <a:cubicBezTo>
                      <a:pt x="56" y="144"/>
                      <a:pt x="56" y="144"/>
                      <a:pt x="56" y="144"/>
                    </a:cubicBezTo>
                    <a:cubicBezTo>
                      <a:pt x="18" y="144"/>
                      <a:pt x="18" y="144"/>
                      <a:pt x="18" y="144"/>
                    </a:cubicBezTo>
                    <a:cubicBezTo>
                      <a:pt x="0" y="21"/>
                      <a:pt x="0" y="21"/>
                      <a:pt x="0" y="21"/>
                    </a:cubicBezTo>
                    <a:cubicBezTo>
                      <a:pt x="2" y="7"/>
                      <a:pt x="31" y="0"/>
                      <a:pt x="49" y="0"/>
                    </a:cubicBezTo>
                    <a:cubicBezTo>
                      <a:pt x="73" y="0"/>
                      <a:pt x="80" y="3"/>
                      <a:pt x="92" y="21"/>
                    </a:cubicBezTo>
                    <a:cubicBezTo>
                      <a:pt x="103" y="82"/>
                      <a:pt x="103" y="82"/>
                      <a:pt x="103" y="82"/>
                    </a:cubicBezTo>
                    <a:cubicBezTo>
                      <a:pt x="403" y="82"/>
                      <a:pt x="403" y="82"/>
                      <a:pt x="403" y="82"/>
                    </a:cubicBezTo>
                    <a:cubicBezTo>
                      <a:pt x="415" y="21"/>
                      <a:pt x="415" y="21"/>
                      <a:pt x="415" y="21"/>
                    </a:cubicBezTo>
                    <a:cubicBezTo>
                      <a:pt x="426" y="3"/>
                      <a:pt x="433" y="0"/>
                      <a:pt x="457" y="0"/>
                    </a:cubicBezTo>
                    <a:cubicBezTo>
                      <a:pt x="475" y="0"/>
                      <a:pt x="504" y="7"/>
                      <a:pt x="506" y="21"/>
                    </a:cubicBezTo>
                    <a:close/>
                    <a:moveTo>
                      <a:pt x="461" y="82"/>
                    </a:moveTo>
                    <a:cubicBezTo>
                      <a:pt x="469" y="32"/>
                      <a:pt x="469" y="32"/>
                      <a:pt x="469" y="32"/>
                    </a:cubicBezTo>
                    <a:cubicBezTo>
                      <a:pt x="469" y="24"/>
                      <a:pt x="463" y="24"/>
                      <a:pt x="455" y="24"/>
                    </a:cubicBezTo>
                    <a:cubicBezTo>
                      <a:pt x="450" y="24"/>
                      <a:pt x="447" y="26"/>
                      <a:pt x="445" y="32"/>
                    </a:cubicBezTo>
                    <a:cubicBezTo>
                      <a:pt x="435" y="82"/>
                      <a:pt x="435" y="82"/>
                      <a:pt x="435" y="82"/>
                    </a:cubicBezTo>
                    <a:lnTo>
                      <a:pt x="461" y="82"/>
                    </a:lnTo>
                    <a:close/>
                    <a:moveTo>
                      <a:pt x="454" y="127"/>
                    </a:moveTo>
                    <a:cubicBezTo>
                      <a:pt x="457" y="112"/>
                      <a:pt x="457" y="112"/>
                      <a:pt x="457" y="112"/>
                    </a:cubicBezTo>
                    <a:cubicBezTo>
                      <a:pt x="49" y="112"/>
                      <a:pt x="49" y="112"/>
                      <a:pt x="49" y="112"/>
                    </a:cubicBezTo>
                    <a:cubicBezTo>
                      <a:pt x="52" y="127"/>
                      <a:pt x="52" y="127"/>
                      <a:pt x="52" y="127"/>
                    </a:cubicBezTo>
                    <a:cubicBezTo>
                      <a:pt x="78" y="127"/>
                      <a:pt x="78" y="127"/>
                      <a:pt x="78" y="127"/>
                    </a:cubicBezTo>
                    <a:cubicBezTo>
                      <a:pt x="80" y="145"/>
                      <a:pt x="80" y="145"/>
                      <a:pt x="80" y="145"/>
                    </a:cubicBezTo>
                    <a:cubicBezTo>
                      <a:pt x="81" y="161"/>
                      <a:pt x="81" y="161"/>
                      <a:pt x="81" y="161"/>
                    </a:cubicBezTo>
                    <a:cubicBezTo>
                      <a:pt x="425" y="161"/>
                      <a:pt x="425" y="161"/>
                      <a:pt x="425" y="161"/>
                    </a:cubicBezTo>
                    <a:cubicBezTo>
                      <a:pt x="426" y="145"/>
                      <a:pt x="426" y="145"/>
                      <a:pt x="426" y="145"/>
                    </a:cubicBezTo>
                    <a:cubicBezTo>
                      <a:pt x="428" y="127"/>
                      <a:pt x="428" y="127"/>
                      <a:pt x="428" y="127"/>
                    </a:cubicBezTo>
                    <a:lnTo>
                      <a:pt x="454" y="127"/>
                    </a:lnTo>
                    <a:close/>
                    <a:moveTo>
                      <a:pt x="441" y="335"/>
                    </a:moveTo>
                    <a:cubicBezTo>
                      <a:pt x="450" y="178"/>
                      <a:pt x="450" y="178"/>
                      <a:pt x="450" y="178"/>
                    </a:cubicBezTo>
                    <a:cubicBezTo>
                      <a:pt x="56" y="178"/>
                      <a:pt x="56" y="178"/>
                      <a:pt x="56" y="178"/>
                    </a:cubicBezTo>
                    <a:cubicBezTo>
                      <a:pt x="65" y="335"/>
                      <a:pt x="65" y="335"/>
                      <a:pt x="65" y="335"/>
                    </a:cubicBezTo>
                    <a:cubicBezTo>
                      <a:pt x="65" y="343"/>
                      <a:pt x="74" y="349"/>
                      <a:pt x="85" y="349"/>
                    </a:cubicBezTo>
                    <a:cubicBezTo>
                      <a:pt x="421" y="349"/>
                      <a:pt x="421" y="349"/>
                      <a:pt x="421" y="349"/>
                    </a:cubicBezTo>
                    <a:cubicBezTo>
                      <a:pt x="432" y="349"/>
                      <a:pt x="441" y="343"/>
                      <a:pt x="441" y="335"/>
                    </a:cubicBezTo>
                    <a:close/>
                    <a:moveTo>
                      <a:pt x="398" y="490"/>
                    </a:moveTo>
                    <a:cubicBezTo>
                      <a:pt x="398" y="371"/>
                      <a:pt x="398" y="371"/>
                      <a:pt x="398" y="371"/>
                    </a:cubicBezTo>
                    <a:cubicBezTo>
                      <a:pt x="356" y="371"/>
                      <a:pt x="356" y="371"/>
                      <a:pt x="356" y="371"/>
                    </a:cubicBezTo>
                    <a:cubicBezTo>
                      <a:pt x="356" y="496"/>
                      <a:pt x="356" y="496"/>
                      <a:pt x="356" y="496"/>
                    </a:cubicBezTo>
                    <a:cubicBezTo>
                      <a:pt x="389" y="496"/>
                      <a:pt x="389" y="496"/>
                      <a:pt x="389" y="496"/>
                    </a:cubicBezTo>
                    <a:cubicBezTo>
                      <a:pt x="394" y="496"/>
                      <a:pt x="398" y="496"/>
                      <a:pt x="398" y="490"/>
                    </a:cubicBezTo>
                    <a:close/>
                    <a:moveTo>
                      <a:pt x="150" y="496"/>
                    </a:moveTo>
                    <a:cubicBezTo>
                      <a:pt x="150" y="371"/>
                      <a:pt x="150" y="371"/>
                      <a:pt x="150" y="371"/>
                    </a:cubicBezTo>
                    <a:cubicBezTo>
                      <a:pt x="108" y="371"/>
                      <a:pt x="108" y="371"/>
                      <a:pt x="108" y="371"/>
                    </a:cubicBezTo>
                    <a:cubicBezTo>
                      <a:pt x="108" y="490"/>
                      <a:pt x="108" y="490"/>
                      <a:pt x="108" y="490"/>
                    </a:cubicBezTo>
                    <a:cubicBezTo>
                      <a:pt x="108" y="496"/>
                      <a:pt x="112" y="496"/>
                      <a:pt x="117" y="496"/>
                    </a:cubicBezTo>
                    <a:lnTo>
                      <a:pt x="150" y="496"/>
                    </a:lnTo>
                    <a:close/>
                    <a:moveTo>
                      <a:pt x="71" y="82"/>
                    </a:moveTo>
                    <a:cubicBezTo>
                      <a:pt x="61" y="32"/>
                      <a:pt x="61" y="32"/>
                      <a:pt x="61" y="32"/>
                    </a:cubicBezTo>
                    <a:cubicBezTo>
                      <a:pt x="60" y="26"/>
                      <a:pt x="57" y="24"/>
                      <a:pt x="51" y="24"/>
                    </a:cubicBezTo>
                    <a:cubicBezTo>
                      <a:pt x="43" y="24"/>
                      <a:pt x="37" y="24"/>
                      <a:pt x="37" y="32"/>
                    </a:cubicBezTo>
                    <a:cubicBezTo>
                      <a:pt x="45" y="82"/>
                      <a:pt x="45" y="82"/>
                      <a:pt x="45" y="82"/>
                    </a:cubicBezTo>
                    <a:lnTo>
                      <a:pt x="71" y="8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244" name="í$ḻíde"/>
              <p:cNvSpPr/>
              <p:nvPr/>
            </p:nvSpPr>
            <p:spPr bwMode="auto">
              <a:xfrm>
                <a:off x="2144609" y="5142503"/>
                <a:ext cx="604838" cy="31750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</p:grpSp>
        <p:grpSp>
          <p:nvGrpSpPr>
            <p:cNvPr id="136" name="组合 135"/>
            <p:cNvGrpSpPr/>
            <p:nvPr userDrawn="1"/>
          </p:nvGrpSpPr>
          <p:grpSpPr>
            <a:xfrm>
              <a:off x="10250573" y="283036"/>
              <a:ext cx="1640266" cy="338554"/>
              <a:chOff x="5180266" y="4756740"/>
              <a:chExt cx="5753100" cy="1187451"/>
            </a:xfrm>
            <a:solidFill>
              <a:srgbClr val="CA351C"/>
            </a:solidFill>
          </p:grpSpPr>
          <p:sp>
            <p:nvSpPr>
              <p:cNvPr id="137" name="ïṩļîḑê"/>
              <p:cNvSpPr/>
              <p:nvPr/>
            </p:nvSpPr>
            <p:spPr bwMode="auto">
              <a:xfrm>
                <a:off x="10319003" y="4805953"/>
                <a:ext cx="600075" cy="771525"/>
              </a:xfrm>
              <a:custGeom>
                <a:avLst/>
                <a:gdLst>
                  <a:gd name="T0" fmla="*/ 210 w 325"/>
                  <a:gd name="T1" fmla="*/ 140 h 418"/>
                  <a:gd name="T2" fmla="*/ 237 w 325"/>
                  <a:gd name="T3" fmla="*/ 155 h 418"/>
                  <a:gd name="T4" fmla="*/ 161 w 325"/>
                  <a:gd name="T5" fmla="*/ 179 h 418"/>
                  <a:gd name="T6" fmla="*/ 187 w 325"/>
                  <a:gd name="T7" fmla="*/ 68 h 418"/>
                  <a:gd name="T8" fmla="*/ 230 w 325"/>
                  <a:gd name="T9" fmla="*/ 40 h 418"/>
                  <a:gd name="T10" fmla="*/ 199 w 325"/>
                  <a:gd name="T11" fmla="*/ 85 h 418"/>
                  <a:gd name="T12" fmla="*/ 99 w 325"/>
                  <a:gd name="T13" fmla="*/ 132 h 418"/>
                  <a:gd name="T14" fmla="*/ 132 w 325"/>
                  <a:gd name="T15" fmla="*/ 83 h 418"/>
                  <a:gd name="T16" fmla="*/ 174 w 325"/>
                  <a:gd name="T17" fmla="*/ 116 h 418"/>
                  <a:gd name="T18" fmla="*/ 59 w 325"/>
                  <a:gd name="T19" fmla="*/ 198 h 418"/>
                  <a:gd name="T20" fmla="*/ 16 w 325"/>
                  <a:gd name="T21" fmla="*/ 224 h 418"/>
                  <a:gd name="T22" fmla="*/ 17 w 325"/>
                  <a:gd name="T23" fmla="*/ 314 h 418"/>
                  <a:gd name="T24" fmla="*/ 55 w 325"/>
                  <a:gd name="T25" fmla="*/ 244 h 418"/>
                  <a:gd name="T26" fmla="*/ 131 w 325"/>
                  <a:gd name="T27" fmla="*/ 194 h 418"/>
                  <a:gd name="T28" fmla="*/ 111 w 325"/>
                  <a:gd name="T29" fmla="*/ 251 h 418"/>
                  <a:gd name="T30" fmla="*/ 148 w 325"/>
                  <a:gd name="T31" fmla="*/ 246 h 418"/>
                  <a:gd name="T32" fmla="*/ 184 w 325"/>
                  <a:gd name="T33" fmla="*/ 243 h 418"/>
                  <a:gd name="T34" fmla="*/ 131 w 325"/>
                  <a:gd name="T35" fmla="*/ 281 h 418"/>
                  <a:gd name="T36" fmla="*/ 76 w 325"/>
                  <a:gd name="T37" fmla="*/ 299 h 418"/>
                  <a:gd name="T38" fmla="*/ 134 w 325"/>
                  <a:gd name="T39" fmla="*/ 334 h 418"/>
                  <a:gd name="T40" fmla="*/ 203 w 325"/>
                  <a:gd name="T41" fmla="*/ 298 h 418"/>
                  <a:gd name="T42" fmla="*/ 206 w 325"/>
                  <a:gd name="T43" fmla="*/ 350 h 418"/>
                  <a:gd name="T44" fmla="*/ 165 w 325"/>
                  <a:gd name="T45" fmla="*/ 378 h 418"/>
                  <a:gd name="T46" fmla="*/ 144 w 325"/>
                  <a:gd name="T47" fmla="*/ 410 h 418"/>
                  <a:gd name="T48" fmla="*/ 228 w 325"/>
                  <a:gd name="T49" fmla="*/ 408 h 418"/>
                  <a:gd name="T50" fmla="*/ 239 w 325"/>
                  <a:gd name="T51" fmla="*/ 307 h 418"/>
                  <a:gd name="T52" fmla="*/ 273 w 325"/>
                  <a:gd name="T53" fmla="*/ 283 h 418"/>
                  <a:gd name="T54" fmla="*/ 271 w 325"/>
                  <a:gd name="T55" fmla="*/ 239 h 418"/>
                  <a:gd name="T56" fmla="*/ 233 w 325"/>
                  <a:gd name="T57" fmla="*/ 226 h 418"/>
                  <a:gd name="T58" fmla="*/ 261 w 325"/>
                  <a:gd name="T59" fmla="*/ 181 h 418"/>
                  <a:gd name="T60" fmla="*/ 316 w 325"/>
                  <a:gd name="T61" fmla="*/ 167 h 418"/>
                  <a:gd name="T62" fmla="*/ 297 w 325"/>
                  <a:gd name="T63" fmla="*/ 119 h 418"/>
                  <a:gd name="T64" fmla="*/ 251 w 325"/>
                  <a:gd name="T65" fmla="*/ 93 h 418"/>
                  <a:gd name="T66" fmla="*/ 276 w 325"/>
                  <a:gd name="T67" fmla="*/ 34 h 418"/>
                  <a:gd name="T68" fmla="*/ 217 w 325"/>
                  <a:gd name="T69" fmla="*/ 11 h 418"/>
                  <a:gd name="T70" fmla="*/ 164 w 325"/>
                  <a:gd name="T71" fmla="*/ 29 h 418"/>
                  <a:gd name="T72" fmla="*/ 136 w 325"/>
                  <a:gd name="T73" fmla="*/ 43 h 418"/>
                  <a:gd name="T74" fmla="*/ 113 w 325"/>
                  <a:gd name="T75" fmla="*/ 21 h 418"/>
                  <a:gd name="T76" fmla="*/ 78 w 325"/>
                  <a:gd name="T77" fmla="*/ 52 h 4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325" h="418">
                    <a:moveTo>
                      <a:pt x="161" y="179"/>
                    </a:moveTo>
                    <a:cubicBezTo>
                      <a:pt x="160" y="178"/>
                      <a:pt x="188" y="143"/>
                      <a:pt x="210" y="140"/>
                    </a:cubicBezTo>
                    <a:cubicBezTo>
                      <a:pt x="232" y="137"/>
                      <a:pt x="226" y="133"/>
                      <a:pt x="238" y="138"/>
                    </a:cubicBezTo>
                    <a:cubicBezTo>
                      <a:pt x="250" y="144"/>
                      <a:pt x="252" y="148"/>
                      <a:pt x="237" y="155"/>
                    </a:cubicBezTo>
                    <a:cubicBezTo>
                      <a:pt x="222" y="162"/>
                      <a:pt x="215" y="168"/>
                      <a:pt x="196" y="171"/>
                    </a:cubicBezTo>
                    <a:cubicBezTo>
                      <a:pt x="177" y="175"/>
                      <a:pt x="163" y="181"/>
                      <a:pt x="161" y="179"/>
                    </a:cubicBezTo>
                    <a:close/>
                    <a:moveTo>
                      <a:pt x="199" y="85"/>
                    </a:moveTo>
                    <a:cubicBezTo>
                      <a:pt x="197" y="87"/>
                      <a:pt x="186" y="79"/>
                      <a:pt x="187" y="68"/>
                    </a:cubicBezTo>
                    <a:cubicBezTo>
                      <a:pt x="188" y="57"/>
                      <a:pt x="197" y="38"/>
                      <a:pt x="211" y="34"/>
                    </a:cubicBezTo>
                    <a:cubicBezTo>
                      <a:pt x="225" y="30"/>
                      <a:pt x="230" y="30"/>
                      <a:pt x="230" y="40"/>
                    </a:cubicBezTo>
                    <a:cubicBezTo>
                      <a:pt x="229" y="51"/>
                      <a:pt x="229" y="62"/>
                      <a:pt x="219" y="71"/>
                    </a:cubicBezTo>
                    <a:cubicBezTo>
                      <a:pt x="210" y="80"/>
                      <a:pt x="201" y="84"/>
                      <a:pt x="199" y="85"/>
                    </a:cubicBezTo>
                    <a:close/>
                    <a:moveTo>
                      <a:pt x="79" y="112"/>
                    </a:moveTo>
                    <a:cubicBezTo>
                      <a:pt x="79" y="113"/>
                      <a:pt x="87" y="125"/>
                      <a:pt x="99" y="132"/>
                    </a:cubicBezTo>
                    <a:cubicBezTo>
                      <a:pt x="112" y="138"/>
                      <a:pt x="119" y="135"/>
                      <a:pt x="129" y="127"/>
                    </a:cubicBezTo>
                    <a:cubicBezTo>
                      <a:pt x="139" y="118"/>
                      <a:pt x="130" y="95"/>
                      <a:pt x="132" y="83"/>
                    </a:cubicBezTo>
                    <a:cubicBezTo>
                      <a:pt x="135" y="70"/>
                      <a:pt x="136" y="73"/>
                      <a:pt x="146" y="75"/>
                    </a:cubicBezTo>
                    <a:cubicBezTo>
                      <a:pt x="156" y="76"/>
                      <a:pt x="173" y="108"/>
                      <a:pt x="174" y="116"/>
                    </a:cubicBezTo>
                    <a:cubicBezTo>
                      <a:pt x="174" y="123"/>
                      <a:pt x="170" y="123"/>
                      <a:pt x="128" y="142"/>
                    </a:cubicBezTo>
                    <a:cubicBezTo>
                      <a:pt x="86" y="161"/>
                      <a:pt x="67" y="195"/>
                      <a:pt x="59" y="198"/>
                    </a:cubicBezTo>
                    <a:cubicBezTo>
                      <a:pt x="52" y="202"/>
                      <a:pt x="55" y="191"/>
                      <a:pt x="40" y="188"/>
                    </a:cubicBezTo>
                    <a:cubicBezTo>
                      <a:pt x="26" y="186"/>
                      <a:pt x="23" y="211"/>
                      <a:pt x="16" y="224"/>
                    </a:cubicBezTo>
                    <a:cubicBezTo>
                      <a:pt x="8" y="238"/>
                      <a:pt x="5" y="266"/>
                      <a:pt x="5" y="277"/>
                    </a:cubicBezTo>
                    <a:cubicBezTo>
                      <a:pt x="5" y="288"/>
                      <a:pt x="0" y="301"/>
                      <a:pt x="17" y="314"/>
                    </a:cubicBezTo>
                    <a:cubicBezTo>
                      <a:pt x="33" y="326"/>
                      <a:pt x="49" y="311"/>
                      <a:pt x="53" y="304"/>
                    </a:cubicBezTo>
                    <a:cubicBezTo>
                      <a:pt x="57" y="298"/>
                      <a:pt x="53" y="269"/>
                      <a:pt x="55" y="244"/>
                    </a:cubicBezTo>
                    <a:cubicBezTo>
                      <a:pt x="57" y="220"/>
                      <a:pt x="89" y="204"/>
                      <a:pt x="100" y="197"/>
                    </a:cubicBezTo>
                    <a:cubicBezTo>
                      <a:pt x="115" y="189"/>
                      <a:pt x="129" y="190"/>
                      <a:pt x="131" y="194"/>
                    </a:cubicBezTo>
                    <a:cubicBezTo>
                      <a:pt x="134" y="197"/>
                      <a:pt x="119" y="214"/>
                      <a:pt x="112" y="219"/>
                    </a:cubicBezTo>
                    <a:cubicBezTo>
                      <a:pt x="105" y="224"/>
                      <a:pt x="110" y="244"/>
                      <a:pt x="111" y="251"/>
                    </a:cubicBezTo>
                    <a:cubicBezTo>
                      <a:pt x="113" y="257"/>
                      <a:pt x="111" y="260"/>
                      <a:pt x="125" y="265"/>
                    </a:cubicBezTo>
                    <a:cubicBezTo>
                      <a:pt x="142" y="271"/>
                      <a:pt x="139" y="257"/>
                      <a:pt x="148" y="246"/>
                    </a:cubicBezTo>
                    <a:cubicBezTo>
                      <a:pt x="157" y="236"/>
                      <a:pt x="163" y="224"/>
                      <a:pt x="170" y="224"/>
                    </a:cubicBezTo>
                    <a:cubicBezTo>
                      <a:pt x="177" y="224"/>
                      <a:pt x="180" y="238"/>
                      <a:pt x="184" y="243"/>
                    </a:cubicBezTo>
                    <a:cubicBezTo>
                      <a:pt x="187" y="248"/>
                      <a:pt x="189" y="257"/>
                      <a:pt x="177" y="263"/>
                    </a:cubicBezTo>
                    <a:cubicBezTo>
                      <a:pt x="165" y="269"/>
                      <a:pt x="131" y="281"/>
                      <a:pt x="131" y="281"/>
                    </a:cubicBezTo>
                    <a:cubicBezTo>
                      <a:pt x="131" y="281"/>
                      <a:pt x="112" y="284"/>
                      <a:pt x="101" y="287"/>
                    </a:cubicBezTo>
                    <a:cubicBezTo>
                      <a:pt x="90" y="289"/>
                      <a:pt x="78" y="285"/>
                      <a:pt x="76" y="299"/>
                    </a:cubicBezTo>
                    <a:cubicBezTo>
                      <a:pt x="73" y="312"/>
                      <a:pt x="78" y="305"/>
                      <a:pt x="86" y="319"/>
                    </a:cubicBezTo>
                    <a:cubicBezTo>
                      <a:pt x="94" y="333"/>
                      <a:pt x="119" y="337"/>
                      <a:pt x="134" y="334"/>
                    </a:cubicBezTo>
                    <a:cubicBezTo>
                      <a:pt x="149" y="332"/>
                      <a:pt x="157" y="324"/>
                      <a:pt x="168" y="316"/>
                    </a:cubicBezTo>
                    <a:cubicBezTo>
                      <a:pt x="178" y="308"/>
                      <a:pt x="194" y="298"/>
                      <a:pt x="203" y="298"/>
                    </a:cubicBezTo>
                    <a:cubicBezTo>
                      <a:pt x="211" y="299"/>
                      <a:pt x="211" y="311"/>
                      <a:pt x="211" y="325"/>
                    </a:cubicBezTo>
                    <a:cubicBezTo>
                      <a:pt x="211" y="339"/>
                      <a:pt x="210" y="337"/>
                      <a:pt x="206" y="350"/>
                    </a:cubicBezTo>
                    <a:cubicBezTo>
                      <a:pt x="202" y="364"/>
                      <a:pt x="199" y="368"/>
                      <a:pt x="194" y="372"/>
                    </a:cubicBezTo>
                    <a:cubicBezTo>
                      <a:pt x="189" y="377"/>
                      <a:pt x="184" y="376"/>
                      <a:pt x="165" y="378"/>
                    </a:cubicBezTo>
                    <a:cubicBezTo>
                      <a:pt x="145" y="380"/>
                      <a:pt x="131" y="393"/>
                      <a:pt x="129" y="400"/>
                    </a:cubicBezTo>
                    <a:cubicBezTo>
                      <a:pt x="128" y="407"/>
                      <a:pt x="135" y="405"/>
                      <a:pt x="144" y="410"/>
                    </a:cubicBezTo>
                    <a:cubicBezTo>
                      <a:pt x="152" y="414"/>
                      <a:pt x="163" y="416"/>
                      <a:pt x="185" y="417"/>
                    </a:cubicBezTo>
                    <a:cubicBezTo>
                      <a:pt x="208" y="418"/>
                      <a:pt x="219" y="417"/>
                      <a:pt x="228" y="408"/>
                    </a:cubicBezTo>
                    <a:cubicBezTo>
                      <a:pt x="238" y="400"/>
                      <a:pt x="240" y="373"/>
                      <a:pt x="241" y="354"/>
                    </a:cubicBezTo>
                    <a:cubicBezTo>
                      <a:pt x="243" y="335"/>
                      <a:pt x="239" y="315"/>
                      <a:pt x="239" y="307"/>
                    </a:cubicBezTo>
                    <a:cubicBezTo>
                      <a:pt x="239" y="299"/>
                      <a:pt x="239" y="297"/>
                      <a:pt x="244" y="288"/>
                    </a:cubicBezTo>
                    <a:cubicBezTo>
                      <a:pt x="249" y="280"/>
                      <a:pt x="257" y="284"/>
                      <a:pt x="273" y="283"/>
                    </a:cubicBezTo>
                    <a:cubicBezTo>
                      <a:pt x="288" y="281"/>
                      <a:pt x="286" y="270"/>
                      <a:pt x="287" y="261"/>
                    </a:cubicBezTo>
                    <a:cubicBezTo>
                      <a:pt x="288" y="251"/>
                      <a:pt x="281" y="247"/>
                      <a:pt x="271" y="239"/>
                    </a:cubicBezTo>
                    <a:cubicBezTo>
                      <a:pt x="260" y="231"/>
                      <a:pt x="250" y="236"/>
                      <a:pt x="240" y="236"/>
                    </a:cubicBezTo>
                    <a:cubicBezTo>
                      <a:pt x="230" y="236"/>
                      <a:pt x="233" y="234"/>
                      <a:pt x="233" y="226"/>
                    </a:cubicBezTo>
                    <a:cubicBezTo>
                      <a:pt x="233" y="219"/>
                      <a:pt x="238" y="215"/>
                      <a:pt x="239" y="207"/>
                    </a:cubicBezTo>
                    <a:cubicBezTo>
                      <a:pt x="241" y="200"/>
                      <a:pt x="251" y="192"/>
                      <a:pt x="261" y="181"/>
                    </a:cubicBezTo>
                    <a:cubicBezTo>
                      <a:pt x="270" y="170"/>
                      <a:pt x="276" y="175"/>
                      <a:pt x="289" y="176"/>
                    </a:cubicBezTo>
                    <a:cubicBezTo>
                      <a:pt x="302" y="176"/>
                      <a:pt x="307" y="176"/>
                      <a:pt x="316" y="167"/>
                    </a:cubicBezTo>
                    <a:cubicBezTo>
                      <a:pt x="325" y="157"/>
                      <a:pt x="318" y="138"/>
                      <a:pt x="316" y="132"/>
                    </a:cubicBezTo>
                    <a:cubicBezTo>
                      <a:pt x="315" y="125"/>
                      <a:pt x="309" y="129"/>
                      <a:pt x="297" y="119"/>
                    </a:cubicBezTo>
                    <a:cubicBezTo>
                      <a:pt x="285" y="108"/>
                      <a:pt x="274" y="111"/>
                      <a:pt x="261" y="111"/>
                    </a:cubicBezTo>
                    <a:cubicBezTo>
                      <a:pt x="248" y="111"/>
                      <a:pt x="244" y="100"/>
                      <a:pt x="251" y="93"/>
                    </a:cubicBezTo>
                    <a:cubicBezTo>
                      <a:pt x="259" y="87"/>
                      <a:pt x="265" y="77"/>
                      <a:pt x="272" y="66"/>
                    </a:cubicBezTo>
                    <a:cubicBezTo>
                      <a:pt x="278" y="55"/>
                      <a:pt x="276" y="45"/>
                      <a:pt x="276" y="34"/>
                    </a:cubicBezTo>
                    <a:cubicBezTo>
                      <a:pt x="275" y="24"/>
                      <a:pt x="264" y="20"/>
                      <a:pt x="252" y="10"/>
                    </a:cubicBezTo>
                    <a:cubicBezTo>
                      <a:pt x="240" y="0"/>
                      <a:pt x="225" y="8"/>
                      <a:pt x="217" y="11"/>
                    </a:cubicBezTo>
                    <a:cubicBezTo>
                      <a:pt x="208" y="14"/>
                      <a:pt x="196" y="20"/>
                      <a:pt x="187" y="25"/>
                    </a:cubicBezTo>
                    <a:cubicBezTo>
                      <a:pt x="178" y="30"/>
                      <a:pt x="172" y="30"/>
                      <a:pt x="164" y="29"/>
                    </a:cubicBezTo>
                    <a:cubicBezTo>
                      <a:pt x="157" y="29"/>
                      <a:pt x="150" y="29"/>
                      <a:pt x="147" y="29"/>
                    </a:cubicBezTo>
                    <a:cubicBezTo>
                      <a:pt x="144" y="29"/>
                      <a:pt x="141" y="35"/>
                      <a:pt x="136" y="43"/>
                    </a:cubicBezTo>
                    <a:cubicBezTo>
                      <a:pt x="131" y="51"/>
                      <a:pt x="126" y="47"/>
                      <a:pt x="124" y="43"/>
                    </a:cubicBezTo>
                    <a:cubicBezTo>
                      <a:pt x="121" y="38"/>
                      <a:pt x="116" y="28"/>
                      <a:pt x="113" y="21"/>
                    </a:cubicBezTo>
                    <a:cubicBezTo>
                      <a:pt x="110" y="15"/>
                      <a:pt x="97" y="18"/>
                      <a:pt x="91" y="21"/>
                    </a:cubicBezTo>
                    <a:cubicBezTo>
                      <a:pt x="84" y="25"/>
                      <a:pt x="80" y="41"/>
                      <a:pt x="78" y="52"/>
                    </a:cubicBezTo>
                    <a:cubicBezTo>
                      <a:pt x="75" y="63"/>
                      <a:pt x="78" y="111"/>
                      <a:pt x="79" y="1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138" name="îşḷïḍe"/>
              <p:cNvSpPr/>
              <p:nvPr/>
            </p:nvSpPr>
            <p:spPr bwMode="auto">
              <a:xfrm>
                <a:off x="9461753" y="4939303"/>
                <a:ext cx="388938" cy="534988"/>
              </a:xfrm>
              <a:custGeom>
                <a:avLst/>
                <a:gdLst>
                  <a:gd name="T0" fmla="*/ 4 w 211"/>
                  <a:gd name="T1" fmla="*/ 137 h 290"/>
                  <a:gd name="T2" fmla="*/ 41 w 211"/>
                  <a:gd name="T3" fmla="*/ 117 h 290"/>
                  <a:gd name="T4" fmla="*/ 75 w 211"/>
                  <a:gd name="T5" fmla="*/ 83 h 290"/>
                  <a:gd name="T6" fmla="*/ 82 w 211"/>
                  <a:gd name="T7" fmla="*/ 29 h 290"/>
                  <a:gd name="T8" fmla="*/ 94 w 211"/>
                  <a:gd name="T9" fmla="*/ 6 h 290"/>
                  <a:gd name="T10" fmla="*/ 126 w 211"/>
                  <a:gd name="T11" fmla="*/ 27 h 290"/>
                  <a:gd name="T12" fmla="*/ 145 w 211"/>
                  <a:gd name="T13" fmla="*/ 65 h 290"/>
                  <a:gd name="T14" fmla="*/ 170 w 211"/>
                  <a:gd name="T15" fmla="*/ 93 h 290"/>
                  <a:gd name="T16" fmla="*/ 164 w 211"/>
                  <a:gd name="T17" fmla="*/ 119 h 290"/>
                  <a:gd name="T18" fmla="*/ 127 w 211"/>
                  <a:gd name="T19" fmla="*/ 151 h 290"/>
                  <a:gd name="T20" fmla="*/ 123 w 211"/>
                  <a:gd name="T21" fmla="*/ 165 h 290"/>
                  <a:gd name="T22" fmla="*/ 181 w 211"/>
                  <a:gd name="T23" fmla="*/ 187 h 290"/>
                  <a:gd name="T24" fmla="*/ 210 w 211"/>
                  <a:gd name="T25" fmla="*/ 231 h 290"/>
                  <a:gd name="T26" fmla="*/ 202 w 211"/>
                  <a:gd name="T27" fmla="*/ 281 h 290"/>
                  <a:gd name="T28" fmla="*/ 185 w 211"/>
                  <a:gd name="T29" fmla="*/ 289 h 290"/>
                  <a:gd name="T30" fmla="*/ 162 w 211"/>
                  <a:gd name="T31" fmla="*/ 267 h 290"/>
                  <a:gd name="T32" fmla="*/ 158 w 211"/>
                  <a:gd name="T33" fmla="*/ 217 h 290"/>
                  <a:gd name="T34" fmla="*/ 134 w 211"/>
                  <a:gd name="T35" fmla="*/ 188 h 290"/>
                  <a:gd name="T36" fmla="*/ 117 w 211"/>
                  <a:gd name="T37" fmla="*/ 183 h 290"/>
                  <a:gd name="T38" fmla="*/ 105 w 211"/>
                  <a:gd name="T39" fmla="*/ 191 h 290"/>
                  <a:gd name="T40" fmla="*/ 95 w 211"/>
                  <a:gd name="T41" fmla="*/ 225 h 290"/>
                  <a:gd name="T42" fmla="*/ 92 w 211"/>
                  <a:gd name="T43" fmla="*/ 251 h 290"/>
                  <a:gd name="T44" fmla="*/ 58 w 211"/>
                  <a:gd name="T45" fmla="*/ 261 h 290"/>
                  <a:gd name="T46" fmla="*/ 37 w 211"/>
                  <a:gd name="T47" fmla="*/ 235 h 290"/>
                  <a:gd name="T48" fmla="*/ 39 w 211"/>
                  <a:gd name="T49" fmla="*/ 205 h 290"/>
                  <a:gd name="T50" fmla="*/ 45 w 211"/>
                  <a:gd name="T51" fmla="*/ 177 h 290"/>
                  <a:gd name="T52" fmla="*/ 18 w 211"/>
                  <a:gd name="T53" fmla="*/ 155 h 290"/>
                  <a:gd name="T54" fmla="*/ 0 w 211"/>
                  <a:gd name="T55" fmla="*/ 147 h 290"/>
                  <a:gd name="T56" fmla="*/ 4 w 211"/>
                  <a:gd name="T57" fmla="*/ 137 h 2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211" h="290">
                    <a:moveTo>
                      <a:pt x="4" y="137"/>
                    </a:moveTo>
                    <a:cubicBezTo>
                      <a:pt x="4" y="137"/>
                      <a:pt x="32" y="120"/>
                      <a:pt x="41" y="117"/>
                    </a:cubicBezTo>
                    <a:cubicBezTo>
                      <a:pt x="50" y="115"/>
                      <a:pt x="69" y="103"/>
                      <a:pt x="75" y="83"/>
                    </a:cubicBezTo>
                    <a:cubicBezTo>
                      <a:pt x="81" y="63"/>
                      <a:pt x="82" y="39"/>
                      <a:pt x="82" y="29"/>
                    </a:cubicBezTo>
                    <a:cubicBezTo>
                      <a:pt x="82" y="19"/>
                      <a:pt x="76" y="0"/>
                      <a:pt x="94" y="6"/>
                    </a:cubicBezTo>
                    <a:cubicBezTo>
                      <a:pt x="112" y="12"/>
                      <a:pt x="124" y="15"/>
                      <a:pt x="126" y="27"/>
                    </a:cubicBezTo>
                    <a:cubicBezTo>
                      <a:pt x="129" y="39"/>
                      <a:pt x="131" y="55"/>
                      <a:pt x="145" y="65"/>
                    </a:cubicBezTo>
                    <a:cubicBezTo>
                      <a:pt x="159" y="75"/>
                      <a:pt x="168" y="83"/>
                      <a:pt x="170" y="93"/>
                    </a:cubicBezTo>
                    <a:cubicBezTo>
                      <a:pt x="172" y="103"/>
                      <a:pt x="172" y="114"/>
                      <a:pt x="164" y="119"/>
                    </a:cubicBezTo>
                    <a:cubicBezTo>
                      <a:pt x="157" y="123"/>
                      <a:pt x="132" y="147"/>
                      <a:pt x="127" y="151"/>
                    </a:cubicBezTo>
                    <a:cubicBezTo>
                      <a:pt x="121" y="154"/>
                      <a:pt x="119" y="165"/>
                      <a:pt x="123" y="165"/>
                    </a:cubicBezTo>
                    <a:cubicBezTo>
                      <a:pt x="127" y="165"/>
                      <a:pt x="163" y="172"/>
                      <a:pt x="181" y="187"/>
                    </a:cubicBezTo>
                    <a:cubicBezTo>
                      <a:pt x="198" y="202"/>
                      <a:pt x="209" y="216"/>
                      <a:pt x="210" y="231"/>
                    </a:cubicBezTo>
                    <a:cubicBezTo>
                      <a:pt x="211" y="247"/>
                      <a:pt x="210" y="273"/>
                      <a:pt x="202" y="281"/>
                    </a:cubicBezTo>
                    <a:cubicBezTo>
                      <a:pt x="194" y="288"/>
                      <a:pt x="192" y="290"/>
                      <a:pt x="185" y="289"/>
                    </a:cubicBezTo>
                    <a:cubicBezTo>
                      <a:pt x="178" y="288"/>
                      <a:pt x="164" y="279"/>
                      <a:pt x="162" y="267"/>
                    </a:cubicBezTo>
                    <a:cubicBezTo>
                      <a:pt x="160" y="255"/>
                      <a:pt x="164" y="239"/>
                      <a:pt x="158" y="217"/>
                    </a:cubicBezTo>
                    <a:cubicBezTo>
                      <a:pt x="153" y="196"/>
                      <a:pt x="139" y="191"/>
                      <a:pt x="134" y="188"/>
                    </a:cubicBezTo>
                    <a:cubicBezTo>
                      <a:pt x="129" y="186"/>
                      <a:pt x="117" y="183"/>
                      <a:pt x="117" y="183"/>
                    </a:cubicBezTo>
                    <a:cubicBezTo>
                      <a:pt x="117" y="183"/>
                      <a:pt x="108" y="182"/>
                      <a:pt x="105" y="191"/>
                    </a:cubicBezTo>
                    <a:cubicBezTo>
                      <a:pt x="102" y="199"/>
                      <a:pt x="96" y="215"/>
                      <a:pt x="95" y="225"/>
                    </a:cubicBezTo>
                    <a:cubicBezTo>
                      <a:pt x="94" y="235"/>
                      <a:pt x="96" y="247"/>
                      <a:pt x="92" y="251"/>
                    </a:cubicBezTo>
                    <a:cubicBezTo>
                      <a:pt x="87" y="256"/>
                      <a:pt x="77" y="267"/>
                      <a:pt x="58" y="261"/>
                    </a:cubicBezTo>
                    <a:cubicBezTo>
                      <a:pt x="39" y="255"/>
                      <a:pt x="41" y="238"/>
                      <a:pt x="37" y="235"/>
                    </a:cubicBezTo>
                    <a:cubicBezTo>
                      <a:pt x="33" y="231"/>
                      <a:pt x="39" y="211"/>
                      <a:pt x="39" y="205"/>
                    </a:cubicBezTo>
                    <a:cubicBezTo>
                      <a:pt x="39" y="200"/>
                      <a:pt x="47" y="182"/>
                      <a:pt x="45" y="177"/>
                    </a:cubicBezTo>
                    <a:cubicBezTo>
                      <a:pt x="44" y="173"/>
                      <a:pt x="25" y="153"/>
                      <a:pt x="18" y="155"/>
                    </a:cubicBezTo>
                    <a:cubicBezTo>
                      <a:pt x="11" y="157"/>
                      <a:pt x="1" y="155"/>
                      <a:pt x="0" y="147"/>
                    </a:cubicBezTo>
                    <a:cubicBezTo>
                      <a:pt x="0" y="140"/>
                      <a:pt x="4" y="137"/>
                      <a:pt x="4" y="13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139" name="îṧļíďe"/>
              <p:cNvSpPr/>
              <p:nvPr/>
            </p:nvSpPr>
            <p:spPr bwMode="auto">
              <a:xfrm>
                <a:off x="8326691" y="4823415"/>
                <a:ext cx="746125" cy="695325"/>
              </a:xfrm>
              <a:custGeom>
                <a:avLst/>
                <a:gdLst>
                  <a:gd name="T0" fmla="*/ 159 w 405"/>
                  <a:gd name="T1" fmla="*/ 229 h 377"/>
                  <a:gd name="T2" fmla="*/ 218 w 405"/>
                  <a:gd name="T3" fmla="*/ 183 h 377"/>
                  <a:gd name="T4" fmla="*/ 234 w 405"/>
                  <a:gd name="T5" fmla="*/ 247 h 377"/>
                  <a:gd name="T6" fmla="*/ 260 w 405"/>
                  <a:gd name="T7" fmla="*/ 269 h 377"/>
                  <a:gd name="T8" fmla="*/ 209 w 405"/>
                  <a:gd name="T9" fmla="*/ 247 h 377"/>
                  <a:gd name="T10" fmla="*/ 108 w 405"/>
                  <a:gd name="T11" fmla="*/ 215 h 377"/>
                  <a:gd name="T12" fmla="*/ 73 w 405"/>
                  <a:gd name="T13" fmla="*/ 283 h 377"/>
                  <a:gd name="T14" fmla="*/ 43 w 405"/>
                  <a:gd name="T15" fmla="*/ 350 h 377"/>
                  <a:gd name="T16" fmla="*/ 91 w 405"/>
                  <a:gd name="T17" fmla="*/ 347 h 377"/>
                  <a:gd name="T18" fmla="*/ 118 w 405"/>
                  <a:gd name="T19" fmla="*/ 372 h 377"/>
                  <a:gd name="T20" fmla="*/ 136 w 405"/>
                  <a:gd name="T21" fmla="*/ 328 h 377"/>
                  <a:gd name="T22" fmla="*/ 147 w 405"/>
                  <a:gd name="T23" fmla="*/ 265 h 377"/>
                  <a:gd name="T24" fmla="*/ 242 w 405"/>
                  <a:gd name="T25" fmla="*/ 306 h 377"/>
                  <a:gd name="T26" fmla="*/ 186 w 405"/>
                  <a:gd name="T27" fmla="*/ 337 h 377"/>
                  <a:gd name="T28" fmla="*/ 172 w 405"/>
                  <a:gd name="T29" fmla="*/ 367 h 377"/>
                  <a:gd name="T30" fmla="*/ 272 w 405"/>
                  <a:gd name="T31" fmla="*/ 328 h 377"/>
                  <a:gd name="T32" fmla="*/ 352 w 405"/>
                  <a:gd name="T33" fmla="*/ 373 h 377"/>
                  <a:gd name="T34" fmla="*/ 389 w 405"/>
                  <a:gd name="T35" fmla="*/ 333 h 377"/>
                  <a:gd name="T36" fmla="*/ 292 w 405"/>
                  <a:gd name="T37" fmla="*/ 299 h 377"/>
                  <a:gd name="T38" fmla="*/ 291 w 405"/>
                  <a:gd name="T39" fmla="*/ 217 h 377"/>
                  <a:gd name="T40" fmla="*/ 261 w 405"/>
                  <a:gd name="T41" fmla="*/ 173 h 377"/>
                  <a:gd name="T42" fmla="*/ 297 w 405"/>
                  <a:gd name="T43" fmla="*/ 107 h 377"/>
                  <a:gd name="T44" fmla="*/ 283 w 405"/>
                  <a:gd name="T45" fmla="*/ 43 h 377"/>
                  <a:gd name="T46" fmla="*/ 241 w 405"/>
                  <a:gd name="T47" fmla="*/ 1 h 377"/>
                  <a:gd name="T48" fmla="*/ 241 w 405"/>
                  <a:gd name="T49" fmla="*/ 35 h 377"/>
                  <a:gd name="T50" fmla="*/ 245 w 405"/>
                  <a:gd name="T51" fmla="*/ 97 h 377"/>
                  <a:gd name="T52" fmla="*/ 194 w 405"/>
                  <a:gd name="T53" fmla="*/ 129 h 377"/>
                  <a:gd name="T54" fmla="*/ 161 w 405"/>
                  <a:gd name="T55" fmla="*/ 121 h 377"/>
                  <a:gd name="T56" fmla="*/ 150 w 405"/>
                  <a:gd name="T57" fmla="*/ 33 h 377"/>
                  <a:gd name="T58" fmla="*/ 122 w 405"/>
                  <a:gd name="T59" fmla="*/ 56 h 377"/>
                  <a:gd name="T60" fmla="*/ 121 w 405"/>
                  <a:gd name="T61" fmla="*/ 133 h 377"/>
                  <a:gd name="T62" fmla="*/ 30 w 405"/>
                  <a:gd name="T63" fmla="*/ 180 h 377"/>
                  <a:gd name="T64" fmla="*/ 22 w 405"/>
                  <a:gd name="T65" fmla="*/ 219 h 3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405" h="377">
                    <a:moveTo>
                      <a:pt x="174" y="243"/>
                    </a:moveTo>
                    <a:cubicBezTo>
                      <a:pt x="172" y="243"/>
                      <a:pt x="154" y="236"/>
                      <a:pt x="159" y="229"/>
                    </a:cubicBezTo>
                    <a:cubicBezTo>
                      <a:pt x="163" y="221"/>
                      <a:pt x="190" y="187"/>
                      <a:pt x="199" y="183"/>
                    </a:cubicBezTo>
                    <a:cubicBezTo>
                      <a:pt x="208" y="178"/>
                      <a:pt x="215" y="172"/>
                      <a:pt x="218" y="183"/>
                    </a:cubicBezTo>
                    <a:cubicBezTo>
                      <a:pt x="221" y="193"/>
                      <a:pt x="215" y="230"/>
                      <a:pt x="220" y="236"/>
                    </a:cubicBezTo>
                    <a:cubicBezTo>
                      <a:pt x="225" y="241"/>
                      <a:pt x="227" y="248"/>
                      <a:pt x="234" y="247"/>
                    </a:cubicBezTo>
                    <a:cubicBezTo>
                      <a:pt x="241" y="246"/>
                      <a:pt x="256" y="238"/>
                      <a:pt x="260" y="245"/>
                    </a:cubicBezTo>
                    <a:cubicBezTo>
                      <a:pt x="263" y="252"/>
                      <a:pt x="268" y="259"/>
                      <a:pt x="260" y="269"/>
                    </a:cubicBezTo>
                    <a:cubicBezTo>
                      <a:pt x="253" y="278"/>
                      <a:pt x="247" y="281"/>
                      <a:pt x="239" y="274"/>
                    </a:cubicBezTo>
                    <a:cubicBezTo>
                      <a:pt x="230" y="267"/>
                      <a:pt x="221" y="250"/>
                      <a:pt x="209" y="247"/>
                    </a:cubicBezTo>
                    <a:cubicBezTo>
                      <a:pt x="198" y="245"/>
                      <a:pt x="176" y="243"/>
                      <a:pt x="174" y="243"/>
                    </a:cubicBezTo>
                    <a:close/>
                    <a:moveTo>
                      <a:pt x="108" y="215"/>
                    </a:moveTo>
                    <a:cubicBezTo>
                      <a:pt x="109" y="216"/>
                      <a:pt x="102" y="238"/>
                      <a:pt x="93" y="254"/>
                    </a:cubicBezTo>
                    <a:cubicBezTo>
                      <a:pt x="84" y="271"/>
                      <a:pt x="81" y="271"/>
                      <a:pt x="73" y="283"/>
                    </a:cubicBezTo>
                    <a:cubicBezTo>
                      <a:pt x="65" y="295"/>
                      <a:pt x="45" y="309"/>
                      <a:pt x="44" y="316"/>
                    </a:cubicBezTo>
                    <a:cubicBezTo>
                      <a:pt x="43" y="323"/>
                      <a:pt x="41" y="343"/>
                      <a:pt x="43" y="350"/>
                    </a:cubicBezTo>
                    <a:cubicBezTo>
                      <a:pt x="44" y="357"/>
                      <a:pt x="61" y="358"/>
                      <a:pt x="69" y="357"/>
                    </a:cubicBezTo>
                    <a:cubicBezTo>
                      <a:pt x="77" y="355"/>
                      <a:pt x="84" y="347"/>
                      <a:pt x="91" y="347"/>
                    </a:cubicBezTo>
                    <a:cubicBezTo>
                      <a:pt x="98" y="347"/>
                      <a:pt x="96" y="355"/>
                      <a:pt x="97" y="361"/>
                    </a:cubicBezTo>
                    <a:cubicBezTo>
                      <a:pt x="97" y="366"/>
                      <a:pt x="101" y="368"/>
                      <a:pt x="118" y="372"/>
                    </a:cubicBezTo>
                    <a:cubicBezTo>
                      <a:pt x="136" y="377"/>
                      <a:pt x="140" y="364"/>
                      <a:pt x="144" y="352"/>
                    </a:cubicBezTo>
                    <a:cubicBezTo>
                      <a:pt x="148" y="339"/>
                      <a:pt x="140" y="339"/>
                      <a:pt x="136" y="328"/>
                    </a:cubicBezTo>
                    <a:cubicBezTo>
                      <a:pt x="133" y="316"/>
                      <a:pt x="136" y="302"/>
                      <a:pt x="136" y="292"/>
                    </a:cubicBezTo>
                    <a:cubicBezTo>
                      <a:pt x="135" y="281"/>
                      <a:pt x="141" y="272"/>
                      <a:pt x="147" y="265"/>
                    </a:cubicBezTo>
                    <a:cubicBezTo>
                      <a:pt x="153" y="258"/>
                      <a:pt x="160" y="248"/>
                      <a:pt x="186" y="258"/>
                    </a:cubicBezTo>
                    <a:cubicBezTo>
                      <a:pt x="212" y="267"/>
                      <a:pt x="239" y="298"/>
                      <a:pt x="242" y="306"/>
                    </a:cubicBezTo>
                    <a:cubicBezTo>
                      <a:pt x="245" y="313"/>
                      <a:pt x="232" y="318"/>
                      <a:pt x="227" y="325"/>
                    </a:cubicBezTo>
                    <a:cubicBezTo>
                      <a:pt x="222" y="332"/>
                      <a:pt x="196" y="338"/>
                      <a:pt x="186" y="337"/>
                    </a:cubicBezTo>
                    <a:cubicBezTo>
                      <a:pt x="175" y="336"/>
                      <a:pt x="172" y="344"/>
                      <a:pt x="167" y="348"/>
                    </a:cubicBezTo>
                    <a:cubicBezTo>
                      <a:pt x="162" y="351"/>
                      <a:pt x="167" y="361"/>
                      <a:pt x="172" y="367"/>
                    </a:cubicBezTo>
                    <a:cubicBezTo>
                      <a:pt x="177" y="373"/>
                      <a:pt x="211" y="373"/>
                      <a:pt x="224" y="364"/>
                    </a:cubicBezTo>
                    <a:cubicBezTo>
                      <a:pt x="237" y="354"/>
                      <a:pt x="272" y="328"/>
                      <a:pt x="272" y="328"/>
                    </a:cubicBezTo>
                    <a:cubicBezTo>
                      <a:pt x="272" y="328"/>
                      <a:pt x="285" y="340"/>
                      <a:pt x="293" y="348"/>
                    </a:cubicBezTo>
                    <a:cubicBezTo>
                      <a:pt x="301" y="357"/>
                      <a:pt x="319" y="369"/>
                      <a:pt x="352" y="373"/>
                    </a:cubicBezTo>
                    <a:cubicBezTo>
                      <a:pt x="385" y="377"/>
                      <a:pt x="398" y="356"/>
                      <a:pt x="401" y="352"/>
                    </a:cubicBezTo>
                    <a:cubicBezTo>
                      <a:pt x="405" y="348"/>
                      <a:pt x="399" y="342"/>
                      <a:pt x="389" y="333"/>
                    </a:cubicBezTo>
                    <a:cubicBezTo>
                      <a:pt x="379" y="323"/>
                      <a:pt x="353" y="312"/>
                      <a:pt x="337" y="313"/>
                    </a:cubicBezTo>
                    <a:cubicBezTo>
                      <a:pt x="321" y="315"/>
                      <a:pt x="303" y="305"/>
                      <a:pt x="292" y="299"/>
                    </a:cubicBezTo>
                    <a:cubicBezTo>
                      <a:pt x="282" y="293"/>
                      <a:pt x="287" y="293"/>
                      <a:pt x="291" y="277"/>
                    </a:cubicBezTo>
                    <a:cubicBezTo>
                      <a:pt x="295" y="261"/>
                      <a:pt x="294" y="231"/>
                      <a:pt x="291" y="217"/>
                    </a:cubicBezTo>
                    <a:cubicBezTo>
                      <a:pt x="287" y="204"/>
                      <a:pt x="269" y="200"/>
                      <a:pt x="264" y="192"/>
                    </a:cubicBezTo>
                    <a:cubicBezTo>
                      <a:pt x="258" y="184"/>
                      <a:pt x="251" y="180"/>
                      <a:pt x="261" y="173"/>
                    </a:cubicBezTo>
                    <a:cubicBezTo>
                      <a:pt x="272" y="166"/>
                      <a:pt x="282" y="146"/>
                      <a:pt x="290" y="135"/>
                    </a:cubicBezTo>
                    <a:cubicBezTo>
                      <a:pt x="298" y="123"/>
                      <a:pt x="305" y="117"/>
                      <a:pt x="297" y="107"/>
                    </a:cubicBezTo>
                    <a:cubicBezTo>
                      <a:pt x="289" y="97"/>
                      <a:pt x="283" y="94"/>
                      <a:pt x="281" y="86"/>
                    </a:cubicBezTo>
                    <a:cubicBezTo>
                      <a:pt x="280" y="79"/>
                      <a:pt x="283" y="57"/>
                      <a:pt x="283" y="43"/>
                    </a:cubicBezTo>
                    <a:cubicBezTo>
                      <a:pt x="283" y="29"/>
                      <a:pt x="285" y="30"/>
                      <a:pt x="272" y="15"/>
                    </a:cubicBezTo>
                    <a:cubicBezTo>
                      <a:pt x="260" y="0"/>
                      <a:pt x="248" y="2"/>
                      <a:pt x="241" y="1"/>
                    </a:cubicBezTo>
                    <a:cubicBezTo>
                      <a:pt x="235" y="0"/>
                      <a:pt x="231" y="21"/>
                      <a:pt x="233" y="26"/>
                    </a:cubicBezTo>
                    <a:cubicBezTo>
                      <a:pt x="235" y="31"/>
                      <a:pt x="239" y="31"/>
                      <a:pt x="241" y="35"/>
                    </a:cubicBezTo>
                    <a:cubicBezTo>
                      <a:pt x="242" y="39"/>
                      <a:pt x="239" y="36"/>
                      <a:pt x="243" y="53"/>
                    </a:cubicBezTo>
                    <a:cubicBezTo>
                      <a:pt x="247" y="70"/>
                      <a:pt x="245" y="91"/>
                      <a:pt x="245" y="97"/>
                    </a:cubicBezTo>
                    <a:cubicBezTo>
                      <a:pt x="245" y="103"/>
                      <a:pt x="240" y="107"/>
                      <a:pt x="234" y="114"/>
                    </a:cubicBezTo>
                    <a:cubicBezTo>
                      <a:pt x="228" y="121"/>
                      <a:pt x="206" y="123"/>
                      <a:pt x="194" y="129"/>
                    </a:cubicBezTo>
                    <a:cubicBezTo>
                      <a:pt x="181" y="135"/>
                      <a:pt x="179" y="146"/>
                      <a:pt x="170" y="149"/>
                    </a:cubicBezTo>
                    <a:cubicBezTo>
                      <a:pt x="161" y="151"/>
                      <a:pt x="157" y="138"/>
                      <a:pt x="161" y="121"/>
                    </a:cubicBezTo>
                    <a:cubicBezTo>
                      <a:pt x="164" y="109"/>
                      <a:pt x="168" y="79"/>
                      <a:pt x="168" y="64"/>
                    </a:cubicBezTo>
                    <a:cubicBezTo>
                      <a:pt x="167" y="54"/>
                      <a:pt x="158" y="40"/>
                      <a:pt x="150" y="33"/>
                    </a:cubicBezTo>
                    <a:cubicBezTo>
                      <a:pt x="142" y="25"/>
                      <a:pt x="136" y="30"/>
                      <a:pt x="131" y="32"/>
                    </a:cubicBezTo>
                    <a:cubicBezTo>
                      <a:pt x="126" y="35"/>
                      <a:pt x="120" y="43"/>
                      <a:pt x="122" y="56"/>
                    </a:cubicBezTo>
                    <a:cubicBezTo>
                      <a:pt x="124" y="70"/>
                      <a:pt x="127" y="72"/>
                      <a:pt x="127" y="82"/>
                    </a:cubicBezTo>
                    <a:cubicBezTo>
                      <a:pt x="128" y="92"/>
                      <a:pt x="124" y="113"/>
                      <a:pt x="121" y="133"/>
                    </a:cubicBezTo>
                    <a:cubicBezTo>
                      <a:pt x="117" y="152"/>
                      <a:pt x="104" y="151"/>
                      <a:pt x="90" y="158"/>
                    </a:cubicBezTo>
                    <a:cubicBezTo>
                      <a:pt x="76" y="165"/>
                      <a:pt x="48" y="175"/>
                      <a:pt x="30" y="180"/>
                    </a:cubicBezTo>
                    <a:cubicBezTo>
                      <a:pt x="13" y="184"/>
                      <a:pt x="0" y="191"/>
                      <a:pt x="0" y="200"/>
                    </a:cubicBezTo>
                    <a:cubicBezTo>
                      <a:pt x="0" y="209"/>
                      <a:pt x="9" y="210"/>
                      <a:pt x="22" y="219"/>
                    </a:cubicBezTo>
                    <a:cubicBezTo>
                      <a:pt x="35" y="228"/>
                      <a:pt x="107" y="215"/>
                      <a:pt x="108" y="21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140" name="íŝļïḓè"/>
              <p:cNvSpPr/>
              <p:nvPr/>
            </p:nvSpPr>
            <p:spPr bwMode="auto">
              <a:xfrm>
                <a:off x="6220078" y="4756740"/>
                <a:ext cx="627063" cy="793750"/>
              </a:xfrm>
              <a:custGeom>
                <a:avLst/>
                <a:gdLst>
                  <a:gd name="T0" fmla="*/ 194 w 340"/>
                  <a:gd name="T1" fmla="*/ 225 h 430"/>
                  <a:gd name="T2" fmla="*/ 189 w 340"/>
                  <a:gd name="T3" fmla="*/ 204 h 430"/>
                  <a:gd name="T4" fmla="*/ 222 w 340"/>
                  <a:gd name="T5" fmla="*/ 196 h 430"/>
                  <a:gd name="T6" fmla="*/ 234 w 340"/>
                  <a:gd name="T7" fmla="*/ 215 h 430"/>
                  <a:gd name="T8" fmla="*/ 217 w 340"/>
                  <a:gd name="T9" fmla="*/ 231 h 430"/>
                  <a:gd name="T10" fmla="*/ 194 w 340"/>
                  <a:gd name="T11" fmla="*/ 225 h 430"/>
                  <a:gd name="T12" fmla="*/ 33 w 340"/>
                  <a:gd name="T13" fmla="*/ 228 h 430"/>
                  <a:gd name="T14" fmla="*/ 67 w 340"/>
                  <a:gd name="T15" fmla="*/ 224 h 430"/>
                  <a:gd name="T16" fmla="*/ 105 w 340"/>
                  <a:gd name="T17" fmla="*/ 194 h 430"/>
                  <a:gd name="T18" fmla="*/ 164 w 340"/>
                  <a:gd name="T19" fmla="*/ 151 h 430"/>
                  <a:gd name="T20" fmla="*/ 170 w 340"/>
                  <a:gd name="T21" fmla="*/ 163 h 430"/>
                  <a:gd name="T22" fmla="*/ 144 w 340"/>
                  <a:gd name="T23" fmla="*/ 203 h 430"/>
                  <a:gd name="T24" fmla="*/ 142 w 340"/>
                  <a:gd name="T25" fmla="*/ 250 h 430"/>
                  <a:gd name="T26" fmla="*/ 166 w 340"/>
                  <a:gd name="T27" fmla="*/ 278 h 430"/>
                  <a:gd name="T28" fmla="*/ 170 w 340"/>
                  <a:gd name="T29" fmla="*/ 300 h 430"/>
                  <a:gd name="T30" fmla="*/ 132 w 340"/>
                  <a:gd name="T31" fmla="*/ 347 h 430"/>
                  <a:gd name="T32" fmla="*/ 133 w 340"/>
                  <a:gd name="T33" fmla="*/ 397 h 430"/>
                  <a:gd name="T34" fmla="*/ 181 w 340"/>
                  <a:gd name="T35" fmla="*/ 410 h 430"/>
                  <a:gd name="T36" fmla="*/ 184 w 340"/>
                  <a:gd name="T37" fmla="*/ 375 h 430"/>
                  <a:gd name="T38" fmla="*/ 198 w 340"/>
                  <a:gd name="T39" fmla="*/ 374 h 430"/>
                  <a:gd name="T40" fmla="*/ 215 w 340"/>
                  <a:gd name="T41" fmla="*/ 416 h 430"/>
                  <a:gd name="T42" fmla="*/ 240 w 340"/>
                  <a:gd name="T43" fmla="*/ 406 h 430"/>
                  <a:gd name="T44" fmla="*/ 230 w 340"/>
                  <a:gd name="T45" fmla="*/ 341 h 430"/>
                  <a:gd name="T46" fmla="*/ 250 w 340"/>
                  <a:gd name="T47" fmla="*/ 322 h 430"/>
                  <a:gd name="T48" fmla="*/ 268 w 340"/>
                  <a:gd name="T49" fmla="*/ 373 h 430"/>
                  <a:gd name="T50" fmla="*/ 316 w 340"/>
                  <a:gd name="T51" fmla="*/ 385 h 430"/>
                  <a:gd name="T52" fmla="*/ 295 w 340"/>
                  <a:gd name="T53" fmla="*/ 310 h 430"/>
                  <a:gd name="T54" fmla="*/ 263 w 340"/>
                  <a:gd name="T55" fmla="*/ 288 h 430"/>
                  <a:gd name="T56" fmla="*/ 264 w 340"/>
                  <a:gd name="T57" fmla="*/ 259 h 430"/>
                  <a:gd name="T58" fmla="*/ 265 w 340"/>
                  <a:gd name="T59" fmla="*/ 233 h 430"/>
                  <a:gd name="T60" fmla="*/ 300 w 340"/>
                  <a:gd name="T61" fmla="*/ 199 h 430"/>
                  <a:gd name="T62" fmla="*/ 275 w 340"/>
                  <a:gd name="T63" fmla="*/ 161 h 430"/>
                  <a:gd name="T64" fmla="*/ 217 w 340"/>
                  <a:gd name="T65" fmla="*/ 159 h 430"/>
                  <a:gd name="T66" fmla="*/ 270 w 340"/>
                  <a:gd name="T67" fmla="*/ 132 h 430"/>
                  <a:gd name="T68" fmla="*/ 316 w 340"/>
                  <a:gd name="T69" fmla="*/ 126 h 430"/>
                  <a:gd name="T70" fmla="*/ 332 w 340"/>
                  <a:gd name="T71" fmla="*/ 110 h 430"/>
                  <a:gd name="T72" fmla="*/ 321 w 340"/>
                  <a:gd name="T73" fmla="*/ 75 h 430"/>
                  <a:gd name="T74" fmla="*/ 256 w 340"/>
                  <a:gd name="T75" fmla="*/ 74 h 430"/>
                  <a:gd name="T76" fmla="*/ 240 w 340"/>
                  <a:gd name="T77" fmla="*/ 51 h 430"/>
                  <a:gd name="T78" fmla="*/ 212 w 340"/>
                  <a:gd name="T79" fmla="*/ 9 h 430"/>
                  <a:gd name="T80" fmla="*/ 190 w 340"/>
                  <a:gd name="T81" fmla="*/ 6 h 430"/>
                  <a:gd name="T82" fmla="*/ 174 w 340"/>
                  <a:gd name="T83" fmla="*/ 34 h 430"/>
                  <a:gd name="T84" fmla="*/ 183 w 340"/>
                  <a:gd name="T85" fmla="*/ 70 h 430"/>
                  <a:gd name="T86" fmla="*/ 172 w 340"/>
                  <a:gd name="T87" fmla="*/ 98 h 430"/>
                  <a:gd name="T88" fmla="*/ 65 w 340"/>
                  <a:gd name="T89" fmla="*/ 161 h 430"/>
                  <a:gd name="T90" fmla="*/ 21 w 340"/>
                  <a:gd name="T91" fmla="*/ 171 h 430"/>
                  <a:gd name="T92" fmla="*/ 10 w 340"/>
                  <a:gd name="T93" fmla="*/ 198 h 430"/>
                  <a:gd name="T94" fmla="*/ 33 w 340"/>
                  <a:gd name="T95" fmla="*/ 228 h 4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340" h="430">
                    <a:moveTo>
                      <a:pt x="194" y="225"/>
                    </a:moveTo>
                    <a:cubicBezTo>
                      <a:pt x="194" y="225"/>
                      <a:pt x="178" y="212"/>
                      <a:pt x="189" y="204"/>
                    </a:cubicBezTo>
                    <a:cubicBezTo>
                      <a:pt x="201" y="196"/>
                      <a:pt x="211" y="188"/>
                      <a:pt x="222" y="196"/>
                    </a:cubicBezTo>
                    <a:cubicBezTo>
                      <a:pt x="234" y="203"/>
                      <a:pt x="238" y="207"/>
                      <a:pt x="234" y="215"/>
                    </a:cubicBezTo>
                    <a:cubicBezTo>
                      <a:pt x="230" y="222"/>
                      <a:pt x="228" y="229"/>
                      <a:pt x="217" y="231"/>
                    </a:cubicBezTo>
                    <a:cubicBezTo>
                      <a:pt x="204" y="230"/>
                      <a:pt x="194" y="225"/>
                      <a:pt x="194" y="225"/>
                    </a:cubicBezTo>
                    <a:close/>
                    <a:moveTo>
                      <a:pt x="33" y="228"/>
                    </a:moveTo>
                    <a:cubicBezTo>
                      <a:pt x="40" y="229"/>
                      <a:pt x="52" y="231"/>
                      <a:pt x="67" y="224"/>
                    </a:cubicBezTo>
                    <a:cubicBezTo>
                      <a:pt x="82" y="216"/>
                      <a:pt x="91" y="208"/>
                      <a:pt x="105" y="194"/>
                    </a:cubicBezTo>
                    <a:cubicBezTo>
                      <a:pt x="119" y="180"/>
                      <a:pt x="153" y="155"/>
                      <a:pt x="164" y="151"/>
                    </a:cubicBezTo>
                    <a:cubicBezTo>
                      <a:pt x="176" y="146"/>
                      <a:pt x="176" y="155"/>
                      <a:pt x="170" y="163"/>
                    </a:cubicBezTo>
                    <a:cubicBezTo>
                      <a:pt x="164" y="171"/>
                      <a:pt x="150" y="188"/>
                      <a:pt x="144" y="203"/>
                    </a:cubicBezTo>
                    <a:cubicBezTo>
                      <a:pt x="139" y="218"/>
                      <a:pt x="134" y="224"/>
                      <a:pt x="142" y="250"/>
                    </a:cubicBezTo>
                    <a:cubicBezTo>
                      <a:pt x="149" y="275"/>
                      <a:pt x="160" y="275"/>
                      <a:pt x="166" y="278"/>
                    </a:cubicBezTo>
                    <a:cubicBezTo>
                      <a:pt x="172" y="281"/>
                      <a:pt x="176" y="301"/>
                      <a:pt x="170" y="300"/>
                    </a:cubicBezTo>
                    <a:cubicBezTo>
                      <a:pt x="164" y="299"/>
                      <a:pt x="136" y="327"/>
                      <a:pt x="132" y="347"/>
                    </a:cubicBezTo>
                    <a:cubicBezTo>
                      <a:pt x="127" y="366"/>
                      <a:pt x="123" y="375"/>
                      <a:pt x="133" y="397"/>
                    </a:cubicBezTo>
                    <a:cubicBezTo>
                      <a:pt x="144" y="419"/>
                      <a:pt x="174" y="413"/>
                      <a:pt x="181" y="410"/>
                    </a:cubicBezTo>
                    <a:cubicBezTo>
                      <a:pt x="189" y="407"/>
                      <a:pt x="185" y="395"/>
                      <a:pt x="184" y="375"/>
                    </a:cubicBezTo>
                    <a:cubicBezTo>
                      <a:pt x="182" y="355"/>
                      <a:pt x="192" y="364"/>
                      <a:pt x="198" y="374"/>
                    </a:cubicBezTo>
                    <a:cubicBezTo>
                      <a:pt x="204" y="384"/>
                      <a:pt x="203" y="402"/>
                      <a:pt x="215" y="416"/>
                    </a:cubicBezTo>
                    <a:cubicBezTo>
                      <a:pt x="226" y="430"/>
                      <a:pt x="235" y="419"/>
                      <a:pt x="240" y="406"/>
                    </a:cubicBezTo>
                    <a:cubicBezTo>
                      <a:pt x="245" y="393"/>
                      <a:pt x="232" y="357"/>
                      <a:pt x="230" y="341"/>
                    </a:cubicBezTo>
                    <a:cubicBezTo>
                      <a:pt x="229" y="326"/>
                      <a:pt x="238" y="322"/>
                      <a:pt x="250" y="322"/>
                    </a:cubicBezTo>
                    <a:cubicBezTo>
                      <a:pt x="262" y="322"/>
                      <a:pt x="248" y="347"/>
                      <a:pt x="268" y="373"/>
                    </a:cubicBezTo>
                    <a:cubicBezTo>
                      <a:pt x="287" y="399"/>
                      <a:pt x="292" y="396"/>
                      <a:pt x="316" y="385"/>
                    </a:cubicBezTo>
                    <a:cubicBezTo>
                      <a:pt x="340" y="375"/>
                      <a:pt x="311" y="327"/>
                      <a:pt x="295" y="310"/>
                    </a:cubicBezTo>
                    <a:cubicBezTo>
                      <a:pt x="279" y="294"/>
                      <a:pt x="263" y="294"/>
                      <a:pt x="263" y="288"/>
                    </a:cubicBezTo>
                    <a:cubicBezTo>
                      <a:pt x="263" y="282"/>
                      <a:pt x="266" y="267"/>
                      <a:pt x="264" y="259"/>
                    </a:cubicBezTo>
                    <a:cubicBezTo>
                      <a:pt x="262" y="251"/>
                      <a:pt x="258" y="239"/>
                      <a:pt x="265" y="233"/>
                    </a:cubicBezTo>
                    <a:cubicBezTo>
                      <a:pt x="273" y="226"/>
                      <a:pt x="301" y="222"/>
                      <a:pt x="300" y="199"/>
                    </a:cubicBezTo>
                    <a:cubicBezTo>
                      <a:pt x="299" y="177"/>
                      <a:pt x="294" y="175"/>
                      <a:pt x="275" y="161"/>
                    </a:cubicBezTo>
                    <a:cubicBezTo>
                      <a:pt x="257" y="148"/>
                      <a:pt x="216" y="168"/>
                      <a:pt x="217" y="159"/>
                    </a:cubicBezTo>
                    <a:cubicBezTo>
                      <a:pt x="218" y="150"/>
                      <a:pt x="250" y="138"/>
                      <a:pt x="270" y="132"/>
                    </a:cubicBezTo>
                    <a:cubicBezTo>
                      <a:pt x="290" y="125"/>
                      <a:pt x="306" y="126"/>
                      <a:pt x="316" y="126"/>
                    </a:cubicBezTo>
                    <a:cubicBezTo>
                      <a:pt x="326" y="126"/>
                      <a:pt x="326" y="118"/>
                      <a:pt x="332" y="110"/>
                    </a:cubicBezTo>
                    <a:cubicBezTo>
                      <a:pt x="337" y="102"/>
                      <a:pt x="334" y="88"/>
                      <a:pt x="321" y="75"/>
                    </a:cubicBezTo>
                    <a:cubicBezTo>
                      <a:pt x="308" y="61"/>
                      <a:pt x="263" y="74"/>
                      <a:pt x="256" y="74"/>
                    </a:cubicBezTo>
                    <a:cubicBezTo>
                      <a:pt x="250" y="74"/>
                      <a:pt x="250" y="63"/>
                      <a:pt x="240" y="51"/>
                    </a:cubicBezTo>
                    <a:cubicBezTo>
                      <a:pt x="229" y="38"/>
                      <a:pt x="220" y="18"/>
                      <a:pt x="212" y="9"/>
                    </a:cubicBezTo>
                    <a:cubicBezTo>
                      <a:pt x="205" y="0"/>
                      <a:pt x="203" y="8"/>
                      <a:pt x="190" y="6"/>
                    </a:cubicBezTo>
                    <a:cubicBezTo>
                      <a:pt x="176" y="3"/>
                      <a:pt x="165" y="15"/>
                      <a:pt x="174" y="34"/>
                    </a:cubicBezTo>
                    <a:cubicBezTo>
                      <a:pt x="183" y="53"/>
                      <a:pt x="183" y="56"/>
                      <a:pt x="183" y="70"/>
                    </a:cubicBezTo>
                    <a:cubicBezTo>
                      <a:pt x="183" y="84"/>
                      <a:pt x="197" y="88"/>
                      <a:pt x="172" y="98"/>
                    </a:cubicBezTo>
                    <a:cubicBezTo>
                      <a:pt x="147" y="108"/>
                      <a:pt x="75" y="152"/>
                      <a:pt x="65" y="161"/>
                    </a:cubicBezTo>
                    <a:cubicBezTo>
                      <a:pt x="55" y="170"/>
                      <a:pt x="26" y="169"/>
                      <a:pt x="21" y="171"/>
                    </a:cubicBezTo>
                    <a:cubicBezTo>
                      <a:pt x="15" y="173"/>
                      <a:pt x="0" y="170"/>
                      <a:pt x="10" y="198"/>
                    </a:cubicBezTo>
                    <a:cubicBezTo>
                      <a:pt x="24" y="238"/>
                      <a:pt x="26" y="227"/>
                      <a:pt x="33" y="22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141" name="ïs1îḋè"/>
              <p:cNvSpPr/>
              <p:nvPr/>
            </p:nvSpPr>
            <p:spPr bwMode="auto">
              <a:xfrm>
                <a:off x="7263066" y="4780553"/>
                <a:ext cx="674688" cy="863600"/>
              </a:xfrm>
              <a:custGeom>
                <a:avLst/>
                <a:gdLst>
                  <a:gd name="T0" fmla="*/ 258 w 366"/>
                  <a:gd name="T1" fmla="*/ 136 h 468"/>
                  <a:gd name="T2" fmla="*/ 270 w 366"/>
                  <a:gd name="T3" fmla="*/ 115 h 468"/>
                  <a:gd name="T4" fmla="*/ 287 w 366"/>
                  <a:gd name="T5" fmla="*/ 153 h 468"/>
                  <a:gd name="T6" fmla="*/ 200 w 366"/>
                  <a:gd name="T7" fmla="*/ 103 h 468"/>
                  <a:gd name="T8" fmla="*/ 227 w 366"/>
                  <a:gd name="T9" fmla="*/ 122 h 468"/>
                  <a:gd name="T10" fmla="*/ 225 w 366"/>
                  <a:gd name="T11" fmla="*/ 167 h 468"/>
                  <a:gd name="T12" fmla="*/ 215 w 366"/>
                  <a:gd name="T13" fmla="*/ 201 h 468"/>
                  <a:gd name="T14" fmla="*/ 197 w 366"/>
                  <a:gd name="T15" fmla="*/ 167 h 468"/>
                  <a:gd name="T16" fmla="*/ 204 w 366"/>
                  <a:gd name="T17" fmla="*/ 133 h 468"/>
                  <a:gd name="T18" fmla="*/ 200 w 366"/>
                  <a:gd name="T19" fmla="*/ 103 h 468"/>
                  <a:gd name="T20" fmla="*/ 271 w 366"/>
                  <a:gd name="T21" fmla="*/ 175 h 468"/>
                  <a:gd name="T22" fmla="*/ 286 w 366"/>
                  <a:gd name="T23" fmla="*/ 190 h 468"/>
                  <a:gd name="T24" fmla="*/ 146 w 366"/>
                  <a:gd name="T25" fmla="*/ 109 h 468"/>
                  <a:gd name="T26" fmla="*/ 87 w 366"/>
                  <a:gd name="T27" fmla="*/ 173 h 468"/>
                  <a:gd name="T28" fmla="*/ 7 w 366"/>
                  <a:gd name="T29" fmla="*/ 236 h 468"/>
                  <a:gd name="T30" fmla="*/ 111 w 366"/>
                  <a:gd name="T31" fmla="*/ 239 h 468"/>
                  <a:gd name="T32" fmla="*/ 108 w 366"/>
                  <a:gd name="T33" fmla="*/ 279 h 468"/>
                  <a:gd name="T34" fmla="*/ 110 w 366"/>
                  <a:gd name="T35" fmla="*/ 332 h 468"/>
                  <a:gd name="T36" fmla="*/ 139 w 366"/>
                  <a:gd name="T37" fmla="*/ 316 h 468"/>
                  <a:gd name="T38" fmla="*/ 159 w 366"/>
                  <a:gd name="T39" fmla="*/ 326 h 468"/>
                  <a:gd name="T40" fmla="*/ 189 w 366"/>
                  <a:gd name="T41" fmla="*/ 330 h 468"/>
                  <a:gd name="T42" fmla="*/ 217 w 366"/>
                  <a:gd name="T43" fmla="*/ 281 h 468"/>
                  <a:gd name="T44" fmla="*/ 284 w 366"/>
                  <a:gd name="T45" fmla="*/ 237 h 468"/>
                  <a:gd name="T46" fmla="*/ 287 w 366"/>
                  <a:gd name="T47" fmla="*/ 396 h 468"/>
                  <a:gd name="T48" fmla="*/ 284 w 366"/>
                  <a:gd name="T49" fmla="*/ 461 h 468"/>
                  <a:gd name="T50" fmla="*/ 319 w 366"/>
                  <a:gd name="T51" fmla="*/ 393 h 468"/>
                  <a:gd name="T52" fmla="*/ 327 w 366"/>
                  <a:gd name="T53" fmla="*/ 227 h 468"/>
                  <a:gd name="T54" fmla="*/ 363 w 366"/>
                  <a:gd name="T55" fmla="*/ 202 h 468"/>
                  <a:gd name="T56" fmla="*/ 324 w 366"/>
                  <a:gd name="T57" fmla="*/ 162 h 468"/>
                  <a:gd name="T58" fmla="*/ 330 w 366"/>
                  <a:gd name="T59" fmla="*/ 85 h 468"/>
                  <a:gd name="T60" fmla="*/ 324 w 366"/>
                  <a:gd name="T61" fmla="*/ 23 h 468"/>
                  <a:gd name="T62" fmla="*/ 275 w 366"/>
                  <a:gd name="T63" fmla="*/ 29 h 468"/>
                  <a:gd name="T64" fmla="*/ 286 w 366"/>
                  <a:gd name="T65" fmla="*/ 69 h 468"/>
                  <a:gd name="T66" fmla="*/ 253 w 366"/>
                  <a:gd name="T67" fmla="*/ 65 h 468"/>
                  <a:gd name="T68" fmla="*/ 212 w 366"/>
                  <a:gd name="T69" fmla="*/ 52 h 468"/>
                  <a:gd name="T70" fmla="*/ 115 w 366"/>
                  <a:gd name="T71" fmla="*/ 68 h 468"/>
                  <a:gd name="T72" fmla="*/ 30 w 366"/>
                  <a:gd name="T73" fmla="*/ 163 h 468"/>
                  <a:gd name="T74" fmla="*/ 96 w 366"/>
                  <a:gd name="T75" fmla="*/ 132 h 4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366" h="468">
                    <a:moveTo>
                      <a:pt x="270" y="152"/>
                    </a:moveTo>
                    <a:cubicBezTo>
                      <a:pt x="270" y="152"/>
                      <a:pt x="273" y="146"/>
                      <a:pt x="258" y="136"/>
                    </a:cubicBezTo>
                    <a:cubicBezTo>
                      <a:pt x="242" y="126"/>
                      <a:pt x="247" y="126"/>
                      <a:pt x="254" y="122"/>
                    </a:cubicBezTo>
                    <a:cubicBezTo>
                      <a:pt x="261" y="119"/>
                      <a:pt x="262" y="114"/>
                      <a:pt x="270" y="115"/>
                    </a:cubicBezTo>
                    <a:cubicBezTo>
                      <a:pt x="279" y="116"/>
                      <a:pt x="285" y="112"/>
                      <a:pt x="287" y="120"/>
                    </a:cubicBezTo>
                    <a:cubicBezTo>
                      <a:pt x="289" y="128"/>
                      <a:pt x="291" y="151"/>
                      <a:pt x="287" y="153"/>
                    </a:cubicBezTo>
                    <a:cubicBezTo>
                      <a:pt x="284" y="155"/>
                      <a:pt x="271" y="153"/>
                      <a:pt x="270" y="152"/>
                    </a:cubicBezTo>
                    <a:close/>
                    <a:moveTo>
                      <a:pt x="200" y="103"/>
                    </a:moveTo>
                    <a:cubicBezTo>
                      <a:pt x="200" y="99"/>
                      <a:pt x="207" y="96"/>
                      <a:pt x="216" y="102"/>
                    </a:cubicBezTo>
                    <a:cubicBezTo>
                      <a:pt x="225" y="108"/>
                      <a:pt x="228" y="113"/>
                      <a:pt x="227" y="122"/>
                    </a:cubicBezTo>
                    <a:cubicBezTo>
                      <a:pt x="225" y="131"/>
                      <a:pt x="222" y="135"/>
                      <a:pt x="223" y="145"/>
                    </a:cubicBezTo>
                    <a:cubicBezTo>
                      <a:pt x="223" y="156"/>
                      <a:pt x="217" y="162"/>
                      <a:pt x="225" y="167"/>
                    </a:cubicBezTo>
                    <a:cubicBezTo>
                      <a:pt x="232" y="173"/>
                      <a:pt x="235" y="171"/>
                      <a:pt x="233" y="185"/>
                    </a:cubicBezTo>
                    <a:cubicBezTo>
                      <a:pt x="231" y="202"/>
                      <a:pt x="214" y="210"/>
                      <a:pt x="215" y="201"/>
                    </a:cubicBezTo>
                    <a:cubicBezTo>
                      <a:pt x="215" y="192"/>
                      <a:pt x="220" y="185"/>
                      <a:pt x="213" y="176"/>
                    </a:cubicBezTo>
                    <a:cubicBezTo>
                      <a:pt x="205" y="167"/>
                      <a:pt x="204" y="178"/>
                      <a:pt x="197" y="167"/>
                    </a:cubicBezTo>
                    <a:cubicBezTo>
                      <a:pt x="191" y="155"/>
                      <a:pt x="195" y="154"/>
                      <a:pt x="199" y="152"/>
                    </a:cubicBezTo>
                    <a:cubicBezTo>
                      <a:pt x="204" y="149"/>
                      <a:pt x="209" y="147"/>
                      <a:pt x="204" y="133"/>
                    </a:cubicBezTo>
                    <a:cubicBezTo>
                      <a:pt x="199" y="119"/>
                      <a:pt x="198" y="127"/>
                      <a:pt x="197" y="119"/>
                    </a:cubicBezTo>
                    <a:cubicBezTo>
                      <a:pt x="196" y="112"/>
                      <a:pt x="200" y="107"/>
                      <a:pt x="200" y="103"/>
                    </a:cubicBezTo>
                    <a:close/>
                    <a:moveTo>
                      <a:pt x="246" y="206"/>
                    </a:moveTo>
                    <a:cubicBezTo>
                      <a:pt x="243" y="205"/>
                      <a:pt x="264" y="181"/>
                      <a:pt x="271" y="175"/>
                    </a:cubicBezTo>
                    <a:cubicBezTo>
                      <a:pt x="277" y="170"/>
                      <a:pt x="289" y="166"/>
                      <a:pt x="288" y="173"/>
                    </a:cubicBezTo>
                    <a:cubicBezTo>
                      <a:pt x="287" y="180"/>
                      <a:pt x="291" y="185"/>
                      <a:pt x="286" y="190"/>
                    </a:cubicBezTo>
                    <a:cubicBezTo>
                      <a:pt x="282" y="195"/>
                      <a:pt x="250" y="207"/>
                      <a:pt x="246" y="206"/>
                    </a:cubicBezTo>
                    <a:close/>
                    <a:moveTo>
                      <a:pt x="146" y="109"/>
                    </a:moveTo>
                    <a:cubicBezTo>
                      <a:pt x="146" y="114"/>
                      <a:pt x="141" y="124"/>
                      <a:pt x="134" y="134"/>
                    </a:cubicBezTo>
                    <a:cubicBezTo>
                      <a:pt x="127" y="144"/>
                      <a:pt x="103" y="162"/>
                      <a:pt x="87" y="173"/>
                    </a:cubicBezTo>
                    <a:cubicBezTo>
                      <a:pt x="70" y="183"/>
                      <a:pt x="23" y="206"/>
                      <a:pt x="16" y="212"/>
                    </a:cubicBezTo>
                    <a:cubicBezTo>
                      <a:pt x="10" y="218"/>
                      <a:pt x="0" y="213"/>
                      <a:pt x="7" y="236"/>
                    </a:cubicBezTo>
                    <a:cubicBezTo>
                      <a:pt x="13" y="258"/>
                      <a:pt x="24" y="253"/>
                      <a:pt x="55" y="252"/>
                    </a:cubicBezTo>
                    <a:cubicBezTo>
                      <a:pt x="85" y="250"/>
                      <a:pt x="106" y="237"/>
                      <a:pt x="111" y="239"/>
                    </a:cubicBezTo>
                    <a:cubicBezTo>
                      <a:pt x="116" y="242"/>
                      <a:pt x="119" y="251"/>
                      <a:pt x="119" y="259"/>
                    </a:cubicBezTo>
                    <a:cubicBezTo>
                      <a:pt x="120" y="266"/>
                      <a:pt x="116" y="270"/>
                      <a:pt x="108" y="279"/>
                    </a:cubicBezTo>
                    <a:cubicBezTo>
                      <a:pt x="100" y="288"/>
                      <a:pt x="100" y="303"/>
                      <a:pt x="100" y="311"/>
                    </a:cubicBezTo>
                    <a:cubicBezTo>
                      <a:pt x="101" y="318"/>
                      <a:pt x="104" y="325"/>
                      <a:pt x="110" y="332"/>
                    </a:cubicBezTo>
                    <a:cubicBezTo>
                      <a:pt x="117" y="338"/>
                      <a:pt x="119" y="333"/>
                      <a:pt x="127" y="333"/>
                    </a:cubicBezTo>
                    <a:cubicBezTo>
                      <a:pt x="134" y="332"/>
                      <a:pt x="138" y="323"/>
                      <a:pt x="139" y="316"/>
                    </a:cubicBezTo>
                    <a:cubicBezTo>
                      <a:pt x="140" y="308"/>
                      <a:pt x="148" y="313"/>
                      <a:pt x="155" y="314"/>
                    </a:cubicBezTo>
                    <a:cubicBezTo>
                      <a:pt x="161" y="316"/>
                      <a:pt x="158" y="318"/>
                      <a:pt x="159" y="326"/>
                    </a:cubicBezTo>
                    <a:cubicBezTo>
                      <a:pt x="159" y="334"/>
                      <a:pt x="159" y="336"/>
                      <a:pt x="168" y="339"/>
                    </a:cubicBezTo>
                    <a:cubicBezTo>
                      <a:pt x="177" y="343"/>
                      <a:pt x="178" y="342"/>
                      <a:pt x="189" y="330"/>
                    </a:cubicBezTo>
                    <a:cubicBezTo>
                      <a:pt x="199" y="319"/>
                      <a:pt x="187" y="291"/>
                      <a:pt x="193" y="292"/>
                    </a:cubicBezTo>
                    <a:cubicBezTo>
                      <a:pt x="198" y="293"/>
                      <a:pt x="209" y="289"/>
                      <a:pt x="217" y="281"/>
                    </a:cubicBezTo>
                    <a:cubicBezTo>
                      <a:pt x="225" y="273"/>
                      <a:pt x="232" y="272"/>
                      <a:pt x="243" y="263"/>
                    </a:cubicBezTo>
                    <a:cubicBezTo>
                      <a:pt x="253" y="254"/>
                      <a:pt x="278" y="233"/>
                      <a:pt x="284" y="237"/>
                    </a:cubicBezTo>
                    <a:cubicBezTo>
                      <a:pt x="290" y="240"/>
                      <a:pt x="285" y="282"/>
                      <a:pt x="286" y="321"/>
                    </a:cubicBezTo>
                    <a:cubicBezTo>
                      <a:pt x="288" y="361"/>
                      <a:pt x="286" y="379"/>
                      <a:pt x="287" y="396"/>
                    </a:cubicBezTo>
                    <a:cubicBezTo>
                      <a:pt x="289" y="413"/>
                      <a:pt x="278" y="425"/>
                      <a:pt x="278" y="434"/>
                    </a:cubicBezTo>
                    <a:cubicBezTo>
                      <a:pt x="277" y="443"/>
                      <a:pt x="278" y="454"/>
                      <a:pt x="284" y="461"/>
                    </a:cubicBezTo>
                    <a:cubicBezTo>
                      <a:pt x="291" y="468"/>
                      <a:pt x="296" y="458"/>
                      <a:pt x="305" y="449"/>
                    </a:cubicBezTo>
                    <a:cubicBezTo>
                      <a:pt x="314" y="440"/>
                      <a:pt x="315" y="424"/>
                      <a:pt x="319" y="393"/>
                    </a:cubicBezTo>
                    <a:cubicBezTo>
                      <a:pt x="323" y="362"/>
                      <a:pt x="318" y="269"/>
                      <a:pt x="320" y="252"/>
                    </a:cubicBezTo>
                    <a:cubicBezTo>
                      <a:pt x="321" y="236"/>
                      <a:pt x="323" y="232"/>
                      <a:pt x="327" y="227"/>
                    </a:cubicBezTo>
                    <a:cubicBezTo>
                      <a:pt x="332" y="222"/>
                      <a:pt x="332" y="212"/>
                      <a:pt x="340" y="211"/>
                    </a:cubicBezTo>
                    <a:cubicBezTo>
                      <a:pt x="349" y="210"/>
                      <a:pt x="360" y="212"/>
                      <a:pt x="363" y="202"/>
                    </a:cubicBezTo>
                    <a:cubicBezTo>
                      <a:pt x="366" y="192"/>
                      <a:pt x="364" y="182"/>
                      <a:pt x="358" y="177"/>
                    </a:cubicBezTo>
                    <a:cubicBezTo>
                      <a:pt x="352" y="172"/>
                      <a:pt x="326" y="167"/>
                      <a:pt x="324" y="162"/>
                    </a:cubicBezTo>
                    <a:cubicBezTo>
                      <a:pt x="322" y="158"/>
                      <a:pt x="323" y="119"/>
                      <a:pt x="322" y="108"/>
                    </a:cubicBezTo>
                    <a:cubicBezTo>
                      <a:pt x="322" y="96"/>
                      <a:pt x="324" y="98"/>
                      <a:pt x="330" y="85"/>
                    </a:cubicBezTo>
                    <a:cubicBezTo>
                      <a:pt x="336" y="73"/>
                      <a:pt x="333" y="65"/>
                      <a:pt x="334" y="48"/>
                    </a:cubicBezTo>
                    <a:cubicBezTo>
                      <a:pt x="334" y="32"/>
                      <a:pt x="334" y="33"/>
                      <a:pt x="324" y="23"/>
                    </a:cubicBezTo>
                    <a:cubicBezTo>
                      <a:pt x="315" y="14"/>
                      <a:pt x="306" y="6"/>
                      <a:pt x="292" y="3"/>
                    </a:cubicBezTo>
                    <a:cubicBezTo>
                      <a:pt x="278" y="0"/>
                      <a:pt x="274" y="12"/>
                      <a:pt x="275" y="29"/>
                    </a:cubicBezTo>
                    <a:cubicBezTo>
                      <a:pt x="275" y="47"/>
                      <a:pt x="278" y="37"/>
                      <a:pt x="282" y="43"/>
                    </a:cubicBezTo>
                    <a:cubicBezTo>
                      <a:pt x="286" y="49"/>
                      <a:pt x="285" y="62"/>
                      <a:pt x="286" y="69"/>
                    </a:cubicBezTo>
                    <a:cubicBezTo>
                      <a:pt x="287" y="76"/>
                      <a:pt x="283" y="77"/>
                      <a:pt x="274" y="77"/>
                    </a:cubicBezTo>
                    <a:cubicBezTo>
                      <a:pt x="265" y="78"/>
                      <a:pt x="268" y="69"/>
                      <a:pt x="253" y="65"/>
                    </a:cubicBezTo>
                    <a:cubicBezTo>
                      <a:pt x="238" y="60"/>
                      <a:pt x="225" y="74"/>
                      <a:pt x="218" y="72"/>
                    </a:cubicBezTo>
                    <a:cubicBezTo>
                      <a:pt x="212" y="71"/>
                      <a:pt x="215" y="68"/>
                      <a:pt x="212" y="52"/>
                    </a:cubicBezTo>
                    <a:cubicBezTo>
                      <a:pt x="209" y="36"/>
                      <a:pt x="191" y="26"/>
                      <a:pt x="177" y="26"/>
                    </a:cubicBezTo>
                    <a:cubicBezTo>
                      <a:pt x="164" y="26"/>
                      <a:pt x="135" y="52"/>
                      <a:pt x="115" y="68"/>
                    </a:cubicBezTo>
                    <a:cubicBezTo>
                      <a:pt x="96" y="84"/>
                      <a:pt x="55" y="129"/>
                      <a:pt x="47" y="139"/>
                    </a:cubicBezTo>
                    <a:cubicBezTo>
                      <a:pt x="39" y="149"/>
                      <a:pt x="30" y="156"/>
                      <a:pt x="30" y="163"/>
                    </a:cubicBezTo>
                    <a:cubicBezTo>
                      <a:pt x="30" y="170"/>
                      <a:pt x="28" y="170"/>
                      <a:pt x="39" y="172"/>
                    </a:cubicBezTo>
                    <a:cubicBezTo>
                      <a:pt x="49" y="174"/>
                      <a:pt x="64" y="154"/>
                      <a:pt x="96" y="132"/>
                    </a:cubicBezTo>
                    <a:cubicBezTo>
                      <a:pt x="128" y="110"/>
                      <a:pt x="147" y="103"/>
                      <a:pt x="146" y="10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142" name="îš1ïdè"/>
              <p:cNvSpPr/>
              <p:nvPr/>
            </p:nvSpPr>
            <p:spPr bwMode="auto">
              <a:xfrm>
                <a:off x="5180266" y="4845640"/>
                <a:ext cx="635000" cy="660400"/>
              </a:xfrm>
              <a:custGeom>
                <a:avLst/>
                <a:gdLst>
                  <a:gd name="T0" fmla="*/ 5 w 344"/>
                  <a:gd name="T1" fmla="*/ 147 h 358"/>
                  <a:gd name="T2" fmla="*/ 38 w 344"/>
                  <a:gd name="T3" fmla="*/ 142 h 358"/>
                  <a:gd name="T4" fmla="*/ 53 w 344"/>
                  <a:gd name="T5" fmla="*/ 125 h 358"/>
                  <a:gd name="T6" fmla="*/ 43 w 344"/>
                  <a:gd name="T7" fmla="*/ 70 h 358"/>
                  <a:gd name="T8" fmla="*/ 48 w 344"/>
                  <a:gd name="T9" fmla="*/ 43 h 358"/>
                  <a:gd name="T10" fmla="*/ 76 w 344"/>
                  <a:gd name="T11" fmla="*/ 45 h 358"/>
                  <a:gd name="T12" fmla="*/ 122 w 344"/>
                  <a:gd name="T13" fmla="*/ 89 h 358"/>
                  <a:gd name="T14" fmla="*/ 122 w 344"/>
                  <a:gd name="T15" fmla="*/ 185 h 358"/>
                  <a:gd name="T16" fmla="*/ 141 w 344"/>
                  <a:gd name="T17" fmla="*/ 192 h 358"/>
                  <a:gd name="T18" fmla="*/ 231 w 344"/>
                  <a:gd name="T19" fmla="*/ 135 h 358"/>
                  <a:gd name="T20" fmla="*/ 241 w 344"/>
                  <a:gd name="T21" fmla="*/ 87 h 358"/>
                  <a:gd name="T22" fmla="*/ 234 w 344"/>
                  <a:gd name="T23" fmla="*/ 48 h 358"/>
                  <a:gd name="T24" fmla="*/ 263 w 344"/>
                  <a:gd name="T25" fmla="*/ 17 h 358"/>
                  <a:gd name="T26" fmla="*/ 298 w 344"/>
                  <a:gd name="T27" fmla="*/ 76 h 358"/>
                  <a:gd name="T28" fmla="*/ 292 w 344"/>
                  <a:gd name="T29" fmla="*/ 111 h 358"/>
                  <a:gd name="T30" fmla="*/ 317 w 344"/>
                  <a:gd name="T31" fmla="*/ 138 h 358"/>
                  <a:gd name="T32" fmla="*/ 292 w 344"/>
                  <a:gd name="T33" fmla="*/ 181 h 358"/>
                  <a:gd name="T34" fmla="*/ 270 w 344"/>
                  <a:gd name="T35" fmla="*/ 217 h 358"/>
                  <a:gd name="T36" fmla="*/ 276 w 344"/>
                  <a:gd name="T37" fmla="*/ 252 h 358"/>
                  <a:gd name="T38" fmla="*/ 334 w 344"/>
                  <a:gd name="T39" fmla="*/ 270 h 358"/>
                  <a:gd name="T40" fmla="*/ 333 w 344"/>
                  <a:gd name="T41" fmla="*/ 304 h 358"/>
                  <a:gd name="T42" fmla="*/ 226 w 344"/>
                  <a:gd name="T43" fmla="*/ 338 h 358"/>
                  <a:gd name="T44" fmla="*/ 166 w 344"/>
                  <a:gd name="T45" fmla="*/ 352 h 358"/>
                  <a:gd name="T46" fmla="*/ 191 w 344"/>
                  <a:gd name="T47" fmla="*/ 319 h 358"/>
                  <a:gd name="T48" fmla="*/ 228 w 344"/>
                  <a:gd name="T49" fmla="*/ 287 h 358"/>
                  <a:gd name="T50" fmla="*/ 231 w 344"/>
                  <a:gd name="T51" fmla="*/ 223 h 358"/>
                  <a:gd name="T52" fmla="*/ 194 w 344"/>
                  <a:gd name="T53" fmla="*/ 194 h 358"/>
                  <a:gd name="T54" fmla="*/ 152 w 344"/>
                  <a:gd name="T55" fmla="*/ 228 h 358"/>
                  <a:gd name="T56" fmla="*/ 55 w 344"/>
                  <a:gd name="T57" fmla="*/ 337 h 358"/>
                  <a:gd name="T58" fmla="*/ 21 w 344"/>
                  <a:gd name="T59" fmla="*/ 316 h 358"/>
                  <a:gd name="T60" fmla="*/ 30 w 344"/>
                  <a:gd name="T61" fmla="*/ 260 h 358"/>
                  <a:gd name="T62" fmla="*/ 53 w 344"/>
                  <a:gd name="T63" fmla="*/ 228 h 358"/>
                  <a:gd name="T64" fmla="*/ 37 w 344"/>
                  <a:gd name="T65" fmla="*/ 201 h 358"/>
                  <a:gd name="T66" fmla="*/ 1 w 344"/>
                  <a:gd name="T67" fmla="*/ 170 h 358"/>
                  <a:gd name="T68" fmla="*/ 5 w 344"/>
                  <a:gd name="T69" fmla="*/ 147 h 3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344" h="358">
                    <a:moveTo>
                      <a:pt x="5" y="147"/>
                    </a:moveTo>
                    <a:cubicBezTo>
                      <a:pt x="6" y="143"/>
                      <a:pt x="22" y="140"/>
                      <a:pt x="38" y="142"/>
                    </a:cubicBezTo>
                    <a:cubicBezTo>
                      <a:pt x="54" y="144"/>
                      <a:pt x="53" y="137"/>
                      <a:pt x="53" y="125"/>
                    </a:cubicBezTo>
                    <a:cubicBezTo>
                      <a:pt x="53" y="112"/>
                      <a:pt x="60" y="89"/>
                      <a:pt x="43" y="70"/>
                    </a:cubicBezTo>
                    <a:cubicBezTo>
                      <a:pt x="25" y="52"/>
                      <a:pt x="48" y="43"/>
                      <a:pt x="48" y="43"/>
                    </a:cubicBezTo>
                    <a:cubicBezTo>
                      <a:pt x="48" y="43"/>
                      <a:pt x="55" y="32"/>
                      <a:pt x="76" y="45"/>
                    </a:cubicBezTo>
                    <a:cubicBezTo>
                      <a:pt x="97" y="58"/>
                      <a:pt x="115" y="74"/>
                      <a:pt x="122" y="89"/>
                    </a:cubicBezTo>
                    <a:cubicBezTo>
                      <a:pt x="129" y="104"/>
                      <a:pt x="118" y="174"/>
                      <a:pt x="122" y="185"/>
                    </a:cubicBezTo>
                    <a:cubicBezTo>
                      <a:pt x="125" y="195"/>
                      <a:pt x="130" y="200"/>
                      <a:pt x="141" y="192"/>
                    </a:cubicBezTo>
                    <a:cubicBezTo>
                      <a:pt x="153" y="183"/>
                      <a:pt x="214" y="138"/>
                      <a:pt x="231" y="135"/>
                    </a:cubicBezTo>
                    <a:cubicBezTo>
                      <a:pt x="249" y="132"/>
                      <a:pt x="241" y="103"/>
                      <a:pt x="241" y="87"/>
                    </a:cubicBezTo>
                    <a:cubicBezTo>
                      <a:pt x="242" y="70"/>
                      <a:pt x="234" y="59"/>
                      <a:pt x="234" y="48"/>
                    </a:cubicBezTo>
                    <a:cubicBezTo>
                      <a:pt x="234" y="36"/>
                      <a:pt x="247" y="0"/>
                      <a:pt x="263" y="17"/>
                    </a:cubicBezTo>
                    <a:cubicBezTo>
                      <a:pt x="279" y="35"/>
                      <a:pt x="303" y="58"/>
                      <a:pt x="298" y="76"/>
                    </a:cubicBezTo>
                    <a:cubicBezTo>
                      <a:pt x="294" y="95"/>
                      <a:pt x="283" y="92"/>
                      <a:pt x="292" y="111"/>
                    </a:cubicBezTo>
                    <a:cubicBezTo>
                      <a:pt x="301" y="129"/>
                      <a:pt x="320" y="117"/>
                      <a:pt x="317" y="138"/>
                    </a:cubicBezTo>
                    <a:cubicBezTo>
                      <a:pt x="315" y="160"/>
                      <a:pt x="321" y="149"/>
                      <a:pt x="292" y="181"/>
                    </a:cubicBezTo>
                    <a:cubicBezTo>
                      <a:pt x="268" y="209"/>
                      <a:pt x="270" y="208"/>
                      <a:pt x="270" y="217"/>
                    </a:cubicBezTo>
                    <a:cubicBezTo>
                      <a:pt x="270" y="226"/>
                      <a:pt x="266" y="249"/>
                      <a:pt x="276" y="252"/>
                    </a:cubicBezTo>
                    <a:cubicBezTo>
                      <a:pt x="287" y="254"/>
                      <a:pt x="325" y="250"/>
                      <a:pt x="334" y="270"/>
                    </a:cubicBezTo>
                    <a:cubicBezTo>
                      <a:pt x="344" y="290"/>
                      <a:pt x="344" y="295"/>
                      <a:pt x="333" y="304"/>
                    </a:cubicBezTo>
                    <a:cubicBezTo>
                      <a:pt x="321" y="312"/>
                      <a:pt x="288" y="320"/>
                      <a:pt x="226" y="338"/>
                    </a:cubicBezTo>
                    <a:cubicBezTo>
                      <a:pt x="180" y="351"/>
                      <a:pt x="168" y="358"/>
                      <a:pt x="166" y="352"/>
                    </a:cubicBezTo>
                    <a:cubicBezTo>
                      <a:pt x="164" y="346"/>
                      <a:pt x="175" y="331"/>
                      <a:pt x="191" y="319"/>
                    </a:cubicBezTo>
                    <a:cubicBezTo>
                      <a:pt x="207" y="307"/>
                      <a:pt x="224" y="304"/>
                      <a:pt x="228" y="287"/>
                    </a:cubicBezTo>
                    <a:cubicBezTo>
                      <a:pt x="232" y="270"/>
                      <a:pt x="235" y="234"/>
                      <a:pt x="231" y="223"/>
                    </a:cubicBezTo>
                    <a:cubicBezTo>
                      <a:pt x="227" y="212"/>
                      <a:pt x="213" y="188"/>
                      <a:pt x="194" y="194"/>
                    </a:cubicBezTo>
                    <a:cubicBezTo>
                      <a:pt x="176" y="200"/>
                      <a:pt x="166" y="210"/>
                      <a:pt x="152" y="228"/>
                    </a:cubicBezTo>
                    <a:cubicBezTo>
                      <a:pt x="138" y="247"/>
                      <a:pt x="66" y="336"/>
                      <a:pt x="55" y="337"/>
                    </a:cubicBezTo>
                    <a:cubicBezTo>
                      <a:pt x="45" y="338"/>
                      <a:pt x="22" y="340"/>
                      <a:pt x="21" y="316"/>
                    </a:cubicBezTo>
                    <a:cubicBezTo>
                      <a:pt x="20" y="292"/>
                      <a:pt x="16" y="285"/>
                      <a:pt x="30" y="260"/>
                    </a:cubicBezTo>
                    <a:cubicBezTo>
                      <a:pt x="44" y="234"/>
                      <a:pt x="53" y="241"/>
                      <a:pt x="53" y="228"/>
                    </a:cubicBezTo>
                    <a:cubicBezTo>
                      <a:pt x="53" y="216"/>
                      <a:pt x="47" y="207"/>
                      <a:pt x="37" y="201"/>
                    </a:cubicBezTo>
                    <a:cubicBezTo>
                      <a:pt x="27" y="195"/>
                      <a:pt x="2" y="182"/>
                      <a:pt x="1" y="170"/>
                    </a:cubicBezTo>
                    <a:cubicBezTo>
                      <a:pt x="0" y="157"/>
                      <a:pt x="4" y="150"/>
                      <a:pt x="5" y="14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143" name="ï$líḋé"/>
              <p:cNvSpPr/>
              <p:nvPr/>
            </p:nvSpPr>
            <p:spPr bwMode="auto">
              <a:xfrm>
                <a:off x="5596191" y="5675903"/>
                <a:ext cx="25400" cy="30163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144" name="işḷíḓè"/>
              <p:cNvSpPr/>
              <p:nvPr/>
            </p:nvSpPr>
            <p:spPr bwMode="auto">
              <a:xfrm>
                <a:off x="5596191" y="5733053"/>
                <a:ext cx="25400" cy="149225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145" name="ïSḷîḋé"/>
              <p:cNvSpPr/>
              <p:nvPr/>
            </p:nvSpPr>
            <p:spPr bwMode="auto">
              <a:xfrm>
                <a:off x="5645403" y="5733053"/>
                <a:ext cx="136525" cy="149225"/>
              </a:xfrm>
              <a:custGeom>
                <a:avLst/>
                <a:gdLst>
                  <a:gd name="T0" fmla="*/ 42 w 74"/>
                  <a:gd name="T1" fmla="*/ 50 h 81"/>
                  <a:gd name="T2" fmla="*/ 37 w 74"/>
                  <a:gd name="T3" fmla="*/ 65 h 81"/>
                  <a:gd name="T4" fmla="*/ 32 w 74"/>
                  <a:gd name="T5" fmla="*/ 49 h 81"/>
                  <a:gd name="T6" fmla="*/ 14 w 74"/>
                  <a:gd name="T7" fmla="*/ 0 h 81"/>
                  <a:gd name="T8" fmla="*/ 0 w 74"/>
                  <a:gd name="T9" fmla="*/ 0 h 81"/>
                  <a:gd name="T10" fmla="*/ 31 w 74"/>
                  <a:gd name="T11" fmla="*/ 81 h 81"/>
                  <a:gd name="T12" fmla="*/ 44 w 74"/>
                  <a:gd name="T13" fmla="*/ 81 h 81"/>
                  <a:gd name="T14" fmla="*/ 74 w 74"/>
                  <a:gd name="T15" fmla="*/ 0 h 81"/>
                  <a:gd name="T16" fmla="*/ 60 w 74"/>
                  <a:gd name="T17" fmla="*/ 0 h 81"/>
                  <a:gd name="T18" fmla="*/ 42 w 74"/>
                  <a:gd name="T19" fmla="*/ 50 h 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74" h="81">
                    <a:moveTo>
                      <a:pt x="42" y="50"/>
                    </a:moveTo>
                    <a:cubicBezTo>
                      <a:pt x="40" y="56"/>
                      <a:pt x="38" y="61"/>
                      <a:pt x="37" y="65"/>
                    </a:cubicBezTo>
                    <a:cubicBezTo>
                      <a:pt x="35" y="59"/>
                      <a:pt x="34" y="54"/>
                      <a:pt x="32" y="49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31" y="81"/>
                      <a:pt x="31" y="81"/>
                      <a:pt x="31" y="81"/>
                    </a:cubicBezTo>
                    <a:cubicBezTo>
                      <a:pt x="44" y="81"/>
                      <a:pt x="44" y="81"/>
                      <a:pt x="44" y="81"/>
                    </a:cubicBezTo>
                    <a:cubicBezTo>
                      <a:pt x="74" y="0"/>
                      <a:pt x="74" y="0"/>
                      <a:pt x="74" y="0"/>
                    </a:cubicBezTo>
                    <a:cubicBezTo>
                      <a:pt x="60" y="0"/>
                      <a:pt x="60" y="0"/>
                      <a:pt x="60" y="0"/>
                    </a:cubicBezTo>
                    <a:lnTo>
                      <a:pt x="42" y="5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146" name="išḷiḓé"/>
              <p:cNvSpPr/>
              <p:nvPr/>
            </p:nvSpPr>
            <p:spPr bwMode="auto">
              <a:xfrm>
                <a:off x="5796216" y="5729878"/>
                <a:ext cx="138113" cy="157163"/>
              </a:xfrm>
              <a:custGeom>
                <a:avLst/>
                <a:gdLst>
                  <a:gd name="T0" fmla="*/ 38 w 75"/>
                  <a:gd name="T1" fmla="*/ 0 h 85"/>
                  <a:gd name="T2" fmla="*/ 10 w 75"/>
                  <a:gd name="T3" fmla="*/ 12 h 85"/>
                  <a:gd name="T4" fmla="*/ 0 w 75"/>
                  <a:gd name="T5" fmla="*/ 43 h 85"/>
                  <a:gd name="T6" fmla="*/ 10 w 75"/>
                  <a:gd name="T7" fmla="*/ 74 h 85"/>
                  <a:gd name="T8" fmla="*/ 39 w 75"/>
                  <a:gd name="T9" fmla="*/ 85 h 85"/>
                  <a:gd name="T10" fmla="*/ 62 w 75"/>
                  <a:gd name="T11" fmla="*/ 78 h 85"/>
                  <a:gd name="T12" fmla="*/ 74 w 75"/>
                  <a:gd name="T13" fmla="*/ 59 h 85"/>
                  <a:gd name="T14" fmla="*/ 60 w 75"/>
                  <a:gd name="T15" fmla="*/ 57 h 85"/>
                  <a:gd name="T16" fmla="*/ 52 w 75"/>
                  <a:gd name="T17" fmla="*/ 70 h 85"/>
                  <a:gd name="T18" fmla="*/ 39 w 75"/>
                  <a:gd name="T19" fmla="*/ 74 h 85"/>
                  <a:gd name="T20" fmla="*/ 22 w 75"/>
                  <a:gd name="T21" fmla="*/ 67 h 85"/>
                  <a:gd name="T22" fmla="*/ 14 w 75"/>
                  <a:gd name="T23" fmla="*/ 46 h 85"/>
                  <a:gd name="T24" fmla="*/ 75 w 75"/>
                  <a:gd name="T25" fmla="*/ 46 h 85"/>
                  <a:gd name="T26" fmla="*/ 75 w 75"/>
                  <a:gd name="T27" fmla="*/ 43 h 85"/>
                  <a:gd name="T28" fmla="*/ 64 w 75"/>
                  <a:gd name="T29" fmla="*/ 11 h 85"/>
                  <a:gd name="T30" fmla="*/ 38 w 75"/>
                  <a:gd name="T31" fmla="*/ 0 h 85"/>
                  <a:gd name="T32" fmla="*/ 15 w 75"/>
                  <a:gd name="T33" fmla="*/ 35 h 85"/>
                  <a:gd name="T34" fmla="*/ 22 w 75"/>
                  <a:gd name="T35" fmla="*/ 18 h 85"/>
                  <a:gd name="T36" fmla="*/ 38 w 75"/>
                  <a:gd name="T37" fmla="*/ 12 h 85"/>
                  <a:gd name="T38" fmla="*/ 55 w 75"/>
                  <a:gd name="T39" fmla="*/ 20 h 85"/>
                  <a:gd name="T40" fmla="*/ 60 w 75"/>
                  <a:gd name="T41" fmla="*/ 35 h 85"/>
                  <a:gd name="T42" fmla="*/ 15 w 75"/>
                  <a:gd name="T43" fmla="*/ 35 h 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75" h="85">
                    <a:moveTo>
                      <a:pt x="38" y="0"/>
                    </a:moveTo>
                    <a:cubicBezTo>
                      <a:pt x="27" y="0"/>
                      <a:pt x="17" y="4"/>
                      <a:pt x="10" y="12"/>
                    </a:cubicBezTo>
                    <a:cubicBezTo>
                      <a:pt x="3" y="19"/>
                      <a:pt x="0" y="30"/>
                      <a:pt x="0" y="43"/>
                    </a:cubicBezTo>
                    <a:cubicBezTo>
                      <a:pt x="0" y="57"/>
                      <a:pt x="3" y="67"/>
                      <a:pt x="10" y="74"/>
                    </a:cubicBezTo>
                    <a:cubicBezTo>
                      <a:pt x="17" y="81"/>
                      <a:pt x="27" y="85"/>
                      <a:pt x="39" y="85"/>
                    </a:cubicBezTo>
                    <a:cubicBezTo>
                      <a:pt x="48" y="85"/>
                      <a:pt x="56" y="83"/>
                      <a:pt x="62" y="78"/>
                    </a:cubicBezTo>
                    <a:cubicBezTo>
                      <a:pt x="68" y="74"/>
                      <a:pt x="72" y="67"/>
                      <a:pt x="74" y="59"/>
                    </a:cubicBezTo>
                    <a:cubicBezTo>
                      <a:pt x="60" y="57"/>
                      <a:pt x="60" y="57"/>
                      <a:pt x="60" y="57"/>
                    </a:cubicBezTo>
                    <a:cubicBezTo>
                      <a:pt x="58" y="63"/>
                      <a:pt x="55" y="67"/>
                      <a:pt x="52" y="70"/>
                    </a:cubicBezTo>
                    <a:cubicBezTo>
                      <a:pt x="48" y="73"/>
                      <a:pt x="44" y="74"/>
                      <a:pt x="39" y="74"/>
                    </a:cubicBezTo>
                    <a:cubicBezTo>
                      <a:pt x="32" y="74"/>
                      <a:pt x="26" y="71"/>
                      <a:pt x="22" y="67"/>
                    </a:cubicBezTo>
                    <a:cubicBezTo>
                      <a:pt x="17" y="62"/>
                      <a:pt x="15" y="55"/>
                      <a:pt x="14" y="46"/>
                    </a:cubicBezTo>
                    <a:cubicBezTo>
                      <a:pt x="75" y="46"/>
                      <a:pt x="75" y="46"/>
                      <a:pt x="75" y="46"/>
                    </a:cubicBezTo>
                    <a:cubicBezTo>
                      <a:pt x="75" y="45"/>
                      <a:pt x="75" y="43"/>
                      <a:pt x="75" y="43"/>
                    </a:cubicBezTo>
                    <a:cubicBezTo>
                      <a:pt x="75" y="29"/>
                      <a:pt x="71" y="19"/>
                      <a:pt x="64" y="11"/>
                    </a:cubicBezTo>
                    <a:cubicBezTo>
                      <a:pt x="58" y="4"/>
                      <a:pt x="49" y="0"/>
                      <a:pt x="38" y="0"/>
                    </a:cubicBezTo>
                    <a:close/>
                    <a:moveTo>
                      <a:pt x="15" y="35"/>
                    </a:moveTo>
                    <a:cubicBezTo>
                      <a:pt x="15" y="28"/>
                      <a:pt x="18" y="22"/>
                      <a:pt x="22" y="18"/>
                    </a:cubicBezTo>
                    <a:cubicBezTo>
                      <a:pt x="26" y="14"/>
                      <a:pt x="32" y="12"/>
                      <a:pt x="38" y="12"/>
                    </a:cubicBezTo>
                    <a:cubicBezTo>
                      <a:pt x="45" y="12"/>
                      <a:pt x="51" y="14"/>
                      <a:pt x="55" y="20"/>
                    </a:cubicBezTo>
                    <a:cubicBezTo>
                      <a:pt x="58" y="23"/>
                      <a:pt x="60" y="28"/>
                      <a:pt x="60" y="35"/>
                    </a:cubicBezTo>
                    <a:lnTo>
                      <a:pt x="15" y="3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147" name="iṩľidè"/>
              <p:cNvSpPr/>
              <p:nvPr/>
            </p:nvSpPr>
            <p:spPr bwMode="auto">
              <a:xfrm>
                <a:off x="5964491" y="5729878"/>
                <a:ext cx="82550" cy="152400"/>
              </a:xfrm>
              <a:custGeom>
                <a:avLst/>
                <a:gdLst>
                  <a:gd name="T0" fmla="*/ 22 w 45"/>
                  <a:gd name="T1" fmla="*/ 3 h 83"/>
                  <a:gd name="T2" fmla="*/ 13 w 45"/>
                  <a:gd name="T3" fmla="*/ 14 h 83"/>
                  <a:gd name="T4" fmla="*/ 13 w 45"/>
                  <a:gd name="T5" fmla="*/ 2 h 83"/>
                  <a:gd name="T6" fmla="*/ 0 w 45"/>
                  <a:gd name="T7" fmla="*/ 2 h 83"/>
                  <a:gd name="T8" fmla="*/ 0 w 45"/>
                  <a:gd name="T9" fmla="*/ 83 h 83"/>
                  <a:gd name="T10" fmla="*/ 14 w 45"/>
                  <a:gd name="T11" fmla="*/ 83 h 83"/>
                  <a:gd name="T12" fmla="*/ 14 w 45"/>
                  <a:gd name="T13" fmla="*/ 41 h 83"/>
                  <a:gd name="T14" fmla="*/ 17 w 45"/>
                  <a:gd name="T15" fmla="*/ 25 h 83"/>
                  <a:gd name="T16" fmla="*/ 22 w 45"/>
                  <a:gd name="T17" fmla="*/ 17 h 83"/>
                  <a:gd name="T18" fmla="*/ 30 w 45"/>
                  <a:gd name="T19" fmla="*/ 14 h 83"/>
                  <a:gd name="T20" fmla="*/ 40 w 45"/>
                  <a:gd name="T21" fmla="*/ 17 h 83"/>
                  <a:gd name="T22" fmla="*/ 45 w 45"/>
                  <a:gd name="T23" fmla="*/ 5 h 83"/>
                  <a:gd name="T24" fmla="*/ 30 w 45"/>
                  <a:gd name="T25" fmla="*/ 0 h 83"/>
                  <a:gd name="T26" fmla="*/ 22 w 45"/>
                  <a:gd name="T27" fmla="*/ 3 h 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45" h="83">
                    <a:moveTo>
                      <a:pt x="22" y="3"/>
                    </a:moveTo>
                    <a:cubicBezTo>
                      <a:pt x="19" y="5"/>
                      <a:pt x="16" y="9"/>
                      <a:pt x="13" y="14"/>
                    </a:cubicBezTo>
                    <a:cubicBezTo>
                      <a:pt x="13" y="2"/>
                      <a:pt x="13" y="2"/>
                      <a:pt x="13" y="2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83"/>
                      <a:pt x="0" y="83"/>
                      <a:pt x="0" y="83"/>
                    </a:cubicBezTo>
                    <a:cubicBezTo>
                      <a:pt x="14" y="83"/>
                      <a:pt x="14" y="83"/>
                      <a:pt x="14" y="83"/>
                    </a:cubicBezTo>
                    <a:cubicBezTo>
                      <a:pt x="14" y="41"/>
                      <a:pt x="14" y="41"/>
                      <a:pt x="14" y="41"/>
                    </a:cubicBezTo>
                    <a:cubicBezTo>
                      <a:pt x="14" y="35"/>
                      <a:pt x="15" y="30"/>
                      <a:pt x="17" y="25"/>
                    </a:cubicBezTo>
                    <a:cubicBezTo>
                      <a:pt x="18" y="21"/>
                      <a:pt x="19" y="19"/>
                      <a:pt x="22" y="17"/>
                    </a:cubicBezTo>
                    <a:cubicBezTo>
                      <a:pt x="24" y="15"/>
                      <a:pt x="27" y="14"/>
                      <a:pt x="30" y="14"/>
                    </a:cubicBezTo>
                    <a:cubicBezTo>
                      <a:pt x="33" y="14"/>
                      <a:pt x="37" y="15"/>
                      <a:pt x="40" y="17"/>
                    </a:cubicBezTo>
                    <a:cubicBezTo>
                      <a:pt x="45" y="5"/>
                      <a:pt x="45" y="5"/>
                      <a:pt x="45" y="5"/>
                    </a:cubicBezTo>
                    <a:cubicBezTo>
                      <a:pt x="40" y="2"/>
                      <a:pt x="35" y="0"/>
                      <a:pt x="30" y="0"/>
                    </a:cubicBezTo>
                    <a:cubicBezTo>
                      <a:pt x="27" y="0"/>
                      <a:pt x="24" y="1"/>
                      <a:pt x="22" y="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148" name="îṡļiḑe"/>
              <p:cNvSpPr/>
              <p:nvPr/>
            </p:nvSpPr>
            <p:spPr bwMode="auto">
              <a:xfrm>
                <a:off x="6050216" y="5729878"/>
                <a:ext cx="125413" cy="157163"/>
              </a:xfrm>
              <a:custGeom>
                <a:avLst/>
                <a:gdLst>
                  <a:gd name="T0" fmla="*/ 55 w 68"/>
                  <a:gd name="T1" fmla="*/ 40 h 85"/>
                  <a:gd name="T2" fmla="*/ 35 w 68"/>
                  <a:gd name="T3" fmla="*/ 34 h 85"/>
                  <a:gd name="T4" fmla="*/ 23 w 68"/>
                  <a:gd name="T5" fmla="*/ 31 h 85"/>
                  <a:gd name="T6" fmla="*/ 18 w 68"/>
                  <a:gd name="T7" fmla="*/ 27 h 85"/>
                  <a:gd name="T8" fmla="*/ 16 w 68"/>
                  <a:gd name="T9" fmla="*/ 22 h 85"/>
                  <a:gd name="T10" fmla="*/ 20 w 68"/>
                  <a:gd name="T11" fmla="*/ 15 h 85"/>
                  <a:gd name="T12" fmla="*/ 34 w 68"/>
                  <a:gd name="T13" fmla="*/ 12 h 85"/>
                  <a:gd name="T14" fmla="*/ 46 w 68"/>
                  <a:gd name="T15" fmla="*/ 15 h 85"/>
                  <a:gd name="T16" fmla="*/ 51 w 68"/>
                  <a:gd name="T17" fmla="*/ 25 h 85"/>
                  <a:gd name="T18" fmla="*/ 65 w 68"/>
                  <a:gd name="T19" fmla="*/ 23 h 85"/>
                  <a:gd name="T20" fmla="*/ 60 w 68"/>
                  <a:gd name="T21" fmla="*/ 10 h 85"/>
                  <a:gd name="T22" fmla="*/ 49 w 68"/>
                  <a:gd name="T23" fmla="*/ 3 h 85"/>
                  <a:gd name="T24" fmla="*/ 33 w 68"/>
                  <a:gd name="T25" fmla="*/ 0 h 85"/>
                  <a:gd name="T26" fmla="*/ 21 w 68"/>
                  <a:gd name="T27" fmla="*/ 2 h 85"/>
                  <a:gd name="T28" fmla="*/ 12 w 68"/>
                  <a:gd name="T29" fmla="*/ 6 h 85"/>
                  <a:gd name="T30" fmla="*/ 5 w 68"/>
                  <a:gd name="T31" fmla="*/ 14 h 85"/>
                  <a:gd name="T32" fmla="*/ 3 w 68"/>
                  <a:gd name="T33" fmla="*/ 24 h 85"/>
                  <a:gd name="T34" fmla="*/ 6 w 68"/>
                  <a:gd name="T35" fmla="*/ 35 h 85"/>
                  <a:gd name="T36" fmla="*/ 15 w 68"/>
                  <a:gd name="T37" fmla="*/ 42 h 85"/>
                  <a:gd name="T38" fmla="*/ 36 w 68"/>
                  <a:gd name="T39" fmla="*/ 49 h 85"/>
                  <a:gd name="T40" fmla="*/ 50 w 68"/>
                  <a:gd name="T41" fmla="*/ 54 h 85"/>
                  <a:gd name="T42" fmla="*/ 54 w 68"/>
                  <a:gd name="T43" fmla="*/ 61 h 85"/>
                  <a:gd name="T44" fmla="*/ 49 w 68"/>
                  <a:gd name="T45" fmla="*/ 70 h 85"/>
                  <a:gd name="T46" fmla="*/ 35 w 68"/>
                  <a:gd name="T47" fmla="*/ 74 h 85"/>
                  <a:gd name="T48" fmla="*/ 20 w 68"/>
                  <a:gd name="T49" fmla="*/ 69 h 85"/>
                  <a:gd name="T50" fmla="*/ 14 w 68"/>
                  <a:gd name="T51" fmla="*/ 57 h 85"/>
                  <a:gd name="T52" fmla="*/ 0 w 68"/>
                  <a:gd name="T53" fmla="*/ 59 h 85"/>
                  <a:gd name="T54" fmla="*/ 11 w 68"/>
                  <a:gd name="T55" fmla="*/ 79 h 85"/>
                  <a:gd name="T56" fmla="*/ 35 w 68"/>
                  <a:gd name="T57" fmla="*/ 85 h 85"/>
                  <a:gd name="T58" fmla="*/ 52 w 68"/>
                  <a:gd name="T59" fmla="*/ 82 h 85"/>
                  <a:gd name="T60" fmla="*/ 64 w 68"/>
                  <a:gd name="T61" fmla="*/ 72 h 85"/>
                  <a:gd name="T62" fmla="*/ 68 w 68"/>
                  <a:gd name="T63" fmla="*/ 59 h 85"/>
                  <a:gd name="T64" fmla="*/ 65 w 68"/>
                  <a:gd name="T65" fmla="*/ 48 h 85"/>
                  <a:gd name="T66" fmla="*/ 55 w 68"/>
                  <a:gd name="T67" fmla="*/ 40 h 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68" h="85">
                    <a:moveTo>
                      <a:pt x="55" y="40"/>
                    </a:moveTo>
                    <a:cubicBezTo>
                      <a:pt x="52" y="39"/>
                      <a:pt x="45" y="37"/>
                      <a:pt x="35" y="34"/>
                    </a:cubicBezTo>
                    <a:cubicBezTo>
                      <a:pt x="28" y="32"/>
                      <a:pt x="24" y="31"/>
                      <a:pt x="23" y="31"/>
                    </a:cubicBezTo>
                    <a:cubicBezTo>
                      <a:pt x="20" y="30"/>
                      <a:pt x="19" y="28"/>
                      <a:pt x="18" y="27"/>
                    </a:cubicBezTo>
                    <a:cubicBezTo>
                      <a:pt x="16" y="25"/>
                      <a:pt x="16" y="24"/>
                      <a:pt x="16" y="22"/>
                    </a:cubicBezTo>
                    <a:cubicBezTo>
                      <a:pt x="16" y="19"/>
                      <a:pt x="17" y="17"/>
                      <a:pt x="20" y="15"/>
                    </a:cubicBezTo>
                    <a:cubicBezTo>
                      <a:pt x="23" y="13"/>
                      <a:pt x="27" y="12"/>
                      <a:pt x="34" y="12"/>
                    </a:cubicBezTo>
                    <a:cubicBezTo>
                      <a:pt x="39" y="12"/>
                      <a:pt x="43" y="13"/>
                      <a:pt x="46" y="15"/>
                    </a:cubicBezTo>
                    <a:cubicBezTo>
                      <a:pt x="49" y="17"/>
                      <a:pt x="51" y="21"/>
                      <a:pt x="51" y="25"/>
                    </a:cubicBezTo>
                    <a:cubicBezTo>
                      <a:pt x="65" y="23"/>
                      <a:pt x="65" y="23"/>
                      <a:pt x="65" y="23"/>
                    </a:cubicBezTo>
                    <a:cubicBezTo>
                      <a:pt x="64" y="18"/>
                      <a:pt x="62" y="14"/>
                      <a:pt x="60" y="10"/>
                    </a:cubicBezTo>
                    <a:cubicBezTo>
                      <a:pt x="58" y="7"/>
                      <a:pt x="54" y="5"/>
                      <a:pt x="49" y="3"/>
                    </a:cubicBezTo>
                    <a:cubicBezTo>
                      <a:pt x="44" y="1"/>
                      <a:pt x="39" y="0"/>
                      <a:pt x="33" y="0"/>
                    </a:cubicBezTo>
                    <a:cubicBezTo>
                      <a:pt x="28" y="0"/>
                      <a:pt x="24" y="1"/>
                      <a:pt x="21" y="2"/>
                    </a:cubicBezTo>
                    <a:cubicBezTo>
                      <a:pt x="17" y="3"/>
                      <a:pt x="14" y="4"/>
                      <a:pt x="12" y="6"/>
                    </a:cubicBezTo>
                    <a:cubicBezTo>
                      <a:pt x="9" y="8"/>
                      <a:pt x="7" y="10"/>
                      <a:pt x="5" y="14"/>
                    </a:cubicBezTo>
                    <a:cubicBezTo>
                      <a:pt x="3" y="17"/>
                      <a:pt x="3" y="20"/>
                      <a:pt x="3" y="24"/>
                    </a:cubicBezTo>
                    <a:cubicBezTo>
                      <a:pt x="3" y="28"/>
                      <a:pt x="4" y="31"/>
                      <a:pt x="6" y="35"/>
                    </a:cubicBezTo>
                    <a:cubicBezTo>
                      <a:pt x="8" y="38"/>
                      <a:pt x="11" y="40"/>
                      <a:pt x="15" y="42"/>
                    </a:cubicBezTo>
                    <a:cubicBezTo>
                      <a:pt x="18" y="44"/>
                      <a:pt x="25" y="46"/>
                      <a:pt x="36" y="49"/>
                    </a:cubicBezTo>
                    <a:cubicBezTo>
                      <a:pt x="43" y="51"/>
                      <a:pt x="48" y="52"/>
                      <a:pt x="50" y="54"/>
                    </a:cubicBezTo>
                    <a:cubicBezTo>
                      <a:pt x="52" y="55"/>
                      <a:pt x="54" y="58"/>
                      <a:pt x="54" y="61"/>
                    </a:cubicBezTo>
                    <a:cubicBezTo>
                      <a:pt x="54" y="64"/>
                      <a:pt x="52" y="67"/>
                      <a:pt x="49" y="70"/>
                    </a:cubicBezTo>
                    <a:cubicBezTo>
                      <a:pt x="46" y="73"/>
                      <a:pt x="41" y="74"/>
                      <a:pt x="35" y="74"/>
                    </a:cubicBezTo>
                    <a:cubicBezTo>
                      <a:pt x="29" y="74"/>
                      <a:pt x="24" y="72"/>
                      <a:pt x="20" y="69"/>
                    </a:cubicBezTo>
                    <a:cubicBezTo>
                      <a:pt x="17" y="67"/>
                      <a:pt x="15" y="62"/>
                      <a:pt x="14" y="57"/>
                    </a:cubicBezTo>
                    <a:cubicBezTo>
                      <a:pt x="0" y="59"/>
                      <a:pt x="0" y="59"/>
                      <a:pt x="0" y="59"/>
                    </a:cubicBezTo>
                    <a:cubicBezTo>
                      <a:pt x="2" y="68"/>
                      <a:pt x="5" y="74"/>
                      <a:pt x="11" y="79"/>
                    </a:cubicBezTo>
                    <a:cubicBezTo>
                      <a:pt x="16" y="83"/>
                      <a:pt x="24" y="85"/>
                      <a:pt x="35" y="85"/>
                    </a:cubicBezTo>
                    <a:cubicBezTo>
                      <a:pt x="41" y="85"/>
                      <a:pt x="47" y="84"/>
                      <a:pt x="52" y="82"/>
                    </a:cubicBezTo>
                    <a:cubicBezTo>
                      <a:pt x="57" y="80"/>
                      <a:pt x="61" y="76"/>
                      <a:pt x="64" y="72"/>
                    </a:cubicBezTo>
                    <a:cubicBezTo>
                      <a:pt x="66" y="68"/>
                      <a:pt x="68" y="64"/>
                      <a:pt x="68" y="59"/>
                    </a:cubicBezTo>
                    <a:cubicBezTo>
                      <a:pt x="68" y="55"/>
                      <a:pt x="67" y="51"/>
                      <a:pt x="65" y="48"/>
                    </a:cubicBezTo>
                    <a:cubicBezTo>
                      <a:pt x="62" y="45"/>
                      <a:pt x="59" y="42"/>
                      <a:pt x="55" y="4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149" name="ïśļíḓe"/>
              <p:cNvSpPr/>
              <p:nvPr/>
            </p:nvSpPr>
            <p:spPr bwMode="auto">
              <a:xfrm>
                <a:off x="6205791" y="5675903"/>
                <a:ext cx="25400" cy="30163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150" name="îṡľîdè"/>
              <p:cNvSpPr/>
              <p:nvPr/>
            </p:nvSpPr>
            <p:spPr bwMode="auto">
              <a:xfrm>
                <a:off x="6205791" y="5733053"/>
                <a:ext cx="25400" cy="149225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151" name="îś1iḋê"/>
              <p:cNvSpPr/>
              <p:nvPr/>
            </p:nvSpPr>
            <p:spPr bwMode="auto">
              <a:xfrm>
                <a:off x="6255003" y="5680665"/>
                <a:ext cx="74613" cy="203200"/>
              </a:xfrm>
              <a:custGeom>
                <a:avLst/>
                <a:gdLst>
                  <a:gd name="T0" fmla="*/ 32 w 40"/>
                  <a:gd name="T1" fmla="*/ 98 h 110"/>
                  <a:gd name="T2" fmla="*/ 27 w 40"/>
                  <a:gd name="T3" fmla="*/ 97 h 110"/>
                  <a:gd name="T4" fmla="*/ 25 w 40"/>
                  <a:gd name="T5" fmla="*/ 94 h 110"/>
                  <a:gd name="T6" fmla="*/ 24 w 40"/>
                  <a:gd name="T7" fmla="*/ 86 h 110"/>
                  <a:gd name="T8" fmla="*/ 24 w 40"/>
                  <a:gd name="T9" fmla="*/ 39 h 110"/>
                  <a:gd name="T10" fmla="*/ 38 w 40"/>
                  <a:gd name="T11" fmla="*/ 39 h 110"/>
                  <a:gd name="T12" fmla="*/ 38 w 40"/>
                  <a:gd name="T13" fmla="*/ 28 h 110"/>
                  <a:gd name="T14" fmla="*/ 24 w 40"/>
                  <a:gd name="T15" fmla="*/ 28 h 110"/>
                  <a:gd name="T16" fmla="*/ 24 w 40"/>
                  <a:gd name="T17" fmla="*/ 0 h 110"/>
                  <a:gd name="T18" fmla="*/ 11 w 40"/>
                  <a:gd name="T19" fmla="*/ 8 h 110"/>
                  <a:gd name="T20" fmla="*/ 11 w 40"/>
                  <a:gd name="T21" fmla="*/ 28 h 110"/>
                  <a:gd name="T22" fmla="*/ 0 w 40"/>
                  <a:gd name="T23" fmla="*/ 28 h 110"/>
                  <a:gd name="T24" fmla="*/ 0 w 40"/>
                  <a:gd name="T25" fmla="*/ 39 h 110"/>
                  <a:gd name="T26" fmla="*/ 11 w 40"/>
                  <a:gd name="T27" fmla="*/ 39 h 110"/>
                  <a:gd name="T28" fmla="*/ 11 w 40"/>
                  <a:gd name="T29" fmla="*/ 86 h 110"/>
                  <a:gd name="T30" fmla="*/ 12 w 40"/>
                  <a:gd name="T31" fmla="*/ 102 h 110"/>
                  <a:gd name="T32" fmla="*/ 18 w 40"/>
                  <a:gd name="T33" fmla="*/ 108 h 110"/>
                  <a:gd name="T34" fmla="*/ 30 w 40"/>
                  <a:gd name="T35" fmla="*/ 110 h 110"/>
                  <a:gd name="T36" fmla="*/ 40 w 40"/>
                  <a:gd name="T37" fmla="*/ 109 h 110"/>
                  <a:gd name="T38" fmla="*/ 38 w 40"/>
                  <a:gd name="T39" fmla="*/ 97 h 110"/>
                  <a:gd name="T40" fmla="*/ 32 w 40"/>
                  <a:gd name="T41" fmla="*/ 98 h 1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40" h="110">
                    <a:moveTo>
                      <a:pt x="32" y="98"/>
                    </a:moveTo>
                    <a:cubicBezTo>
                      <a:pt x="30" y="98"/>
                      <a:pt x="28" y="97"/>
                      <a:pt x="27" y="97"/>
                    </a:cubicBezTo>
                    <a:cubicBezTo>
                      <a:pt x="26" y="96"/>
                      <a:pt x="25" y="95"/>
                      <a:pt x="25" y="94"/>
                    </a:cubicBezTo>
                    <a:cubicBezTo>
                      <a:pt x="24" y="93"/>
                      <a:pt x="24" y="90"/>
                      <a:pt x="24" y="86"/>
                    </a:cubicBezTo>
                    <a:cubicBezTo>
                      <a:pt x="24" y="39"/>
                      <a:pt x="24" y="39"/>
                      <a:pt x="24" y="39"/>
                    </a:cubicBezTo>
                    <a:cubicBezTo>
                      <a:pt x="38" y="39"/>
                      <a:pt x="38" y="39"/>
                      <a:pt x="38" y="39"/>
                    </a:cubicBezTo>
                    <a:cubicBezTo>
                      <a:pt x="38" y="28"/>
                      <a:pt x="38" y="28"/>
                      <a:pt x="38" y="28"/>
                    </a:cubicBezTo>
                    <a:cubicBezTo>
                      <a:pt x="24" y="28"/>
                      <a:pt x="24" y="28"/>
                      <a:pt x="24" y="28"/>
                    </a:cubicBezTo>
                    <a:cubicBezTo>
                      <a:pt x="24" y="0"/>
                      <a:pt x="24" y="0"/>
                      <a:pt x="24" y="0"/>
                    </a:cubicBezTo>
                    <a:cubicBezTo>
                      <a:pt x="11" y="8"/>
                      <a:pt x="11" y="8"/>
                      <a:pt x="11" y="8"/>
                    </a:cubicBezTo>
                    <a:cubicBezTo>
                      <a:pt x="11" y="28"/>
                      <a:pt x="11" y="28"/>
                      <a:pt x="11" y="28"/>
                    </a:cubicBezTo>
                    <a:cubicBezTo>
                      <a:pt x="0" y="28"/>
                      <a:pt x="0" y="28"/>
                      <a:pt x="0" y="28"/>
                    </a:cubicBezTo>
                    <a:cubicBezTo>
                      <a:pt x="0" y="39"/>
                      <a:pt x="0" y="39"/>
                      <a:pt x="0" y="39"/>
                    </a:cubicBezTo>
                    <a:cubicBezTo>
                      <a:pt x="11" y="39"/>
                      <a:pt x="11" y="39"/>
                      <a:pt x="11" y="39"/>
                    </a:cubicBezTo>
                    <a:cubicBezTo>
                      <a:pt x="11" y="86"/>
                      <a:pt x="11" y="86"/>
                      <a:pt x="11" y="86"/>
                    </a:cubicBezTo>
                    <a:cubicBezTo>
                      <a:pt x="11" y="94"/>
                      <a:pt x="11" y="99"/>
                      <a:pt x="12" y="102"/>
                    </a:cubicBezTo>
                    <a:cubicBezTo>
                      <a:pt x="13" y="104"/>
                      <a:pt x="15" y="106"/>
                      <a:pt x="18" y="108"/>
                    </a:cubicBezTo>
                    <a:cubicBezTo>
                      <a:pt x="21" y="110"/>
                      <a:pt x="25" y="110"/>
                      <a:pt x="30" y="110"/>
                    </a:cubicBezTo>
                    <a:cubicBezTo>
                      <a:pt x="33" y="110"/>
                      <a:pt x="36" y="110"/>
                      <a:pt x="40" y="109"/>
                    </a:cubicBezTo>
                    <a:cubicBezTo>
                      <a:pt x="38" y="97"/>
                      <a:pt x="38" y="97"/>
                      <a:pt x="38" y="97"/>
                    </a:cubicBezTo>
                    <a:cubicBezTo>
                      <a:pt x="36" y="97"/>
                      <a:pt x="34" y="98"/>
                      <a:pt x="32" y="9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152" name="išľîḋê"/>
              <p:cNvSpPr/>
              <p:nvPr/>
            </p:nvSpPr>
            <p:spPr bwMode="auto">
              <a:xfrm>
                <a:off x="6335966" y="5733053"/>
                <a:ext cx="136525" cy="211138"/>
              </a:xfrm>
              <a:custGeom>
                <a:avLst/>
                <a:gdLst>
                  <a:gd name="T0" fmla="*/ 43 w 74"/>
                  <a:gd name="T1" fmla="*/ 47 h 114"/>
                  <a:gd name="T2" fmla="*/ 37 w 74"/>
                  <a:gd name="T3" fmla="*/ 66 h 114"/>
                  <a:gd name="T4" fmla="*/ 32 w 74"/>
                  <a:gd name="T5" fmla="*/ 47 h 114"/>
                  <a:gd name="T6" fmla="*/ 15 w 74"/>
                  <a:gd name="T7" fmla="*/ 0 h 114"/>
                  <a:gd name="T8" fmla="*/ 0 w 74"/>
                  <a:gd name="T9" fmla="*/ 0 h 114"/>
                  <a:gd name="T10" fmla="*/ 31 w 74"/>
                  <a:gd name="T11" fmla="*/ 81 h 114"/>
                  <a:gd name="T12" fmla="*/ 29 w 74"/>
                  <a:gd name="T13" fmla="*/ 85 h 114"/>
                  <a:gd name="T14" fmla="*/ 25 w 74"/>
                  <a:gd name="T15" fmla="*/ 95 h 114"/>
                  <a:gd name="T16" fmla="*/ 21 w 74"/>
                  <a:gd name="T17" fmla="*/ 99 h 114"/>
                  <a:gd name="T18" fmla="*/ 13 w 74"/>
                  <a:gd name="T19" fmla="*/ 101 h 114"/>
                  <a:gd name="T20" fmla="*/ 5 w 74"/>
                  <a:gd name="T21" fmla="*/ 100 h 114"/>
                  <a:gd name="T22" fmla="*/ 7 w 74"/>
                  <a:gd name="T23" fmla="*/ 113 h 114"/>
                  <a:gd name="T24" fmla="*/ 16 w 74"/>
                  <a:gd name="T25" fmla="*/ 114 h 114"/>
                  <a:gd name="T26" fmla="*/ 27 w 74"/>
                  <a:gd name="T27" fmla="*/ 111 h 114"/>
                  <a:gd name="T28" fmla="*/ 36 w 74"/>
                  <a:gd name="T29" fmla="*/ 101 h 114"/>
                  <a:gd name="T30" fmla="*/ 43 w 74"/>
                  <a:gd name="T31" fmla="*/ 83 h 114"/>
                  <a:gd name="T32" fmla="*/ 74 w 74"/>
                  <a:gd name="T33" fmla="*/ 0 h 114"/>
                  <a:gd name="T34" fmla="*/ 60 w 74"/>
                  <a:gd name="T35" fmla="*/ 0 h 114"/>
                  <a:gd name="T36" fmla="*/ 43 w 74"/>
                  <a:gd name="T37" fmla="*/ 47 h 1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74" h="114">
                    <a:moveTo>
                      <a:pt x="43" y="47"/>
                    </a:moveTo>
                    <a:cubicBezTo>
                      <a:pt x="41" y="53"/>
                      <a:pt x="39" y="60"/>
                      <a:pt x="37" y="66"/>
                    </a:cubicBezTo>
                    <a:cubicBezTo>
                      <a:pt x="36" y="59"/>
                      <a:pt x="34" y="53"/>
                      <a:pt x="32" y="47"/>
                    </a:cubicBezTo>
                    <a:cubicBezTo>
                      <a:pt x="15" y="0"/>
                      <a:pt x="15" y="0"/>
                      <a:pt x="15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31" y="81"/>
                      <a:pt x="31" y="81"/>
                      <a:pt x="31" y="81"/>
                    </a:cubicBezTo>
                    <a:cubicBezTo>
                      <a:pt x="30" y="83"/>
                      <a:pt x="30" y="84"/>
                      <a:pt x="29" y="85"/>
                    </a:cubicBezTo>
                    <a:cubicBezTo>
                      <a:pt x="27" y="90"/>
                      <a:pt x="26" y="94"/>
                      <a:pt x="25" y="95"/>
                    </a:cubicBezTo>
                    <a:cubicBezTo>
                      <a:pt x="24" y="97"/>
                      <a:pt x="22" y="98"/>
                      <a:pt x="21" y="99"/>
                    </a:cubicBezTo>
                    <a:cubicBezTo>
                      <a:pt x="19" y="100"/>
                      <a:pt x="16" y="101"/>
                      <a:pt x="13" y="101"/>
                    </a:cubicBezTo>
                    <a:cubicBezTo>
                      <a:pt x="11" y="101"/>
                      <a:pt x="8" y="101"/>
                      <a:pt x="5" y="100"/>
                    </a:cubicBezTo>
                    <a:cubicBezTo>
                      <a:pt x="7" y="113"/>
                      <a:pt x="7" y="113"/>
                      <a:pt x="7" y="113"/>
                    </a:cubicBezTo>
                    <a:cubicBezTo>
                      <a:pt x="10" y="114"/>
                      <a:pt x="13" y="114"/>
                      <a:pt x="16" y="114"/>
                    </a:cubicBezTo>
                    <a:cubicBezTo>
                      <a:pt x="20" y="114"/>
                      <a:pt x="24" y="113"/>
                      <a:pt x="27" y="111"/>
                    </a:cubicBezTo>
                    <a:cubicBezTo>
                      <a:pt x="30" y="109"/>
                      <a:pt x="33" y="106"/>
                      <a:pt x="36" y="101"/>
                    </a:cubicBezTo>
                    <a:cubicBezTo>
                      <a:pt x="37" y="98"/>
                      <a:pt x="40" y="92"/>
                      <a:pt x="43" y="83"/>
                    </a:cubicBezTo>
                    <a:cubicBezTo>
                      <a:pt x="74" y="0"/>
                      <a:pt x="74" y="0"/>
                      <a:pt x="74" y="0"/>
                    </a:cubicBezTo>
                    <a:cubicBezTo>
                      <a:pt x="60" y="0"/>
                      <a:pt x="60" y="0"/>
                      <a:pt x="60" y="0"/>
                    </a:cubicBezTo>
                    <a:lnTo>
                      <a:pt x="43" y="4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153" name="íSḷiḑè"/>
              <p:cNvSpPr/>
              <p:nvPr/>
            </p:nvSpPr>
            <p:spPr bwMode="auto">
              <a:xfrm>
                <a:off x="6564566" y="5729878"/>
                <a:ext cx="142875" cy="157163"/>
              </a:xfrm>
              <a:custGeom>
                <a:avLst/>
                <a:gdLst>
                  <a:gd name="T0" fmla="*/ 38 w 77"/>
                  <a:gd name="T1" fmla="*/ 0 h 85"/>
                  <a:gd name="T2" fmla="*/ 13 w 77"/>
                  <a:gd name="T3" fmla="*/ 9 h 85"/>
                  <a:gd name="T4" fmla="*/ 0 w 77"/>
                  <a:gd name="T5" fmla="*/ 43 h 85"/>
                  <a:gd name="T6" fmla="*/ 11 w 77"/>
                  <a:gd name="T7" fmla="*/ 74 h 85"/>
                  <a:gd name="T8" fmla="*/ 38 w 77"/>
                  <a:gd name="T9" fmla="*/ 85 h 85"/>
                  <a:gd name="T10" fmla="*/ 58 w 77"/>
                  <a:gd name="T11" fmla="*/ 80 h 85"/>
                  <a:gd name="T12" fmla="*/ 72 w 77"/>
                  <a:gd name="T13" fmla="*/ 66 h 85"/>
                  <a:gd name="T14" fmla="*/ 77 w 77"/>
                  <a:gd name="T15" fmla="*/ 42 h 85"/>
                  <a:gd name="T16" fmla="*/ 66 w 77"/>
                  <a:gd name="T17" fmla="*/ 11 h 85"/>
                  <a:gd name="T18" fmla="*/ 38 w 77"/>
                  <a:gd name="T19" fmla="*/ 0 h 85"/>
                  <a:gd name="T20" fmla="*/ 56 w 77"/>
                  <a:gd name="T21" fmla="*/ 66 h 85"/>
                  <a:gd name="T22" fmla="*/ 38 w 77"/>
                  <a:gd name="T23" fmla="*/ 74 h 85"/>
                  <a:gd name="T24" fmla="*/ 21 w 77"/>
                  <a:gd name="T25" fmla="*/ 66 h 85"/>
                  <a:gd name="T26" fmla="*/ 15 w 77"/>
                  <a:gd name="T27" fmla="*/ 43 h 85"/>
                  <a:gd name="T28" fmla="*/ 21 w 77"/>
                  <a:gd name="T29" fmla="*/ 19 h 85"/>
                  <a:gd name="T30" fmla="*/ 38 w 77"/>
                  <a:gd name="T31" fmla="*/ 12 h 85"/>
                  <a:gd name="T32" fmla="*/ 56 w 77"/>
                  <a:gd name="T33" fmla="*/ 19 h 85"/>
                  <a:gd name="T34" fmla="*/ 62 w 77"/>
                  <a:gd name="T35" fmla="*/ 42 h 85"/>
                  <a:gd name="T36" fmla="*/ 56 w 77"/>
                  <a:gd name="T37" fmla="*/ 66 h 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77" h="85">
                    <a:moveTo>
                      <a:pt x="38" y="0"/>
                    </a:moveTo>
                    <a:cubicBezTo>
                      <a:pt x="28" y="0"/>
                      <a:pt x="20" y="3"/>
                      <a:pt x="13" y="9"/>
                    </a:cubicBezTo>
                    <a:cubicBezTo>
                      <a:pt x="5" y="16"/>
                      <a:pt x="0" y="28"/>
                      <a:pt x="0" y="43"/>
                    </a:cubicBezTo>
                    <a:cubicBezTo>
                      <a:pt x="0" y="56"/>
                      <a:pt x="4" y="67"/>
                      <a:pt x="11" y="74"/>
                    </a:cubicBezTo>
                    <a:cubicBezTo>
                      <a:pt x="18" y="82"/>
                      <a:pt x="27" y="85"/>
                      <a:pt x="38" y="85"/>
                    </a:cubicBezTo>
                    <a:cubicBezTo>
                      <a:pt x="46" y="85"/>
                      <a:pt x="52" y="84"/>
                      <a:pt x="58" y="80"/>
                    </a:cubicBezTo>
                    <a:cubicBezTo>
                      <a:pt x="64" y="77"/>
                      <a:pt x="69" y="72"/>
                      <a:pt x="72" y="66"/>
                    </a:cubicBezTo>
                    <a:cubicBezTo>
                      <a:pt x="75" y="60"/>
                      <a:pt x="77" y="52"/>
                      <a:pt x="77" y="42"/>
                    </a:cubicBezTo>
                    <a:cubicBezTo>
                      <a:pt x="77" y="29"/>
                      <a:pt x="73" y="19"/>
                      <a:pt x="66" y="11"/>
                    </a:cubicBezTo>
                    <a:cubicBezTo>
                      <a:pt x="59" y="4"/>
                      <a:pt x="50" y="0"/>
                      <a:pt x="38" y="0"/>
                    </a:cubicBezTo>
                    <a:close/>
                    <a:moveTo>
                      <a:pt x="56" y="66"/>
                    </a:moveTo>
                    <a:cubicBezTo>
                      <a:pt x="51" y="71"/>
                      <a:pt x="45" y="74"/>
                      <a:pt x="38" y="74"/>
                    </a:cubicBezTo>
                    <a:cubicBezTo>
                      <a:pt x="32" y="74"/>
                      <a:pt x="26" y="71"/>
                      <a:pt x="21" y="66"/>
                    </a:cubicBezTo>
                    <a:cubicBezTo>
                      <a:pt x="17" y="61"/>
                      <a:pt x="15" y="53"/>
                      <a:pt x="15" y="43"/>
                    </a:cubicBezTo>
                    <a:cubicBezTo>
                      <a:pt x="15" y="32"/>
                      <a:pt x="17" y="24"/>
                      <a:pt x="21" y="19"/>
                    </a:cubicBezTo>
                    <a:cubicBezTo>
                      <a:pt x="26" y="14"/>
                      <a:pt x="32" y="12"/>
                      <a:pt x="38" y="12"/>
                    </a:cubicBezTo>
                    <a:cubicBezTo>
                      <a:pt x="45" y="12"/>
                      <a:pt x="51" y="14"/>
                      <a:pt x="56" y="19"/>
                    </a:cubicBezTo>
                    <a:cubicBezTo>
                      <a:pt x="60" y="25"/>
                      <a:pt x="62" y="32"/>
                      <a:pt x="62" y="42"/>
                    </a:cubicBezTo>
                    <a:cubicBezTo>
                      <a:pt x="62" y="53"/>
                      <a:pt x="60" y="61"/>
                      <a:pt x="56" y="6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154" name="ïṣľïḑe"/>
              <p:cNvSpPr/>
              <p:nvPr/>
            </p:nvSpPr>
            <p:spPr bwMode="auto">
              <a:xfrm>
                <a:off x="6720141" y="5672728"/>
                <a:ext cx="85725" cy="209550"/>
              </a:xfrm>
              <a:custGeom>
                <a:avLst/>
                <a:gdLst>
                  <a:gd name="T0" fmla="*/ 20 w 47"/>
                  <a:gd name="T1" fmla="*/ 4 h 114"/>
                  <a:gd name="T2" fmla="*/ 13 w 47"/>
                  <a:gd name="T3" fmla="*/ 12 h 114"/>
                  <a:gd name="T4" fmla="*/ 12 w 47"/>
                  <a:gd name="T5" fmla="*/ 24 h 114"/>
                  <a:gd name="T6" fmla="*/ 12 w 47"/>
                  <a:gd name="T7" fmla="*/ 33 h 114"/>
                  <a:gd name="T8" fmla="*/ 0 w 47"/>
                  <a:gd name="T9" fmla="*/ 33 h 114"/>
                  <a:gd name="T10" fmla="*/ 0 w 47"/>
                  <a:gd name="T11" fmla="*/ 44 h 114"/>
                  <a:gd name="T12" fmla="*/ 12 w 47"/>
                  <a:gd name="T13" fmla="*/ 44 h 114"/>
                  <a:gd name="T14" fmla="*/ 12 w 47"/>
                  <a:gd name="T15" fmla="*/ 114 h 114"/>
                  <a:gd name="T16" fmla="*/ 26 w 47"/>
                  <a:gd name="T17" fmla="*/ 114 h 114"/>
                  <a:gd name="T18" fmla="*/ 26 w 47"/>
                  <a:gd name="T19" fmla="*/ 44 h 114"/>
                  <a:gd name="T20" fmla="*/ 41 w 47"/>
                  <a:gd name="T21" fmla="*/ 44 h 114"/>
                  <a:gd name="T22" fmla="*/ 41 w 47"/>
                  <a:gd name="T23" fmla="*/ 33 h 114"/>
                  <a:gd name="T24" fmla="*/ 26 w 47"/>
                  <a:gd name="T25" fmla="*/ 33 h 114"/>
                  <a:gd name="T26" fmla="*/ 26 w 47"/>
                  <a:gd name="T27" fmla="*/ 26 h 114"/>
                  <a:gd name="T28" fmla="*/ 28 w 47"/>
                  <a:gd name="T29" fmla="*/ 16 h 114"/>
                  <a:gd name="T30" fmla="*/ 37 w 47"/>
                  <a:gd name="T31" fmla="*/ 13 h 114"/>
                  <a:gd name="T32" fmla="*/ 45 w 47"/>
                  <a:gd name="T33" fmla="*/ 14 h 114"/>
                  <a:gd name="T34" fmla="*/ 47 w 47"/>
                  <a:gd name="T35" fmla="*/ 2 h 114"/>
                  <a:gd name="T36" fmla="*/ 34 w 47"/>
                  <a:gd name="T37" fmla="*/ 0 h 114"/>
                  <a:gd name="T38" fmla="*/ 20 w 47"/>
                  <a:gd name="T39" fmla="*/ 4 h 1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47" h="114">
                    <a:moveTo>
                      <a:pt x="20" y="4"/>
                    </a:moveTo>
                    <a:cubicBezTo>
                      <a:pt x="17" y="6"/>
                      <a:pt x="15" y="9"/>
                      <a:pt x="13" y="12"/>
                    </a:cubicBezTo>
                    <a:cubicBezTo>
                      <a:pt x="12" y="15"/>
                      <a:pt x="12" y="19"/>
                      <a:pt x="12" y="24"/>
                    </a:cubicBezTo>
                    <a:cubicBezTo>
                      <a:pt x="12" y="33"/>
                      <a:pt x="12" y="33"/>
                      <a:pt x="12" y="33"/>
                    </a:cubicBezTo>
                    <a:cubicBezTo>
                      <a:pt x="0" y="33"/>
                      <a:pt x="0" y="33"/>
                      <a:pt x="0" y="33"/>
                    </a:cubicBezTo>
                    <a:cubicBezTo>
                      <a:pt x="0" y="44"/>
                      <a:pt x="0" y="44"/>
                      <a:pt x="0" y="44"/>
                    </a:cubicBezTo>
                    <a:cubicBezTo>
                      <a:pt x="12" y="44"/>
                      <a:pt x="12" y="44"/>
                      <a:pt x="12" y="44"/>
                    </a:cubicBezTo>
                    <a:cubicBezTo>
                      <a:pt x="12" y="114"/>
                      <a:pt x="12" y="114"/>
                      <a:pt x="12" y="114"/>
                    </a:cubicBezTo>
                    <a:cubicBezTo>
                      <a:pt x="26" y="114"/>
                      <a:pt x="26" y="114"/>
                      <a:pt x="26" y="114"/>
                    </a:cubicBezTo>
                    <a:cubicBezTo>
                      <a:pt x="26" y="44"/>
                      <a:pt x="26" y="44"/>
                      <a:pt x="26" y="44"/>
                    </a:cubicBezTo>
                    <a:cubicBezTo>
                      <a:pt x="41" y="44"/>
                      <a:pt x="41" y="44"/>
                      <a:pt x="41" y="44"/>
                    </a:cubicBezTo>
                    <a:cubicBezTo>
                      <a:pt x="41" y="33"/>
                      <a:pt x="41" y="33"/>
                      <a:pt x="41" y="33"/>
                    </a:cubicBezTo>
                    <a:cubicBezTo>
                      <a:pt x="26" y="33"/>
                      <a:pt x="26" y="33"/>
                      <a:pt x="26" y="33"/>
                    </a:cubicBezTo>
                    <a:cubicBezTo>
                      <a:pt x="26" y="26"/>
                      <a:pt x="26" y="26"/>
                      <a:pt x="26" y="26"/>
                    </a:cubicBezTo>
                    <a:cubicBezTo>
                      <a:pt x="26" y="21"/>
                      <a:pt x="27" y="17"/>
                      <a:pt x="28" y="16"/>
                    </a:cubicBezTo>
                    <a:cubicBezTo>
                      <a:pt x="30" y="14"/>
                      <a:pt x="33" y="13"/>
                      <a:pt x="37" y="13"/>
                    </a:cubicBezTo>
                    <a:cubicBezTo>
                      <a:pt x="40" y="13"/>
                      <a:pt x="42" y="13"/>
                      <a:pt x="45" y="14"/>
                    </a:cubicBezTo>
                    <a:cubicBezTo>
                      <a:pt x="47" y="2"/>
                      <a:pt x="47" y="2"/>
                      <a:pt x="47" y="2"/>
                    </a:cubicBezTo>
                    <a:cubicBezTo>
                      <a:pt x="43" y="1"/>
                      <a:pt x="38" y="0"/>
                      <a:pt x="34" y="0"/>
                    </a:cubicBezTo>
                    <a:cubicBezTo>
                      <a:pt x="28" y="0"/>
                      <a:pt x="24" y="1"/>
                      <a:pt x="20" y="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155" name="ïš1îḍè"/>
              <p:cNvSpPr/>
              <p:nvPr/>
            </p:nvSpPr>
            <p:spPr bwMode="auto">
              <a:xfrm>
                <a:off x="6890003" y="5672728"/>
                <a:ext cx="165100" cy="214313"/>
              </a:xfrm>
              <a:custGeom>
                <a:avLst/>
                <a:gdLst>
                  <a:gd name="T0" fmla="*/ 71 w 90"/>
                  <a:gd name="T1" fmla="*/ 55 h 116"/>
                  <a:gd name="T2" fmla="*/ 46 w 90"/>
                  <a:gd name="T3" fmla="*/ 48 h 116"/>
                  <a:gd name="T4" fmla="*/ 23 w 90"/>
                  <a:gd name="T5" fmla="*/ 40 h 116"/>
                  <a:gd name="T6" fmla="*/ 19 w 90"/>
                  <a:gd name="T7" fmla="*/ 30 h 116"/>
                  <a:gd name="T8" fmla="*/ 25 w 90"/>
                  <a:gd name="T9" fmla="*/ 18 h 116"/>
                  <a:gd name="T10" fmla="*/ 45 w 90"/>
                  <a:gd name="T11" fmla="*/ 13 h 116"/>
                  <a:gd name="T12" fmla="*/ 64 w 90"/>
                  <a:gd name="T13" fmla="*/ 19 h 116"/>
                  <a:gd name="T14" fmla="*/ 72 w 90"/>
                  <a:gd name="T15" fmla="*/ 35 h 116"/>
                  <a:gd name="T16" fmla="*/ 86 w 90"/>
                  <a:gd name="T17" fmla="*/ 34 h 116"/>
                  <a:gd name="T18" fmla="*/ 81 w 90"/>
                  <a:gd name="T19" fmla="*/ 16 h 116"/>
                  <a:gd name="T20" fmla="*/ 66 w 90"/>
                  <a:gd name="T21" fmla="*/ 4 h 116"/>
                  <a:gd name="T22" fmla="*/ 44 w 90"/>
                  <a:gd name="T23" fmla="*/ 0 h 116"/>
                  <a:gd name="T24" fmla="*/ 24 w 90"/>
                  <a:gd name="T25" fmla="*/ 4 h 116"/>
                  <a:gd name="T26" fmla="*/ 10 w 90"/>
                  <a:gd name="T27" fmla="*/ 15 h 116"/>
                  <a:gd name="T28" fmla="*/ 5 w 90"/>
                  <a:gd name="T29" fmla="*/ 31 h 116"/>
                  <a:gd name="T30" fmla="*/ 9 w 90"/>
                  <a:gd name="T31" fmla="*/ 45 h 116"/>
                  <a:gd name="T32" fmla="*/ 21 w 90"/>
                  <a:gd name="T33" fmla="*/ 56 h 116"/>
                  <a:gd name="T34" fmla="*/ 42 w 90"/>
                  <a:gd name="T35" fmla="*/ 63 h 116"/>
                  <a:gd name="T36" fmla="*/ 62 w 90"/>
                  <a:gd name="T37" fmla="*/ 68 h 116"/>
                  <a:gd name="T38" fmla="*/ 72 w 90"/>
                  <a:gd name="T39" fmla="*/ 75 h 116"/>
                  <a:gd name="T40" fmla="*/ 75 w 90"/>
                  <a:gd name="T41" fmla="*/ 84 h 116"/>
                  <a:gd name="T42" fmla="*/ 72 w 90"/>
                  <a:gd name="T43" fmla="*/ 93 h 116"/>
                  <a:gd name="T44" fmla="*/ 63 w 90"/>
                  <a:gd name="T45" fmla="*/ 100 h 116"/>
                  <a:gd name="T46" fmla="*/ 48 w 90"/>
                  <a:gd name="T47" fmla="*/ 103 h 116"/>
                  <a:gd name="T48" fmla="*/ 30 w 90"/>
                  <a:gd name="T49" fmla="*/ 100 h 116"/>
                  <a:gd name="T50" fmla="*/ 19 w 90"/>
                  <a:gd name="T51" fmla="*/ 91 h 116"/>
                  <a:gd name="T52" fmla="*/ 14 w 90"/>
                  <a:gd name="T53" fmla="*/ 77 h 116"/>
                  <a:gd name="T54" fmla="*/ 0 w 90"/>
                  <a:gd name="T55" fmla="*/ 78 h 116"/>
                  <a:gd name="T56" fmla="*/ 7 w 90"/>
                  <a:gd name="T57" fmla="*/ 98 h 116"/>
                  <a:gd name="T58" fmla="*/ 23 w 90"/>
                  <a:gd name="T59" fmla="*/ 112 h 116"/>
                  <a:gd name="T60" fmla="*/ 48 w 90"/>
                  <a:gd name="T61" fmla="*/ 116 h 116"/>
                  <a:gd name="T62" fmla="*/ 70 w 90"/>
                  <a:gd name="T63" fmla="*/ 112 h 116"/>
                  <a:gd name="T64" fmla="*/ 85 w 90"/>
                  <a:gd name="T65" fmla="*/ 100 h 116"/>
                  <a:gd name="T66" fmla="*/ 90 w 90"/>
                  <a:gd name="T67" fmla="*/ 83 h 116"/>
                  <a:gd name="T68" fmla="*/ 85 w 90"/>
                  <a:gd name="T69" fmla="*/ 67 h 116"/>
                  <a:gd name="T70" fmla="*/ 71 w 90"/>
                  <a:gd name="T71" fmla="*/ 55 h 1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90" h="116">
                    <a:moveTo>
                      <a:pt x="71" y="55"/>
                    </a:moveTo>
                    <a:cubicBezTo>
                      <a:pt x="66" y="53"/>
                      <a:pt x="58" y="51"/>
                      <a:pt x="46" y="48"/>
                    </a:cubicBezTo>
                    <a:cubicBezTo>
                      <a:pt x="34" y="45"/>
                      <a:pt x="26" y="43"/>
                      <a:pt x="23" y="40"/>
                    </a:cubicBezTo>
                    <a:cubicBezTo>
                      <a:pt x="21" y="38"/>
                      <a:pt x="19" y="34"/>
                      <a:pt x="19" y="30"/>
                    </a:cubicBezTo>
                    <a:cubicBezTo>
                      <a:pt x="19" y="26"/>
                      <a:pt x="21" y="22"/>
                      <a:pt x="25" y="18"/>
                    </a:cubicBezTo>
                    <a:cubicBezTo>
                      <a:pt x="29" y="15"/>
                      <a:pt x="36" y="13"/>
                      <a:pt x="45" y="13"/>
                    </a:cubicBezTo>
                    <a:cubicBezTo>
                      <a:pt x="53" y="13"/>
                      <a:pt x="60" y="15"/>
                      <a:pt x="64" y="19"/>
                    </a:cubicBezTo>
                    <a:cubicBezTo>
                      <a:pt x="69" y="22"/>
                      <a:pt x="71" y="28"/>
                      <a:pt x="72" y="35"/>
                    </a:cubicBezTo>
                    <a:cubicBezTo>
                      <a:pt x="86" y="34"/>
                      <a:pt x="86" y="34"/>
                      <a:pt x="86" y="34"/>
                    </a:cubicBezTo>
                    <a:cubicBezTo>
                      <a:pt x="86" y="27"/>
                      <a:pt x="84" y="21"/>
                      <a:pt x="81" y="16"/>
                    </a:cubicBezTo>
                    <a:cubicBezTo>
                      <a:pt x="77" y="11"/>
                      <a:pt x="73" y="7"/>
                      <a:pt x="66" y="4"/>
                    </a:cubicBezTo>
                    <a:cubicBezTo>
                      <a:pt x="60" y="2"/>
                      <a:pt x="53" y="0"/>
                      <a:pt x="44" y="0"/>
                    </a:cubicBezTo>
                    <a:cubicBezTo>
                      <a:pt x="37" y="0"/>
                      <a:pt x="30" y="1"/>
                      <a:pt x="24" y="4"/>
                    </a:cubicBezTo>
                    <a:cubicBezTo>
                      <a:pt x="17" y="7"/>
                      <a:pt x="13" y="10"/>
                      <a:pt x="10" y="15"/>
                    </a:cubicBezTo>
                    <a:cubicBezTo>
                      <a:pt x="6" y="20"/>
                      <a:pt x="5" y="25"/>
                      <a:pt x="5" y="31"/>
                    </a:cubicBezTo>
                    <a:cubicBezTo>
                      <a:pt x="5" y="36"/>
                      <a:pt x="6" y="41"/>
                      <a:pt x="9" y="45"/>
                    </a:cubicBezTo>
                    <a:cubicBezTo>
                      <a:pt x="11" y="49"/>
                      <a:pt x="15" y="53"/>
                      <a:pt x="21" y="56"/>
                    </a:cubicBezTo>
                    <a:cubicBezTo>
                      <a:pt x="25" y="58"/>
                      <a:pt x="32" y="60"/>
                      <a:pt x="42" y="63"/>
                    </a:cubicBezTo>
                    <a:cubicBezTo>
                      <a:pt x="53" y="65"/>
                      <a:pt x="59" y="67"/>
                      <a:pt x="62" y="68"/>
                    </a:cubicBezTo>
                    <a:cubicBezTo>
                      <a:pt x="67" y="70"/>
                      <a:pt x="70" y="72"/>
                      <a:pt x="72" y="75"/>
                    </a:cubicBezTo>
                    <a:cubicBezTo>
                      <a:pt x="74" y="77"/>
                      <a:pt x="75" y="80"/>
                      <a:pt x="75" y="84"/>
                    </a:cubicBezTo>
                    <a:cubicBezTo>
                      <a:pt x="75" y="87"/>
                      <a:pt x="74" y="91"/>
                      <a:pt x="72" y="93"/>
                    </a:cubicBezTo>
                    <a:cubicBezTo>
                      <a:pt x="70" y="96"/>
                      <a:pt x="67" y="99"/>
                      <a:pt x="63" y="100"/>
                    </a:cubicBezTo>
                    <a:cubicBezTo>
                      <a:pt x="58" y="102"/>
                      <a:pt x="53" y="103"/>
                      <a:pt x="48" y="103"/>
                    </a:cubicBezTo>
                    <a:cubicBezTo>
                      <a:pt x="41" y="103"/>
                      <a:pt x="35" y="102"/>
                      <a:pt x="30" y="100"/>
                    </a:cubicBezTo>
                    <a:cubicBezTo>
                      <a:pt x="25" y="97"/>
                      <a:pt x="22" y="94"/>
                      <a:pt x="19" y="91"/>
                    </a:cubicBezTo>
                    <a:cubicBezTo>
                      <a:pt x="17" y="87"/>
                      <a:pt x="15" y="83"/>
                      <a:pt x="14" y="77"/>
                    </a:cubicBezTo>
                    <a:cubicBezTo>
                      <a:pt x="0" y="78"/>
                      <a:pt x="0" y="78"/>
                      <a:pt x="0" y="78"/>
                    </a:cubicBezTo>
                    <a:cubicBezTo>
                      <a:pt x="1" y="86"/>
                      <a:pt x="3" y="93"/>
                      <a:pt x="7" y="98"/>
                    </a:cubicBezTo>
                    <a:cubicBezTo>
                      <a:pt x="11" y="104"/>
                      <a:pt x="16" y="109"/>
                      <a:pt x="23" y="112"/>
                    </a:cubicBezTo>
                    <a:cubicBezTo>
                      <a:pt x="30" y="115"/>
                      <a:pt x="38" y="116"/>
                      <a:pt x="48" y="116"/>
                    </a:cubicBezTo>
                    <a:cubicBezTo>
                      <a:pt x="56" y="116"/>
                      <a:pt x="64" y="115"/>
                      <a:pt x="70" y="112"/>
                    </a:cubicBezTo>
                    <a:cubicBezTo>
                      <a:pt x="76" y="109"/>
                      <a:pt x="81" y="105"/>
                      <a:pt x="85" y="100"/>
                    </a:cubicBezTo>
                    <a:cubicBezTo>
                      <a:pt x="88" y="94"/>
                      <a:pt x="90" y="89"/>
                      <a:pt x="90" y="83"/>
                    </a:cubicBezTo>
                    <a:cubicBezTo>
                      <a:pt x="90" y="77"/>
                      <a:pt x="88" y="71"/>
                      <a:pt x="85" y="67"/>
                    </a:cubicBezTo>
                    <a:cubicBezTo>
                      <a:pt x="82" y="62"/>
                      <a:pt x="77" y="58"/>
                      <a:pt x="71" y="5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156" name="iṥľïḍê"/>
              <p:cNvSpPr/>
              <p:nvPr/>
            </p:nvSpPr>
            <p:spPr bwMode="auto">
              <a:xfrm>
                <a:off x="7080503" y="5729878"/>
                <a:ext cx="131763" cy="157163"/>
              </a:xfrm>
              <a:custGeom>
                <a:avLst/>
                <a:gdLst>
                  <a:gd name="T0" fmla="*/ 50 w 71"/>
                  <a:gd name="T1" fmla="*/ 69 h 85"/>
                  <a:gd name="T2" fmla="*/ 37 w 71"/>
                  <a:gd name="T3" fmla="*/ 74 h 85"/>
                  <a:gd name="T4" fmla="*/ 21 w 71"/>
                  <a:gd name="T5" fmla="*/ 66 h 85"/>
                  <a:gd name="T6" fmla="*/ 14 w 71"/>
                  <a:gd name="T7" fmla="*/ 43 h 85"/>
                  <a:gd name="T8" fmla="*/ 21 w 71"/>
                  <a:gd name="T9" fmla="*/ 19 h 85"/>
                  <a:gd name="T10" fmla="*/ 38 w 71"/>
                  <a:gd name="T11" fmla="*/ 12 h 85"/>
                  <a:gd name="T12" fmla="*/ 49 w 71"/>
                  <a:gd name="T13" fmla="*/ 16 h 85"/>
                  <a:gd name="T14" fmla="*/ 56 w 71"/>
                  <a:gd name="T15" fmla="*/ 28 h 85"/>
                  <a:gd name="T16" fmla="*/ 70 w 71"/>
                  <a:gd name="T17" fmla="*/ 26 h 85"/>
                  <a:gd name="T18" fmla="*/ 59 w 71"/>
                  <a:gd name="T19" fmla="*/ 7 h 85"/>
                  <a:gd name="T20" fmla="*/ 37 w 71"/>
                  <a:gd name="T21" fmla="*/ 0 h 85"/>
                  <a:gd name="T22" fmla="*/ 18 w 71"/>
                  <a:gd name="T23" fmla="*/ 5 h 85"/>
                  <a:gd name="T24" fmla="*/ 4 w 71"/>
                  <a:gd name="T25" fmla="*/ 20 h 85"/>
                  <a:gd name="T26" fmla="*/ 0 w 71"/>
                  <a:gd name="T27" fmla="*/ 43 h 85"/>
                  <a:gd name="T28" fmla="*/ 10 w 71"/>
                  <a:gd name="T29" fmla="*/ 74 h 85"/>
                  <a:gd name="T30" fmla="*/ 37 w 71"/>
                  <a:gd name="T31" fmla="*/ 85 h 85"/>
                  <a:gd name="T32" fmla="*/ 60 w 71"/>
                  <a:gd name="T33" fmla="*/ 77 h 85"/>
                  <a:gd name="T34" fmla="*/ 71 w 71"/>
                  <a:gd name="T35" fmla="*/ 55 h 85"/>
                  <a:gd name="T36" fmla="*/ 57 w 71"/>
                  <a:gd name="T37" fmla="*/ 54 h 85"/>
                  <a:gd name="T38" fmla="*/ 50 w 71"/>
                  <a:gd name="T39" fmla="*/ 69 h 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71" h="85">
                    <a:moveTo>
                      <a:pt x="50" y="69"/>
                    </a:moveTo>
                    <a:cubicBezTo>
                      <a:pt x="47" y="72"/>
                      <a:pt x="42" y="74"/>
                      <a:pt x="37" y="74"/>
                    </a:cubicBezTo>
                    <a:cubicBezTo>
                      <a:pt x="30" y="74"/>
                      <a:pt x="25" y="71"/>
                      <a:pt x="21" y="66"/>
                    </a:cubicBezTo>
                    <a:cubicBezTo>
                      <a:pt x="16" y="61"/>
                      <a:pt x="14" y="54"/>
                      <a:pt x="14" y="43"/>
                    </a:cubicBezTo>
                    <a:cubicBezTo>
                      <a:pt x="14" y="32"/>
                      <a:pt x="16" y="24"/>
                      <a:pt x="21" y="19"/>
                    </a:cubicBezTo>
                    <a:cubicBezTo>
                      <a:pt x="25" y="14"/>
                      <a:pt x="31" y="12"/>
                      <a:pt x="38" y="12"/>
                    </a:cubicBezTo>
                    <a:cubicBezTo>
                      <a:pt x="42" y="12"/>
                      <a:pt x="46" y="13"/>
                      <a:pt x="49" y="16"/>
                    </a:cubicBezTo>
                    <a:cubicBezTo>
                      <a:pt x="53" y="18"/>
                      <a:pt x="55" y="23"/>
                      <a:pt x="56" y="28"/>
                    </a:cubicBezTo>
                    <a:cubicBezTo>
                      <a:pt x="70" y="26"/>
                      <a:pt x="70" y="26"/>
                      <a:pt x="70" y="26"/>
                    </a:cubicBezTo>
                    <a:cubicBezTo>
                      <a:pt x="68" y="18"/>
                      <a:pt x="64" y="11"/>
                      <a:pt x="59" y="7"/>
                    </a:cubicBezTo>
                    <a:cubicBezTo>
                      <a:pt x="53" y="2"/>
                      <a:pt x="46" y="0"/>
                      <a:pt x="37" y="0"/>
                    </a:cubicBezTo>
                    <a:cubicBezTo>
                      <a:pt x="30" y="0"/>
                      <a:pt x="24" y="2"/>
                      <a:pt x="18" y="5"/>
                    </a:cubicBezTo>
                    <a:cubicBezTo>
                      <a:pt x="12" y="8"/>
                      <a:pt x="7" y="13"/>
                      <a:pt x="4" y="20"/>
                    </a:cubicBezTo>
                    <a:cubicBezTo>
                      <a:pt x="2" y="27"/>
                      <a:pt x="0" y="34"/>
                      <a:pt x="0" y="43"/>
                    </a:cubicBezTo>
                    <a:cubicBezTo>
                      <a:pt x="0" y="57"/>
                      <a:pt x="3" y="67"/>
                      <a:pt x="10" y="74"/>
                    </a:cubicBezTo>
                    <a:cubicBezTo>
                      <a:pt x="17" y="82"/>
                      <a:pt x="26" y="85"/>
                      <a:pt x="37" y="85"/>
                    </a:cubicBezTo>
                    <a:cubicBezTo>
                      <a:pt x="46" y="85"/>
                      <a:pt x="53" y="83"/>
                      <a:pt x="60" y="77"/>
                    </a:cubicBezTo>
                    <a:cubicBezTo>
                      <a:pt x="66" y="72"/>
                      <a:pt x="69" y="65"/>
                      <a:pt x="71" y="55"/>
                    </a:cubicBezTo>
                    <a:cubicBezTo>
                      <a:pt x="57" y="54"/>
                      <a:pt x="57" y="54"/>
                      <a:pt x="57" y="54"/>
                    </a:cubicBezTo>
                    <a:cubicBezTo>
                      <a:pt x="56" y="60"/>
                      <a:pt x="54" y="66"/>
                      <a:pt x="50" y="6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157" name="íṥ1ïdê"/>
              <p:cNvSpPr/>
              <p:nvPr/>
            </p:nvSpPr>
            <p:spPr bwMode="auto">
              <a:xfrm>
                <a:off x="7234491" y="5675903"/>
                <a:ext cx="25400" cy="30163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158" name="îṡ1îďé"/>
              <p:cNvSpPr/>
              <p:nvPr/>
            </p:nvSpPr>
            <p:spPr bwMode="auto">
              <a:xfrm>
                <a:off x="7234491" y="5733053"/>
                <a:ext cx="25400" cy="149225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159" name="íṩḷïḑé"/>
              <p:cNvSpPr/>
              <p:nvPr/>
            </p:nvSpPr>
            <p:spPr bwMode="auto">
              <a:xfrm>
                <a:off x="7290053" y="5729878"/>
                <a:ext cx="138113" cy="157163"/>
              </a:xfrm>
              <a:custGeom>
                <a:avLst/>
                <a:gdLst>
                  <a:gd name="T0" fmla="*/ 38 w 75"/>
                  <a:gd name="T1" fmla="*/ 0 h 85"/>
                  <a:gd name="T2" fmla="*/ 10 w 75"/>
                  <a:gd name="T3" fmla="*/ 12 h 85"/>
                  <a:gd name="T4" fmla="*/ 0 w 75"/>
                  <a:gd name="T5" fmla="*/ 43 h 85"/>
                  <a:gd name="T6" fmla="*/ 10 w 75"/>
                  <a:gd name="T7" fmla="*/ 74 h 85"/>
                  <a:gd name="T8" fmla="*/ 39 w 75"/>
                  <a:gd name="T9" fmla="*/ 85 h 85"/>
                  <a:gd name="T10" fmla="*/ 62 w 75"/>
                  <a:gd name="T11" fmla="*/ 78 h 85"/>
                  <a:gd name="T12" fmla="*/ 74 w 75"/>
                  <a:gd name="T13" fmla="*/ 59 h 85"/>
                  <a:gd name="T14" fmla="*/ 60 w 75"/>
                  <a:gd name="T15" fmla="*/ 57 h 85"/>
                  <a:gd name="T16" fmla="*/ 52 w 75"/>
                  <a:gd name="T17" fmla="*/ 70 h 85"/>
                  <a:gd name="T18" fmla="*/ 39 w 75"/>
                  <a:gd name="T19" fmla="*/ 74 h 85"/>
                  <a:gd name="T20" fmla="*/ 22 w 75"/>
                  <a:gd name="T21" fmla="*/ 67 h 85"/>
                  <a:gd name="T22" fmla="*/ 14 w 75"/>
                  <a:gd name="T23" fmla="*/ 46 h 85"/>
                  <a:gd name="T24" fmla="*/ 75 w 75"/>
                  <a:gd name="T25" fmla="*/ 46 h 85"/>
                  <a:gd name="T26" fmla="*/ 75 w 75"/>
                  <a:gd name="T27" fmla="*/ 43 h 85"/>
                  <a:gd name="T28" fmla="*/ 65 w 75"/>
                  <a:gd name="T29" fmla="*/ 11 h 85"/>
                  <a:gd name="T30" fmla="*/ 38 w 75"/>
                  <a:gd name="T31" fmla="*/ 0 h 85"/>
                  <a:gd name="T32" fmla="*/ 15 w 75"/>
                  <a:gd name="T33" fmla="*/ 35 h 85"/>
                  <a:gd name="T34" fmla="*/ 22 w 75"/>
                  <a:gd name="T35" fmla="*/ 18 h 85"/>
                  <a:gd name="T36" fmla="*/ 38 w 75"/>
                  <a:gd name="T37" fmla="*/ 12 h 85"/>
                  <a:gd name="T38" fmla="*/ 55 w 75"/>
                  <a:gd name="T39" fmla="*/ 20 h 85"/>
                  <a:gd name="T40" fmla="*/ 60 w 75"/>
                  <a:gd name="T41" fmla="*/ 35 h 85"/>
                  <a:gd name="T42" fmla="*/ 15 w 75"/>
                  <a:gd name="T43" fmla="*/ 35 h 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75" h="85">
                    <a:moveTo>
                      <a:pt x="38" y="0"/>
                    </a:moveTo>
                    <a:cubicBezTo>
                      <a:pt x="27" y="0"/>
                      <a:pt x="18" y="4"/>
                      <a:pt x="10" y="12"/>
                    </a:cubicBezTo>
                    <a:cubicBezTo>
                      <a:pt x="3" y="19"/>
                      <a:pt x="0" y="30"/>
                      <a:pt x="0" y="43"/>
                    </a:cubicBezTo>
                    <a:cubicBezTo>
                      <a:pt x="0" y="57"/>
                      <a:pt x="3" y="67"/>
                      <a:pt x="10" y="74"/>
                    </a:cubicBezTo>
                    <a:cubicBezTo>
                      <a:pt x="17" y="81"/>
                      <a:pt x="27" y="85"/>
                      <a:pt x="39" y="85"/>
                    </a:cubicBezTo>
                    <a:cubicBezTo>
                      <a:pt x="48" y="85"/>
                      <a:pt x="56" y="83"/>
                      <a:pt x="62" y="78"/>
                    </a:cubicBezTo>
                    <a:cubicBezTo>
                      <a:pt x="68" y="74"/>
                      <a:pt x="72" y="67"/>
                      <a:pt x="74" y="59"/>
                    </a:cubicBezTo>
                    <a:cubicBezTo>
                      <a:pt x="60" y="57"/>
                      <a:pt x="60" y="57"/>
                      <a:pt x="60" y="57"/>
                    </a:cubicBezTo>
                    <a:cubicBezTo>
                      <a:pt x="58" y="63"/>
                      <a:pt x="55" y="67"/>
                      <a:pt x="52" y="70"/>
                    </a:cubicBezTo>
                    <a:cubicBezTo>
                      <a:pt x="48" y="73"/>
                      <a:pt x="44" y="74"/>
                      <a:pt x="39" y="74"/>
                    </a:cubicBezTo>
                    <a:cubicBezTo>
                      <a:pt x="32" y="74"/>
                      <a:pt x="26" y="71"/>
                      <a:pt x="22" y="67"/>
                    </a:cubicBezTo>
                    <a:cubicBezTo>
                      <a:pt x="17" y="62"/>
                      <a:pt x="15" y="55"/>
                      <a:pt x="14" y="46"/>
                    </a:cubicBezTo>
                    <a:cubicBezTo>
                      <a:pt x="75" y="46"/>
                      <a:pt x="75" y="46"/>
                      <a:pt x="75" y="46"/>
                    </a:cubicBezTo>
                    <a:cubicBezTo>
                      <a:pt x="75" y="45"/>
                      <a:pt x="75" y="43"/>
                      <a:pt x="75" y="43"/>
                    </a:cubicBezTo>
                    <a:cubicBezTo>
                      <a:pt x="75" y="29"/>
                      <a:pt x="71" y="19"/>
                      <a:pt x="65" y="11"/>
                    </a:cubicBezTo>
                    <a:cubicBezTo>
                      <a:pt x="58" y="4"/>
                      <a:pt x="49" y="0"/>
                      <a:pt x="38" y="0"/>
                    </a:cubicBezTo>
                    <a:close/>
                    <a:moveTo>
                      <a:pt x="15" y="35"/>
                    </a:moveTo>
                    <a:cubicBezTo>
                      <a:pt x="15" y="28"/>
                      <a:pt x="18" y="22"/>
                      <a:pt x="22" y="18"/>
                    </a:cubicBezTo>
                    <a:cubicBezTo>
                      <a:pt x="26" y="14"/>
                      <a:pt x="32" y="12"/>
                      <a:pt x="38" y="12"/>
                    </a:cubicBezTo>
                    <a:cubicBezTo>
                      <a:pt x="45" y="12"/>
                      <a:pt x="51" y="14"/>
                      <a:pt x="55" y="20"/>
                    </a:cubicBezTo>
                    <a:cubicBezTo>
                      <a:pt x="58" y="23"/>
                      <a:pt x="60" y="28"/>
                      <a:pt x="60" y="35"/>
                    </a:cubicBezTo>
                    <a:lnTo>
                      <a:pt x="15" y="3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160" name="ïşḷiḋè"/>
              <p:cNvSpPr/>
              <p:nvPr/>
            </p:nvSpPr>
            <p:spPr bwMode="auto">
              <a:xfrm>
                <a:off x="7458328" y="5729878"/>
                <a:ext cx="122238" cy="152400"/>
              </a:xfrm>
              <a:custGeom>
                <a:avLst/>
                <a:gdLst>
                  <a:gd name="T0" fmla="*/ 61 w 66"/>
                  <a:gd name="T1" fmla="*/ 10 h 83"/>
                  <a:gd name="T2" fmla="*/ 51 w 66"/>
                  <a:gd name="T3" fmla="*/ 3 h 83"/>
                  <a:gd name="T4" fmla="*/ 38 w 66"/>
                  <a:gd name="T5" fmla="*/ 0 h 83"/>
                  <a:gd name="T6" fmla="*/ 12 w 66"/>
                  <a:gd name="T7" fmla="*/ 14 h 83"/>
                  <a:gd name="T8" fmla="*/ 12 w 66"/>
                  <a:gd name="T9" fmla="*/ 2 h 83"/>
                  <a:gd name="T10" fmla="*/ 0 w 66"/>
                  <a:gd name="T11" fmla="*/ 2 h 83"/>
                  <a:gd name="T12" fmla="*/ 0 w 66"/>
                  <a:gd name="T13" fmla="*/ 83 h 83"/>
                  <a:gd name="T14" fmla="*/ 13 w 66"/>
                  <a:gd name="T15" fmla="*/ 83 h 83"/>
                  <a:gd name="T16" fmla="*/ 13 w 66"/>
                  <a:gd name="T17" fmla="*/ 39 h 83"/>
                  <a:gd name="T18" fmla="*/ 20 w 66"/>
                  <a:gd name="T19" fmla="*/ 18 h 83"/>
                  <a:gd name="T20" fmla="*/ 35 w 66"/>
                  <a:gd name="T21" fmla="*/ 12 h 83"/>
                  <a:gd name="T22" fmla="*/ 45 w 66"/>
                  <a:gd name="T23" fmla="*/ 15 h 83"/>
                  <a:gd name="T24" fmla="*/ 50 w 66"/>
                  <a:gd name="T25" fmla="*/ 21 h 83"/>
                  <a:gd name="T26" fmla="*/ 52 w 66"/>
                  <a:gd name="T27" fmla="*/ 34 h 83"/>
                  <a:gd name="T28" fmla="*/ 52 w 66"/>
                  <a:gd name="T29" fmla="*/ 83 h 83"/>
                  <a:gd name="T30" fmla="*/ 66 w 66"/>
                  <a:gd name="T31" fmla="*/ 83 h 83"/>
                  <a:gd name="T32" fmla="*/ 66 w 66"/>
                  <a:gd name="T33" fmla="*/ 33 h 83"/>
                  <a:gd name="T34" fmla="*/ 65 w 66"/>
                  <a:gd name="T35" fmla="*/ 20 h 83"/>
                  <a:gd name="T36" fmla="*/ 61 w 66"/>
                  <a:gd name="T37" fmla="*/ 10 h 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66" h="83">
                    <a:moveTo>
                      <a:pt x="61" y="10"/>
                    </a:moveTo>
                    <a:cubicBezTo>
                      <a:pt x="59" y="7"/>
                      <a:pt x="56" y="5"/>
                      <a:pt x="51" y="3"/>
                    </a:cubicBezTo>
                    <a:cubicBezTo>
                      <a:pt x="47" y="1"/>
                      <a:pt x="43" y="0"/>
                      <a:pt x="38" y="0"/>
                    </a:cubicBezTo>
                    <a:cubicBezTo>
                      <a:pt x="27" y="0"/>
                      <a:pt x="18" y="5"/>
                      <a:pt x="12" y="14"/>
                    </a:cubicBezTo>
                    <a:cubicBezTo>
                      <a:pt x="12" y="2"/>
                      <a:pt x="12" y="2"/>
                      <a:pt x="12" y="2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83"/>
                      <a:pt x="0" y="83"/>
                      <a:pt x="0" y="83"/>
                    </a:cubicBezTo>
                    <a:cubicBezTo>
                      <a:pt x="13" y="83"/>
                      <a:pt x="13" y="83"/>
                      <a:pt x="13" y="83"/>
                    </a:cubicBezTo>
                    <a:cubicBezTo>
                      <a:pt x="13" y="39"/>
                      <a:pt x="13" y="39"/>
                      <a:pt x="13" y="39"/>
                    </a:cubicBezTo>
                    <a:cubicBezTo>
                      <a:pt x="13" y="29"/>
                      <a:pt x="16" y="21"/>
                      <a:pt x="20" y="18"/>
                    </a:cubicBezTo>
                    <a:cubicBezTo>
                      <a:pt x="24" y="14"/>
                      <a:pt x="29" y="12"/>
                      <a:pt x="35" y="12"/>
                    </a:cubicBezTo>
                    <a:cubicBezTo>
                      <a:pt x="39" y="12"/>
                      <a:pt x="42" y="13"/>
                      <a:pt x="45" y="15"/>
                    </a:cubicBezTo>
                    <a:cubicBezTo>
                      <a:pt x="47" y="16"/>
                      <a:pt x="49" y="19"/>
                      <a:pt x="50" y="21"/>
                    </a:cubicBezTo>
                    <a:cubicBezTo>
                      <a:pt x="51" y="24"/>
                      <a:pt x="52" y="28"/>
                      <a:pt x="52" y="34"/>
                    </a:cubicBezTo>
                    <a:cubicBezTo>
                      <a:pt x="52" y="83"/>
                      <a:pt x="52" y="83"/>
                      <a:pt x="52" y="83"/>
                    </a:cubicBezTo>
                    <a:cubicBezTo>
                      <a:pt x="66" y="83"/>
                      <a:pt x="66" y="83"/>
                      <a:pt x="66" y="83"/>
                    </a:cubicBezTo>
                    <a:cubicBezTo>
                      <a:pt x="66" y="33"/>
                      <a:pt x="66" y="33"/>
                      <a:pt x="66" y="33"/>
                    </a:cubicBezTo>
                    <a:cubicBezTo>
                      <a:pt x="66" y="27"/>
                      <a:pt x="65" y="23"/>
                      <a:pt x="65" y="20"/>
                    </a:cubicBezTo>
                    <a:cubicBezTo>
                      <a:pt x="64" y="16"/>
                      <a:pt x="63" y="13"/>
                      <a:pt x="61" y="1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161" name="îṩľiḍé"/>
              <p:cNvSpPr/>
              <p:nvPr/>
            </p:nvSpPr>
            <p:spPr bwMode="auto">
              <a:xfrm>
                <a:off x="7612316" y="5729878"/>
                <a:ext cx="128588" cy="157163"/>
              </a:xfrm>
              <a:custGeom>
                <a:avLst/>
                <a:gdLst>
                  <a:gd name="T0" fmla="*/ 50 w 70"/>
                  <a:gd name="T1" fmla="*/ 69 h 85"/>
                  <a:gd name="T2" fmla="*/ 36 w 70"/>
                  <a:gd name="T3" fmla="*/ 74 h 85"/>
                  <a:gd name="T4" fmla="*/ 20 w 70"/>
                  <a:gd name="T5" fmla="*/ 66 h 85"/>
                  <a:gd name="T6" fmla="*/ 14 w 70"/>
                  <a:gd name="T7" fmla="*/ 43 h 85"/>
                  <a:gd name="T8" fmla="*/ 20 w 70"/>
                  <a:gd name="T9" fmla="*/ 19 h 85"/>
                  <a:gd name="T10" fmla="*/ 37 w 70"/>
                  <a:gd name="T11" fmla="*/ 12 h 85"/>
                  <a:gd name="T12" fmla="*/ 49 w 70"/>
                  <a:gd name="T13" fmla="*/ 16 h 85"/>
                  <a:gd name="T14" fmla="*/ 56 w 70"/>
                  <a:gd name="T15" fmla="*/ 28 h 85"/>
                  <a:gd name="T16" fmla="*/ 69 w 70"/>
                  <a:gd name="T17" fmla="*/ 26 h 85"/>
                  <a:gd name="T18" fmla="*/ 58 w 70"/>
                  <a:gd name="T19" fmla="*/ 7 h 85"/>
                  <a:gd name="T20" fmla="*/ 37 w 70"/>
                  <a:gd name="T21" fmla="*/ 0 h 85"/>
                  <a:gd name="T22" fmla="*/ 17 w 70"/>
                  <a:gd name="T23" fmla="*/ 5 h 85"/>
                  <a:gd name="T24" fmla="*/ 4 w 70"/>
                  <a:gd name="T25" fmla="*/ 20 h 85"/>
                  <a:gd name="T26" fmla="*/ 0 w 70"/>
                  <a:gd name="T27" fmla="*/ 43 h 85"/>
                  <a:gd name="T28" fmla="*/ 10 w 70"/>
                  <a:gd name="T29" fmla="*/ 74 h 85"/>
                  <a:gd name="T30" fmla="*/ 37 w 70"/>
                  <a:gd name="T31" fmla="*/ 85 h 85"/>
                  <a:gd name="T32" fmla="*/ 59 w 70"/>
                  <a:gd name="T33" fmla="*/ 77 h 85"/>
                  <a:gd name="T34" fmla="*/ 70 w 70"/>
                  <a:gd name="T35" fmla="*/ 55 h 85"/>
                  <a:gd name="T36" fmla="*/ 57 w 70"/>
                  <a:gd name="T37" fmla="*/ 54 h 85"/>
                  <a:gd name="T38" fmla="*/ 50 w 70"/>
                  <a:gd name="T39" fmla="*/ 69 h 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70" h="85">
                    <a:moveTo>
                      <a:pt x="50" y="69"/>
                    </a:moveTo>
                    <a:cubicBezTo>
                      <a:pt x="46" y="72"/>
                      <a:pt x="42" y="74"/>
                      <a:pt x="36" y="74"/>
                    </a:cubicBezTo>
                    <a:cubicBezTo>
                      <a:pt x="30" y="74"/>
                      <a:pt x="24" y="71"/>
                      <a:pt x="20" y="66"/>
                    </a:cubicBezTo>
                    <a:cubicBezTo>
                      <a:pt x="16" y="61"/>
                      <a:pt x="14" y="54"/>
                      <a:pt x="14" y="43"/>
                    </a:cubicBezTo>
                    <a:cubicBezTo>
                      <a:pt x="14" y="32"/>
                      <a:pt x="16" y="24"/>
                      <a:pt x="20" y="19"/>
                    </a:cubicBezTo>
                    <a:cubicBezTo>
                      <a:pt x="25" y="14"/>
                      <a:pt x="30" y="12"/>
                      <a:pt x="37" y="12"/>
                    </a:cubicBezTo>
                    <a:cubicBezTo>
                      <a:pt x="42" y="12"/>
                      <a:pt x="46" y="13"/>
                      <a:pt x="49" y="16"/>
                    </a:cubicBezTo>
                    <a:cubicBezTo>
                      <a:pt x="52" y="18"/>
                      <a:pt x="54" y="23"/>
                      <a:pt x="56" y="28"/>
                    </a:cubicBezTo>
                    <a:cubicBezTo>
                      <a:pt x="69" y="26"/>
                      <a:pt x="69" y="26"/>
                      <a:pt x="69" y="26"/>
                    </a:cubicBezTo>
                    <a:cubicBezTo>
                      <a:pt x="68" y="18"/>
                      <a:pt x="64" y="11"/>
                      <a:pt x="58" y="7"/>
                    </a:cubicBezTo>
                    <a:cubicBezTo>
                      <a:pt x="53" y="2"/>
                      <a:pt x="46" y="0"/>
                      <a:pt x="37" y="0"/>
                    </a:cubicBezTo>
                    <a:cubicBezTo>
                      <a:pt x="30" y="0"/>
                      <a:pt x="23" y="2"/>
                      <a:pt x="17" y="5"/>
                    </a:cubicBezTo>
                    <a:cubicBezTo>
                      <a:pt x="11" y="8"/>
                      <a:pt x="7" y="13"/>
                      <a:pt x="4" y="20"/>
                    </a:cubicBezTo>
                    <a:cubicBezTo>
                      <a:pt x="1" y="27"/>
                      <a:pt x="0" y="34"/>
                      <a:pt x="0" y="43"/>
                    </a:cubicBezTo>
                    <a:cubicBezTo>
                      <a:pt x="0" y="57"/>
                      <a:pt x="3" y="67"/>
                      <a:pt x="10" y="74"/>
                    </a:cubicBezTo>
                    <a:cubicBezTo>
                      <a:pt x="17" y="82"/>
                      <a:pt x="26" y="85"/>
                      <a:pt x="37" y="85"/>
                    </a:cubicBezTo>
                    <a:cubicBezTo>
                      <a:pt x="45" y="85"/>
                      <a:pt x="53" y="83"/>
                      <a:pt x="59" y="77"/>
                    </a:cubicBezTo>
                    <a:cubicBezTo>
                      <a:pt x="65" y="72"/>
                      <a:pt x="69" y="65"/>
                      <a:pt x="70" y="55"/>
                    </a:cubicBezTo>
                    <a:cubicBezTo>
                      <a:pt x="57" y="54"/>
                      <a:pt x="57" y="54"/>
                      <a:pt x="57" y="54"/>
                    </a:cubicBezTo>
                    <a:cubicBezTo>
                      <a:pt x="56" y="60"/>
                      <a:pt x="54" y="66"/>
                      <a:pt x="50" y="6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162" name="íṡḷïďe"/>
              <p:cNvSpPr/>
              <p:nvPr/>
            </p:nvSpPr>
            <p:spPr bwMode="auto">
              <a:xfrm>
                <a:off x="7755191" y="5729878"/>
                <a:ext cx="138113" cy="157163"/>
              </a:xfrm>
              <a:custGeom>
                <a:avLst/>
                <a:gdLst>
                  <a:gd name="T0" fmla="*/ 38 w 75"/>
                  <a:gd name="T1" fmla="*/ 0 h 85"/>
                  <a:gd name="T2" fmla="*/ 10 w 75"/>
                  <a:gd name="T3" fmla="*/ 12 h 85"/>
                  <a:gd name="T4" fmla="*/ 0 w 75"/>
                  <a:gd name="T5" fmla="*/ 43 h 85"/>
                  <a:gd name="T6" fmla="*/ 10 w 75"/>
                  <a:gd name="T7" fmla="*/ 74 h 85"/>
                  <a:gd name="T8" fmla="*/ 38 w 75"/>
                  <a:gd name="T9" fmla="*/ 85 h 85"/>
                  <a:gd name="T10" fmla="*/ 62 w 75"/>
                  <a:gd name="T11" fmla="*/ 78 h 85"/>
                  <a:gd name="T12" fmla="*/ 74 w 75"/>
                  <a:gd name="T13" fmla="*/ 59 h 85"/>
                  <a:gd name="T14" fmla="*/ 60 w 75"/>
                  <a:gd name="T15" fmla="*/ 57 h 85"/>
                  <a:gd name="T16" fmla="*/ 51 w 75"/>
                  <a:gd name="T17" fmla="*/ 70 h 85"/>
                  <a:gd name="T18" fmla="*/ 38 w 75"/>
                  <a:gd name="T19" fmla="*/ 74 h 85"/>
                  <a:gd name="T20" fmla="*/ 21 w 75"/>
                  <a:gd name="T21" fmla="*/ 67 h 85"/>
                  <a:gd name="T22" fmla="*/ 14 w 75"/>
                  <a:gd name="T23" fmla="*/ 46 h 85"/>
                  <a:gd name="T24" fmla="*/ 75 w 75"/>
                  <a:gd name="T25" fmla="*/ 46 h 85"/>
                  <a:gd name="T26" fmla="*/ 75 w 75"/>
                  <a:gd name="T27" fmla="*/ 43 h 85"/>
                  <a:gd name="T28" fmla="*/ 64 w 75"/>
                  <a:gd name="T29" fmla="*/ 11 h 85"/>
                  <a:gd name="T30" fmla="*/ 38 w 75"/>
                  <a:gd name="T31" fmla="*/ 0 h 85"/>
                  <a:gd name="T32" fmla="*/ 15 w 75"/>
                  <a:gd name="T33" fmla="*/ 35 h 85"/>
                  <a:gd name="T34" fmla="*/ 22 w 75"/>
                  <a:gd name="T35" fmla="*/ 18 h 85"/>
                  <a:gd name="T36" fmla="*/ 38 w 75"/>
                  <a:gd name="T37" fmla="*/ 12 h 85"/>
                  <a:gd name="T38" fmla="*/ 55 w 75"/>
                  <a:gd name="T39" fmla="*/ 20 h 85"/>
                  <a:gd name="T40" fmla="*/ 60 w 75"/>
                  <a:gd name="T41" fmla="*/ 35 h 85"/>
                  <a:gd name="T42" fmla="*/ 15 w 75"/>
                  <a:gd name="T43" fmla="*/ 35 h 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75" h="85">
                    <a:moveTo>
                      <a:pt x="38" y="0"/>
                    </a:moveTo>
                    <a:cubicBezTo>
                      <a:pt x="26" y="0"/>
                      <a:pt x="17" y="4"/>
                      <a:pt x="10" y="12"/>
                    </a:cubicBezTo>
                    <a:cubicBezTo>
                      <a:pt x="3" y="19"/>
                      <a:pt x="0" y="30"/>
                      <a:pt x="0" y="43"/>
                    </a:cubicBezTo>
                    <a:cubicBezTo>
                      <a:pt x="0" y="57"/>
                      <a:pt x="3" y="67"/>
                      <a:pt x="10" y="74"/>
                    </a:cubicBezTo>
                    <a:cubicBezTo>
                      <a:pt x="17" y="81"/>
                      <a:pt x="26" y="85"/>
                      <a:pt x="38" y="85"/>
                    </a:cubicBezTo>
                    <a:cubicBezTo>
                      <a:pt x="48" y="85"/>
                      <a:pt x="56" y="83"/>
                      <a:pt x="62" y="78"/>
                    </a:cubicBezTo>
                    <a:cubicBezTo>
                      <a:pt x="68" y="74"/>
                      <a:pt x="72" y="67"/>
                      <a:pt x="74" y="59"/>
                    </a:cubicBezTo>
                    <a:cubicBezTo>
                      <a:pt x="60" y="57"/>
                      <a:pt x="60" y="57"/>
                      <a:pt x="60" y="57"/>
                    </a:cubicBezTo>
                    <a:cubicBezTo>
                      <a:pt x="58" y="63"/>
                      <a:pt x="55" y="67"/>
                      <a:pt x="51" y="70"/>
                    </a:cubicBezTo>
                    <a:cubicBezTo>
                      <a:pt x="48" y="73"/>
                      <a:pt x="43" y="74"/>
                      <a:pt x="38" y="74"/>
                    </a:cubicBezTo>
                    <a:cubicBezTo>
                      <a:pt x="32" y="74"/>
                      <a:pt x="26" y="71"/>
                      <a:pt x="21" y="67"/>
                    </a:cubicBezTo>
                    <a:cubicBezTo>
                      <a:pt x="17" y="62"/>
                      <a:pt x="14" y="55"/>
                      <a:pt x="14" y="46"/>
                    </a:cubicBezTo>
                    <a:cubicBezTo>
                      <a:pt x="75" y="46"/>
                      <a:pt x="75" y="46"/>
                      <a:pt x="75" y="46"/>
                    </a:cubicBezTo>
                    <a:cubicBezTo>
                      <a:pt x="75" y="45"/>
                      <a:pt x="75" y="43"/>
                      <a:pt x="75" y="43"/>
                    </a:cubicBezTo>
                    <a:cubicBezTo>
                      <a:pt x="75" y="29"/>
                      <a:pt x="71" y="19"/>
                      <a:pt x="64" y="11"/>
                    </a:cubicBezTo>
                    <a:cubicBezTo>
                      <a:pt x="57" y="4"/>
                      <a:pt x="48" y="0"/>
                      <a:pt x="38" y="0"/>
                    </a:cubicBezTo>
                    <a:close/>
                    <a:moveTo>
                      <a:pt x="15" y="35"/>
                    </a:moveTo>
                    <a:cubicBezTo>
                      <a:pt x="15" y="28"/>
                      <a:pt x="17" y="22"/>
                      <a:pt x="22" y="18"/>
                    </a:cubicBezTo>
                    <a:cubicBezTo>
                      <a:pt x="26" y="14"/>
                      <a:pt x="31" y="12"/>
                      <a:pt x="38" y="12"/>
                    </a:cubicBezTo>
                    <a:cubicBezTo>
                      <a:pt x="45" y="12"/>
                      <a:pt x="50" y="14"/>
                      <a:pt x="55" y="20"/>
                    </a:cubicBezTo>
                    <a:cubicBezTo>
                      <a:pt x="58" y="23"/>
                      <a:pt x="59" y="28"/>
                      <a:pt x="60" y="35"/>
                    </a:cubicBezTo>
                    <a:lnTo>
                      <a:pt x="15" y="3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163" name="í$ľîde"/>
              <p:cNvSpPr/>
              <p:nvPr/>
            </p:nvSpPr>
            <p:spPr bwMode="auto">
              <a:xfrm>
                <a:off x="7994903" y="5729878"/>
                <a:ext cx="138113" cy="157163"/>
              </a:xfrm>
              <a:custGeom>
                <a:avLst/>
                <a:gdLst>
                  <a:gd name="T0" fmla="*/ 71 w 75"/>
                  <a:gd name="T1" fmla="*/ 49 h 85"/>
                  <a:gd name="T2" fmla="*/ 71 w 75"/>
                  <a:gd name="T3" fmla="*/ 31 h 85"/>
                  <a:gd name="T4" fmla="*/ 70 w 75"/>
                  <a:gd name="T5" fmla="*/ 18 h 85"/>
                  <a:gd name="T6" fmla="*/ 66 w 75"/>
                  <a:gd name="T7" fmla="*/ 9 h 85"/>
                  <a:gd name="T8" fmla="*/ 56 w 75"/>
                  <a:gd name="T9" fmla="*/ 3 h 85"/>
                  <a:gd name="T10" fmla="*/ 39 w 75"/>
                  <a:gd name="T11" fmla="*/ 0 h 85"/>
                  <a:gd name="T12" fmla="*/ 21 w 75"/>
                  <a:gd name="T13" fmla="*/ 3 h 85"/>
                  <a:gd name="T14" fmla="*/ 9 w 75"/>
                  <a:gd name="T15" fmla="*/ 11 h 85"/>
                  <a:gd name="T16" fmla="*/ 3 w 75"/>
                  <a:gd name="T17" fmla="*/ 25 h 85"/>
                  <a:gd name="T18" fmla="*/ 16 w 75"/>
                  <a:gd name="T19" fmla="*/ 27 h 85"/>
                  <a:gd name="T20" fmla="*/ 23 w 75"/>
                  <a:gd name="T21" fmla="*/ 15 h 85"/>
                  <a:gd name="T22" fmla="*/ 37 w 75"/>
                  <a:gd name="T23" fmla="*/ 12 h 85"/>
                  <a:gd name="T24" fmla="*/ 53 w 75"/>
                  <a:gd name="T25" fmla="*/ 16 h 85"/>
                  <a:gd name="T26" fmla="*/ 57 w 75"/>
                  <a:gd name="T27" fmla="*/ 28 h 85"/>
                  <a:gd name="T28" fmla="*/ 57 w 75"/>
                  <a:gd name="T29" fmla="*/ 32 h 85"/>
                  <a:gd name="T30" fmla="*/ 32 w 75"/>
                  <a:gd name="T31" fmla="*/ 36 h 85"/>
                  <a:gd name="T32" fmla="*/ 20 w 75"/>
                  <a:gd name="T33" fmla="*/ 39 h 85"/>
                  <a:gd name="T34" fmla="*/ 10 w 75"/>
                  <a:gd name="T35" fmla="*/ 43 h 85"/>
                  <a:gd name="T36" fmla="*/ 3 w 75"/>
                  <a:gd name="T37" fmla="*/ 51 h 85"/>
                  <a:gd name="T38" fmla="*/ 0 w 75"/>
                  <a:gd name="T39" fmla="*/ 62 h 85"/>
                  <a:gd name="T40" fmla="*/ 7 w 75"/>
                  <a:gd name="T41" fmla="*/ 79 h 85"/>
                  <a:gd name="T42" fmla="*/ 28 w 75"/>
                  <a:gd name="T43" fmla="*/ 85 h 85"/>
                  <a:gd name="T44" fmla="*/ 43 w 75"/>
                  <a:gd name="T45" fmla="*/ 82 h 85"/>
                  <a:gd name="T46" fmla="*/ 58 w 75"/>
                  <a:gd name="T47" fmla="*/ 73 h 85"/>
                  <a:gd name="T48" fmla="*/ 61 w 75"/>
                  <a:gd name="T49" fmla="*/ 83 h 85"/>
                  <a:gd name="T50" fmla="*/ 75 w 75"/>
                  <a:gd name="T51" fmla="*/ 83 h 85"/>
                  <a:gd name="T52" fmla="*/ 72 w 75"/>
                  <a:gd name="T53" fmla="*/ 74 h 85"/>
                  <a:gd name="T54" fmla="*/ 71 w 75"/>
                  <a:gd name="T55" fmla="*/ 49 h 85"/>
                  <a:gd name="T56" fmla="*/ 57 w 75"/>
                  <a:gd name="T57" fmla="*/ 48 h 85"/>
                  <a:gd name="T58" fmla="*/ 55 w 75"/>
                  <a:gd name="T59" fmla="*/ 61 h 85"/>
                  <a:gd name="T60" fmla="*/ 46 w 75"/>
                  <a:gd name="T61" fmla="*/ 71 h 85"/>
                  <a:gd name="T62" fmla="*/ 31 w 75"/>
                  <a:gd name="T63" fmla="*/ 74 h 85"/>
                  <a:gd name="T64" fmla="*/ 19 w 75"/>
                  <a:gd name="T65" fmla="*/ 71 h 85"/>
                  <a:gd name="T66" fmla="*/ 15 w 75"/>
                  <a:gd name="T67" fmla="*/ 62 h 85"/>
                  <a:gd name="T68" fmla="*/ 17 w 75"/>
                  <a:gd name="T69" fmla="*/ 55 h 85"/>
                  <a:gd name="T70" fmla="*/ 22 w 75"/>
                  <a:gd name="T71" fmla="*/ 50 h 85"/>
                  <a:gd name="T72" fmla="*/ 34 w 75"/>
                  <a:gd name="T73" fmla="*/ 48 h 85"/>
                  <a:gd name="T74" fmla="*/ 57 w 75"/>
                  <a:gd name="T75" fmla="*/ 43 h 85"/>
                  <a:gd name="T76" fmla="*/ 57 w 75"/>
                  <a:gd name="T77" fmla="*/ 48 h 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75" h="85">
                    <a:moveTo>
                      <a:pt x="71" y="49"/>
                    </a:moveTo>
                    <a:cubicBezTo>
                      <a:pt x="71" y="31"/>
                      <a:pt x="71" y="31"/>
                      <a:pt x="71" y="31"/>
                    </a:cubicBezTo>
                    <a:cubicBezTo>
                      <a:pt x="71" y="25"/>
                      <a:pt x="71" y="21"/>
                      <a:pt x="70" y="18"/>
                    </a:cubicBezTo>
                    <a:cubicBezTo>
                      <a:pt x="69" y="14"/>
                      <a:pt x="68" y="11"/>
                      <a:pt x="66" y="9"/>
                    </a:cubicBezTo>
                    <a:cubicBezTo>
                      <a:pt x="64" y="6"/>
                      <a:pt x="61" y="4"/>
                      <a:pt x="56" y="3"/>
                    </a:cubicBezTo>
                    <a:cubicBezTo>
                      <a:pt x="52" y="1"/>
                      <a:pt x="46" y="0"/>
                      <a:pt x="39" y="0"/>
                    </a:cubicBezTo>
                    <a:cubicBezTo>
                      <a:pt x="32" y="0"/>
                      <a:pt x="26" y="1"/>
                      <a:pt x="21" y="3"/>
                    </a:cubicBezTo>
                    <a:cubicBezTo>
                      <a:pt x="16" y="5"/>
                      <a:pt x="12" y="8"/>
                      <a:pt x="9" y="11"/>
                    </a:cubicBezTo>
                    <a:cubicBezTo>
                      <a:pt x="6" y="15"/>
                      <a:pt x="4" y="19"/>
                      <a:pt x="3" y="25"/>
                    </a:cubicBezTo>
                    <a:cubicBezTo>
                      <a:pt x="16" y="27"/>
                      <a:pt x="16" y="27"/>
                      <a:pt x="16" y="27"/>
                    </a:cubicBezTo>
                    <a:cubicBezTo>
                      <a:pt x="18" y="21"/>
                      <a:pt x="20" y="17"/>
                      <a:pt x="23" y="15"/>
                    </a:cubicBezTo>
                    <a:cubicBezTo>
                      <a:pt x="26" y="13"/>
                      <a:pt x="31" y="12"/>
                      <a:pt x="37" y="12"/>
                    </a:cubicBezTo>
                    <a:cubicBezTo>
                      <a:pt x="44" y="12"/>
                      <a:pt x="50" y="13"/>
                      <a:pt x="53" y="16"/>
                    </a:cubicBezTo>
                    <a:cubicBezTo>
                      <a:pt x="56" y="19"/>
                      <a:pt x="57" y="23"/>
                      <a:pt x="57" y="28"/>
                    </a:cubicBezTo>
                    <a:cubicBezTo>
                      <a:pt x="57" y="29"/>
                      <a:pt x="57" y="30"/>
                      <a:pt x="57" y="32"/>
                    </a:cubicBezTo>
                    <a:cubicBezTo>
                      <a:pt x="52" y="34"/>
                      <a:pt x="43" y="35"/>
                      <a:pt x="32" y="36"/>
                    </a:cubicBezTo>
                    <a:cubicBezTo>
                      <a:pt x="27" y="37"/>
                      <a:pt x="23" y="38"/>
                      <a:pt x="20" y="39"/>
                    </a:cubicBezTo>
                    <a:cubicBezTo>
                      <a:pt x="16" y="40"/>
                      <a:pt x="13" y="41"/>
                      <a:pt x="10" y="43"/>
                    </a:cubicBezTo>
                    <a:cubicBezTo>
                      <a:pt x="7" y="45"/>
                      <a:pt x="5" y="48"/>
                      <a:pt x="3" y="51"/>
                    </a:cubicBezTo>
                    <a:cubicBezTo>
                      <a:pt x="1" y="54"/>
                      <a:pt x="0" y="58"/>
                      <a:pt x="0" y="62"/>
                    </a:cubicBezTo>
                    <a:cubicBezTo>
                      <a:pt x="0" y="69"/>
                      <a:pt x="3" y="74"/>
                      <a:pt x="7" y="79"/>
                    </a:cubicBezTo>
                    <a:cubicBezTo>
                      <a:pt x="12" y="83"/>
                      <a:pt x="19" y="85"/>
                      <a:pt x="28" y="85"/>
                    </a:cubicBezTo>
                    <a:cubicBezTo>
                      <a:pt x="33" y="85"/>
                      <a:pt x="39" y="84"/>
                      <a:pt x="43" y="82"/>
                    </a:cubicBezTo>
                    <a:cubicBezTo>
                      <a:pt x="48" y="81"/>
                      <a:pt x="53" y="78"/>
                      <a:pt x="58" y="73"/>
                    </a:cubicBezTo>
                    <a:cubicBezTo>
                      <a:pt x="58" y="77"/>
                      <a:pt x="59" y="80"/>
                      <a:pt x="61" y="83"/>
                    </a:cubicBezTo>
                    <a:cubicBezTo>
                      <a:pt x="75" y="83"/>
                      <a:pt x="75" y="83"/>
                      <a:pt x="75" y="83"/>
                    </a:cubicBezTo>
                    <a:cubicBezTo>
                      <a:pt x="73" y="80"/>
                      <a:pt x="72" y="77"/>
                      <a:pt x="72" y="74"/>
                    </a:cubicBezTo>
                    <a:cubicBezTo>
                      <a:pt x="71" y="70"/>
                      <a:pt x="71" y="62"/>
                      <a:pt x="71" y="49"/>
                    </a:cubicBezTo>
                    <a:close/>
                    <a:moveTo>
                      <a:pt x="57" y="48"/>
                    </a:moveTo>
                    <a:cubicBezTo>
                      <a:pt x="57" y="54"/>
                      <a:pt x="56" y="58"/>
                      <a:pt x="55" y="61"/>
                    </a:cubicBezTo>
                    <a:cubicBezTo>
                      <a:pt x="53" y="65"/>
                      <a:pt x="50" y="69"/>
                      <a:pt x="46" y="71"/>
                    </a:cubicBezTo>
                    <a:cubicBezTo>
                      <a:pt x="41" y="73"/>
                      <a:pt x="37" y="74"/>
                      <a:pt x="31" y="74"/>
                    </a:cubicBezTo>
                    <a:cubicBezTo>
                      <a:pt x="26" y="74"/>
                      <a:pt x="22" y="73"/>
                      <a:pt x="19" y="71"/>
                    </a:cubicBezTo>
                    <a:cubicBezTo>
                      <a:pt x="16" y="68"/>
                      <a:pt x="15" y="65"/>
                      <a:pt x="15" y="62"/>
                    </a:cubicBezTo>
                    <a:cubicBezTo>
                      <a:pt x="15" y="59"/>
                      <a:pt x="16" y="57"/>
                      <a:pt x="17" y="55"/>
                    </a:cubicBezTo>
                    <a:cubicBezTo>
                      <a:pt x="18" y="53"/>
                      <a:pt x="20" y="52"/>
                      <a:pt x="22" y="50"/>
                    </a:cubicBezTo>
                    <a:cubicBezTo>
                      <a:pt x="25" y="49"/>
                      <a:pt x="29" y="49"/>
                      <a:pt x="34" y="48"/>
                    </a:cubicBezTo>
                    <a:cubicBezTo>
                      <a:pt x="44" y="46"/>
                      <a:pt x="52" y="45"/>
                      <a:pt x="57" y="43"/>
                    </a:cubicBezTo>
                    <a:lnTo>
                      <a:pt x="57" y="4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164" name="ï$ḻíḋê"/>
              <p:cNvSpPr/>
              <p:nvPr/>
            </p:nvSpPr>
            <p:spPr bwMode="auto">
              <a:xfrm>
                <a:off x="8164766" y="5729878"/>
                <a:ext cx="122238" cy="152400"/>
              </a:xfrm>
              <a:custGeom>
                <a:avLst/>
                <a:gdLst>
                  <a:gd name="T0" fmla="*/ 61 w 66"/>
                  <a:gd name="T1" fmla="*/ 10 h 83"/>
                  <a:gd name="T2" fmla="*/ 52 w 66"/>
                  <a:gd name="T3" fmla="*/ 3 h 83"/>
                  <a:gd name="T4" fmla="*/ 38 w 66"/>
                  <a:gd name="T5" fmla="*/ 0 h 83"/>
                  <a:gd name="T6" fmla="*/ 13 w 66"/>
                  <a:gd name="T7" fmla="*/ 14 h 83"/>
                  <a:gd name="T8" fmla="*/ 13 w 66"/>
                  <a:gd name="T9" fmla="*/ 2 h 83"/>
                  <a:gd name="T10" fmla="*/ 0 w 66"/>
                  <a:gd name="T11" fmla="*/ 2 h 83"/>
                  <a:gd name="T12" fmla="*/ 0 w 66"/>
                  <a:gd name="T13" fmla="*/ 83 h 83"/>
                  <a:gd name="T14" fmla="*/ 14 w 66"/>
                  <a:gd name="T15" fmla="*/ 83 h 83"/>
                  <a:gd name="T16" fmla="*/ 14 w 66"/>
                  <a:gd name="T17" fmla="*/ 39 h 83"/>
                  <a:gd name="T18" fmla="*/ 20 w 66"/>
                  <a:gd name="T19" fmla="*/ 18 h 83"/>
                  <a:gd name="T20" fmla="*/ 36 w 66"/>
                  <a:gd name="T21" fmla="*/ 12 h 83"/>
                  <a:gd name="T22" fmla="*/ 45 w 66"/>
                  <a:gd name="T23" fmla="*/ 15 h 83"/>
                  <a:gd name="T24" fmla="*/ 51 w 66"/>
                  <a:gd name="T25" fmla="*/ 21 h 83"/>
                  <a:gd name="T26" fmla="*/ 52 w 66"/>
                  <a:gd name="T27" fmla="*/ 34 h 83"/>
                  <a:gd name="T28" fmla="*/ 52 w 66"/>
                  <a:gd name="T29" fmla="*/ 83 h 83"/>
                  <a:gd name="T30" fmla="*/ 66 w 66"/>
                  <a:gd name="T31" fmla="*/ 83 h 83"/>
                  <a:gd name="T32" fmla="*/ 66 w 66"/>
                  <a:gd name="T33" fmla="*/ 33 h 83"/>
                  <a:gd name="T34" fmla="*/ 65 w 66"/>
                  <a:gd name="T35" fmla="*/ 20 h 83"/>
                  <a:gd name="T36" fmla="*/ 61 w 66"/>
                  <a:gd name="T37" fmla="*/ 10 h 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66" h="83">
                    <a:moveTo>
                      <a:pt x="61" y="10"/>
                    </a:moveTo>
                    <a:cubicBezTo>
                      <a:pt x="59" y="7"/>
                      <a:pt x="56" y="5"/>
                      <a:pt x="52" y="3"/>
                    </a:cubicBezTo>
                    <a:cubicBezTo>
                      <a:pt x="48" y="1"/>
                      <a:pt x="43" y="0"/>
                      <a:pt x="38" y="0"/>
                    </a:cubicBezTo>
                    <a:cubicBezTo>
                      <a:pt x="27" y="0"/>
                      <a:pt x="19" y="5"/>
                      <a:pt x="13" y="14"/>
                    </a:cubicBezTo>
                    <a:cubicBezTo>
                      <a:pt x="13" y="2"/>
                      <a:pt x="13" y="2"/>
                      <a:pt x="13" y="2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83"/>
                      <a:pt x="0" y="83"/>
                      <a:pt x="0" y="83"/>
                    </a:cubicBezTo>
                    <a:cubicBezTo>
                      <a:pt x="14" y="83"/>
                      <a:pt x="14" y="83"/>
                      <a:pt x="14" y="83"/>
                    </a:cubicBezTo>
                    <a:cubicBezTo>
                      <a:pt x="14" y="39"/>
                      <a:pt x="14" y="39"/>
                      <a:pt x="14" y="39"/>
                    </a:cubicBezTo>
                    <a:cubicBezTo>
                      <a:pt x="14" y="29"/>
                      <a:pt x="16" y="21"/>
                      <a:pt x="20" y="18"/>
                    </a:cubicBezTo>
                    <a:cubicBezTo>
                      <a:pt x="25" y="14"/>
                      <a:pt x="30" y="12"/>
                      <a:pt x="36" y="12"/>
                    </a:cubicBezTo>
                    <a:cubicBezTo>
                      <a:pt x="39" y="12"/>
                      <a:pt x="42" y="13"/>
                      <a:pt x="45" y="15"/>
                    </a:cubicBezTo>
                    <a:cubicBezTo>
                      <a:pt x="48" y="16"/>
                      <a:pt x="50" y="19"/>
                      <a:pt x="51" y="21"/>
                    </a:cubicBezTo>
                    <a:cubicBezTo>
                      <a:pt x="52" y="24"/>
                      <a:pt x="52" y="28"/>
                      <a:pt x="52" y="34"/>
                    </a:cubicBezTo>
                    <a:cubicBezTo>
                      <a:pt x="52" y="83"/>
                      <a:pt x="52" y="83"/>
                      <a:pt x="52" y="83"/>
                    </a:cubicBezTo>
                    <a:cubicBezTo>
                      <a:pt x="66" y="83"/>
                      <a:pt x="66" y="83"/>
                      <a:pt x="66" y="83"/>
                    </a:cubicBezTo>
                    <a:cubicBezTo>
                      <a:pt x="66" y="33"/>
                      <a:pt x="66" y="33"/>
                      <a:pt x="66" y="33"/>
                    </a:cubicBezTo>
                    <a:cubicBezTo>
                      <a:pt x="66" y="27"/>
                      <a:pt x="66" y="23"/>
                      <a:pt x="65" y="20"/>
                    </a:cubicBezTo>
                    <a:cubicBezTo>
                      <a:pt x="65" y="16"/>
                      <a:pt x="63" y="13"/>
                      <a:pt x="61" y="1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165" name="îśḻïďè"/>
              <p:cNvSpPr/>
              <p:nvPr/>
            </p:nvSpPr>
            <p:spPr bwMode="auto">
              <a:xfrm>
                <a:off x="8315578" y="5675903"/>
                <a:ext cx="131763" cy="211138"/>
              </a:xfrm>
              <a:custGeom>
                <a:avLst/>
                <a:gdLst>
                  <a:gd name="T0" fmla="*/ 57 w 71"/>
                  <a:gd name="T1" fmla="*/ 40 h 114"/>
                  <a:gd name="T2" fmla="*/ 48 w 71"/>
                  <a:gd name="T3" fmla="*/ 32 h 114"/>
                  <a:gd name="T4" fmla="*/ 35 w 71"/>
                  <a:gd name="T5" fmla="*/ 29 h 114"/>
                  <a:gd name="T6" fmla="*/ 17 w 71"/>
                  <a:gd name="T7" fmla="*/ 35 h 114"/>
                  <a:gd name="T8" fmla="*/ 4 w 71"/>
                  <a:gd name="T9" fmla="*/ 50 h 114"/>
                  <a:gd name="T10" fmla="*/ 0 w 71"/>
                  <a:gd name="T11" fmla="*/ 72 h 114"/>
                  <a:gd name="T12" fmla="*/ 5 w 71"/>
                  <a:gd name="T13" fmla="*/ 94 h 114"/>
                  <a:gd name="T14" fmla="*/ 17 w 71"/>
                  <a:gd name="T15" fmla="*/ 109 h 114"/>
                  <a:gd name="T16" fmla="*/ 35 w 71"/>
                  <a:gd name="T17" fmla="*/ 114 h 114"/>
                  <a:gd name="T18" fmla="*/ 58 w 71"/>
                  <a:gd name="T19" fmla="*/ 102 h 114"/>
                  <a:gd name="T20" fmla="*/ 58 w 71"/>
                  <a:gd name="T21" fmla="*/ 112 h 114"/>
                  <a:gd name="T22" fmla="*/ 71 w 71"/>
                  <a:gd name="T23" fmla="*/ 112 h 114"/>
                  <a:gd name="T24" fmla="*/ 71 w 71"/>
                  <a:gd name="T25" fmla="*/ 0 h 114"/>
                  <a:gd name="T26" fmla="*/ 57 w 71"/>
                  <a:gd name="T27" fmla="*/ 0 h 114"/>
                  <a:gd name="T28" fmla="*/ 57 w 71"/>
                  <a:gd name="T29" fmla="*/ 40 h 114"/>
                  <a:gd name="T30" fmla="*/ 52 w 71"/>
                  <a:gd name="T31" fmla="*/ 95 h 114"/>
                  <a:gd name="T32" fmla="*/ 37 w 71"/>
                  <a:gd name="T33" fmla="*/ 103 h 114"/>
                  <a:gd name="T34" fmla="*/ 21 w 71"/>
                  <a:gd name="T35" fmla="*/ 95 h 114"/>
                  <a:gd name="T36" fmla="*/ 15 w 71"/>
                  <a:gd name="T37" fmla="*/ 72 h 114"/>
                  <a:gd name="T38" fmla="*/ 21 w 71"/>
                  <a:gd name="T39" fmla="*/ 48 h 114"/>
                  <a:gd name="T40" fmla="*/ 36 w 71"/>
                  <a:gd name="T41" fmla="*/ 41 h 114"/>
                  <a:gd name="T42" fmla="*/ 52 w 71"/>
                  <a:gd name="T43" fmla="*/ 48 h 114"/>
                  <a:gd name="T44" fmla="*/ 58 w 71"/>
                  <a:gd name="T45" fmla="*/ 73 h 114"/>
                  <a:gd name="T46" fmla="*/ 52 w 71"/>
                  <a:gd name="T47" fmla="*/ 95 h 1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71" h="114">
                    <a:moveTo>
                      <a:pt x="57" y="40"/>
                    </a:moveTo>
                    <a:cubicBezTo>
                      <a:pt x="55" y="37"/>
                      <a:pt x="52" y="34"/>
                      <a:pt x="48" y="32"/>
                    </a:cubicBezTo>
                    <a:cubicBezTo>
                      <a:pt x="44" y="30"/>
                      <a:pt x="40" y="29"/>
                      <a:pt x="35" y="29"/>
                    </a:cubicBezTo>
                    <a:cubicBezTo>
                      <a:pt x="28" y="29"/>
                      <a:pt x="22" y="31"/>
                      <a:pt x="17" y="35"/>
                    </a:cubicBezTo>
                    <a:cubicBezTo>
                      <a:pt x="11" y="38"/>
                      <a:pt x="7" y="43"/>
                      <a:pt x="4" y="50"/>
                    </a:cubicBezTo>
                    <a:cubicBezTo>
                      <a:pt x="2" y="56"/>
                      <a:pt x="0" y="64"/>
                      <a:pt x="0" y="72"/>
                    </a:cubicBezTo>
                    <a:cubicBezTo>
                      <a:pt x="0" y="80"/>
                      <a:pt x="2" y="87"/>
                      <a:pt x="5" y="94"/>
                    </a:cubicBezTo>
                    <a:cubicBezTo>
                      <a:pt x="8" y="100"/>
                      <a:pt x="12" y="105"/>
                      <a:pt x="17" y="109"/>
                    </a:cubicBezTo>
                    <a:cubicBezTo>
                      <a:pt x="23" y="112"/>
                      <a:pt x="29" y="114"/>
                      <a:pt x="35" y="114"/>
                    </a:cubicBezTo>
                    <a:cubicBezTo>
                      <a:pt x="45" y="114"/>
                      <a:pt x="53" y="110"/>
                      <a:pt x="58" y="102"/>
                    </a:cubicBezTo>
                    <a:cubicBezTo>
                      <a:pt x="58" y="112"/>
                      <a:pt x="58" y="112"/>
                      <a:pt x="58" y="112"/>
                    </a:cubicBezTo>
                    <a:cubicBezTo>
                      <a:pt x="71" y="112"/>
                      <a:pt x="71" y="112"/>
                      <a:pt x="71" y="112"/>
                    </a:cubicBezTo>
                    <a:cubicBezTo>
                      <a:pt x="71" y="0"/>
                      <a:pt x="71" y="0"/>
                      <a:pt x="71" y="0"/>
                    </a:cubicBezTo>
                    <a:cubicBezTo>
                      <a:pt x="57" y="0"/>
                      <a:pt x="57" y="0"/>
                      <a:pt x="57" y="0"/>
                    </a:cubicBezTo>
                    <a:lnTo>
                      <a:pt x="57" y="40"/>
                    </a:lnTo>
                    <a:close/>
                    <a:moveTo>
                      <a:pt x="52" y="95"/>
                    </a:moveTo>
                    <a:cubicBezTo>
                      <a:pt x="48" y="100"/>
                      <a:pt x="43" y="103"/>
                      <a:pt x="37" y="103"/>
                    </a:cubicBezTo>
                    <a:cubicBezTo>
                      <a:pt x="31" y="103"/>
                      <a:pt x="25" y="100"/>
                      <a:pt x="21" y="95"/>
                    </a:cubicBezTo>
                    <a:cubicBezTo>
                      <a:pt x="17" y="90"/>
                      <a:pt x="15" y="82"/>
                      <a:pt x="15" y="72"/>
                    </a:cubicBezTo>
                    <a:cubicBezTo>
                      <a:pt x="15" y="61"/>
                      <a:pt x="17" y="53"/>
                      <a:pt x="21" y="48"/>
                    </a:cubicBezTo>
                    <a:cubicBezTo>
                      <a:pt x="25" y="43"/>
                      <a:pt x="30" y="41"/>
                      <a:pt x="36" y="41"/>
                    </a:cubicBezTo>
                    <a:cubicBezTo>
                      <a:pt x="42" y="41"/>
                      <a:pt x="48" y="43"/>
                      <a:pt x="52" y="48"/>
                    </a:cubicBezTo>
                    <a:cubicBezTo>
                      <a:pt x="56" y="54"/>
                      <a:pt x="58" y="62"/>
                      <a:pt x="58" y="73"/>
                    </a:cubicBezTo>
                    <a:cubicBezTo>
                      <a:pt x="58" y="83"/>
                      <a:pt x="56" y="91"/>
                      <a:pt x="52" y="9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166" name="iṡľîdé"/>
              <p:cNvSpPr/>
              <p:nvPr/>
            </p:nvSpPr>
            <p:spPr bwMode="auto">
              <a:xfrm>
                <a:off x="8550528" y="5675903"/>
                <a:ext cx="163513" cy="206375"/>
              </a:xfrm>
              <a:custGeom>
                <a:avLst/>
                <a:gdLst>
                  <a:gd name="T0" fmla="*/ 103 w 103"/>
                  <a:gd name="T1" fmla="*/ 0 h 130"/>
                  <a:gd name="T2" fmla="*/ 0 w 103"/>
                  <a:gd name="T3" fmla="*/ 0 h 130"/>
                  <a:gd name="T4" fmla="*/ 0 w 103"/>
                  <a:gd name="T5" fmla="*/ 15 h 130"/>
                  <a:gd name="T6" fmla="*/ 43 w 103"/>
                  <a:gd name="T7" fmla="*/ 15 h 130"/>
                  <a:gd name="T8" fmla="*/ 43 w 103"/>
                  <a:gd name="T9" fmla="*/ 130 h 130"/>
                  <a:gd name="T10" fmla="*/ 59 w 103"/>
                  <a:gd name="T11" fmla="*/ 130 h 130"/>
                  <a:gd name="T12" fmla="*/ 59 w 103"/>
                  <a:gd name="T13" fmla="*/ 15 h 130"/>
                  <a:gd name="T14" fmla="*/ 103 w 103"/>
                  <a:gd name="T15" fmla="*/ 15 h 130"/>
                  <a:gd name="T16" fmla="*/ 103 w 103"/>
                  <a:gd name="T17" fmla="*/ 0 h 1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03" h="130">
                    <a:moveTo>
                      <a:pt x="103" y="0"/>
                    </a:moveTo>
                    <a:lnTo>
                      <a:pt x="0" y="0"/>
                    </a:lnTo>
                    <a:lnTo>
                      <a:pt x="0" y="15"/>
                    </a:lnTo>
                    <a:lnTo>
                      <a:pt x="43" y="15"/>
                    </a:lnTo>
                    <a:lnTo>
                      <a:pt x="43" y="130"/>
                    </a:lnTo>
                    <a:lnTo>
                      <a:pt x="59" y="130"/>
                    </a:lnTo>
                    <a:lnTo>
                      <a:pt x="59" y="15"/>
                    </a:lnTo>
                    <a:lnTo>
                      <a:pt x="103" y="15"/>
                    </a:lnTo>
                    <a:lnTo>
                      <a:pt x="103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167" name="íṥḻíḋé"/>
              <p:cNvSpPr/>
              <p:nvPr/>
            </p:nvSpPr>
            <p:spPr bwMode="auto">
              <a:xfrm>
                <a:off x="8698166" y="5729878"/>
                <a:ext cx="138113" cy="157163"/>
              </a:xfrm>
              <a:custGeom>
                <a:avLst/>
                <a:gdLst>
                  <a:gd name="T0" fmla="*/ 38 w 75"/>
                  <a:gd name="T1" fmla="*/ 0 h 85"/>
                  <a:gd name="T2" fmla="*/ 11 w 75"/>
                  <a:gd name="T3" fmla="*/ 12 h 85"/>
                  <a:gd name="T4" fmla="*/ 0 w 75"/>
                  <a:gd name="T5" fmla="*/ 43 h 85"/>
                  <a:gd name="T6" fmla="*/ 10 w 75"/>
                  <a:gd name="T7" fmla="*/ 74 h 85"/>
                  <a:gd name="T8" fmla="*/ 39 w 75"/>
                  <a:gd name="T9" fmla="*/ 85 h 85"/>
                  <a:gd name="T10" fmla="*/ 62 w 75"/>
                  <a:gd name="T11" fmla="*/ 78 h 85"/>
                  <a:gd name="T12" fmla="*/ 74 w 75"/>
                  <a:gd name="T13" fmla="*/ 59 h 85"/>
                  <a:gd name="T14" fmla="*/ 60 w 75"/>
                  <a:gd name="T15" fmla="*/ 57 h 85"/>
                  <a:gd name="T16" fmla="*/ 52 w 75"/>
                  <a:gd name="T17" fmla="*/ 70 h 85"/>
                  <a:gd name="T18" fmla="*/ 39 w 75"/>
                  <a:gd name="T19" fmla="*/ 74 h 85"/>
                  <a:gd name="T20" fmla="*/ 22 w 75"/>
                  <a:gd name="T21" fmla="*/ 67 h 85"/>
                  <a:gd name="T22" fmla="*/ 14 w 75"/>
                  <a:gd name="T23" fmla="*/ 46 h 85"/>
                  <a:gd name="T24" fmla="*/ 75 w 75"/>
                  <a:gd name="T25" fmla="*/ 46 h 85"/>
                  <a:gd name="T26" fmla="*/ 75 w 75"/>
                  <a:gd name="T27" fmla="*/ 43 h 85"/>
                  <a:gd name="T28" fmla="*/ 65 w 75"/>
                  <a:gd name="T29" fmla="*/ 11 h 85"/>
                  <a:gd name="T30" fmla="*/ 38 w 75"/>
                  <a:gd name="T31" fmla="*/ 0 h 85"/>
                  <a:gd name="T32" fmla="*/ 15 w 75"/>
                  <a:gd name="T33" fmla="*/ 35 h 85"/>
                  <a:gd name="T34" fmla="*/ 22 w 75"/>
                  <a:gd name="T35" fmla="*/ 18 h 85"/>
                  <a:gd name="T36" fmla="*/ 38 w 75"/>
                  <a:gd name="T37" fmla="*/ 12 h 85"/>
                  <a:gd name="T38" fmla="*/ 55 w 75"/>
                  <a:gd name="T39" fmla="*/ 20 h 85"/>
                  <a:gd name="T40" fmla="*/ 60 w 75"/>
                  <a:gd name="T41" fmla="*/ 35 h 85"/>
                  <a:gd name="T42" fmla="*/ 15 w 75"/>
                  <a:gd name="T43" fmla="*/ 35 h 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75" h="85">
                    <a:moveTo>
                      <a:pt x="38" y="0"/>
                    </a:moveTo>
                    <a:cubicBezTo>
                      <a:pt x="27" y="0"/>
                      <a:pt x="18" y="4"/>
                      <a:pt x="11" y="12"/>
                    </a:cubicBezTo>
                    <a:cubicBezTo>
                      <a:pt x="4" y="19"/>
                      <a:pt x="0" y="30"/>
                      <a:pt x="0" y="43"/>
                    </a:cubicBezTo>
                    <a:cubicBezTo>
                      <a:pt x="0" y="57"/>
                      <a:pt x="3" y="67"/>
                      <a:pt x="10" y="74"/>
                    </a:cubicBezTo>
                    <a:cubicBezTo>
                      <a:pt x="17" y="81"/>
                      <a:pt x="27" y="85"/>
                      <a:pt x="39" y="85"/>
                    </a:cubicBezTo>
                    <a:cubicBezTo>
                      <a:pt x="48" y="85"/>
                      <a:pt x="56" y="83"/>
                      <a:pt x="62" y="78"/>
                    </a:cubicBezTo>
                    <a:cubicBezTo>
                      <a:pt x="68" y="74"/>
                      <a:pt x="72" y="67"/>
                      <a:pt x="74" y="59"/>
                    </a:cubicBezTo>
                    <a:cubicBezTo>
                      <a:pt x="60" y="57"/>
                      <a:pt x="60" y="57"/>
                      <a:pt x="60" y="57"/>
                    </a:cubicBezTo>
                    <a:cubicBezTo>
                      <a:pt x="58" y="63"/>
                      <a:pt x="55" y="67"/>
                      <a:pt x="52" y="70"/>
                    </a:cubicBezTo>
                    <a:cubicBezTo>
                      <a:pt x="48" y="73"/>
                      <a:pt x="44" y="74"/>
                      <a:pt x="39" y="74"/>
                    </a:cubicBezTo>
                    <a:cubicBezTo>
                      <a:pt x="32" y="74"/>
                      <a:pt x="26" y="71"/>
                      <a:pt x="22" y="67"/>
                    </a:cubicBezTo>
                    <a:cubicBezTo>
                      <a:pt x="17" y="62"/>
                      <a:pt x="15" y="55"/>
                      <a:pt x="14" y="46"/>
                    </a:cubicBezTo>
                    <a:cubicBezTo>
                      <a:pt x="75" y="46"/>
                      <a:pt x="75" y="46"/>
                      <a:pt x="75" y="46"/>
                    </a:cubicBezTo>
                    <a:cubicBezTo>
                      <a:pt x="75" y="45"/>
                      <a:pt x="75" y="43"/>
                      <a:pt x="75" y="43"/>
                    </a:cubicBezTo>
                    <a:cubicBezTo>
                      <a:pt x="75" y="29"/>
                      <a:pt x="72" y="19"/>
                      <a:pt x="65" y="11"/>
                    </a:cubicBezTo>
                    <a:cubicBezTo>
                      <a:pt x="58" y="4"/>
                      <a:pt x="49" y="0"/>
                      <a:pt x="38" y="0"/>
                    </a:cubicBezTo>
                    <a:close/>
                    <a:moveTo>
                      <a:pt x="15" y="35"/>
                    </a:moveTo>
                    <a:cubicBezTo>
                      <a:pt x="15" y="28"/>
                      <a:pt x="18" y="22"/>
                      <a:pt x="22" y="18"/>
                    </a:cubicBezTo>
                    <a:cubicBezTo>
                      <a:pt x="26" y="14"/>
                      <a:pt x="32" y="12"/>
                      <a:pt x="38" y="12"/>
                    </a:cubicBezTo>
                    <a:cubicBezTo>
                      <a:pt x="45" y="12"/>
                      <a:pt x="51" y="14"/>
                      <a:pt x="55" y="20"/>
                    </a:cubicBezTo>
                    <a:cubicBezTo>
                      <a:pt x="58" y="23"/>
                      <a:pt x="60" y="28"/>
                      <a:pt x="60" y="35"/>
                    </a:cubicBezTo>
                    <a:lnTo>
                      <a:pt x="15" y="3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168" name="ïṡļïḍè"/>
              <p:cNvSpPr/>
              <p:nvPr/>
            </p:nvSpPr>
            <p:spPr bwMode="auto">
              <a:xfrm>
                <a:off x="8860091" y="5729878"/>
                <a:ext cx="128588" cy="157163"/>
              </a:xfrm>
              <a:custGeom>
                <a:avLst/>
                <a:gdLst>
                  <a:gd name="T0" fmla="*/ 50 w 70"/>
                  <a:gd name="T1" fmla="*/ 69 h 85"/>
                  <a:gd name="T2" fmla="*/ 36 w 70"/>
                  <a:gd name="T3" fmla="*/ 74 h 85"/>
                  <a:gd name="T4" fmla="*/ 20 w 70"/>
                  <a:gd name="T5" fmla="*/ 66 h 85"/>
                  <a:gd name="T6" fmla="*/ 14 w 70"/>
                  <a:gd name="T7" fmla="*/ 43 h 85"/>
                  <a:gd name="T8" fmla="*/ 20 w 70"/>
                  <a:gd name="T9" fmla="*/ 19 h 85"/>
                  <a:gd name="T10" fmla="*/ 37 w 70"/>
                  <a:gd name="T11" fmla="*/ 12 h 85"/>
                  <a:gd name="T12" fmla="*/ 49 w 70"/>
                  <a:gd name="T13" fmla="*/ 16 h 85"/>
                  <a:gd name="T14" fmla="*/ 56 w 70"/>
                  <a:gd name="T15" fmla="*/ 28 h 85"/>
                  <a:gd name="T16" fmla="*/ 69 w 70"/>
                  <a:gd name="T17" fmla="*/ 26 h 85"/>
                  <a:gd name="T18" fmla="*/ 58 w 70"/>
                  <a:gd name="T19" fmla="*/ 7 h 85"/>
                  <a:gd name="T20" fmla="*/ 37 w 70"/>
                  <a:gd name="T21" fmla="*/ 0 h 85"/>
                  <a:gd name="T22" fmla="*/ 17 w 70"/>
                  <a:gd name="T23" fmla="*/ 5 h 85"/>
                  <a:gd name="T24" fmla="*/ 4 w 70"/>
                  <a:gd name="T25" fmla="*/ 20 h 85"/>
                  <a:gd name="T26" fmla="*/ 0 w 70"/>
                  <a:gd name="T27" fmla="*/ 43 h 85"/>
                  <a:gd name="T28" fmla="*/ 10 w 70"/>
                  <a:gd name="T29" fmla="*/ 74 h 85"/>
                  <a:gd name="T30" fmla="*/ 37 w 70"/>
                  <a:gd name="T31" fmla="*/ 85 h 85"/>
                  <a:gd name="T32" fmla="*/ 59 w 70"/>
                  <a:gd name="T33" fmla="*/ 77 h 85"/>
                  <a:gd name="T34" fmla="*/ 70 w 70"/>
                  <a:gd name="T35" fmla="*/ 55 h 85"/>
                  <a:gd name="T36" fmla="*/ 57 w 70"/>
                  <a:gd name="T37" fmla="*/ 54 h 85"/>
                  <a:gd name="T38" fmla="*/ 50 w 70"/>
                  <a:gd name="T39" fmla="*/ 69 h 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70" h="85">
                    <a:moveTo>
                      <a:pt x="50" y="69"/>
                    </a:moveTo>
                    <a:cubicBezTo>
                      <a:pt x="46" y="72"/>
                      <a:pt x="42" y="74"/>
                      <a:pt x="36" y="74"/>
                    </a:cubicBezTo>
                    <a:cubicBezTo>
                      <a:pt x="30" y="74"/>
                      <a:pt x="24" y="71"/>
                      <a:pt x="20" y="66"/>
                    </a:cubicBezTo>
                    <a:cubicBezTo>
                      <a:pt x="16" y="61"/>
                      <a:pt x="14" y="54"/>
                      <a:pt x="14" y="43"/>
                    </a:cubicBezTo>
                    <a:cubicBezTo>
                      <a:pt x="14" y="32"/>
                      <a:pt x="16" y="24"/>
                      <a:pt x="20" y="19"/>
                    </a:cubicBezTo>
                    <a:cubicBezTo>
                      <a:pt x="25" y="14"/>
                      <a:pt x="30" y="12"/>
                      <a:pt x="37" y="12"/>
                    </a:cubicBezTo>
                    <a:cubicBezTo>
                      <a:pt x="42" y="12"/>
                      <a:pt x="46" y="13"/>
                      <a:pt x="49" y="16"/>
                    </a:cubicBezTo>
                    <a:cubicBezTo>
                      <a:pt x="52" y="18"/>
                      <a:pt x="54" y="23"/>
                      <a:pt x="56" y="28"/>
                    </a:cubicBezTo>
                    <a:cubicBezTo>
                      <a:pt x="69" y="26"/>
                      <a:pt x="69" y="26"/>
                      <a:pt x="69" y="26"/>
                    </a:cubicBezTo>
                    <a:cubicBezTo>
                      <a:pt x="67" y="18"/>
                      <a:pt x="64" y="11"/>
                      <a:pt x="58" y="7"/>
                    </a:cubicBezTo>
                    <a:cubicBezTo>
                      <a:pt x="53" y="2"/>
                      <a:pt x="45" y="0"/>
                      <a:pt x="37" y="0"/>
                    </a:cubicBezTo>
                    <a:cubicBezTo>
                      <a:pt x="30" y="0"/>
                      <a:pt x="23" y="2"/>
                      <a:pt x="17" y="5"/>
                    </a:cubicBezTo>
                    <a:cubicBezTo>
                      <a:pt x="11" y="8"/>
                      <a:pt x="7" y="13"/>
                      <a:pt x="4" y="20"/>
                    </a:cubicBezTo>
                    <a:cubicBezTo>
                      <a:pt x="1" y="27"/>
                      <a:pt x="0" y="34"/>
                      <a:pt x="0" y="43"/>
                    </a:cubicBezTo>
                    <a:cubicBezTo>
                      <a:pt x="0" y="57"/>
                      <a:pt x="3" y="67"/>
                      <a:pt x="10" y="74"/>
                    </a:cubicBezTo>
                    <a:cubicBezTo>
                      <a:pt x="16" y="82"/>
                      <a:pt x="25" y="85"/>
                      <a:pt x="37" y="85"/>
                    </a:cubicBezTo>
                    <a:cubicBezTo>
                      <a:pt x="45" y="85"/>
                      <a:pt x="53" y="83"/>
                      <a:pt x="59" y="77"/>
                    </a:cubicBezTo>
                    <a:cubicBezTo>
                      <a:pt x="65" y="72"/>
                      <a:pt x="69" y="65"/>
                      <a:pt x="70" y="55"/>
                    </a:cubicBezTo>
                    <a:cubicBezTo>
                      <a:pt x="57" y="54"/>
                      <a:pt x="57" y="54"/>
                      <a:pt x="57" y="54"/>
                    </a:cubicBezTo>
                    <a:cubicBezTo>
                      <a:pt x="56" y="60"/>
                      <a:pt x="54" y="66"/>
                      <a:pt x="50" y="6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169" name="iṩḷídê"/>
              <p:cNvSpPr/>
              <p:nvPr/>
            </p:nvSpPr>
            <p:spPr bwMode="auto">
              <a:xfrm>
                <a:off x="9010903" y="5675903"/>
                <a:ext cx="122238" cy="206375"/>
              </a:xfrm>
              <a:custGeom>
                <a:avLst/>
                <a:gdLst>
                  <a:gd name="T0" fmla="*/ 54 w 66"/>
                  <a:gd name="T1" fmla="*/ 33 h 112"/>
                  <a:gd name="T2" fmla="*/ 38 w 66"/>
                  <a:gd name="T3" fmla="*/ 29 h 112"/>
                  <a:gd name="T4" fmla="*/ 14 w 66"/>
                  <a:gd name="T5" fmla="*/ 40 h 112"/>
                  <a:gd name="T6" fmla="*/ 14 w 66"/>
                  <a:gd name="T7" fmla="*/ 0 h 112"/>
                  <a:gd name="T8" fmla="*/ 0 w 66"/>
                  <a:gd name="T9" fmla="*/ 0 h 112"/>
                  <a:gd name="T10" fmla="*/ 0 w 66"/>
                  <a:gd name="T11" fmla="*/ 112 h 112"/>
                  <a:gd name="T12" fmla="*/ 14 w 66"/>
                  <a:gd name="T13" fmla="*/ 112 h 112"/>
                  <a:gd name="T14" fmla="*/ 14 w 66"/>
                  <a:gd name="T15" fmla="*/ 68 h 112"/>
                  <a:gd name="T16" fmla="*/ 16 w 66"/>
                  <a:gd name="T17" fmla="*/ 53 h 112"/>
                  <a:gd name="T18" fmla="*/ 24 w 66"/>
                  <a:gd name="T19" fmla="*/ 44 h 112"/>
                  <a:gd name="T20" fmla="*/ 35 w 66"/>
                  <a:gd name="T21" fmla="*/ 41 h 112"/>
                  <a:gd name="T22" fmla="*/ 48 w 66"/>
                  <a:gd name="T23" fmla="*/ 46 h 112"/>
                  <a:gd name="T24" fmla="*/ 53 w 66"/>
                  <a:gd name="T25" fmla="*/ 61 h 112"/>
                  <a:gd name="T26" fmla="*/ 53 w 66"/>
                  <a:gd name="T27" fmla="*/ 112 h 112"/>
                  <a:gd name="T28" fmla="*/ 66 w 66"/>
                  <a:gd name="T29" fmla="*/ 112 h 112"/>
                  <a:gd name="T30" fmla="*/ 66 w 66"/>
                  <a:gd name="T31" fmla="*/ 61 h 112"/>
                  <a:gd name="T32" fmla="*/ 63 w 66"/>
                  <a:gd name="T33" fmla="*/ 43 h 112"/>
                  <a:gd name="T34" fmla="*/ 54 w 66"/>
                  <a:gd name="T35" fmla="*/ 33 h 1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66" h="112">
                    <a:moveTo>
                      <a:pt x="54" y="33"/>
                    </a:moveTo>
                    <a:cubicBezTo>
                      <a:pt x="50" y="30"/>
                      <a:pt x="44" y="29"/>
                      <a:pt x="38" y="29"/>
                    </a:cubicBezTo>
                    <a:cubicBezTo>
                      <a:pt x="28" y="29"/>
                      <a:pt x="20" y="33"/>
                      <a:pt x="14" y="4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112"/>
                      <a:pt x="0" y="112"/>
                      <a:pt x="0" y="112"/>
                    </a:cubicBezTo>
                    <a:cubicBezTo>
                      <a:pt x="14" y="112"/>
                      <a:pt x="14" y="112"/>
                      <a:pt x="14" y="112"/>
                    </a:cubicBezTo>
                    <a:cubicBezTo>
                      <a:pt x="14" y="68"/>
                      <a:pt x="14" y="68"/>
                      <a:pt x="14" y="68"/>
                    </a:cubicBezTo>
                    <a:cubicBezTo>
                      <a:pt x="14" y="61"/>
                      <a:pt x="15" y="56"/>
                      <a:pt x="16" y="53"/>
                    </a:cubicBezTo>
                    <a:cubicBezTo>
                      <a:pt x="18" y="49"/>
                      <a:pt x="20" y="46"/>
                      <a:pt x="24" y="44"/>
                    </a:cubicBezTo>
                    <a:cubicBezTo>
                      <a:pt x="28" y="42"/>
                      <a:pt x="31" y="41"/>
                      <a:pt x="35" y="41"/>
                    </a:cubicBezTo>
                    <a:cubicBezTo>
                      <a:pt x="41" y="41"/>
                      <a:pt x="45" y="43"/>
                      <a:pt x="48" y="46"/>
                    </a:cubicBezTo>
                    <a:cubicBezTo>
                      <a:pt x="51" y="49"/>
                      <a:pt x="53" y="54"/>
                      <a:pt x="53" y="61"/>
                    </a:cubicBezTo>
                    <a:cubicBezTo>
                      <a:pt x="53" y="112"/>
                      <a:pt x="53" y="112"/>
                      <a:pt x="53" y="112"/>
                    </a:cubicBezTo>
                    <a:cubicBezTo>
                      <a:pt x="66" y="112"/>
                      <a:pt x="66" y="112"/>
                      <a:pt x="66" y="112"/>
                    </a:cubicBezTo>
                    <a:cubicBezTo>
                      <a:pt x="66" y="61"/>
                      <a:pt x="66" y="61"/>
                      <a:pt x="66" y="61"/>
                    </a:cubicBezTo>
                    <a:cubicBezTo>
                      <a:pt x="66" y="53"/>
                      <a:pt x="65" y="47"/>
                      <a:pt x="63" y="43"/>
                    </a:cubicBezTo>
                    <a:cubicBezTo>
                      <a:pt x="62" y="38"/>
                      <a:pt x="58" y="35"/>
                      <a:pt x="54" y="3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170" name="íslîḍe"/>
              <p:cNvSpPr/>
              <p:nvPr/>
            </p:nvSpPr>
            <p:spPr bwMode="auto">
              <a:xfrm>
                <a:off x="9171241" y="5729878"/>
                <a:ext cx="122238" cy="152400"/>
              </a:xfrm>
              <a:custGeom>
                <a:avLst/>
                <a:gdLst>
                  <a:gd name="T0" fmla="*/ 61 w 66"/>
                  <a:gd name="T1" fmla="*/ 10 h 83"/>
                  <a:gd name="T2" fmla="*/ 52 w 66"/>
                  <a:gd name="T3" fmla="*/ 3 h 83"/>
                  <a:gd name="T4" fmla="*/ 39 w 66"/>
                  <a:gd name="T5" fmla="*/ 0 h 83"/>
                  <a:gd name="T6" fmla="*/ 13 w 66"/>
                  <a:gd name="T7" fmla="*/ 14 h 83"/>
                  <a:gd name="T8" fmla="*/ 13 w 66"/>
                  <a:gd name="T9" fmla="*/ 2 h 83"/>
                  <a:gd name="T10" fmla="*/ 0 w 66"/>
                  <a:gd name="T11" fmla="*/ 2 h 83"/>
                  <a:gd name="T12" fmla="*/ 0 w 66"/>
                  <a:gd name="T13" fmla="*/ 83 h 83"/>
                  <a:gd name="T14" fmla="*/ 14 w 66"/>
                  <a:gd name="T15" fmla="*/ 83 h 83"/>
                  <a:gd name="T16" fmla="*/ 14 w 66"/>
                  <a:gd name="T17" fmla="*/ 39 h 83"/>
                  <a:gd name="T18" fmla="*/ 20 w 66"/>
                  <a:gd name="T19" fmla="*/ 18 h 83"/>
                  <a:gd name="T20" fmla="*/ 36 w 66"/>
                  <a:gd name="T21" fmla="*/ 12 h 83"/>
                  <a:gd name="T22" fmla="*/ 45 w 66"/>
                  <a:gd name="T23" fmla="*/ 15 h 83"/>
                  <a:gd name="T24" fmla="*/ 51 w 66"/>
                  <a:gd name="T25" fmla="*/ 21 h 83"/>
                  <a:gd name="T26" fmla="*/ 53 w 66"/>
                  <a:gd name="T27" fmla="*/ 34 h 83"/>
                  <a:gd name="T28" fmla="*/ 53 w 66"/>
                  <a:gd name="T29" fmla="*/ 83 h 83"/>
                  <a:gd name="T30" fmla="*/ 66 w 66"/>
                  <a:gd name="T31" fmla="*/ 83 h 83"/>
                  <a:gd name="T32" fmla="*/ 66 w 66"/>
                  <a:gd name="T33" fmla="*/ 33 h 83"/>
                  <a:gd name="T34" fmla="*/ 66 w 66"/>
                  <a:gd name="T35" fmla="*/ 20 h 83"/>
                  <a:gd name="T36" fmla="*/ 61 w 66"/>
                  <a:gd name="T37" fmla="*/ 10 h 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66" h="83">
                    <a:moveTo>
                      <a:pt x="61" y="10"/>
                    </a:moveTo>
                    <a:cubicBezTo>
                      <a:pt x="59" y="7"/>
                      <a:pt x="56" y="5"/>
                      <a:pt x="52" y="3"/>
                    </a:cubicBezTo>
                    <a:cubicBezTo>
                      <a:pt x="48" y="1"/>
                      <a:pt x="43" y="0"/>
                      <a:pt x="39" y="0"/>
                    </a:cubicBezTo>
                    <a:cubicBezTo>
                      <a:pt x="27" y="0"/>
                      <a:pt x="19" y="5"/>
                      <a:pt x="13" y="14"/>
                    </a:cubicBezTo>
                    <a:cubicBezTo>
                      <a:pt x="13" y="2"/>
                      <a:pt x="13" y="2"/>
                      <a:pt x="13" y="2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83"/>
                      <a:pt x="0" y="83"/>
                      <a:pt x="0" y="83"/>
                    </a:cubicBezTo>
                    <a:cubicBezTo>
                      <a:pt x="14" y="83"/>
                      <a:pt x="14" y="83"/>
                      <a:pt x="14" y="83"/>
                    </a:cubicBezTo>
                    <a:cubicBezTo>
                      <a:pt x="14" y="39"/>
                      <a:pt x="14" y="39"/>
                      <a:pt x="14" y="39"/>
                    </a:cubicBezTo>
                    <a:cubicBezTo>
                      <a:pt x="14" y="29"/>
                      <a:pt x="16" y="21"/>
                      <a:pt x="20" y="18"/>
                    </a:cubicBezTo>
                    <a:cubicBezTo>
                      <a:pt x="25" y="14"/>
                      <a:pt x="30" y="12"/>
                      <a:pt x="36" y="12"/>
                    </a:cubicBezTo>
                    <a:cubicBezTo>
                      <a:pt x="39" y="12"/>
                      <a:pt x="43" y="13"/>
                      <a:pt x="45" y="15"/>
                    </a:cubicBezTo>
                    <a:cubicBezTo>
                      <a:pt x="48" y="16"/>
                      <a:pt x="50" y="19"/>
                      <a:pt x="51" y="21"/>
                    </a:cubicBezTo>
                    <a:cubicBezTo>
                      <a:pt x="52" y="24"/>
                      <a:pt x="53" y="28"/>
                      <a:pt x="53" y="34"/>
                    </a:cubicBezTo>
                    <a:cubicBezTo>
                      <a:pt x="53" y="83"/>
                      <a:pt x="53" y="83"/>
                      <a:pt x="53" y="83"/>
                    </a:cubicBezTo>
                    <a:cubicBezTo>
                      <a:pt x="66" y="83"/>
                      <a:pt x="66" y="83"/>
                      <a:pt x="66" y="83"/>
                    </a:cubicBezTo>
                    <a:cubicBezTo>
                      <a:pt x="66" y="33"/>
                      <a:pt x="66" y="33"/>
                      <a:pt x="66" y="33"/>
                    </a:cubicBezTo>
                    <a:cubicBezTo>
                      <a:pt x="66" y="27"/>
                      <a:pt x="66" y="23"/>
                      <a:pt x="66" y="20"/>
                    </a:cubicBezTo>
                    <a:cubicBezTo>
                      <a:pt x="65" y="16"/>
                      <a:pt x="63" y="13"/>
                      <a:pt x="61" y="1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171" name="ïṣľíḓè"/>
              <p:cNvSpPr/>
              <p:nvPr/>
            </p:nvSpPr>
            <p:spPr bwMode="auto">
              <a:xfrm>
                <a:off x="9322053" y="5729878"/>
                <a:ext cx="142875" cy="157163"/>
              </a:xfrm>
              <a:custGeom>
                <a:avLst/>
                <a:gdLst>
                  <a:gd name="T0" fmla="*/ 38 w 77"/>
                  <a:gd name="T1" fmla="*/ 0 h 85"/>
                  <a:gd name="T2" fmla="*/ 13 w 77"/>
                  <a:gd name="T3" fmla="*/ 9 h 85"/>
                  <a:gd name="T4" fmla="*/ 0 w 77"/>
                  <a:gd name="T5" fmla="*/ 43 h 85"/>
                  <a:gd name="T6" fmla="*/ 11 w 77"/>
                  <a:gd name="T7" fmla="*/ 74 h 85"/>
                  <a:gd name="T8" fmla="*/ 38 w 77"/>
                  <a:gd name="T9" fmla="*/ 85 h 85"/>
                  <a:gd name="T10" fmla="*/ 58 w 77"/>
                  <a:gd name="T11" fmla="*/ 80 h 85"/>
                  <a:gd name="T12" fmla="*/ 72 w 77"/>
                  <a:gd name="T13" fmla="*/ 66 h 85"/>
                  <a:gd name="T14" fmla="*/ 77 w 77"/>
                  <a:gd name="T15" fmla="*/ 42 h 85"/>
                  <a:gd name="T16" fmla="*/ 66 w 77"/>
                  <a:gd name="T17" fmla="*/ 11 h 85"/>
                  <a:gd name="T18" fmla="*/ 38 w 77"/>
                  <a:gd name="T19" fmla="*/ 0 h 85"/>
                  <a:gd name="T20" fmla="*/ 56 w 77"/>
                  <a:gd name="T21" fmla="*/ 66 h 85"/>
                  <a:gd name="T22" fmla="*/ 38 w 77"/>
                  <a:gd name="T23" fmla="*/ 74 h 85"/>
                  <a:gd name="T24" fmla="*/ 21 w 77"/>
                  <a:gd name="T25" fmla="*/ 66 h 85"/>
                  <a:gd name="T26" fmla="*/ 15 w 77"/>
                  <a:gd name="T27" fmla="*/ 43 h 85"/>
                  <a:gd name="T28" fmla="*/ 21 w 77"/>
                  <a:gd name="T29" fmla="*/ 19 h 85"/>
                  <a:gd name="T30" fmla="*/ 38 w 77"/>
                  <a:gd name="T31" fmla="*/ 12 h 85"/>
                  <a:gd name="T32" fmla="*/ 56 w 77"/>
                  <a:gd name="T33" fmla="*/ 19 h 85"/>
                  <a:gd name="T34" fmla="*/ 62 w 77"/>
                  <a:gd name="T35" fmla="*/ 42 h 85"/>
                  <a:gd name="T36" fmla="*/ 56 w 77"/>
                  <a:gd name="T37" fmla="*/ 66 h 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77" h="85">
                    <a:moveTo>
                      <a:pt x="38" y="0"/>
                    </a:moveTo>
                    <a:cubicBezTo>
                      <a:pt x="28" y="0"/>
                      <a:pt x="20" y="3"/>
                      <a:pt x="13" y="9"/>
                    </a:cubicBezTo>
                    <a:cubicBezTo>
                      <a:pt x="5" y="16"/>
                      <a:pt x="0" y="28"/>
                      <a:pt x="0" y="43"/>
                    </a:cubicBezTo>
                    <a:cubicBezTo>
                      <a:pt x="0" y="56"/>
                      <a:pt x="4" y="67"/>
                      <a:pt x="11" y="74"/>
                    </a:cubicBezTo>
                    <a:cubicBezTo>
                      <a:pt x="18" y="82"/>
                      <a:pt x="27" y="85"/>
                      <a:pt x="38" y="85"/>
                    </a:cubicBezTo>
                    <a:cubicBezTo>
                      <a:pt x="46" y="85"/>
                      <a:pt x="52" y="84"/>
                      <a:pt x="58" y="80"/>
                    </a:cubicBezTo>
                    <a:cubicBezTo>
                      <a:pt x="64" y="77"/>
                      <a:pt x="69" y="72"/>
                      <a:pt x="72" y="66"/>
                    </a:cubicBezTo>
                    <a:cubicBezTo>
                      <a:pt x="75" y="60"/>
                      <a:pt x="77" y="52"/>
                      <a:pt x="77" y="42"/>
                    </a:cubicBezTo>
                    <a:cubicBezTo>
                      <a:pt x="77" y="29"/>
                      <a:pt x="73" y="19"/>
                      <a:pt x="66" y="11"/>
                    </a:cubicBezTo>
                    <a:cubicBezTo>
                      <a:pt x="59" y="4"/>
                      <a:pt x="50" y="0"/>
                      <a:pt x="38" y="0"/>
                    </a:cubicBezTo>
                    <a:close/>
                    <a:moveTo>
                      <a:pt x="56" y="66"/>
                    </a:moveTo>
                    <a:cubicBezTo>
                      <a:pt x="51" y="71"/>
                      <a:pt x="45" y="74"/>
                      <a:pt x="38" y="74"/>
                    </a:cubicBezTo>
                    <a:cubicBezTo>
                      <a:pt x="32" y="74"/>
                      <a:pt x="26" y="71"/>
                      <a:pt x="21" y="66"/>
                    </a:cubicBezTo>
                    <a:cubicBezTo>
                      <a:pt x="17" y="61"/>
                      <a:pt x="15" y="53"/>
                      <a:pt x="15" y="43"/>
                    </a:cubicBezTo>
                    <a:cubicBezTo>
                      <a:pt x="15" y="32"/>
                      <a:pt x="17" y="24"/>
                      <a:pt x="21" y="19"/>
                    </a:cubicBezTo>
                    <a:cubicBezTo>
                      <a:pt x="26" y="14"/>
                      <a:pt x="32" y="12"/>
                      <a:pt x="38" y="12"/>
                    </a:cubicBezTo>
                    <a:cubicBezTo>
                      <a:pt x="45" y="12"/>
                      <a:pt x="51" y="14"/>
                      <a:pt x="56" y="19"/>
                    </a:cubicBezTo>
                    <a:cubicBezTo>
                      <a:pt x="60" y="25"/>
                      <a:pt x="62" y="32"/>
                      <a:pt x="62" y="42"/>
                    </a:cubicBezTo>
                    <a:cubicBezTo>
                      <a:pt x="62" y="53"/>
                      <a:pt x="60" y="61"/>
                      <a:pt x="56" y="6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172" name="îš1ïḋé"/>
              <p:cNvSpPr/>
              <p:nvPr/>
            </p:nvSpPr>
            <p:spPr bwMode="auto">
              <a:xfrm>
                <a:off x="9491916" y="5675903"/>
                <a:ext cx="25400" cy="206375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173" name="íŝḻíḍê"/>
              <p:cNvSpPr/>
              <p:nvPr/>
            </p:nvSpPr>
            <p:spPr bwMode="auto">
              <a:xfrm>
                <a:off x="9547478" y="5729878"/>
                <a:ext cx="141288" cy="157163"/>
              </a:xfrm>
              <a:custGeom>
                <a:avLst/>
                <a:gdLst>
                  <a:gd name="T0" fmla="*/ 38 w 77"/>
                  <a:gd name="T1" fmla="*/ 0 h 85"/>
                  <a:gd name="T2" fmla="*/ 13 w 77"/>
                  <a:gd name="T3" fmla="*/ 9 h 85"/>
                  <a:gd name="T4" fmla="*/ 0 w 77"/>
                  <a:gd name="T5" fmla="*/ 43 h 85"/>
                  <a:gd name="T6" fmla="*/ 11 w 77"/>
                  <a:gd name="T7" fmla="*/ 74 h 85"/>
                  <a:gd name="T8" fmla="*/ 38 w 77"/>
                  <a:gd name="T9" fmla="*/ 85 h 85"/>
                  <a:gd name="T10" fmla="*/ 58 w 77"/>
                  <a:gd name="T11" fmla="*/ 80 h 85"/>
                  <a:gd name="T12" fmla="*/ 72 w 77"/>
                  <a:gd name="T13" fmla="*/ 66 h 85"/>
                  <a:gd name="T14" fmla="*/ 77 w 77"/>
                  <a:gd name="T15" fmla="*/ 42 h 85"/>
                  <a:gd name="T16" fmla="*/ 66 w 77"/>
                  <a:gd name="T17" fmla="*/ 11 h 85"/>
                  <a:gd name="T18" fmla="*/ 38 w 77"/>
                  <a:gd name="T19" fmla="*/ 0 h 85"/>
                  <a:gd name="T20" fmla="*/ 56 w 77"/>
                  <a:gd name="T21" fmla="*/ 66 h 85"/>
                  <a:gd name="T22" fmla="*/ 38 w 77"/>
                  <a:gd name="T23" fmla="*/ 74 h 85"/>
                  <a:gd name="T24" fmla="*/ 21 w 77"/>
                  <a:gd name="T25" fmla="*/ 66 h 85"/>
                  <a:gd name="T26" fmla="*/ 15 w 77"/>
                  <a:gd name="T27" fmla="*/ 43 h 85"/>
                  <a:gd name="T28" fmla="*/ 21 w 77"/>
                  <a:gd name="T29" fmla="*/ 19 h 85"/>
                  <a:gd name="T30" fmla="*/ 38 w 77"/>
                  <a:gd name="T31" fmla="*/ 12 h 85"/>
                  <a:gd name="T32" fmla="*/ 56 w 77"/>
                  <a:gd name="T33" fmla="*/ 19 h 85"/>
                  <a:gd name="T34" fmla="*/ 62 w 77"/>
                  <a:gd name="T35" fmla="*/ 42 h 85"/>
                  <a:gd name="T36" fmla="*/ 56 w 77"/>
                  <a:gd name="T37" fmla="*/ 66 h 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77" h="85">
                    <a:moveTo>
                      <a:pt x="38" y="0"/>
                    </a:moveTo>
                    <a:cubicBezTo>
                      <a:pt x="28" y="0"/>
                      <a:pt x="20" y="3"/>
                      <a:pt x="13" y="9"/>
                    </a:cubicBezTo>
                    <a:cubicBezTo>
                      <a:pt x="5" y="16"/>
                      <a:pt x="0" y="28"/>
                      <a:pt x="0" y="43"/>
                    </a:cubicBezTo>
                    <a:cubicBezTo>
                      <a:pt x="0" y="56"/>
                      <a:pt x="4" y="67"/>
                      <a:pt x="11" y="74"/>
                    </a:cubicBezTo>
                    <a:cubicBezTo>
                      <a:pt x="18" y="82"/>
                      <a:pt x="27" y="85"/>
                      <a:pt x="38" y="85"/>
                    </a:cubicBezTo>
                    <a:cubicBezTo>
                      <a:pt x="46" y="85"/>
                      <a:pt x="52" y="84"/>
                      <a:pt x="58" y="80"/>
                    </a:cubicBezTo>
                    <a:cubicBezTo>
                      <a:pt x="64" y="77"/>
                      <a:pt x="69" y="72"/>
                      <a:pt x="72" y="66"/>
                    </a:cubicBezTo>
                    <a:cubicBezTo>
                      <a:pt x="75" y="60"/>
                      <a:pt x="77" y="52"/>
                      <a:pt x="77" y="42"/>
                    </a:cubicBezTo>
                    <a:cubicBezTo>
                      <a:pt x="77" y="29"/>
                      <a:pt x="73" y="19"/>
                      <a:pt x="66" y="11"/>
                    </a:cubicBezTo>
                    <a:cubicBezTo>
                      <a:pt x="59" y="4"/>
                      <a:pt x="50" y="0"/>
                      <a:pt x="38" y="0"/>
                    </a:cubicBezTo>
                    <a:close/>
                    <a:moveTo>
                      <a:pt x="56" y="66"/>
                    </a:moveTo>
                    <a:cubicBezTo>
                      <a:pt x="51" y="71"/>
                      <a:pt x="45" y="74"/>
                      <a:pt x="38" y="74"/>
                    </a:cubicBezTo>
                    <a:cubicBezTo>
                      <a:pt x="32" y="74"/>
                      <a:pt x="26" y="71"/>
                      <a:pt x="21" y="66"/>
                    </a:cubicBezTo>
                    <a:cubicBezTo>
                      <a:pt x="17" y="61"/>
                      <a:pt x="15" y="53"/>
                      <a:pt x="15" y="43"/>
                    </a:cubicBezTo>
                    <a:cubicBezTo>
                      <a:pt x="15" y="32"/>
                      <a:pt x="17" y="24"/>
                      <a:pt x="21" y="19"/>
                    </a:cubicBezTo>
                    <a:cubicBezTo>
                      <a:pt x="26" y="14"/>
                      <a:pt x="32" y="12"/>
                      <a:pt x="38" y="12"/>
                    </a:cubicBezTo>
                    <a:cubicBezTo>
                      <a:pt x="45" y="12"/>
                      <a:pt x="51" y="14"/>
                      <a:pt x="56" y="19"/>
                    </a:cubicBezTo>
                    <a:cubicBezTo>
                      <a:pt x="60" y="25"/>
                      <a:pt x="62" y="32"/>
                      <a:pt x="62" y="42"/>
                    </a:cubicBezTo>
                    <a:cubicBezTo>
                      <a:pt x="62" y="53"/>
                      <a:pt x="60" y="61"/>
                      <a:pt x="56" y="6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174" name="íṧḷíḓé"/>
              <p:cNvSpPr/>
              <p:nvPr/>
            </p:nvSpPr>
            <p:spPr bwMode="auto">
              <a:xfrm>
                <a:off x="9707816" y="5729878"/>
                <a:ext cx="131763" cy="214313"/>
              </a:xfrm>
              <a:custGeom>
                <a:avLst/>
                <a:gdLst>
                  <a:gd name="T0" fmla="*/ 59 w 72"/>
                  <a:gd name="T1" fmla="*/ 12 h 116"/>
                  <a:gd name="T2" fmla="*/ 36 w 72"/>
                  <a:gd name="T3" fmla="*/ 0 h 116"/>
                  <a:gd name="T4" fmla="*/ 17 w 72"/>
                  <a:gd name="T5" fmla="*/ 6 h 116"/>
                  <a:gd name="T6" fmla="*/ 5 w 72"/>
                  <a:gd name="T7" fmla="*/ 21 h 116"/>
                  <a:gd name="T8" fmla="*/ 0 w 72"/>
                  <a:gd name="T9" fmla="*/ 42 h 116"/>
                  <a:gd name="T10" fmla="*/ 10 w 72"/>
                  <a:gd name="T11" fmla="*/ 71 h 116"/>
                  <a:gd name="T12" fmla="*/ 36 w 72"/>
                  <a:gd name="T13" fmla="*/ 83 h 116"/>
                  <a:gd name="T14" fmla="*/ 58 w 72"/>
                  <a:gd name="T15" fmla="*/ 73 h 116"/>
                  <a:gd name="T16" fmla="*/ 57 w 72"/>
                  <a:gd name="T17" fmla="*/ 90 h 116"/>
                  <a:gd name="T18" fmla="*/ 50 w 72"/>
                  <a:gd name="T19" fmla="*/ 101 h 116"/>
                  <a:gd name="T20" fmla="*/ 35 w 72"/>
                  <a:gd name="T21" fmla="*/ 105 h 116"/>
                  <a:gd name="T22" fmla="*/ 21 w 72"/>
                  <a:gd name="T23" fmla="*/ 101 h 116"/>
                  <a:gd name="T24" fmla="*/ 17 w 72"/>
                  <a:gd name="T25" fmla="*/ 92 h 116"/>
                  <a:gd name="T26" fmla="*/ 3 w 72"/>
                  <a:gd name="T27" fmla="*/ 90 h 116"/>
                  <a:gd name="T28" fmla="*/ 12 w 72"/>
                  <a:gd name="T29" fmla="*/ 110 h 116"/>
                  <a:gd name="T30" fmla="*/ 35 w 72"/>
                  <a:gd name="T31" fmla="*/ 116 h 116"/>
                  <a:gd name="T32" fmla="*/ 56 w 72"/>
                  <a:gd name="T33" fmla="*/ 112 h 116"/>
                  <a:gd name="T34" fmla="*/ 68 w 72"/>
                  <a:gd name="T35" fmla="*/ 99 h 116"/>
                  <a:gd name="T36" fmla="*/ 72 w 72"/>
                  <a:gd name="T37" fmla="*/ 72 h 116"/>
                  <a:gd name="T38" fmla="*/ 72 w 72"/>
                  <a:gd name="T39" fmla="*/ 2 h 116"/>
                  <a:gd name="T40" fmla="*/ 59 w 72"/>
                  <a:gd name="T41" fmla="*/ 2 h 116"/>
                  <a:gd name="T42" fmla="*/ 59 w 72"/>
                  <a:gd name="T43" fmla="*/ 12 h 116"/>
                  <a:gd name="T44" fmla="*/ 53 w 72"/>
                  <a:gd name="T45" fmla="*/ 65 h 116"/>
                  <a:gd name="T46" fmla="*/ 37 w 72"/>
                  <a:gd name="T47" fmla="*/ 72 h 116"/>
                  <a:gd name="T48" fmla="*/ 21 w 72"/>
                  <a:gd name="T49" fmla="*/ 65 h 116"/>
                  <a:gd name="T50" fmla="*/ 15 w 72"/>
                  <a:gd name="T51" fmla="*/ 41 h 116"/>
                  <a:gd name="T52" fmla="*/ 21 w 72"/>
                  <a:gd name="T53" fmla="*/ 19 h 116"/>
                  <a:gd name="T54" fmla="*/ 37 w 72"/>
                  <a:gd name="T55" fmla="*/ 12 h 116"/>
                  <a:gd name="T56" fmla="*/ 53 w 72"/>
                  <a:gd name="T57" fmla="*/ 19 h 116"/>
                  <a:gd name="T58" fmla="*/ 59 w 72"/>
                  <a:gd name="T59" fmla="*/ 42 h 116"/>
                  <a:gd name="T60" fmla="*/ 53 w 72"/>
                  <a:gd name="T61" fmla="*/ 65 h 1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72" h="116">
                    <a:moveTo>
                      <a:pt x="59" y="12"/>
                    </a:moveTo>
                    <a:cubicBezTo>
                      <a:pt x="53" y="4"/>
                      <a:pt x="45" y="0"/>
                      <a:pt x="36" y="0"/>
                    </a:cubicBezTo>
                    <a:cubicBezTo>
                      <a:pt x="28" y="0"/>
                      <a:pt x="22" y="2"/>
                      <a:pt x="17" y="6"/>
                    </a:cubicBezTo>
                    <a:cubicBezTo>
                      <a:pt x="11" y="9"/>
                      <a:pt x="7" y="14"/>
                      <a:pt x="5" y="21"/>
                    </a:cubicBezTo>
                    <a:cubicBezTo>
                      <a:pt x="2" y="27"/>
                      <a:pt x="0" y="34"/>
                      <a:pt x="0" y="42"/>
                    </a:cubicBezTo>
                    <a:cubicBezTo>
                      <a:pt x="0" y="53"/>
                      <a:pt x="3" y="63"/>
                      <a:pt x="10" y="71"/>
                    </a:cubicBezTo>
                    <a:cubicBezTo>
                      <a:pt x="16" y="79"/>
                      <a:pt x="24" y="83"/>
                      <a:pt x="36" y="83"/>
                    </a:cubicBezTo>
                    <a:cubicBezTo>
                      <a:pt x="45" y="83"/>
                      <a:pt x="52" y="80"/>
                      <a:pt x="58" y="73"/>
                    </a:cubicBezTo>
                    <a:cubicBezTo>
                      <a:pt x="58" y="82"/>
                      <a:pt x="58" y="88"/>
                      <a:pt x="57" y="90"/>
                    </a:cubicBezTo>
                    <a:cubicBezTo>
                      <a:pt x="56" y="95"/>
                      <a:pt x="53" y="99"/>
                      <a:pt x="50" y="101"/>
                    </a:cubicBezTo>
                    <a:cubicBezTo>
                      <a:pt x="47" y="104"/>
                      <a:pt x="42" y="105"/>
                      <a:pt x="35" y="105"/>
                    </a:cubicBezTo>
                    <a:cubicBezTo>
                      <a:pt x="29" y="105"/>
                      <a:pt x="25" y="104"/>
                      <a:pt x="21" y="101"/>
                    </a:cubicBezTo>
                    <a:cubicBezTo>
                      <a:pt x="19" y="99"/>
                      <a:pt x="17" y="96"/>
                      <a:pt x="17" y="92"/>
                    </a:cubicBezTo>
                    <a:cubicBezTo>
                      <a:pt x="3" y="90"/>
                      <a:pt x="3" y="90"/>
                      <a:pt x="3" y="90"/>
                    </a:cubicBezTo>
                    <a:cubicBezTo>
                      <a:pt x="3" y="99"/>
                      <a:pt x="6" y="105"/>
                      <a:pt x="12" y="110"/>
                    </a:cubicBezTo>
                    <a:cubicBezTo>
                      <a:pt x="18" y="114"/>
                      <a:pt x="26" y="116"/>
                      <a:pt x="35" y="116"/>
                    </a:cubicBezTo>
                    <a:cubicBezTo>
                      <a:pt x="43" y="116"/>
                      <a:pt x="50" y="115"/>
                      <a:pt x="56" y="112"/>
                    </a:cubicBezTo>
                    <a:cubicBezTo>
                      <a:pt x="62" y="109"/>
                      <a:pt x="66" y="104"/>
                      <a:pt x="68" y="99"/>
                    </a:cubicBezTo>
                    <a:cubicBezTo>
                      <a:pt x="71" y="94"/>
                      <a:pt x="72" y="85"/>
                      <a:pt x="72" y="72"/>
                    </a:cubicBezTo>
                    <a:cubicBezTo>
                      <a:pt x="72" y="2"/>
                      <a:pt x="72" y="2"/>
                      <a:pt x="72" y="2"/>
                    </a:cubicBezTo>
                    <a:cubicBezTo>
                      <a:pt x="59" y="2"/>
                      <a:pt x="59" y="2"/>
                      <a:pt x="59" y="2"/>
                    </a:cubicBezTo>
                    <a:lnTo>
                      <a:pt x="59" y="12"/>
                    </a:lnTo>
                    <a:close/>
                    <a:moveTo>
                      <a:pt x="53" y="65"/>
                    </a:moveTo>
                    <a:cubicBezTo>
                      <a:pt x="48" y="69"/>
                      <a:pt x="43" y="72"/>
                      <a:pt x="37" y="72"/>
                    </a:cubicBezTo>
                    <a:cubicBezTo>
                      <a:pt x="30" y="72"/>
                      <a:pt x="25" y="69"/>
                      <a:pt x="21" y="65"/>
                    </a:cubicBezTo>
                    <a:cubicBezTo>
                      <a:pt x="17" y="60"/>
                      <a:pt x="15" y="52"/>
                      <a:pt x="15" y="41"/>
                    </a:cubicBezTo>
                    <a:cubicBezTo>
                      <a:pt x="15" y="31"/>
                      <a:pt x="17" y="24"/>
                      <a:pt x="21" y="19"/>
                    </a:cubicBezTo>
                    <a:cubicBezTo>
                      <a:pt x="25" y="14"/>
                      <a:pt x="30" y="12"/>
                      <a:pt x="37" y="12"/>
                    </a:cubicBezTo>
                    <a:cubicBezTo>
                      <a:pt x="43" y="12"/>
                      <a:pt x="48" y="14"/>
                      <a:pt x="53" y="19"/>
                    </a:cubicBezTo>
                    <a:cubicBezTo>
                      <a:pt x="57" y="24"/>
                      <a:pt x="59" y="32"/>
                      <a:pt x="59" y="42"/>
                    </a:cubicBezTo>
                    <a:cubicBezTo>
                      <a:pt x="59" y="52"/>
                      <a:pt x="57" y="60"/>
                      <a:pt x="53" y="6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175" name="îŝlíde"/>
              <p:cNvSpPr/>
              <p:nvPr/>
            </p:nvSpPr>
            <p:spPr bwMode="auto">
              <a:xfrm>
                <a:off x="9864978" y="5733053"/>
                <a:ext cx="138113" cy="211138"/>
              </a:xfrm>
              <a:custGeom>
                <a:avLst/>
                <a:gdLst>
                  <a:gd name="T0" fmla="*/ 43 w 75"/>
                  <a:gd name="T1" fmla="*/ 47 h 114"/>
                  <a:gd name="T2" fmla="*/ 38 w 75"/>
                  <a:gd name="T3" fmla="*/ 66 h 114"/>
                  <a:gd name="T4" fmla="*/ 32 w 75"/>
                  <a:gd name="T5" fmla="*/ 47 h 114"/>
                  <a:gd name="T6" fmla="*/ 15 w 75"/>
                  <a:gd name="T7" fmla="*/ 0 h 114"/>
                  <a:gd name="T8" fmla="*/ 0 w 75"/>
                  <a:gd name="T9" fmla="*/ 0 h 114"/>
                  <a:gd name="T10" fmla="*/ 31 w 75"/>
                  <a:gd name="T11" fmla="*/ 81 h 114"/>
                  <a:gd name="T12" fmla="*/ 30 w 75"/>
                  <a:gd name="T13" fmla="*/ 85 h 114"/>
                  <a:gd name="T14" fmla="*/ 25 w 75"/>
                  <a:gd name="T15" fmla="*/ 95 h 114"/>
                  <a:gd name="T16" fmla="*/ 21 w 75"/>
                  <a:gd name="T17" fmla="*/ 99 h 114"/>
                  <a:gd name="T18" fmla="*/ 14 w 75"/>
                  <a:gd name="T19" fmla="*/ 101 h 114"/>
                  <a:gd name="T20" fmla="*/ 6 w 75"/>
                  <a:gd name="T21" fmla="*/ 100 h 114"/>
                  <a:gd name="T22" fmla="*/ 7 w 75"/>
                  <a:gd name="T23" fmla="*/ 113 h 114"/>
                  <a:gd name="T24" fmla="*/ 16 w 75"/>
                  <a:gd name="T25" fmla="*/ 114 h 114"/>
                  <a:gd name="T26" fmla="*/ 27 w 75"/>
                  <a:gd name="T27" fmla="*/ 111 h 114"/>
                  <a:gd name="T28" fmla="*/ 36 w 75"/>
                  <a:gd name="T29" fmla="*/ 101 h 114"/>
                  <a:gd name="T30" fmla="*/ 44 w 75"/>
                  <a:gd name="T31" fmla="*/ 83 h 114"/>
                  <a:gd name="T32" fmla="*/ 75 w 75"/>
                  <a:gd name="T33" fmla="*/ 0 h 114"/>
                  <a:gd name="T34" fmla="*/ 61 w 75"/>
                  <a:gd name="T35" fmla="*/ 0 h 114"/>
                  <a:gd name="T36" fmla="*/ 43 w 75"/>
                  <a:gd name="T37" fmla="*/ 47 h 1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75" h="114">
                    <a:moveTo>
                      <a:pt x="43" y="47"/>
                    </a:moveTo>
                    <a:cubicBezTo>
                      <a:pt x="41" y="53"/>
                      <a:pt x="39" y="60"/>
                      <a:pt x="38" y="66"/>
                    </a:cubicBezTo>
                    <a:cubicBezTo>
                      <a:pt x="36" y="59"/>
                      <a:pt x="34" y="53"/>
                      <a:pt x="32" y="47"/>
                    </a:cubicBezTo>
                    <a:cubicBezTo>
                      <a:pt x="15" y="0"/>
                      <a:pt x="15" y="0"/>
                      <a:pt x="15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31" y="81"/>
                      <a:pt x="31" y="81"/>
                      <a:pt x="31" y="81"/>
                    </a:cubicBezTo>
                    <a:cubicBezTo>
                      <a:pt x="30" y="83"/>
                      <a:pt x="30" y="84"/>
                      <a:pt x="30" y="85"/>
                    </a:cubicBezTo>
                    <a:cubicBezTo>
                      <a:pt x="28" y="90"/>
                      <a:pt x="26" y="94"/>
                      <a:pt x="25" y="95"/>
                    </a:cubicBezTo>
                    <a:cubicBezTo>
                      <a:pt x="24" y="97"/>
                      <a:pt x="23" y="98"/>
                      <a:pt x="21" y="99"/>
                    </a:cubicBezTo>
                    <a:cubicBezTo>
                      <a:pt x="19" y="100"/>
                      <a:pt x="17" y="101"/>
                      <a:pt x="14" y="101"/>
                    </a:cubicBezTo>
                    <a:cubicBezTo>
                      <a:pt x="11" y="101"/>
                      <a:pt x="9" y="101"/>
                      <a:pt x="6" y="100"/>
                    </a:cubicBezTo>
                    <a:cubicBezTo>
                      <a:pt x="7" y="113"/>
                      <a:pt x="7" y="113"/>
                      <a:pt x="7" y="113"/>
                    </a:cubicBezTo>
                    <a:cubicBezTo>
                      <a:pt x="11" y="114"/>
                      <a:pt x="13" y="114"/>
                      <a:pt x="16" y="114"/>
                    </a:cubicBezTo>
                    <a:cubicBezTo>
                      <a:pt x="21" y="114"/>
                      <a:pt x="24" y="113"/>
                      <a:pt x="27" y="111"/>
                    </a:cubicBezTo>
                    <a:cubicBezTo>
                      <a:pt x="31" y="109"/>
                      <a:pt x="33" y="106"/>
                      <a:pt x="36" y="101"/>
                    </a:cubicBezTo>
                    <a:cubicBezTo>
                      <a:pt x="38" y="98"/>
                      <a:pt x="40" y="92"/>
                      <a:pt x="44" y="83"/>
                    </a:cubicBezTo>
                    <a:cubicBezTo>
                      <a:pt x="75" y="0"/>
                      <a:pt x="75" y="0"/>
                      <a:pt x="75" y="0"/>
                    </a:cubicBezTo>
                    <a:cubicBezTo>
                      <a:pt x="61" y="0"/>
                      <a:pt x="61" y="0"/>
                      <a:pt x="61" y="0"/>
                    </a:cubicBezTo>
                    <a:lnTo>
                      <a:pt x="43" y="4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176" name="íṧ1ïḍé"/>
              <p:cNvSpPr/>
              <p:nvPr/>
            </p:nvSpPr>
            <p:spPr bwMode="auto">
              <a:xfrm>
                <a:off x="10106278" y="5675903"/>
                <a:ext cx="155575" cy="206375"/>
              </a:xfrm>
              <a:custGeom>
                <a:avLst/>
                <a:gdLst>
                  <a:gd name="T0" fmla="*/ 64 w 85"/>
                  <a:gd name="T1" fmla="*/ 53 h 112"/>
                  <a:gd name="T2" fmla="*/ 75 w 85"/>
                  <a:gd name="T3" fmla="*/ 42 h 112"/>
                  <a:gd name="T4" fmla="*/ 79 w 85"/>
                  <a:gd name="T5" fmla="*/ 29 h 112"/>
                  <a:gd name="T6" fmla="*/ 75 w 85"/>
                  <a:gd name="T7" fmla="*/ 14 h 112"/>
                  <a:gd name="T8" fmla="*/ 63 w 85"/>
                  <a:gd name="T9" fmla="*/ 4 h 112"/>
                  <a:gd name="T10" fmla="*/ 42 w 85"/>
                  <a:gd name="T11" fmla="*/ 0 h 112"/>
                  <a:gd name="T12" fmla="*/ 0 w 85"/>
                  <a:gd name="T13" fmla="*/ 0 h 112"/>
                  <a:gd name="T14" fmla="*/ 0 w 85"/>
                  <a:gd name="T15" fmla="*/ 112 h 112"/>
                  <a:gd name="T16" fmla="*/ 43 w 85"/>
                  <a:gd name="T17" fmla="*/ 112 h 112"/>
                  <a:gd name="T18" fmla="*/ 61 w 85"/>
                  <a:gd name="T19" fmla="*/ 110 h 112"/>
                  <a:gd name="T20" fmla="*/ 73 w 85"/>
                  <a:gd name="T21" fmla="*/ 105 h 112"/>
                  <a:gd name="T22" fmla="*/ 81 w 85"/>
                  <a:gd name="T23" fmla="*/ 94 h 112"/>
                  <a:gd name="T24" fmla="*/ 85 w 85"/>
                  <a:gd name="T25" fmla="*/ 80 h 112"/>
                  <a:gd name="T26" fmla="*/ 79 w 85"/>
                  <a:gd name="T27" fmla="*/ 63 h 112"/>
                  <a:gd name="T28" fmla="*/ 64 w 85"/>
                  <a:gd name="T29" fmla="*/ 53 h 112"/>
                  <a:gd name="T30" fmla="*/ 15 w 85"/>
                  <a:gd name="T31" fmla="*/ 13 h 112"/>
                  <a:gd name="T32" fmla="*/ 37 w 85"/>
                  <a:gd name="T33" fmla="*/ 13 h 112"/>
                  <a:gd name="T34" fmla="*/ 54 w 85"/>
                  <a:gd name="T35" fmla="*/ 15 h 112"/>
                  <a:gd name="T36" fmla="*/ 62 w 85"/>
                  <a:gd name="T37" fmla="*/ 21 h 112"/>
                  <a:gd name="T38" fmla="*/ 65 w 85"/>
                  <a:gd name="T39" fmla="*/ 31 h 112"/>
                  <a:gd name="T40" fmla="*/ 62 w 85"/>
                  <a:gd name="T41" fmla="*/ 40 h 112"/>
                  <a:gd name="T42" fmla="*/ 53 w 85"/>
                  <a:gd name="T43" fmla="*/ 46 h 112"/>
                  <a:gd name="T44" fmla="*/ 39 w 85"/>
                  <a:gd name="T45" fmla="*/ 47 h 112"/>
                  <a:gd name="T46" fmla="*/ 15 w 85"/>
                  <a:gd name="T47" fmla="*/ 47 h 112"/>
                  <a:gd name="T48" fmla="*/ 15 w 85"/>
                  <a:gd name="T49" fmla="*/ 13 h 112"/>
                  <a:gd name="T50" fmla="*/ 67 w 85"/>
                  <a:gd name="T51" fmla="*/ 89 h 112"/>
                  <a:gd name="T52" fmla="*/ 61 w 85"/>
                  <a:gd name="T53" fmla="*/ 95 h 112"/>
                  <a:gd name="T54" fmla="*/ 53 w 85"/>
                  <a:gd name="T55" fmla="*/ 99 h 112"/>
                  <a:gd name="T56" fmla="*/ 43 w 85"/>
                  <a:gd name="T57" fmla="*/ 99 h 112"/>
                  <a:gd name="T58" fmla="*/ 15 w 85"/>
                  <a:gd name="T59" fmla="*/ 99 h 112"/>
                  <a:gd name="T60" fmla="*/ 15 w 85"/>
                  <a:gd name="T61" fmla="*/ 61 h 112"/>
                  <a:gd name="T62" fmla="*/ 41 w 85"/>
                  <a:gd name="T63" fmla="*/ 61 h 112"/>
                  <a:gd name="T64" fmla="*/ 57 w 85"/>
                  <a:gd name="T65" fmla="*/ 62 h 112"/>
                  <a:gd name="T66" fmla="*/ 66 w 85"/>
                  <a:gd name="T67" fmla="*/ 69 h 112"/>
                  <a:gd name="T68" fmla="*/ 69 w 85"/>
                  <a:gd name="T69" fmla="*/ 80 h 112"/>
                  <a:gd name="T70" fmla="*/ 67 w 85"/>
                  <a:gd name="T71" fmla="*/ 89 h 1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85" h="112">
                    <a:moveTo>
                      <a:pt x="64" y="53"/>
                    </a:moveTo>
                    <a:cubicBezTo>
                      <a:pt x="69" y="50"/>
                      <a:pt x="73" y="47"/>
                      <a:pt x="75" y="42"/>
                    </a:cubicBezTo>
                    <a:cubicBezTo>
                      <a:pt x="78" y="38"/>
                      <a:pt x="79" y="34"/>
                      <a:pt x="79" y="29"/>
                    </a:cubicBezTo>
                    <a:cubicBezTo>
                      <a:pt x="79" y="24"/>
                      <a:pt x="78" y="19"/>
                      <a:pt x="75" y="14"/>
                    </a:cubicBezTo>
                    <a:cubicBezTo>
                      <a:pt x="72" y="9"/>
                      <a:pt x="68" y="6"/>
                      <a:pt x="63" y="4"/>
                    </a:cubicBezTo>
                    <a:cubicBezTo>
                      <a:pt x="57" y="1"/>
                      <a:pt x="51" y="0"/>
                      <a:pt x="42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112"/>
                      <a:pt x="0" y="112"/>
                      <a:pt x="0" y="112"/>
                    </a:cubicBezTo>
                    <a:cubicBezTo>
                      <a:pt x="43" y="112"/>
                      <a:pt x="43" y="112"/>
                      <a:pt x="43" y="112"/>
                    </a:cubicBezTo>
                    <a:cubicBezTo>
                      <a:pt x="50" y="112"/>
                      <a:pt x="56" y="112"/>
                      <a:pt x="61" y="110"/>
                    </a:cubicBezTo>
                    <a:cubicBezTo>
                      <a:pt x="66" y="109"/>
                      <a:pt x="70" y="107"/>
                      <a:pt x="73" y="105"/>
                    </a:cubicBezTo>
                    <a:cubicBezTo>
                      <a:pt x="76" y="102"/>
                      <a:pt x="79" y="99"/>
                      <a:pt x="81" y="94"/>
                    </a:cubicBezTo>
                    <a:cubicBezTo>
                      <a:pt x="84" y="90"/>
                      <a:pt x="85" y="85"/>
                      <a:pt x="85" y="80"/>
                    </a:cubicBezTo>
                    <a:cubicBezTo>
                      <a:pt x="85" y="73"/>
                      <a:pt x="83" y="68"/>
                      <a:pt x="79" y="63"/>
                    </a:cubicBezTo>
                    <a:cubicBezTo>
                      <a:pt x="76" y="58"/>
                      <a:pt x="70" y="55"/>
                      <a:pt x="64" y="53"/>
                    </a:cubicBezTo>
                    <a:close/>
                    <a:moveTo>
                      <a:pt x="15" y="13"/>
                    </a:moveTo>
                    <a:cubicBezTo>
                      <a:pt x="37" y="13"/>
                      <a:pt x="37" y="13"/>
                      <a:pt x="37" y="13"/>
                    </a:cubicBezTo>
                    <a:cubicBezTo>
                      <a:pt x="45" y="13"/>
                      <a:pt x="51" y="14"/>
                      <a:pt x="54" y="15"/>
                    </a:cubicBezTo>
                    <a:cubicBezTo>
                      <a:pt x="58" y="16"/>
                      <a:pt x="60" y="18"/>
                      <a:pt x="62" y="21"/>
                    </a:cubicBezTo>
                    <a:cubicBezTo>
                      <a:pt x="64" y="24"/>
                      <a:pt x="65" y="27"/>
                      <a:pt x="65" y="31"/>
                    </a:cubicBezTo>
                    <a:cubicBezTo>
                      <a:pt x="65" y="35"/>
                      <a:pt x="64" y="38"/>
                      <a:pt x="62" y="40"/>
                    </a:cubicBezTo>
                    <a:cubicBezTo>
                      <a:pt x="60" y="43"/>
                      <a:pt x="57" y="45"/>
                      <a:pt x="53" y="46"/>
                    </a:cubicBezTo>
                    <a:cubicBezTo>
                      <a:pt x="50" y="47"/>
                      <a:pt x="46" y="47"/>
                      <a:pt x="39" y="47"/>
                    </a:cubicBezTo>
                    <a:cubicBezTo>
                      <a:pt x="15" y="47"/>
                      <a:pt x="15" y="47"/>
                      <a:pt x="15" y="47"/>
                    </a:cubicBezTo>
                    <a:lnTo>
                      <a:pt x="15" y="13"/>
                    </a:lnTo>
                    <a:close/>
                    <a:moveTo>
                      <a:pt x="67" y="89"/>
                    </a:moveTo>
                    <a:cubicBezTo>
                      <a:pt x="66" y="92"/>
                      <a:pt x="64" y="94"/>
                      <a:pt x="61" y="95"/>
                    </a:cubicBezTo>
                    <a:cubicBezTo>
                      <a:pt x="59" y="97"/>
                      <a:pt x="56" y="98"/>
                      <a:pt x="53" y="99"/>
                    </a:cubicBezTo>
                    <a:cubicBezTo>
                      <a:pt x="51" y="99"/>
                      <a:pt x="48" y="99"/>
                      <a:pt x="43" y="99"/>
                    </a:cubicBezTo>
                    <a:cubicBezTo>
                      <a:pt x="15" y="99"/>
                      <a:pt x="15" y="99"/>
                      <a:pt x="15" y="99"/>
                    </a:cubicBezTo>
                    <a:cubicBezTo>
                      <a:pt x="15" y="61"/>
                      <a:pt x="15" y="61"/>
                      <a:pt x="15" y="61"/>
                    </a:cubicBezTo>
                    <a:cubicBezTo>
                      <a:pt x="41" y="61"/>
                      <a:pt x="41" y="61"/>
                      <a:pt x="41" y="61"/>
                    </a:cubicBezTo>
                    <a:cubicBezTo>
                      <a:pt x="48" y="61"/>
                      <a:pt x="53" y="61"/>
                      <a:pt x="57" y="62"/>
                    </a:cubicBezTo>
                    <a:cubicBezTo>
                      <a:pt x="61" y="64"/>
                      <a:pt x="64" y="66"/>
                      <a:pt x="66" y="69"/>
                    </a:cubicBezTo>
                    <a:cubicBezTo>
                      <a:pt x="68" y="72"/>
                      <a:pt x="69" y="76"/>
                      <a:pt x="69" y="80"/>
                    </a:cubicBezTo>
                    <a:cubicBezTo>
                      <a:pt x="69" y="83"/>
                      <a:pt x="69" y="87"/>
                      <a:pt x="67" y="8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177" name="iŝļidé"/>
              <p:cNvSpPr/>
              <p:nvPr/>
            </p:nvSpPr>
            <p:spPr bwMode="auto">
              <a:xfrm>
                <a:off x="10288841" y="5729878"/>
                <a:ext cx="138113" cy="157163"/>
              </a:xfrm>
              <a:custGeom>
                <a:avLst/>
                <a:gdLst>
                  <a:gd name="T0" fmla="*/ 38 w 75"/>
                  <a:gd name="T1" fmla="*/ 0 h 85"/>
                  <a:gd name="T2" fmla="*/ 10 w 75"/>
                  <a:gd name="T3" fmla="*/ 12 h 85"/>
                  <a:gd name="T4" fmla="*/ 0 w 75"/>
                  <a:gd name="T5" fmla="*/ 43 h 85"/>
                  <a:gd name="T6" fmla="*/ 10 w 75"/>
                  <a:gd name="T7" fmla="*/ 74 h 85"/>
                  <a:gd name="T8" fmla="*/ 38 w 75"/>
                  <a:gd name="T9" fmla="*/ 85 h 85"/>
                  <a:gd name="T10" fmla="*/ 62 w 75"/>
                  <a:gd name="T11" fmla="*/ 78 h 85"/>
                  <a:gd name="T12" fmla="*/ 74 w 75"/>
                  <a:gd name="T13" fmla="*/ 59 h 85"/>
                  <a:gd name="T14" fmla="*/ 60 w 75"/>
                  <a:gd name="T15" fmla="*/ 57 h 85"/>
                  <a:gd name="T16" fmla="*/ 51 w 75"/>
                  <a:gd name="T17" fmla="*/ 70 h 85"/>
                  <a:gd name="T18" fmla="*/ 39 w 75"/>
                  <a:gd name="T19" fmla="*/ 74 h 85"/>
                  <a:gd name="T20" fmla="*/ 22 w 75"/>
                  <a:gd name="T21" fmla="*/ 67 h 85"/>
                  <a:gd name="T22" fmla="*/ 14 w 75"/>
                  <a:gd name="T23" fmla="*/ 46 h 85"/>
                  <a:gd name="T24" fmla="*/ 75 w 75"/>
                  <a:gd name="T25" fmla="*/ 46 h 85"/>
                  <a:gd name="T26" fmla="*/ 75 w 75"/>
                  <a:gd name="T27" fmla="*/ 43 h 85"/>
                  <a:gd name="T28" fmla="*/ 64 w 75"/>
                  <a:gd name="T29" fmla="*/ 11 h 85"/>
                  <a:gd name="T30" fmla="*/ 38 w 75"/>
                  <a:gd name="T31" fmla="*/ 0 h 85"/>
                  <a:gd name="T32" fmla="*/ 15 w 75"/>
                  <a:gd name="T33" fmla="*/ 35 h 85"/>
                  <a:gd name="T34" fmla="*/ 22 w 75"/>
                  <a:gd name="T35" fmla="*/ 18 h 85"/>
                  <a:gd name="T36" fmla="*/ 38 w 75"/>
                  <a:gd name="T37" fmla="*/ 12 h 85"/>
                  <a:gd name="T38" fmla="*/ 55 w 75"/>
                  <a:gd name="T39" fmla="*/ 20 h 85"/>
                  <a:gd name="T40" fmla="*/ 60 w 75"/>
                  <a:gd name="T41" fmla="*/ 35 h 85"/>
                  <a:gd name="T42" fmla="*/ 15 w 75"/>
                  <a:gd name="T43" fmla="*/ 35 h 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75" h="85">
                    <a:moveTo>
                      <a:pt x="38" y="0"/>
                    </a:moveTo>
                    <a:cubicBezTo>
                      <a:pt x="26" y="0"/>
                      <a:pt x="17" y="4"/>
                      <a:pt x="10" y="12"/>
                    </a:cubicBezTo>
                    <a:cubicBezTo>
                      <a:pt x="3" y="19"/>
                      <a:pt x="0" y="30"/>
                      <a:pt x="0" y="43"/>
                    </a:cubicBezTo>
                    <a:cubicBezTo>
                      <a:pt x="0" y="57"/>
                      <a:pt x="3" y="67"/>
                      <a:pt x="10" y="74"/>
                    </a:cubicBezTo>
                    <a:cubicBezTo>
                      <a:pt x="17" y="81"/>
                      <a:pt x="27" y="85"/>
                      <a:pt x="38" y="85"/>
                    </a:cubicBezTo>
                    <a:cubicBezTo>
                      <a:pt x="48" y="85"/>
                      <a:pt x="56" y="83"/>
                      <a:pt x="62" y="78"/>
                    </a:cubicBezTo>
                    <a:cubicBezTo>
                      <a:pt x="68" y="74"/>
                      <a:pt x="72" y="67"/>
                      <a:pt x="74" y="59"/>
                    </a:cubicBezTo>
                    <a:cubicBezTo>
                      <a:pt x="60" y="57"/>
                      <a:pt x="60" y="57"/>
                      <a:pt x="60" y="57"/>
                    </a:cubicBezTo>
                    <a:cubicBezTo>
                      <a:pt x="58" y="63"/>
                      <a:pt x="55" y="67"/>
                      <a:pt x="51" y="70"/>
                    </a:cubicBezTo>
                    <a:cubicBezTo>
                      <a:pt x="48" y="73"/>
                      <a:pt x="44" y="74"/>
                      <a:pt x="39" y="74"/>
                    </a:cubicBezTo>
                    <a:cubicBezTo>
                      <a:pt x="32" y="74"/>
                      <a:pt x="26" y="71"/>
                      <a:pt x="22" y="67"/>
                    </a:cubicBezTo>
                    <a:cubicBezTo>
                      <a:pt x="17" y="62"/>
                      <a:pt x="14" y="55"/>
                      <a:pt x="14" y="46"/>
                    </a:cubicBezTo>
                    <a:cubicBezTo>
                      <a:pt x="75" y="46"/>
                      <a:pt x="75" y="46"/>
                      <a:pt x="75" y="46"/>
                    </a:cubicBezTo>
                    <a:cubicBezTo>
                      <a:pt x="75" y="45"/>
                      <a:pt x="75" y="43"/>
                      <a:pt x="75" y="43"/>
                    </a:cubicBezTo>
                    <a:cubicBezTo>
                      <a:pt x="75" y="29"/>
                      <a:pt x="71" y="19"/>
                      <a:pt x="64" y="11"/>
                    </a:cubicBezTo>
                    <a:cubicBezTo>
                      <a:pt x="57" y="4"/>
                      <a:pt x="49" y="0"/>
                      <a:pt x="38" y="0"/>
                    </a:cubicBezTo>
                    <a:close/>
                    <a:moveTo>
                      <a:pt x="15" y="35"/>
                    </a:moveTo>
                    <a:cubicBezTo>
                      <a:pt x="15" y="28"/>
                      <a:pt x="18" y="22"/>
                      <a:pt x="22" y="18"/>
                    </a:cubicBezTo>
                    <a:cubicBezTo>
                      <a:pt x="26" y="14"/>
                      <a:pt x="32" y="12"/>
                      <a:pt x="38" y="12"/>
                    </a:cubicBezTo>
                    <a:cubicBezTo>
                      <a:pt x="45" y="12"/>
                      <a:pt x="51" y="14"/>
                      <a:pt x="55" y="20"/>
                    </a:cubicBezTo>
                    <a:cubicBezTo>
                      <a:pt x="58" y="23"/>
                      <a:pt x="60" y="28"/>
                      <a:pt x="60" y="35"/>
                    </a:cubicBezTo>
                    <a:lnTo>
                      <a:pt x="15" y="3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178" name="í$lidè"/>
              <p:cNvSpPr/>
              <p:nvPr/>
            </p:nvSpPr>
            <p:spPr bwMode="auto">
              <a:xfrm>
                <a:off x="10457116" y="5675903"/>
                <a:ext cx="25400" cy="30163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179" name="iSļiḋé"/>
              <p:cNvSpPr/>
              <p:nvPr/>
            </p:nvSpPr>
            <p:spPr bwMode="auto">
              <a:xfrm>
                <a:off x="10457116" y="5733053"/>
                <a:ext cx="25400" cy="149225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180" name="íṩḷïḑe"/>
              <p:cNvSpPr/>
              <p:nvPr/>
            </p:nvSpPr>
            <p:spPr bwMode="auto">
              <a:xfrm>
                <a:off x="10520616" y="5675903"/>
                <a:ext cx="25400" cy="30163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181" name="i$ḷïḍè"/>
              <p:cNvSpPr/>
              <p:nvPr/>
            </p:nvSpPr>
            <p:spPr bwMode="auto">
              <a:xfrm>
                <a:off x="10488866" y="5733053"/>
                <a:ext cx="57150" cy="211138"/>
              </a:xfrm>
              <a:custGeom>
                <a:avLst/>
                <a:gdLst>
                  <a:gd name="T0" fmla="*/ 17 w 31"/>
                  <a:gd name="T1" fmla="*/ 85 h 114"/>
                  <a:gd name="T2" fmla="*/ 15 w 31"/>
                  <a:gd name="T3" fmla="*/ 99 h 114"/>
                  <a:gd name="T4" fmla="*/ 9 w 31"/>
                  <a:gd name="T5" fmla="*/ 102 h 114"/>
                  <a:gd name="T6" fmla="*/ 2 w 31"/>
                  <a:gd name="T7" fmla="*/ 101 h 114"/>
                  <a:gd name="T8" fmla="*/ 0 w 31"/>
                  <a:gd name="T9" fmla="*/ 113 h 114"/>
                  <a:gd name="T10" fmla="*/ 11 w 31"/>
                  <a:gd name="T11" fmla="*/ 114 h 114"/>
                  <a:gd name="T12" fmla="*/ 27 w 31"/>
                  <a:gd name="T13" fmla="*/ 107 h 114"/>
                  <a:gd name="T14" fmla="*/ 31 w 31"/>
                  <a:gd name="T15" fmla="*/ 86 h 114"/>
                  <a:gd name="T16" fmla="*/ 31 w 31"/>
                  <a:gd name="T17" fmla="*/ 0 h 114"/>
                  <a:gd name="T18" fmla="*/ 17 w 31"/>
                  <a:gd name="T19" fmla="*/ 0 h 114"/>
                  <a:gd name="T20" fmla="*/ 17 w 31"/>
                  <a:gd name="T21" fmla="*/ 85 h 1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31" h="114">
                    <a:moveTo>
                      <a:pt x="17" y="85"/>
                    </a:moveTo>
                    <a:cubicBezTo>
                      <a:pt x="17" y="93"/>
                      <a:pt x="17" y="98"/>
                      <a:pt x="15" y="99"/>
                    </a:cubicBezTo>
                    <a:cubicBezTo>
                      <a:pt x="14" y="101"/>
                      <a:pt x="12" y="102"/>
                      <a:pt x="9" y="102"/>
                    </a:cubicBezTo>
                    <a:cubicBezTo>
                      <a:pt x="7" y="102"/>
                      <a:pt x="5" y="102"/>
                      <a:pt x="2" y="101"/>
                    </a:cubicBezTo>
                    <a:cubicBezTo>
                      <a:pt x="0" y="113"/>
                      <a:pt x="0" y="113"/>
                      <a:pt x="0" y="113"/>
                    </a:cubicBezTo>
                    <a:cubicBezTo>
                      <a:pt x="3" y="114"/>
                      <a:pt x="7" y="114"/>
                      <a:pt x="11" y="114"/>
                    </a:cubicBezTo>
                    <a:cubicBezTo>
                      <a:pt x="18" y="114"/>
                      <a:pt x="24" y="112"/>
                      <a:pt x="27" y="107"/>
                    </a:cubicBezTo>
                    <a:cubicBezTo>
                      <a:pt x="30" y="103"/>
                      <a:pt x="31" y="96"/>
                      <a:pt x="31" y="86"/>
                    </a:cubicBezTo>
                    <a:cubicBezTo>
                      <a:pt x="31" y="0"/>
                      <a:pt x="31" y="0"/>
                      <a:pt x="31" y="0"/>
                    </a:cubicBezTo>
                    <a:cubicBezTo>
                      <a:pt x="17" y="0"/>
                      <a:pt x="17" y="0"/>
                      <a:pt x="17" y="0"/>
                    </a:cubicBezTo>
                    <a:lnTo>
                      <a:pt x="17" y="8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182" name="íṩliḋé"/>
              <p:cNvSpPr/>
              <p:nvPr/>
            </p:nvSpPr>
            <p:spPr bwMode="auto">
              <a:xfrm>
                <a:off x="10585703" y="5675903"/>
                <a:ext cx="25400" cy="30163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183" name="ísḷiďé"/>
              <p:cNvSpPr/>
              <p:nvPr/>
            </p:nvSpPr>
            <p:spPr bwMode="auto">
              <a:xfrm>
                <a:off x="10585703" y="5733053"/>
                <a:ext cx="25400" cy="149225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184" name="íṩļïḍe"/>
              <p:cNvSpPr/>
              <p:nvPr/>
            </p:nvSpPr>
            <p:spPr bwMode="auto">
              <a:xfrm>
                <a:off x="10649203" y="5729878"/>
                <a:ext cx="122238" cy="152400"/>
              </a:xfrm>
              <a:custGeom>
                <a:avLst/>
                <a:gdLst>
                  <a:gd name="T0" fmla="*/ 65 w 66"/>
                  <a:gd name="T1" fmla="*/ 20 h 83"/>
                  <a:gd name="T2" fmla="*/ 61 w 66"/>
                  <a:gd name="T3" fmla="*/ 10 h 83"/>
                  <a:gd name="T4" fmla="*/ 52 w 66"/>
                  <a:gd name="T5" fmla="*/ 3 h 83"/>
                  <a:gd name="T6" fmla="*/ 38 w 66"/>
                  <a:gd name="T7" fmla="*/ 0 h 83"/>
                  <a:gd name="T8" fmla="*/ 12 w 66"/>
                  <a:gd name="T9" fmla="*/ 14 h 83"/>
                  <a:gd name="T10" fmla="*/ 12 w 66"/>
                  <a:gd name="T11" fmla="*/ 2 h 83"/>
                  <a:gd name="T12" fmla="*/ 0 w 66"/>
                  <a:gd name="T13" fmla="*/ 2 h 83"/>
                  <a:gd name="T14" fmla="*/ 0 w 66"/>
                  <a:gd name="T15" fmla="*/ 83 h 83"/>
                  <a:gd name="T16" fmla="*/ 14 w 66"/>
                  <a:gd name="T17" fmla="*/ 83 h 83"/>
                  <a:gd name="T18" fmla="*/ 14 w 66"/>
                  <a:gd name="T19" fmla="*/ 39 h 83"/>
                  <a:gd name="T20" fmla="*/ 20 w 66"/>
                  <a:gd name="T21" fmla="*/ 18 h 83"/>
                  <a:gd name="T22" fmla="*/ 35 w 66"/>
                  <a:gd name="T23" fmla="*/ 12 h 83"/>
                  <a:gd name="T24" fmla="*/ 45 w 66"/>
                  <a:gd name="T25" fmla="*/ 15 h 83"/>
                  <a:gd name="T26" fmla="*/ 51 w 66"/>
                  <a:gd name="T27" fmla="*/ 21 h 83"/>
                  <a:gd name="T28" fmla="*/ 52 w 66"/>
                  <a:gd name="T29" fmla="*/ 34 h 83"/>
                  <a:gd name="T30" fmla="*/ 52 w 66"/>
                  <a:gd name="T31" fmla="*/ 83 h 83"/>
                  <a:gd name="T32" fmla="*/ 66 w 66"/>
                  <a:gd name="T33" fmla="*/ 83 h 83"/>
                  <a:gd name="T34" fmla="*/ 66 w 66"/>
                  <a:gd name="T35" fmla="*/ 33 h 83"/>
                  <a:gd name="T36" fmla="*/ 65 w 66"/>
                  <a:gd name="T37" fmla="*/ 20 h 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66" h="83">
                    <a:moveTo>
                      <a:pt x="65" y="20"/>
                    </a:moveTo>
                    <a:cubicBezTo>
                      <a:pt x="64" y="16"/>
                      <a:pt x="63" y="13"/>
                      <a:pt x="61" y="10"/>
                    </a:cubicBezTo>
                    <a:cubicBezTo>
                      <a:pt x="59" y="7"/>
                      <a:pt x="56" y="5"/>
                      <a:pt x="52" y="3"/>
                    </a:cubicBezTo>
                    <a:cubicBezTo>
                      <a:pt x="48" y="1"/>
                      <a:pt x="43" y="0"/>
                      <a:pt x="38" y="0"/>
                    </a:cubicBezTo>
                    <a:cubicBezTo>
                      <a:pt x="27" y="0"/>
                      <a:pt x="18" y="5"/>
                      <a:pt x="12" y="14"/>
                    </a:cubicBezTo>
                    <a:cubicBezTo>
                      <a:pt x="12" y="2"/>
                      <a:pt x="12" y="2"/>
                      <a:pt x="12" y="2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83"/>
                      <a:pt x="0" y="83"/>
                      <a:pt x="0" y="83"/>
                    </a:cubicBezTo>
                    <a:cubicBezTo>
                      <a:pt x="14" y="83"/>
                      <a:pt x="14" y="83"/>
                      <a:pt x="14" y="83"/>
                    </a:cubicBezTo>
                    <a:cubicBezTo>
                      <a:pt x="14" y="39"/>
                      <a:pt x="14" y="39"/>
                      <a:pt x="14" y="39"/>
                    </a:cubicBezTo>
                    <a:cubicBezTo>
                      <a:pt x="14" y="29"/>
                      <a:pt x="16" y="21"/>
                      <a:pt x="20" y="18"/>
                    </a:cubicBezTo>
                    <a:cubicBezTo>
                      <a:pt x="24" y="14"/>
                      <a:pt x="29" y="12"/>
                      <a:pt x="35" y="12"/>
                    </a:cubicBezTo>
                    <a:cubicBezTo>
                      <a:pt x="39" y="12"/>
                      <a:pt x="42" y="13"/>
                      <a:pt x="45" y="15"/>
                    </a:cubicBezTo>
                    <a:cubicBezTo>
                      <a:pt x="48" y="16"/>
                      <a:pt x="50" y="19"/>
                      <a:pt x="51" y="21"/>
                    </a:cubicBezTo>
                    <a:cubicBezTo>
                      <a:pt x="52" y="24"/>
                      <a:pt x="52" y="28"/>
                      <a:pt x="52" y="34"/>
                    </a:cubicBezTo>
                    <a:cubicBezTo>
                      <a:pt x="52" y="83"/>
                      <a:pt x="52" y="83"/>
                      <a:pt x="52" y="83"/>
                    </a:cubicBezTo>
                    <a:cubicBezTo>
                      <a:pt x="66" y="83"/>
                      <a:pt x="66" y="83"/>
                      <a:pt x="66" y="83"/>
                    </a:cubicBezTo>
                    <a:cubicBezTo>
                      <a:pt x="66" y="33"/>
                      <a:pt x="66" y="33"/>
                      <a:pt x="66" y="33"/>
                    </a:cubicBezTo>
                    <a:cubicBezTo>
                      <a:pt x="66" y="27"/>
                      <a:pt x="66" y="23"/>
                      <a:pt x="65" y="2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185" name="í$ľíḍê"/>
              <p:cNvSpPr/>
              <p:nvPr/>
            </p:nvSpPr>
            <p:spPr bwMode="auto">
              <a:xfrm>
                <a:off x="10800016" y="5729878"/>
                <a:ext cx="133350" cy="214313"/>
              </a:xfrm>
              <a:custGeom>
                <a:avLst/>
                <a:gdLst>
                  <a:gd name="T0" fmla="*/ 59 w 72"/>
                  <a:gd name="T1" fmla="*/ 2 h 116"/>
                  <a:gd name="T2" fmla="*/ 59 w 72"/>
                  <a:gd name="T3" fmla="*/ 12 h 116"/>
                  <a:gd name="T4" fmla="*/ 35 w 72"/>
                  <a:gd name="T5" fmla="*/ 0 h 116"/>
                  <a:gd name="T6" fmla="*/ 16 w 72"/>
                  <a:gd name="T7" fmla="*/ 6 h 116"/>
                  <a:gd name="T8" fmla="*/ 4 w 72"/>
                  <a:gd name="T9" fmla="*/ 21 h 116"/>
                  <a:gd name="T10" fmla="*/ 0 w 72"/>
                  <a:gd name="T11" fmla="*/ 42 h 116"/>
                  <a:gd name="T12" fmla="*/ 9 w 72"/>
                  <a:gd name="T13" fmla="*/ 71 h 116"/>
                  <a:gd name="T14" fmla="*/ 35 w 72"/>
                  <a:gd name="T15" fmla="*/ 83 h 116"/>
                  <a:gd name="T16" fmla="*/ 58 w 72"/>
                  <a:gd name="T17" fmla="*/ 73 h 116"/>
                  <a:gd name="T18" fmla="*/ 57 w 72"/>
                  <a:gd name="T19" fmla="*/ 90 h 116"/>
                  <a:gd name="T20" fmla="*/ 49 w 72"/>
                  <a:gd name="T21" fmla="*/ 101 h 116"/>
                  <a:gd name="T22" fmla="*/ 35 w 72"/>
                  <a:gd name="T23" fmla="*/ 105 h 116"/>
                  <a:gd name="T24" fmla="*/ 21 w 72"/>
                  <a:gd name="T25" fmla="*/ 101 h 116"/>
                  <a:gd name="T26" fmla="*/ 16 w 72"/>
                  <a:gd name="T27" fmla="*/ 92 h 116"/>
                  <a:gd name="T28" fmla="*/ 3 w 72"/>
                  <a:gd name="T29" fmla="*/ 90 h 116"/>
                  <a:gd name="T30" fmla="*/ 11 w 72"/>
                  <a:gd name="T31" fmla="*/ 110 h 116"/>
                  <a:gd name="T32" fmla="*/ 35 w 72"/>
                  <a:gd name="T33" fmla="*/ 116 h 116"/>
                  <a:gd name="T34" fmla="*/ 55 w 72"/>
                  <a:gd name="T35" fmla="*/ 112 h 116"/>
                  <a:gd name="T36" fmla="*/ 68 w 72"/>
                  <a:gd name="T37" fmla="*/ 99 h 116"/>
                  <a:gd name="T38" fmla="*/ 72 w 72"/>
                  <a:gd name="T39" fmla="*/ 72 h 116"/>
                  <a:gd name="T40" fmla="*/ 72 w 72"/>
                  <a:gd name="T41" fmla="*/ 2 h 116"/>
                  <a:gd name="T42" fmla="*/ 59 w 72"/>
                  <a:gd name="T43" fmla="*/ 2 h 116"/>
                  <a:gd name="T44" fmla="*/ 52 w 72"/>
                  <a:gd name="T45" fmla="*/ 65 h 116"/>
                  <a:gd name="T46" fmla="*/ 36 w 72"/>
                  <a:gd name="T47" fmla="*/ 72 h 116"/>
                  <a:gd name="T48" fmla="*/ 20 w 72"/>
                  <a:gd name="T49" fmla="*/ 65 h 116"/>
                  <a:gd name="T50" fmla="*/ 14 w 72"/>
                  <a:gd name="T51" fmla="*/ 41 h 116"/>
                  <a:gd name="T52" fmla="*/ 20 w 72"/>
                  <a:gd name="T53" fmla="*/ 19 h 116"/>
                  <a:gd name="T54" fmla="*/ 36 w 72"/>
                  <a:gd name="T55" fmla="*/ 12 h 116"/>
                  <a:gd name="T56" fmla="*/ 52 w 72"/>
                  <a:gd name="T57" fmla="*/ 19 h 116"/>
                  <a:gd name="T58" fmla="*/ 59 w 72"/>
                  <a:gd name="T59" fmla="*/ 42 h 116"/>
                  <a:gd name="T60" fmla="*/ 52 w 72"/>
                  <a:gd name="T61" fmla="*/ 65 h 1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72" h="116">
                    <a:moveTo>
                      <a:pt x="59" y="2"/>
                    </a:moveTo>
                    <a:cubicBezTo>
                      <a:pt x="59" y="12"/>
                      <a:pt x="59" y="12"/>
                      <a:pt x="59" y="12"/>
                    </a:cubicBezTo>
                    <a:cubicBezTo>
                      <a:pt x="53" y="4"/>
                      <a:pt x="45" y="0"/>
                      <a:pt x="35" y="0"/>
                    </a:cubicBezTo>
                    <a:cubicBezTo>
                      <a:pt x="28" y="0"/>
                      <a:pt x="22" y="2"/>
                      <a:pt x="16" y="6"/>
                    </a:cubicBezTo>
                    <a:cubicBezTo>
                      <a:pt x="11" y="9"/>
                      <a:pt x="7" y="14"/>
                      <a:pt x="4" y="21"/>
                    </a:cubicBezTo>
                    <a:cubicBezTo>
                      <a:pt x="1" y="27"/>
                      <a:pt x="0" y="34"/>
                      <a:pt x="0" y="42"/>
                    </a:cubicBezTo>
                    <a:cubicBezTo>
                      <a:pt x="0" y="53"/>
                      <a:pt x="3" y="63"/>
                      <a:pt x="9" y="71"/>
                    </a:cubicBezTo>
                    <a:cubicBezTo>
                      <a:pt x="15" y="79"/>
                      <a:pt x="24" y="83"/>
                      <a:pt x="35" y="83"/>
                    </a:cubicBezTo>
                    <a:cubicBezTo>
                      <a:pt x="44" y="83"/>
                      <a:pt x="51" y="80"/>
                      <a:pt x="58" y="73"/>
                    </a:cubicBezTo>
                    <a:cubicBezTo>
                      <a:pt x="58" y="82"/>
                      <a:pt x="57" y="88"/>
                      <a:pt x="57" y="90"/>
                    </a:cubicBezTo>
                    <a:cubicBezTo>
                      <a:pt x="55" y="95"/>
                      <a:pt x="53" y="99"/>
                      <a:pt x="49" y="101"/>
                    </a:cubicBezTo>
                    <a:cubicBezTo>
                      <a:pt x="46" y="104"/>
                      <a:pt x="41" y="105"/>
                      <a:pt x="35" y="105"/>
                    </a:cubicBezTo>
                    <a:cubicBezTo>
                      <a:pt x="29" y="105"/>
                      <a:pt x="24" y="104"/>
                      <a:pt x="21" y="101"/>
                    </a:cubicBezTo>
                    <a:cubicBezTo>
                      <a:pt x="18" y="99"/>
                      <a:pt x="17" y="96"/>
                      <a:pt x="16" y="92"/>
                    </a:cubicBezTo>
                    <a:cubicBezTo>
                      <a:pt x="3" y="90"/>
                      <a:pt x="3" y="90"/>
                      <a:pt x="3" y="90"/>
                    </a:cubicBezTo>
                    <a:cubicBezTo>
                      <a:pt x="2" y="99"/>
                      <a:pt x="5" y="105"/>
                      <a:pt x="11" y="110"/>
                    </a:cubicBezTo>
                    <a:cubicBezTo>
                      <a:pt x="17" y="114"/>
                      <a:pt x="25" y="116"/>
                      <a:pt x="35" y="116"/>
                    </a:cubicBezTo>
                    <a:cubicBezTo>
                      <a:pt x="43" y="116"/>
                      <a:pt x="50" y="115"/>
                      <a:pt x="55" y="112"/>
                    </a:cubicBezTo>
                    <a:cubicBezTo>
                      <a:pt x="61" y="109"/>
                      <a:pt x="65" y="104"/>
                      <a:pt x="68" y="99"/>
                    </a:cubicBezTo>
                    <a:cubicBezTo>
                      <a:pt x="70" y="94"/>
                      <a:pt x="72" y="85"/>
                      <a:pt x="72" y="72"/>
                    </a:cubicBezTo>
                    <a:cubicBezTo>
                      <a:pt x="72" y="2"/>
                      <a:pt x="72" y="2"/>
                      <a:pt x="72" y="2"/>
                    </a:cubicBezTo>
                    <a:lnTo>
                      <a:pt x="59" y="2"/>
                    </a:lnTo>
                    <a:close/>
                    <a:moveTo>
                      <a:pt x="52" y="65"/>
                    </a:moveTo>
                    <a:cubicBezTo>
                      <a:pt x="48" y="69"/>
                      <a:pt x="43" y="72"/>
                      <a:pt x="36" y="72"/>
                    </a:cubicBezTo>
                    <a:cubicBezTo>
                      <a:pt x="30" y="72"/>
                      <a:pt x="25" y="69"/>
                      <a:pt x="20" y="65"/>
                    </a:cubicBezTo>
                    <a:cubicBezTo>
                      <a:pt x="16" y="60"/>
                      <a:pt x="14" y="52"/>
                      <a:pt x="14" y="41"/>
                    </a:cubicBezTo>
                    <a:cubicBezTo>
                      <a:pt x="14" y="31"/>
                      <a:pt x="16" y="24"/>
                      <a:pt x="20" y="19"/>
                    </a:cubicBezTo>
                    <a:cubicBezTo>
                      <a:pt x="25" y="14"/>
                      <a:pt x="30" y="12"/>
                      <a:pt x="36" y="12"/>
                    </a:cubicBezTo>
                    <a:cubicBezTo>
                      <a:pt x="42" y="12"/>
                      <a:pt x="48" y="14"/>
                      <a:pt x="52" y="19"/>
                    </a:cubicBezTo>
                    <a:cubicBezTo>
                      <a:pt x="56" y="24"/>
                      <a:pt x="59" y="32"/>
                      <a:pt x="59" y="42"/>
                    </a:cubicBezTo>
                    <a:cubicBezTo>
                      <a:pt x="59" y="52"/>
                      <a:pt x="57" y="60"/>
                      <a:pt x="52" y="6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186" name="î$1ïḍè"/>
              <p:cNvSpPr/>
              <p:nvPr/>
            </p:nvSpPr>
            <p:spPr bwMode="auto">
              <a:xfrm>
                <a:off x="5231066" y="5675903"/>
                <a:ext cx="161925" cy="211138"/>
              </a:xfrm>
              <a:custGeom>
                <a:avLst/>
                <a:gdLst>
                  <a:gd name="T0" fmla="*/ 73 w 88"/>
                  <a:gd name="T1" fmla="*/ 65 h 114"/>
                  <a:gd name="T2" fmla="*/ 66 w 88"/>
                  <a:gd name="T3" fmla="*/ 93 h 114"/>
                  <a:gd name="T4" fmla="*/ 43 w 88"/>
                  <a:gd name="T5" fmla="*/ 101 h 114"/>
                  <a:gd name="T6" fmla="*/ 27 w 88"/>
                  <a:gd name="T7" fmla="*/ 97 h 114"/>
                  <a:gd name="T8" fmla="*/ 17 w 88"/>
                  <a:gd name="T9" fmla="*/ 86 h 114"/>
                  <a:gd name="T10" fmla="*/ 15 w 88"/>
                  <a:gd name="T11" fmla="*/ 65 h 114"/>
                  <a:gd name="T12" fmla="*/ 15 w 88"/>
                  <a:gd name="T13" fmla="*/ 0 h 114"/>
                  <a:gd name="T14" fmla="*/ 0 w 88"/>
                  <a:gd name="T15" fmla="*/ 0 h 114"/>
                  <a:gd name="T16" fmla="*/ 0 w 88"/>
                  <a:gd name="T17" fmla="*/ 65 h 114"/>
                  <a:gd name="T18" fmla="*/ 4 w 88"/>
                  <a:gd name="T19" fmla="*/ 93 h 114"/>
                  <a:gd name="T20" fmla="*/ 18 w 88"/>
                  <a:gd name="T21" fmla="*/ 109 h 114"/>
                  <a:gd name="T22" fmla="*/ 44 w 88"/>
                  <a:gd name="T23" fmla="*/ 114 h 114"/>
                  <a:gd name="T24" fmla="*/ 70 w 88"/>
                  <a:gd name="T25" fmla="*/ 108 h 114"/>
                  <a:gd name="T26" fmla="*/ 84 w 88"/>
                  <a:gd name="T27" fmla="*/ 92 h 114"/>
                  <a:gd name="T28" fmla="*/ 88 w 88"/>
                  <a:gd name="T29" fmla="*/ 65 h 114"/>
                  <a:gd name="T30" fmla="*/ 88 w 88"/>
                  <a:gd name="T31" fmla="*/ 0 h 114"/>
                  <a:gd name="T32" fmla="*/ 73 w 88"/>
                  <a:gd name="T33" fmla="*/ 0 h 114"/>
                  <a:gd name="T34" fmla="*/ 73 w 88"/>
                  <a:gd name="T35" fmla="*/ 65 h 1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88" h="114">
                    <a:moveTo>
                      <a:pt x="73" y="65"/>
                    </a:moveTo>
                    <a:cubicBezTo>
                      <a:pt x="73" y="79"/>
                      <a:pt x="71" y="88"/>
                      <a:pt x="66" y="93"/>
                    </a:cubicBezTo>
                    <a:cubicBezTo>
                      <a:pt x="62" y="98"/>
                      <a:pt x="54" y="101"/>
                      <a:pt x="43" y="101"/>
                    </a:cubicBezTo>
                    <a:cubicBezTo>
                      <a:pt x="37" y="101"/>
                      <a:pt x="31" y="100"/>
                      <a:pt x="27" y="97"/>
                    </a:cubicBezTo>
                    <a:cubicBezTo>
                      <a:pt x="22" y="95"/>
                      <a:pt x="19" y="91"/>
                      <a:pt x="17" y="86"/>
                    </a:cubicBezTo>
                    <a:cubicBezTo>
                      <a:pt x="16" y="82"/>
                      <a:pt x="15" y="75"/>
                      <a:pt x="15" y="65"/>
                    </a:cubicBezTo>
                    <a:cubicBezTo>
                      <a:pt x="15" y="0"/>
                      <a:pt x="15" y="0"/>
                      <a:pt x="15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65"/>
                      <a:pt x="0" y="65"/>
                      <a:pt x="0" y="65"/>
                    </a:cubicBezTo>
                    <a:cubicBezTo>
                      <a:pt x="0" y="77"/>
                      <a:pt x="1" y="86"/>
                      <a:pt x="4" y="93"/>
                    </a:cubicBezTo>
                    <a:cubicBezTo>
                      <a:pt x="7" y="100"/>
                      <a:pt x="12" y="105"/>
                      <a:pt x="18" y="109"/>
                    </a:cubicBezTo>
                    <a:cubicBezTo>
                      <a:pt x="25" y="112"/>
                      <a:pt x="34" y="114"/>
                      <a:pt x="44" y="114"/>
                    </a:cubicBezTo>
                    <a:cubicBezTo>
                      <a:pt x="55" y="114"/>
                      <a:pt x="64" y="112"/>
                      <a:pt x="70" y="108"/>
                    </a:cubicBezTo>
                    <a:cubicBezTo>
                      <a:pt x="77" y="104"/>
                      <a:pt x="82" y="98"/>
                      <a:pt x="84" y="92"/>
                    </a:cubicBezTo>
                    <a:cubicBezTo>
                      <a:pt x="87" y="85"/>
                      <a:pt x="88" y="76"/>
                      <a:pt x="88" y="65"/>
                    </a:cubicBezTo>
                    <a:cubicBezTo>
                      <a:pt x="88" y="0"/>
                      <a:pt x="88" y="0"/>
                      <a:pt x="88" y="0"/>
                    </a:cubicBezTo>
                    <a:cubicBezTo>
                      <a:pt x="73" y="0"/>
                      <a:pt x="73" y="0"/>
                      <a:pt x="73" y="0"/>
                    </a:cubicBezTo>
                    <a:lnTo>
                      <a:pt x="73" y="6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187" name="ïṡļîḑê"/>
              <p:cNvSpPr/>
              <p:nvPr/>
            </p:nvSpPr>
            <p:spPr bwMode="auto">
              <a:xfrm>
                <a:off x="5435853" y="5729878"/>
                <a:ext cx="120650" cy="152400"/>
              </a:xfrm>
              <a:custGeom>
                <a:avLst/>
                <a:gdLst>
                  <a:gd name="T0" fmla="*/ 61 w 66"/>
                  <a:gd name="T1" fmla="*/ 10 h 83"/>
                  <a:gd name="T2" fmla="*/ 52 w 66"/>
                  <a:gd name="T3" fmla="*/ 3 h 83"/>
                  <a:gd name="T4" fmla="*/ 38 w 66"/>
                  <a:gd name="T5" fmla="*/ 0 h 83"/>
                  <a:gd name="T6" fmla="*/ 12 w 66"/>
                  <a:gd name="T7" fmla="*/ 14 h 83"/>
                  <a:gd name="T8" fmla="*/ 12 w 66"/>
                  <a:gd name="T9" fmla="*/ 2 h 83"/>
                  <a:gd name="T10" fmla="*/ 0 w 66"/>
                  <a:gd name="T11" fmla="*/ 2 h 83"/>
                  <a:gd name="T12" fmla="*/ 0 w 66"/>
                  <a:gd name="T13" fmla="*/ 83 h 83"/>
                  <a:gd name="T14" fmla="*/ 14 w 66"/>
                  <a:gd name="T15" fmla="*/ 83 h 83"/>
                  <a:gd name="T16" fmla="*/ 14 w 66"/>
                  <a:gd name="T17" fmla="*/ 39 h 83"/>
                  <a:gd name="T18" fmla="*/ 20 w 66"/>
                  <a:gd name="T19" fmla="*/ 18 h 83"/>
                  <a:gd name="T20" fmla="*/ 35 w 66"/>
                  <a:gd name="T21" fmla="*/ 12 h 83"/>
                  <a:gd name="T22" fmla="*/ 45 w 66"/>
                  <a:gd name="T23" fmla="*/ 15 h 83"/>
                  <a:gd name="T24" fmla="*/ 51 w 66"/>
                  <a:gd name="T25" fmla="*/ 21 h 83"/>
                  <a:gd name="T26" fmla="*/ 52 w 66"/>
                  <a:gd name="T27" fmla="*/ 34 h 83"/>
                  <a:gd name="T28" fmla="*/ 52 w 66"/>
                  <a:gd name="T29" fmla="*/ 83 h 83"/>
                  <a:gd name="T30" fmla="*/ 66 w 66"/>
                  <a:gd name="T31" fmla="*/ 83 h 83"/>
                  <a:gd name="T32" fmla="*/ 66 w 66"/>
                  <a:gd name="T33" fmla="*/ 33 h 83"/>
                  <a:gd name="T34" fmla="*/ 65 w 66"/>
                  <a:gd name="T35" fmla="*/ 20 h 83"/>
                  <a:gd name="T36" fmla="*/ 61 w 66"/>
                  <a:gd name="T37" fmla="*/ 10 h 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66" h="83">
                    <a:moveTo>
                      <a:pt x="61" y="10"/>
                    </a:moveTo>
                    <a:cubicBezTo>
                      <a:pt x="59" y="7"/>
                      <a:pt x="56" y="5"/>
                      <a:pt x="52" y="3"/>
                    </a:cubicBezTo>
                    <a:cubicBezTo>
                      <a:pt x="48" y="1"/>
                      <a:pt x="43" y="0"/>
                      <a:pt x="38" y="0"/>
                    </a:cubicBezTo>
                    <a:cubicBezTo>
                      <a:pt x="27" y="0"/>
                      <a:pt x="18" y="5"/>
                      <a:pt x="12" y="14"/>
                    </a:cubicBezTo>
                    <a:cubicBezTo>
                      <a:pt x="12" y="2"/>
                      <a:pt x="12" y="2"/>
                      <a:pt x="12" y="2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83"/>
                      <a:pt x="0" y="83"/>
                      <a:pt x="0" y="83"/>
                    </a:cubicBezTo>
                    <a:cubicBezTo>
                      <a:pt x="14" y="83"/>
                      <a:pt x="14" y="83"/>
                      <a:pt x="14" y="83"/>
                    </a:cubicBezTo>
                    <a:cubicBezTo>
                      <a:pt x="14" y="39"/>
                      <a:pt x="14" y="39"/>
                      <a:pt x="14" y="39"/>
                    </a:cubicBezTo>
                    <a:cubicBezTo>
                      <a:pt x="14" y="29"/>
                      <a:pt x="16" y="21"/>
                      <a:pt x="20" y="18"/>
                    </a:cubicBezTo>
                    <a:cubicBezTo>
                      <a:pt x="25" y="14"/>
                      <a:pt x="30" y="12"/>
                      <a:pt x="35" y="12"/>
                    </a:cubicBezTo>
                    <a:cubicBezTo>
                      <a:pt x="39" y="12"/>
                      <a:pt x="42" y="13"/>
                      <a:pt x="45" y="15"/>
                    </a:cubicBezTo>
                    <a:cubicBezTo>
                      <a:pt x="48" y="16"/>
                      <a:pt x="50" y="19"/>
                      <a:pt x="51" y="21"/>
                    </a:cubicBezTo>
                    <a:cubicBezTo>
                      <a:pt x="52" y="24"/>
                      <a:pt x="52" y="28"/>
                      <a:pt x="52" y="34"/>
                    </a:cubicBezTo>
                    <a:cubicBezTo>
                      <a:pt x="52" y="83"/>
                      <a:pt x="52" y="83"/>
                      <a:pt x="52" y="83"/>
                    </a:cubicBezTo>
                    <a:cubicBezTo>
                      <a:pt x="66" y="83"/>
                      <a:pt x="66" y="83"/>
                      <a:pt x="66" y="83"/>
                    </a:cubicBezTo>
                    <a:cubicBezTo>
                      <a:pt x="66" y="33"/>
                      <a:pt x="66" y="33"/>
                      <a:pt x="66" y="33"/>
                    </a:cubicBezTo>
                    <a:cubicBezTo>
                      <a:pt x="66" y="27"/>
                      <a:pt x="66" y="23"/>
                      <a:pt x="65" y="20"/>
                    </a:cubicBezTo>
                    <a:cubicBezTo>
                      <a:pt x="65" y="16"/>
                      <a:pt x="63" y="13"/>
                      <a:pt x="61" y="1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</p:grpSp>
      </p:grpSp>
      <p:sp>
        <p:nvSpPr>
          <p:cNvPr id="2" name="矩形 1"/>
          <p:cNvSpPr/>
          <p:nvPr userDrawn="1">
            <p:custDataLst>
              <p:tags r:id="rId4"/>
            </p:custDataLst>
          </p:nvPr>
        </p:nvSpPr>
        <p:spPr>
          <a:xfrm>
            <a:off x="-107950" y="6624955"/>
            <a:ext cx="9421495" cy="342265"/>
          </a:xfrm>
          <a:prstGeom prst="rect">
            <a:avLst/>
          </a:prstGeom>
          <a:solidFill>
            <a:srgbClr val="C14635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400" b="1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5" name="文本框 14"/>
          <p:cNvSpPr txBox="1"/>
          <p:nvPr userDrawn="1">
            <p:custDataLst>
              <p:tags r:id="rId5"/>
            </p:custDataLst>
          </p:nvPr>
        </p:nvSpPr>
        <p:spPr>
          <a:xfrm>
            <a:off x="3503613" y="6657658"/>
            <a:ext cx="2369185" cy="30670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1400" b="1">
                <a:solidFill>
                  <a:schemeClr val="bg1">
                    <a:lumMod val="9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第一讲</a:t>
            </a:r>
            <a:r>
              <a:rPr lang="en-US" altLang="zh-CN" sz="1400" b="1">
                <a:solidFill>
                  <a:schemeClr val="bg1">
                    <a:lumMod val="9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 </a:t>
            </a:r>
            <a:r>
              <a:rPr lang="zh-CN" altLang="en-US" sz="1400" b="1">
                <a:solidFill>
                  <a:schemeClr val="bg1">
                    <a:lumMod val="9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社会实践概述与选题</a:t>
            </a:r>
            <a:endParaRPr lang="zh-CN" altLang="en-US" sz="1400" b="1">
              <a:solidFill>
                <a:schemeClr val="bg1">
                  <a:lumMod val="9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</p:txBody>
      </p:sp>
    </p:spTree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9504" name="标题 1"/>
          <p:cNvSpPr>
            <a:spLocks noGrp="1"/>
          </p:cNvSpPr>
          <p:nvPr>
            <p:ph type="title"/>
          </p:nvPr>
        </p:nvSpPr>
        <p:spPr>
          <a:xfrm>
            <a:off x="629841" y="365125"/>
            <a:ext cx="7886700" cy="1325563"/>
          </a:xfrm>
        </p:spPr>
        <p:txBody>
          <a:bodyPr/>
          <a:lstStyle/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1049505" name="文本占位符 2"/>
          <p:cNvSpPr>
            <a:spLocks noGrp="1"/>
          </p:cNvSpPr>
          <p:nvPr>
            <p:ph type="body" idx="1"/>
          </p:nvPr>
        </p:nvSpPr>
        <p:spPr>
          <a:xfrm>
            <a:off x="629841" y="1681163"/>
            <a:ext cx="3868340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</p:txBody>
      </p:sp>
      <p:sp>
        <p:nvSpPr>
          <p:cNvPr id="1049506" name="内容占位符 3"/>
          <p:cNvSpPr>
            <a:spLocks noGrp="1"/>
          </p:cNvSpPr>
          <p:nvPr>
            <p:ph sz="half" idx="2"/>
          </p:nvPr>
        </p:nvSpPr>
        <p:spPr>
          <a:xfrm>
            <a:off x="629841" y="2505075"/>
            <a:ext cx="3868340" cy="368458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zh-CN" altLang="en-US"/>
          </a:p>
        </p:txBody>
      </p:sp>
      <p:sp>
        <p:nvSpPr>
          <p:cNvPr id="1049507" name="文本占位符 4"/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391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</p:txBody>
      </p:sp>
      <p:sp>
        <p:nvSpPr>
          <p:cNvPr id="1049508" name="内容占位符 5"/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391" cy="368458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zh-CN" altLang="en-US"/>
          </a:p>
        </p:txBody>
      </p:sp>
      <p:sp>
        <p:nvSpPr>
          <p:cNvPr id="1049509" name="日期占位符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97B5FA-0921-464F-AAE1-844C04324D75}" type="datetimeFigureOut">
              <a:rPr lang="zh-CN" altLang="en-US" smtClean="0"/>
            </a:fld>
            <a:endParaRPr lang="zh-CN" altLang="en-US"/>
          </a:p>
        </p:txBody>
      </p:sp>
      <p:sp>
        <p:nvSpPr>
          <p:cNvPr id="1049510" name="页脚占位符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1049511" name="灯片编号占位符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5CE74E-AB26-4998-AD42-012C4C1AD076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937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104937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97B5FA-0921-464F-AAE1-844C04324D75}" type="datetimeFigureOut">
              <a:rPr lang="zh-CN" altLang="en-US" smtClean="0"/>
            </a:fld>
            <a:endParaRPr lang="zh-CN" altLang="en-US"/>
          </a:p>
        </p:txBody>
      </p:sp>
      <p:sp>
        <p:nvSpPr>
          <p:cNvPr id="104937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104937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5CE74E-AB26-4998-AD42-012C4C1AD076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97203" name="PA-图片 14"/>
          <p:cNvPicPr>
            <a:picLocks noChangeAspect="1"/>
          </p:cNvPicPr>
          <p:nvPr>
            <p:custDataLst>
              <p:tags r:id="rId2"/>
            </p:custDataLst>
          </p:nvPr>
        </p:nvPicPr>
        <p:blipFill rotWithShape="1">
          <a:blip r:embed="rId3"/>
          <a:srcRect/>
          <a:stretch>
            <a:fillRect/>
          </a:stretch>
        </p:blipFill>
        <p:spPr>
          <a:xfrm>
            <a:off x="0" y="1"/>
            <a:ext cx="9144000" cy="3429001"/>
          </a:xfrm>
          <a:custGeom>
            <a:avLst/>
            <a:gdLst>
              <a:gd name="connsiteX0" fmla="*/ 0 w 12192000"/>
              <a:gd name="connsiteY0" fmla="*/ 0 h 3429001"/>
              <a:gd name="connsiteX1" fmla="*/ 12192000 w 12192000"/>
              <a:gd name="connsiteY1" fmla="*/ 0 h 3429001"/>
              <a:gd name="connsiteX2" fmla="*/ 12192000 w 12192000"/>
              <a:gd name="connsiteY2" fmla="*/ 2925589 h 3429001"/>
              <a:gd name="connsiteX3" fmla="*/ 12119571 w 12192000"/>
              <a:gd name="connsiteY3" fmla="*/ 2939984 h 3429001"/>
              <a:gd name="connsiteX4" fmla="*/ 6096001 w 12192000"/>
              <a:gd name="connsiteY4" fmla="*/ 3429001 h 3429001"/>
              <a:gd name="connsiteX5" fmla="*/ 72430 w 12192000"/>
              <a:gd name="connsiteY5" fmla="*/ 2939984 h 3429001"/>
              <a:gd name="connsiteX6" fmla="*/ 0 w 12192000"/>
              <a:gd name="connsiteY6" fmla="*/ 2925589 h 3429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3429001">
                <a:moveTo>
                  <a:pt x="0" y="0"/>
                </a:moveTo>
                <a:lnTo>
                  <a:pt x="12192000" y="0"/>
                </a:lnTo>
                <a:lnTo>
                  <a:pt x="12192000" y="2925589"/>
                </a:lnTo>
                <a:lnTo>
                  <a:pt x="12119571" y="2939984"/>
                </a:lnTo>
                <a:cubicBezTo>
                  <a:pt x="10400109" y="3248724"/>
                  <a:pt x="8327268" y="3429001"/>
                  <a:pt x="6096001" y="3429001"/>
                </a:cubicBezTo>
                <a:cubicBezTo>
                  <a:pt x="3864735" y="3429001"/>
                  <a:pt x="1791894" y="3248724"/>
                  <a:pt x="72430" y="2939984"/>
                </a:cubicBezTo>
                <a:lnTo>
                  <a:pt x="0" y="2925589"/>
                </a:lnTo>
                <a:close/>
              </a:path>
            </a:pathLst>
          </a:custGeom>
        </p:spPr>
      </p:pic>
      <p:sp>
        <p:nvSpPr>
          <p:cNvPr id="1049512" name="PA-椭圆 7"/>
          <p:cNvSpPr/>
          <p:nvPr>
            <p:custDataLst>
              <p:tags r:id="rId4"/>
            </p:custDataLst>
          </p:nvPr>
        </p:nvSpPr>
        <p:spPr>
          <a:xfrm>
            <a:off x="-3508130" y="-2297723"/>
            <a:ext cx="16160261" cy="5726723"/>
          </a:xfrm>
          <a:prstGeom prst="ellipse">
            <a:avLst/>
          </a:prstGeom>
          <a:gradFill flip="none" rotWithShape="1">
            <a:gsLst>
              <a:gs pos="0">
                <a:srgbClr val="A22B17">
                  <a:lumMod val="94000"/>
                  <a:lumOff val="6000"/>
                </a:srgbClr>
              </a:gs>
              <a:gs pos="100000">
                <a:srgbClr val="A22B17">
                  <a:alpha val="72000"/>
                  <a:lumMod val="85000"/>
                  <a:lumOff val="15000"/>
                </a:srgb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zh-CN" altLang="en-US" sz="1350" dirty="0"/>
          </a:p>
        </p:txBody>
      </p:sp>
      <p:grpSp>
        <p:nvGrpSpPr>
          <p:cNvPr id="198" name="组合 1"/>
          <p:cNvGrpSpPr/>
          <p:nvPr userDrawn="1"/>
        </p:nvGrpSpPr>
        <p:grpSpPr>
          <a:xfrm>
            <a:off x="4331279" y="636936"/>
            <a:ext cx="481443" cy="642498"/>
            <a:chOff x="5775038" y="636936"/>
            <a:chExt cx="641924" cy="642498"/>
          </a:xfrm>
        </p:grpSpPr>
        <p:grpSp>
          <p:nvGrpSpPr>
            <p:cNvPr id="199" name="组合 236"/>
            <p:cNvGrpSpPr/>
            <p:nvPr/>
          </p:nvGrpSpPr>
          <p:grpSpPr>
            <a:xfrm>
              <a:off x="5775038" y="636936"/>
              <a:ext cx="641924" cy="642498"/>
              <a:chOff x="1560409" y="2069897"/>
              <a:chExt cx="1776413" cy="1778000"/>
            </a:xfrm>
          </p:grpSpPr>
          <p:sp>
            <p:nvSpPr>
              <p:cNvPr id="1049513" name="îS1îḋé"/>
              <p:cNvSpPr/>
              <p:nvPr/>
            </p:nvSpPr>
            <p:spPr bwMode="auto">
              <a:xfrm>
                <a:off x="1560409" y="2069897"/>
                <a:ext cx="1776413" cy="1778000"/>
              </a:xfrm>
              <a:prstGeom prst="ellipse">
                <a:avLst/>
              </a:prstGeom>
              <a:noFill/>
              <a:ln w="15875" cap="flat">
                <a:solidFill>
                  <a:srgbClr val="F2C68E"/>
                </a:solidFill>
                <a:prstDash val="solid"/>
                <a:miter lim="800000"/>
              </a:ln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1049514" name="îṣḷïďé"/>
              <p:cNvSpPr/>
              <p:nvPr/>
            </p:nvSpPr>
            <p:spPr bwMode="auto">
              <a:xfrm>
                <a:off x="1779484" y="2288972"/>
                <a:ext cx="1336675" cy="1338263"/>
              </a:xfrm>
              <a:prstGeom prst="ellipse">
                <a:avLst/>
              </a:prstGeom>
              <a:noFill/>
              <a:ln w="9525" cap="flat">
                <a:solidFill>
                  <a:srgbClr val="F2C68E"/>
                </a:solidFill>
                <a:prstDash val="solid"/>
                <a:miter lim="800000"/>
              </a:ln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</p:grpSp>
        <p:grpSp>
          <p:nvGrpSpPr>
            <p:cNvPr id="200" name="组合 237"/>
            <p:cNvGrpSpPr/>
            <p:nvPr/>
          </p:nvGrpSpPr>
          <p:grpSpPr>
            <a:xfrm>
              <a:off x="5804581" y="657875"/>
              <a:ext cx="582837" cy="600621"/>
              <a:chOff x="1641372" y="4491628"/>
              <a:chExt cx="1612900" cy="1662113"/>
            </a:xfrm>
            <a:solidFill>
              <a:srgbClr val="F2C68E"/>
            </a:solidFill>
          </p:grpSpPr>
          <p:sp>
            <p:nvSpPr>
              <p:cNvPr id="1049515" name="ïś1íďê"/>
              <p:cNvSpPr/>
              <p:nvPr/>
            </p:nvSpPr>
            <p:spPr bwMode="auto">
              <a:xfrm>
                <a:off x="2889147" y="4701178"/>
                <a:ext cx="153988" cy="138113"/>
              </a:xfrm>
              <a:custGeom>
                <a:avLst/>
                <a:gdLst>
                  <a:gd name="T0" fmla="*/ 62 w 83"/>
                  <a:gd name="T1" fmla="*/ 8 h 75"/>
                  <a:gd name="T2" fmla="*/ 53 w 83"/>
                  <a:gd name="T3" fmla="*/ 10 h 75"/>
                  <a:gd name="T4" fmla="*/ 57 w 83"/>
                  <a:gd name="T5" fmla="*/ 0 h 75"/>
                  <a:gd name="T6" fmla="*/ 44 w 83"/>
                  <a:gd name="T7" fmla="*/ 21 h 75"/>
                  <a:gd name="T8" fmla="*/ 58 w 83"/>
                  <a:gd name="T9" fmla="*/ 11 h 75"/>
                  <a:gd name="T10" fmla="*/ 54 w 83"/>
                  <a:gd name="T11" fmla="*/ 18 h 75"/>
                  <a:gd name="T12" fmla="*/ 28 w 83"/>
                  <a:gd name="T13" fmla="*/ 18 h 75"/>
                  <a:gd name="T14" fmla="*/ 19 w 83"/>
                  <a:gd name="T15" fmla="*/ 17 h 75"/>
                  <a:gd name="T16" fmla="*/ 25 w 83"/>
                  <a:gd name="T17" fmla="*/ 12 h 75"/>
                  <a:gd name="T18" fmla="*/ 1 w 83"/>
                  <a:gd name="T19" fmla="*/ 30 h 75"/>
                  <a:gd name="T20" fmla="*/ 13 w 83"/>
                  <a:gd name="T21" fmla="*/ 24 h 75"/>
                  <a:gd name="T22" fmla="*/ 36 w 83"/>
                  <a:gd name="T23" fmla="*/ 28 h 75"/>
                  <a:gd name="T24" fmla="*/ 22 w 83"/>
                  <a:gd name="T25" fmla="*/ 35 h 75"/>
                  <a:gd name="T26" fmla="*/ 45 w 83"/>
                  <a:gd name="T27" fmla="*/ 41 h 75"/>
                  <a:gd name="T28" fmla="*/ 42 w 83"/>
                  <a:gd name="T29" fmla="*/ 41 h 75"/>
                  <a:gd name="T30" fmla="*/ 35 w 83"/>
                  <a:gd name="T31" fmla="*/ 40 h 75"/>
                  <a:gd name="T32" fmla="*/ 37 w 83"/>
                  <a:gd name="T33" fmla="*/ 45 h 75"/>
                  <a:gd name="T34" fmla="*/ 12 w 83"/>
                  <a:gd name="T35" fmla="*/ 34 h 75"/>
                  <a:gd name="T36" fmla="*/ 9 w 83"/>
                  <a:gd name="T37" fmla="*/ 35 h 75"/>
                  <a:gd name="T38" fmla="*/ 20 w 83"/>
                  <a:gd name="T39" fmla="*/ 64 h 75"/>
                  <a:gd name="T40" fmla="*/ 0 w 83"/>
                  <a:gd name="T41" fmla="*/ 57 h 75"/>
                  <a:gd name="T42" fmla="*/ 35 w 83"/>
                  <a:gd name="T43" fmla="*/ 58 h 75"/>
                  <a:gd name="T44" fmla="*/ 46 w 83"/>
                  <a:gd name="T45" fmla="*/ 57 h 75"/>
                  <a:gd name="T46" fmla="*/ 42 w 83"/>
                  <a:gd name="T47" fmla="*/ 48 h 75"/>
                  <a:gd name="T48" fmla="*/ 62 w 83"/>
                  <a:gd name="T49" fmla="*/ 57 h 75"/>
                  <a:gd name="T50" fmla="*/ 61 w 83"/>
                  <a:gd name="T51" fmla="*/ 35 h 75"/>
                  <a:gd name="T52" fmla="*/ 62 w 83"/>
                  <a:gd name="T53" fmla="*/ 34 h 75"/>
                  <a:gd name="T54" fmla="*/ 66 w 83"/>
                  <a:gd name="T55" fmla="*/ 16 h 75"/>
                  <a:gd name="T56" fmla="*/ 63 w 83"/>
                  <a:gd name="T57" fmla="*/ 44 h 75"/>
                  <a:gd name="T58" fmla="*/ 54 w 83"/>
                  <a:gd name="T59" fmla="*/ 32 h 75"/>
                  <a:gd name="T60" fmla="*/ 60 w 83"/>
                  <a:gd name="T61" fmla="*/ 27 h 75"/>
                  <a:gd name="T62" fmla="*/ 67 w 83"/>
                  <a:gd name="T63" fmla="*/ 18 h 75"/>
                  <a:gd name="T64" fmla="*/ 77 w 83"/>
                  <a:gd name="T65" fmla="*/ 23 h 75"/>
                  <a:gd name="T66" fmla="*/ 60 w 83"/>
                  <a:gd name="T67" fmla="*/ 27 h 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83" h="75">
                    <a:moveTo>
                      <a:pt x="66" y="16"/>
                    </a:moveTo>
                    <a:cubicBezTo>
                      <a:pt x="65" y="13"/>
                      <a:pt x="63" y="11"/>
                      <a:pt x="62" y="8"/>
                    </a:cubicBezTo>
                    <a:cubicBezTo>
                      <a:pt x="59" y="9"/>
                      <a:pt x="57" y="9"/>
                      <a:pt x="54" y="10"/>
                    </a:cubicBezTo>
                    <a:cubicBezTo>
                      <a:pt x="54" y="10"/>
                      <a:pt x="53" y="10"/>
                      <a:pt x="53" y="10"/>
                    </a:cubicBezTo>
                    <a:cubicBezTo>
                      <a:pt x="54" y="7"/>
                      <a:pt x="57" y="6"/>
                      <a:pt x="59" y="3"/>
                    </a:cubicBezTo>
                    <a:cubicBezTo>
                      <a:pt x="58" y="2"/>
                      <a:pt x="58" y="1"/>
                      <a:pt x="57" y="0"/>
                    </a:cubicBezTo>
                    <a:cubicBezTo>
                      <a:pt x="48" y="1"/>
                      <a:pt x="37" y="9"/>
                      <a:pt x="42" y="19"/>
                    </a:cubicBezTo>
                    <a:cubicBezTo>
                      <a:pt x="42" y="19"/>
                      <a:pt x="43" y="20"/>
                      <a:pt x="44" y="21"/>
                    </a:cubicBezTo>
                    <a:cubicBezTo>
                      <a:pt x="47" y="19"/>
                      <a:pt x="48" y="15"/>
                      <a:pt x="51" y="14"/>
                    </a:cubicBezTo>
                    <a:cubicBezTo>
                      <a:pt x="53" y="13"/>
                      <a:pt x="55" y="13"/>
                      <a:pt x="58" y="11"/>
                    </a:cubicBezTo>
                    <a:cubicBezTo>
                      <a:pt x="58" y="11"/>
                      <a:pt x="59" y="11"/>
                      <a:pt x="59" y="11"/>
                    </a:cubicBezTo>
                    <a:cubicBezTo>
                      <a:pt x="57" y="14"/>
                      <a:pt x="56" y="16"/>
                      <a:pt x="54" y="18"/>
                    </a:cubicBezTo>
                    <a:cubicBezTo>
                      <a:pt x="54" y="21"/>
                      <a:pt x="55" y="24"/>
                      <a:pt x="54" y="27"/>
                    </a:cubicBezTo>
                    <a:cubicBezTo>
                      <a:pt x="54" y="27"/>
                      <a:pt x="30" y="18"/>
                      <a:pt x="28" y="18"/>
                    </a:cubicBezTo>
                    <a:cubicBezTo>
                      <a:pt x="25" y="17"/>
                      <a:pt x="22" y="17"/>
                      <a:pt x="20" y="17"/>
                    </a:cubicBezTo>
                    <a:cubicBezTo>
                      <a:pt x="19" y="17"/>
                      <a:pt x="19" y="17"/>
                      <a:pt x="19" y="17"/>
                    </a:cubicBezTo>
                    <a:cubicBezTo>
                      <a:pt x="22" y="15"/>
                      <a:pt x="23" y="15"/>
                      <a:pt x="25" y="13"/>
                    </a:cubicBezTo>
                    <a:cubicBezTo>
                      <a:pt x="25" y="12"/>
                      <a:pt x="25" y="12"/>
                      <a:pt x="25" y="12"/>
                    </a:cubicBezTo>
                    <a:cubicBezTo>
                      <a:pt x="18" y="12"/>
                      <a:pt x="11" y="16"/>
                      <a:pt x="4" y="18"/>
                    </a:cubicBezTo>
                    <a:cubicBezTo>
                      <a:pt x="0" y="22"/>
                      <a:pt x="0" y="25"/>
                      <a:pt x="1" y="30"/>
                    </a:cubicBezTo>
                    <a:cubicBezTo>
                      <a:pt x="3" y="31"/>
                      <a:pt x="3" y="31"/>
                      <a:pt x="3" y="31"/>
                    </a:cubicBezTo>
                    <a:cubicBezTo>
                      <a:pt x="6" y="29"/>
                      <a:pt x="9" y="26"/>
                      <a:pt x="13" y="24"/>
                    </a:cubicBezTo>
                    <a:cubicBezTo>
                      <a:pt x="19" y="20"/>
                      <a:pt x="30" y="22"/>
                      <a:pt x="37" y="27"/>
                    </a:cubicBezTo>
                    <a:cubicBezTo>
                      <a:pt x="37" y="28"/>
                      <a:pt x="36" y="28"/>
                      <a:pt x="36" y="28"/>
                    </a:cubicBezTo>
                    <a:cubicBezTo>
                      <a:pt x="31" y="29"/>
                      <a:pt x="28" y="28"/>
                      <a:pt x="22" y="32"/>
                    </a:cubicBezTo>
                    <a:cubicBezTo>
                      <a:pt x="22" y="33"/>
                      <a:pt x="22" y="34"/>
                      <a:pt x="22" y="35"/>
                    </a:cubicBezTo>
                    <a:cubicBezTo>
                      <a:pt x="22" y="37"/>
                      <a:pt x="22" y="37"/>
                      <a:pt x="24" y="39"/>
                    </a:cubicBezTo>
                    <a:cubicBezTo>
                      <a:pt x="31" y="37"/>
                      <a:pt x="37" y="36"/>
                      <a:pt x="45" y="41"/>
                    </a:cubicBezTo>
                    <a:cubicBezTo>
                      <a:pt x="44" y="41"/>
                      <a:pt x="44" y="41"/>
                      <a:pt x="44" y="41"/>
                    </a:cubicBezTo>
                    <a:cubicBezTo>
                      <a:pt x="43" y="41"/>
                      <a:pt x="42" y="41"/>
                      <a:pt x="42" y="41"/>
                    </a:cubicBezTo>
                    <a:cubicBezTo>
                      <a:pt x="41" y="40"/>
                      <a:pt x="40" y="39"/>
                      <a:pt x="39" y="39"/>
                    </a:cubicBezTo>
                    <a:cubicBezTo>
                      <a:pt x="37" y="41"/>
                      <a:pt x="37" y="41"/>
                      <a:pt x="35" y="40"/>
                    </a:cubicBezTo>
                    <a:cubicBezTo>
                      <a:pt x="35" y="40"/>
                      <a:pt x="34" y="41"/>
                      <a:pt x="34" y="41"/>
                    </a:cubicBezTo>
                    <a:cubicBezTo>
                      <a:pt x="35" y="43"/>
                      <a:pt x="35" y="43"/>
                      <a:pt x="37" y="45"/>
                    </a:cubicBezTo>
                    <a:cubicBezTo>
                      <a:pt x="36" y="46"/>
                      <a:pt x="36" y="47"/>
                      <a:pt x="35" y="48"/>
                    </a:cubicBezTo>
                    <a:cubicBezTo>
                      <a:pt x="27" y="44"/>
                      <a:pt x="20" y="40"/>
                      <a:pt x="12" y="34"/>
                    </a:cubicBezTo>
                    <a:cubicBezTo>
                      <a:pt x="11" y="34"/>
                      <a:pt x="11" y="34"/>
                      <a:pt x="10" y="34"/>
                    </a:cubicBezTo>
                    <a:cubicBezTo>
                      <a:pt x="9" y="34"/>
                      <a:pt x="9" y="35"/>
                      <a:pt x="9" y="35"/>
                    </a:cubicBezTo>
                    <a:cubicBezTo>
                      <a:pt x="11" y="55"/>
                      <a:pt x="20" y="44"/>
                      <a:pt x="31" y="54"/>
                    </a:cubicBezTo>
                    <a:cubicBezTo>
                      <a:pt x="27" y="58"/>
                      <a:pt x="23" y="61"/>
                      <a:pt x="20" y="64"/>
                    </a:cubicBezTo>
                    <a:cubicBezTo>
                      <a:pt x="15" y="63"/>
                      <a:pt x="6" y="55"/>
                      <a:pt x="1" y="56"/>
                    </a:cubicBezTo>
                    <a:cubicBezTo>
                      <a:pt x="1" y="56"/>
                      <a:pt x="1" y="56"/>
                      <a:pt x="0" y="57"/>
                    </a:cubicBezTo>
                    <a:cubicBezTo>
                      <a:pt x="2" y="62"/>
                      <a:pt x="7" y="67"/>
                      <a:pt x="9" y="72"/>
                    </a:cubicBezTo>
                    <a:cubicBezTo>
                      <a:pt x="17" y="75"/>
                      <a:pt x="26" y="66"/>
                      <a:pt x="35" y="58"/>
                    </a:cubicBezTo>
                    <a:cubicBezTo>
                      <a:pt x="37" y="60"/>
                      <a:pt x="39" y="63"/>
                      <a:pt x="42" y="65"/>
                    </a:cubicBezTo>
                    <a:cubicBezTo>
                      <a:pt x="46" y="63"/>
                      <a:pt x="46" y="60"/>
                      <a:pt x="46" y="57"/>
                    </a:cubicBezTo>
                    <a:cubicBezTo>
                      <a:pt x="45" y="54"/>
                      <a:pt x="43" y="53"/>
                      <a:pt x="40" y="50"/>
                    </a:cubicBezTo>
                    <a:cubicBezTo>
                      <a:pt x="41" y="49"/>
                      <a:pt x="42" y="48"/>
                      <a:pt x="42" y="48"/>
                    </a:cubicBezTo>
                    <a:cubicBezTo>
                      <a:pt x="46" y="48"/>
                      <a:pt x="49" y="48"/>
                      <a:pt x="53" y="46"/>
                    </a:cubicBezTo>
                    <a:cubicBezTo>
                      <a:pt x="56" y="49"/>
                      <a:pt x="59" y="53"/>
                      <a:pt x="62" y="57"/>
                    </a:cubicBezTo>
                    <a:cubicBezTo>
                      <a:pt x="65" y="56"/>
                      <a:pt x="68" y="55"/>
                      <a:pt x="70" y="52"/>
                    </a:cubicBezTo>
                    <a:cubicBezTo>
                      <a:pt x="72" y="47"/>
                      <a:pt x="66" y="40"/>
                      <a:pt x="61" y="35"/>
                    </a:cubicBezTo>
                    <a:cubicBezTo>
                      <a:pt x="61" y="35"/>
                      <a:pt x="61" y="35"/>
                      <a:pt x="61" y="35"/>
                    </a:cubicBezTo>
                    <a:cubicBezTo>
                      <a:pt x="62" y="34"/>
                      <a:pt x="62" y="34"/>
                      <a:pt x="62" y="34"/>
                    </a:cubicBezTo>
                    <a:cubicBezTo>
                      <a:pt x="69" y="34"/>
                      <a:pt x="72" y="37"/>
                      <a:pt x="79" y="32"/>
                    </a:cubicBezTo>
                    <a:cubicBezTo>
                      <a:pt x="83" y="17"/>
                      <a:pt x="74" y="21"/>
                      <a:pt x="66" y="16"/>
                    </a:cubicBezTo>
                    <a:close/>
                    <a:moveTo>
                      <a:pt x="63" y="44"/>
                    </a:moveTo>
                    <a:cubicBezTo>
                      <a:pt x="63" y="44"/>
                      <a:pt x="63" y="44"/>
                      <a:pt x="63" y="44"/>
                    </a:cubicBezTo>
                    <a:cubicBezTo>
                      <a:pt x="55" y="42"/>
                      <a:pt x="46" y="34"/>
                      <a:pt x="38" y="32"/>
                    </a:cubicBezTo>
                    <a:cubicBezTo>
                      <a:pt x="43" y="28"/>
                      <a:pt x="48" y="31"/>
                      <a:pt x="54" y="32"/>
                    </a:cubicBezTo>
                    <a:cubicBezTo>
                      <a:pt x="57" y="36"/>
                      <a:pt x="60" y="40"/>
                      <a:pt x="63" y="44"/>
                    </a:cubicBezTo>
                    <a:close/>
                    <a:moveTo>
                      <a:pt x="60" y="27"/>
                    </a:moveTo>
                    <a:cubicBezTo>
                      <a:pt x="60" y="27"/>
                      <a:pt x="60" y="26"/>
                      <a:pt x="59" y="26"/>
                    </a:cubicBezTo>
                    <a:cubicBezTo>
                      <a:pt x="61" y="23"/>
                      <a:pt x="63" y="20"/>
                      <a:pt x="67" y="18"/>
                    </a:cubicBezTo>
                    <a:cubicBezTo>
                      <a:pt x="69" y="19"/>
                      <a:pt x="71" y="19"/>
                      <a:pt x="74" y="20"/>
                    </a:cubicBezTo>
                    <a:cubicBezTo>
                      <a:pt x="75" y="21"/>
                      <a:pt x="76" y="22"/>
                      <a:pt x="77" y="23"/>
                    </a:cubicBezTo>
                    <a:cubicBezTo>
                      <a:pt x="77" y="24"/>
                      <a:pt x="77" y="24"/>
                      <a:pt x="77" y="25"/>
                    </a:cubicBezTo>
                    <a:cubicBezTo>
                      <a:pt x="72" y="29"/>
                      <a:pt x="66" y="27"/>
                      <a:pt x="60" y="27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1049516" name="ïṩḻîḓé"/>
              <p:cNvSpPr/>
              <p:nvPr/>
            </p:nvSpPr>
            <p:spPr bwMode="auto">
              <a:xfrm>
                <a:off x="2728809" y="4582115"/>
                <a:ext cx="101600" cy="147638"/>
              </a:xfrm>
              <a:custGeom>
                <a:avLst/>
                <a:gdLst>
                  <a:gd name="T0" fmla="*/ 47 w 55"/>
                  <a:gd name="T1" fmla="*/ 0 h 80"/>
                  <a:gd name="T2" fmla="*/ 49 w 55"/>
                  <a:gd name="T3" fmla="*/ 20 h 80"/>
                  <a:gd name="T4" fmla="*/ 51 w 55"/>
                  <a:gd name="T5" fmla="*/ 34 h 80"/>
                  <a:gd name="T6" fmla="*/ 28 w 55"/>
                  <a:gd name="T7" fmla="*/ 38 h 80"/>
                  <a:gd name="T8" fmla="*/ 41 w 55"/>
                  <a:gd name="T9" fmla="*/ 68 h 80"/>
                  <a:gd name="T10" fmla="*/ 25 w 55"/>
                  <a:gd name="T11" fmla="*/ 74 h 80"/>
                  <a:gd name="T12" fmla="*/ 26 w 55"/>
                  <a:gd name="T13" fmla="*/ 39 h 80"/>
                  <a:gd name="T14" fmla="*/ 23 w 55"/>
                  <a:gd name="T15" fmla="*/ 40 h 80"/>
                  <a:gd name="T16" fmla="*/ 7 w 55"/>
                  <a:gd name="T17" fmla="*/ 54 h 80"/>
                  <a:gd name="T18" fmla="*/ 0 w 55"/>
                  <a:gd name="T19" fmla="*/ 43 h 80"/>
                  <a:gd name="T20" fmla="*/ 14 w 55"/>
                  <a:gd name="T21" fmla="*/ 28 h 80"/>
                  <a:gd name="T22" fmla="*/ 6 w 55"/>
                  <a:gd name="T23" fmla="*/ 15 h 80"/>
                  <a:gd name="T24" fmla="*/ 7 w 55"/>
                  <a:gd name="T25" fmla="*/ 15 h 80"/>
                  <a:gd name="T26" fmla="*/ 26 w 55"/>
                  <a:gd name="T27" fmla="*/ 18 h 80"/>
                  <a:gd name="T28" fmla="*/ 47 w 55"/>
                  <a:gd name="T29" fmla="*/ 0 h 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55" h="80">
                    <a:moveTo>
                      <a:pt x="47" y="0"/>
                    </a:moveTo>
                    <a:cubicBezTo>
                      <a:pt x="55" y="7"/>
                      <a:pt x="49" y="11"/>
                      <a:pt x="49" y="20"/>
                    </a:cubicBezTo>
                    <a:cubicBezTo>
                      <a:pt x="49" y="25"/>
                      <a:pt x="55" y="25"/>
                      <a:pt x="51" y="34"/>
                    </a:cubicBezTo>
                    <a:cubicBezTo>
                      <a:pt x="44" y="37"/>
                      <a:pt x="34" y="32"/>
                      <a:pt x="28" y="38"/>
                    </a:cubicBezTo>
                    <a:cubicBezTo>
                      <a:pt x="38" y="44"/>
                      <a:pt x="45" y="59"/>
                      <a:pt x="41" y="68"/>
                    </a:cubicBezTo>
                    <a:cubicBezTo>
                      <a:pt x="39" y="74"/>
                      <a:pt x="28" y="80"/>
                      <a:pt x="25" y="74"/>
                    </a:cubicBezTo>
                    <a:cubicBezTo>
                      <a:pt x="19" y="62"/>
                      <a:pt x="39" y="55"/>
                      <a:pt x="26" y="39"/>
                    </a:cubicBezTo>
                    <a:cubicBezTo>
                      <a:pt x="25" y="39"/>
                      <a:pt x="25" y="39"/>
                      <a:pt x="23" y="40"/>
                    </a:cubicBezTo>
                    <a:cubicBezTo>
                      <a:pt x="17" y="44"/>
                      <a:pt x="14" y="52"/>
                      <a:pt x="7" y="54"/>
                    </a:cubicBezTo>
                    <a:cubicBezTo>
                      <a:pt x="2" y="51"/>
                      <a:pt x="2" y="48"/>
                      <a:pt x="0" y="43"/>
                    </a:cubicBezTo>
                    <a:cubicBezTo>
                      <a:pt x="3" y="39"/>
                      <a:pt x="14" y="30"/>
                      <a:pt x="14" y="28"/>
                    </a:cubicBezTo>
                    <a:cubicBezTo>
                      <a:pt x="14" y="25"/>
                      <a:pt x="7" y="19"/>
                      <a:pt x="6" y="15"/>
                    </a:cubicBezTo>
                    <a:cubicBezTo>
                      <a:pt x="6" y="15"/>
                      <a:pt x="7" y="15"/>
                      <a:pt x="7" y="15"/>
                    </a:cubicBezTo>
                    <a:cubicBezTo>
                      <a:pt x="13" y="15"/>
                      <a:pt x="20" y="18"/>
                      <a:pt x="26" y="18"/>
                    </a:cubicBezTo>
                    <a:cubicBezTo>
                      <a:pt x="34" y="17"/>
                      <a:pt x="41" y="5"/>
                      <a:pt x="47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1049517" name="išḷïḓe"/>
              <p:cNvSpPr/>
              <p:nvPr/>
            </p:nvSpPr>
            <p:spPr bwMode="auto">
              <a:xfrm>
                <a:off x="2490684" y="4510678"/>
                <a:ext cx="144463" cy="160338"/>
              </a:xfrm>
              <a:custGeom>
                <a:avLst/>
                <a:gdLst>
                  <a:gd name="T0" fmla="*/ 55 w 78"/>
                  <a:gd name="T1" fmla="*/ 64 h 87"/>
                  <a:gd name="T2" fmla="*/ 62 w 78"/>
                  <a:gd name="T3" fmla="*/ 50 h 87"/>
                  <a:gd name="T4" fmla="*/ 54 w 78"/>
                  <a:gd name="T5" fmla="*/ 43 h 87"/>
                  <a:gd name="T6" fmla="*/ 69 w 78"/>
                  <a:gd name="T7" fmla="*/ 29 h 87"/>
                  <a:gd name="T8" fmla="*/ 67 w 78"/>
                  <a:gd name="T9" fmla="*/ 21 h 87"/>
                  <a:gd name="T10" fmla="*/ 70 w 78"/>
                  <a:gd name="T11" fmla="*/ 11 h 87"/>
                  <a:gd name="T12" fmla="*/ 69 w 78"/>
                  <a:gd name="T13" fmla="*/ 3 h 87"/>
                  <a:gd name="T14" fmla="*/ 64 w 78"/>
                  <a:gd name="T15" fmla="*/ 0 h 87"/>
                  <a:gd name="T16" fmla="*/ 63 w 78"/>
                  <a:gd name="T17" fmla="*/ 0 h 87"/>
                  <a:gd name="T18" fmla="*/ 63 w 78"/>
                  <a:gd name="T19" fmla="*/ 12 h 87"/>
                  <a:gd name="T20" fmla="*/ 42 w 78"/>
                  <a:gd name="T21" fmla="*/ 25 h 87"/>
                  <a:gd name="T22" fmla="*/ 42 w 78"/>
                  <a:gd name="T23" fmla="*/ 33 h 87"/>
                  <a:gd name="T24" fmla="*/ 33 w 78"/>
                  <a:gd name="T25" fmla="*/ 36 h 87"/>
                  <a:gd name="T26" fmla="*/ 39 w 78"/>
                  <a:gd name="T27" fmla="*/ 33 h 87"/>
                  <a:gd name="T28" fmla="*/ 39 w 78"/>
                  <a:gd name="T29" fmla="*/ 23 h 87"/>
                  <a:gd name="T30" fmla="*/ 36 w 78"/>
                  <a:gd name="T31" fmla="*/ 0 h 87"/>
                  <a:gd name="T32" fmla="*/ 36 w 78"/>
                  <a:gd name="T33" fmla="*/ 0 h 87"/>
                  <a:gd name="T34" fmla="*/ 36 w 78"/>
                  <a:gd name="T35" fmla="*/ 8 h 87"/>
                  <a:gd name="T36" fmla="*/ 30 w 78"/>
                  <a:gd name="T37" fmla="*/ 24 h 87"/>
                  <a:gd name="T38" fmla="*/ 1 w 78"/>
                  <a:gd name="T39" fmla="*/ 29 h 87"/>
                  <a:gd name="T40" fmla="*/ 0 w 78"/>
                  <a:gd name="T41" fmla="*/ 31 h 87"/>
                  <a:gd name="T42" fmla="*/ 18 w 78"/>
                  <a:gd name="T43" fmla="*/ 39 h 87"/>
                  <a:gd name="T44" fmla="*/ 25 w 78"/>
                  <a:gd name="T45" fmla="*/ 36 h 87"/>
                  <a:gd name="T46" fmla="*/ 25 w 78"/>
                  <a:gd name="T47" fmla="*/ 36 h 87"/>
                  <a:gd name="T48" fmla="*/ 3 w 78"/>
                  <a:gd name="T49" fmla="*/ 62 h 87"/>
                  <a:gd name="T50" fmla="*/ 5 w 78"/>
                  <a:gd name="T51" fmla="*/ 67 h 87"/>
                  <a:gd name="T52" fmla="*/ 12 w 78"/>
                  <a:gd name="T53" fmla="*/ 66 h 87"/>
                  <a:gd name="T54" fmla="*/ 22 w 78"/>
                  <a:gd name="T55" fmla="*/ 74 h 87"/>
                  <a:gd name="T56" fmla="*/ 25 w 78"/>
                  <a:gd name="T57" fmla="*/ 61 h 87"/>
                  <a:gd name="T58" fmla="*/ 30 w 78"/>
                  <a:gd name="T59" fmla="*/ 49 h 87"/>
                  <a:gd name="T60" fmla="*/ 48 w 78"/>
                  <a:gd name="T61" fmla="*/ 63 h 87"/>
                  <a:gd name="T62" fmla="*/ 24 w 78"/>
                  <a:gd name="T63" fmla="*/ 71 h 87"/>
                  <a:gd name="T64" fmla="*/ 48 w 78"/>
                  <a:gd name="T65" fmla="*/ 71 h 87"/>
                  <a:gd name="T66" fmla="*/ 51 w 78"/>
                  <a:gd name="T67" fmla="*/ 69 h 87"/>
                  <a:gd name="T68" fmla="*/ 77 w 78"/>
                  <a:gd name="T69" fmla="*/ 87 h 87"/>
                  <a:gd name="T70" fmla="*/ 78 w 78"/>
                  <a:gd name="T71" fmla="*/ 86 h 87"/>
                  <a:gd name="T72" fmla="*/ 55 w 78"/>
                  <a:gd name="T73" fmla="*/ 64 h 87"/>
                  <a:gd name="T74" fmla="*/ 15 w 78"/>
                  <a:gd name="T75" fmla="*/ 64 h 87"/>
                  <a:gd name="T76" fmla="*/ 15 w 78"/>
                  <a:gd name="T77" fmla="*/ 65 h 87"/>
                  <a:gd name="T78" fmla="*/ 11 w 78"/>
                  <a:gd name="T79" fmla="*/ 63 h 87"/>
                  <a:gd name="T80" fmla="*/ 12 w 78"/>
                  <a:gd name="T81" fmla="*/ 60 h 87"/>
                  <a:gd name="T82" fmla="*/ 15 w 78"/>
                  <a:gd name="T83" fmla="*/ 57 h 87"/>
                  <a:gd name="T84" fmla="*/ 17 w 78"/>
                  <a:gd name="T85" fmla="*/ 58 h 87"/>
                  <a:gd name="T86" fmla="*/ 15 w 78"/>
                  <a:gd name="T87" fmla="*/ 64 h 87"/>
                  <a:gd name="T88" fmla="*/ 32 w 78"/>
                  <a:gd name="T89" fmla="*/ 46 h 87"/>
                  <a:gd name="T90" fmla="*/ 44 w 78"/>
                  <a:gd name="T91" fmla="*/ 34 h 87"/>
                  <a:gd name="T92" fmla="*/ 52 w 78"/>
                  <a:gd name="T93" fmla="*/ 35 h 87"/>
                  <a:gd name="T94" fmla="*/ 46 w 78"/>
                  <a:gd name="T95" fmla="*/ 50 h 87"/>
                  <a:gd name="T96" fmla="*/ 48 w 78"/>
                  <a:gd name="T97" fmla="*/ 52 h 87"/>
                  <a:gd name="T98" fmla="*/ 56 w 78"/>
                  <a:gd name="T99" fmla="*/ 50 h 87"/>
                  <a:gd name="T100" fmla="*/ 52 w 78"/>
                  <a:gd name="T101" fmla="*/ 61 h 87"/>
                  <a:gd name="T102" fmla="*/ 32 w 78"/>
                  <a:gd name="T103" fmla="*/ 46 h 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78" h="87">
                    <a:moveTo>
                      <a:pt x="55" y="64"/>
                    </a:moveTo>
                    <a:cubicBezTo>
                      <a:pt x="58" y="60"/>
                      <a:pt x="60" y="55"/>
                      <a:pt x="62" y="50"/>
                    </a:cubicBezTo>
                    <a:cubicBezTo>
                      <a:pt x="61" y="47"/>
                      <a:pt x="58" y="44"/>
                      <a:pt x="54" y="43"/>
                    </a:cubicBezTo>
                    <a:cubicBezTo>
                      <a:pt x="57" y="36"/>
                      <a:pt x="64" y="33"/>
                      <a:pt x="69" y="29"/>
                    </a:cubicBezTo>
                    <a:cubicBezTo>
                      <a:pt x="69" y="25"/>
                      <a:pt x="67" y="24"/>
                      <a:pt x="67" y="21"/>
                    </a:cubicBezTo>
                    <a:cubicBezTo>
                      <a:pt x="68" y="18"/>
                      <a:pt x="69" y="15"/>
                      <a:pt x="70" y="11"/>
                    </a:cubicBezTo>
                    <a:cubicBezTo>
                      <a:pt x="70" y="9"/>
                      <a:pt x="69" y="6"/>
                      <a:pt x="69" y="3"/>
                    </a:cubicBezTo>
                    <a:cubicBezTo>
                      <a:pt x="68" y="2"/>
                      <a:pt x="67" y="1"/>
                      <a:pt x="64" y="0"/>
                    </a:cubicBezTo>
                    <a:cubicBezTo>
                      <a:pt x="64" y="0"/>
                      <a:pt x="63" y="0"/>
                      <a:pt x="63" y="0"/>
                    </a:cubicBezTo>
                    <a:cubicBezTo>
                      <a:pt x="61" y="5"/>
                      <a:pt x="63" y="8"/>
                      <a:pt x="63" y="12"/>
                    </a:cubicBezTo>
                    <a:cubicBezTo>
                      <a:pt x="63" y="24"/>
                      <a:pt x="52" y="26"/>
                      <a:pt x="42" y="25"/>
                    </a:cubicBezTo>
                    <a:cubicBezTo>
                      <a:pt x="41" y="28"/>
                      <a:pt x="41" y="31"/>
                      <a:pt x="42" y="33"/>
                    </a:cubicBezTo>
                    <a:cubicBezTo>
                      <a:pt x="39" y="34"/>
                      <a:pt x="36" y="35"/>
                      <a:pt x="33" y="36"/>
                    </a:cubicBezTo>
                    <a:cubicBezTo>
                      <a:pt x="34" y="32"/>
                      <a:pt x="36" y="32"/>
                      <a:pt x="39" y="33"/>
                    </a:cubicBezTo>
                    <a:cubicBezTo>
                      <a:pt x="41" y="29"/>
                      <a:pt x="38" y="27"/>
                      <a:pt x="39" y="23"/>
                    </a:cubicBezTo>
                    <a:cubicBezTo>
                      <a:pt x="39" y="14"/>
                      <a:pt x="53" y="6"/>
                      <a:pt x="36" y="0"/>
                    </a:cubicBezTo>
                    <a:cubicBezTo>
                      <a:pt x="36" y="0"/>
                      <a:pt x="36" y="0"/>
                      <a:pt x="36" y="0"/>
                    </a:cubicBezTo>
                    <a:cubicBezTo>
                      <a:pt x="35" y="3"/>
                      <a:pt x="36" y="5"/>
                      <a:pt x="36" y="8"/>
                    </a:cubicBezTo>
                    <a:cubicBezTo>
                      <a:pt x="34" y="14"/>
                      <a:pt x="32" y="19"/>
                      <a:pt x="30" y="24"/>
                    </a:cubicBezTo>
                    <a:cubicBezTo>
                      <a:pt x="22" y="26"/>
                      <a:pt x="9" y="26"/>
                      <a:pt x="1" y="29"/>
                    </a:cubicBezTo>
                    <a:cubicBezTo>
                      <a:pt x="1" y="30"/>
                      <a:pt x="1" y="30"/>
                      <a:pt x="0" y="31"/>
                    </a:cubicBezTo>
                    <a:cubicBezTo>
                      <a:pt x="1" y="35"/>
                      <a:pt x="12" y="39"/>
                      <a:pt x="18" y="39"/>
                    </a:cubicBezTo>
                    <a:cubicBezTo>
                      <a:pt x="20" y="38"/>
                      <a:pt x="22" y="37"/>
                      <a:pt x="25" y="36"/>
                    </a:cubicBezTo>
                    <a:cubicBezTo>
                      <a:pt x="25" y="36"/>
                      <a:pt x="25" y="36"/>
                      <a:pt x="25" y="36"/>
                    </a:cubicBezTo>
                    <a:cubicBezTo>
                      <a:pt x="21" y="52"/>
                      <a:pt x="9" y="50"/>
                      <a:pt x="3" y="62"/>
                    </a:cubicBezTo>
                    <a:cubicBezTo>
                      <a:pt x="4" y="63"/>
                      <a:pt x="4" y="65"/>
                      <a:pt x="5" y="67"/>
                    </a:cubicBezTo>
                    <a:cubicBezTo>
                      <a:pt x="7" y="67"/>
                      <a:pt x="10" y="67"/>
                      <a:pt x="12" y="66"/>
                    </a:cubicBezTo>
                    <a:cubicBezTo>
                      <a:pt x="17" y="68"/>
                      <a:pt x="17" y="72"/>
                      <a:pt x="22" y="74"/>
                    </a:cubicBezTo>
                    <a:cubicBezTo>
                      <a:pt x="25" y="71"/>
                      <a:pt x="24" y="66"/>
                      <a:pt x="25" y="61"/>
                    </a:cubicBezTo>
                    <a:cubicBezTo>
                      <a:pt x="25" y="56"/>
                      <a:pt x="28" y="52"/>
                      <a:pt x="30" y="49"/>
                    </a:cubicBezTo>
                    <a:cubicBezTo>
                      <a:pt x="40" y="53"/>
                      <a:pt x="42" y="58"/>
                      <a:pt x="48" y="63"/>
                    </a:cubicBezTo>
                    <a:cubicBezTo>
                      <a:pt x="44" y="74"/>
                      <a:pt x="29" y="63"/>
                      <a:pt x="24" y="71"/>
                    </a:cubicBezTo>
                    <a:cubicBezTo>
                      <a:pt x="39" y="78"/>
                      <a:pt x="36" y="74"/>
                      <a:pt x="48" y="71"/>
                    </a:cubicBezTo>
                    <a:cubicBezTo>
                      <a:pt x="49" y="70"/>
                      <a:pt x="50" y="70"/>
                      <a:pt x="51" y="69"/>
                    </a:cubicBezTo>
                    <a:cubicBezTo>
                      <a:pt x="58" y="79"/>
                      <a:pt x="58" y="87"/>
                      <a:pt x="77" y="87"/>
                    </a:cubicBezTo>
                    <a:cubicBezTo>
                      <a:pt x="77" y="87"/>
                      <a:pt x="78" y="86"/>
                      <a:pt x="78" y="86"/>
                    </a:cubicBezTo>
                    <a:cubicBezTo>
                      <a:pt x="74" y="76"/>
                      <a:pt x="60" y="73"/>
                      <a:pt x="55" y="64"/>
                    </a:cubicBezTo>
                    <a:close/>
                    <a:moveTo>
                      <a:pt x="15" y="64"/>
                    </a:moveTo>
                    <a:cubicBezTo>
                      <a:pt x="15" y="65"/>
                      <a:pt x="15" y="65"/>
                      <a:pt x="15" y="65"/>
                    </a:cubicBezTo>
                    <a:cubicBezTo>
                      <a:pt x="14" y="64"/>
                      <a:pt x="13" y="64"/>
                      <a:pt x="11" y="63"/>
                    </a:cubicBezTo>
                    <a:cubicBezTo>
                      <a:pt x="11" y="62"/>
                      <a:pt x="12" y="61"/>
                      <a:pt x="12" y="60"/>
                    </a:cubicBezTo>
                    <a:cubicBezTo>
                      <a:pt x="13" y="59"/>
                      <a:pt x="14" y="58"/>
                      <a:pt x="15" y="57"/>
                    </a:cubicBezTo>
                    <a:cubicBezTo>
                      <a:pt x="16" y="57"/>
                      <a:pt x="16" y="58"/>
                      <a:pt x="17" y="58"/>
                    </a:cubicBezTo>
                    <a:cubicBezTo>
                      <a:pt x="16" y="60"/>
                      <a:pt x="16" y="62"/>
                      <a:pt x="15" y="64"/>
                    </a:cubicBezTo>
                    <a:close/>
                    <a:moveTo>
                      <a:pt x="32" y="46"/>
                    </a:moveTo>
                    <a:cubicBezTo>
                      <a:pt x="35" y="43"/>
                      <a:pt x="44" y="37"/>
                      <a:pt x="44" y="34"/>
                    </a:cubicBezTo>
                    <a:cubicBezTo>
                      <a:pt x="47" y="34"/>
                      <a:pt x="49" y="35"/>
                      <a:pt x="52" y="35"/>
                    </a:cubicBezTo>
                    <a:cubicBezTo>
                      <a:pt x="50" y="40"/>
                      <a:pt x="45" y="44"/>
                      <a:pt x="46" y="50"/>
                    </a:cubicBezTo>
                    <a:cubicBezTo>
                      <a:pt x="46" y="51"/>
                      <a:pt x="47" y="51"/>
                      <a:pt x="48" y="52"/>
                    </a:cubicBezTo>
                    <a:cubicBezTo>
                      <a:pt x="50" y="51"/>
                      <a:pt x="53" y="49"/>
                      <a:pt x="56" y="50"/>
                    </a:cubicBezTo>
                    <a:cubicBezTo>
                      <a:pt x="55" y="54"/>
                      <a:pt x="53" y="57"/>
                      <a:pt x="52" y="61"/>
                    </a:cubicBezTo>
                    <a:cubicBezTo>
                      <a:pt x="45" y="56"/>
                      <a:pt x="44" y="49"/>
                      <a:pt x="32" y="46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1049518" name="ï$ľíḍe"/>
              <p:cNvSpPr/>
              <p:nvPr/>
            </p:nvSpPr>
            <p:spPr bwMode="auto">
              <a:xfrm>
                <a:off x="2255734" y="4491628"/>
                <a:ext cx="136525" cy="174625"/>
              </a:xfrm>
              <a:custGeom>
                <a:avLst/>
                <a:gdLst>
                  <a:gd name="T0" fmla="*/ 74 w 74"/>
                  <a:gd name="T1" fmla="*/ 41 h 94"/>
                  <a:gd name="T2" fmla="*/ 64 w 74"/>
                  <a:gd name="T3" fmla="*/ 35 h 94"/>
                  <a:gd name="T4" fmla="*/ 51 w 74"/>
                  <a:gd name="T5" fmla="*/ 5 h 94"/>
                  <a:gd name="T6" fmla="*/ 58 w 74"/>
                  <a:gd name="T7" fmla="*/ 39 h 94"/>
                  <a:gd name="T8" fmla="*/ 47 w 74"/>
                  <a:gd name="T9" fmla="*/ 47 h 94"/>
                  <a:gd name="T10" fmla="*/ 55 w 74"/>
                  <a:gd name="T11" fmla="*/ 34 h 94"/>
                  <a:gd name="T12" fmla="*/ 47 w 74"/>
                  <a:gd name="T13" fmla="*/ 29 h 94"/>
                  <a:gd name="T14" fmla="*/ 54 w 74"/>
                  <a:gd name="T15" fmla="*/ 22 h 94"/>
                  <a:gd name="T16" fmla="*/ 54 w 74"/>
                  <a:gd name="T17" fmla="*/ 20 h 94"/>
                  <a:gd name="T18" fmla="*/ 54 w 74"/>
                  <a:gd name="T19" fmla="*/ 19 h 94"/>
                  <a:gd name="T20" fmla="*/ 41 w 74"/>
                  <a:gd name="T21" fmla="*/ 19 h 94"/>
                  <a:gd name="T22" fmla="*/ 44 w 74"/>
                  <a:gd name="T23" fmla="*/ 22 h 94"/>
                  <a:gd name="T24" fmla="*/ 44 w 74"/>
                  <a:gd name="T25" fmla="*/ 32 h 94"/>
                  <a:gd name="T26" fmla="*/ 48 w 74"/>
                  <a:gd name="T27" fmla="*/ 37 h 94"/>
                  <a:gd name="T28" fmla="*/ 40 w 74"/>
                  <a:gd name="T29" fmla="*/ 58 h 94"/>
                  <a:gd name="T30" fmla="*/ 44 w 74"/>
                  <a:gd name="T31" fmla="*/ 61 h 94"/>
                  <a:gd name="T32" fmla="*/ 59 w 74"/>
                  <a:gd name="T33" fmla="*/ 46 h 94"/>
                  <a:gd name="T34" fmla="*/ 59 w 74"/>
                  <a:gd name="T35" fmla="*/ 46 h 94"/>
                  <a:gd name="T36" fmla="*/ 66 w 74"/>
                  <a:gd name="T37" fmla="*/ 93 h 94"/>
                  <a:gd name="T38" fmla="*/ 68 w 74"/>
                  <a:gd name="T39" fmla="*/ 93 h 94"/>
                  <a:gd name="T40" fmla="*/ 65 w 74"/>
                  <a:gd name="T41" fmla="*/ 42 h 94"/>
                  <a:gd name="T42" fmla="*/ 73 w 74"/>
                  <a:gd name="T43" fmla="*/ 41 h 94"/>
                  <a:gd name="T44" fmla="*/ 74 w 74"/>
                  <a:gd name="T45" fmla="*/ 41 h 94"/>
                  <a:gd name="T46" fmla="*/ 43 w 74"/>
                  <a:gd name="T47" fmla="*/ 42 h 94"/>
                  <a:gd name="T48" fmla="*/ 35 w 74"/>
                  <a:gd name="T49" fmla="*/ 48 h 94"/>
                  <a:gd name="T50" fmla="*/ 39 w 74"/>
                  <a:gd name="T51" fmla="*/ 38 h 94"/>
                  <a:gd name="T52" fmla="*/ 37 w 74"/>
                  <a:gd name="T53" fmla="*/ 29 h 94"/>
                  <a:gd name="T54" fmla="*/ 40 w 74"/>
                  <a:gd name="T55" fmla="*/ 27 h 94"/>
                  <a:gd name="T56" fmla="*/ 34 w 74"/>
                  <a:gd name="T57" fmla="*/ 16 h 94"/>
                  <a:gd name="T58" fmla="*/ 32 w 74"/>
                  <a:gd name="T59" fmla="*/ 15 h 94"/>
                  <a:gd name="T60" fmla="*/ 4 w 74"/>
                  <a:gd name="T61" fmla="*/ 46 h 94"/>
                  <a:gd name="T62" fmla="*/ 30 w 74"/>
                  <a:gd name="T63" fmla="*/ 29 h 94"/>
                  <a:gd name="T64" fmla="*/ 8 w 74"/>
                  <a:gd name="T65" fmla="*/ 52 h 94"/>
                  <a:gd name="T66" fmla="*/ 0 w 74"/>
                  <a:gd name="T67" fmla="*/ 56 h 94"/>
                  <a:gd name="T68" fmla="*/ 3 w 74"/>
                  <a:gd name="T69" fmla="*/ 61 h 94"/>
                  <a:gd name="T70" fmla="*/ 23 w 74"/>
                  <a:gd name="T71" fmla="*/ 54 h 94"/>
                  <a:gd name="T72" fmla="*/ 25 w 74"/>
                  <a:gd name="T73" fmla="*/ 53 h 94"/>
                  <a:gd name="T74" fmla="*/ 25 w 74"/>
                  <a:gd name="T75" fmla="*/ 53 h 94"/>
                  <a:gd name="T76" fmla="*/ 20 w 74"/>
                  <a:gd name="T77" fmla="*/ 72 h 94"/>
                  <a:gd name="T78" fmla="*/ 25 w 74"/>
                  <a:gd name="T79" fmla="*/ 76 h 94"/>
                  <a:gd name="T80" fmla="*/ 26 w 74"/>
                  <a:gd name="T81" fmla="*/ 76 h 94"/>
                  <a:gd name="T82" fmla="*/ 30 w 74"/>
                  <a:gd name="T83" fmla="*/ 67 h 94"/>
                  <a:gd name="T84" fmla="*/ 31 w 74"/>
                  <a:gd name="T85" fmla="*/ 66 h 94"/>
                  <a:gd name="T86" fmla="*/ 32 w 74"/>
                  <a:gd name="T87" fmla="*/ 75 h 94"/>
                  <a:gd name="T88" fmla="*/ 35 w 74"/>
                  <a:gd name="T89" fmla="*/ 76 h 94"/>
                  <a:gd name="T90" fmla="*/ 38 w 74"/>
                  <a:gd name="T91" fmla="*/ 76 h 94"/>
                  <a:gd name="T92" fmla="*/ 35 w 74"/>
                  <a:gd name="T93" fmla="*/ 61 h 94"/>
                  <a:gd name="T94" fmla="*/ 43 w 74"/>
                  <a:gd name="T95" fmla="*/ 42 h 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74" h="94">
                    <a:moveTo>
                      <a:pt x="74" y="41"/>
                    </a:moveTo>
                    <a:cubicBezTo>
                      <a:pt x="73" y="36"/>
                      <a:pt x="70" y="34"/>
                      <a:pt x="64" y="35"/>
                    </a:cubicBezTo>
                    <a:cubicBezTo>
                      <a:pt x="63" y="24"/>
                      <a:pt x="67" y="0"/>
                      <a:pt x="51" y="5"/>
                    </a:cubicBezTo>
                    <a:cubicBezTo>
                      <a:pt x="50" y="9"/>
                      <a:pt x="61" y="31"/>
                      <a:pt x="58" y="39"/>
                    </a:cubicBezTo>
                    <a:cubicBezTo>
                      <a:pt x="58" y="39"/>
                      <a:pt x="47" y="47"/>
                      <a:pt x="47" y="47"/>
                    </a:cubicBezTo>
                    <a:cubicBezTo>
                      <a:pt x="48" y="41"/>
                      <a:pt x="53" y="39"/>
                      <a:pt x="55" y="34"/>
                    </a:cubicBezTo>
                    <a:cubicBezTo>
                      <a:pt x="56" y="30"/>
                      <a:pt x="49" y="31"/>
                      <a:pt x="47" y="29"/>
                    </a:cubicBezTo>
                    <a:cubicBezTo>
                      <a:pt x="48" y="26"/>
                      <a:pt x="51" y="23"/>
                      <a:pt x="54" y="22"/>
                    </a:cubicBezTo>
                    <a:cubicBezTo>
                      <a:pt x="54" y="21"/>
                      <a:pt x="54" y="21"/>
                      <a:pt x="54" y="20"/>
                    </a:cubicBezTo>
                    <a:cubicBezTo>
                      <a:pt x="54" y="20"/>
                      <a:pt x="54" y="19"/>
                      <a:pt x="54" y="19"/>
                    </a:cubicBezTo>
                    <a:cubicBezTo>
                      <a:pt x="50" y="17"/>
                      <a:pt x="45" y="17"/>
                      <a:pt x="41" y="19"/>
                    </a:cubicBezTo>
                    <a:cubicBezTo>
                      <a:pt x="41" y="22"/>
                      <a:pt x="42" y="22"/>
                      <a:pt x="44" y="22"/>
                    </a:cubicBezTo>
                    <a:cubicBezTo>
                      <a:pt x="44" y="26"/>
                      <a:pt x="44" y="29"/>
                      <a:pt x="44" y="32"/>
                    </a:cubicBezTo>
                    <a:cubicBezTo>
                      <a:pt x="45" y="34"/>
                      <a:pt x="47" y="35"/>
                      <a:pt x="48" y="37"/>
                    </a:cubicBezTo>
                    <a:cubicBezTo>
                      <a:pt x="46" y="41"/>
                      <a:pt x="35" y="51"/>
                      <a:pt x="40" y="58"/>
                    </a:cubicBezTo>
                    <a:cubicBezTo>
                      <a:pt x="41" y="60"/>
                      <a:pt x="42" y="60"/>
                      <a:pt x="44" y="61"/>
                    </a:cubicBezTo>
                    <a:cubicBezTo>
                      <a:pt x="49" y="55"/>
                      <a:pt x="51" y="50"/>
                      <a:pt x="59" y="46"/>
                    </a:cubicBezTo>
                    <a:cubicBezTo>
                      <a:pt x="59" y="46"/>
                      <a:pt x="59" y="46"/>
                      <a:pt x="59" y="46"/>
                    </a:cubicBezTo>
                    <a:cubicBezTo>
                      <a:pt x="61" y="60"/>
                      <a:pt x="59" y="83"/>
                      <a:pt x="66" y="93"/>
                    </a:cubicBezTo>
                    <a:cubicBezTo>
                      <a:pt x="67" y="94"/>
                      <a:pt x="67" y="93"/>
                      <a:pt x="68" y="93"/>
                    </a:cubicBezTo>
                    <a:cubicBezTo>
                      <a:pt x="68" y="78"/>
                      <a:pt x="67" y="60"/>
                      <a:pt x="65" y="42"/>
                    </a:cubicBezTo>
                    <a:cubicBezTo>
                      <a:pt x="68" y="42"/>
                      <a:pt x="72" y="42"/>
                      <a:pt x="73" y="41"/>
                    </a:cubicBezTo>
                    <a:cubicBezTo>
                      <a:pt x="74" y="41"/>
                      <a:pt x="74" y="41"/>
                      <a:pt x="74" y="41"/>
                    </a:cubicBezTo>
                    <a:close/>
                    <a:moveTo>
                      <a:pt x="43" y="42"/>
                    </a:moveTo>
                    <a:cubicBezTo>
                      <a:pt x="39" y="44"/>
                      <a:pt x="38" y="46"/>
                      <a:pt x="35" y="48"/>
                    </a:cubicBezTo>
                    <a:cubicBezTo>
                      <a:pt x="35" y="42"/>
                      <a:pt x="39" y="42"/>
                      <a:pt x="39" y="38"/>
                    </a:cubicBezTo>
                    <a:cubicBezTo>
                      <a:pt x="40" y="35"/>
                      <a:pt x="37" y="33"/>
                      <a:pt x="37" y="29"/>
                    </a:cubicBezTo>
                    <a:cubicBezTo>
                      <a:pt x="38" y="28"/>
                      <a:pt x="39" y="28"/>
                      <a:pt x="40" y="27"/>
                    </a:cubicBezTo>
                    <a:cubicBezTo>
                      <a:pt x="41" y="24"/>
                      <a:pt x="36" y="16"/>
                      <a:pt x="34" y="16"/>
                    </a:cubicBezTo>
                    <a:cubicBezTo>
                      <a:pt x="33" y="16"/>
                      <a:pt x="32" y="15"/>
                      <a:pt x="32" y="15"/>
                    </a:cubicBezTo>
                    <a:cubicBezTo>
                      <a:pt x="22" y="28"/>
                      <a:pt x="10" y="30"/>
                      <a:pt x="4" y="46"/>
                    </a:cubicBezTo>
                    <a:cubicBezTo>
                      <a:pt x="13" y="41"/>
                      <a:pt x="17" y="31"/>
                      <a:pt x="30" y="29"/>
                    </a:cubicBezTo>
                    <a:cubicBezTo>
                      <a:pt x="29" y="39"/>
                      <a:pt x="16" y="48"/>
                      <a:pt x="8" y="52"/>
                    </a:cubicBezTo>
                    <a:cubicBezTo>
                      <a:pt x="4" y="54"/>
                      <a:pt x="2" y="52"/>
                      <a:pt x="0" y="56"/>
                    </a:cubicBezTo>
                    <a:cubicBezTo>
                      <a:pt x="0" y="59"/>
                      <a:pt x="1" y="60"/>
                      <a:pt x="3" y="61"/>
                    </a:cubicBezTo>
                    <a:cubicBezTo>
                      <a:pt x="10" y="63"/>
                      <a:pt x="22" y="58"/>
                      <a:pt x="23" y="54"/>
                    </a:cubicBezTo>
                    <a:cubicBezTo>
                      <a:pt x="24" y="54"/>
                      <a:pt x="24" y="53"/>
                      <a:pt x="25" y="53"/>
                    </a:cubicBezTo>
                    <a:cubicBezTo>
                      <a:pt x="25" y="53"/>
                      <a:pt x="25" y="53"/>
                      <a:pt x="25" y="53"/>
                    </a:cubicBezTo>
                    <a:cubicBezTo>
                      <a:pt x="23" y="59"/>
                      <a:pt x="22" y="66"/>
                      <a:pt x="20" y="72"/>
                    </a:cubicBezTo>
                    <a:cubicBezTo>
                      <a:pt x="21" y="74"/>
                      <a:pt x="23" y="75"/>
                      <a:pt x="25" y="76"/>
                    </a:cubicBezTo>
                    <a:cubicBezTo>
                      <a:pt x="25" y="76"/>
                      <a:pt x="26" y="76"/>
                      <a:pt x="26" y="76"/>
                    </a:cubicBezTo>
                    <a:cubicBezTo>
                      <a:pt x="28" y="73"/>
                      <a:pt x="29" y="70"/>
                      <a:pt x="30" y="67"/>
                    </a:cubicBezTo>
                    <a:cubicBezTo>
                      <a:pt x="31" y="67"/>
                      <a:pt x="31" y="67"/>
                      <a:pt x="31" y="66"/>
                    </a:cubicBezTo>
                    <a:cubicBezTo>
                      <a:pt x="32" y="69"/>
                      <a:pt x="32" y="72"/>
                      <a:pt x="32" y="75"/>
                    </a:cubicBezTo>
                    <a:cubicBezTo>
                      <a:pt x="33" y="75"/>
                      <a:pt x="34" y="76"/>
                      <a:pt x="35" y="76"/>
                    </a:cubicBezTo>
                    <a:cubicBezTo>
                      <a:pt x="36" y="76"/>
                      <a:pt x="37" y="76"/>
                      <a:pt x="38" y="76"/>
                    </a:cubicBezTo>
                    <a:cubicBezTo>
                      <a:pt x="37" y="71"/>
                      <a:pt x="36" y="66"/>
                      <a:pt x="35" y="61"/>
                    </a:cubicBezTo>
                    <a:cubicBezTo>
                      <a:pt x="38" y="54"/>
                      <a:pt x="40" y="48"/>
                      <a:pt x="43" y="42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1049519" name="î$ḻîḑe"/>
              <p:cNvSpPr/>
              <p:nvPr/>
            </p:nvSpPr>
            <p:spPr bwMode="auto">
              <a:xfrm>
                <a:off x="2055709" y="4566240"/>
                <a:ext cx="136525" cy="150813"/>
              </a:xfrm>
              <a:custGeom>
                <a:avLst/>
                <a:gdLst>
                  <a:gd name="T0" fmla="*/ 55 w 74"/>
                  <a:gd name="T1" fmla="*/ 53 h 82"/>
                  <a:gd name="T2" fmla="*/ 54 w 74"/>
                  <a:gd name="T3" fmla="*/ 51 h 82"/>
                  <a:gd name="T4" fmla="*/ 57 w 74"/>
                  <a:gd name="T5" fmla="*/ 49 h 82"/>
                  <a:gd name="T6" fmla="*/ 56 w 74"/>
                  <a:gd name="T7" fmla="*/ 45 h 82"/>
                  <a:gd name="T8" fmla="*/ 52 w 74"/>
                  <a:gd name="T9" fmla="*/ 45 h 82"/>
                  <a:gd name="T10" fmla="*/ 51 w 74"/>
                  <a:gd name="T11" fmla="*/ 44 h 82"/>
                  <a:gd name="T12" fmla="*/ 60 w 74"/>
                  <a:gd name="T13" fmla="*/ 32 h 82"/>
                  <a:gd name="T14" fmla="*/ 60 w 74"/>
                  <a:gd name="T15" fmla="*/ 30 h 82"/>
                  <a:gd name="T16" fmla="*/ 34 w 74"/>
                  <a:gd name="T17" fmla="*/ 38 h 82"/>
                  <a:gd name="T18" fmla="*/ 33 w 74"/>
                  <a:gd name="T19" fmla="*/ 38 h 82"/>
                  <a:gd name="T20" fmla="*/ 60 w 74"/>
                  <a:gd name="T21" fmla="*/ 16 h 82"/>
                  <a:gd name="T22" fmla="*/ 61 w 74"/>
                  <a:gd name="T23" fmla="*/ 10 h 82"/>
                  <a:gd name="T24" fmla="*/ 42 w 74"/>
                  <a:gd name="T25" fmla="*/ 11 h 82"/>
                  <a:gd name="T26" fmla="*/ 27 w 74"/>
                  <a:gd name="T27" fmla="*/ 0 h 82"/>
                  <a:gd name="T28" fmla="*/ 24 w 74"/>
                  <a:gd name="T29" fmla="*/ 0 h 82"/>
                  <a:gd name="T30" fmla="*/ 29 w 74"/>
                  <a:gd name="T31" fmla="*/ 21 h 82"/>
                  <a:gd name="T32" fmla="*/ 11 w 74"/>
                  <a:gd name="T33" fmla="*/ 39 h 82"/>
                  <a:gd name="T34" fmla="*/ 1 w 74"/>
                  <a:gd name="T35" fmla="*/ 44 h 82"/>
                  <a:gd name="T36" fmla="*/ 0 w 74"/>
                  <a:gd name="T37" fmla="*/ 47 h 82"/>
                  <a:gd name="T38" fmla="*/ 35 w 74"/>
                  <a:gd name="T39" fmla="*/ 26 h 82"/>
                  <a:gd name="T40" fmla="*/ 35 w 74"/>
                  <a:gd name="T41" fmla="*/ 26 h 82"/>
                  <a:gd name="T42" fmla="*/ 30 w 74"/>
                  <a:gd name="T43" fmla="*/ 48 h 82"/>
                  <a:gd name="T44" fmla="*/ 40 w 74"/>
                  <a:gd name="T45" fmla="*/ 57 h 82"/>
                  <a:gd name="T46" fmla="*/ 35 w 74"/>
                  <a:gd name="T47" fmla="*/ 78 h 82"/>
                  <a:gd name="T48" fmla="*/ 45 w 74"/>
                  <a:gd name="T49" fmla="*/ 82 h 82"/>
                  <a:gd name="T50" fmla="*/ 47 w 74"/>
                  <a:gd name="T51" fmla="*/ 80 h 82"/>
                  <a:gd name="T52" fmla="*/ 46 w 74"/>
                  <a:gd name="T53" fmla="*/ 67 h 82"/>
                  <a:gd name="T54" fmla="*/ 47 w 74"/>
                  <a:gd name="T55" fmla="*/ 66 h 82"/>
                  <a:gd name="T56" fmla="*/ 50 w 74"/>
                  <a:gd name="T57" fmla="*/ 73 h 82"/>
                  <a:gd name="T58" fmla="*/ 58 w 74"/>
                  <a:gd name="T59" fmla="*/ 79 h 82"/>
                  <a:gd name="T60" fmla="*/ 59 w 74"/>
                  <a:gd name="T61" fmla="*/ 79 h 82"/>
                  <a:gd name="T62" fmla="*/ 53 w 74"/>
                  <a:gd name="T63" fmla="*/ 57 h 82"/>
                  <a:gd name="T64" fmla="*/ 56 w 74"/>
                  <a:gd name="T65" fmla="*/ 55 h 82"/>
                  <a:gd name="T66" fmla="*/ 56 w 74"/>
                  <a:gd name="T67" fmla="*/ 55 h 82"/>
                  <a:gd name="T68" fmla="*/ 69 w 74"/>
                  <a:gd name="T69" fmla="*/ 69 h 82"/>
                  <a:gd name="T70" fmla="*/ 74 w 74"/>
                  <a:gd name="T71" fmla="*/ 64 h 82"/>
                  <a:gd name="T72" fmla="*/ 55 w 74"/>
                  <a:gd name="T73" fmla="*/ 53 h 82"/>
                  <a:gd name="T74" fmla="*/ 40 w 74"/>
                  <a:gd name="T75" fmla="*/ 46 h 82"/>
                  <a:gd name="T76" fmla="*/ 39 w 74"/>
                  <a:gd name="T77" fmla="*/ 46 h 82"/>
                  <a:gd name="T78" fmla="*/ 38 w 74"/>
                  <a:gd name="T79" fmla="*/ 46 h 82"/>
                  <a:gd name="T80" fmla="*/ 37 w 74"/>
                  <a:gd name="T81" fmla="*/ 44 h 82"/>
                  <a:gd name="T82" fmla="*/ 44 w 74"/>
                  <a:gd name="T83" fmla="*/ 36 h 82"/>
                  <a:gd name="T84" fmla="*/ 46 w 74"/>
                  <a:gd name="T85" fmla="*/ 35 h 82"/>
                  <a:gd name="T86" fmla="*/ 46 w 74"/>
                  <a:gd name="T87" fmla="*/ 35 h 82"/>
                  <a:gd name="T88" fmla="*/ 40 w 74"/>
                  <a:gd name="T89" fmla="*/ 46 h 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74" h="82">
                    <a:moveTo>
                      <a:pt x="55" y="53"/>
                    </a:moveTo>
                    <a:cubicBezTo>
                      <a:pt x="55" y="53"/>
                      <a:pt x="54" y="52"/>
                      <a:pt x="54" y="51"/>
                    </a:cubicBezTo>
                    <a:cubicBezTo>
                      <a:pt x="55" y="51"/>
                      <a:pt x="56" y="50"/>
                      <a:pt x="57" y="49"/>
                    </a:cubicBezTo>
                    <a:cubicBezTo>
                      <a:pt x="57" y="48"/>
                      <a:pt x="56" y="47"/>
                      <a:pt x="56" y="45"/>
                    </a:cubicBezTo>
                    <a:cubicBezTo>
                      <a:pt x="54" y="45"/>
                      <a:pt x="53" y="45"/>
                      <a:pt x="52" y="45"/>
                    </a:cubicBezTo>
                    <a:cubicBezTo>
                      <a:pt x="51" y="45"/>
                      <a:pt x="51" y="44"/>
                      <a:pt x="51" y="44"/>
                    </a:cubicBezTo>
                    <a:cubicBezTo>
                      <a:pt x="53" y="40"/>
                      <a:pt x="59" y="36"/>
                      <a:pt x="60" y="32"/>
                    </a:cubicBezTo>
                    <a:cubicBezTo>
                      <a:pt x="60" y="31"/>
                      <a:pt x="60" y="31"/>
                      <a:pt x="60" y="30"/>
                    </a:cubicBezTo>
                    <a:cubicBezTo>
                      <a:pt x="50" y="21"/>
                      <a:pt x="41" y="31"/>
                      <a:pt x="34" y="38"/>
                    </a:cubicBezTo>
                    <a:cubicBezTo>
                      <a:pt x="33" y="38"/>
                      <a:pt x="33" y="38"/>
                      <a:pt x="33" y="38"/>
                    </a:cubicBezTo>
                    <a:cubicBezTo>
                      <a:pt x="34" y="30"/>
                      <a:pt x="48" y="16"/>
                      <a:pt x="60" y="16"/>
                    </a:cubicBezTo>
                    <a:cubicBezTo>
                      <a:pt x="61" y="14"/>
                      <a:pt x="61" y="12"/>
                      <a:pt x="61" y="10"/>
                    </a:cubicBezTo>
                    <a:cubicBezTo>
                      <a:pt x="50" y="3"/>
                      <a:pt x="52" y="11"/>
                      <a:pt x="42" y="11"/>
                    </a:cubicBezTo>
                    <a:cubicBezTo>
                      <a:pt x="38" y="10"/>
                      <a:pt x="32" y="1"/>
                      <a:pt x="27" y="0"/>
                    </a:cubicBezTo>
                    <a:cubicBezTo>
                      <a:pt x="26" y="0"/>
                      <a:pt x="25" y="0"/>
                      <a:pt x="24" y="0"/>
                    </a:cubicBezTo>
                    <a:cubicBezTo>
                      <a:pt x="21" y="5"/>
                      <a:pt x="30" y="14"/>
                      <a:pt x="29" y="21"/>
                    </a:cubicBezTo>
                    <a:cubicBezTo>
                      <a:pt x="19" y="27"/>
                      <a:pt x="17" y="33"/>
                      <a:pt x="11" y="39"/>
                    </a:cubicBezTo>
                    <a:cubicBezTo>
                      <a:pt x="8" y="42"/>
                      <a:pt x="4" y="42"/>
                      <a:pt x="1" y="44"/>
                    </a:cubicBezTo>
                    <a:cubicBezTo>
                      <a:pt x="1" y="45"/>
                      <a:pt x="0" y="46"/>
                      <a:pt x="0" y="47"/>
                    </a:cubicBezTo>
                    <a:cubicBezTo>
                      <a:pt x="11" y="69"/>
                      <a:pt x="23" y="30"/>
                      <a:pt x="35" y="26"/>
                    </a:cubicBezTo>
                    <a:cubicBezTo>
                      <a:pt x="35" y="26"/>
                      <a:pt x="35" y="26"/>
                      <a:pt x="35" y="26"/>
                    </a:cubicBezTo>
                    <a:cubicBezTo>
                      <a:pt x="33" y="33"/>
                      <a:pt x="28" y="39"/>
                      <a:pt x="30" y="48"/>
                    </a:cubicBezTo>
                    <a:cubicBezTo>
                      <a:pt x="30" y="51"/>
                      <a:pt x="37" y="56"/>
                      <a:pt x="40" y="57"/>
                    </a:cubicBezTo>
                    <a:cubicBezTo>
                      <a:pt x="37" y="64"/>
                      <a:pt x="32" y="69"/>
                      <a:pt x="35" y="78"/>
                    </a:cubicBezTo>
                    <a:cubicBezTo>
                      <a:pt x="39" y="79"/>
                      <a:pt x="42" y="80"/>
                      <a:pt x="45" y="82"/>
                    </a:cubicBezTo>
                    <a:cubicBezTo>
                      <a:pt x="46" y="81"/>
                      <a:pt x="46" y="81"/>
                      <a:pt x="47" y="80"/>
                    </a:cubicBezTo>
                    <a:cubicBezTo>
                      <a:pt x="49" y="77"/>
                      <a:pt x="45" y="70"/>
                      <a:pt x="46" y="67"/>
                    </a:cubicBezTo>
                    <a:cubicBezTo>
                      <a:pt x="46" y="66"/>
                      <a:pt x="46" y="66"/>
                      <a:pt x="47" y="66"/>
                    </a:cubicBezTo>
                    <a:cubicBezTo>
                      <a:pt x="48" y="67"/>
                      <a:pt x="49" y="71"/>
                      <a:pt x="50" y="73"/>
                    </a:cubicBezTo>
                    <a:cubicBezTo>
                      <a:pt x="52" y="76"/>
                      <a:pt x="55" y="77"/>
                      <a:pt x="58" y="79"/>
                    </a:cubicBezTo>
                    <a:cubicBezTo>
                      <a:pt x="58" y="79"/>
                      <a:pt x="58" y="79"/>
                      <a:pt x="59" y="79"/>
                    </a:cubicBezTo>
                    <a:cubicBezTo>
                      <a:pt x="60" y="72"/>
                      <a:pt x="53" y="64"/>
                      <a:pt x="53" y="57"/>
                    </a:cubicBezTo>
                    <a:cubicBezTo>
                      <a:pt x="54" y="56"/>
                      <a:pt x="55" y="56"/>
                      <a:pt x="56" y="55"/>
                    </a:cubicBezTo>
                    <a:cubicBezTo>
                      <a:pt x="56" y="55"/>
                      <a:pt x="56" y="55"/>
                      <a:pt x="56" y="55"/>
                    </a:cubicBezTo>
                    <a:cubicBezTo>
                      <a:pt x="63" y="60"/>
                      <a:pt x="59" y="67"/>
                      <a:pt x="69" y="69"/>
                    </a:cubicBezTo>
                    <a:cubicBezTo>
                      <a:pt x="71" y="67"/>
                      <a:pt x="72" y="66"/>
                      <a:pt x="74" y="64"/>
                    </a:cubicBezTo>
                    <a:cubicBezTo>
                      <a:pt x="71" y="56"/>
                      <a:pt x="63" y="51"/>
                      <a:pt x="55" y="53"/>
                    </a:cubicBezTo>
                    <a:close/>
                    <a:moveTo>
                      <a:pt x="40" y="46"/>
                    </a:moveTo>
                    <a:cubicBezTo>
                      <a:pt x="40" y="46"/>
                      <a:pt x="39" y="46"/>
                      <a:pt x="39" y="46"/>
                    </a:cubicBezTo>
                    <a:cubicBezTo>
                      <a:pt x="38" y="46"/>
                      <a:pt x="38" y="46"/>
                      <a:pt x="38" y="46"/>
                    </a:cubicBezTo>
                    <a:cubicBezTo>
                      <a:pt x="38" y="45"/>
                      <a:pt x="37" y="45"/>
                      <a:pt x="37" y="44"/>
                    </a:cubicBezTo>
                    <a:cubicBezTo>
                      <a:pt x="39" y="41"/>
                      <a:pt x="42" y="39"/>
                      <a:pt x="44" y="36"/>
                    </a:cubicBezTo>
                    <a:cubicBezTo>
                      <a:pt x="45" y="36"/>
                      <a:pt x="45" y="35"/>
                      <a:pt x="46" y="35"/>
                    </a:cubicBezTo>
                    <a:cubicBezTo>
                      <a:pt x="46" y="35"/>
                      <a:pt x="46" y="35"/>
                      <a:pt x="46" y="35"/>
                    </a:cubicBezTo>
                    <a:cubicBezTo>
                      <a:pt x="44" y="39"/>
                      <a:pt x="42" y="42"/>
                      <a:pt x="40" y="46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1049520" name="ïşḻíḍe"/>
              <p:cNvSpPr/>
              <p:nvPr/>
            </p:nvSpPr>
            <p:spPr bwMode="auto">
              <a:xfrm>
                <a:off x="1882672" y="4669428"/>
                <a:ext cx="160338" cy="169863"/>
              </a:xfrm>
              <a:custGeom>
                <a:avLst/>
                <a:gdLst>
                  <a:gd name="T0" fmla="*/ 29 w 87"/>
                  <a:gd name="T1" fmla="*/ 8 h 92"/>
                  <a:gd name="T2" fmla="*/ 52 w 87"/>
                  <a:gd name="T3" fmla="*/ 17 h 92"/>
                  <a:gd name="T4" fmla="*/ 61 w 87"/>
                  <a:gd name="T5" fmla="*/ 16 h 92"/>
                  <a:gd name="T6" fmla="*/ 62 w 87"/>
                  <a:gd name="T7" fmla="*/ 17 h 92"/>
                  <a:gd name="T8" fmla="*/ 69 w 87"/>
                  <a:gd name="T9" fmla="*/ 42 h 92"/>
                  <a:gd name="T10" fmla="*/ 86 w 87"/>
                  <a:gd name="T11" fmla="*/ 35 h 92"/>
                  <a:gd name="T12" fmla="*/ 87 w 87"/>
                  <a:gd name="T13" fmla="*/ 39 h 92"/>
                  <a:gd name="T14" fmla="*/ 76 w 87"/>
                  <a:gd name="T15" fmla="*/ 55 h 92"/>
                  <a:gd name="T16" fmla="*/ 67 w 87"/>
                  <a:gd name="T17" fmla="*/ 76 h 92"/>
                  <a:gd name="T18" fmla="*/ 65 w 87"/>
                  <a:gd name="T19" fmla="*/ 74 h 92"/>
                  <a:gd name="T20" fmla="*/ 69 w 87"/>
                  <a:gd name="T21" fmla="*/ 53 h 92"/>
                  <a:gd name="T22" fmla="*/ 55 w 87"/>
                  <a:gd name="T23" fmla="*/ 40 h 92"/>
                  <a:gd name="T24" fmla="*/ 45 w 87"/>
                  <a:gd name="T25" fmla="*/ 44 h 92"/>
                  <a:gd name="T26" fmla="*/ 46 w 87"/>
                  <a:gd name="T27" fmla="*/ 89 h 92"/>
                  <a:gd name="T28" fmla="*/ 38 w 87"/>
                  <a:gd name="T29" fmla="*/ 92 h 92"/>
                  <a:gd name="T30" fmla="*/ 27 w 87"/>
                  <a:gd name="T31" fmla="*/ 68 h 92"/>
                  <a:gd name="T32" fmla="*/ 14 w 87"/>
                  <a:gd name="T33" fmla="*/ 70 h 92"/>
                  <a:gd name="T34" fmla="*/ 12 w 87"/>
                  <a:gd name="T35" fmla="*/ 65 h 92"/>
                  <a:gd name="T36" fmla="*/ 18 w 87"/>
                  <a:gd name="T37" fmla="*/ 58 h 92"/>
                  <a:gd name="T38" fmla="*/ 0 w 87"/>
                  <a:gd name="T39" fmla="*/ 42 h 92"/>
                  <a:gd name="T40" fmla="*/ 0 w 87"/>
                  <a:gd name="T41" fmla="*/ 42 h 92"/>
                  <a:gd name="T42" fmla="*/ 21 w 87"/>
                  <a:gd name="T43" fmla="*/ 39 h 92"/>
                  <a:gd name="T44" fmla="*/ 27 w 87"/>
                  <a:gd name="T45" fmla="*/ 48 h 92"/>
                  <a:gd name="T46" fmla="*/ 34 w 87"/>
                  <a:gd name="T47" fmla="*/ 52 h 92"/>
                  <a:gd name="T48" fmla="*/ 36 w 87"/>
                  <a:gd name="T49" fmla="*/ 62 h 92"/>
                  <a:gd name="T50" fmla="*/ 39 w 87"/>
                  <a:gd name="T51" fmla="*/ 44 h 92"/>
                  <a:gd name="T52" fmla="*/ 46 w 87"/>
                  <a:gd name="T53" fmla="*/ 28 h 92"/>
                  <a:gd name="T54" fmla="*/ 29 w 87"/>
                  <a:gd name="T55" fmla="*/ 8 h 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87" h="92">
                    <a:moveTo>
                      <a:pt x="29" y="8"/>
                    </a:moveTo>
                    <a:cubicBezTo>
                      <a:pt x="42" y="0"/>
                      <a:pt x="43" y="12"/>
                      <a:pt x="52" y="17"/>
                    </a:cubicBezTo>
                    <a:cubicBezTo>
                      <a:pt x="55" y="15"/>
                      <a:pt x="58" y="15"/>
                      <a:pt x="61" y="16"/>
                    </a:cubicBezTo>
                    <a:cubicBezTo>
                      <a:pt x="61" y="16"/>
                      <a:pt x="62" y="17"/>
                      <a:pt x="62" y="17"/>
                    </a:cubicBezTo>
                    <a:cubicBezTo>
                      <a:pt x="62" y="26"/>
                      <a:pt x="58" y="33"/>
                      <a:pt x="69" y="42"/>
                    </a:cubicBezTo>
                    <a:cubicBezTo>
                      <a:pt x="75" y="35"/>
                      <a:pt x="80" y="33"/>
                      <a:pt x="86" y="35"/>
                    </a:cubicBezTo>
                    <a:cubicBezTo>
                      <a:pt x="87" y="36"/>
                      <a:pt x="87" y="38"/>
                      <a:pt x="87" y="39"/>
                    </a:cubicBezTo>
                    <a:cubicBezTo>
                      <a:pt x="83" y="45"/>
                      <a:pt x="80" y="50"/>
                      <a:pt x="76" y="55"/>
                    </a:cubicBezTo>
                    <a:cubicBezTo>
                      <a:pt x="71" y="62"/>
                      <a:pt x="71" y="70"/>
                      <a:pt x="67" y="76"/>
                    </a:cubicBezTo>
                    <a:cubicBezTo>
                      <a:pt x="66" y="75"/>
                      <a:pt x="66" y="75"/>
                      <a:pt x="65" y="74"/>
                    </a:cubicBezTo>
                    <a:cubicBezTo>
                      <a:pt x="63" y="66"/>
                      <a:pt x="67" y="60"/>
                      <a:pt x="69" y="53"/>
                    </a:cubicBezTo>
                    <a:cubicBezTo>
                      <a:pt x="64" y="51"/>
                      <a:pt x="60" y="46"/>
                      <a:pt x="55" y="40"/>
                    </a:cubicBezTo>
                    <a:cubicBezTo>
                      <a:pt x="52" y="42"/>
                      <a:pt x="49" y="41"/>
                      <a:pt x="45" y="44"/>
                    </a:cubicBezTo>
                    <a:cubicBezTo>
                      <a:pt x="40" y="59"/>
                      <a:pt x="48" y="75"/>
                      <a:pt x="46" y="89"/>
                    </a:cubicBezTo>
                    <a:cubicBezTo>
                      <a:pt x="43" y="92"/>
                      <a:pt x="41" y="91"/>
                      <a:pt x="38" y="92"/>
                    </a:cubicBezTo>
                    <a:cubicBezTo>
                      <a:pt x="31" y="83"/>
                      <a:pt x="33" y="76"/>
                      <a:pt x="27" y="68"/>
                    </a:cubicBezTo>
                    <a:cubicBezTo>
                      <a:pt x="23" y="71"/>
                      <a:pt x="18" y="71"/>
                      <a:pt x="14" y="70"/>
                    </a:cubicBezTo>
                    <a:cubicBezTo>
                      <a:pt x="12" y="68"/>
                      <a:pt x="12" y="67"/>
                      <a:pt x="12" y="65"/>
                    </a:cubicBezTo>
                    <a:cubicBezTo>
                      <a:pt x="14" y="63"/>
                      <a:pt x="16" y="60"/>
                      <a:pt x="18" y="58"/>
                    </a:cubicBezTo>
                    <a:cubicBezTo>
                      <a:pt x="13" y="49"/>
                      <a:pt x="3" y="48"/>
                      <a:pt x="0" y="42"/>
                    </a:cubicBezTo>
                    <a:cubicBezTo>
                      <a:pt x="0" y="42"/>
                      <a:pt x="0" y="42"/>
                      <a:pt x="0" y="42"/>
                    </a:cubicBezTo>
                    <a:cubicBezTo>
                      <a:pt x="6" y="39"/>
                      <a:pt x="15" y="35"/>
                      <a:pt x="21" y="39"/>
                    </a:cubicBezTo>
                    <a:cubicBezTo>
                      <a:pt x="23" y="42"/>
                      <a:pt x="25" y="45"/>
                      <a:pt x="27" y="48"/>
                    </a:cubicBezTo>
                    <a:cubicBezTo>
                      <a:pt x="29" y="50"/>
                      <a:pt x="31" y="51"/>
                      <a:pt x="34" y="52"/>
                    </a:cubicBezTo>
                    <a:cubicBezTo>
                      <a:pt x="34" y="55"/>
                      <a:pt x="35" y="58"/>
                      <a:pt x="36" y="62"/>
                    </a:cubicBezTo>
                    <a:cubicBezTo>
                      <a:pt x="39" y="56"/>
                      <a:pt x="38" y="50"/>
                      <a:pt x="39" y="44"/>
                    </a:cubicBezTo>
                    <a:cubicBezTo>
                      <a:pt x="42" y="39"/>
                      <a:pt x="44" y="34"/>
                      <a:pt x="46" y="28"/>
                    </a:cubicBezTo>
                    <a:cubicBezTo>
                      <a:pt x="42" y="22"/>
                      <a:pt x="31" y="15"/>
                      <a:pt x="29" y="8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1049521" name="íṩľíḑè"/>
              <p:cNvSpPr/>
              <p:nvPr/>
            </p:nvSpPr>
            <p:spPr bwMode="auto">
              <a:xfrm>
                <a:off x="2243034" y="6066428"/>
                <a:ext cx="22225" cy="25400"/>
              </a:xfrm>
              <a:custGeom>
                <a:avLst/>
                <a:gdLst>
                  <a:gd name="T0" fmla="*/ 0 w 14"/>
                  <a:gd name="T1" fmla="*/ 12 h 16"/>
                  <a:gd name="T2" fmla="*/ 2 w 14"/>
                  <a:gd name="T3" fmla="*/ 0 h 16"/>
                  <a:gd name="T4" fmla="*/ 14 w 14"/>
                  <a:gd name="T5" fmla="*/ 4 h 16"/>
                  <a:gd name="T6" fmla="*/ 11 w 14"/>
                  <a:gd name="T7" fmla="*/ 16 h 16"/>
                  <a:gd name="T8" fmla="*/ 0 w 14"/>
                  <a:gd name="T9" fmla="*/ 12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4" h="16">
                    <a:moveTo>
                      <a:pt x="0" y="12"/>
                    </a:moveTo>
                    <a:lnTo>
                      <a:pt x="2" y="0"/>
                    </a:lnTo>
                    <a:lnTo>
                      <a:pt x="14" y="4"/>
                    </a:lnTo>
                    <a:lnTo>
                      <a:pt x="11" y="16"/>
                    </a:lnTo>
                    <a:lnTo>
                      <a:pt x="0" y="12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1049522" name="îṣḷïḓê"/>
              <p:cNvSpPr/>
              <p:nvPr/>
            </p:nvSpPr>
            <p:spPr bwMode="auto">
              <a:xfrm>
                <a:off x="2292247" y="6042615"/>
                <a:ext cx="49213" cy="100013"/>
              </a:xfrm>
              <a:custGeom>
                <a:avLst/>
                <a:gdLst>
                  <a:gd name="T0" fmla="*/ 17 w 27"/>
                  <a:gd name="T1" fmla="*/ 54 h 54"/>
                  <a:gd name="T2" fmla="*/ 7 w 27"/>
                  <a:gd name="T3" fmla="*/ 52 h 54"/>
                  <a:gd name="T4" fmla="*/ 14 w 27"/>
                  <a:gd name="T5" fmla="*/ 15 h 54"/>
                  <a:gd name="T6" fmla="*/ 0 w 27"/>
                  <a:gd name="T7" fmla="*/ 20 h 54"/>
                  <a:gd name="T8" fmla="*/ 1 w 27"/>
                  <a:gd name="T9" fmla="*/ 11 h 54"/>
                  <a:gd name="T10" fmla="*/ 11 w 27"/>
                  <a:gd name="T11" fmla="*/ 7 h 54"/>
                  <a:gd name="T12" fmla="*/ 18 w 27"/>
                  <a:gd name="T13" fmla="*/ 0 h 54"/>
                  <a:gd name="T14" fmla="*/ 27 w 27"/>
                  <a:gd name="T15" fmla="*/ 2 h 54"/>
                  <a:gd name="T16" fmla="*/ 17 w 27"/>
                  <a:gd name="T17" fmla="*/ 54 h 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7" h="54">
                    <a:moveTo>
                      <a:pt x="17" y="54"/>
                    </a:moveTo>
                    <a:cubicBezTo>
                      <a:pt x="7" y="52"/>
                      <a:pt x="7" y="52"/>
                      <a:pt x="7" y="52"/>
                    </a:cubicBezTo>
                    <a:cubicBezTo>
                      <a:pt x="14" y="15"/>
                      <a:pt x="14" y="15"/>
                      <a:pt x="14" y="15"/>
                    </a:cubicBezTo>
                    <a:cubicBezTo>
                      <a:pt x="10" y="17"/>
                      <a:pt x="5" y="19"/>
                      <a:pt x="0" y="20"/>
                    </a:cubicBezTo>
                    <a:cubicBezTo>
                      <a:pt x="1" y="11"/>
                      <a:pt x="1" y="11"/>
                      <a:pt x="1" y="11"/>
                    </a:cubicBezTo>
                    <a:cubicBezTo>
                      <a:pt x="4" y="10"/>
                      <a:pt x="7" y="9"/>
                      <a:pt x="11" y="7"/>
                    </a:cubicBezTo>
                    <a:cubicBezTo>
                      <a:pt x="14" y="6"/>
                      <a:pt x="17" y="3"/>
                      <a:pt x="18" y="0"/>
                    </a:cubicBezTo>
                    <a:cubicBezTo>
                      <a:pt x="27" y="2"/>
                      <a:pt x="27" y="2"/>
                      <a:pt x="27" y="2"/>
                    </a:cubicBezTo>
                    <a:lnTo>
                      <a:pt x="17" y="54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1049523" name="i$ḻîḓé"/>
              <p:cNvSpPr/>
              <p:nvPr/>
            </p:nvSpPr>
            <p:spPr bwMode="auto">
              <a:xfrm>
                <a:off x="2363684" y="6052140"/>
                <a:ext cx="66675" cy="100013"/>
              </a:xfrm>
              <a:custGeom>
                <a:avLst/>
                <a:gdLst>
                  <a:gd name="T0" fmla="*/ 0 w 36"/>
                  <a:gd name="T1" fmla="*/ 40 h 54"/>
                  <a:gd name="T2" fmla="*/ 10 w 36"/>
                  <a:gd name="T3" fmla="*/ 39 h 54"/>
                  <a:gd name="T4" fmla="*/ 11 w 36"/>
                  <a:gd name="T5" fmla="*/ 44 h 54"/>
                  <a:gd name="T6" fmla="*/ 15 w 36"/>
                  <a:gd name="T7" fmla="*/ 46 h 54"/>
                  <a:gd name="T8" fmla="*/ 21 w 36"/>
                  <a:gd name="T9" fmla="*/ 43 h 54"/>
                  <a:gd name="T10" fmla="*/ 24 w 36"/>
                  <a:gd name="T11" fmla="*/ 31 h 54"/>
                  <a:gd name="T12" fmla="*/ 15 w 36"/>
                  <a:gd name="T13" fmla="*/ 35 h 54"/>
                  <a:gd name="T14" fmla="*/ 4 w 36"/>
                  <a:gd name="T15" fmla="*/ 30 h 54"/>
                  <a:gd name="T16" fmla="*/ 0 w 36"/>
                  <a:gd name="T17" fmla="*/ 17 h 54"/>
                  <a:gd name="T18" fmla="*/ 6 w 36"/>
                  <a:gd name="T19" fmla="*/ 4 h 54"/>
                  <a:gd name="T20" fmla="*/ 19 w 36"/>
                  <a:gd name="T21" fmla="*/ 0 h 54"/>
                  <a:gd name="T22" fmla="*/ 31 w 36"/>
                  <a:gd name="T23" fmla="*/ 7 h 54"/>
                  <a:gd name="T24" fmla="*/ 35 w 36"/>
                  <a:gd name="T25" fmla="*/ 28 h 54"/>
                  <a:gd name="T26" fmla="*/ 28 w 36"/>
                  <a:gd name="T27" fmla="*/ 49 h 54"/>
                  <a:gd name="T28" fmla="*/ 14 w 36"/>
                  <a:gd name="T29" fmla="*/ 54 h 54"/>
                  <a:gd name="T30" fmla="*/ 4 w 36"/>
                  <a:gd name="T31" fmla="*/ 50 h 54"/>
                  <a:gd name="T32" fmla="*/ 0 w 36"/>
                  <a:gd name="T33" fmla="*/ 40 h 54"/>
                  <a:gd name="T34" fmla="*/ 24 w 36"/>
                  <a:gd name="T35" fmla="*/ 19 h 54"/>
                  <a:gd name="T36" fmla="*/ 23 w 36"/>
                  <a:gd name="T37" fmla="*/ 11 h 54"/>
                  <a:gd name="T38" fmla="*/ 18 w 36"/>
                  <a:gd name="T39" fmla="*/ 8 h 54"/>
                  <a:gd name="T40" fmla="*/ 13 w 36"/>
                  <a:gd name="T41" fmla="*/ 10 h 54"/>
                  <a:gd name="T42" fmla="*/ 10 w 36"/>
                  <a:gd name="T43" fmla="*/ 17 h 54"/>
                  <a:gd name="T44" fmla="*/ 12 w 36"/>
                  <a:gd name="T45" fmla="*/ 25 h 54"/>
                  <a:gd name="T46" fmla="*/ 17 w 36"/>
                  <a:gd name="T47" fmla="*/ 28 h 54"/>
                  <a:gd name="T48" fmla="*/ 22 w 36"/>
                  <a:gd name="T49" fmla="*/ 26 h 54"/>
                  <a:gd name="T50" fmla="*/ 24 w 36"/>
                  <a:gd name="T51" fmla="*/ 19 h 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6" h="54">
                    <a:moveTo>
                      <a:pt x="0" y="40"/>
                    </a:moveTo>
                    <a:cubicBezTo>
                      <a:pt x="10" y="39"/>
                      <a:pt x="10" y="39"/>
                      <a:pt x="10" y="39"/>
                    </a:cubicBezTo>
                    <a:cubicBezTo>
                      <a:pt x="10" y="41"/>
                      <a:pt x="10" y="43"/>
                      <a:pt x="11" y="44"/>
                    </a:cubicBezTo>
                    <a:cubicBezTo>
                      <a:pt x="12" y="45"/>
                      <a:pt x="14" y="46"/>
                      <a:pt x="15" y="46"/>
                    </a:cubicBezTo>
                    <a:cubicBezTo>
                      <a:pt x="17" y="46"/>
                      <a:pt x="19" y="45"/>
                      <a:pt x="21" y="43"/>
                    </a:cubicBezTo>
                    <a:cubicBezTo>
                      <a:pt x="22" y="41"/>
                      <a:pt x="24" y="37"/>
                      <a:pt x="24" y="31"/>
                    </a:cubicBezTo>
                    <a:cubicBezTo>
                      <a:pt x="22" y="34"/>
                      <a:pt x="18" y="35"/>
                      <a:pt x="15" y="35"/>
                    </a:cubicBezTo>
                    <a:cubicBezTo>
                      <a:pt x="10" y="35"/>
                      <a:pt x="7" y="33"/>
                      <a:pt x="4" y="30"/>
                    </a:cubicBezTo>
                    <a:cubicBezTo>
                      <a:pt x="1" y="26"/>
                      <a:pt x="0" y="22"/>
                      <a:pt x="0" y="17"/>
                    </a:cubicBezTo>
                    <a:cubicBezTo>
                      <a:pt x="1" y="11"/>
                      <a:pt x="3" y="7"/>
                      <a:pt x="6" y="4"/>
                    </a:cubicBezTo>
                    <a:cubicBezTo>
                      <a:pt x="10" y="1"/>
                      <a:pt x="14" y="0"/>
                      <a:pt x="19" y="0"/>
                    </a:cubicBezTo>
                    <a:cubicBezTo>
                      <a:pt x="24" y="0"/>
                      <a:pt x="28" y="3"/>
                      <a:pt x="31" y="7"/>
                    </a:cubicBezTo>
                    <a:cubicBezTo>
                      <a:pt x="35" y="12"/>
                      <a:pt x="36" y="19"/>
                      <a:pt x="35" y="28"/>
                    </a:cubicBezTo>
                    <a:cubicBezTo>
                      <a:pt x="34" y="38"/>
                      <a:pt x="32" y="44"/>
                      <a:pt x="28" y="49"/>
                    </a:cubicBezTo>
                    <a:cubicBezTo>
                      <a:pt x="24" y="53"/>
                      <a:pt x="20" y="54"/>
                      <a:pt x="14" y="54"/>
                    </a:cubicBezTo>
                    <a:cubicBezTo>
                      <a:pt x="10" y="54"/>
                      <a:pt x="7" y="52"/>
                      <a:pt x="4" y="50"/>
                    </a:cubicBezTo>
                    <a:cubicBezTo>
                      <a:pt x="2" y="48"/>
                      <a:pt x="0" y="44"/>
                      <a:pt x="0" y="40"/>
                    </a:cubicBezTo>
                    <a:close/>
                    <a:moveTo>
                      <a:pt x="24" y="19"/>
                    </a:moveTo>
                    <a:cubicBezTo>
                      <a:pt x="25" y="16"/>
                      <a:pt x="24" y="13"/>
                      <a:pt x="23" y="11"/>
                    </a:cubicBezTo>
                    <a:cubicBezTo>
                      <a:pt x="21" y="10"/>
                      <a:pt x="20" y="9"/>
                      <a:pt x="18" y="8"/>
                    </a:cubicBezTo>
                    <a:cubicBezTo>
                      <a:pt x="16" y="8"/>
                      <a:pt x="14" y="9"/>
                      <a:pt x="13" y="10"/>
                    </a:cubicBezTo>
                    <a:cubicBezTo>
                      <a:pt x="11" y="12"/>
                      <a:pt x="11" y="14"/>
                      <a:pt x="10" y="17"/>
                    </a:cubicBezTo>
                    <a:cubicBezTo>
                      <a:pt x="10" y="21"/>
                      <a:pt x="11" y="23"/>
                      <a:pt x="12" y="25"/>
                    </a:cubicBezTo>
                    <a:cubicBezTo>
                      <a:pt x="13" y="27"/>
                      <a:pt x="15" y="28"/>
                      <a:pt x="17" y="28"/>
                    </a:cubicBezTo>
                    <a:cubicBezTo>
                      <a:pt x="19" y="28"/>
                      <a:pt x="20" y="27"/>
                      <a:pt x="22" y="26"/>
                    </a:cubicBezTo>
                    <a:cubicBezTo>
                      <a:pt x="23" y="24"/>
                      <a:pt x="24" y="22"/>
                      <a:pt x="24" y="1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1049524" name="îṧľîḋé"/>
              <p:cNvSpPr/>
              <p:nvPr/>
            </p:nvSpPr>
            <p:spPr bwMode="auto">
              <a:xfrm>
                <a:off x="2446234" y="6053728"/>
                <a:ext cx="66675" cy="100013"/>
              </a:xfrm>
              <a:custGeom>
                <a:avLst/>
                <a:gdLst>
                  <a:gd name="T0" fmla="*/ 0 w 36"/>
                  <a:gd name="T1" fmla="*/ 40 h 54"/>
                  <a:gd name="T2" fmla="*/ 10 w 36"/>
                  <a:gd name="T3" fmla="*/ 39 h 54"/>
                  <a:gd name="T4" fmla="*/ 13 w 36"/>
                  <a:gd name="T5" fmla="*/ 44 h 54"/>
                  <a:gd name="T6" fmla="*/ 18 w 36"/>
                  <a:gd name="T7" fmla="*/ 46 h 54"/>
                  <a:gd name="T8" fmla="*/ 23 w 36"/>
                  <a:gd name="T9" fmla="*/ 43 h 54"/>
                  <a:gd name="T10" fmla="*/ 25 w 36"/>
                  <a:gd name="T11" fmla="*/ 35 h 54"/>
                  <a:gd name="T12" fmla="*/ 23 w 36"/>
                  <a:gd name="T13" fmla="*/ 28 h 54"/>
                  <a:gd name="T14" fmla="*/ 17 w 36"/>
                  <a:gd name="T15" fmla="*/ 26 h 54"/>
                  <a:gd name="T16" fmla="*/ 9 w 36"/>
                  <a:gd name="T17" fmla="*/ 30 h 54"/>
                  <a:gd name="T18" fmla="*/ 1 w 36"/>
                  <a:gd name="T19" fmla="*/ 29 h 54"/>
                  <a:gd name="T20" fmla="*/ 5 w 36"/>
                  <a:gd name="T21" fmla="*/ 1 h 54"/>
                  <a:gd name="T22" fmla="*/ 32 w 36"/>
                  <a:gd name="T23" fmla="*/ 0 h 54"/>
                  <a:gd name="T24" fmla="*/ 32 w 36"/>
                  <a:gd name="T25" fmla="*/ 10 h 54"/>
                  <a:gd name="T26" fmla="*/ 13 w 36"/>
                  <a:gd name="T27" fmla="*/ 10 h 54"/>
                  <a:gd name="T28" fmla="*/ 12 w 36"/>
                  <a:gd name="T29" fmla="*/ 19 h 54"/>
                  <a:gd name="T30" fmla="*/ 19 w 36"/>
                  <a:gd name="T31" fmla="*/ 17 h 54"/>
                  <a:gd name="T32" fmla="*/ 30 w 36"/>
                  <a:gd name="T33" fmla="*/ 22 h 54"/>
                  <a:gd name="T34" fmla="*/ 36 w 36"/>
                  <a:gd name="T35" fmla="*/ 34 h 54"/>
                  <a:gd name="T36" fmla="*/ 32 w 36"/>
                  <a:gd name="T37" fmla="*/ 46 h 54"/>
                  <a:gd name="T38" fmla="*/ 18 w 36"/>
                  <a:gd name="T39" fmla="*/ 54 h 54"/>
                  <a:gd name="T40" fmla="*/ 6 w 36"/>
                  <a:gd name="T41" fmla="*/ 50 h 54"/>
                  <a:gd name="T42" fmla="*/ 0 w 36"/>
                  <a:gd name="T43" fmla="*/ 40 h 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36" h="54">
                    <a:moveTo>
                      <a:pt x="0" y="40"/>
                    </a:moveTo>
                    <a:cubicBezTo>
                      <a:pt x="10" y="39"/>
                      <a:pt x="10" y="39"/>
                      <a:pt x="10" y="39"/>
                    </a:cubicBezTo>
                    <a:cubicBezTo>
                      <a:pt x="11" y="41"/>
                      <a:pt x="11" y="43"/>
                      <a:pt x="13" y="44"/>
                    </a:cubicBezTo>
                    <a:cubicBezTo>
                      <a:pt x="14" y="45"/>
                      <a:pt x="16" y="46"/>
                      <a:pt x="18" y="46"/>
                    </a:cubicBezTo>
                    <a:cubicBezTo>
                      <a:pt x="20" y="46"/>
                      <a:pt x="22" y="45"/>
                      <a:pt x="23" y="43"/>
                    </a:cubicBezTo>
                    <a:cubicBezTo>
                      <a:pt x="25" y="41"/>
                      <a:pt x="25" y="38"/>
                      <a:pt x="25" y="35"/>
                    </a:cubicBezTo>
                    <a:cubicBezTo>
                      <a:pt x="25" y="32"/>
                      <a:pt x="24" y="29"/>
                      <a:pt x="23" y="28"/>
                    </a:cubicBezTo>
                    <a:cubicBezTo>
                      <a:pt x="21" y="26"/>
                      <a:pt x="19" y="25"/>
                      <a:pt x="17" y="26"/>
                    </a:cubicBezTo>
                    <a:cubicBezTo>
                      <a:pt x="14" y="26"/>
                      <a:pt x="11" y="27"/>
                      <a:pt x="9" y="30"/>
                    </a:cubicBezTo>
                    <a:cubicBezTo>
                      <a:pt x="1" y="29"/>
                      <a:pt x="1" y="29"/>
                      <a:pt x="1" y="29"/>
                    </a:cubicBezTo>
                    <a:cubicBezTo>
                      <a:pt x="5" y="1"/>
                      <a:pt x="5" y="1"/>
                      <a:pt x="5" y="1"/>
                    </a:cubicBezTo>
                    <a:cubicBezTo>
                      <a:pt x="32" y="0"/>
                      <a:pt x="32" y="0"/>
                      <a:pt x="32" y="0"/>
                    </a:cubicBezTo>
                    <a:cubicBezTo>
                      <a:pt x="32" y="10"/>
                      <a:pt x="32" y="10"/>
                      <a:pt x="32" y="10"/>
                    </a:cubicBezTo>
                    <a:cubicBezTo>
                      <a:pt x="13" y="10"/>
                      <a:pt x="13" y="10"/>
                      <a:pt x="13" y="10"/>
                    </a:cubicBezTo>
                    <a:cubicBezTo>
                      <a:pt x="12" y="19"/>
                      <a:pt x="12" y="19"/>
                      <a:pt x="12" y="19"/>
                    </a:cubicBezTo>
                    <a:cubicBezTo>
                      <a:pt x="14" y="18"/>
                      <a:pt x="16" y="17"/>
                      <a:pt x="19" y="17"/>
                    </a:cubicBezTo>
                    <a:cubicBezTo>
                      <a:pt x="23" y="17"/>
                      <a:pt x="27" y="19"/>
                      <a:pt x="30" y="22"/>
                    </a:cubicBezTo>
                    <a:cubicBezTo>
                      <a:pt x="34" y="25"/>
                      <a:pt x="35" y="29"/>
                      <a:pt x="36" y="34"/>
                    </a:cubicBezTo>
                    <a:cubicBezTo>
                      <a:pt x="36" y="39"/>
                      <a:pt x="35" y="43"/>
                      <a:pt x="32" y="46"/>
                    </a:cubicBezTo>
                    <a:cubicBezTo>
                      <a:pt x="29" y="51"/>
                      <a:pt x="24" y="54"/>
                      <a:pt x="18" y="54"/>
                    </a:cubicBezTo>
                    <a:cubicBezTo>
                      <a:pt x="13" y="54"/>
                      <a:pt x="9" y="53"/>
                      <a:pt x="6" y="50"/>
                    </a:cubicBezTo>
                    <a:cubicBezTo>
                      <a:pt x="3" y="48"/>
                      <a:pt x="1" y="44"/>
                      <a:pt x="0" y="4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1049525" name="i$ḻïḑê"/>
              <p:cNvSpPr/>
              <p:nvPr/>
            </p:nvSpPr>
            <p:spPr bwMode="auto">
              <a:xfrm>
                <a:off x="2522434" y="6045790"/>
                <a:ext cx="74613" cy="103188"/>
              </a:xfrm>
              <a:custGeom>
                <a:avLst/>
                <a:gdLst>
                  <a:gd name="T0" fmla="*/ 39 w 40"/>
                  <a:gd name="T1" fmla="*/ 42 h 56"/>
                  <a:gd name="T2" fmla="*/ 40 w 40"/>
                  <a:gd name="T3" fmla="*/ 51 h 56"/>
                  <a:gd name="T4" fmla="*/ 5 w 40"/>
                  <a:gd name="T5" fmla="*/ 56 h 56"/>
                  <a:gd name="T6" fmla="*/ 7 w 40"/>
                  <a:gd name="T7" fmla="*/ 46 h 56"/>
                  <a:gd name="T8" fmla="*/ 16 w 40"/>
                  <a:gd name="T9" fmla="*/ 32 h 56"/>
                  <a:gd name="T10" fmla="*/ 23 w 40"/>
                  <a:gd name="T11" fmla="*/ 22 h 56"/>
                  <a:gd name="T12" fmla="*/ 24 w 40"/>
                  <a:gd name="T13" fmla="*/ 15 h 56"/>
                  <a:gd name="T14" fmla="*/ 22 w 40"/>
                  <a:gd name="T15" fmla="*/ 10 h 56"/>
                  <a:gd name="T16" fmla="*/ 17 w 40"/>
                  <a:gd name="T17" fmla="*/ 9 h 56"/>
                  <a:gd name="T18" fmla="*/ 12 w 40"/>
                  <a:gd name="T19" fmla="*/ 12 h 56"/>
                  <a:gd name="T20" fmla="*/ 11 w 40"/>
                  <a:gd name="T21" fmla="*/ 19 h 56"/>
                  <a:gd name="T22" fmla="*/ 1 w 40"/>
                  <a:gd name="T23" fmla="*/ 19 h 56"/>
                  <a:gd name="T24" fmla="*/ 4 w 40"/>
                  <a:gd name="T25" fmla="*/ 6 h 56"/>
                  <a:gd name="T26" fmla="*/ 16 w 40"/>
                  <a:gd name="T27" fmla="*/ 1 h 56"/>
                  <a:gd name="T28" fmla="*/ 28 w 40"/>
                  <a:gd name="T29" fmla="*/ 3 h 56"/>
                  <a:gd name="T30" fmla="*/ 34 w 40"/>
                  <a:gd name="T31" fmla="*/ 13 h 56"/>
                  <a:gd name="T32" fmla="*/ 34 w 40"/>
                  <a:gd name="T33" fmla="*/ 20 h 56"/>
                  <a:gd name="T34" fmla="*/ 31 w 40"/>
                  <a:gd name="T35" fmla="*/ 27 h 56"/>
                  <a:gd name="T36" fmla="*/ 26 w 40"/>
                  <a:gd name="T37" fmla="*/ 35 h 56"/>
                  <a:gd name="T38" fmla="*/ 20 w 40"/>
                  <a:gd name="T39" fmla="*/ 42 h 56"/>
                  <a:gd name="T40" fmla="*/ 19 w 40"/>
                  <a:gd name="T41" fmla="*/ 45 h 56"/>
                  <a:gd name="T42" fmla="*/ 39 w 40"/>
                  <a:gd name="T43" fmla="*/ 42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40" h="56">
                    <a:moveTo>
                      <a:pt x="39" y="42"/>
                    </a:moveTo>
                    <a:cubicBezTo>
                      <a:pt x="40" y="51"/>
                      <a:pt x="40" y="51"/>
                      <a:pt x="40" y="51"/>
                    </a:cubicBezTo>
                    <a:cubicBezTo>
                      <a:pt x="5" y="56"/>
                      <a:pt x="5" y="56"/>
                      <a:pt x="5" y="56"/>
                    </a:cubicBezTo>
                    <a:cubicBezTo>
                      <a:pt x="5" y="53"/>
                      <a:pt x="5" y="49"/>
                      <a:pt x="7" y="46"/>
                    </a:cubicBezTo>
                    <a:cubicBezTo>
                      <a:pt x="8" y="42"/>
                      <a:pt x="11" y="38"/>
                      <a:pt x="16" y="32"/>
                    </a:cubicBezTo>
                    <a:cubicBezTo>
                      <a:pt x="20" y="27"/>
                      <a:pt x="22" y="23"/>
                      <a:pt x="23" y="22"/>
                    </a:cubicBezTo>
                    <a:cubicBezTo>
                      <a:pt x="24" y="19"/>
                      <a:pt x="25" y="17"/>
                      <a:pt x="24" y="15"/>
                    </a:cubicBezTo>
                    <a:cubicBezTo>
                      <a:pt x="24" y="13"/>
                      <a:pt x="23" y="11"/>
                      <a:pt x="22" y="10"/>
                    </a:cubicBezTo>
                    <a:cubicBezTo>
                      <a:pt x="21" y="9"/>
                      <a:pt x="19" y="9"/>
                      <a:pt x="17" y="9"/>
                    </a:cubicBezTo>
                    <a:cubicBezTo>
                      <a:pt x="15" y="10"/>
                      <a:pt x="13" y="11"/>
                      <a:pt x="12" y="12"/>
                    </a:cubicBezTo>
                    <a:cubicBezTo>
                      <a:pt x="11" y="13"/>
                      <a:pt x="10" y="16"/>
                      <a:pt x="11" y="19"/>
                    </a:cubicBezTo>
                    <a:cubicBezTo>
                      <a:pt x="1" y="19"/>
                      <a:pt x="1" y="19"/>
                      <a:pt x="1" y="19"/>
                    </a:cubicBezTo>
                    <a:cubicBezTo>
                      <a:pt x="0" y="13"/>
                      <a:pt x="2" y="9"/>
                      <a:pt x="4" y="6"/>
                    </a:cubicBezTo>
                    <a:cubicBezTo>
                      <a:pt x="7" y="3"/>
                      <a:pt x="11" y="2"/>
                      <a:pt x="16" y="1"/>
                    </a:cubicBezTo>
                    <a:cubicBezTo>
                      <a:pt x="21" y="0"/>
                      <a:pt x="25" y="1"/>
                      <a:pt x="28" y="3"/>
                    </a:cubicBezTo>
                    <a:cubicBezTo>
                      <a:pt x="32" y="6"/>
                      <a:pt x="34" y="9"/>
                      <a:pt x="34" y="13"/>
                    </a:cubicBezTo>
                    <a:cubicBezTo>
                      <a:pt x="35" y="15"/>
                      <a:pt x="35" y="18"/>
                      <a:pt x="34" y="20"/>
                    </a:cubicBezTo>
                    <a:cubicBezTo>
                      <a:pt x="34" y="22"/>
                      <a:pt x="33" y="25"/>
                      <a:pt x="31" y="27"/>
                    </a:cubicBezTo>
                    <a:cubicBezTo>
                      <a:pt x="30" y="29"/>
                      <a:pt x="28" y="32"/>
                      <a:pt x="26" y="35"/>
                    </a:cubicBezTo>
                    <a:cubicBezTo>
                      <a:pt x="23" y="38"/>
                      <a:pt x="21" y="41"/>
                      <a:pt x="20" y="42"/>
                    </a:cubicBezTo>
                    <a:cubicBezTo>
                      <a:pt x="20" y="43"/>
                      <a:pt x="19" y="44"/>
                      <a:pt x="19" y="45"/>
                    </a:cubicBezTo>
                    <a:lnTo>
                      <a:pt x="39" y="42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1049526" name="íṧlíḍe"/>
              <p:cNvSpPr/>
              <p:nvPr/>
            </p:nvSpPr>
            <p:spPr bwMode="auto">
              <a:xfrm>
                <a:off x="2611334" y="6072778"/>
                <a:ext cx="22225" cy="23813"/>
              </a:xfrm>
              <a:custGeom>
                <a:avLst/>
                <a:gdLst>
                  <a:gd name="T0" fmla="*/ 3 w 14"/>
                  <a:gd name="T1" fmla="*/ 15 h 15"/>
                  <a:gd name="T2" fmla="*/ 0 w 14"/>
                  <a:gd name="T3" fmla="*/ 3 h 15"/>
                  <a:gd name="T4" fmla="*/ 11 w 14"/>
                  <a:gd name="T5" fmla="*/ 0 h 15"/>
                  <a:gd name="T6" fmla="*/ 14 w 14"/>
                  <a:gd name="T7" fmla="*/ 12 h 15"/>
                  <a:gd name="T8" fmla="*/ 3 w 14"/>
                  <a:gd name="T9" fmla="*/ 15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4" h="15">
                    <a:moveTo>
                      <a:pt x="3" y="15"/>
                    </a:moveTo>
                    <a:lnTo>
                      <a:pt x="0" y="3"/>
                    </a:lnTo>
                    <a:lnTo>
                      <a:pt x="11" y="0"/>
                    </a:lnTo>
                    <a:lnTo>
                      <a:pt x="14" y="12"/>
                    </a:lnTo>
                    <a:lnTo>
                      <a:pt x="3" y="15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1049527" name="îŝľîḓê"/>
              <p:cNvSpPr/>
              <p:nvPr/>
            </p:nvSpPr>
            <p:spPr bwMode="auto">
              <a:xfrm>
                <a:off x="2108097" y="5261565"/>
                <a:ext cx="141288" cy="257175"/>
              </a:xfrm>
              <a:custGeom>
                <a:avLst/>
                <a:gdLst>
                  <a:gd name="T0" fmla="*/ 12 w 77"/>
                  <a:gd name="T1" fmla="*/ 25 h 139"/>
                  <a:gd name="T2" fmla="*/ 9 w 77"/>
                  <a:gd name="T3" fmla="*/ 21 h 139"/>
                  <a:gd name="T4" fmla="*/ 12 w 77"/>
                  <a:gd name="T5" fmla="*/ 17 h 139"/>
                  <a:gd name="T6" fmla="*/ 39 w 77"/>
                  <a:gd name="T7" fmla="*/ 21 h 139"/>
                  <a:gd name="T8" fmla="*/ 46 w 77"/>
                  <a:gd name="T9" fmla="*/ 36 h 139"/>
                  <a:gd name="T10" fmla="*/ 46 w 77"/>
                  <a:gd name="T11" fmla="*/ 39 h 139"/>
                  <a:gd name="T12" fmla="*/ 61 w 77"/>
                  <a:gd name="T13" fmla="*/ 33 h 139"/>
                  <a:gd name="T14" fmla="*/ 57 w 77"/>
                  <a:gd name="T15" fmla="*/ 16 h 139"/>
                  <a:gd name="T16" fmla="*/ 35 w 77"/>
                  <a:gd name="T17" fmla="*/ 9 h 139"/>
                  <a:gd name="T18" fmla="*/ 27 w 77"/>
                  <a:gd name="T19" fmla="*/ 3 h 139"/>
                  <a:gd name="T20" fmla="*/ 32 w 77"/>
                  <a:gd name="T21" fmla="*/ 0 h 139"/>
                  <a:gd name="T22" fmla="*/ 61 w 77"/>
                  <a:gd name="T23" fmla="*/ 9 h 139"/>
                  <a:gd name="T24" fmla="*/ 72 w 77"/>
                  <a:gd name="T25" fmla="*/ 30 h 139"/>
                  <a:gd name="T26" fmla="*/ 48 w 77"/>
                  <a:gd name="T27" fmla="*/ 45 h 139"/>
                  <a:gd name="T28" fmla="*/ 45 w 77"/>
                  <a:gd name="T29" fmla="*/ 46 h 139"/>
                  <a:gd name="T30" fmla="*/ 45 w 77"/>
                  <a:gd name="T31" fmla="*/ 54 h 139"/>
                  <a:gd name="T32" fmla="*/ 59 w 77"/>
                  <a:gd name="T33" fmla="*/ 61 h 139"/>
                  <a:gd name="T34" fmla="*/ 77 w 77"/>
                  <a:gd name="T35" fmla="*/ 80 h 139"/>
                  <a:gd name="T36" fmla="*/ 75 w 77"/>
                  <a:gd name="T37" fmla="*/ 84 h 139"/>
                  <a:gd name="T38" fmla="*/ 71 w 77"/>
                  <a:gd name="T39" fmla="*/ 83 h 139"/>
                  <a:gd name="T40" fmla="*/ 59 w 77"/>
                  <a:gd name="T41" fmla="*/ 70 h 139"/>
                  <a:gd name="T42" fmla="*/ 45 w 77"/>
                  <a:gd name="T43" fmla="*/ 63 h 139"/>
                  <a:gd name="T44" fmla="*/ 45 w 77"/>
                  <a:gd name="T45" fmla="*/ 77 h 139"/>
                  <a:gd name="T46" fmla="*/ 53 w 77"/>
                  <a:gd name="T47" fmla="*/ 83 h 139"/>
                  <a:gd name="T48" fmla="*/ 66 w 77"/>
                  <a:gd name="T49" fmla="*/ 102 h 139"/>
                  <a:gd name="T50" fmla="*/ 72 w 77"/>
                  <a:gd name="T51" fmla="*/ 121 h 139"/>
                  <a:gd name="T52" fmla="*/ 70 w 77"/>
                  <a:gd name="T53" fmla="*/ 124 h 139"/>
                  <a:gd name="T54" fmla="*/ 67 w 77"/>
                  <a:gd name="T55" fmla="*/ 122 h 139"/>
                  <a:gd name="T56" fmla="*/ 64 w 77"/>
                  <a:gd name="T57" fmla="*/ 115 h 139"/>
                  <a:gd name="T58" fmla="*/ 55 w 77"/>
                  <a:gd name="T59" fmla="*/ 97 h 139"/>
                  <a:gd name="T60" fmla="*/ 45 w 77"/>
                  <a:gd name="T61" fmla="*/ 87 h 139"/>
                  <a:gd name="T62" fmla="*/ 45 w 77"/>
                  <a:gd name="T63" fmla="*/ 102 h 139"/>
                  <a:gd name="T64" fmla="*/ 44 w 77"/>
                  <a:gd name="T65" fmla="*/ 136 h 139"/>
                  <a:gd name="T66" fmla="*/ 41 w 77"/>
                  <a:gd name="T67" fmla="*/ 139 h 139"/>
                  <a:gd name="T68" fmla="*/ 38 w 77"/>
                  <a:gd name="T69" fmla="*/ 137 h 139"/>
                  <a:gd name="T70" fmla="*/ 37 w 77"/>
                  <a:gd name="T71" fmla="*/ 103 h 139"/>
                  <a:gd name="T72" fmla="*/ 37 w 77"/>
                  <a:gd name="T73" fmla="*/ 86 h 139"/>
                  <a:gd name="T74" fmla="*/ 28 w 77"/>
                  <a:gd name="T75" fmla="*/ 92 h 139"/>
                  <a:gd name="T76" fmla="*/ 19 w 77"/>
                  <a:gd name="T77" fmla="*/ 109 h 139"/>
                  <a:gd name="T78" fmla="*/ 12 w 77"/>
                  <a:gd name="T79" fmla="*/ 121 h 139"/>
                  <a:gd name="T80" fmla="*/ 8 w 77"/>
                  <a:gd name="T81" fmla="*/ 122 h 139"/>
                  <a:gd name="T82" fmla="*/ 7 w 77"/>
                  <a:gd name="T83" fmla="*/ 120 h 139"/>
                  <a:gd name="T84" fmla="*/ 8 w 77"/>
                  <a:gd name="T85" fmla="*/ 117 h 139"/>
                  <a:gd name="T86" fmla="*/ 11 w 77"/>
                  <a:gd name="T87" fmla="*/ 106 h 139"/>
                  <a:gd name="T88" fmla="*/ 22 w 77"/>
                  <a:gd name="T89" fmla="*/ 86 h 139"/>
                  <a:gd name="T90" fmla="*/ 37 w 77"/>
                  <a:gd name="T91" fmla="*/ 76 h 139"/>
                  <a:gd name="T92" fmla="*/ 37 w 77"/>
                  <a:gd name="T93" fmla="*/ 68 h 139"/>
                  <a:gd name="T94" fmla="*/ 37 w 77"/>
                  <a:gd name="T95" fmla="*/ 63 h 139"/>
                  <a:gd name="T96" fmla="*/ 24 w 77"/>
                  <a:gd name="T97" fmla="*/ 69 h 139"/>
                  <a:gd name="T98" fmla="*/ 16 w 77"/>
                  <a:gd name="T99" fmla="*/ 77 h 139"/>
                  <a:gd name="T100" fmla="*/ 9 w 77"/>
                  <a:gd name="T101" fmla="*/ 85 h 139"/>
                  <a:gd name="T102" fmla="*/ 6 w 77"/>
                  <a:gd name="T103" fmla="*/ 86 h 139"/>
                  <a:gd name="T104" fmla="*/ 5 w 77"/>
                  <a:gd name="T105" fmla="*/ 82 h 139"/>
                  <a:gd name="T106" fmla="*/ 22 w 77"/>
                  <a:gd name="T107" fmla="*/ 60 h 139"/>
                  <a:gd name="T108" fmla="*/ 37 w 77"/>
                  <a:gd name="T109" fmla="*/ 54 h 139"/>
                  <a:gd name="T110" fmla="*/ 37 w 77"/>
                  <a:gd name="T111" fmla="*/ 47 h 139"/>
                  <a:gd name="T112" fmla="*/ 3 w 77"/>
                  <a:gd name="T113" fmla="*/ 45 h 139"/>
                  <a:gd name="T114" fmla="*/ 0 w 77"/>
                  <a:gd name="T115" fmla="*/ 40 h 139"/>
                  <a:gd name="T116" fmla="*/ 5 w 77"/>
                  <a:gd name="T117" fmla="*/ 38 h 139"/>
                  <a:gd name="T118" fmla="*/ 37 w 77"/>
                  <a:gd name="T119" fmla="*/ 39 h 139"/>
                  <a:gd name="T120" fmla="*/ 37 w 77"/>
                  <a:gd name="T121" fmla="*/ 39 h 139"/>
                  <a:gd name="T122" fmla="*/ 33 w 77"/>
                  <a:gd name="T123" fmla="*/ 28 h 139"/>
                  <a:gd name="T124" fmla="*/ 12 w 77"/>
                  <a:gd name="T125" fmla="*/ 25 h 1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77" h="139">
                    <a:moveTo>
                      <a:pt x="12" y="25"/>
                    </a:moveTo>
                    <a:cubicBezTo>
                      <a:pt x="10" y="25"/>
                      <a:pt x="9" y="24"/>
                      <a:pt x="9" y="21"/>
                    </a:cubicBezTo>
                    <a:cubicBezTo>
                      <a:pt x="9" y="18"/>
                      <a:pt x="10" y="17"/>
                      <a:pt x="12" y="17"/>
                    </a:cubicBezTo>
                    <a:cubicBezTo>
                      <a:pt x="24" y="17"/>
                      <a:pt x="33" y="18"/>
                      <a:pt x="39" y="21"/>
                    </a:cubicBezTo>
                    <a:cubicBezTo>
                      <a:pt x="45" y="24"/>
                      <a:pt x="47" y="28"/>
                      <a:pt x="46" y="36"/>
                    </a:cubicBezTo>
                    <a:cubicBezTo>
                      <a:pt x="46" y="37"/>
                      <a:pt x="46" y="38"/>
                      <a:pt x="46" y="39"/>
                    </a:cubicBezTo>
                    <a:cubicBezTo>
                      <a:pt x="53" y="38"/>
                      <a:pt x="58" y="35"/>
                      <a:pt x="61" y="33"/>
                    </a:cubicBezTo>
                    <a:cubicBezTo>
                      <a:pt x="65" y="27"/>
                      <a:pt x="64" y="22"/>
                      <a:pt x="57" y="16"/>
                    </a:cubicBezTo>
                    <a:cubicBezTo>
                      <a:pt x="52" y="12"/>
                      <a:pt x="44" y="9"/>
                      <a:pt x="35" y="9"/>
                    </a:cubicBezTo>
                    <a:cubicBezTo>
                      <a:pt x="30" y="8"/>
                      <a:pt x="28" y="6"/>
                      <a:pt x="27" y="3"/>
                    </a:cubicBezTo>
                    <a:cubicBezTo>
                      <a:pt x="27" y="1"/>
                      <a:pt x="29" y="0"/>
                      <a:pt x="32" y="0"/>
                    </a:cubicBezTo>
                    <a:cubicBezTo>
                      <a:pt x="44" y="0"/>
                      <a:pt x="53" y="3"/>
                      <a:pt x="61" y="9"/>
                    </a:cubicBezTo>
                    <a:cubicBezTo>
                      <a:pt x="69" y="16"/>
                      <a:pt x="73" y="23"/>
                      <a:pt x="72" y="30"/>
                    </a:cubicBezTo>
                    <a:cubicBezTo>
                      <a:pt x="68" y="37"/>
                      <a:pt x="60" y="43"/>
                      <a:pt x="48" y="45"/>
                    </a:cubicBezTo>
                    <a:cubicBezTo>
                      <a:pt x="47" y="46"/>
                      <a:pt x="46" y="46"/>
                      <a:pt x="45" y="46"/>
                    </a:cubicBezTo>
                    <a:cubicBezTo>
                      <a:pt x="45" y="48"/>
                      <a:pt x="45" y="51"/>
                      <a:pt x="45" y="54"/>
                    </a:cubicBezTo>
                    <a:cubicBezTo>
                      <a:pt x="49" y="54"/>
                      <a:pt x="54" y="57"/>
                      <a:pt x="59" y="61"/>
                    </a:cubicBezTo>
                    <a:cubicBezTo>
                      <a:pt x="66" y="66"/>
                      <a:pt x="72" y="72"/>
                      <a:pt x="77" y="80"/>
                    </a:cubicBezTo>
                    <a:cubicBezTo>
                      <a:pt x="77" y="82"/>
                      <a:pt x="77" y="83"/>
                      <a:pt x="75" y="84"/>
                    </a:cubicBezTo>
                    <a:cubicBezTo>
                      <a:pt x="74" y="85"/>
                      <a:pt x="72" y="85"/>
                      <a:pt x="71" y="83"/>
                    </a:cubicBezTo>
                    <a:cubicBezTo>
                      <a:pt x="69" y="80"/>
                      <a:pt x="65" y="76"/>
                      <a:pt x="59" y="70"/>
                    </a:cubicBezTo>
                    <a:cubicBezTo>
                      <a:pt x="54" y="66"/>
                      <a:pt x="49" y="64"/>
                      <a:pt x="45" y="63"/>
                    </a:cubicBezTo>
                    <a:cubicBezTo>
                      <a:pt x="45" y="77"/>
                      <a:pt x="45" y="77"/>
                      <a:pt x="45" y="77"/>
                    </a:cubicBezTo>
                    <a:cubicBezTo>
                      <a:pt x="48" y="78"/>
                      <a:pt x="51" y="80"/>
                      <a:pt x="53" y="83"/>
                    </a:cubicBezTo>
                    <a:cubicBezTo>
                      <a:pt x="59" y="88"/>
                      <a:pt x="63" y="94"/>
                      <a:pt x="66" y="102"/>
                    </a:cubicBezTo>
                    <a:cubicBezTo>
                      <a:pt x="71" y="109"/>
                      <a:pt x="73" y="116"/>
                      <a:pt x="72" y="121"/>
                    </a:cubicBezTo>
                    <a:cubicBezTo>
                      <a:pt x="72" y="122"/>
                      <a:pt x="72" y="123"/>
                      <a:pt x="70" y="124"/>
                    </a:cubicBezTo>
                    <a:cubicBezTo>
                      <a:pt x="69" y="124"/>
                      <a:pt x="68" y="124"/>
                      <a:pt x="67" y="122"/>
                    </a:cubicBezTo>
                    <a:cubicBezTo>
                      <a:pt x="67" y="121"/>
                      <a:pt x="66" y="118"/>
                      <a:pt x="64" y="115"/>
                    </a:cubicBezTo>
                    <a:cubicBezTo>
                      <a:pt x="60" y="107"/>
                      <a:pt x="57" y="102"/>
                      <a:pt x="55" y="97"/>
                    </a:cubicBezTo>
                    <a:cubicBezTo>
                      <a:pt x="51" y="91"/>
                      <a:pt x="48" y="88"/>
                      <a:pt x="45" y="87"/>
                    </a:cubicBezTo>
                    <a:cubicBezTo>
                      <a:pt x="45" y="102"/>
                      <a:pt x="45" y="102"/>
                      <a:pt x="45" y="102"/>
                    </a:cubicBezTo>
                    <a:cubicBezTo>
                      <a:pt x="45" y="117"/>
                      <a:pt x="45" y="128"/>
                      <a:pt x="44" y="136"/>
                    </a:cubicBezTo>
                    <a:cubicBezTo>
                      <a:pt x="43" y="137"/>
                      <a:pt x="42" y="138"/>
                      <a:pt x="41" y="139"/>
                    </a:cubicBezTo>
                    <a:cubicBezTo>
                      <a:pt x="40" y="139"/>
                      <a:pt x="39" y="139"/>
                      <a:pt x="38" y="137"/>
                    </a:cubicBezTo>
                    <a:cubicBezTo>
                      <a:pt x="37" y="135"/>
                      <a:pt x="37" y="123"/>
                      <a:pt x="37" y="103"/>
                    </a:cubicBezTo>
                    <a:cubicBezTo>
                      <a:pt x="37" y="97"/>
                      <a:pt x="37" y="92"/>
                      <a:pt x="37" y="86"/>
                    </a:cubicBezTo>
                    <a:cubicBezTo>
                      <a:pt x="34" y="87"/>
                      <a:pt x="31" y="89"/>
                      <a:pt x="28" y="92"/>
                    </a:cubicBezTo>
                    <a:cubicBezTo>
                      <a:pt x="24" y="98"/>
                      <a:pt x="21" y="103"/>
                      <a:pt x="19" y="109"/>
                    </a:cubicBezTo>
                    <a:cubicBezTo>
                      <a:pt x="17" y="113"/>
                      <a:pt x="15" y="117"/>
                      <a:pt x="12" y="121"/>
                    </a:cubicBezTo>
                    <a:cubicBezTo>
                      <a:pt x="11" y="122"/>
                      <a:pt x="9" y="122"/>
                      <a:pt x="8" y="122"/>
                    </a:cubicBezTo>
                    <a:cubicBezTo>
                      <a:pt x="7" y="122"/>
                      <a:pt x="7" y="121"/>
                      <a:pt x="7" y="120"/>
                    </a:cubicBezTo>
                    <a:cubicBezTo>
                      <a:pt x="7" y="119"/>
                      <a:pt x="7" y="118"/>
                      <a:pt x="8" y="117"/>
                    </a:cubicBezTo>
                    <a:cubicBezTo>
                      <a:pt x="9" y="112"/>
                      <a:pt x="10" y="108"/>
                      <a:pt x="11" y="106"/>
                    </a:cubicBezTo>
                    <a:cubicBezTo>
                      <a:pt x="13" y="101"/>
                      <a:pt x="17" y="94"/>
                      <a:pt x="22" y="86"/>
                    </a:cubicBezTo>
                    <a:cubicBezTo>
                      <a:pt x="27" y="80"/>
                      <a:pt x="32" y="77"/>
                      <a:pt x="37" y="76"/>
                    </a:cubicBezTo>
                    <a:cubicBezTo>
                      <a:pt x="37" y="68"/>
                      <a:pt x="37" y="68"/>
                      <a:pt x="37" y="68"/>
                    </a:cubicBezTo>
                    <a:cubicBezTo>
                      <a:pt x="37" y="63"/>
                      <a:pt x="37" y="63"/>
                      <a:pt x="37" y="63"/>
                    </a:cubicBezTo>
                    <a:cubicBezTo>
                      <a:pt x="33" y="64"/>
                      <a:pt x="29" y="66"/>
                      <a:pt x="24" y="69"/>
                    </a:cubicBezTo>
                    <a:cubicBezTo>
                      <a:pt x="23" y="70"/>
                      <a:pt x="20" y="72"/>
                      <a:pt x="16" y="77"/>
                    </a:cubicBezTo>
                    <a:cubicBezTo>
                      <a:pt x="13" y="81"/>
                      <a:pt x="11" y="83"/>
                      <a:pt x="9" y="85"/>
                    </a:cubicBezTo>
                    <a:cubicBezTo>
                      <a:pt x="8" y="86"/>
                      <a:pt x="7" y="87"/>
                      <a:pt x="6" y="86"/>
                    </a:cubicBezTo>
                    <a:cubicBezTo>
                      <a:pt x="5" y="86"/>
                      <a:pt x="5" y="84"/>
                      <a:pt x="5" y="82"/>
                    </a:cubicBezTo>
                    <a:cubicBezTo>
                      <a:pt x="10" y="73"/>
                      <a:pt x="15" y="65"/>
                      <a:pt x="22" y="60"/>
                    </a:cubicBezTo>
                    <a:cubicBezTo>
                      <a:pt x="27" y="56"/>
                      <a:pt x="32" y="54"/>
                      <a:pt x="37" y="54"/>
                    </a:cubicBezTo>
                    <a:cubicBezTo>
                      <a:pt x="37" y="47"/>
                      <a:pt x="37" y="47"/>
                      <a:pt x="37" y="47"/>
                    </a:cubicBezTo>
                    <a:cubicBezTo>
                      <a:pt x="22" y="49"/>
                      <a:pt x="10" y="48"/>
                      <a:pt x="3" y="45"/>
                    </a:cubicBezTo>
                    <a:cubicBezTo>
                      <a:pt x="1" y="44"/>
                      <a:pt x="0" y="42"/>
                      <a:pt x="0" y="40"/>
                    </a:cubicBezTo>
                    <a:cubicBezTo>
                      <a:pt x="1" y="38"/>
                      <a:pt x="3" y="38"/>
                      <a:pt x="5" y="38"/>
                    </a:cubicBezTo>
                    <a:cubicBezTo>
                      <a:pt x="12" y="40"/>
                      <a:pt x="22" y="40"/>
                      <a:pt x="37" y="39"/>
                    </a:cubicBezTo>
                    <a:cubicBezTo>
                      <a:pt x="37" y="39"/>
                      <a:pt x="37" y="39"/>
                      <a:pt x="37" y="39"/>
                    </a:cubicBezTo>
                    <a:cubicBezTo>
                      <a:pt x="38" y="32"/>
                      <a:pt x="36" y="29"/>
                      <a:pt x="33" y="28"/>
                    </a:cubicBezTo>
                    <a:cubicBezTo>
                      <a:pt x="26" y="25"/>
                      <a:pt x="19" y="24"/>
                      <a:pt x="12" y="25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1049528" name="íṣlíḑe"/>
              <p:cNvSpPr/>
              <p:nvPr/>
            </p:nvSpPr>
            <p:spPr bwMode="auto">
              <a:xfrm>
                <a:off x="2273197" y="5255215"/>
                <a:ext cx="163513" cy="263525"/>
              </a:xfrm>
              <a:custGeom>
                <a:avLst/>
                <a:gdLst>
                  <a:gd name="T0" fmla="*/ 47 w 88"/>
                  <a:gd name="T1" fmla="*/ 8 h 143"/>
                  <a:gd name="T2" fmla="*/ 74 w 88"/>
                  <a:gd name="T3" fmla="*/ 14 h 143"/>
                  <a:gd name="T4" fmla="*/ 82 w 88"/>
                  <a:gd name="T5" fmla="*/ 26 h 143"/>
                  <a:gd name="T6" fmla="*/ 79 w 88"/>
                  <a:gd name="T7" fmla="*/ 75 h 143"/>
                  <a:gd name="T8" fmla="*/ 86 w 88"/>
                  <a:gd name="T9" fmla="*/ 136 h 143"/>
                  <a:gd name="T10" fmla="*/ 73 w 88"/>
                  <a:gd name="T11" fmla="*/ 45 h 143"/>
                  <a:gd name="T12" fmla="*/ 67 w 88"/>
                  <a:gd name="T13" fmla="*/ 44 h 143"/>
                  <a:gd name="T14" fmla="*/ 54 w 88"/>
                  <a:gd name="T15" fmla="*/ 58 h 143"/>
                  <a:gd name="T16" fmla="*/ 22 w 88"/>
                  <a:gd name="T17" fmla="*/ 54 h 143"/>
                  <a:gd name="T18" fmla="*/ 15 w 88"/>
                  <a:gd name="T19" fmla="*/ 45 h 143"/>
                  <a:gd name="T20" fmla="*/ 11 w 88"/>
                  <a:gd name="T21" fmla="*/ 91 h 143"/>
                  <a:gd name="T22" fmla="*/ 9 w 88"/>
                  <a:gd name="T23" fmla="*/ 118 h 143"/>
                  <a:gd name="T24" fmla="*/ 2 w 88"/>
                  <a:gd name="T25" fmla="*/ 139 h 143"/>
                  <a:gd name="T26" fmla="*/ 6 w 88"/>
                  <a:gd name="T27" fmla="*/ 80 h 143"/>
                  <a:gd name="T28" fmla="*/ 2 w 88"/>
                  <a:gd name="T29" fmla="*/ 26 h 143"/>
                  <a:gd name="T30" fmla="*/ 32 w 88"/>
                  <a:gd name="T31" fmla="*/ 10 h 143"/>
                  <a:gd name="T32" fmla="*/ 39 w 88"/>
                  <a:gd name="T33" fmla="*/ 0 h 143"/>
                  <a:gd name="T34" fmla="*/ 24 w 88"/>
                  <a:gd name="T35" fmla="*/ 23 h 143"/>
                  <a:gd name="T36" fmla="*/ 66 w 88"/>
                  <a:gd name="T37" fmla="*/ 29 h 143"/>
                  <a:gd name="T38" fmla="*/ 67 w 88"/>
                  <a:gd name="T39" fmla="*/ 37 h 143"/>
                  <a:gd name="T40" fmla="*/ 73 w 88"/>
                  <a:gd name="T41" fmla="*/ 34 h 143"/>
                  <a:gd name="T42" fmla="*/ 66 w 88"/>
                  <a:gd name="T43" fmla="*/ 20 h 143"/>
                  <a:gd name="T44" fmla="*/ 13 w 88"/>
                  <a:gd name="T45" fmla="*/ 21 h 143"/>
                  <a:gd name="T46" fmla="*/ 12 w 88"/>
                  <a:gd name="T47" fmla="*/ 32 h 143"/>
                  <a:gd name="T48" fmla="*/ 17 w 88"/>
                  <a:gd name="T49" fmla="*/ 38 h 143"/>
                  <a:gd name="T50" fmla="*/ 24 w 88"/>
                  <a:gd name="T51" fmla="*/ 23 h 143"/>
                  <a:gd name="T52" fmla="*/ 61 w 88"/>
                  <a:gd name="T53" fmla="*/ 64 h 143"/>
                  <a:gd name="T54" fmla="*/ 66 w 88"/>
                  <a:gd name="T55" fmla="*/ 96 h 143"/>
                  <a:gd name="T56" fmla="*/ 61 w 88"/>
                  <a:gd name="T57" fmla="*/ 136 h 143"/>
                  <a:gd name="T58" fmla="*/ 59 w 88"/>
                  <a:gd name="T59" fmla="*/ 143 h 143"/>
                  <a:gd name="T60" fmla="*/ 46 w 88"/>
                  <a:gd name="T61" fmla="*/ 105 h 143"/>
                  <a:gd name="T62" fmla="*/ 30 w 88"/>
                  <a:gd name="T63" fmla="*/ 140 h 143"/>
                  <a:gd name="T64" fmla="*/ 26 w 88"/>
                  <a:gd name="T65" fmla="*/ 137 h 143"/>
                  <a:gd name="T66" fmla="*/ 32 w 88"/>
                  <a:gd name="T67" fmla="*/ 121 h 143"/>
                  <a:gd name="T68" fmla="*/ 35 w 88"/>
                  <a:gd name="T69" fmla="*/ 105 h 143"/>
                  <a:gd name="T70" fmla="*/ 18 w 88"/>
                  <a:gd name="T71" fmla="*/ 75 h 143"/>
                  <a:gd name="T72" fmla="*/ 24 w 88"/>
                  <a:gd name="T73" fmla="*/ 35 h 143"/>
                  <a:gd name="T74" fmla="*/ 39 w 88"/>
                  <a:gd name="T75" fmla="*/ 37 h 143"/>
                  <a:gd name="T76" fmla="*/ 34 w 88"/>
                  <a:gd name="T77" fmla="*/ 29 h 143"/>
                  <a:gd name="T78" fmla="*/ 24 w 88"/>
                  <a:gd name="T79" fmla="*/ 35 h 143"/>
                  <a:gd name="T80" fmla="*/ 62 w 88"/>
                  <a:gd name="T81" fmla="*/ 84 h 143"/>
                  <a:gd name="T82" fmla="*/ 43 w 88"/>
                  <a:gd name="T83" fmla="*/ 81 h 143"/>
                  <a:gd name="T84" fmla="*/ 25 w 88"/>
                  <a:gd name="T85" fmla="*/ 87 h 143"/>
                  <a:gd name="T86" fmla="*/ 26 w 88"/>
                  <a:gd name="T87" fmla="*/ 48 h 143"/>
                  <a:gd name="T88" fmla="*/ 38 w 88"/>
                  <a:gd name="T89" fmla="*/ 52 h 143"/>
                  <a:gd name="T90" fmla="*/ 25 w 88"/>
                  <a:gd name="T91" fmla="*/ 44 h 143"/>
                  <a:gd name="T92" fmla="*/ 32 w 88"/>
                  <a:gd name="T93" fmla="*/ 69 h 143"/>
                  <a:gd name="T94" fmla="*/ 41 w 88"/>
                  <a:gd name="T95" fmla="*/ 75 h 143"/>
                  <a:gd name="T96" fmla="*/ 57 w 88"/>
                  <a:gd name="T97" fmla="*/ 70 h 143"/>
                  <a:gd name="T98" fmla="*/ 56 w 88"/>
                  <a:gd name="T99" fmla="*/ 98 h 143"/>
                  <a:gd name="T100" fmla="*/ 54 w 88"/>
                  <a:gd name="T101" fmla="*/ 93 h 143"/>
                  <a:gd name="T102" fmla="*/ 36 w 88"/>
                  <a:gd name="T103" fmla="*/ 93 h 143"/>
                  <a:gd name="T104" fmla="*/ 32 w 88"/>
                  <a:gd name="T105" fmla="*/ 98 h 143"/>
                  <a:gd name="T106" fmla="*/ 56 w 88"/>
                  <a:gd name="T107" fmla="*/ 29 h 143"/>
                  <a:gd name="T108" fmla="*/ 46 w 88"/>
                  <a:gd name="T109" fmla="*/ 29 h 143"/>
                  <a:gd name="T110" fmla="*/ 60 w 88"/>
                  <a:gd name="T111" fmla="*/ 37 h 143"/>
                  <a:gd name="T112" fmla="*/ 56 w 88"/>
                  <a:gd name="T113" fmla="*/ 29 h 143"/>
                  <a:gd name="T114" fmla="*/ 60 w 88"/>
                  <a:gd name="T115" fmla="*/ 43 h 143"/>
                  <a:gd name="T116" fmla="*/ 46 w 88"/>
                  <a:gd name="T117" fmla="*/ 52 h 143"/>
                  <a:gd name="T118" fmla="*/ 59 w 88"/>
                  <a:gd name="T119" fmla="*/ 48 h 1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88" h="143">
                    <a:moveTo>
                      <a:pt x="43" y="2"/>
                    </a:moveTo>
                    <a:cubicBezTo>
                      <a:pt x="45" y="3"/>
                      <a:pt x="47" y="6"/>
                      <a:pt x="47" y="8"/>
                    </a:cubicBezTo>
                    <a:cubicBezTo>
                      <a:pt x="47" y="9"/>
                      <a:pt x="48" y="10"/>
                      <a:pt x="49" y="10"/>
                    </a:cubicBezTo>
                    <a:cubicBezTo>
                      <a:pt x="57" y="10"/>
                      <a:pt x="66" y="12"/>
                      <a:pt x="74" y="14"/>
                    </a:cubicBezTo>
                    <a:cubicBezTo>
                      <a:pt x="78" y="16"/>
                      <a:pt x="81" y="18"/>
                      <a:pt x="81" y="19"/>
                    </a:cubicBezTo>
                    <a:cubicBezTo>
                      <a:pt x="82" y="21"/>
                      <a:pt x="82" y="24"/>
                      <a:pt x="82" y="26"/>
                    </a:cubicBezTo>
                    <a:cubicBezTo>
                      <a:pt x="82" y="27"/>
                      <a:pt x="82" y="27"/>
                      <a:pt x="82" y="28"/>
                    </a:cubicBezTo>
                    <a:cubicBezTo>
                      <a:pt x="79" y="39"/>
                      <a:pt x="78" y="55"/>
                      <a:pt x="79" y="75"/>
                    </a:cubicBezTo>
                    <a:cubicBezTo>
                      <a:pt x="80" y="87"/>
                      <a:pt x="83" y="106"/>
                      <a:pt x="87" y="131"/>
                    </a:cubicBezTo>
                    <a:cubicBezTo>
                      <a:pt x="88" y="134"/>
                      <a:pt x="87" y="135"/>
                      <a:pt x="86" y="136"/>
                    </a:cubicBezTo>
                    <a:cubicBezTo>
                      <a:pt x="84" y="137"/>
                      <a:pt x="82" y="136"/>
                      <a:pt x="82" y="133"/>
                    </a:cubicBezTo>
                    <a:cubicBezTo>
                      <a:pt x="74" y="106"/>
                      <a:pt x="71" y="76"/>
                      <a:pt x="73" y="45"/>
                    </a:cubicBezTo>
                    <a:cubicBezTo>
                      <a:pt x="72" y="45"/>
                      <a:pt x="71" y="44"/>
                      <a:pt x="70" y="44"/>
                    </a:cubicBezTo>
                    <a:cubicBezTo>
                      <a:pt x="69" y="44"/>
                      <a:pt x="68" y="44"/>
                      <a:pt x="67" y="44"/>
                    </a:cubicBezTo>
                    <a:cubicBezTo>
                      <a:pt x="67" y="48"/>
                      <a:pt x="66" y="51"/>
                      <a:pt x="64" y="54"/>
                    </a:cubicBezTo>
                    <a:cubicBezTo>
                      <a:pt x="62" y="57"/>
                      <a:pt x="59" y="59"/>
                      <a:pt x="54" y="58"/>
                    </a:cubicBezTo>
                    <a:cubicBezTo>
                      <a:pt x="47" y="58"/>
                      <a:pt x="39" y="58"/>
                      <a:pt x="32" y="58"/>
                    </a:cubicBezTo>
                    <a:cubicBezTo>
                      <a:pt x="28" y="59"/>
                      <a:pt x="25" y="58"/>
                      <a:pt x="22" y="54"/>
                    </a:cubicBezTo>
                    <a:cubicBezTo>
                      <a:pt x="20" y="51"/>
                      <a:pt x="19" y="48"/>
                      <a:pt x="18" y="45"/>
                    </a:cubicBezTo>
                    <a:cubicBezTo>
                      <a:pt x="17" y="45"/>
                      <a:pt x="16" y="45"/>
                      <a:pt x="15" y="45"/>
                    </a:cubicBezTo>
                    <a:cubicBezTo>
                      <a:pt x="14" y="45"/>
                      <a:pt x="13" y="45"/>
                      <a:pt x="13" y="45"/>
                    </a:cubicBezTo>
                    <a:cubicBezTo>
                      <a:pt x="13" y="60"/>
                      <a:pt x="13" y="75"/>
                      <a:pt x="11" y="91"/>
                    </a:cubicBezTo>
                    <a:cubicBezTo>
                      <a:pt x="11" y="95"/>
                      <a:pt x="11" y="102"/>
                      <a:pt x="10" y="111"/>
                    </a:cubicBezTo>
                    <a:cubicBezTo>
                      <a:pt x="10" y="108"/>
                      <a:pt x="10" y="111"/>
                      <a:pt x="9" y="118"/>
                    </a:cubicBezTo>
                    <a:cubicBezTo>
                      <a:pt x="9" y="124"/>
                      <a:pt x="8" y="130"/>
                      <a:pt x="6" y="134"/>
                    </a:cubicBezTo>
                    <a:cubicBezTo>
                      <a:pt x="5" y="138"/>
                      <a:pt x="3" y="139"/>
                      <a:pt x="2" y="139"/>
                    </a:cubicBezTo>
                    <a:cubicBezTo>
                      <a:pt x="0" y="139"/>
                      <a:pt x="0" y="137"/>
                      <a:pt x="0" y="133"/>
                    </a:cubicBezTo>
                    <a:cubicBezTo>
                      <a:pt x="3" y="112"/>
                      <a:pt x="5" y="94"/>
                      <a:pt x="6" y="80"/>
                    </a:cubicBezTo>
                    <a:cubicBezTo>
                      <a:pt x="8" y="64"/>
                      <a:pt x="7" y="51"/>
                      <a:pt x="6" y="38"/>
                    </a:cubicBezTo>
                    <a:cubicBezTo>
                      <a:pt x="5" y="34"/>
                      <a:pt x="4" y="30"/>
                      <a:pt x="2" y="26"/>
                    </a:cubicBezTo>
                    <a:cubicBezTo>
                      <a:pt x="0" y="21"/>
                      <a:pt x="1" y="17"/>
                      <a:pt x="6" y="16"/>
                    </a:cubicBezTo>
                    <a:cubicBezTo>
                      <a:pt x="14" y="12"/>
                      <a:pt x="23" y="11"/>
                      <a:pt x="32" y="10"/>
                    </a:cubicBezTo>
                    <a:cubicBezTo>
                      <a:pt x="36" y="9"/>
                      <a:pt x="38" y="7"/>
                      <a:pt x="38" y="4"/>
                    </a:cubicBezTo>
                    <a:cubicBezTo>
                      <a:pt x="38" y="2"/>
                      <a:pt x="38" y="1"/>
                      <a:pt x="39" y="0"/>
                    </a:cubicBezTo>
                    <a:cubicBezTo>
                      <a:pt x="41" y="0"/>
                      <a:pt x="42" y="0"/>
                      <a:pt x="43" y="2"/>
                    </a:cubicBezTo>
                    <a:close/>
                    <a:moveTo>
                      <a:pt x="24" y="23"/>
                    </a:moveTo>
                    <a:cubicBezTo>
                      <a:pt x="33" y="22"/>
                      <a:pt x="44" y="22"/>
                      <a:pt x="58" y="23"/>
                    </a:cubicBezTo>
                    <a:cubicBezTo>
                      <a:pt x="63" y="24"/>
                      <a:pt x="66" y="26"/>
                      <a:pt x="66" y="29"/>
                    </a:cubicBezTo>
                    <a:cubicBezTo>
                      <a:pt x="66" y="30"/>
                      <a:pt x="66" y="30"/>
                      <a:pt x="67" y="31"/>
                    </a:cubicBezTo>
                    <a:cubicBezTo>
                      <a:pt x="67" y="33"/>
                      <a:pt x="67" y="35"/>
                      <a:pt x="67" y="37"/>
                    </a:cubicBezTo>
                    <a:cubicBezTo>
                      <a:pt x="69" y="38"/>
                      <a:pt x="71" y="38"/>
                      <a:pt x="73" y="38"/>
                    </a:cubicBezTo>
                    <a:cubicBezTo>
                      <a:pt x="73" y="37"/>
                      <a:pt x="73" y="36"/>
                      <a:pt x="73" y="34"/>
                    </a:cubicBezTo>
                    <a:cubicBezTo>
                      <a:pt x="73" y="32"/>
                      <a:pt x="73" y="30"/>
                      <a:pt x="74" y="29"/>
                    </a:cubicBezTo>
                    <a:cubicBezTo>
                      <a:pt x="75" y="25"/>
                      <a:pt x="72" y="21"/>
                      <a:pt x="66" y="20"/>
                    </a:cubicBezTo>
                    <a:cubicBezTo>
                      <a:pt x="58" y="17"/>
                      <a:pt x="50" y="16"/>
                      <a:pt x="40" y="16"/>
                    </a:cubicBezTo>
                    <a:cubicBezTo>
                      <a:pt x="29" y="16"/>
                      <a:pt x="20" y="18"/>
                      <a:pt x="13" y="21"/>
                    </a:cubicBezTo>
                    <a:cubicBezTo>
                      <a:pt x="11" y="22"/>
                      <a:pt x="11" y="24"/>
                      <a:pt x="11" y="26"/>
                    </a:cubicBezTo>
                    <a:cubicBezTo>
                      <a:pt x="11" y="28"/>
                      <a:pt x="12" y="30"/>
                      <a:pt x="12" y="32"/>
                    </a:cubicBezTo>
                    <a:cubicBezTo>
                      <a:pt x="12" y="35"/>
                      <a:pt x="12" y="37"/>
                      <a:pt x="12" y="38"/>
                    </a:cubicBezTo>
                    <a:cubicBezTo>
                      <a:pt x="14" y="38"/>
                      <a:pt x="15" y="38"/>
                      <a:pt x="17" y="38"/>
                    </a:cubicBezTo>
                    <a:cubicBezTo>
                      <a:pt x="17" y="35"/>
                      <a:pt x="17" y="32"/>
                      <a:pt x="17" y="30"/>
                    </a:cubicBezTo>
                    <a:cubicBezTo>
                      <a:pt x="18" y="26"/>
                      <a:pt x="20" y="24"/>
                      <a:pt x="24" y="23"/>
                    </a:cubicBezTo>
                    <a:close/>
                    <a:moveTo>
                      <a:pt x="28" y="64"/>
                    </a:moveTo>
                    <a:cubicBezTo>
                      <a:pt x="39" y="62"/>
                      <a:pt x="50" y="62"/>
                      <a:pt x="61" y="64"/>
                    </a:cubicBezTo>
                    <a:cubicBezTo>
                      <a:pt x="65" y="65"/>
                      <a:pt x="67" y="67"/>
                      <a:pt x="67" y="71"/>
                    </a:cubicBezTo>
                    <a:cubicBezTo>
                      <a:pt x="69" y="79"/>
                      <a:pt x="68" y="88"/>
                      <a:pt x="66" y="96"/>
                    </a:cubicBezTo>
                    <a:cubicBezTo>
                      <a:pt x="65" y="102"/>
                      <a:pt x="61" y="105"/>
                      <a:pt x="54" y="105"/>
                    </a:cubicBezTo>
                    <a:cubicBezTo>
                      <a:pt x="55" y="115"/>
                      <a:pt x="57" y="125"/>
                      <a:pt x="61" y="136"/>
                    </a:cubicBezTo>
                    <a:cubicBezTo>
                      <a:pt x="63" y="138"/>
                      <a:pt x="63" y="140"/>
                      <a:pt x="61" y="142"/>
                    </a:cubicBezTo>
                    <a:cubicBezTo>
                      <a:pt x="60" y="142"/>
                      <a:pt x="59" y="143"/>
                      <a:pt x="59" y="143"/>
                    </a:cubicBezTo>
                    <a:cubicBezTo>
                      <a:pt x="58" y="143"/>
                      <a:pt x="57" y="142"/>
                      <a:pt x="57" y="141"/>
                    </a:cubicBezTo>
                    <a:cubicBezTo>
                      <a:pt x="52" y="131"/>
                      <a:pt x="48" y="120"/>
                      <a:pt x="46" y="105"/>
                    </a:cubicBezTo>
                    <a:cubicBezTo>
                      <a:pt x="41" y="105"/>
                      <a:pt x="41" y="105"/>
                      <a:pt x="41" y="105"/>
                    </a:cubicBezTo>
                    <a:cubicBezTo>
                      <a:pt x="40" y="120"/>
                      <a:pt x="37" y="131"/>
                      <a:pt x="30" y="140"/>
                    </a:cubicBezTo>
                    <a:cubicBezTo>
                      <a:pt x="29" y="141"/>
                      <a:pt x="27" y="142"/>
                      <a:pt x="26" y="142"/>
                    </a:cubicBezTo>
                    <a:cubicBezTo>
                      <a:pt x="25" y="141"/>
                      <a:pt x="25" y="139"/>
                      <a:pt x="26" y="137"/>
                    </a:cubicBezTo>
                    <a:cubicBezTo>
                      <a:pt x="26" y="137"/>
                      <a:pt x="26" y="135"/>
                      <a:pt x="28" y="132"/>
                    </a:cubicBezTo>
                    <a:cubicBezTo>
                      <a:pt x="30" y="127"/>
                      <a:pt x="32" y="123"/>
                      <a:pt x="32" y="121"/>
                    </a:cubicBezTo>
                    <a:cubicBezTo>
                      <a:pt x="33" y="118"/>
                      <a:pt x="34" y="113"/>
                      <a:pt x="35" y="107"/>
                    </a:cubicBezTo>
                    <a:cubicBezTo>
                      <a:pt x="35" y="106"/>
                      <a:pt x="35" y="106"/>
                      <a:pt x="35" y="105"/>
                    </a:cubicBezTo>
                    <a:cubicBezTo>
                      <a:pt x="29" y="105"/>
                      <a:pt x="25" y="103"/>
                      <a:pt x="22" y="98"/>
                    </a:cubicBezTo>
                    <a:cubicBezTo>
                      <a:pt x="19" y="93"/>
                      <a:pt x="17" y="85"/>
                      <a:pt x="18" y="75"/>
                    </a:cubicBezTo>
                    <a:cubicBezTo>
                      <a:pt x="19" y="68"/>
                      <a:pt x="22" y="65"/>
                      <a:pt x="28" y="64"/>
                    </a:cubicBezTo>
                    <a:close/>
                    <a:moveTo>
                      <a:pt x="24" y="35"/>
                    </a:moveTo>
                    <a:cubicBezTo>
                      <a:pt x="24" y="36"/>
                      <a:pt x="24" y="36"/>
                      <a:pt x="24" y="37"/>
                    </a:cubicBezTo>
                    <a:cubicBezTo>
                      <a:pt x="29" y="37"/>
                      <a:pt x="34" y="37"/>
                      <a:pt x="39" y="37"/>
                    </a:cubicBezTo>
                    <a:cubicBezTo>
                      <a:pt x="39" y="34"/>
                      <a:pt x="38" y="31"/>
                      <a:pt x="38" y="29"/>
                    </a:cubicBezTo>
                    <a:cubicBezTo>
                      <a:pt x="37" y="29"/>
                      <a:pt x="36" y="29"/>
                      <a:pt x="34" y="29"/>
                    </a:cubicBezTo>
                    <a:cubicBezTo>
                      <a:pt x="31" y="29"/>
                      <a:pt x="30" y="29"/>
                      <a:pt x="28" y="29"/>
                    </a:cubicBezTo>
                    <a:cubicBezTo>
                      <a:pt x="25" y="31"/>
                      <a:pt x="24" y="32"/>
                      <a:pt x="24" y="35"/>
                    </a:cubicBezTo>
                    <a:close/>
                    <a:moveTo>
                      <a:pt x="61" y="87"/>
                    </a:moveTo>
                    <a:cubicBezTo>
                      <a:pt x="61" y="86"/>
                      <a:pt x="62" y="85"/>
                      <a:pt x="62" y="84"/>
                    </a:cubicBezTo>
                    <a:cubicBezTo>
                      <a:pt x="62" y="83"/>
                      <a:pt x="62" y="82"/>
                      <a:pt x="62" y="82"/>
                    </a:cubicBezTo>
                    <a:cubicBezTo>
                      <a:pt x="56" y="81"/>
                      <a:pt x="50" y="80"/>
                      <a:pt x="43" y="81"/>
                    </a:cubicBezTo>
                    <a:cubicBezTo>
                      <a:pt x="37" y="81"/>
                      <a:pt x="31" y="82"/>
                      <a:pt x="24" y="83"/>
                    </a:cubicBezTo>
                    <a:cubicBezTo>
                      <a:pt x="25" y="87"/>
                      <a:pt x="25" y="87"/>
                      <a:pt x="25" y="87"/>
                    </a:cubicBezTo>
                    <a:cubicBezTo>
                      <a:pt x="35" y="86"/>
                      <a:pt x="48" y="86"/>
                      <a:pt x="61" y="87"/>
                    </a:cubicBezTo>
                    <a:close/>
                    <a:moveTo>
                      <a:pt x="26" y="48"/>
                    </a:moveTo>
                    <a:cubicBezTo>
                      <a:pt x="28" y="51"/>
                      <a:pt x="30" y="52"/>
                      <a:pt x="35" y="52"/>
                    </a:cubicBezTo>
                    <a:cubicBezTo>
                      <a:pt x="38" y="52"/>
                      <a:pt x="38" y="52"/>
                      <a:pt x="38" y="52"/>
                    </a:cubicBezTo>
                    <a:cubicBezTo>
                      <a:pt x="38" y="49"/>
                      <a:pt x="39" y="46"/>
                      <a:pt x="39" y="44"/>
                    </a:cubicBezTo>
                    <a:cubicBezTo>
                      <a:pt x="34" y="44"/>
                      <a:pt x="30" y="44"/>
                      <a:pt x="25" y="44"/>
                    </a:cubicBezTo>
                    <a:cubicBezTo>
                      <a:pt x="25" y="46"/>
                      <a:pt x="25" y="47"/>
                      <a:pt x="26" y="48"/>
                    </a:cubicBezTo>
                    <a:close/>
                    <a:moveTo>
                      <a:pt x="32" y="69"/>
                    </a:moveTo>
                    <a:cubicBezTo>
                      <a:pt x="28" y="70"/>
                      <a:pt x="25" y="72"/>
                      <a:pt x="25" y="76"/>
                    </a:cubicBezTo>
                    <a:cubicBezTo>
                      <a:pt x="30" y="75"/>
                      <a:pt x="35" y="75"/>
                      <a:pt x="41" y="75"/>
                    </a:cubicBezTo>
                    <a:cubicBezTo>
                      <a:pt x="46" y="74"/>
                      <a:pt x="53" y="74"/>
                      <a:pt x="61" y="75"/>
                    </a:cubicBezTo>
                    <a:cubicBezTo>
                      <a:pt x="61" y="72"/>
                      <a:pt x="59" y="71"/>
                      <a:pt x="57" y="70"/>
                    </a:cubicBezTo>
                    <a:cubicBezTo>
                      <a:pt x="49" y="68"/>
                      <a:pt x="40" y="68"/>
                      <a:pt x="32" y="69"/>
                    </a:cubicBezTo>
                    <a:close/>
                    <a:moveTo>
                      <a:pt x="56" y="98"/>
                    </a:moveTo>
                    <a:cubicBezTo>
                      <a:pt x="59" y="97"/>
                      <a:pt x="60" y="96"/>
                      <a:pt x="61" y="93"/>
                    </a:cubicBezTo>
                    <a:cubicBezTo>
                      <a:pt x="60" y="93"/>
                      <a:pt x="57" y="93"/>
                      <a:pt x="54" y="93"/>
                    </a:cubicBezTo>
                    <a:cubicBezTo>
                      <a:pt x="48" y="92"/>
                      <a:pt x="44" y="92"/>
                      <a:pt x="41" y="92"/>
                    </a:cubicBezTo>
                    <a:cubicBezTo>
                      <a:pt x="40" y="92"/>
                      <a:pt x="38" y="92"/>
                      <a:pt x="36" y="93"/>
                    </a:cubicBezTo>
                    <a:cubicBezTo>
                      <a:pt x="31" y="93"/>
                      <a:pt x="28" y="94"/>
                      <a:pt x="26" y="94"/>
                    </a:cubicBezTo>
                    <a:cubicBezTo>
                      <a:pt x="27" y="96"/>
                      <a:pt x="29" y="98"/>
                      <a:pt x="32" y="98"/>
                    </a:cubicBezTo>
                    <a:cubicBezTo>
                      <a:pt x="39" y="99"/>
                      <a:pt x="47" y="99"/>
                      <a:pt x="56" y="98"/>
                    </a:cubicBezTo>
                    <a:close/>
                    <a:moveTo>
                      <a:pt x="56" y="29"/>
                    </a:moveTo>
                    <a:cubicBezTo>
                      <a:pt x="55" y="29"/>
                      <a:pt x="53" y="29"/>
                      <a:pt x="51" y="29"/>
                    </a:cubicBezTo>
                    <a:cubicBezTo>
                      <a:pt x="49" y="29"/>
                      <a:pt x="47" y="29"/>
                      <a:pt x="46" y="29"/>
                    </a:cubicBezTo>
                    <a:cubicBezTo>
                      <a:pt x="46" y="31"/>
                      <a:pt x="46" y="34"/>
                      <a:pt x="46" y="37"/>
                    </a:cubicBezTo>
                    <a:cubicBezTo>
                      <a:pt x="50" y="37"/>
                      <a:pt x="55" y="37"/>
                      <a:pt x="60" y="37"/>
                    </a:cubicBezTo>
                    <a:cubicBezTo>
                      <a:pt x="60" y="35"/>
                      <a:pt x="60" y="35"/>
                      <a:pt x="60" y="35"/>
                    </a:cubicBezTo>
                    <a:cubicBezTo>
                      <a:pt x="60" y="32"/>
                      <a:pt x="58" y="30"/>
                      <a:pt x="56" y="29"/>
                    </a:cubicBezTo>
                    <a:close/>
                    <a:moveTo>
                      <a:pt x="59" y="48"/>
                    </a:moveTo>
                    <a:cubicBezTo>
                      <a:pt x="59" y="47"/>
                      <a:pt x="59" y="45"/>
                      <a:pt x="60" y="43"/>
                    </a:cubicBezTo>
                    <a:cubicBezTo>
                      <a:pt x="55" y="43"/>
                      <a:pt x="51" y="43"/>
                      <a:pt x="46" y="43"/>
                    </a:cubicBezTo>
                    <a:cubicBezTo>
                      <a:pt x="46" y="52"/>
                      <a:pt x="46" y="52"/>
                      <a:pt x="46" y="52"/>
                    </a:cubicBezTo>
                    <a:cubicBezTo>
                      <a:pt x="48" y="52"/>
                      <a:pt x="51" y="52"/>
                      <a:pt x="54" y="52"/>
                    </a:cubicBezTo>
                    <a:cubicBezTo>
                      <a:pt x="57" y="51"/>
                      <a:pt x="59" y="49"/>
                      <a:pt x="59" y="48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1049529" name="îSḻide"/>
              <p:cNvSpPr/>
              <p:nvPr/>
            </p:nvSpPr>
            <p:spPr bwMode="auto">
              <a:xfrm>
                <a:off x="2449409" y="5256803"/>
                <a:ext cx="139700" cy="265113"/>
              </a:xfrm>
              <a:custGeom>
                <a:avLst/>
                <a:gdLst>
                  <a:gd name="T0" fmla="*/ 56 w 76"/>
                  <a:gd name="T1" fmla="*/ 3 h 144"/>
                  <a:gd name="T2" fmla="*/ 61 w 76"/>
                  <a:gd name="T3" fmla="*/ 45 h 144"/>
                  <a:gd name="T4" fmla="*/ 50 w 76"/>
                  <a:gd name="T5" fmla="*/ 74 h 144"/>
                  <a:gd name="T6" fmla="*/ 68 w 76"/>
                  <a:gd name="T7" fmla="*/ 65 h 144"/>
                  <a:gd name="T8" fmla="*/ 70 w 76"/>
                  <a:gd name="T9" fmla="*/ 31 h 144"/>
                  <a:gd name="T10" fmla="*/ 74 w 76"/>
                  <a:gd name="T11" fmla="*/ 31 h 144"/>
                  <a:gd name="T12" fmla="*/ 74 w 76"/>
                  <a:gd name="T13" fmla="*/ 64 h 144"/>
                  <a:gd name="T14" fmla="*/ 50 w 76"/>
                  <a:gd name="T15" fmla="*/ 81 h 144"/>
                  <a:gd name="T16" fmla="*/ 69 w 76"/>
                  <a:gd name="T17" fmla="*/ 103 h 144"/>
                  <a:gd name="T18" fmla="*/ 74 w 76"/>
                  <a:gd name="T19" fmla="*/ 140 h 144"/>
                  <a:gd name="T20" fmla="*/ 63 w 76"/>
                  <a:gd name="T21" fmla="*/ 105 h 144"/>
                  <a:gd name="T22" fmla="*/ 52 w 76"/>
                  <a:gd name="T23" fmla="*/ 138 h 144"/>
                  <a:gd name="T24" fmla="*/ 46 w 76"/>
                  <a:gd name="T25" fmla="*/ 139 h 144"/>
                  <a:gd name="T26" fmla="*/ 42 w 76"/>
                  <a:gd name="T27" fmla="*/ 57 h 144"/>
                  <a:gd name="T28" fmla="*/ 35 w 76"/>
                  <a:gd name="T29" fmla="*/ 132 h 144"/>
                  <a:gd name="T30" fmla="*/ 27 w 76"/>
                  <a:gd name="T31" fmla="*/ 136 h 144"/>
                  <a:gd name="T32" fmla="*/ 29 w 76"/>
                  <a:gd name="T33" fmla="*/ 95 h 144"/>
                  <a:gd name="T34" fmla="*/ 5 w 76"/>
                  <a:gd name="T35" fmla="*/ 135 h 144"/>
                  <a:gd name="T36" fmla="*/ 0 w 76"/>
                  <a:gd name="T37" fmla="*/ 135 h 144"/>
                  <a:gd name="T38" fmla="*/ 30 w 76"/>
                  <a:gd name="T39" fmla="*/ 86 h 144"/>
                  <a:gd name="T40" fmla="*/ 26 w 76"/>
                  <a:gd name="T41" fmla="*/ 80 h 144"/>
                  <a:gd name="T42" fmla="*/ 5 w 76"/>
                  <a:gd name="T43" fmla="*/ 66 h 144"/>
                  <a:gd name="T44" fmla="*/ 3 w 76"/>
                  <a:gd name="T45" fmla="*/ 29 h 144"/>
                  <a:gd name="T46" fmla="*/ 9 w 76"/>
                  <a:gd name="T47" fmla="*/ 59 h 144"/>
                  <a:gd name="T48" fmla="*/ 31 w 76"/>
                  <a:gd name="T49" fmla="*/ 74 h 144"/>
                  <a:gd name="T50" fmla="*/ 32 w 76"/>
                  <a:gd name="T51" fmla="*/ 57 h 144"/>
                  <a:gd name="T52" fmla="*/ 16 w 76"/>
                  <a:gd name="T53" fmla="*/ 14 h 144"/>
                  <a:gd name="T54" fmla="*/ 22 w 76"/>
                  <a:gd name="T55" fmla="*/ 19 h 144"/>
                  <a:gd name="T56" fmla="*/ 57 w 76"/>
                  <a:gd name="T57" fmla="*/ 19 h 144"/>
                  <a:gd name="T58" fmla="*/ 50 w 76"/>
                  <a:gd name="T59" fmla="*/ 9 h 144"/>
                  <a:gd name="T60" fmla="*/ 22 w 76"/>
                  <a:gd name="T61" fmla="*/ 19 h 144"/>
                  <a:gd name="T62" fmla="*/ 23 w 76"/>
                  <a:gd name="T63" fmla="*/ 31 h 144"/>
                  <a:gd name="T64" fmla="*/ 57 w 76"/>
                  <a:gd name="T65" fmla="*/ 34 h 144"/>
                  <a:gd name="T66" fmla="*/ 22 w 76"/>
                  <a:gd name="T67" fmla="*/ 27 h 144"/>
                  <a:gd name="T68" fmla="*/ 48 w 76"/>
                  <a:gd name="T69" fmla="*/ 50 h 144"/>
                  <a:gd name="T70" fmla="*/ 57 w 76"/>
                  <a:gd name="T71" fmla="*/ 41 h 144"/>
                  <a:gd name="T72" fmla="*/ 25 w 76"/>
                  <a:gd name="T73" fmla="*/ 44 h 1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76" h="144">
                    <a:moveTo>
                      <a:pt x="27" y="2"/>
                    </a:moveTo>
                    <a:cubicBezTo>
                      <a:pt x="37" y="0"/>
                      <a:pt x="47" y="0"/>
                      <a:pt x="56" y="3"/>
                    </a:cubicBezTo>
                    <a:cubicBezTo>
                      <a:pt x="60" y="3"/>
                      <a:pt x="62" y="7"/>
                      <a:pt x="63" y="15"/>
                    </a:cubicBezTo>
                    <a:cubicBezTo>
                      <a:pt x="65" y="25"/>
                      <a:pt x="64" y="35"/>
                      <a:pt x="61" y="45"/>
                    </a:cubicBezTo>
                    <a:cubicBezTo>
                      <a:pt x="60" y="53"/>
                      <a:pt x="55" y="56"/>
                      <a:pt x="49" y="57"/>
                    </a:cubicBezTo>
                    <a:cubicBezTo>
                      <a:pt x="49" y="62"/>
                      <a:pt x="50" y="68"/>
                      <a:pt x="50" y="74"/>
                    </a:cubicBezTo>
                    <a:cubicBezTo>
                      <a:pt x="53" y="74"/>
                      <a:pt x="56" y="74"/>
                      <a:pt x="58" y="74"/>
                    </a:cubicBezTo>
                    <a:cubicBezTo>
                      <a:pt x="62" y="75"/>
                      <a:pt x="66" y="72"/>
                      <a:pt x="68" y="65"/>
                    </a:cubicBezTo>
                    <a:cubicBezTo>
                      <a:pt x="69" y="62"/>
                      <a:pt x="70" y="53"/>
                      <a:pt x="70" y="39"/>
                    </a:cubicBezTo>
                    <a:cubicBezTo>
                      <a:pt x="70" y="35"/>
                      <a:pt x="70" y="32"/>
                      <a:pt x="70" y="31"/>
                    </a:cubicBezTo>
                    <a:cubicBezTo>
                      <a:pt x="71" y="31"/>
                      <a:pt x="71" y="30"/>
                      <a:pt x="72" y="30"/>
                    </a:cubicBezTo>
                    <a:cubicBezTo>
                      <a:pt x="73" y="30"/>
                      <a:pt x="74" y="30"/>
                      <a:pt x="74" y="31"/>
                    </a:cubicBezTo>
                    <a:cubicBezTo>
                      <a:pt x="75" y="33"/>
                      <a:pt x="76" y="36"/>
                      <a:pt x="76" y="41"/>
                    </a:cubicBezTo>
                    <a:cubicBezTo>
                      <a:pt x="76" y="49"/>
                      <a:pt x="75" y="56"/>
                      <a:pt x="74" y="64"/>
                    </a:cubicBezTo>
                    <a:cubicBezTo>
                      <a:pt x="72" y="75"/>
                      <a:pt x="67" y="81"/>
                      <a:pt x="58" y="81"/>
                    </a:cubicBezTo>
                    <a:cubicBezTo>
                      <a:pt x="50" y="81"/>
                      <a:pt x="50" y="81"/>
                      <a:pt x="50" y="81"/>
                    </a:cubicBezTo>
                    <a:cubicBezTo>
                      <a:pt x="50" y="87"/>
                      <a:pt x="50" y="87"/>
                      <a:pt x="50" y="87"/>
                    </a:cubicBezTo>
                    <a:cubicBezTo>
                      <a:pt x="60" y="87"/>
                      <a:pt x="66" y="92"/>
                      <a:pt x="69" y="103"/>
                    </a:cubicBezTo>
                    <a:cubicBezTo>
                      <a:pt x="72" y="112"/>
                      <a:pt x="74" y="122"/>
                      <a:pt x="76" y="134"/>
                    </a:cubicBezTo>
                    <a:cubicBezTo>
                      <a:pt x="76" y="138"/>
                      <a:pt x="75" y="140"/>
                      <a:pt x="74" y="140"/>
                    </a:cubicBezTo>
                    <a:cubicBezTo>
                      <a:pt x="72" y="141"/>
                      <a:pt x="71" y="139"/>
                      <a:pt x="70" y="136"/>
                    </a:cubicBezTo>
                    <a:cubicBezTo>
                      <a:pt x="68" y="126"/>
                      <a:pt x="66" y="116"/>
                      <a:pt x="63" y="105"/>
                    </a:cubicBezTo>
                    <a:cubicBezTo>
                      <a:pt x="61" y="98"/>
                      <a:pt x="57" y="95"/>
                      <a:pt x="50" y="95"/>
                    </a:cubicBezTo>
                    <a:cubicBezTo>
                      <a:pt x="50" y="109"/>
                      <a:pt x="51" y="123"/>
                      <a:pt x="52" y="138"/>
                    </a:cubicBezTo>
                    <a:cubicBezTo>
                      <a:pt x="52" y="141"/>
                      <a:pt x="51" y="143"/>
                      <a:pt x="49" y="144"/>
                    </a:cubicBezTo>
                    <a:cubicBezTo>
                      <a:pt x="47" y="144"/>
                      <a:pt x="46" y="142"/>
                      <a:pt x="46" y="139"/>
                    </a:cubicBezTo>
                    <a:cubicBezTo>
                      <a:pt x="44" y="134"/>
                      <a:pt x="43" y="118"/>
                      <a:pt x="43" y="92"/>
                    </a:cubicBezTo>
                    <a:cubicBezTo>
                      <a:pt x="43" y="76"/>
                      <a:pt x="43" y="64"/>
                      <a:pt x="42" y="57"/>
                    </a:cubicBezTo>
                    <a:cubicBezTo>
                      <a:pt x="38" y="57"/>
                      <a:pt x="38" y="57"/>
                      <a:pt x="38" y="57"/>
                    </a:cubicBezTo>
                    <a:cubicBezTo>
                      <a:pt x="36" y="88"/>
                      <a:pt x="35" y="113"/>
                      <a:pt x="35" y="132"/>
                    </a:cubicBezTo>
                    <a:cubicBezTo>
                      <a:pt x="35" y="138"/>
                      <a:pt x="33" y="142"/>
                      <a:pt x="31" y="142"/>
                    </a:cubicBezTo>
                    <a:cubicBezTo>
                      <a:pt x="29" y="142"/>
                      <a:pt x="27" y="140"/>
                      <a:pt x="27" y="136"/>
                    </a:cubicBezTo>
                    <a:cubicBezTo>
                      <a:pt x="27" y="136"/>
                      <a:pt x="27" y="134"/>
                      <a:pt x="27" y="132"/>
                    </a:cubicBezTo>
                    <a:cubicBezTo>
                      <a:pt x="28" y="118"/>
                      <a:pt x="29" y="105"/>
                      <a:pt x="29" y="95"/>
                    </a:cubicBezTo>
                    <a:cubicBezTo>
                      <a:pt x="19" y="95"/>
                      <a:pt x="14" y="98"/>
                      <a:pt x="13" y="105"/>
                    </a:cubicBezTo>
                    <a:cubicBezTo>
                      <a:pt x="10" y="114"/>
                      <a:pt x="7" y="124"/>
                      <a:pt x="5" y="135"/>
                    </a:cubicBezTo>
                    <a:cubicBezTo>
                      <a:pt x="4" y="137"/>
                      <a:pt x="3" y="139"/>
                      <a:pt x="2" y="139"/>
                    </a:cubicBezTo>
                    <a:cubicBezTo>
                      <a:pt x="1" y="140"/>
                      <a:pt x="0" y="138"/>
                      <a:pt x="0" y="135"/>
                    </a:cubicBezTo>
                    <a:cubicBezTo>
                      <a:pt x="0" y="125"/>
                      <a:pt x="2" y="115"/>
                      <a:pt x="7" y="104"/>
                    </a:cubicBezTo>
                    <a:cubicBezTo>
                      <a:pt x="11" y="92"/>
                      <a:pt x="18" y="86"/>
                      <a:pt x="30" y="86"/>
                    </a:cubicBezTo>
                    <a:cubicBezTo>
                      <a:pt x="30" y="85"/>
                      <a:pt x="30" y="83"/>
                      <a:pt x="31" y="80"/>
                    </a:cubicBezTo>
                    <a:cubicBezTo>
                      <a:pt x="29" y="81"/>
                      <a:pt x="28" y="81"/>
                      <a:pt x="26" y="80"/>
                    </a:cubicBezTo>
                    <a:cubicBezTo>
                      <a:pt x="24" y="80"/>
                      <a:pt x="23" y="80"/>
                      <a:pt x="22" y="80"/>
                    </a:cubicBezTo>
                    <a:cubicBezTo>
                      <a:pt x="14" y="81"/>
                      <a:pt x="8" y="76"/>
                      <a:pt x="5" y="66"/>
                    </a:cubicBezTo>
                    <a:cubicBezTo>
                      <a:pt x="2" y="59"/>
                      <a:pt x="0" y="49"/>
                      <a:pt x="0" y="37"/>
                    </a:cubicBezTo>
                    <a:cubicBezTo>
                      <a:pt x="0" y="32"/>
                      <a:pt x="1" y="29"/>
                      <a:pt x="3" y="29"/>
                    </a:cubicBezTo>
                    <a:cubicBezTo>
                      <a:pt x="6" y="31"/>
                      <a:pt x="8" y="35"/>
                      <a:pt x="8" y="39"/>
                    </a:cubicBezTo>
                    <a:cubicBezTo>
                      <a:pt x="7" y="45"/>
                      <a:pt x="7" y="52"/>
                      <a:pt x="9" y="59"/>
                    </a:cubicBezTo>
                    <a:cubicBezTo>
                      <a:pt x="10" y="68"/>
                      <a:pt x="16" y="73"/>
                      <a:pt x="24" y="74"/>
                    </a:cubicBezTo>
                    <a:cubicBezTo>
                      <a:pt x="26" y="74"/>
                      <a:pt x="29" y="74"/>
                      <a:pt x="31" y="74"/>
                    </a:cubicBezTo>
                    <a:cubicBezTo>
                      <a:pt x="31" y="72"/>
                      <a:pt x="31" y="69"/>
                      <a:pt x="31" y="65"/>
                    </a:cubicBezTo>
                    <a:cubicBezTo>
                      <a:pt x="31" y="61"/>
                      <a:pt x="32" y="58"/>
                      <a:pt x="32" y="57"/>
                    </a:cubicBezTo>
                    <a:cubicBezTo>
                      <a:pt x="25" y="56"/>
                      <a:pt x="20" y="53"/>
                      <a:pt x="19" y="48"/>
                    </a:cubicBezTo>
                    <a:cubicBezTo>
                      <a:pt x="15" y="36"/>
                      <a:pt x="14" y="25"/>
                      <a:pt x="16" y="14"/>
                    </a:cubicBezTo>
                    <a:cubicBezTo>
                      <a:pt x="17" y="6"/>
                      <a:pt x="21" y="2"/>
                      <a:pt x="27" y="2"/>
                    </a:cubicBezTo>
                    <a:close/>
                    <a:moveTo>
                      <a:pt x="22" y="19"/>
                    </a:moveTo>
                    <a:cubicBezTo>
                      <a:pt x="22" y="20"/>
                      <a:pt x="22" y="20"/>
                      <a:pt x="22" y="20"/>
                    </a:cubicBezTo>
                    <a:cubicBezTo>
                      <a:pt x="30" y="20"/>
                      <a:pt x="42" y="19"/>
                      <a:pt x="57" y="19"/>
                    </a:cubicBezTo>
                    <a:cubicBezTo>
                      <a:pt x="57" y="18"/>
                      <a:pt x="57" y="17"/>
                      <a:pt x="57" y="16"/>
                    </a:cubicBezTo>
                    <a:cubicBezTo>
                      <a:pt x="56" y="13"/>
                      <a:pt x="54" y="10"/>
                      <a:pt x="50" y="9"/>
                    </a:cubicBezTo>
                    <a:cubicBezTo>
                      <a:pt x="44" y="8"/>
                      <a:pt x="37" y="7"/>
                      <a:pt x="31" y="9"/>
                    </a:cubicBezTo>
                    <a:cubicBezTo>
                      <a:pt x="25" y="11"/>
                      <a:pt x="22" y="14"/>
                      <a:pt x="22" y="19"/>
                    </a:cubicBezTo>
                    <a:close/>
                    <a:moveTo>
                      <a:pt x="22" y="27"/>
                    </a:moveTo>
                    <a:cubicBezTo>
                      <a:pt x="22" y="28"/>
                      <a:pt x="22" y="29"/>
                      <a:pt x="23" y="31"/>
                    </a:cubicBezTo>
                    <a:cubicBezTo>
                      <a:pt x="23" y="32"/>
                      <a:pt x="23" y="33"/>
                      <a:pt x="23" y="34"/>
                    </a:cubicBezTo>
                    <a:cubicBezTo>
                      <a:pt x="57" y="34"/>
                      <a:pt x="57" y="34"/>
                      <a:pt x="57" y="34"/>
                    </a:cubicBezTo>
                    <a:cubicBezTo>
                      <a:pt x="57" y="27"/>
                      <a:pt x="57" y="27"/>
                      <a:pt x="57" y="27"/>
                    </a:cubicBezTo>
                    <a:cubicBezTo>
                      <a:pt x="45" y="26"/>
                      <a:pt x="33" y="26"/>
                      <a:pt x="22" y="27"/>
                    </a:cubicBezTo>
                    <a:close/>
                    <a:moveTo>
                      <a:pt x="35" y="50"/>
                    </a:moveTo>
                    <a:cubicBezTo>
                      <a:pt x="48" y="50"/>
                      <a:pt x="48" y="50"/>
                      <a:pt x="48" y="50"/>
                    </a:cubicBezTo>
                    <a:cubicBezTo>
                      <a:pt x="53" y="50"/>
                      <a:pt x="55" y="47"/>
                      <a:pt x="57" y="42"/>
                    </a:cubicBezTo>
                    <a:cubicBezTo>
                      <a:pt x="57" y="41"/>
                      <a:pt x="57" y="41"/>
                      <a:pt x="57" y="41"/>
                    </a:cubicBezTo>
                    <a:cubicBezTo>
                      <a:pt x="43" y="41"/>
                      <a:pt x="32" y="41"/>
                      <a:pt x="24" y="42"/>
                    </a:cubicBezTo>
                    <a:cubicBezTo>
                      <a:pt x="24" y="43"/>
                      <a:pt x="24" y="43"/>
                      <a:pt x="25" y="44"/>
                    </a:cubicBezTo>
                    <a:cubicBezTo>
                      <a:pt x="27" y="48"/>
                      <a:pt x="30" y="50"/>
                      <a:pt x="35" y="5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1049530" name="iṣlîḋè"/>
              <p:cNvSpPr/>
              <p:nvPr/>
            </p:nvSpPr>
            <p:spPr bwMode="auto">
              <a:xfrm>
                <a:off x="2604984" y="5259978"/>
                <a:ext cx="177800" cy="255588"/>
              </a:xfrm>
              <a:custGeom>
                <a:avLst/>
                <a:gdLst>
                  <a:gd name="T0" fmla="*/ 5 w 96"/>
                  <a:gd name="T1" fmla="*/ 37 h 138"/>
                  <a:gd name="T2" fmla="*/ 24 w 96"/>
                  <a:gd name="T3" fmla="*/ 49 h 138"/>
                  <a:gd name="T4" fmla="*/ 7 w 96"/>
                  <a:gd name="T5" fmla="*/ 26 h 138"/>
                  <a:gd name="T6" fmla="*/ 0 w 96"/>
                  <a:gd name="T7" fmla="*/ 22 h 138"/>
                  <a:gd name="T8" fmla="*/ 44 w 96"/>
                  <a:gd name="T9" fmla="*/ 19 h 138"/>
                  <a:gd name="T10" fmla="*/ 40 w 96"/>
                  <a:gd name="T11" fmla="*/ 26 h 138"/>
                  <a:gd name="T12" fmla="*/ 29 w 96"/>
                  <a:gd name="T13" fmla="*/ 49 h 138"/>
                  <a:gd name="T14" fmla="*/ 42 w 96"/>
                  <a:gd name="T15" fmla="*/ 39 h 138"/>
                  <a:gd name="T16" fmla="*/ 36 w 96"/>
                  <a:gd name="T17" fmla="*/ 64 h 138"/>
                  <a:gd name="T18" fmla="*/ 44 w 96"/>
                  <a:gd name="T19" fmla="*/ 70 h 138"/>
                  <a:gd name="T20" fmla="*/ 30 w 96"/>
                  <a:gd name="T21" fmla="*/ 78 h 138"/>
                  <a:gd name="T22" fmla="*/ 48 w 96"/>
                  <a:gd name="T23" fmla="*/ 111 h 138"/>
                  <a:gd name="T24" fmla="*/ 42 w 96"/>
                  <a:gd name="T25" fmla="*/ 124 h 138"/>
                  <a:gd name="T26" fmla="*/ 33 w 96"/>
                  <a:gd name="T27" fmla="*/ 93 h 138"/>
                  <a:gd name="T28" fmla="*/ 30 w 96"/>
                  <a:gd name="T29" fmla="*/ 116 h 138"/>
                  <a:gd name="T30" fmla="*/ 24 w 96"/>
                  <a:gd name="T31" fmla="*/ 133 h 138"/>
                  <a:gd name="T32" fmla="*/ 20 w 96"/>
                  <a:gd name="T33" fmla="*/ 93 h 138"/>
                  <a:gd name="T34" fmla="*/ 11 w 96"/>
                  <a:gd name="T35" fmla="*/ 122 h 138"/>
                  <a:gd name="T36" fmla="*/ 8 w 96"/>
                  <a:gd name="T37" fmla="*/ 102 h 138"/>
                  <a:gd name="T38" fmla="*/ 24 w 96"/>
                  <a:gd name="T39" fmla="*/ 81 h 138"/>
                  <a:gd name="T40" fmla="*/ 3 w 96"/>
                  <a:gd name="T41" fmla="*/ 77 h 138"/>
                  <a:gd name="T42" fmla="*/ 14 w 96"/>
                  <a:gd name="T43" fmla="*/ 70 h 138"/>
                  <a:gd name="T44" fmla="*/ 20 w 96"/>
                  <a:gd name="T45" fmla="*/ 65 h 138"/>
                  <a:gd name="T46" fmla="*/ 2 w 96"/>
                  <a:gd name="T47" fmla="*/ 37 h 138"/>
                  <a:gd name="T48" fmla="*/ 40 w 96"/>
                  <a:gd name="T49" fmla="*/ 3 h 138"/>
                  <a:gd name="T50" fmla="*/ 14 w 96"/>
                  <a:gd name="T51" fmla="*/ 11 h 138"/>
                  <a:gd name="T52" fmla="*/ 5 w 96"/>
                  <a:gd name="T53" fmla="*/ 6 h 138"/>
                  <a:gd name="T54" fmla="*/ 33 w 96"/>
                  <a:gd name="T55" fmla="*/ 26 h 138"/>
                  <a:gd name="T56" fmla="*/ 27 w 96"/>
                  <a:gd name="T57" fmla="*/ 45 h 138"/>
                  <a:gd name="T58" fmla="*/ 54 w 96"/>
                  <a:gd name="T59" fmla="*/ 2 h 138"/>
                  <a:gd name="T60" fmla="*/ 58 w 96"/>
                  <a:gd name="T61" fmla="*/ 10 h 138"/>
                  <a:gd name="T62" fmla="*/ 88 w 96"/>
                  <a:gd name="T63" fmla="*/ 22 h 138"/>
                  <a:gd name="T64" fmla="*/ 74 w 96"/>
                  <a:gd name="T65" fmla="*/ 37 h 138"/>
                  <a:gd name="T66" fmla="*/ 62 w 96"/>
                  <a:gd name="T67" fmla="*/ 66 h 138"/>
                  <a:gd name="T68" fmla="*/ 53 w 96"/>
                  <a:gd name="T69" fmla="*/ 136 h 138"/>
                  <a:gd name="T70" fmla="*/ 48 w 96"/>
                  <a:gd name="T71" fmla="*/ 130 h 138"/>
                  <a:gd name="T72" fmla="*/ 55 w 96"/>
                  <a:gd name="T73" fmla="*/ 48 h 138"/>
                  <a:gd name="T74" fmla="*/ 76 w 96"/>
                  <a:gd name="T75" fmla="*/ 31 h 138"/>
                  <a:gd name="T76" fmla="*/ 65 w 96"/>
                  <a:gd name="T77" fmla="*/ 18 h 138"/>
                  <a:gd name="T78" fmla="*/ 52 w 96"/>
                  <a:gd name="T79" fmla="*/ 13 h 138"/>
                  <a:gd name="T80" fmla="*/ 94 w 96"/>
                  <a:gd name="T81" fmla="*/ 74 h 138"/>
                  <a:gd name="T82" fmla="*/ 76 w 96"/>
                  <a:gd name="T83" fmla="*/ 54 h 138"/>
                  <a:gd name="T84" fmla="*/ 83 w 96"/>
                  <a:gd name="T85" fmla="*/ 119 h 138"/>
                  <a:gd name="T86" fmla="*/ 88 w 96"/>
                  <a:gd name="T87" fmla="*/ 133 h 138"/>
                  <a:gd name="T88" fmla="*/ 70 w 96"/>
                  <a:gd name="T89" fmla="*/ 93 h 138"/>
                  <a:gd name="T90" fmla="*/ 70 w 96"/>
                  <a:gd name="T91" fmla="*/ 42 h 138"/>
                  <a:gd name="T92" fmla="*/ 95 w 96"/>
                  <a:gd name="T93" fmla="*/ 70 h 1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96" h="138">
                    <a:moveTo>
                      <a:pt x="2" y="37"/>
                    </a:moveTo>
                    <a:cubicBezTo>
                      <a:pt x="2" y="36"/>
                      <a:pt x="2" y="35"/>
                      <a:pt x="3" y="35"/>
                    </a:cubicBezTo>
                    <a:cubicBezTo>
                      <a:pt x="4" y="35"/>
                      <a:pt x="5" y="36"/>
                      <a:pt x="5" y="37"/>
                    </a:cubicBezTo>
                    <a:cubicBezTo>
                      <a:pt x="9" y="49"/>
                      <a:pt x="14" y="56"/>
                      <a:pt x="21" y="59"/>
                    </a:cubicBezTo>
                    <a:cubicBezTo>
                      <a:pt x="21" y="59"/>
                      <a:pt x="22" y="60"/>
                      <a:pt x="24" y="60"/>
                    </a:cubicBezTo>
                    <a:cubicBezTo>
                      <a:pt x="24" y="56"/>
                      <a:pt x="24" y="53"/>
                      <a:pt x="24" y="49"/>
                    </a:cubicBezTo>
                    <a:cubicBezTo>
                      <a:pt x="21" y="48"/>
                      <a:pt x="18" y="46"/>
                      <a:pt x="16" y="42"/>
                    </a:cubicBezTo>
                    <a:cubicBezTo>
                      <a:pt x="13" y="38"/>
                      <a:pt x="12" y="33"/>
                      <a:pt x="12" y="26"/>
                    </a:cubicBezTo>
                    <a:cubicBezTo>
                      <a:pt x="9" y="26"/>
                      <a:pt x="8" y="26"/>
                      <a:pt x="7" y="26"/>
                    </a:cubicBezTo>
                    <a:cubicBezTo>
                      <a:pt x="4" y="27"/>
                      <a:pt x="2" y="27"/>
                      <a:pt x="1" y="25"/>
                    </a:cubicBezTo>
                    <a:cubicBezTo>
                      <a:pt x="0" y="24"/>
                      <a:pt x="0" y="23"/>
                      <a:pt x="0" y="22"/>
                    </a:cubicBezTo>
                    <a:cubicBezTo>
                      <a:pt x="0" y="22"/>
                      <a:pt x="0" y="22"/>
                      <a:pt x="0" y="22"/>
                    </a:cubicBezTo>
                    <a:cubicBezTo>
                      <a:pt x="1" y="19"/>
                      <a:pt x="2" y="18"/>
                      <a:pt x="4" y="19"/>
                    </a:cubicBezTo>
                    <a:cubicBezTo>
                      <a:pt x="6" y="19"/>
                      <a:pt x="8" y="19"/>
                      <a:pt x="11" y="19"/>
                    </a:cubicBezTo>
                    <a:cubicBezTo>
                      <a:pt x="44" y="19"/>
                      <a:pt x="44" y="19"/>
                      <a:pt x="44" y="19"/>
                    </a:cubicBezTo>
                    <a:cubicBezTo>
                      <a:pt x="46" y="19"/>
                      <a:pt x="48" y="20"/>
                      <a:pt x="48" y="23"/>
                    </a:cubicBezTo>
                    <a:cubicBezTo>
                      <a:pt x="47" y="25"/>
                      <a:pt x="45" y="26"/>
                      <a:pt x="42" y="26"/>
                    </a:cubicBezTo>
                    <a:cubicBezTo>
                      <a:pt x="42" y="26"/>
                      <a:pt x="41" y="26"/>
                      <a:pt x="40" y="26"/>
                    </a:cubicBezTo>
                    <a:cubicBezTo>
                      <a:pt x="40" y="26"/>
                      <a:pt x="40" y="26"/>
                      <a:pt x="40" y="26"/>
                    </a:cubicBezTo>
                    <a:cubicBezTo>
                      <a:pt x="39" y="34"/>
                      <a:pt x="38" y="39"/>
                      <a:pt x="37" y="42"/>
                    </a:cubicBezTo>
                    <a:cubicBezTo>
                      <a:pt x="34" y="46"/>
                      <a:pt x="32" y="49"/>
                      <a:pt x="29" y="49"/>
                    </a:cubicBezTo>
                    <a:cubicBezTo>
                      <a:pt x="30" y="53"/>
                      <a:pt x="30" y="56"/>
                      <a:pt x="30" y="60"/>
                    </a:cubicBezTo>
                    <a:cubicBezTo>
                      <a:pt x="31" y="60"/>
                      <a:pt x="32" y="59"/>
                      <a:pt x="33" y="58"/>
                    </a:cubicBezTo>
                    <a:cubicBezTo>
                      <a:pt x="39" y="56"/>
                      <a:pt x="42" y="49"/>
                      <a:pt x="42" y="39"/>
                    </a:cubicBezTo>
                    <a:cubicBezTo>
                      <a:pt x="43" y="37"/>
                      <a:pt x="44" y="36"/>
                      <a:pt x="46" y="36"/>
                    </a:cubicBezTo>
                    <a:cubicBezTo>
                      <a:pt x="47" y="36"/>
                      <a:pt x="48" y="37"/>
                      <a:pt x="48" y="39"/>
                    </a:cubicBezTo>
                    <a:cubicBezTo>
                      <a:pt x="49" y="49"/>
                      <a:pt x="45" y="57"/>
                      <a:pt x="36" y="64"/>
                    </a:cubicBezTo>
                    <a:cubicBezTo>
                      <a:pt x="34" y="65"/>
                      <a:pt x="32" y="66"/>
                      <a:pt x="30" y="66"/>
                    </a:cubicBezTo>
                    <a:cubicBezTo>
                      <a:pt x="30" y="70"/>
                      <a:pt x="30" y="70"/>
                      <a:pt x="30" y="70"/>
                    </a:cubicBezTo>
                    <a:cubicBezTo>
                      <a:pt x="44" y="70"/>
                      <a:pt x="44" y="70"/>
                      <a:pt x="44" y="70"/>
                    </a:cubicBezTo>
                    <a:cubicBezTo>
                      <a:pt x="47" y="70"/>
                      <a:pt x="49" y="71"/>
                      <a:pt x="49" y="73"/>
                    </a:cubicBezTo>
                    <a:cubicBezTo>
                      <a:pt x="49" y="76"/>
                      <a:pt x="47" y="77"/>
                      <a:pt x="43" y="77"/>
                    </a:cubicBezTo>
                    <a:cubicBezTo>
                      <a:pt x="37" y="77"/>
                      <a:pt x="33" y="77"/>
                      <a:pt x="30" y="78"/>
                    </a:cubicBezTo>
                    <a:cubicBezTo>
                      <a:pt x="30" y="80"/>
                      <a:pt x="30" y="82"/>
                      <a:pt x="30" y="84"/>
                    </a:cubicBezTo>
                    <a:cubicBezTo>
                      <a:pt x="34" y="84"/>
                      <a:pt x="37" y="87"/>
                      <a:pt x="40" y="91"/>
                    </a:cubicBezTo>
                    <a:cubicBezTo>
                      <a:pt x="44" y="96"/>
                      <a:pt x="46" y="103"/>
                      <a:pt x="48" y="111"/>
                    </a:cubicBezTo>
                    <a:cubicBezTo>
                      <a:pt x="49" y="116"/>
                      <a:pt x="49" y="120"/>
                      <a:pt x="48" y="124"/>
                    </a:cubicBezTo>
                    <a:cubicBezTo>
                      <a:pt x="47" y="125"/>
                      <a:pt x="46" y="125"/>
                      <a:pt x="45" y="125"/>
                    </a:cubicBezTo>
                    <a:cubicBezTo>
                      <a:pt x="44" y="125"/>
                      <a:pt x="43" y="125"/>
                      <a:pt x="42" y="124"/>
                    </a:cubicBezTo>
                    <a:cubicBezTo>
                      <a:pt x="42" y="123"/>
                      <a:pt x="42" y="121"/>
                      <a:pt x="42" y="118"/>
                    </a:cubicBezTo>
                    <a:cubicBezTo>
                      <a:pt x="41" y="116"/>
                      <a:pt x="41" y="114"/>
                      <a:pt x="41" y="113"/>
                    </a:cubicBezTo>
                    <a:cubicBezTo>
                      <a:pt x="40" y="104"/>
                      <a:pt x="37" y="97"/>
                      <a:pt x="33" y="93"/>
                    </a:cubicBezTo>
                    <a:cubicBezTo>
                      <a:pt x="33" y="92"/>
                      <a:pt x="32" y="91"/>
                      <a:pt x="30" y="91"/>
                    </a:cubicBezTo>
                    <a:cubicBezTo>
                      <a:pt x="31" y="97"/>
                      <a:pt x="31" y="101"/>
                      <a:pt x="31" y="105"/>
                    </a:cubicBezTo>
                    <a:cubicBezTo>
                      <a:pt x="31" y="107"/>
                      <a:pt x="31" y="111"/>
                      <a:pt x="30" y="116"/>
                    </a:cubicBezTo>
                    <a:cubicBezTo>
                      <a:pt x="30" y="124"/>
                      <a:pt x="30" y="129"/>
                      <a:pt x="29" y="133"/>
                    </a:cubicBezTo>
                    <a:cubicBezTo>
                      <a:pt x="29" y="136"/>
                      <a:pt x="28" y="137"/>
                      <a:pt x="27" y="137"/>
                    </a:cubicBezTo>
                    <a:cubicBezTo>
                      <a:pt x="26" y="137"/>
                      <a:pt x="25" y="136"/>
                      <a:pt x="24" y="133"/>
                    </a:cubicBezTo>
                    <a:cubicBezTo>
                      <a:pt x="24" y="120"/>
                      <a:pt x="24" y="111"/>
                      <a:pt x="24" y="105"/>
                    </a:cubicBezTo>
                    <a:cubicBezTo>
                      <a:pt x="24" y="100"/>
                      <a:pt x="24" y="95"/>
                      <a:pt x="24" y="90"/>
                    </a:cubicBezTo>
                    <a:cubicBezTo>
                      <a:pt x="22" y="91"/>
                      <a:pt x="21" y="92"/>
                      <a:pt x="20" y="93"/>
                    </a:cubicBezTo>
                    <a:cubicBezTo>
                      <a:pt x="18" y="94"/>
                      <a:pt x="16" y="98"/>
                      <a:pt x="14" y="102"/>
                    </a:cubicBezTo>
                    <a:cubicBezTo>
                      <a:pt x="13" y="104"/>
                      <a:pt x="13" y="104"/>
                      <a:pt x="13" y="104"/>
                    </a:cubicBezTo>
                    <a:cubicBezTo>
                      <a:pt x="12" y="108"/>
                      <a:pt x="11" y="114"/>
                      <a:pt x="11" y="122"/>
                    </a:cubicBezTo>
                    <a:cubicBezTo>
                      <a:pt x="10" y="124"/>
                      <a:pt x="9" y="125"/>
                      <a:pt x="7" y="125"/>
                    </a:cubicBezTo>
                    <a:cubicBezTo>
                      <a:pt x="6" y="125"/>
                      <a:pt x="5" y="124"/>
                      <a:pt x="5" y="122"/>
                    </a:cubicBezTo>
                    <a:cubicBezTo>
                      <a:pt x="6" y="115"/>
                      <a:pt x="7" y="108"/>
                      <a:pt x="8" y="102"/>
                    </a:cubicBezTo>
                    <a:cubicBezTo>
                      <a:pt x="9" y="97"/>
                      <a:pt x="11" y="92"/>
                      <a:pt x="14" y="89"/>
                    </a:cubicBezTo>
                    <a:cubicBezTo>
                      <a:pt x="17" y="86"/>
                      <a:pt x="20" y="84"/>
                      <a:pt x="24" y="84"/>
                    </a:cubicBezTo>
                    <a:cubicBezTo>
                      <a:pt x="24" y="81"/>
                      <a:pt x="24" y="81"/>
                      <a:pt x="24" y="81"/>
                    </a:cubicBezTo>
                    <a:cubicBezTo>
                      <a:pt x="24" y="80"/>
                      <a:pt x="24" y="79"/>
                      <a:pt x="24" y="78"/>
                    </a:cubicBezTo>
                    <a:cubicBezTo>
                      <a:pt x="14" y="78"/>
                      <a:pt x="9" y="78"/>
                      <a:pt x="9" y="78"/>
                    </a:cubicBezTo>
                    <a:cubicBezTo>
                      <a:pt x="6" y="79"/>
                      <a:pt x="4" y="79"/>
                      <a:pt x="3" y="77"/>
                    </a:cubicBezTo>
                    <a:cubicBezTo>
                      <a:pt x="2" y="76"/>
                      <a:pt x="2" y="74"/>
                      <a:pt x="3" y="72"/>
                    </a:cubicBezTo>
                    <a:cubicBezTo>
                      <a:pt x="3" y="70"/>
                      <a:pt x="4" y="70"/>
                      <a:pt x="7" y="70"/>
                    </a:cubicBezTo>
                    <a:cubicBezTo>
                      <a:pt x="8" y="70"/>
                      <a:pt x="10" y="70"/>
                      <a:pt x="14" y="70"/>
                    </a:cubicBezTo>
                    <a:cubicBezTo>
                      <a:pt x="24" y="70"/>
                      <a:pt x="24" y="70"/>
                      <a:pt x="24" y="70"/>
                    </a:cubicBezTo>
                    <a:cubicBezTo>
                      <a:pt x="24" y="66"/>
                      <a:pt x="24" y="66"/>
                      <a:pt x="24" y="66"/>
                    </a:cubicBezTo>
                    <a:cubicBezTo>
                      <a:pt x="22" y="66"/>
                      <a:pt x="21" y="66"/>
                      <a:pt x="20" y="65"/>
                    </a:cubicBezTo>
                    <a:cubicBezTo>
                      <a:pt x="12" y="62"/>
                      <a:pt x="6" y="56"/>
                      <a:pt x="2" y="46"/>
                    </a:cubicBezTo>
                    <a:cubicBezTo>
                      <a:pt x="2" y="46"/>
                      <a:pt x="2" y="43"/>
                      <a:pt x="2" y="40"/>
                    </a:cubicBezTo>
                    <a:cubicBezTo>
                      <a:pt x="2" y="39"/>
                      <a:pt x="2" y="38"/>
                      <a:pt x="2" y="37"/>
                    </a:cubicBezTo>
                    <a:close/>
                    <a:moveTo>
                      <a:pt x="9" y="3"/>
                    </a:moveTo>
                    <a:cubicBezTo>
                      <a:pt x="11" y="3"/>
                      <a:pt x="15" y="3"/>
                      <a:pt x="19" y="3"/>
                    </a:cubicBezTo>
                    <a:cubicBezTo>
                      <a:pt x="40" y="3"/>
                      <a:pt x="40" y="3"/>
                      <a:pt x="40" y="3"/>
                    </a:cubicBezTo>
                    <a:cubicBezTo>
                      <a:pt x="43" y="3"/>
                      <a:pt x="44" y="5"/>
                      <a:pt x="44" y="7"/>
                    </a:cubicBezTo>
                    <a:cubicBezTo>
                      <a:pt x="44" y="9"/>
                      <a:pt x="42" y="10"/>
                      <a:pt x="39" y="10"/>
                    </a:cubicBezTo>
                    <a:cubicBezTo>
                      <a:pt x="34" y="10"/>
                      <a:pt x="25" y="10"/>
                      <a:pt x="14" y="11"/>
                    </a:cubicBezTo>
                    <a:cubicBezTo>
                      <a:pt x="13" y="11"/>
                      <a:pt x="12" y="11"/>
                      <a:pt x="11" y="11"/>
                    </a:cubicBezTo>
                    <a:cubicBezTo>
                      <a:pt x="7" y="11"/>
                      <a:pt x="5" y="11"/>
                      <a:pt x="5" y="9"/>
                    </a:cubicBezTo>
                    <a:cubicBezTo>
                      <a:pt x="5" y="9"/>
                      <a:pt x="4" y="8"/>
                      <a:pt x="5" y="6"/>
                    </a:cubicBezTo>
                    <a:cubicBezTo>
                      <a:pt x="5" y="5"/>
                      <a:pt x="5" y="5"/>
                      <a:pt x="5" y="5"/>
                    </a:cubicBezTo>
                    <a:cubicBezTo>
                      <a:pt x="5" y="3"/>
                      <a:pt x="6" y="3"/>
                      <a:pt x="9" y="3"/>
                    </a:cubicBezTo>
                    <a:close/>
                    <a:moveTo>
                      <a:pt x="33" y="26"/>
                    </a:moveTo>
                    <a:cubicBezTo>
                      <a:pt x="28" y="26"/>
                      <a:pt x="23" y="26"/>
                      <a:pt x="17" y="26"/>
                    </a:cubicBezTo>
                    <a:cubicBezTo>
                      <a:pt x="18" y="32"/>
                      <a:pt x="20" y="38"/>
                      <a:pt x="24" y="42"/>
                    </a:cubicBezTo>
                    <a:cubicBezTo>
                      <a:pt x="25" y="44"/>
                      <a:pt x="26" y="45"/>
                      <a:pt x="27" y="45"/>
                    </a:cubicBezTo>
                    <a:cubicBezTo>
                      <a:pt x="28" y="45"/>
                      <a:pt x="29" y="44"/>
                      <a:pt x="29" y="42"/>
                    </a:cubicBezTo>
                    <a:cubicBezTo>
                      <a:pt x="32" y="38"/>
                      <a:pt x="33" y="33"/>
                      <a:pt x="33" y="26"/>
                    </a:cubicBezTo>
                    <a:close/>
                    <a:moveTo>
                      <a:pt x="54" y="2"/>
                    </a:moveTo>
                    <a:cubicBezTo>
                      <a:pt x="55" y="0"/>
                      <a:pt x="57" y="0"/>
                      <a:pt x="58" y="1"/>
                    </a:cubicBezTo>
                    <a:cubicBezTo>
                      <a:pt x="59" y="2"/>
                      <a:pt x="60" y="4"/>
                      <a:pt x="59" y="6"/>
                    </a:cubicBezTo>
                    <a:cubicBezTo>
                      <a:pt x="57" y="8"/>
                      <a:pt x="57" y="9"/>
                      <a:pt x="58" y="10"/>
                    </a:cubicBezTo>
                    <a:cubicBezTo>
                      <a:pt x="59" y="11"/>
                      <a:pt x="61" y="12"/>
                      <a:pt x="63" y="11"/>
                    </a:cubicBezTo>
                    <a:cubicBezTo>
                      <a:pt x="67" y="9"/>
                      <a:pt x="73" y="9"/>
                      <a:pt x="80" y="11"/>
                    </a:cubicBezTo>
                    <a:cubicBezTo>
                      <a:pt x="84" y="13"/>
                      <a:pt x="87" y="16"/>
                      <a:pt x="88" y="22"/>
                    </a:cubicBezTo>
                    <a:cubicBezTo>
                      <a:pt x="89" y="27"/>
                      <a:pt x="88" y="32"/>
                      <a:pt x="85" y="35"/>
                    </a:cubicBezTo>
                    <a:cubicBezTo>
                      <a:pt x="84" y="38"/>
                      <a:pt x="81" y="39"/>
                      <a:pt x="75" y="37"/>
                    </a:cubicBezTo>
                    <a:cubicBezTo>
                      <a:pt x="75" y="37"/>
                      <a:pt x="74" y="37"/>
                      <a:pt x="74" y="37"/>
                    </a:cubicBezTo>
                    <a:cubicBezTo>
                      <a:pt x="69" y="37"/>
                      <a:pt x="66" y="37"/>
                      <a:pt x="63" y="38"/>
                    </a:cubicBezTo>
                    <a:cubicBezTo>
                      <a:pt x="62" y="38"/>
                      <a:pt x="61" y="40"/>
                      <a:pt x="61" y="43"/>
                    </a:cubicBezTo>
                    <a:cubicBezTo>
                      <a:pt x="62" y="48"/>
                      <a:pt x="62" y="56"/>
                      <a:pt x="62" y="66"/>
                    </a:cubicBezTo>
                    <a:cubicBezTo>
                      <a:pt x="62" y="70"/>
                      <a:pt x="61" y="76"/>
                      <a:pt x="61" y="84"/>
                    </a:cubicBezTo>
                    <a:cubicBezTo>
                      <a:pt x="59" y="99"/>
                      <a:pt x="58" y="110"/>
                      <a:pt x="57" y="116"/>
                    </a:cubicBezTo>
                    <a:cubicBezTo>
                      <a:pt x="57" y="122"/>
                      <a:pt x="55" y="128"/>
                      <a:pt x="53" y="136"/>
                    </a:cubicBezTo>
                    <a:cubicBezTo>
                      <a:pt x="52" y="137"/>
                      <a:pt x="51" y="138"/>
                      <a:pt x="50" y="138"/>
                    </a:cubicBezTo>
                    <a:cubicBezTo>
                      <a:pt x="48" y="138"/>
                      <a:pt x="48" y="137"/>
                      <a:pt x="48" y="136"/>
                    </a:cubicBezTo>
                    <a:cubicBezTo>
                      <a:pt x="48" y="135"/>
                      <a:pt x="48" y="133"/>
                      <a:pt x="48" y="130"/>
                    </a:cubicBezTo>
                    <a:cubicBezTo>
                      <a:pt x="49" y="127"/>
                      <a:pt x="49" y="126"/>
                      <a:pt x="49" y="125"/>
                    </a:cubicBezTo>
                    <a:cubicBezTo>
                      <a:pt x="53" y="104"/>
                      <a:pt x="55" y="85"/>
                      <a:pt x="55" y="68"/>
                    </a:cubicBezTo>
                    <a:cubicBezTo>
                      <a:pt x="56" y="60"/>
                      <a:pt x="56" y="54"/>
                      <a:pt x="55" y="48"/>
                    </a:cubicBezTo>
                    <a:cubicBezTo>
                      <a:pt x="54" y="45"/>
                      <a:pt x="53" y="42"/>
                      <a:pt x="52" y="40"/>
                    </a:cubicBezTo>
                    <a:cubicBezTo>
                      <a:pt x="50" y="38"/>
                      <a:pt x="51" y="36"/>
                      <a:pt x="54" y="34"/>
                    </a:cubicBezTo>
                    <a:cubicBezTo>
                      <a:pt x="58" y="30"/>
                      <a:pt x="66" y="29"/>
                      <a:pt x="76" y="31"/>
                    </a:cubicBezTo>
                    <a:cubicBezTo>
                      <a:pt x="81" y="32"/>
                      <a:pt x="83" y="30"/>
                      <a:pt x="83" y="25"/>
                    </a:cubicBezTo>
                    <a:cubicBezTo>
                      <a:pt x="83" y="21"/>
                      <a:pt x="81" y="18"/>
                      <a:pt x="77" y="18"/>
                    </a:cubicBezTo>
                    <a:cubicBezTo>
                      <a:pt x="70" y="17"/>
                      <a:pt x="66" y="17"/>
                      <a:pt x="65" y="18"/>
                    </a:cubicBezTo>
                    <a:cubicBezTo>
                      <a:pt x="63" y="19"/>
                      <a:pt x="60" y="19"/>
                      <a:pt x="57" y="19"/>
                    </a:cubicBezTo>
                    <a:cubicBezTo>
                      <a:pt x="57" y="18"/>
                      <a:pt x="55" y="17"/>
                      <a:pt x="53" y="15"/>
                    </a:cubicBezTo>
                    <a:cubicBezTo>
                      <a:pt x="53" y="14"/>
                      <a:pt x="52" y="14"/>
                      <a:pt x="52" y="13"/>
                    </a:cubicBezTo>
                    <a:cubicBezTo>
                      <a:pt x="50" y="10"/>
                      <a:pt x="51" y="6"/>
                      <a:pt x="54" y="2"/>
                    </a:cubicBezTo>
                    <a:close/>
                    <a:moveTo>
                      <a:pt x="95" y="70"/>
                    </a:moveTo>
                    <a:cubicBezTo>
                      <a:pt x="96" y="72"/>
                      <a:pt x="95" y="73"/>
                      <a:pt x="94" y="74"/>
                    </a:cubicBezTo>
                    <a:cubicBezTo>
                      <a:pt x="92" y="74"/>
                      <a:pt x="91" y="74"/>
                      <a:pt x="90" y="72"/>
                    </a:cubicBezTo>
                    <a:cubicBezTo>
                      <a:pt x="88" y="67"/>
                      <a:pt x="84" y="62"/>
                      <a:pt x="78" y="56"/>
                    </a:cubicBezTo>
                    <a:cubicBezTo>
                      <a:pt x="77" y="55"/>
                      <a:pt x="76" y="54"/>
                      <a:pt x="76" y="54"/>
                    </a:cubicBezTo>
                    <a:cubicBezTo>
                      <a:pt x="75" y="56"/>
                      <a:pt x="75" y="56"/>
                      <a:pt x="75" y="56"/>
                    </a:cubicBezTo>
                    <a:cubicBezTo>
                      <a:pt x="75" y="61"/>
                      <a:pt x="75" y="73"/>
                      <a:pt x="77" y="93"/>
                    </a:cubicBezTo>
                    <a:cubicBezTo>
                      <a:pt x="78" y="99"/>
                      <a:pt x="80" y="107"/>
                      <a:pt x="83" y="119"/>
                    </a:cubicBezTo>
                    <a:cubicBezTo>
                      <a:pt x="84" y="122"/>
                      <a:pt x="85" y="124"/>
                      <a:pt x="85" y="124"/>
                    </a:cubicBezTo>
                    <a:cubicBezTo>
                      <a:pt x="86" y="126"/>
                      <a:pt x="86" y="128"/>
                      <a:pt x="87" y="131"/>
                    </a:cubicBezTo>
                    <a:cubicBezTo>
                      <a:pt x="88" y="132"/>
                      <a:pt x="88" y="133"/>
                      <a:pt x="88" y="133"/>
                    </a:cubicBezTo>
                    <a:cubicBezTo>
                      <a:pt x="88" y="135"/>
                      <a:pt x="88" y="136"/>
                      <a:pt x="86" y="136"/>
                    </a:cubicBezTo>
                    <a:cubicBezTo>
                      <a:pt x="84" y="136"/>
                      <a:pt x="83" y="135"/>
                      <a:pt x="82" y="133"/>
                    </a:cubicBezTo>
                    <a:cubicBezTo>
                      <a:pt x="77" y="123"/>
                      <a:pt x="73" y="110"/>
                      <a:pt x="70" y="93"/>
                    </a:cubicBezTo>
                    <a:cubicBezTo>
                      <a:pt x="69" y="79"/>
                      <a:pt x="68" y="68"/>
                      <a:pt x="68" y="58"/>
                    </a:cubicBezTo>
                    <a:cubicBezTo>
                      <a:pt x="68" y="51"/>
                      <a:pt x="68" y="46"/>
                      <a:pt x="68" y="44"/>
                    </a:cubicBezTo>
                    <a:cubicBezTo>
                      <a:pt x="68" y="43"/>
                      <a:pt x="69" y="42"/>
                      <a:pt x="70" y="42"/>
                    </a:cubicBezTo>
                    <a:cubicBezTo>
                      <a:pt x="71" y="41"/>
                      <a:pt x="71" y="41"/>
                      <a:pt x="72" y="42"/>
                    </a:cubicBezTo>
                    <a:cubicBezTo>
                      <a:pt x="76" y="45"/>
                      <a:pt x="78" y="48"/>
                      <a:pt x="80" y="49"/>
                    </a:cubicBezTo>
                    <a:cubicBezTo>
                      <a:pt x="86" y="54"/>
                      <a:pt x="91" y="61"/>
                      <a:pt x="95" y="7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1049531" name="íṣ1ïḑe"/>
              <p:cNvSpPr/>
              <p:nvPr/>
            </p:nvSpPr>
            <p:spPr bwMode="auto">
              <a:xfrm>
                <a:off x="1750909" y="4905965"/>
                <a:ext cx="93663" cy="87313"/>
              </a:xfrm>
              <a:custGeom>
                <a:avLst/>
                <a:gdLst>
                  <a:gd name="T0" fmla="*/ 51 w 51"/>
                  <a:gd name="T1" fmla="*/ 17 h 47"/>
                  <a:gd name="T2" fmla="*/ 46 w 51"/>
                  <a:gd name="T3" fmla="*/ 25 h 47"/>
                  <a:gd name="T4" fmla="*/ 26 w 51"/>
                  <a:gd name="T5" fmla="*/ 13 h 47"/>
                  <a:gd name="T6" fmla="*/ 20 w 51"/>
                  <a:gd name="T7" fmla="*/ 9 h 47"/>
                  <a:gd name="T8" fmla="*/ 14 w 51"/>
                  <a:gd name="T9" fmla="*/ 9 h 47"/>
                  <a:gd name="T10" fmla="*/ 10 w 51"/>
                  <a:gd name="T11" fmla="*/ 13 h 47"/>
                  <a:gd name="T12" fmla="*/ 8 w 51"/>
                  <a:gd name="T13" fmla="*/ 19 h 47"/>
                  <a:gd name="T14" fmla="*/ 10 w 51"/>
                  <a:gd name="T15" fmla="*/ 23 h 47"/>
                  <a:gd name="T16" fmla="*/ 17 w 51"/>
                  <a:gd name="T17" fmla="*/ 27 h 47"/>
                  <a:gd name="T18" fmla="*/ 37 w 51"/>
                  <a:gd name="T19" fmla="*/ 40 h 47"/>
                  <a:gd name="T20" fmla="*/ 33 w 51"/>
                  <a:gd name="T21" fmla="*/ 47 h 47"/>
                  <a:gd name="T22" fmla="*/ 13 w 51"/>
                  <a:gd name="T23" fmla="*/ 35 h 47"/>
                  <a:gd name="T24" fmla="*/ 4 w 51"/>
                  <a:gd name="T25" fmla="*/ 29 h 47"/>
                  <a:gd name="T26" fmla="*/ 1 w 51"/>
                  <a:gd name="T27" fmla="*/ 24 h 47"/>
                  <a:gd name="T28" fmla="*/ 0 w 51"/>
                  <a:gd name="T29" fmla="*/ 18 h 47"/>
                  <a:gd name="T30" fmla="*/ 3 w 51"/>
                  <a:gd name="T31" fmla="*/ 10 h 47"/>
                  <a:gd name="T32" fmla="*/ 10 w 51"/>
                  <a:gd name="T33" fmla="*/ 2 h 47"/>
                  <a:gd name="T34" fmla="*/ 15 w 51"/>
                  <a:gd name="T35" fmla="*/ 0 h 47"/>
                  <a:gd name="T36" fmla="*/ 21 w 51"/>
                  <a:gd name="T37" fmla="*/ 0 h 47"/>
                  <a:gd name="T38" fmla="*/ 31 w 51"/>
                  <a:gd name="T39" fmla="*/ 5 h 47"/>
                  <a:gd name="T40" fmla="*/ 51 w 51"/>
                  <a:gd name="T41" fmla="*/ 17 h 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51" h="47">
                    <a:moveTo>
                      <a:pt x="51" y="17"/>
                    </a:moveTo>
                    <a:cubicBezTo>
                      <a:pt x="46" y="25"/>
                      <a:pt x="46" y="25"/>
                      <a:pt x="46" y="25"/>
                    </a:cubicBezTo>
                    <a:cubicBezTo>
                      <a:pt x="26" y="13"/>
                      <a:pt x="26" y="13"/>
                      <a:pt x="26" y="13"/>
                    </a:cubicBezTo>
                    <a:cubicBezTo>
                      <a:pt x="23" y="11"/>
                      <a:pt x="21" y="10"/>
                      <a:pt x="20" y="9"/>
                    </a:cubicBezTo>
                    <a:cubicBezTo>
                      <a:pt x="18" y="9"/>
                      <a:pt x="16" y="9"/>
                      <a:pt x="14" y="9"/>
                    </a:cubicBezTo>
                    <a:cubicBezTo>
                      <a:pt x="13" y="10"/>
                      <a:pt x="11" y="11"/>
                      <a:pt x="10" y="13"/>
                    </a:cubicBezTo>
                    <a:cubicBezTo>
                      <a:pt x="9" y="16"/>
                      <a:pt x="8" y="17"/>
                      <a:pt x="8" y="19"/>
                    </a:cubicBezTo>
                    <a:cubicBezTo>
                      <a:pt x="9" y="21"/>
                      <a:pt x="9" y="22"/>
                      <a:pt x="10" y="23"/>
                    </a:cubicBezTo>
                    <a:cubicBezTo>
                      <a:pt x="12" y="24"/>
                      <a:pt x="14" y="25"/>
                      <a:pt x="17" y="27"/>
                    </a:cubicBezTo>
                    <a:cubicBezTo>
                      <a:pt x="37" y="40"/>
                      <a:pt x="37" y="40"/>
                      <a:pt x="37" y="40"/>
                    </a:cubicBezTo>
                    <a:cubicBezTo>
                      <a:pt x="33" y="47"/>
                      <a:pt x="33" y="47"/>
                      <a:pt x="33" y="47"/>
                    </a:cubicBezTo>
                    <a:cubicBezTo>
                      <a:pt x="13" y="35"/>
                      <a:pt x="13" y="35"/>
                      <a:pt x="13" y="35"/>
                    </a:cubicBezTo>
                    <a:cubicBezTo>
                      <a:pt x="9" y="33"/>
                      <a:pt x="6" y="31"/>
                      <a:pt x="4" y="29"/>
                    </a:cubicBezTo>
                    <a:cubicBezTo>
                      <a:pt x="2" y="28"/>
                      <a:pt x="1" y="26"/>
                      <a:pt x="1" y="24"/>
                    </a:cubicBezTo>
                    <a:cubicBezTo>
                      <a:pt x="0" y="22"/>
                      <a:pt x="0" y="20"/>
                      <a:pt x="0" y="18"/>
                    </a:cubicBezTo>
                    <a:cubicBezTo>
                      <a:pt x="0" y="15"/>
                      <a:pt x="2" y="13"/>
                      <a:pt x="3" y="10"/>
                    </a:cubicBezTo>
                    <a:cubicBezTo>
                      <a:pt x="6" y="6"/>
                      <a:pt x="8" y="4"/>
                      <a:pt x="10" y="2"/>
                    </a:cubicBezTo>
                    <a:cubicBezTo>
                      <a:pt x="11" y="1"/>
                      <a:pt x="13" y="0"/>
                      <a:pt x="15" y="0"/>
                    </a:cubicBezTo>
                    <a:cubicBezTo>
                      <a:pt x="17" y="0"/>
                      <a:pt x="19" y="0"/>
                      <a:pt x="21" y="0"/>
                    </a:cubicBezTo>
                    <a:cubicBezTo>
                      <a:pt x="23" y="1"/>
                      <a:pt x="27" y="3"/>
                      <a:pt x="31" y="5"/>
                    </a:cubicBezTo>
                    <a:lnTo>
                      <a:pt x="51" y="17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1049532" name="íṧḷîde"/>
              <p:cNvSpPr/>
              <p:nvPr/>
            </p:nvSpPr>
            <p:spPr bwMode="auto">
              <a:xfrm>
                <a:off x="1704872" y="4971053"/>
                <a:ext cx="100013" cy="92075"/>
              </a:xfrm>
              <a:custGeom>
                <a:avLst/>
                <a:gdLst>
                  <a:gd name="T0" fmla="*/ 17 w 63"/>
                  <a:gd name="T1" fmla="*/ 0 h 58"/>
                  <a:gd name="T2" fmla="*/ 63 w 63"/>
                  <a:gd name="T3" fmla="*/ 21 h 58"/>
                  <a:gd name="T4" fmla="*/ 59 w 63"/>
                  <a:gd name="T5" fmla="*/ 30 h 58"/>
                  <a:gd name="T6" fmla="*/ 19 w 63"/>
                  <a:gd name="T7" fmla="*/ 35 h 58"/>
                  <a:gd name="T8" fmla="*/ 50 w 63"/>
                  <a:gd name="T9" fmla="*/ 50 h 58"/>
                  <a:gd name="T10" fmla="*/ 46 w 63"/>
                  <a:gd name="T11" fmla="*/ 58 h 58"/>
                  <a:gd name="T12" fmla="*/ 0 w 63"/>
                  <a:gd name="T13" fmla="*/ 37 h 58"/>
                  <a:gd name="T14" fmla="*/ 4 w 63"/>
                  <a:gd name="T15" fmla="*/ 26 h 58"/>
                  <a:gd name="T16" fmla="*/ 43 w 63"/>
                  <a:gd name="T17" fmla="*/ 22 h 58"/>
                  <a:gd name="T18" fmla="*/ 12 w 63"/>
                  <a:gd name="T19" fmla="*/ 8 h 58"/>
                  <a:gd name="T20" fmla="*/ 17 w 63"/>
                  <a:gd name="T21" fmla="*/ 0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63" h="58">
                    <a:moveTo>
                      <a:pt x="17" y="0"/>
                    </a:moveTo>
                    <a:lnTo>
                      <a:pt x="63" y="21"/>
                    </a:lnTo>
                    <a:lnTo>
                      <a:pt x="59" y="30"/>
                    </a:lnTo>
                    <a:lnTo>
                      <a:pt x="19" y="35"/>
                    </a:lnTo>
                    <a:lnTo>
                      <a:pt x="50" y="50"/>
                    </a:lnTo>
                    <a:lnTo>
                      <a:pt x="46" y="58"/>
                    </a:lnTo>
                    <a:lnTo>
                      <a:pt x="0" y="37"/>
                    </a:lnTo>
                    <a:lnTo>
                      <a:pt x="4" y="26"/>
                    </a:lnTo>
                    <a:lnTo>
                      <a:pt x="43" y="22"/>
                    </a:lnTo>
                    <a:lnTo>
                      <a:pt x="12" y="8"/>
                    </a:lnTo>
                    <a:lnTo>
                      <a:pt x="17" y="0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1049533" name="íS1îḍé"/>
              <p:cNvSpPr/>
              <p:nvPr/>
            </p:nvSpPr>
            <p:spPr bwMode="auto">
              <a:xfrm>
                <a:off x="1690584" y="5045665"/>
                <a:ext cx="84138" cy="44450"/>
              </a:xfrm>
              <a:custGeom>
                <a:avLst/>
                <a:gdLst>
                  <a:gd name="T0" fmla="*/ 5 w 53"/>
                  <a:gd name="T1" fmla="*/ 0 h 28"/>
                  <a:gd name="T2" fmla="*/ 53 w 53"/>
                  <a:gd name="T3" fmla="*/ 19 h 28"/>
                  <a:gd name="T4" fmla="*/ 49 w 53"/>
                  <a:gd name="T5" fmla="*/ 28 h 28"/>
                  <a:gd name="T6" fmla="*/ 0 w 53"/>
                  <a:gd name="T7" fmla="*/ 10 h 28"/>
                  <a:gd name="T8" fmla="*/ 5 w 53"/>
                  <a:gd name="T9" fmla="*/ 0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3" h="28">
                    <a:moveTo>
                      <a:pt x="5" y="0"/>
                    </a:moveTo>
                    <a:lnTo>
                      <a:pt x="53" y="19"/>
                    </a:lnTo>
                    <a:lnTo>
                      <a:pt x="49" y="28"/>
                    </a:lnTo>
                    <a:lnTo>
                      <a:pt x="0" y="10"/>
                    </a:lnTo>
                    <a:lnTo>
                      <a:pt x="5" y="0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1049534" name="íṧļïḋè"/>
              <p:cNvSpPr/>
              <p:nvPr/>
            </p:nvSpPr>
            <p:spPr bwMode="auto">
              <a:xfrm>
                <a:off x="1674709" y="5091703"/>
                <a:ext cx="92075" cy="73025"/>
              </a:xfrm>
              <a:custGeom>
                <a:avLst/>
                <a:gdLst>
                  <a:gd name="T0" fmla="*/ 4 w 58"/>
                  <a:gd name="T1" fmla="*/ 3 h 46"/>
                  <a:gd name="T2" fmla="*/ 58 w 58"/>
                  <a:gd name="T3" fmla="*/ 0 h 46"/>
                  <a:gd name="T4" fmla="*/ 55 w 58"/>
                  <a:gd name="T5" fmla="*/ 11 h 46"/>
                  <a:gd name="T6" fmla="*/ 14 w 58"/>
                  <a:gd name="T7" fmla="*/ 13 h 46"/>
                  <a:gd name="T8" fmla="*/ 46 w 58"/>
                  <a:gd name="T9" fmla="*/ 35 h 46"/>
                  <a:gd name="T10" fmla="*/ 44 w 58"/>
                  <a:gd name="T11" fmla="*/ 46 h 46"/>
                  <a:gd name="T12" fmla="*/ 0 w 58"/>
                  <a:gd name="T13" fmla="*/ 14 h 46"/>
                  <a:gd name="T14" fmla="*/ 4 w 58"/>
                  <a:gd name="T15" fmla="*/ 3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58" h="46">
                    <a:moveTo>
                      <a:pt x="4" y="3"/>
                    </a:moveTo>
                    <a:lnTo>
                      <a:pt x="58" y="0"/>
                    </a:lnTo>
                    <a:lnTo>
                      <a:pt x="55" y="11"/>
                    </a:lnTo>
                    <a:lnTo>
                      <a:pt x="14" y="13"/>
                    </a:lnTo>
                    <a:lnTo>
                      <a:pt x="46" y="35"/>
                    </a:lnTo>
                    <a:lnTo>
                      <a:pt x="44" y="46"/>
                    </a:lnTo>
                    <a:lnTo>
                      <a:pt x="0" y="14"/>
                    </a:lnTo>
                    <a:lnTo>
                      <a:pt x="4" y="3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1049535" name="ïṡḷiḋé"/>
              <p:cNvSpPr/>
              <p:nvPr/>
            </p:nvSpPr>
            <p:spPr bwMode="auto">
              <a:xfrm>
                <a:off x="1652484" y="5153615"/>
                <a:ext cx="90488" cy="73025"/>
              </a:xfrm>
              <a:custGeom>
                <a:avLst/>
                <a:gdLst>
                  <a:gd name="T0" fmla="*/ 7 w 57"/>
                  <a:gd name="T1" fmla="*/ 0 h 46"/>
                  <a:gd name="T2" fmla="*/ 57 w 57"/>
                  <a:gd name="T3" fmla="*/ 10 h 46"/>
                  <a:gd name="T4" fmla="*/ 50 w 57"/>
                  <a:gd name="T5" fmla="*/ 46 h 46"/>
                  <a:gd name="T6" fmla="*/ 42 w 57"/>
                  <a:gd name="T7" fmla="*/ 45 h 46"/>
                  <a:gd name="T8" fmla="*/ 47 w 57"/>
                  <a:gd name="T9" fmla="*/ 18 h 46"/>
                  <a:gd name="T10" fmla="*/ 36 w 57"/>
                  <a:gd name="T11" fmla="*/ 16 h 46"/>
                  <a:gd name="T12" fmla="*/ 30 w 57"/>
                  <a:gd name="T13" fmla="*/ 40 h 46"/>
                  <a:gd name="T14" fmla="*/ 22 w 57"/>
                  <a:gd name="T15" fmla="*/ 39 h 46"/>
                  <a:gd name="T16" fmla="*/ 27 w 57"/>
                  <a:gd name="T17" fmla="*/ 14 h 46"/>
                  <a:gd name="T18" fmla="*/ 14 w 57"/>
                  <a:gd name="T19" fmla="*/ 11 h 46"/>
                  <a:gd name="T20" fmla="*/ 8 w 57"/>
                  <a:gd name="T21" fmla="*/ 39 h 46"/>
                  <a:gd name="T22" fmla="*/ 0 w 57"/>
                  <a:gd name="T23" fmla="*/ 38 h 46"/>
                  <a:gd name="T24" fmla="*/ 7 w 57"/>
                  <a:gd name="T25" fmla="*/ 0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57" h="46">
                    <a:moveTo>
                      <a:pt x="7" y="0"/>
                    </a:moveTo>
                    <a:lnTo>
                      <a:pt x="57" y="10"/>
                    </a:lnTo>
                    <a:lnTo>
                      <a:pt x="50" y="46"/>
                    </a:lnTo>
                    <a:lnTo>
                      <a:pt x="42" y="45"/>
                    </a:lnTo>
                    <a:lnTo>
                      <a:pt x="47" y="18"/>
                    </a:lnTo>
                    <a:lnTo>
                      <a:pt x="36" y="16"/>
                    </a:lnTo>
                    <a:lnTo>
                      <a:pt x="30" y="40"/>
                    </a:lnTo>
                    <a:lnTo>
                      <a:pt x="22" y="39"/>
                    </a:lnTo>
                    <a:lnTo>
                      <a:pt x="27" y="14"/>
                    </a:lnTo>
                    <a:lnTo>
                      <a:pt x="14" y="11"/>
                    </a:lnTo>
                    <a:lnTo>
                      <a:pt x="8" y="39"/>
                    </a:lnTo>
                    <a:lnTo>
                      <a:pt x="0" y="38"/>
                    </a:lnTo>
                    <a:lnTo>
                      <a:pt x="7" y="0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1049536" name="ïşļiḋe"/>
              <p:cNvSpPr/>
              <p:nvPr/>
            </p:nvSpPr>
            <p:spPr bwMode="auto">
              <a:xfrm>
                <a:off x="1641372" y="5231403"/>
                <a:ext cx="88900" cy="71438"/>
              </a:xfrm>
              <a:custGeom>
                <a:avLst/>
                <a:gdLst>
                  <a:gd name="T0" fmla="*/ 4 w 48"/>
                  <a:gd name="T1" fmla="*/ 0 h 39"/>
                  <a:gd name="T2" fmla="*/ 48 w 48"/>
                  <a:gd name="T3" fmla="*/ 4 h 39"/>
                  <a:gd name="T4" fmla="*/ 46 w 48"/>
                  <a:gd name="T5" fmla="*/ 23 h 39"/>
                  <a:gd name="T6" fmla="*/ 44 w 48"/>
                  <a:gd name="T7" fmla="*/ 33 h 39"/>
                  <a:gd name="T8" fmla="*/ 39 w 48"/>
                  <a:gd name="T9" fmla="*/ 38 h 39"/>
                  <a:gd name="T10" fmla="*/ 32 w 48"/>
                  <a:gd name="T11" fmla="*/ 39 h 39"/>
                  <a:gd name="T12" fmla="*/ 24 w 48"/>
                  <a:gd name="T13" fmla="*/ 35 h 39"/>
                  <a:gd name="T14" fmla="*/ 21 w 48"/>
                  <a:gd name="T15" fmla="*/ 26 h 39"/>
                  <a:gd name="T16" fmla="*/ 17 w 48"/>
                  <a:gd name="T17" fmla="*/ 30 h 39"/>
                  <a:gd name="T18" fmla="*/ 9 w 48"/>
                  <a:gd name="T19" fmla="*/ 35 h 39"/>
                  <a:gd name="T20" fmla="*/ 0 w 48"/>
                  <a:gd name="T21" fmla="*/ 39 h 39"/>
                  <a:gd name="T22" fmla="*/ 1 w 48"/>
                  <a:gd name="T23" fmla="*/ 29 h 39"/>
                  <a:gd name="T24" fmla="*/ 12 w 48"/>
                  <a:gd name="T25" fmla="*/ 23 h 39"/>
                  <a:gd name="T26" fmla="*/ 18 w 48"/>
                  <a:gd name="T27" fmla="*/ 19 h 39"/>
                  <a:gd name="T28" fmla="*/ 20 w 48"/>
                  <a:gd name="T29" fmla="*/ 17 h 39"/>
                  <a:gd name="T30" fmla="*/ 21 w 48"/>
                  <a:gd name="T31" fmla="*/ 12 h 39"/>
                  <a:gd name="T32" fmla="*/ 22 w 48"/>
                  <a:gd name="T33" fmla="*/ 11 h 39"/>
                  <a:gd name="T34" fmla="*/ 3 w 48"/>
                  <a:gd name="T35" fmla="*/ 9 h 39"/>
                  <a:gd name="T36" fmla="*/ 4 w 48"/>
                  <a:gd name="T37" fmla="*/ 0 h 39"/>
                  <a:gd name="T38" fmla="*/ 29 w 48"/>
                  <a:gd name="T39" fmla="*/ 11 h 39"/>
                  <a:gd name="T40" fmla="*/ 28 w 48"/>
                  <a:gd name="T41" fmla="*/ 18 h 39"/>
                  <a:gd name="T42" fmla="*/ 28 w 48"/>
                  <a:gd name="T43" fmla="*/ 26 h 39"/>
                  <a:gd name="T44" fmla="*/ 29 w 48"/>
                  <a:gd name="T45" fmla="*/ 28 h 39"/>
                  <a:gd name="T46" fmla="*/ 32 w 48"/>
                  <a:gd name="T47" fmla="*/ 30 h 39"/>
                  <a:gd name="T48" fmla="*/ 36 w 48"/>
                  <a:gd name="T49" fmla="*/ 29 h 39"/>
                  <a:gd name="T50" fmla="*/ 38 w 48"/>
                  <a:gd name="T51" fmla="*/ 26 h 39"/>
                  <a:gd name="T52" fmla="*/ 39 w 48"/>
                  <a:gd name="T53" fmla="*/ 19 h 39"/>
                  <a:gd name="T54" fmla="*/ 40 w 48"/>
                  <a:gd name="T55" fmla="*/ 12 h 39"/>
                  <a:gd name="T56" fmla="*/ 29 w 48"/>
                  <a:gd name="T57" fmla="*/ 11 h 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48" h="39">
                    <a:moveTo>
                      <a:pt x="4" y="0"/>
                    </a:moveTo>
                    <a:cubicBezTo>
                      <a:pt x="48" y="4"/>
                      <a:pt x="48" y="4"/>
                      <a:pt x="48" y="4"/>
                    </a:cubicBezTo>
                    <a:cubicBezTo>
                      <a:pt x="46" y="23"/>
                      <a:pt x="46" y="23"/>
                      <a:pt x="46" y="23"/>
                    </a:cubicBezTo>
                    <a:cubicBezTo>
                      <a:pt x="46" y="27"/>
                      <a:pt x="45" y="31"/>
                      <a:pt x="44" y="33"/>
                    </a:cubicBezTo>
                    <a:cubicBezTo>
                      <a:pt x="43" y="35"/>
                      <a:pt x="41" y="36"/>
                      <a:pt x="39" y="38"/>
                    </a:cubicBezTo>
                    <a:cubicBezTo>
                      <a:pt x="37" y="39"/>
                      <a:pt x="35" y="39"/>
                      <a:pt x="32" y="39"/>
                    </a:cubicBezTo>
                    <a:cubicBezTo>
                      <a:pt x="29" y="38"/>
                      <a:pt x="26" y="37"/>
                      <a:pt x="24" y="35"/>
                    </a:cubicBezTo>
                    <a:cubicBezTo>
                      <a:pt x="22" y="33"/>
                      <a:pt x="21" y="30"/>
                      <a:pt x="21" y="26"/>
                    </a:cubicBezTo>
                    <a:cubicBezTo>
                      <a:pt x="20" y="28"/>
                      <a:pt x="18" y="29"/>
                      <a:pt x="17" y="30"/>
                    </a:cubicBezTo>
                    <a:cubicBezTo>
                      <a:pt x="16" y="32"/>
                      <a:pt x="13" y="33"/>
                      <a:pt x="9" y="35"/>
                    </a:cubicBezTo>
                    <a:cubicBezTo>
                      <a:pt x="0" y="39"/>
                      <a:pt x="0" y="39"/>
                      <a:pt x="0" y="39"/>
                    </a:cubicBezTo>
                    <a:cubicBezTo>
                      <a:pt x="1" y="29"/>
                      <a:pt x="1" y="29"/>
                      <a:pt x="1" y="29"/>
                    </a:cubicBezTo>
                    <a:cubicBezTo>
                      <a:pt x="12" y="23"/>
                      <a:pt x="12" y="23"/>
                      <a:pt x="12" y="23"/>
                    </a:cubicBezTo>
                    <a:cubicBezTo>
                      <a:pt x="15" y="21"/>
                      <a:pt x="17" y="20"/>
                      <a:pt x="18" y="19"/>
                    </a:cubicBezTo>
                    <a:cubicBezTo>
                      <a:pt x="19" y="18"/>
                      <a:pt x="20" y="18"/>
                      <a:pt x="20" y="17"/>
                    </a:cubicBezTo>
                    <a:cubicBezTo>
                      <a:pt x="21" y="16"/>
                      <a:pt x="21" y="14"/>
                      <a:pt x="21" y="12"/>
                    </a:cubicBezTo>
                    <a:cubicBezTo>
                      <a:pt x="22" y="11"/>
                      <a:pt x="22" y="11"/>
                      <a:pt x="22" y="11"/>
                    </a:cubicBezTo>
                    <a:cubicBezTo>
                      <a:pt x="3" y="9"/>
                      <a:pt x="3" y="9"/>
                      <a:pt x="3" y="9"/>
                    </a:cubicBezTo>
                    <a:lnTo>
                      <a:pt x="4" y="0"/>
                    </a:lnTo>
                    <a:close/>
                    <a:moveTo>
                      <a:pt x="29" y="11"/>
                    </a:moveTo>
                    <a:cubicBezTo>
                      <a:pt x="28" y="18"/>
                      <a:pt x="28" y="18"/>
                      <a:pt x="28" y="18"/>
                    </a:cubicBezTo>
                    <a:cubicBezTo>
                      <a:pt x="28" y="22"/>
                      <a:pt x="27" y="25"/>
                      <a:pt x="28" y="26"/>
                    </a:cubicBezTo>
                    <a:cubicBezTo>
                      <a:pt x="28" y="27"/>
                      <a:pt x="28" y="28"/>
                      <a:pt x="29" y="28"/>
                    </a:cubicBezTo>
                    <a:cubicBezTo>
                      <a:pt x="30" y="29"/>
                      <a:pt x="31" y="30"/>
                      <a:pt x="32" y="30"/>
                    </a:cubicBezTo>
                    <a:cubicBezTo>
                      <a:pt x="34" y="30"/>
                      <a:pt x="35" y="30"/>
                      <a:pt x="36" y="29"/>
                    </a:cubicBezTo>
                    <a:cubicBezTo>
                      <a:pt x="37" y="28"/>
                      <a:pt x="38" y="27"/>
                      <a:pt x="38" y="26"/>
                    </a:cubicBezTo>
                    <a:cubicBezTo>
                      <a:pt x="38" y="25"/>
                      <a:pt x="39" y="23"/>
                      <a:pt x="39" y="19"/>
                    </a:cubicBezTo>
                    <a:cubicBezTo>
                      <a:pt x="40" y="12"/>
                      <a:pt x="40" y="12"/>
                      <a:pt x="40" y="12"/>
                    </a:cubicBezTo>
                    <a:lnTo>
                      <a:pt x="29" y="11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1049537" name="îś1iḓê"/>
              <p:cNvSpPr/>
              <p:nvPr/>
            </p:nvSpPr>
            <p:spPr bwMode="auto">
              <a:xfrm>
                <a:off x="1641372" y="5312365"/>
                <a:ext cx="82550" cy="66675"/>
              </a:xfrm>
              <a:custGeom>
                <a:avLst/>
                <a:gdLst>
                  <a:gd name="T0" fmla="*/ 15 w 45"/>
                  <a:gd name="T1" fmla="*/ 0 h 36"/>
                  <a:gd name="T2" fmla="*/ 16 w 45"/>
                  <a:gd name="T3" fmla="*/ 8 h 36"/>
                  <a:gd name="T4" fmla="*/ 9 w 45"/>
                  <a:gd name="T5" fmla="*/ 12 h 36"/>
                  <a:gd name="T6" fmla="*/ 7 w 45"/>
                  <a:gd name="T7" fmla="*/ 18 h 36"/>
                  <a:gd name="T8" fmla="*/ 9 w 45"/>
                  <a:gd name="T9" fmla="*/ 25 h 36"/>
                  <a:gd name="T10" fmla="*/ 13 w 45"/>
                  <a:gd name="T11" fmla="*/ 27 h 36"/>
                  <a:gd name="T12" fmla="*/ 16 w 45"/>
                  <a:gd name="T13" fmla="*/ 26 h 36"/>
                  <a:gd name="T14" fmla="*/ 18 w 45"/>
                  <a:gd name="T15" fmla="*/ 23 h 36"/>
                  <a:gd name="T16" fmla="*/ 20 w 45"/>
                  <a:gd name="T17" fmla="*/ 15 h 36"/>
                  <a:gd name="T18" fmla="*/ 24 w 45"/>
                  <a:gd name="T19" fmla="*/ 5 h 36"/>
                  <a:gd name="T20" fmla="*/ 33 w 45"/>
                  <a:gd name="T21" fmla="*/ 1 h 36"/>
                  <a:gd name="T22" fmla="*/ 39 w 45"/>
                  <a:gd name="T23" fmla="*/ 3 h 36"/>
                  <a:gd name="T24" fmla="*/ 44 w 45"/>
                  <a:gd name="T25" fmla="*/ 9 h 36"/>
                  <a:gd name="T26" fmla="*/ 45 w 45"/>
                  <a:gd name="T27" fmla="*/ 17 h 36"/>
                  <a:gd name="T28" fmla="*/ 42 w 45"/>
                  <a:gd name="T29" fmla="*/ 30 h 36"/>
                  <a:gd name="T30" fmla="*/ 32 w 45"/>
                  <a:gd name="T31" fmla="*/ 34 h 36"/>
                  <a:gd name="T32" fmla="*/ 31 w 45"/>
                  <a:gd name="T33" fmla="*/ 25 h 36"/>
                  <a:gd name="T34" fmla="*/ 36 w 45"/>
                  <a:gd name="T35" fmla="*/ 23 h 36"/>
                  <a:gd name="T36" fmla="*/ 38 w 45"/>
                  <a:gd name="T37" fmla="*/ 17 h 36"/>
                  <a:gd name="T38" fmla="*/ 36 w 45"/>
                  <a:gd name="T39" fmla="*/ 11 h 36"/>
                  <a:gd name="T40" fmla="*/ 33 w 45"/>
                  <a:gd name="T41" fmla="*/ 10 h 36"/>
                  <a:gd name="T42" fmla="*/ 31 w 45"/>
                  <a:gd name="T43" fmla="*/ 11 h 36"/>
                  <a:gd name="T44" fmla="*/ 28 w 45"/>
                  <a:gd name="T45" fmla="*/ 19 h 36"/>
                  <a:gd name="T46" fmla="*/ 25 w 45"/>
                  <a:gd name="T47" fmla="*/ 29 h 36"/>
                  <a:gd name="T48" fmla="*/ 20 w 45"/>
                  <a:gd name="T49" fmla="*/ 34 h 36"/>
                  <a:gd name="T50" fmla="*/ 13 w 45"/>
                  <a:gd name="T51" fmla="*/ 36 h 36"/>
                  <a:gd name="T52" fmla="*/ 6 w 45"/>
                  <a:gd name="T53" fmla="*/ 33 h 36"/>
                  <a:gd name="T54" fmla="*/ 1 w 45"/>
                  <a:gd name="T55" fmla="*/ 28 h 36"/>
                  <a:gd name="T56" fmla="*/ 0 w 45"/>
                  <a:gd name="T57" fmla="*/ 18 h 36"/>
                  <a:gd name="T58" fmla="*/ 3 w 45"/>
                  <a:gd name="T59" fmla="*/ 5 h 36"/>
                  <a:gd name="T60" fmla="*/ 15 w 45"/>
                  <a:gd name="T61" fmla="*/ 0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45" h="36">
                    <a:moveTo>
                      <a:pt x="15" y="0"/>
                    </a:moveTo>
                    <a:cubicBezTo>
                      <a:pt x="16" y="8"/>
                      <a:pt x="16" y="8"/>
                      <a:pt x="16" y="8"/>
                    </a:cubicBezTo>
                    <a:cubicBezTo>
                      <a:pt x="13" y="9"/>
                      <a:pt x="10" y="10"/>
                      <a:pt x="9" y="12"/>
                    </a:cubicBezTo>
                    <a:cubicBezTo>
                      <a:pt x="8" y="13"/>
                      <a:pt x="7" y="15"/>
                      <a:pt x="7" y="18"/>
                    </a:cubicBezTo>
                    <a:cubicBezTo>
                      <a:pt x="7" y="21"/>
                      <a:pt x="8" y="23"/>
                      <a:pt x="9" y="25"/>
                    </a:cubicBezTo>
                    <a:cubicBezTo>
                      <a:pt x="10" y="26"/>
                      <a:pt x="12" y="27"/>
                      <a:pt x="13" y="27"/>
                    </a:cubicBezTo>
                    <a:cubicBezTo>
                      <a:pt x="14" y="27"/>
                      <a:pt x="15" y="26"/>
                      <a:pt x="16" y="26"/>
                    </a:cubicBezTo>
                    <a:cubicBezTo>
                      <a:pt x="17" y="25"/>
                      <a:pt x="17" y="24"/>
                      <a:pt x="18" y="23"/>
                    </a:cubicBezTo>
                    <a:cubicBezTo>
                      <a:pt x="18" y="22"/>
                      <a:pt x="19" y="19"/>
                      <a:pt x="20" y="15"/>
                    </a:cubicBezTo>
                    <a:cubicBezTo>
                      <a:pt x="21" y="11"/>
                      <a:pt x="22" y="7"/>
                      <a:pt x="24" y="5"/>
                    </a:cubicBezTo>
                    <a:cubicBezTo>
                      <a:pt x="26" y="3"/>
                      <a:pt x="29" y="1"/>
                      <a:pt x="33" y="1"/>
                    </a:cubicBezTo>
                    <a:cubicBezTo>
                      <a:pt x="35" y="1"/>
                      <a:pt x="37" y="2"/>
                      <a:pt x="39" y="3"/>
                    </a:cubicBezTo>
                    <a:cubicBezTo>
                      <a:pt x="41" y="4"/>
                      <a:pt x="43" y="6"/>
                      <a:pt x="44" y="9"/>
                    </a:cubicBezTo>
                    <a:cubicBezTo>
                      <a:pt x="45" y="11"/>
                      <a:pt x="45" y="14"/>
                      <a:pt x="45" y="17"/>
                    </a:cubicBezTo>
                    <a:cubicBezTo>
                      <a:pt x="45" y="23"/>
                      <a:pt x="44" y="27"/>
                      <a:pt x="42" y="30"/>
                    </a:cubicBezTo>
                    <a:cubicBezTo>
                      <a:pt x="39" y="33"/>
                      <a:pt x="36" y="34"/>
                      <a:pt x="32" y="34"/>
                    </a:cubicBezTo>
                    <a:cubicBezTo>
                      <a:pt x="31" y="25"/>
                      <a:pt x="31" y="25"/>
                      <a:pt x="31" y="25"/>
                    </a:cubicBezTo>
                    <a:cubicBezTo>
                      <a:pt x="34" y="25"/>
                      <a:pt x="35" y="24"/>
                      <a:pt x="36" y="23"/>
                    </a:cubicBezTo>
                    <a:cubicBezTo>
                      <a:pt x="37" y="22"/>
                      <a:pt x="38" y="20"/>
                      <a:pt x="38" y="17"/>
                    </a:cubicBezTo>
                    <a:cubicBezTo>
                      <a:pt x="38" y="15"/>
                      <a:pt x="37" y="13"/>
                      <a:pt x="36" y="11"/>
                    </a:cubicBezTo>
                    <a:cubicBezTo>
                      <a:pt x="35" y="10"/>
                      <a:pt x="35" y="10"/>
                      <a:pt x="33" y="10"/>
                    </a:cubicBezTo>
                    <a:cubicBezTo>
                      <a:pt x="32" y="10"/>
                      <a:pt x="31" y="10"/>
                      <a:pt x="31" y="11"/>
                    </a:cubicBezTo>
                    <a:cubicBezTo>
                      <a:pt x="30" y="12"/>
                      <a:pt x="29" y="15"/>
                      <a:pt x="28" y="19"/>
                    </a:cubicBezTo>
                    <a:cubicBezTo>
                      <a:pt x="27" y="24"/>
                      <a:pt x="26" y="27"/>
                      <a:pt x="25" y="29"/>
                    </a:cubicBezTo>
                    <a:cubicBezTo>
                      <a:pt x="24" y="31"/>
                      <a:pt x="22" y="33"/>
                      <a:pt x="20" y="34"/>
                    </a:cubicBezTo>
                    <a:cubicBezTo>
                      <a:pt x="18" y="35"/>
                      <a:pt x="16" y="36"/>
                      <a:pt x="13" y="36"/>
                    </a:cubicBezTo>
                    <a:cubicBezTo>
                      <a:pt x="11" y="36"/>
                      <a:pt x="8" y="35"/>
                      <a:pt x="6" y="33"/>
                    </a:cubicBezTo>
                    <a:cubicBezTo>
                      <a:pt x="4" y="32"/>
                      <a:pt x="2" y="30"/>
                      <a:pt x="1" y="28"/>
                    </a:cubicBezTo>
                    <a:cubicBezTo>
                      <a:pt x="0" y="25"/>
                      <a:pt x="0" y="22"/>
                      <a:pt x="0" y="18"/>
                    </a:cubicBezTo>
                    <a:cubicBezTo>
                      <a:pt x="0" y="12"/>
                      <a:pt x="1" y="8"/>
                      <a:pt x="3" y="5"/>
                    </a:cubicBezTo>
                    <a:cubicBezTo>
                      <a:pt x="6" y="2"/>
                      <a:pt x="10" y="0"/>
                      <a:pt x="15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1049538" name="íş1ïḓe"/>
              <p:cNvSpPr/>
              <p:nvPr/>
            </p:nvSpPr>
            <p:spPr bwMode="auto">
              <a:xfrm>
                <a:off x="1642959" y="5385390"/>
                <a:ext cx="84138" cy="22225"/>
              </a:xfrm>
              <a:custGeom>
                <a:avLst/>
                <a:gdLst>
                  <a:gd name="T0" fmla="*/ 0 w 53"/>
                  <a:gd name="T1" fmla="*/ 5 h 14"/>
                  <a:gd name="T2" fmla="*/ 51 w 53"/>
                  <a:gd name="T3" fmla="*/ 0 h 14"/>
                  <a:gd name="T4" fmla="*/ 53 w 53"/>
                  <a:gd name="T5" fmla="*/ 11 h 14"/>
                  <a:gd name="T6" fmla="*/ 1 w 53"/>
                  <a:gd name="T7" fmla="*/ 14 h 14"/>
                  <a:gd name="T8" fmla="*/ 0 w 53"/>
                  <a:gd name="T9" fmla="*/ 5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3" h="14">
                    <a:moveTo>
                      <a:pt x="0" y="5"/>
                    </a:moveTo>
                    <a:lnTo>
                      <a:pt x="51" y="0"/>
                    </a:lnTo>
                    <a:lnTo>
                      <a:pt x="53" y="11"/>
                    </a:lnTo>
                    <a:lnTo>
                      <a:pt x="1" y="14"/>
                    </a:lnTo>
                    <a:lnTo>
                      <a:pt x="0" y="5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1049539" name="ïṩlîḋè"/>
              <p:cNvSpPr/>
              <p:nvPr/>
            </p:nvSpPr>
            <p:spPr bwMode="auto">
              <a:xfrm>
                <a:off x="1649309" y="5407615"/>
                <a:ext cx="84138" cy="66675"/>
              </a:xfrm>
              <a:custGeom>
                <a:avLst/>
                <a:gdLst>
                  <a:gd name="T0" fmla="*/ 0 w 53"/>
                  <a:gd name="T1" fmla="*/ 22 h 42"/>
                  <a:gd name="T2" fmla="*/ 42 w 53"/>
                  <a:gd name="T3" fmla="*/ 17 h 42"/>
                  <a:gd name="T4" fmla="*/ 39 w 53"/>
                  <a:gd name="T5" fmla="*/ 1 h 42"/>
                  <a:gd name="T6" fmla="*/ 49 w 53"/>
                  <a:gd name="T7" fmla="*/ 0 h 42"/>
                  <a:gd name="T8" fmla="*/ 53 w 53"/>
                  <a:gd name="T9" fmla="*/ 41 h 42"/>
                  <a:gd name="T10" fmla="*/ 45 w 53"/>
                  <a:gd name="T11" fmla="*/ 42 h 42"/>
                  <a:gd name="T12" fmla="*/ 43 w 53"/>
                  <a:gd name="T13" fmla="*/ 27 h 42"/>
                  <a:gd name="T14" fmla="*/ 1 w 53"/>
                  <a:gd name="T15" fmla="*/ 33 h 42"/>
                  <a:gd name="T16" fmla="*/ 0 w 53"/>
                  <a:gd name="T17" fmla="*/ 22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3" h="42">
                    <a:moveTo>
                      <a:pt x="0" y="22"/>
                    </a:moveTo>
                    <a:lnTo>
                      <a:pt x="42" y="17"/>
                    </a:lnTo>
                    <a:lnTo>
                      <a:pt x="39" y="1"/>
                    </a:lnTo>
                    <a:lnTo>
                      <a:pt x="49" y="0"/>
                    </a:lnTo>
                    <a:lnTo>
                      <a:pt x="53" y="41"/>
                    </a:lnTo>
                    <a:lnTo>
                      <a:pt x="45" y="42"/>
                    </a:lnTo>
                    <a:lnTo>
                      <a:pt x="43" y="27"/>
                    </a:lnTo>
                    <a:lnTo>
                      <a:pt x="1" y="33"/>
                    </a:lnTo>
                    <a:lnTo>
                      <a:pt x="0" y="22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1049540" name="ïṣľîďe"/>
              <p:cNvSpPr/>
              <p:nvPr/>
            </p:nvSpPr>
            <p:spPr bwMode="auto">
              <a:xfrm>
                <a:off x="1662009" y="5471115"/>
                <a:ext cx="90488" cy="73025"/>
              </a:xfrm>
              <a:custGeom>
                <a:avLst/>
                <a:gdLst>
                  <a:gd name="T0" fmla="*/ 0 w 57"/>
                  <a:gd name="T1" fmla="*/ 29 h 46"/>
                  <a:gd name="T2" fmla="*/ 21 w 57"/>
                  <a:gd name="T3" fmla="*/ 24 h 46"/>
                  <a:gd name="T4" fmla="*/ 45 w 57"/>
                  <a:gd name="T5" fmla="*/ 0 h 46"/>
                  <a:gd name="T6" fmla="*/ 49 w 57"/>
                  <a:gd name="T7" fmla="*/ 11 h 46"/>
                  <a:gd name="T8" fmla="*/ 31 w 57"/>
                  <a:gd name="T9" fmla="*/ 28 h 46"/>
                  <a:gd name="T10" fmla="*/ 53 w 57"/>
                  <a:gd name="T11" fmla="*/ 35 h 46"/>
                  <a:gd name="T12" fmla="*/ 57 w 57"/>
                  <a:gd name="T13" fmla="*/ 46 h 46"/>
                  <a:gd name="T14" fmla="*/ 23 w 57"/>
                  <a:gd name="T15" fmla="*/ 35 h 46"/>
                  <a:gd name="T16" fmla="*/ 2 w 57"/>
                  <a:gd name="T17" fmla="*/ 39 h 46"/>
                  <a:gd name="T18" fmla="*/ 0 w 57"/>
                  <a:gd name="T19" fmla="*/ 29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57" h="46">
                    <a:moveTo>
                      <a:pt x="0" y="29"/>
                    </a:moveTo>
                    <a:lnTo>
                      <a:pt x="21" y="24"/>
                    </a:lnTo>
                    <a:lnTo>
                      <a:pt x="45" y="0"/>
                    </a:lnTo>
                    <a:lnTo>
                      <a:pt x="49" y="11"/>
                    </a:lnTo>
                    <a:lnTo>
                      <a:pt x="31" y="28"/>
                    </a:lnTo>
                    <a:lnTo>
                      <a:pt x="53" y="35"/>
                    </a:lnTo>
                    <a:lnTo>
                      <a:pt x="57" y="46"/>
                    </a:lnTo>
                    <a:lnTo>
                      <a:pt x="23" y="35"/>
                    </a:lnTo>
                    <a:lnTo>
                      <a:pt x="2" y="39"/>
                    </a:lnTo>
                    <a:lnTo>
                      <a:pt x="0" y="29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1049541" name="íśļiḓe"/>
              <p:cNvSpPr/>
              <p:nvPr/>
            </p:nvSpPr>
            <p:spPr bwMode="auto">
              <a:xfrm>
                <a:off x="1704872" y="5609228"/>
                <a:ext cx="85725" cy="80963"/>
              </a:xfrm>
              <a:custGeom>
                <a:avLst/>
                <a:gdLst>
                  <a:gd name="T0" fmla="*/ 15 w 47"/>
                  <a:gd name="T1" fmla="*/ 2 h 44"/>
                  <a:gd name="T2" fmla="*/ 26 w 47"/>
                  <a:gd name="T3" fmla="*/ 0 h 44"/>
                  <a:gd name="T4" fmla="*/ 33 w 47"/>
                  <a:gd name="T5" fmla="*/ 1 h 44"/>
                  <a:gd name="T6" fmla="*/ 39 w 47"/>
                  <a:gd name="T7" fmla="*/ 4 h 44"/>
                  <a:gd name="T8" fmla="*/ 44 w 47"/>
                  <a:gd name="T9" fmla="*/ 12 h 44"/>
                  <a:gd name="T10" fmla="*/ 45 w 47"/>
                  <a:gd name="T11" fmla="*/ 29 h 44"/>
                  <a:gd name="T12" fmla="*/ 32 w 47"/>
                  <a:gd name="T13" fmla="*/ 41 h 44"/>
                  <a:gd name="T14" fmla="*/ 15 w 47"/>
                  <a:gd name="T15" fmla="*/ 43 h 44"/>
                  <a:gd name="T16" fmla="*/ 3 w 47"/>
                  <a:gd name="T17" fmla="*/ 31 h 44"/>
                  <a:gd name="T18" fmla="*/ 2 w 47"/>
                  <a:gd name="T19" fmla="*/ 14 h 44"/>
                  <a:gd name="T20" fmla="*/ 15 w 47"/>
                  <a:gd name="T21" fmla="*/ 2 h 44"/>
                  <a:gd name="T22" fmla="*/ 19 w 47"/>
                  <a:gd name="T23" fmla="*/ 10 h 44"/>
                  <a:gd name="T24" fmla="*/ 10 w 47"/>
                  <a:gd name="T25" fmla="*/ 18 h 44"/>
                  <a:gd name="T26" fmla="*/ 10 w 47"/>
                  <a:gd name="T27" fmla="*/ 28 h 44"/>
                  <a:gd name="T28" fmla="*/ 17 w 47"/>
                  <a:gd name="T29" fmla="*/ 34 h 44"/>
                  <a:gd name="T30" fmla="*/ 29 w 47"/>
                  <a:gd name="T31" fmla="*/ 33 h 44"/>
                  <a:gd name="T32" fmla="*/ 38 w 47"/>
                  <a:gd name="T33" fmla="*/ 25 h 44"/>
                  <a:gd name="T34" fmla="*/ 37 w 47"/>
                  <a:gd name="T35" fmla="*/ 16 h 44"/>
                  <a:gd name="T36" fmla="*/ 30 w 47"/>
                  <a:gd name="T37" fmla="*/ 9 h 44"/>
                  <a:gd name="T38" fmla="*/ 19 w 47"/>
                  <a:gd name="T39" fmla="*/ 10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47" h="44">
                    <a:moveTo>
                      <a:pt x="15" y="2"/>
                    </a:moveTo>
                    <a:cubicBezTo>
                      <a:pt x="19" y="0"/>
                      <a:pt x="23" y="0"/>
                      <a:pt x="26" y="0"/>
                    </a:cubicBezTo>
                    <a:cubicBezTo>
                      <a:pt x="28" y="0"/>
                      <a:pt x="31" y="0"/>
                      <a:pt x="33" y="1"/>
                    </a:cubicBezTo>
                    <a:cubicBezTo>
                      <a:pt x="35" y="2"/>
                      <a:pt x="37" y="3"/>
                      <a:pt x="39" y="4"/>
                    </a:cubicBezTo>
                    <a:cubicBezTo>
                      <a:pt x="41" y="6"/>
                      <a:pt x="43" y="9"/>
                      <a:pt x="44" y="12"/>
                    </a:cubicBezTo>
                    <a:cubicBezTo>
                      <a:pt x="47" y="18"/>
                      <a:pt x="47" y="24"/>
                      <a:pt x="45" y="29"/>
                    </a:cubicBezTo>
                    <a:cubicBezTo>
                      <a:pt x="43" y="34"/>
                      <a:pt x="39" y="38"/>
                      <a:pt x="32" y="41"/>
                    </a:cubicBezTo>
                    <a:cubicBezTo>
                      <a:pt x="26" y="44"/>
                      <a:pt x="20" y="44"/>
                      <a:pt x="15" y="43"/>
                    </a:cubicBezTo>
                    <a:cubicBezTo>
                      <a:pt x="9" y="41"/>
                      <a:pt x="5" y="37"/>
                      <a:pt x="3" y="31"/>
                    </a:cubicBezTo>
                    <a:cubicBezTo>
                      <a:pt x="0" y="25"/>
                      <a:pt x="0" y="19"/>
                      <a:pt x="2" y="14"/>
                    </a:cubicBezTo>
                    <a:cubicBezTo>
                      <a:pt x="4" y="9"/>
                      <a:pt x="8" y="5"/>
                      <a:pt x="15" y="2"/>
                    </a:cubicBezTo>
                    <a:close/>
                    <a:moveTo>
                      <a:pt x="19" y="10"/>
                    </a:moveTo>
                    <a:cubicBezTo>
                      <a:pt x="14" y="12"/>
                      <a:pt x="11" y="15"/>
                      <a:pt x="10" y="18"/>
                    </a:cubicBezTo>
                    <a:cubicBezTo>
                      <a:pt x="8" y="21"/>
                      <a:pt x="8" y="24"/>
                      <a:pt x="10" y="28"/>
                    </a:cubicBezTo>
                    <a:cubicBezTo>
                      <a:pt x="11" y="31"/>
                      <a:pt x="13" y="33"/>
                      <a:pt x="17" y="34"/>
                    </a:cubicBezTo>
                    <a:cubicBezTo>
                      <a:pt x="20" y="35"/>
                      <a:pt x="24" y="35"/>
                      <a:pt x="29" y="33"/>
                    </a:cubicBezTo>
                    <a:cubicBezTo>
                      <a:pt x="33" y="31"/>
                      <a:pt x="36" y="28"/>
                      <a:pt x="38" y="25"/>
                    </a:cubicBezTo>
                    <a:cubicBezTo>
                      <a:pt x="39" y="22"/>
                      <a:pt x="39" y="19"/>
                      <a:pt x="37" y="16"/>
                    </a:cubicBezTo>
                    <a:cubicBezTo>
                      <a:pt x="36" y="12"/>
                      <a:pt x="34" y="10"/>
                      <a:pt x="30" y="9"/>
                    </a:cubicBezTo>
                    <a:cubicBezTo>
                      <a:pt x="27" y="8"/>
                      <a:pt x="23" y="8"/>
                      <a:pt x="19" y="1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1049542" name="î$ḷïďe"/>
              <p:cNvSpPr/>
              <p:nvPr/>
            </p:nvSpPr>
            <p:spPr bwMode="auto">
              <a:xfrm>
                <a:off x="1733447" y="5675903"/>
                <a:ext cx="98425" cy="66675"/>
              </a:xfrm>
              <a:custGeom>
                <a:avLst/>
                <a:gdLst>
                  <a:gd name="T0" fmla="*/ 0 w 62"/>
                  <a:gd name="T1" fmla="*/ 26 h 42"/>
                  <a:gd name="T2" fmla="*/ 45 w 62"/>
                  <a:gd name="T3" fmla="*/ 0 h 42"/>
                  <a:gd name="T4" fmla="*/ 62 w 62"/>
                  <a:gd name="T5" fmla="*/ 30 h 42"/>
                  <a:gd name="T6" fmla="*/ 55 w 62"/>
                  <a:gd name="T7" fmla="*/ 35 h 42"/>
                  <a:gd name="T8" fmla="*/ 43 w 62"/>
                  <a:gd name="T9" fmla="*/ 14 h 42"/>
                  <a:gd name="T10" fmla="*/ 32 w 62"/>
                  <a:gd name="T11" fmla="*/ 20 h 42"/>
                  <a:gd name="T12" fmla="*/ 43 w 62"/>
                  <a:gd name="T13" fmla="*/ 38 h 42"/>
                  <a:gd name="T14" fmla="*/ 35 w 62"/>
                  <a:gd name="T15" fmla="*/ 42 h 42"/>
                  <a:gd name="T16" fmla="*/ 25 w 62"/>
                  <a:gd name="T17" fmla="*/ 23 h 42"/>
                  <a:gd name="T18" fmla="*/ 6 w 62"/>
                  <a:gd name="T19" fmla="*/ 35 h 42"/>
                  <a:gd name="T20" fmla="*/ 0 w 62"/>
                  <a:gd name="T21" fmla="*/ 26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62" h="42">
                    <a:moveTo>
                      <a:pt x="0" y="26"/>
                    </a:moveTo>
                    <a:lnTo>
                      <a:pt x="45" y="0"/>
                    </a:lnTo>
                    <a:lnTo>
                      <a:pt x="62" y="30"/>
                    </a:lnTo>
                    <a:lnTo>
                      <a:pt x="55" y="35"/>
                    </a:lnTo>
                    <a:lnTo>
                      <a:pt x="43" y="14"/>
                    </a:lnTo>
                    <a:lnTo>
                      <a:pt x="32" y="20"/>
                    </a:lnTo>
                    <a:lnTo>
                      <a:pt x="43" y="38"/>
                    </a:lnTo>
                    <a:lnTo>
                      <a:pt x="35" y="42"/>
                    </a:lnTo>
                    <a:lnTo>
                      <a:pt x="25" y="23"/>
                    </a:lnTo>
                    <a:lnTo>
                      <a:pt x="6" y="35"/>
                    </a:lnTo>
                    <a:lnTo>
                      <a:pt x="0" y="26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1049543" name="îśḻîḍe"/>
              <p:cNvSpPr/>
              <p:nvPr/>
            </p:nvSpPr>
            <p:spPr bwMode="auto">
              <a:xfrm>
                <a:off x="1812822" y="5785440"/>
                <a:ext cx="85725" cy="82550"/>
              </a:xfrm>
              <a:custGeom>
                <a:avLst/>
                <a:gdLst>
                  <a:gd name="T0" fmla="*/ 6 w 46"/>
                  <a:gd name="T1" fmla="*/ 13 h 45"/>
                  <a:gd name="T2" fmla="*/ 12 w 46"/>
                  <a:gd name="T3" fmla="*/ 19 h 45"/>
                  <a:gd name="T4" fmla="*/ 9 w 46"/>
                  <a:gd name="T5" fmla="*/ 26 h 45"/>
                  <a:gd name="T6" fmla="*/ 11 w 46"/>
                  <a:gd name="T7" fmla="*/ 32 h 45"/>
                  <a:gd name="T8" fmla="*/ 17 w 46"/>
                  <a:gd name="T9" fmla="*/ 36 h 45"/>
                  <a:gd name="T10" fmla="*/ 22 w 46"/>
                  <a:gd name="T11" fmla="*/ 35 h 45"/>
                  <a:gd name="T12" fmla="*/ 23 w 46"/>
                  <a:gd name="T13" fmla="*/ 32 h 45"/>
                  <a:gd name="T14" fmla="*/ 22 w 46"/>
                  <a:gd name="T15" fmla="*/ 29 h 45"/>
                  <a:gd name="T16" fmla="*/ 19 w 46"/>
                  <a:gd name="T17" fmla="*/ 22 h 45"/>
                  <a:gd name="T18" fmla="*/ 16 w 46"/>
                  <a:gd name="T19" fmla="*/ 12 h 45"/>
                  <a:gd name="T20" fmla="*/ 21 w 46"/>
                  <a:gd name="T21" fmla="*/ 3 h 45"/>
                  <a:gd name="T22" fmla="*/ 27 w 46"/>
                  <a:gd name="T23" fmla="*/ 0 h 45"/>
                  <a:gd name="T24" fmla="*/ 34 w 46"/>
                  <a:gd name="T25" fmla="*/ 2 h 45"/>
                  <a:gd name="T26" fmla="*/ 40 w 46"/>
                  <a:gd name="T27" fmla="*/ 8 h 45"/>
                  <a:gd name="T28" fmla="*/ 45 w 46"/>
                  <a:gd name="T29" fmla="*/ 19 h 45"/>
                  <a:gd name="T30" fmla="*/ 41 w 46"/>
                  <a:gd name="T31" fmla="*/ 29 h 45"/>
                  <a:gd name="T32" fmla="*/ 35 w 46"/>
                  <a:gd name="T33" fmla="*/ 22 h 45"/>
                  <a:gd name="T34" fmla="*/ 37 w 46"/>
                  <a:gd name="T35" fmla="*/ 17 h 45"/>
                  <a:gd name="T36" fmla="*/ 35 w 46"/>
                  <a:gd name="T37" fmla="*/ 12 h 45"/>
                  <a:gd name="T38" fmla="*/ 30 w 46"/>
                  <a:gd name="T39" fmla="*/ 8 h 45"/>
                  <a:gd name="T40" fmla="*/ 27 w 46"/>
                  <a:gd name="T41" fmla="*/ 9 h 45"/>
                  <a:gd name="T42" fmla="*/ 25 w 46"/>
                  <a:gd name="T43" fmla="*/ 12 h 45"/>
                  <a:gd name="T44" fmla="*/ 28 w 46"/>
                  <a:gd name="T45" fmla="*/ 20 h 45"/>
                  <a:gd name="T46" fmla="*/ 32 w 46"/>
                  <a:gd name="T47" fmla="*/ 29 h 45"/>
                  <a:gd name="T48" fmla="*/ 31 w 46"/>
                  <a:gd name="T49" fmla="*/ 36 h 45"/>
                  <a:gd name="T50" fmla="*/ 27 w 46"/>
                  <a:gd name="T51" fmla="*/ 42 h 45"/>
                  <a:gd name="T52" fmla="*/ 20 w 46"/>
                  <a:gd name="T53" fmla="*/ 45 h 45"/>
                  <a:gd name="T54" fmla="*/ 13 w 46"/>
                  <a:gd name="T55" fmla="*/ 43 h 45"/>
                  <a:gd name="T56" fmla="*/ 6 w 46"/>
                  <a:gd name="T57" fmla="*/ 37 h 45"/>
                  <a:gd name="T58" fmla="*/ 0 w 46"/>
                  <a:gd name="T59" fmla="*/ 24 h 45"/>
                  <a:gd name="T60" fmla="*/ 6 w 46"/>
                  <a:gd name="T61" fmla="*/ 13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46" h="45">
                    <a:moveTo>
                      <a:pt x="6" y="13"/>
                    </a:moveTo>
                    <a:cubicBezTo>
                      <a:pt x="12" y="19"/>
                      <a:pt x="12" y="19"/>
                      <a:pt x="12" y="19"/>
                    </a:cubicBezTo>
                    <a:cubicBezTo>
                      <a:pt x="10" y="21"/>
                      <a:pt x="9" y="24"/>
                      <a:pt x="9" y="26"/>
                    </a:cubicBezTo>
                    <a:cubicBezTo>
                      <a:pt x="9" y="28"/>
                      <a:pt x="10" y="30"/>
                      <a:pt x="11" y="32"/>
                    </a:cubicBezTo>
                    <a:cubicBezTo>
                      <a:pt x="13" y="34"/>
                      <a:pt x="15" y="35"/>
                      <a:pt x="17" y="36"/>
                    </a:cubicBezTo>
                    <a:cubicBezTo>
                      <a:pt x="19" y="36"/>
                      <a:pt x="20" y="36"/>
                      <a:pt x="22" y="35"/>
                    </a:cubicBezTo>
                    <a:cubicBezTo>
                      <a:pt x="22" y="34"/>
                      <a:pt x="23" y="33"/>
                      <a:pt x="23" y="32"/>
                    </a:cubicBezTo>
                    <a:cubicBezTo>
                      <a:pt x="23" y="32"/>
                      <a:pt x="23" y="30"/>
                      <a:pt x="22" y="29"/>
                    </a:cubicBezTo>
                    <a:cubicBezTo>
                      <a:pt x="22" y="28"/>
                      <a:pt x="21" y="26"/>
                      <a:pt x="19" y="22"/>
                    </a:cubicBezTo>
                    <a:cubicBezTo>
                      <a:pt x="17" y="18"/>
                      <a:pt x="16" y="14"/>
                      <a:pt x="16" y="12"/>
                    </a:cubicBezTo>
                    <a:cubicBezTo>
                      <a:pt x="17" y="8"/>
                      <a:pt x="18" y="5"/>
                      <a:pt x="21" y="3"/>
                    </a:cubicBezTo>
                    <a:cubicBezTo>
                      <a:pt x="23" y="1"/>
                      <a:pt x="25" y="1"/>
                      <a:pt x="27" y="0"/>
                    </a:cubicBezTo>
                    <a:cubicBezTo>
                      <a:pt x="29" y="0"/>
                      <a:pt x="31" y="1"/>
                      <a:pt x="34" y="2"/>
                    </a:cubicBezTo>
                    <a:cubicBezTo>
                      <a:pt x="36" y="3"/>
                      <a:pt x="38" y="5"/>
                      <a:pt x="40" y="8"/>
                    </a:cubicBezTo>
                    <a:cubicBezTo>
                      <a:pt x="44" y="12"/>
                      <a:pt x="46" y="16"/>
                      <a:pt x="45" y="19"/>
                    </a:cubicBezTo>
                    <a:cubicBezTo>
                      <a:pt x="45" y="23"/>
                      <a:pt x="44" y="26"/>
                      <a:pt x="41" y="29"/>
                    </a:cubicBezTo>
                    <a:cubicBezTo>
                      <a:pt x="35" y="22"/>
                      <a:pt x="35" y="22"/>
                      <a:pt x="35" y="22"/>
                    </a:cubicBezTo>
                    <a:cubicBezTo>
                      <a:pt x="36" y="21"/>
                      <a:pt x="37" y="19"/>
                      <a:pt x="37" y="17"/>
                    </a:cubicBezTo>
                    <a:cubicBezTo>
                      <a:pt x="37" y="16"/>
                      <a:pt x="36" y="14"/>
                      <a:pt x="35" y="12"/>
                    </a:cubicBezTo>
                    <a:cubicBezTo>
                      <a:pt x="33" y="10"/>
                      <a:pt x="31" y="9"/>
                      <a:pt x="30" y="8"/>
                    </a:cubicBezTo>
                    <a:cubicBezTo>
                      <a:pt x="28" y="8"/>
                      <a:pt x="27" y="8"/>
                      <a:pt x="27" y="9"/>
                    </a:cubicBezTo>
                    <a:cubicBezTo>
                      <a:pt x="26" y="10"/>
                      <a:pt x="25" y="11"/>
                      <a:pt x="25" y="12"/>
                    </a:cubicBezTo>
                    <a:cubicBezTo>
                      <a:pt x="25" y="13"/>
                      <a:pt x="26" y="16"/>
                      <a:pt x="28" y="20"/>
                    </a:cubicBezTo>
                    <a:cubicBezTo>
                      <a:pt x="30" y="24"/>
                      <a:pt x="31" y="27"/>
                      <a:pt x="32" y="29"/>
                    </a:cubicBezTo>
                    <a:cubicBezTo>
                      <a:pt x="32" y="32"/>
                      <a:pt x="32" y="34"/>
                      <a:pt x="31" y="36"/>
                    </a:cubicBezTo>
                    <a:cubicBezTo>
                      <a:pt x="31" y="38"/>
                      <a:pt x="29" y="40"/>
                      <a:pt x="27" y="42"/>
                    </a:cubicBezTo>
                    <a:cubicBezTo>
                      <a:pt x="25" y="43"/>
                      <a:pt x="23" y="44"/>
                      <a:pt x="20" y="45"/>
                    </a:cubicBezTo>
                    <a:cubicBezTo>
                      <a:pt x="18" y="45"/>
                      <a:pt x="15" y="44"/>
                      <a:pt x="13" y="43"/>
                    </a:cubicBezTo>
                    <a:cubicBezTo>
                      <a:pt x="10" y="42"/>
                      <a:pt x="8" y="40"/>
                      <a:pt x="6" y="37"/>
                    </a:cubicBezTo>
                    <a:cubicBezTo>
                      <a:pt x="2" y="32"/>
                      <a:pt x="0" y="28"/>
                      <a:pt x="0" y="24"/>
                    </a:cubicBezTo>
                    <a:cubicBezTo>
                      <a:pt x="1" y="20"/>
                      <a:pt x="2" y="17"/>
                      <a:pt x="6" y="13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1049544" name="í$ļîḋê"/>
              <p:cNvSpPr/>
              <p:nvPr/>
            </p:nvSpPr>
            <p:spPr bwMode="auto">
              <a:xfrm>
                <a:off x="1868384" y="5844178"/>
                <a:ext cx="82550" cy="82550"/>
              </a:xfrm>
              <a:custGeom>
                <a:avLst/>
                <a:gdLst>
                  <a:gd name="T0" fmla="*/ 25 w 45"/>
                  <a:gd name="T1" fmla="*/ 33 h 45"/>
                  <a:gd name="T2" fmla="*/ 29 w 45"/>
                  <a:gd name="T3" fmla="*/ 41 h 45"/>
                  <a:gd name="T4" fmla="*/ 17 w 45"/>
                  <a:gd name="T5" fmla="*/ 44 h 45"/>
                  <a:gd name="T6" fmla="*/ 6 w 45"/>
                  <a:gd name="T7" fmla="*/ 38 h 45"/>
                  <a:gd name="T8" fmla="*/ 0 w 45"/>
                  <a:gd name="T9" fmla="*/ 24 h 45"/>
                  <a:gd name="T10" fmla="*/ 8 w 45"/>
                  <a:gd name="T11" fmla="*/ 8 h 45"/>
                  <a:gd name="T12" fmla="*/ 24 w 45"/>
                  <a:gd name="T13" fmla="*/ 0 h 45"/>
                  <a:gd name="T14" fmla="*/ 39 w 45"/>
                  <a:gd name="T15" fmla="*/ 7 h 45"/>
                  <a:gd name="T16" fmla="*/ 45 w 45"/>
                  <a:gd name="T17" fmla="*/ 19 h 45"/>
                  <a:gd name="T18" fmla="*/ 42 w 45"/>
                  <a:gd name="T19" fmla="*/ 28 h 45"/>
                  <a:gd name="T20" fmla="*/ 34 w 45"/>
                  <a:gd name="T21" fmla="*/ 23 h 45"/>
                  <a:gd name="T22" fmla="*/ 36 w 45"/>
                  <a:gd name="T23" fmla="*/ 17 h 45"/>
                  <a:gd name="T24" fmla="*/ 33 w 45"/>
                  <a:gd name="T25" fmla="*/ 12 h 45"/>
                  <a:gd name="T26" fmla="*/ 25 w 45"/>
                  <a:gd name="T27" fmla="*/ 9 h 45"/>
                  <a:gd name="T28" fmla="*/ 15 w 45"/>
                  <a:gd name="T29" fmla="*/ 14 h 45"/>
                  <a:gd name="T30" fmla="*/ 8 w 45"/>
                  <a:gd name="T31" fmla="*/ 25 h 45"/>
                  <a:gd name="T32" fmla="*/ 11 w 45"/>
                  <a:gd name="T33" fmla="*/ 33 h 45"/>
                  <a:gd name="T34" fmla="*/ 17 w 45"/>
                  <a:gd name="T35" fmla="*/ 36 h 45"/>
                  <a:gd name="T36" fmla="*/ 25 w 45"/>
                  <a:gd name="T37" fmla="*/ 33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45" h="45">
                    <a:moveTo>
                      <a:pt x="25" y="33"/>
                    </a:moveTo>
                    <a:cubicBezTo>
                      <a:pt x="29" y="41"/>
                      <a:pt x="29" y="41"/>
                      <a:pt x="29" y="41"/>
                    </a:cubicBezTo>
                    <a:cubicBezTo>
                      <a:pt x="25" y="44"/>
                      <a:pt x="21" y="45"/>
                      <a:pt x="17" y="44"/>
                    </a:cubicBezTo>
                    <a:cubicBezTo>
                      <a:pt x="13" y="44"/>
                      <a:pt x="9" y="42"/>
                      <a:pt x="6" y="38"/>
                    </a:cubicBezTo>
                    <a:cubicBezTo>
                      <a:pt x="2" y="34"/>
                      <a:pt x="0" y="29"/>
                      <a:pt x="0" y="24"/>
                    </a:cubicBezTo>
                    <a:cubicBezTo>
                      <a:pt x="0" y="19"/>
                      <a:pt x="3" y="13"/>
                      <a:pt x="8" y="8"/>
                    </a:cubicBezTo>
                    <a:cubicBezTo>
                      <a:pt x="13" y="3"/>
                      <a:pt x="18" y="1"/>
                      <a:pt x="24" y="0"/>
                    </a:cubicBezTo>
                    <a:cubicBezTo>
                      <a:pt x="29" y="0"/>
                      <a:pt x="34" y="2"/>
                      <a:pt x="39" y="7"/>
                    </a:cubicBezTo>
                    <a:cubicBezTo>
                      <a:pt x="42" y="10"/>
                      <a:pt x="44" y="15"/>
                      <a:pt x="45" y="19"/>
                    </a:cubicBezTo>
                    <a:cubicBezTo>
                      <a:pt x="45" y="22"/>
                      <a:pt x="44" y="25"/>
                      <a:pt x="42" y="28"/>
                    </a:cubicBezTo>
                    <a:cubicBezTo>
                      <a:pt x="34" y="23"/>
                      <a:pt x="34" y="23"/>
                      <a:pt x="34" y="23"/>
                    </a:cubicBezTo>
                    <a:cubicBezTo>
                      <a:pt x="36" y="21"/>
                      <a:pt x="36" y="19"/>
                      <a:pt x="36" y="17"/>
                    </a:cubicBezTo>
                    <a:cubicBezTo>
                      <a:pt x="36" y="15"/>
                      <a:pt x="35" y="13"/>
                      <a:pt x="33" y="12"/>
                    </a:cubicBezTo>
                    <a:cubicBezTo>
                      <a:pt x="31" y="9"/>
                      <a:pt x="28" y="8"/>
                      <a:pt x="25" y="9"/>
                    </a:cubicBezTo>
                    <a:cubicBezTo>
                      <a:pt x="22" y="9"/>
                      <a:pt x="18" y="11"/>
                      <a:pt x="15" y="14"/>
                    </a:cubicBezTo>
                    <a:cubicBezTo>
                      <a:pt x="11" y="18"/>
                      <a:pt x="9" y="22"/>
                      <a:pt x="8" y="25"/>
                    </a:cubicBezTo>
                    <a:cubicBezTo>
                      <a:pt x="8" y="28"/>
                      <a:pt x="9" y="31"/>
                      <a:pt x="11" y="33"/>
                    </a:cubicBezTo>
                    <a:cubicBezTo>
                      <a:pt x="13" y="35"/>
                      <a:pt x="15" y="36"/>
                      <a:pt x="17" y="36"/>
                    </a:cubicBezTo>
                    <a:cubicBezTo>
                      <a:pt x="20" y="36"/>
                      <a:pt x="22" y="35"/>
                      <a:pt x="25" y="33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1049545" name="íṩḷiḋé"/>
              <p:cNvSpPr/>
              <p:nvPr/>
            </p:nvSpPr>
            <p:spPr bwMode="auto">
              <a:xfrm>
                <a:off x="1916009" y="5887040"/>
                <a:ext cx="65088" cy="71438"/>
              </a:xfrm>
              <a:custGeom>
                <a:avLst/>
                <a:gdLst>
                  <a:gd name="T0" fmla="*/ 0 w 41"/>
                  <a:gd name="T1" fmla="*/ 38 h 45"/>
                  <a:gd name="T2" fmla="*/ 34 w 41"/>
                  <a:gd name="T3" fmla="*/ 0 h 45"/>
                  <a:gd name="T4" fmla="*/ 41 w 41"/>
                  <a:gd name="T5" fmla="*/ 6 h 45"/>
                  <a:gd name="T6" fmla="*/ 8 w 41"/>
                  <a:gd name="T7" fmla="*/ 45 h 45"/>
                  <a:gd name="T8" fmla="*/ 0 w 41"/>
                  <a:gd name="T9" fmla="*/ 38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1" h="45">
                    <a:moveTo>
                      <a:pt x="0" y="38"/>
                    </a:moveTo>
                    <a:lnTo>
                      <a:pt x="34" y="0"/>
                    </a:lnTo>
                    <a:lnTo>
                      <a:pt x="41" y="6"/>
                    </a:lnTo>
                    <a:lnTo>
                      <a:pt x="8" y="45"/>
                    </a:lnTo>
                    <a:lnTo>
                      <a:pt x="0" y="38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1049546" name="îsľïďé"/>
              <p:cNvSpPr/>
              <p:nvPr/>
            </p:nvSpPr>
            <p:spPr bwMode="auto">
              <a:xfrm>
                <a:off x="1941409" y="5904503"/>
                <a:ext cx="96838" cy="101600"/>
              </a:xfrm>
              <a:custGeom>
                <a:avLst/>
                <a:gdLst>
                  <a:gd name="T0" fmla="*/ 0 w 61"/>
                  <a:gd name="T1" fmla="*/ 41 h 64"/>
                  <a:gd name="T2" fmla="*/ 31 w 61"/>
                  <a:gd name="T3" fmla="*/ 0 h 64"/>
                  <a:gd name="T4" fmla="*/ 61 w 61"/>
                  <a:gd name="T5" fmla="*/ 22 h 64"/>
                  <a:gd name="T6" fmla="*/ 56 w 61"/>
                  <a:gd name="T7" fmla="*/ 29 h 64"/>
                  <a:gd name="T8" fmla="*/ 34 w 61"/>
                  <a:gd name="T9" fmla="*/ 13 h 64"/>
                  <a:gd name="T10" fmla="*/ 27 w 61"/>
                  <a:gd name="T11" fmla="*/ 22 h 64"/>
                  <a:gd name="T12" fmla="*/ 47 w 61"/>
                  <a:gd name="T13" fmla="*/ 37 h 64"/>
                  <a:gd name="T14" fmla="*/ 42 w 61"/>
                  <a:gd name="T15" fmla="*/ 44 h 64"/>
                  <a:gd name="T16" fmla="*/ 21 w 61"/>
                  <a:gd name="T17" fmla="*/ 29 h 64"/>
                  <a:gd name="T18" fmla="*/ 13 w 61"/>
                  <a:gd name="T19" fmla="*/ 40 h 64"/>
                  <a:gd name="T20" fmla="*/ 36 w 61"/>
                  <a:gd name="T21" fmla="*/ 57 h 64"/>
                  <a:gd name="T22" fmla="*/ 31 w 61"/>
                  <a:gd name="T23" fmla="*/ 64 h 64"/>
                  <a:gd name="T24" fmla="*/ 0 w 61"/>
                  <a:gd name="T25" fmla="*/ 41 h 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1" h="64">
                    <a:moveTo>
                      <a:pt x="0" y="41"/>
                    </a:moveTo>
                    <a:lnTo>
                      <a:pt x="31" y="0"/>
                    </a:lnTo>
                    <a:lnTo>
                      <a:pt x="61" y="22"/>
                    </a:lnTo>
                    <a:lnTo>
                      <a:pt x="56" y="29"/>
                    </a:lnTo>
                    <a:lnTo>
                      <a:pt x="34" y="13"/>
                    </a:lnTo>
                    <a:lnTo>
                      <a:pt x="27" y="22"/>
                    </a:lnTo>
                    <a:lnTo>
                      <a:pt x="47" y="37"/>
                    </a:lnTo>
                    <a:lnTo>
                      <a:pt x="42" y="44"/>
                    </a:lnTo>
                    <a:lnTo>
                      <a:pt x="21" y="29"/>
                    </a:lnTo>
                    <a:lnTo>
                      <a:pt x="13" y="40"/>
                    </a:lnTo>
                    <a:lnTo>
                      <a:pt x="36" y="57"/>
                    </a:lnTo>
                    <a:lnTo>
                      <a:pt x="31" y="64"/>
                    </a:lnTo>
                    <a:lnTo>
                      <a:pt x="0" y="41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1049547" name="íśliḋé"/>
              <p:cNvSpPr/>
              <p:nvPr/>
            </p:nvSpPr>
            <p:spPr bwMode="auto">
              <a:xfrm>
                <a:off x="2004909" y="5947365"/>
                <a:ext cx="96838" cy="101600"/>
              </a:xfrm>
              <a:custGeom>
                <a:avLst/>
                <a:gdLst>
                  <a:gd name="T0" fmla="*/ 0 w 61"/>
                  <a:gd name="T1" fmla="*/ 43 h 64"/>
                  <a:gd name="T2" fmla="*/ 27 w 61"/>
                  <a:gd name="T3" fmla="*/ 0 h 64"/>
                  <a:gd name="T4" fmla="*/ 35 w 61"/>
                  <a:gd name="T5" fmla="*/ 5 h 64"/>
                  <a:gd name="T6" fmla="*/ 36 w 61"/>
                  <a:gd name="T7" fmla="*/ 45 h 64"/>
                  <a:gd name="T8" fmla="*/ 53 w 61"/>
                  <a:gd name="T9" fmla="*/ 15 h 64"/>
                  <a:gd name="T10" fmla="*/ 61 w 61"/>
                  <a:gd name="T11" fmla="*/ 21 h 64"/>
                  <a:gd name="T12" fmla="*/ 35 w 61"/>
                  <a:gd name="T13" fmla="*/ 64 h 64"/>
                  <a:gd name="T14" fmla="*/ 27 w 61"/>
                  <a:gd name="T15" fmla="*/ 59 h 64"/>
                  <a:gd name="T16" fmla="*/ 25 w 61"/>
                  <a:gd name="T17" fmla="*/ 20 h 64"/>
                  <a:gd name="T18" fmla="*/ 8 w 61"/>
                  <a:gd name="T19" fmla="*/ 49 h 64"/>
                  <a:gd name="T20" fmla="*/ 0 w 61"/>
                  <a:gd name="T21" fmla="*/ 43 h 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61" h="64">
                    <a:moveTo>
                      <a:pt x="0" y="43"/>
                    </a:moveTo>
                    <a:lnTo>
                      <a:pt x="27" y="0"/>
                    </a:lnTo>
                    <a:lnTo>
                      <a:pt x="35" y="5"/>
                    </a:lnTo>
                    <a:lnTo>
                      <a:pt x="36" y="45"/>
                    </a:lnTo>
                    <a:lnTo>
                      <a:pt x="53" y="15"/>
                    </a:lnTo>
                    <a:lnTo>
                      <a:pt x="61" y="21"/>
                    </a:lnTo>
                    <a:lnTo>
                      <a:pt x="35" y="64"/>
                    </a:lnTo>
                    <a:lnTo>
                      <a:pt x="27" y="59"/>
                    </a:lnTo>
                    <a:lnTo>
                      <a:pt x="25" y="20"/>
                    </a:lnTo>
                    <a:lnTo>
                      <a:pt x="8" y="49"/>
                    </a:lnTo>
                    <a:lnTo>
                      <a:pt x="0" y="43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1049548" name="iSļiďê"/>
              <p:cNvSpPr/>
              <p:nvPr/>
            </p:nvSpPr>
            <p:spPr bwMode="auto">
              <a:xfrm>
                <a:off x="2087459" y="5993403"/>
                <a:ext cx="79375" cy="87313"/>
              </a:xfrm>
              <a:custGeom>
                <a:avLst/>
                <a:gdLst>
                  <a:gd name="T0" fmla="*/ 28 w 43"/>
                  <a:gd name="T1" fmla="*/ 33 h 47"/>
                  <a:gd name="T2" fmla="*/ 34 w 43"/>
                  <a:gd name="T3" fmla="*/ 39 h 47"/>
                  <a:gd name="T4" fmla="*/ 24 w 43"/>
                  <a:gd name="T5" fmla="*/ 46 h 47"/>
                  <a:gd name="T6" fmla="*/ 12 w 43"/>
                  <a:gd name="T7" fmla="*/ 44 h 47"/>
                  <a:gd name="T8" fmla="*/ 1 w 43"/>
                  <a:gd name="T9" fmla="*/ 33 h 47"/>
                  <a:gd name="T10" fmla="*/ 3 w 43"/>
                  <a:gd name="T11" fmla="*/ 15 h 47"/>
                  <a:gd name="T12" fmla="*/ 15 w 43"/>
                  <a:gd name="T13" fmla="*/ 2 h 47"/>
                  <a:gd name="T14" fmla="*/ 32 w 43"/>
                  <a:gd name="T15" fmla="*/ 3 h 47"/>
                  <a:gd name="T16" fmla="*/ 41 w 43"/>
                  <a:gd name="T17" fmla="*/ 13 h 47"/>
                  <a:gd name="T18" fmla="*/ 42 w 43"/>
                  <a:gd name="T19" fmla="*/ 22 h 47"/>
                  <a:gd name="T20" fmla="*/ 33 w 43"/>
                  <a:gd name="T21" fmla="*/ 20 h 47"/>
                  <a:gd name="T22" fmla="*/ 33 w 43"/>
                  <a:gd name="T23" fmla="*/ 14 h 47"/>
                  <a:gd name="T24" fmla="*/ 28 w 43"/>
                  <a:gd name="T25" fmla="*/ 10 h 47"/>
                  <a:gd name="T26" fmla="*/ 19 w 43"/>
                  <a:gd name="T27" fmla="*/ 10 h 47"/>
                  <a:gd name="T28" fmla="*/ 12 w 43"/>
                  <a:gd name="T29" fmla="*/ 19 h 47"/>
                  <a:gd name="T30" fmla="*/ 9 w 43"/>
                  <a:gd name="T31" fmla="*/ 31 h 47"/>
                  <a:gd name="T32" fmla="*/ 15 w 43"/>
                  <a:gd name="T33" fmla="*/ 37 h 47"/>
                  <a:gd name="T34" fmla="*/ 22 w 43"/>
                  <a:gd name="T35" fmla="*/ 38 h 47"/>
                  <a:gd name="T36" fmla="*/ 28 w 43"/>
                  <a:gd name="T37" fmla="*/ 33 h 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43" h="47">
                    <a:moveTo>
                      <a:pt x="28" y="33"/>
                    </a:moveTo>
                    <a:cubicBezTo>
                      <a:pt x="34" y="39"/>
                      <a:pt x="34" y="39"/>
                      <a:pt x="34" y="39"/>
                    </a:cubicBezTo>
                    <a:cubicBezTo>
                      <a:pt x="31" y="43"/>
                      <a:pt x="28" y="45"/>
                      <a:pt x="24" y="46"/>
                    </a:cubicBezTo>
                    <a:cubicBezTo>
                      <a:pt x="20" y="47"/>
                      <a:pt x="16" y="46"/>
                      <a:pt x="12" y="44"/>
                    </a:cubicBezTo>
                    <a:cubicBezTo>
                      <a:pt x="7" y="42"/>
                      <a:pt x="3" y="38"/>
                      <a:pt x="1" y="33"/>
                    </a:cubicBezTo>
                    <a:cubicBezTo>
                      <a:pt x="0" y="27"/>
                      <a:pt x="0" y="22"/>
                      <a:pt x="3" y="15"/>
                    </a:cubicBezTo>
                    <a:cubicBezTo>
                      <a:pt x="6" y="9"/>
                      <a:pt x="10" y="4"/>
                      <a:pt x="15" y="2"/>
                    </a:cubicBezTo>
                    <a:cubicBezTo>
                      <a:pt x="21" y="0"/>
                      <a:pt x="26" y="1"/>
                      <a:pt x="32" y="3"/>
                    </a:cubicBezTo>
                    <a:cubicBezTo>
                      <a:pt x="36" y="5"/>
                      <a:pt x="40" y="9"/>
                      <a:pt x="41" y="13"/>
                    </a:cubicBezTo>
                    <a:cubicBezTo>
                      <a:pt x="42" y="16"/>
                      <a:pt x="43" y="19"/>
                      <a:pt x="42" y="22"/>
                    </a:cubicBezTo>
                    <a:cubicBezTo>
                      <a:pt x="33" y="20"/>
                      <a:pt x="33" y="20"/>
                      <a:pt x="33" y="20"/>
                    </a:cubicBezTo>
                    <a:cubicBezTo>
                      <a:pt x="34" y="18"/>
                      <a:pt x="34" y="16"/>
                      <a:pt x="33" y="14"/>
                    </a:cubicBezTo>
                    <a:cubicBezTo>
                      <a:pt x="32" y="12"/>
                      <a:pt x="30" y="11"/>
                      <a:pt x="28" y="10"/>
                    </a:cubicBezTo>
                    <a:cubicBezTo>
                      <a:pt x="25" y="8"/>
                      <a:pt x="22" y="8"/>
                      <a:pt x="19" y="10"/>
                    </a:cubicBezTo>
                    <a:cubicBezTo>
                      <a:pt x="16" y="11"/>
                      <a:pt x="14" y="14"/>
                      <a:pt x="12" y="19"/>
                    </a:cubicBezTo>
                    <a:cubicBezTo>
                      <a:pt x="9" y="24"/>
                      <a:pt x="9" y="28"/>
                      <a:pt x="9" y="31"/>
                    </a:cubicBezTo>
                    <a:cubicBezTo>
                      <a:pt x="10" y="34"/>
                      <a:pt x="12" y="36"/>
                      <a:pt x="15" y="37"/>
                    </a:cubicBezTo>
                    <a:cubicBezTo>
                      <a:pt x="17" y="38"/>
                      <a:pt x="19" y="38"/>
                      <a:pt x="22" y="38"/>
                    </a:cubicBezTo>
                    <a:cubicBezTo>
                      <a:pt x="24" y="37"/>
                      <a:pt x="26" y="35"/>
                      <a:pt x="28" y="33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1049549" name="íSliḋé"/>
              <p:cNvSpPr/>
              <p:nvPr/>
            </p:nvSpPr>
            <p:spPr bwMode="auto">
              <a:xfrm>
                <a:off x="2157309" y="6017215"/>
                <a:ext cx="82550" cy="96838"/>
              </a:xfrm>
              <a:custGeom>
                <a:avLst/>
                <a:gdLst>
                  <a:gd name="T0" fmla="*/ 0 w 52"/>
                  <a:gd name="T1" fmla="*/ 49 h 61"/>
                  <a:gd name="T2" fmla="*/ 16 w 52"/>
                  <a:gd name="T3" fmla="*/ 0 h 61"/>
                  <a:gd name="T4" fmla="*/ 52 w 52"/>
                  <a:gd name="T5" fmla="*/ 13 h 61"/>
                  <a:gd name="T6" fmla="*/ 50 w 52"/>
                  <a:gd name="T7" fmla="*/ 21 h 61"/>
                  <a:gd name="T8" fmla="*/ 23 w 52"/>
                  <a:gd name="T9" fmla="*/ 12 h 61"/>
                  <a:gd name="T10" fmla="*/ 20 w 52"/>
                  <a:gd name="T11" fmla="*/ 22 h 61"/>
                  <a:gd name="T12" fmla="*/ 44 w 52"/>
                  <a:gd name="T13" fmla="*/ 30 h 61"/>
                  <a:gd name="T14" fmla="*/ 41 w 52"/>
                  <a:gd name="T15" fmla="*/ 38 h 61"/>
                  <a:gd name="T16" fmla="*/ 18 w 52"/>
                  <a:gd name="T17" fmla="*/ 30 h 61"/>
                  <a:gd name="T18" fmla="*/ 13 w 52"/>
                  <a:gd name="T19" fmla="*/ 43 h 61"/>
                  <a:gd name="T20" fmla="*/ 40 w 52"/>
                  <a:gd name="T21" fmla="*/ 52 h 61"/>
                  <a:gd name="T22" fmla="*/ 36 w 52"/>
                  <a:gd name="T23" fmla="*/ 61 h 61"/>
                  <a:gd name="T24" fmla="*/ 0 w 52"/>
                  <a:gd name="T25" fmla="*/ 49 h 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52" h="61">
                    <a:moveTo>
                      <a:pt x="0" y="49"/>
                    </a:moveTo>
                    <a:lnTo>
                      <a:pt x="16" y="0"/>
                    </a:lnTo>
                    <a:lnTo>
                      <a:pt x="52" y="13"/>
                    </a:lnTo>
                    <a:lnTo>
                      <a:pt x="50" y="21"/>
                    </a:lnTo>
                    <a:lnTo>
                      <a:pt x="23" y="12"/>
                    </a:lnTo>
                    <a:lnTo>
                      <a:pt x="20" y="22"/>
                    </a:lnTo>
                    <a:lnTo>
                      <a:pt x="44" y="30"/>
                    </a:lnTo>
                    <a:lnTo>
                      <a:pt x="41" y="38"/>
                    </a:lnTo>
                    <a:lnTo>
                      <a:pt x="18" y="30"/>
                    </a:lnTo>
                    <a:lnTo>
                      <a:pt x="13" y="43"/>
                    </a:lnTo>
                    <a:lnTo>
                      <a:pt x="40" y="52"/>
                    </a:lnTo>
                    <a:lnTo>
                      <a:pt x="36" y="61"/>
                    </a:lnTo>
                    <a:lnTo>
                      <a:pt x="0" y="49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1049550" name="îŝ1îḑè"/>
              <p:cNvSpPr/>
              <p:nvPr/>
            </p:nvSpPr>
            <p:spPr bwMode="auto">
              <a:xfrm>
                <a:off x="2663722" y="6026740"/>
                <a:ext cx="77788" cy="92075"/>
              </a:xfrm>
              <a:custGeom>
                <a:avLst/>
                <a:gdLst>
                  <a:gd name="T0" fmla="*/ 49 w 49"/>
                  <a:gd name="T1" fmla="*/ 42 h 58"/>
                  <a:gd name="T2" fmla="*/ 39 w 49"/>
                  <a:gd name="T3" fmla="*/ 45 h 58"/>
                  <a:gd name="T4" fmla="*/ 31 w 49"/>
                  <a:gd name="T5" fmla="*/ 36 h 58"/>
                  <a:gd name="T6" fmla="*/ 11 w 49"/>
                  <a:gd name="T7" fmla="*/ 43 h 58"/>
                  <a:gd name="T8" fmla="*/ 11 w 49"/>
                  <a:gd name="T9" fmla="*/ 55 h 58"/>
                  <a:gd name="T10" fmla="*/ 0 w 49"/>
                  <a:gd name="T11" fmla="*/ 58 h 58"/>
                  <a:gd name="T12" fmla="*/ 3 w 49"/>
                  <a:gd name="T13" fmla="*/ 3 h 58"/>
                  <a:gd name="T14" fmla="*/ 13 w 49"/>
                  <a:gd name="T15" fmla="*/ 0 h 58"/>
                  <a:gd name="T16" fmla="*/ 49 w 49"/>
                  <a:gd name="T17" fmla="*/ 42 h 58"/>
                  <a:gd name="T18" fmla="*/ 25 w 49"/>
                  <a:gd name="T19" fmla="*/ 29 h 58"/>
                  <a:gd name="T20" fmla="*/ 12 w 49"/>
                  <a:gd name="T21" fmla="*/ 14 h 58"/>
                  <a:gd name="T22" fmla="*/ 11 w 49"/>
                  <a:gd name="T23" fmla="*/ 34 h 58"/>
                  <a:gd name="T24" fmla="*/ 25 w 49"/>
                  <a:gd name="T25" fmla="*/ 29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49" h="58">
                    <a:moveTo>
                      <a:pt x="49" y="42"/>
                    </a:moveTo>
                    <a:lnTo>
                      <a:pt x="39" y="45"/>
                    </a:lnTo>
                    <a:lnTo>
                      <a:pt x="31" y="36"/>
                    </a:lnTo>
                    <a:lnTo>
                      <a:pt x="11" y="43"/>
                    </a:lnTo>
                    <a:lnTo>
                      <a:pt x="11" y="55"/>
                    </a:lnTo>
                    <a:lnTo>
                      <a:pt x="0" y="58"/>
                    </a:lnTo>
                    <a:lnTo>
                      <a:pt x="3" y="3"/>
                    </a:lnTo>
                    <a:lnTo>
                      <a:pt x="13" y="0"/>
                    </a:lnTo>
                    <a:lnTo>
                      <a:pt x="49" y="42"/>
                    </a:lnTo>
                    <a:close/>
                    <a:moveTo>
                      <a:pt x="25" y="29"/>
                    </a:moveTo>
                    <a:lnTo>
                      <a:pt x="12" y="14"/>
                    </a:lnTo>
                    <a:lnTo>
                      <a:pt x="11" y="34"/>
                    </a:lnTo>
                    <a:lnTo>
                      <a:pt x="25" y="29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1049551" name="íṩḻiḋê"/>
              <p:cNvSpPr/>
              <p:nvPr/>
            </p:nvSpPr>
            <p:spPr bwMode="auto">
              <a:xfrm>
                <a:off x="2714522" y="5990228"/>
                <a:ext cx="92075" cy="101600"/>
              </a:xfrm>
              <a:custGeom>
                <a:avLst/>
                <a:gdLst>
                  <a:gd name="T0" fmla="*/ 21 w 58"/>
                  <a:gd name="T1" fmla="*/ 64 h 64"/>
                  <a:gd name="T2" fmla="*/ 0 w 58"/>
                  <a:gd name="T3" fmla="*/ 17 h 64"/>
                  <a:gd name="T4" fmla="*/ 9 w 58"/>
                  <a:gd name="T5" fmla="*/ 12 h 64"/>
                  <a:gd name="T6" fmla="*/ 43 w 58"/>
                  <a:gd name="T7" fmla="*/ 36 h 64"/>
                  <a:gd name="T8" fmla="*/ 29 w 58"/>
                  <a:gd name="T9" fmla="*/ 4 h 64"/>
                  <a:gd name="T10" fmla="*/ 37 w 58"/>
                  <a:gd name="T11" fmla="*/ 0 h 64"/>
                  <a:gd name="T12" fmla="*/ 58 w 58"/>
                  <a:gd name="T13" fmla="*/ 46 h 64"/>
                  <a:gd name="T14" fmla="*/ 49 w 58"/>
                  <a:gd name="T15" fmla="*/ 51 h 64"/>
                  <a:gd name="T16" fmla="*/ 16 w 58"/>
                  <a:gd name="T17" fmla="*/ 29 h 64"/>
                  <a:gd name="T18" fmla="*/ 30 w 58"/>
                  <a:gd name="T19" fmla="*/ 59 h 64"/>
                  <a:gd name="T20" fmla="*/ 21 w 58"/>
                  <a:gd name="T21" fmla="*/ 64 h 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58" h="64">
                    <a:moveTo>
                      <a:pt x="21" y="64"/>
                    </a:moveTo>
                    <a:lnTo>
                      <a:pt x="0" y="17"/>
                    </a:lnTo>
                    <a:lnTo>
                      <a:pt x="9" y="12"/>
                    </a:lnTo>
                    <a:lnTo>
                      <a:pt x="43" y="36"/>
                    </a:lnTo>
                    <a:lnTo>
                      <a:pt x="29" y="4"/>
                    </a:lnTo>
                    <a:lnTo>
                      <a:pt x="37" y="0"/>
                    </a:lnTo>
                    <a:lnTo>
                      <a:pt x="58" y="46"/>
                    </a:lnTo>
                    <a:lnTo>
                      <a:pt x="49" y="51"/>
                    </a:lnTo>
                    <a:lnTo>
                      <a:pt x="16" y="29"/>
                    </a:lnTo>
                    <a:lnTo>
                      <a:pt x="30" y="59"/>
                    </a:lnTo>
                    <a:lnTo>
                      <a:pt x="21" y="64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1049552" name="îṧľíḍe"/>
              <p:cNvSpPr/>
              <p:nvPr/>
            </p:nvSpPr>
            <p:spPr bwMode="auto">
              <a:xfrm>
                <a:off x="2781197" y="5963240"/>
                <a:ext cx="85725" cy="95250"/>
              </a:xfrm>
              <a:custGeom>
                <a:avLst/>
                <a:gdLst>
                  <a:gd name="T0" fmla="*/ 0 w 47"/>
                  <a:gd name="T1" fmla="*/ 13 h 51"/>
                  <a:gd name="T2" fmla="*/ 14 w 47"/>
                  <a:gd name="T3" fmla="*/ 4 h 51"/>
                  <a:gd name="T4" fmla="*/ 22 w 47"/>
                  <a:gd name="T5" fmla="*/ 1 h 51"/>
                  <a:gd name="T6" fmla="*/ 29 w 47"/>
                  <a:gd name="T7" fmla="*/ 1 h 51"/>
                  <a:gd name="T8" fmla="*/ 37 w 47"/>
                  <a:gd name="T9" fmla="*/ 5 h 51"/>
                  <a:gd name="T10" fmla="*/ 43 w 47"/>
                  <a:gd name="T11" fmla="*/ 14 h 51"/>
                  <a:gd name="T12" fmla="*/ 47 w 47"/>
                  <a:gd name="T13" fmla="*/ 22 h 51"/>
                  <a:gd name="T14" fmla="*/ 46 w 47"/>
                  <a:gd name="T15" fmla="*/ 31 h 51"/>
                  <a:gd name="T16" fmla="*/ 43 w 47"/>
                  <a:gd name="T17" fmla="*/ 38 h 51"/>
                  <a:gd name="T18" fmla="*/ 36 w 47"/>
                  <a:gd name="T19" fmla="*/ 42 h 51"/>
                  <a:gd name="T20" fmla="*/ 22 w 47"/>
                  <a:gd name="T21" fmla="*/ 51 h 51"/>
                  <a:gd name="T22" fmla="*/ 0 w 47"/>
                  <a:gd name="T23" fmla="*/ 13 h 51"/>
                  <a:gd name="T24" fmla="*/ 11 w 47"/>
                  <a:gd name="T25" fmla="*/ 15 h 51"/>
                  <a:gd name="T26" fmla="*/ 26 w 47"/>
                  <a:gd name="T27" fmla="*/ 40 h 51"/>
                  <a:gd name="T28" fmla="*/ 32 w 47"/>
                  <a:gd name="T29" fmla="*/ 37 h 51"/>
                  <a:gd name="T30" fmla="*/ 36 w 47"/>
                  <a:gd name="T31" fmla="*/ 33 h 51"/>
                  <a:gd name="T32" fmla="*/ 38 w 47"/>
                  <a:gd name="T33" fmla="*/ 30 h 51"/>
                  <a:gd name="T34" fmla="*/ 38 w 47"/>
                  <a:gd name="T35" fmla="*/ 25 h 51"/>
                  <a:gd name="T36" fmla="*/ 35 w 47"/>
                  <a:gd name="T37" fmla="*/ 18 h 51"/>
                  <a:gd name="T38" fmla="*/ 30 w 47"/>
                  <a:gd name="T39" fmla="*/ 11 h 51"/>
                  <a:gd name="T40" fmla="*/ 26 w 47"/>
                  <a:gd name="T41" fmla="*/ 9 h 51"/>
                  <a:gd name="T42" fmla="*/ 21 w 47"/>
                  <a:gd name="T43" fmla="*/ 9 h 51"/>
                  <a:gd name="T44" fmla="*/ 15 w 47"/>
                  <a:gd name="T45" fmla="*/ 13 h 51"/>
                  <a:gd name="T46" fmla="*/ 11 w 47"/>
                  <a:gd name="T47" fmla="*/ 15 h 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47" h="51">
                    <a:moveTo>
                      <a:pt x="0" y="13"/>
                    </a:moveTo>
                    <a:cubicBezTo>
                      <a:pt x="14" y="4"/>
                      <a:pt x="14" y="4"/>
                      <a:pt x="14" y="4"/>
                    </a:cubicBezTo>
                    <a:cubicBezTo>
                      <a:pt x="17" y="3"/>
                      <a:pt x="20" y="1"/>
                      <a:pt x="22" y="1"/>
                    </a:cubicBezTo>
                    <a:cubicBezTo>
                      <a:pt x="24" y="0"/>
                      <a:pt x="27" y="0"/>
                      <a:pt x="29" y="1"/>
                    </a:cubicBezTo>
                    <a:cubicBezTo>
                      <a:pt x="32" y="2"/>
                      <a:pt x="34" y="3"/>
                      <a:pt x="37" y="5"/>
                    </a:cubicBezTo>
                    <a:cubicBezTo>
                      <a:pt x="39" y="7"/>
                      <a:pt x="41" y="10"/>
                      <a:pt x="43" y="14"/>
                    </a:cubicBezTo>
                    <a:cubicBezTo>
                      <a:pt x="45" y="17"/>
                      <a:pt x="46" y="20"/>
                      <a:pt x="47" y="22"/>
                    </a:cubicBezTo>
                    <a:cubicBezTo>
                      <a:pt x="47" y="26"/>
                      <a:pt x="47" y="29"/>
                      <a:pt x="46" y="31"/>
                    </a:cubicBezTo>
                    <a:cubicBezTo>
                      <a:pt x="46" y="34"/>
                      <a:pt x="45" y="36"/>
                      <a:pt x="43" y="38"/>
                    </a:cubicBezTo>
                    <a:cubicBezTo>
                      <a:pt x="41" y="39"/>
                      <a:pt x="39" y="41"/>
                      <a:pt x="36" y="42"/>
                    </a:cubicBezTo>
                    <a:cubicBezTo>
                      <a:pt x="22" y="51"/>
                      <a:pt x="22" y="51"/>
                      <a:pt x="22" y="51"/>
                    </a:cubicBezTo>
                    <a:lnTo>
                      <a:pt x="0" y="13"/>
                    </a:lnTo>
                    <a:close/>
                    <a:moveTo>
                      <a:pt x="11" y="15"/>
                    </a:moveTo>
                    <a:cubicBezTo>
                      <a:pt x="26" y="40"/>
                      <a:pt x="26" y="40"/>
                      <a:pt x="26" y="40"/>
                    </a:cubicBezTo>
                    <a:cubicBezTo>
                      <a:pt x="32" y="37"/>
                      <a:pt x="32" y="37"/>
                      <a:pt x="32" y="37"/>
                    </a:cubicBezTo>
                    <a:cubicBezTo>
                      <a:pt x="34" y="35"/>
                      <a:pt x="35" y="34"/>
                      <a:pt x="36" y="33"/>
                    </a:cubicBezTo>
                    <a:cubicBezTo>
                      <a:pt x="37" y="32"/>
                      <a:pt x="38" y="31"/>
                      <a:pt x="38" y="30"/>
                    </a:cubicBezTo>
                    <a:cubicBezTo>
                      <a:pt x="39" y="29"/>
                      <a:pt x="39" y="27"/>
                      <a:pt x="38" y="25"/>
                    </a:cubicBezTo>
                    <a:cubicBezTo>
                      <a:pt x="38" y="23"/>
                      <a:pt x="37" y="21"/>
                      <a:pt x="35" y="18"/>
                    </a:cubicBezTo>
                    <a:cubicBezTo>
                      <a:pt x="33" y="15"/>
                      <a:pt x="32" y="13"/>
                      <a:pt x="30" y="11"/>
                    </a:cubicBezTo>
                    <a:cubicBezTo>
                      <a:pt x="29" y="10"/>
                      <a:pt x="27" y="9"/>
                      <a:pt x="26" y="9"/>
                    </a:cubicBezTo>
                    <a:cubicBezTo>
                      <a:pt x="25" y="9"/>
                      <a:pt x="23" y="9"/>
                      <a:pt x="21" y="9"/>
                    </a:cubicBezTo>
                    <a:cubicBezTo>
                      <a:pt x="20" y="10"/>
                      <a:pt x="18" y="11"/>
                      <a:pt x="15" y="13"/>
                    </a:cubicBezTo>
                    <a:lnTo>
                      <a:pt x="11" y="15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1049553" name="ïṩḻiḍe"/>
              <p:cNvSpPr/>
              <p:nvPr/>
            </p:nvSpPr>
            <p:spPr bwMode="auto">
              <a:xfrm>
                <a:off x="2876447" y="5888628"/>
                <a:ext cx="80963" cy="88900"/>
              </a:xfrm>
              <a:custGeom>
                <a:avLst/>
                <a:gdLst>
                  <a:gd name="T0" fmla="*/ 43 w 51"/>
                  <a:gd name="T1" fmla="*/ 56 h 56"/>
                  <a:gd name="T2" fmla="*/ 16 w 51"/>
                  <a:gd name="T3" fmla="*/ 22 h 56"/>
                  <a:gd name="T4" fmla="*/ 5 w 51"/>
                  <a:gd name="T5" fmla="*/ 31 h 56"/>
                  <a:gd name="T6" fmla="*/ 0 w 51"/>
                  <a:gd name="T7" fmla="*/ 25 h 56"/>
                  <a:gd name="T8" fmla="*/ 31 w 51"/>
                  <a:gd name="T9" fmla="*/ 0 h 56"/>
                  <a:gd name="T10" fmla="*/ 37 w 51"/>
                  <a:gd name="T11" fmla="*/ 7 h 56"/>
                  <a:gd name="T12" fmla="*/ 24 w 51"/>
                  <a:gd name="T13" fmla="*/ 16 h 56"/>
                  <a:gd name="T14" fmla="*/ 51 w 51"/>
                  <a:gd name="T15" fmla="*/ 49 h 56"/>
                  <a:gd name="T16" fmla="*/ 43 w 51"/>
                  <a:gd name="T17" fmla="*/ 56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1" h="56">
                    <a:moveTo>
                      <a:pt x="43" y="56"/>
                    </a:moveTo>
                    <a:lnTo>
                      <a:pt x="16" y="22"/>
                    </a:lnTo>
                    <a:lnTo>
                      <a:pt x="5" y="31"/>
                    </a:lnTo>
                    <a:lnTo>
                      <a:pt x="0" y="25"/>
                    </a:lnTo>
                    <a:lnTo>
                      <a:pt x="31" y="0"/>
                    </a:lnTo>
                    <a:lnTo>
                      <a:pt x="37" y="7"/>
                    </a:lnTo>
                    <a:lnTo>
                      <a:pt x="24" y="16"/>
                    </a:lnTo>
                    <a:lnTo>
                      <a:pt x="51" y="49"/>
                    </a:lnTo>
                    <a:lnTo>
                      <a:pt x="43" y="56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1049554" name="íśļïḓè"/>
              <p:cNvSpPr/>
              <p:nvPr/>
            </p:nvSpPr>
            <p:spPr bwMode="auto">
              <a:xfrm>
                <a:off x="2925659" y="5845765"/>
                <a:ext cx="101600" cy="100013"/>
              </a:xfrm>
              <a:custGeom>
                <a:avLst/>
                <a:gdLst>
                  <a:gd name="T0" fmla="*/ 36 w 64"/>
                  <a:gd name="T1" fmla="*/ 63 h 63"/>
                  <a:gd name="T2" fmla="*/ 0 w 64"/>
                  <a:gd name="T3" fmla="*/ 26 h 63"/>
                  <a:gd name="T4" fmla="*/ 28 w 64"/>
                  <a:gd name="T5" fmla="*/ 0 h 63"/>
                  <a:gd name="T6" fmla="*/ 34 w 64"/>
                  <a:gd name="T7" fmla="*/ 6 h 63"/>
                  <a:gd name="T8" fmla="*/ 14 w 64"/>
                  <a:gd name="T9" fmla="*/ 26 h 63"/>
                  <a:gd name="T10" fmla="*/ 22 w 64"/>
                  <a:gd name="T11" fmla="*/ 34 h 63"/>
                  <a:gd name="T12" fmla="*/ 41 w 64"/>
                  <a:gd name="T13" fmla="*/ 16 h 63"/>
                  <a:gd name="T14" fmla="*/ 47 w 64"/>
                  <a:gd name="T15" fmla="*/ 22 h 63"/>
                  <a:gd name="T16" fmla="*/ 28 w 64"/>
                  <a:gd name="T17" fmla="*/ 39 h 63"/>
                  <a:gd name="T18" fmla="*/ 38 w 64"/>
                  <a:gd name="T19" fmla="*/ 50 h 63"/>
                  <a:gd name="T20" fmla="*/ 58 w 64"/>
                  <a:gd name="T21" fmla="*/ 30 h 63"/>
                  <a:gd name="T22" fmla="*/ 64 w 64"/>
                  <a:gd name="T23" fmla="*/ 36 h 63"/>
                  <a:gd name="T24" fmla="*/ 36 w 64"/>
                  <a:gd name="T25" fmla="*/ 63 h 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4" h="63">
                    <a:moveTo>
                      <a:pt x="36" y="63"/>
                    </a:moveTo>
                    <a:lnTo>
                      <a:pt x="0" y="26"/>
                    </a:lnTo>
                    <a:lnTo>
                      <a:pt x="28" y="0"/>
                    </a:lnTo>
                    <a:lnTo>
                      <a:pt x="34" y="6"/>
                    </a:lnTo>
                    <a:lnTo>
                      <a:pt x="14" y="26"/>
                    </a:lnTo>
                    <a:lnTo>
                      <a:pt x="22" y="34"/>
                    </a:lnTo>
                    <a:lnTo>
                      <a:pt x="41" y="16"/>
                    </a:lnTo>
                    <a:lnTo>
                      <a:pt x="47" y="22"/>
                    </a:lnTo>
                    <a:lnTo>
                      <a:pt x="28" y="39"/>
                    </a:lnTo>
                    <a:lnTo>
                      <a:pt x="38" y="50"/>
                    </a:lnTo>
                    <a:lnTo>
                      <a:pt x="58" y="30"/>
                    </a:lnTo>
                    <a:lnTo>
                      <a:pt x="64" y="36"/>
                    </a:lnTo>
                    <a:lnTo>
                      <a:pt x="36" y="63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1049555" name="íṩḻîde"/>
              <p:cNvSpPr/>
              <p:nvPr/>
            </p:nvSpPr>
            <p:spPr bwMode="auto">
              <a:xfrm>
                <a:off x="2985984" y="5801315"/>
                <a:ext cx="82550" cy="80963"/>
              </a:xfrm>
              <a:custGeom>
                <a:avLst/>
                <a:gdLst>
                  <a:gd name="T0" fmla="*/ 34 w 45"/>
                  <a:gd name="T1" fmla="*/ 19 h 44"/>
                  <a:gd name="T2" fmla="*/ 41 w 45"/>
                  <a:gd name="T3" fmla="*/ 14 h 44"/>
                  <a:gd name="T4" fmla="*/ 45 w 45"/>
                  <a:gd name="T5" fmla="*/ 26 h 44"/>
                  <a:gd name="T6" fmla="*/ 40 w 45"/>
                  <a:gd name="T7" fmla="*/ 37 h 44"/>
                  <a:gd name="T8" fmla="*/ 26 w 45"/>
                  <a:gd name="T9" fmla="*/ 44 h 44"/>
                  <a:gd name="T10" fmla="*/ 10 w 45"/>
                  <a:gd name="T11" fmla="*/ 38 h 44"/>
                  <a:gd name="T12" fmla="*/ 1 w 45"/>
                  <a:gd name="T13" fmla="*/ 22 h 44"/>
                  <a:gd name="T14" fmla="*/ 6 w 45"/>
                  <a:gd name="T15" fmla="*/ 7 h 44"/>
                  <a:gd name="T16" fmla="*/ 18 w 45"/>
                  <a:gd name="T17" fmla="*/ 0 h 44"/>
                  <a:gd name="T18" fmla="*/ 27 w 45"/>
                  <a:gd name="T19" fmla="*/ 2 h 44"/>
                  <a:gd name="T20" fmla="*/ 23 w 45"/>
                  <a:gd name="T21" fmla="*/ 10 h 44"/>
                  <a:gd name="T22" fmla="*/ 17 w 45"/>
                  <a:gd name="T23" fmla="*/ 9 h 44"/>
                  <a:gd name="T24" fmla="*/ 11 w 45"/>
                  <a:gd name="T25" fmla="*/ 12 h 44"/>
                  <a:gd name="T26" fmla="*/ 9 w 45"/>
                  <a:gd name="T27" fmla="*/ 21 h 44"/>
                  <a:gd name="T28" fmla="*/ 15 w 45"/>
                  <a:gd name="T29" fmla="*/ 30 h 44"/>
                  <a:gd name="T30" fmla="*/ 26 w 45"/>
                  <a:gd name="T31" fmla="*/ 36 h 44"/>
                  <a:gd name="T32" fmla="*/ 34 w 45"/>
                  <a:gd name="T33" fmla="*/ 32 h 44"/>
                  <a:gd name="T34" fmla="*/ 36 w 45"/>
                  <a:gd name="T35" fmla="*/ 26 h 44"/>
                  <a:gd name="T36" fmla="*/ 34 w 45"/>
                  <a:gd name="T37" fmla="*/ 19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45" h="44">
                    <a:moveTo>
                      <a:pt x="34" y="19"/>
                    </a:moveTo>
                    <a:cubicBezTo>
                      <a:pt x="41" y="14"/>
                      <a:pt x="41" y="14"/>
                      <a:pt x="41" y="14"/>
                    </a:cubicBezTo>
                    <a:cubicBezTo>
                      <a:pt x="44" y="18"/>
                      <a:pt x="45" y="22"/>
                      <a:pt x="45" y="26"/>
                    </a:cubicBezTo>
                    <a:cubicBezTo>
                      <a:pt x="45" y="30"/>
                      <a:pt x="43" y="34"/>
                      <a:pt x="40" y="37"/>
                    </a:cubicBezTo>
                    <a:cubicBezTo>
                      <a:pt x="36" y="42"/>
                      <a:pt x="31" y="44"/>
                      <a:pt x="26" y="44"/>
                    </a:cubicBezTo>
                    <a:cubicBezTo>
                      <a:pt x="21" y="44"/>
                      <a:pt x="15" y="42"/>
                      <a:pt x="10" y="38"/>
                    </a:cubicBezTo>
                    <a:cubicBezTo>
                      <a:pt x="4" y="33"/>
                      <a:pt x="1" y="28"/>
                      <a:pt x="1" y="22"/>
                    </a:cubicBezTo>
                    <a:cubicBezTo>
                      <a:pt x="0" y="17"/>
                      <a:pt x="2" y="12"/>
                      <a:pt x="6" y="7"/>
                    </a:cubicBezTo>
                    <a:cubicBezTo>
                      <a:pt x="10" y="3"/>
                      <a:pt x="14" y="1"/>
                      <a:pt x="18" y="0"/>
                    </a:cubicBezTo>
                    <a:cubicBezTo>
                      <a:pt x="21" y="0"/>
                      <a:pt x="24" y="1"/>
                      <a:pt x="27" y="2"/>
                    </a:cubicBezTo>
                    <a:cubicBezTo>
                      <a:pt x="23" y="10"/>
                      <a:pt x="23" y="10"/>
                      <a:pt x="23" y="10"/>
                    </a:cubicBezTo>
                    <a:cubicBezTo>
                      <a:pt x="21" y="9"/>
                      <a:pt x="19" y="9"/>
                      <a:pt x="17" y="9"/>
                    </a:cubicBezTo>
                    <a:cubicBezTo>
                      <a:pt x="15" y="9"/>
                      <a:pt x="13" y="11"/>
                      <a:pt x="11" y="12"/>
                    </a:cubicBezTo>
                    <a:cubicBezTo>
                      <a:pt x="9" y="15"/>
                      <a:pt x="8" y="18"/>
                      <a:pt x="9" y="21"/>
                    </a:cubicBezTo>
                    <a:cubicBezTo>
                      <a:pt x="9" y="24"/>
                      <a:pt x="12" y="27"/>
                      <a:pt x="15" y="30"/>
                    </a:cubicBezTo>
                    <a:cubicBezTo>
                      <a:pt x="20" y="34"/>
                      <a:pt x="23" y="36"/>
                      <a:pt x="26" y="36"/>
                    </a:cubicBezTo>
                    <a:cubicBezTo>
                      <a:pt x="29" y="36"/>
                      <a:pt x="32" y="35"/>
                      <a:pt x="34" y="32"/>
                    </a:cubicBezTo>
                    <a:cubicBezTo>
                      <a:pt x="36" y="31"/>
                      <a:pt x="36" y="29"/>
                      <a:pt x="36" y="26"/>
                    </a:cubicBezTo>
                    <a:cubicBezTo>
                      <a:pt x="36" y="24"/>
                      <a:pt x="35" y="22"/>
                      <a:pt x="34" y="1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1049556" name="îŝḷïḓê"/>
              <p:cNvSpPr/>
              <p:nvPr/>
            </p:nvSpPr>
            <p:spPr bwMode="auto">
              <a:xfrm>
                <a:off x="3022497" y="5733053"/>
                <a:ext cx="103188" cy="101600"/>
              </a:xfrm>
              <a:custGeom>
                <a:avLst/>
                <a:gdLst>
                  <a:gd name="T0" fmla="*/ 42 w 65"/>
                  <a:gd name="T1" fmla="*/ 64 h 64"/>
                  <a:gd name="T2" fmla="*/ 0 w 65"/>
                  <a:gd name="T3" fmla="*/ 34 h 64"/>
                  <a:gd name="T4" fmla="*/ 6 w 65"/>
                  <a:gd name="T5" fmla="*/ 26 h 64"/>
                  <a:gd name="T6" fmla="*/ 22 w 65"/>
                  <a:gd name="T7" fmla="*/ 37 h 64"/>
                  <a:gd name="T8" fmla="*/ 33 w 65"/>
                  <a:gd name="T9" fmla="*/ 21 h 64"/>
                  <a:gd name="T10" fmla="*/ 17 w 65"/>
                  <a:gd name="T11" fmla="*/ 9 h 64"/>
                  <a:gd name="T12" fmla="*/ 23 w 65"/>
                  <a:gd name="T13" fmla="*/ 0 h 64"/>
                  <a:gd name="T14" fmla="*/ 65 w 65"/>
                  <a:gd name="T15" fmla="*/ 30 h 64"/>
                  <a:gd name="T16" fmla="*/ 59 w 65"/>
                  <a:gd name="T17" fmla="*/ 38 h 64"/>
                  <a:gd name="T18" fmla="*/ 40 w 65"/>
                  <a:gd name="T19" fmla="*/ 26 h 64"/>
                  <a:gd name="T20" fmla="*/ 29 w 65"/>
                  <a:gd name="T21" fmla="*/ 42 h 64"/>
                  <a:gd name="T22" fmla="*/ 47 w 65"/>
                  <a:gd name="T23" fmla="*/ 55 h 64"/>
                  <a:gd name="T24" fmla="*/ 42 w 65"/>
                  <a:gd name="T25" fmla="*/ 64 h 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5" h="64">
                    <a:moveTo>
                      <a:pt x="42" y="64"/>
                    </a:moveTo>
                    <a:lnTo>
                      <a:pt x="0" y="34"/>
                    </a:lnTo>
                    <a:lnTo>
                      <a:pt x="6" y="26"/>
                    </a:lnTo>
                    <a:lnTo>
                      <a:pt x="22" y="37"/>
                    </a:lnTo>
                    <a:lnTo>
                      <a:pt x="33" y="21"/>
                    </a:lnTo>
                    <a:lnTo>
                      <a:pt x="17" y="9"/>
                    </a:lnTo>
                    <a:lnTo>
                      <a:pt x="23" y="0"/>
                    </a:lnTo>
                    <a:lnTo>
                      <a:pt x="65" y="30"/>
                    </a:lnTo>
                    <a:lnTo>
                      <a:pt x="59" y="38"/>
                    </a:lnTo>
                    <a:lnTo>
                      <a:pt x="40" y="26"/>
                    </a:lnTo>
                    <a:lnTo>
                      <a:pt x="29" y="42"/>
                    </a:lnTo>
                    <a:lnTo>
                      <a:pt x="47" y="55"/>
                    </a:lnTo>
                    <a:lnTo>
                      <a:pt x="42" y="64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1049557" name="îşḷîḑe"/>
              <p:cNvSpPr/>
              <p:nvPr/>
            </p:nvSpPr>
            <p:spPr bwMode="auto">
              <a:xfrm>
                <a:off x="3062184" y="5672728"/>
                <a:ext cx="103188" cy="95250"/>
              </a:xfrm>
              <a:custGeom>
                <a:avLst/>
                <a:gdLst>
                  <a:gd name="T0" fmla="*/ 44 w 65"/>
                  <a:gd name="T1" fmla="*/ 60 h 60"/>
                  <a:gd name="T2" fmla="*/ 0 w 65"/>
                  <a:gd name="T3" fmla="*/ 34 h 60"/>
                  <a:gd name="T4" fmla="*/ 5 w 65"/>
                  <a:gd name="T5" fmla="*/ 26 h 60"/>
                  <a:gd name="T6" fmla="*/ 46 w 65"/>
                  <a:gd name="T7" fmla="*/ 24 h 60"/>
                  <a:gd name="T8" fmla="*/ 15 w 65"/>
                  <a:gd name="T9" fmla="*/ 8 h 60"/>
                  <a:gd name="T10" fmla="*/ 20 w 65"/>
                  <a:gd name="T11" fmla="*/ 0 h 60"/>
                  <a:gd name="T12" fmla="*/ 65 w 65"/>
                  <a:gd name="T13" fmla="*/ 24 h 60"/>
                  <a:gd name="T14" fmla="*/ 59 w 65"/>
                  <a:gd name="T15" fmla="*/ 33 h 60"/>
                  <a:gd name="T16" fmla="*/ 20 w 65"/>
                  <a:gd name="T17" fmla="*/ 34 h 60"/>
                  <a:gd name="T18" fmla="*/ 49 w 65"/>
                  <a:gd name="T19" fmla="*/ 52 h 60"/>
                  <a:gd name="T20" fmla="*/ 44 w 65"/>
                  <a:gd name="T21" fmla="*/ 60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65" h="60">
                    <a:moveTo>
                      <a:pt x="44" y="60"/>
                    </a:moveTo>
                    <a:lnTo>
                      <a:pt x="0" y="34"/>
                    </a:lnTo>
                    <a:lnTo>
                      <a:pt x="5" y="26"/>
                    </a:lnTo>
                    <a:lnTo>
                      <a:pt x="46" y="24"/>
                    </a:lnTo>
                    <a:lnTo>
                      <a:pt x="15" y="8"/>
                    </a:lnTo>
                    <a:lnTo>
                      <a:pt x="20" y="0"/>
                    </a:lnTo>
                    <a:lnTo>
                      <a:pt x="65" y="24"/>
                    </a:lnTo>
                    <a:lnTo>
                      <a:pt x="59" y="33"/>
                    </a:lnTo>
                    <a:lnTo>
                      <a:pt x="20" y="34"/>
                    </a:lnTo>
                    <a:lnTo>
                      <a:pt x="49" y="52"/>
                    </a:lnTo>
                    <a:lnTo>
                      <a:pt x="44" y="60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1049558" name="îşḷïḋê"/>
              <p:cNvSpPr/>
              <p:nvPr/>
            </p:nvSpPr>
            <p:spPr bwMode="auto">
              <a:xfrm>
                <a:off x="3106634" y="5606053"/>
                <a:ext cx="87313" cy="84138"/>
              </a:xfrm>
              <a:custGeom>
                <a:avLst/>
                <a:gdLst>
                  <a:gd name="T0" fmla="*/ 15 w 47"/>
                  <a:gd name="T1" fmla="*/ 43 h 46"/>
                  <a:gd name="T2" fmla="*/ 5 w 47"/>
                  <a:gd name="T3" fmla="*/ 36 h 46"/>
                  <a:gd name="T4" fmla="*/ 2 w 47"/>
                  <a:gd name="T5" fmla="*/ 30 h 46"/>
                  <a:gd name="T6" fmla="*/ 0 w 47"/>
                  <a:gd name="T7" fmla="*/ 23 h 46"/>
                  <a:gd name="T8" fmla="*/ 2 w 47"/>
                  <a:gd name="T9" fmla="*/ 14 h 46"/>
                  <a:gd name="T10" fmla="*/ 14 w 47"/>
                  <a:gd name="T11" fmla="*/ 2 h 46"/>
                  <a:gd name="T12" fmla="*/ 32 w 47"/>
                  <a:gd name="T13" fmla="*/ 3 h 46"/>
                  <a:gd name="T14" fmla="*/ 45 w 47"/>
                  <a:gd name="T15" fmla="*/ 15 h 46"/>
                  <a:gd name="T16" fmla="*/ 44 w 47"/>
                  <a:gd name="T17" fmla="*/ 32 h 46"/>
                  <a:gd name="T18" fmla="*/ 32 w 47"/>
                  <a:gd name="T19" fmla="*/ 44 h 46"/>
                  <a:gd name="T20" fmla="*/ 15 w 47"/>
                  <a:gd name="T21" fmla="*/ 43 h 46"/>
                  <a:gd name="T22" fmla="*/ 18 w 47"/>
                  <a:gd name="T23" fmla="*/ 34 h 46"/>
                  <a:gd name="T24" fmla="*/ 30 w 47"/>
                  <a:gd name="T25" fmla="*/ 35 h 46"/>
                  <a:gd name="T26" fmla="*/ 37 w 47"/>
                  <a:gd name="T27" fmla="*/ 29 h 46"/>
                  <a:gd name="T28" fmla="*/ 37 w 47"/>
                  <a:gd name="T29" fmla="*/ 19 h 46"/>
                  <a:gd name="T30" fmla="*/ 28 w 47"/>
                  <a:gd name="T31" fmla="*/ 12 h 46"/>
                  <a:gd name="T32" fmla="*/ 16 w 47"/>
                  <a:gd name="T33" fmla="*/ 10 h 46"/>
                  <a:gd name="T34" fmla="*/ 9 w 47"/>
                  <a:gd name="T35" fmla="*/ 17 h 46"/>
                  <a:gd name="T36" fmla="*/ 9 w 47"/>
                  <a:gd name="T37" fmla="*/ 27 h 46"/>
                  <a:gd name="T38" fmla="*/ 18 w 47"/>
                  <a:gd name="T39" fmla="*/ 34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47" h="46">
                    <a:moveTo>
                      <a:pt x="15" y="43"/>
                    </a:moveTo>
                    <a:cubicBezTo>
                      <a:pt x="11" y="41"/>
                      <a:pt x="8" y="39"/>
                      <a:pt x="5" y="36"/>
                    </a:cubicBezTo>
                    <a:cubicBezTo>
                      <a:pt x="4" y="34"/>
                      <a:pt x="2" y="32"/>
                      <a:pt x="2" y="30"/>
                    </a:cubicBezTo>
                    <a:cubicBezTo>
                      <a:pt x="1" y="28"/>
                      <a:pt x="0" y="26"/>
                      <a:pt x="0" y="23"/>
                    </a:cubicBezTo>
                    <a:cubicBezTo>
                      <a:pt x="0" y="20"/>
                      <a:pt x="1" y="17"/>
                      <a:pt x="2" y="14"/>
                    </a:cubicBezTo>
                    <a:cubicBezTo>
                      <a:pt x="5" y="8"/>
                      <a:pt x="9" y="4"/>
                      <a:pt x="14" y="2"/>
                    </a:cubicBezTo>
                    <a:cubicBezTo>
                      <a:pt x="19" y="0"/>
                      <a:pt x="25" y="1"/>
                      <a:pt x="32" y="3"/>
                    </a:cubicBezTo>
                    <a:cubicBezTo>
                      <a:pt x="38" y="6"/>
                      <a:pt x="43" y="10"/>
                      <a:pt x="45" y="15"/>
                    </a:cubicBezTo>
                    <a:cubicBezTo>
                      <a:pt x="47" y="21"/>
                      <a:pt x="47" y="26"/>
                      <a:pt x="44" y="32"/>
                    </a:cubicBezTo>
                    <a:cubicBezTo>
                      <a:pt x="41" y="38"/>
                      <a:pt x="38" y="42"/>
                      <a:pt x="32" y="44"/>
                    </a:cubicBezTo>
                    <a:cubicBezTo>
                      <a:pt x="27" y="46"/>
                      <a:pt x="21" y="45"/>
                      <a:pt x="15" y="43"/>
                    </a:cubicBezTo>
                    <a:close/>
                    <a:moveTo>
                      <a:pt x="18" y="34"/>
                    </a:moveTo>
                    <a:cubicBezTo>
                      <a:pt x="23" y="36"/>
                      <a:pt x="27" y="37"/>
                      <a:pt x="30" y="35"/>
                    </a:cubicBezTo>
                    <a:cubicBezTo>
                      <a:pt x="33" y="34"/>
                      <a:pt x="36" y="32"/>
                      <a:pt x="37" y="29"/>
                    </a:cubicBezTo>
                    <a:cubicBezTo>
                      <a:pt x="39" y="26"/>
                      <a:pt x="39" y="23"/>
                      <a:pt x="37" y="19"/>
                    </a:cubicBezTo>
                    <a:cubicBezTo>
                      <a:pt x="36" y="16"/>
                      <a:pt x="33" y="14"/>
                      <a:pt x="28" y="12"/>
                    </a:cubicBezTo>
                    <a:cubicBezTo>
                      <a:pt x="23" y="10"/>
                      <a:pt x="19" y="9"/>
                      <a:pt x="16" y="10"/>
                    </a:cubicBezTo>
                    <a:cubicBezTo>
                      <a:pt x="13" y="11"/>
                      <a:pt x="11" y="14"/>
                      <a:pt x="9" y="17"/>
                    </a:cubicBezTo>
                    <a:cubicBezTo>
                      <a:pt x="8" y="20"/>
                      <a:pt x="8" y="23"/>
                      <a:pt x="9" y="27"/>
                    </a:cubicBezTo>
                    <a:cubicBezTo>
                      <a:pt x="11" y="30"/>
                      <a:pt x="14" y="32"/>
                      <a:pt x="18" y="3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1049559" name="îṣlïḍè"/>
              <p:cNvSpPr/>
              <p:nvPr/>
            </p:nvSpPr>
            <p:spPr bwMode="auto">
              <a:xfrm>
                <a:off x="3128859" y="5560015"/>
                <a:ext cx="93663" cy="57150"/>
              </a:xfrm>
              <a:custGeom>
                <a:avLst/>
                <a:gdLst>
                  <a:gd name="T0" fmla="*/ 49 w 59"/>
                  <a:gd name="T1" fmla="*/ 36 h 36"/>
                  <a:gd name="T2" fmla="*/ 0 w 59"/>
                  <a:gd name="T3" fmla="*/ 21 h 36"/>
                  <a:gd name="T4" fmla="*/ 4 w 59"/>
                  <a:gd name="T5" fmla="*/ 10 h 36"/>
                  <a:gd name="T6" fmla="*/ 43 w 59"/>
                  <a:gd name="T7" fmla="*/ 24 h 36"/>
                  <a:gd name="T8" fmla="*/ 51 w 59"/>
                  <a:gd name="T9" fmla="*/ 0 h 36"/>
                  <a:gd name="T10" fmla="*/ 59 w 59"/>
                  <a:gd name="T11" fmla="*/ 2 h 36"/>
                  <a:gd name="T12" fmla="*/ 49 w 59"/>
                  <a:gd name="T13" fmla="*/ 36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59" h="36">
                    <a:moveTo>
                      <a:pt x="49" y="36"/>
                    </a:moveTo>
                    <a:lnTo>
                      <a:pt x="0" y="21"/>
                    </a:lnTo>
                    <a:lnTo>
                      <a:pt x="4" y="10"/>
                    </a:lnTo>
                    <a:lnTo>
                      <a:pt x="43" y="24"/>
                    </a:lnTo>
                    <a:lnTo>
                      <a:pt x="51" y="0"/>
                    </a:lnTo>
                    <a:lnTo>
                      <a:pt x="59" y="2"/>
                    </a:lnTo>
                    <a:lnTo>
                      <a:pt x="49" y="36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1049560" name="ïṩḷîḓê"/>
              <p:cNvSpPr/>
              <p:nvPr/>
            </p:nvSpPr>
            <p:spPr bwMode="auto">
              <a:xfrm>
                <a:off x="3152672" y="5469528"/>
                <a:ext cx="85725" cy="80963"/>
              </a:xfrm>
              <a:custGeom>
                <a:avLst/>
                <a:gdLst>
                  <a:gd name="T0" fmla="*/ 18 w 46"/>
                  <a:gd name="T1" fmla="*/ 43 h 44"/>
                  <a:gd name="T2" fmla="*/ 8 w 46"/>
                  <a:gd name="T3" fmla="*/ 38 h 44"/>
                  <a:gd name="T4" fmla="*/ 3 w 46"/>
                  <a:gd name="T5" fmla="*/ 33 h 44"/>
                  <a:gd name="T6" fmla="*/ 0 w 46"/>
                  <a:gd name="T7" fmla="*/ 27 h 44"/>
                  <a:gd name="T8" fmla="*/ 1 w 46"/>
                  <a:gd name="T9" fmla="*/ 17 h 44"/>
                  <a:gd name="T10" fmla="*/ 10 w 46"/>
                  <a:gd name="T11" fmla="*/ 3 h 44"/>
                  <a:gd name="T12" fmla="*/ 28 w 46"/>
                  <a:gd name="T13" fmla="*/ 1 h 44"/>
                  <a:gd name="T14" fmla="*/ 43 w 46"/>
                  <a:gd name="T15" fmla="*/ 11 h 44"/>
                  <a:gd name="T16" fmla="*/ 45 w 46"/>
                  <a:gd name="T17" fmla="*/ 27 h 44"/>
                  <a:gd name="T18" fmla="*/ 36 w 46"/>
                  <a:gd name="T19" fmla="*/ 41 h 44"/>
                  <a:gd name="T20" fmla="*/ 18 w 46"/>
                  <a:gd name="T21" fmla="*/ 43 h 44"/>
                  <a:gd name="T22" fmla="*/ 20 w 46"/>
                  <a:gd name="T23" fmla="*/ 34 h 44"/>
                  <a:gd name="T24" fmla="*/ 32 w 46"/>
                  <a:gd name="T25" fmla="*/ 33 h 44"/>
                  <a:gd name="T26" fmla="*/ 38 w 46"/>
                  <a:gd name="T27" fmla="*/ 25 h 44"/>
                  <a:gd name="T28" fmla="*/ 36 w 46"/>
                  <a:gd name="T29" fmla="*/ 16 h 44"/>
                  <a:gd name="T30" fmla="*/ 25 w 46"/>
                  <a:gd name="T31" fmla="*/ 10 h 44"/>
                  <a:gd name="T32" fmla="*/ 14 w 46"/>
                  <a:gd name="T33" fmla="*/ 11 h 44"/>
                  <a:gd name="T34" fmla="*/ 8 w 46"/>
                  <a:gd name="T35" fmla="*/ 19 h 44"/>
                  <a:gd name="T36" fmla="*/ 10 w 46"/>
                  <a:gd name="T37" fmla="*/ 28 h 44"/>
                  <a:gd name="T38" fmla="*/ 20 w 46"/>
                  <a:gd name="T39" fmla="*/ 34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46" h="44">
                    <a:moveTo>
                      <a:pt x="18" y="43"/>
                    </a:moveTo>
                    <a:cubicBezTo>
                      <a:pt x="14" y="42"/>
                      <a:pt x="10" y="40"/>
                      <a:pt x="8" y="38"/>
                    </a:cubicBezTo>
                    <a:cubicBezTo>
                      <a:pt x="6" y="37"/>
                      <a:pt x="4" y="35"/>
                      <a:pt x="3" y="33"/>
                    </a:cubicBezTo>
                    <a:cubicBezTo>
                      <a:pt x="1" y="31"/>
                      <a:pt x="1" y="29"/>
                      <a:pt x="0" y="27"/>
                    </a:cubicBezTo>
                    <a:cubicBezTo>
                      <a:pt x="0" y="24"/>
                      <a:pt x="0" y="21"/>
                      <a:pt x="1" y="17"/>
                    </a:cubicBezTo>
                    <a:cubicBezTo>
                      <a:pt x="2" y="11"/>
                      <a:pt x="5" y="6"/>
                      <a:pt x="10" y="3"/>
                    </a:cubicBezTo>
                    <a:cubicBezTo>
                      <a:pt x="15" y="0"/>
                      <a:pt x="21" y="0"/>
                      <a:pt x="28" y="1"/>
                    </a:cubicBezTo>
                    <a:cubicBezTo>
                      <a:pt x="34" y="3"/>
                      <a:pt x="39" y="6"/>
                      <a:pt x="43" y="11"/>
                    </a:cubicBezTo>
                    <a:cubicBezTo>
                      <a:pt x="46" y="15"/>
                      <a:pt x="46" y="21"/>
                      <a:pt x="45" y="27"/>
                    </a:cubicBezTo>
                    <a:cubicBezTo>
                      <a:pt x="44" y="33"/>
                      <a:pt x="40" y="38"/>
                      <a:pt x="36" y="41"/>
                    </a:cubicBezTo>
                    <a:cubicBezTo>
                      <a:pt x="31" y="44"/>
                      <a:pt x="25" y="44"/>
                      <a:pt x="18" y="43"/>
                    </a:cubicBezTo>
                    <a:close/>
                    <a:moveTo>
                      <a:pt x="20" y="34"/>
                    </a:moveTo>
                    <a:cubicBezTo>
                      <a:pt x="25" y="35"/>
                      <a:pt x="29" y="35"/>
                      <a:pt x="32" y="33"/>
                    </a:cubicBezTo>
                    <a:cubicBezTo>
                      <a:pt x="35" y="31"/>
                      <a:pt x="37" y="29"/>
                      <a:pt x="38" y="25"/>
                    </a:cubicBezTo>
                    <a:cubicBezTo>
                      <a:pt x="38" y="22"/>
                      <a:pt x="38" y="19"/>
                      <a:pt x="36" y="16"/>
                    </a:cubicBezTo>
                    <a:cubicBezTo>
                      <a:pt x="34" y="13"/>
                      <a:pt x="30" y="11"/>
                      <a:pt x="25" y="10"/>
                    </a:cubicBezTo>
                    <a:cubicBezTo>
                      <a:pt x="20" y="9"/>
                      <a:pt x="16" y="9"/>
                      <a:pt x="14" y="11"/>
                    </a:cubicBezTo>
                    <a:cubicBezTo>
                      <a:pt x="11" y="13"/>
                      <a:pt x="9" y="15"/>
                      <a:pt x="8" y="19"/>
                    </a:cubicBezTo>
                    <a:cubicBezTo>
                      <a:pt x="7" y="22"/>
                      <a:pt x="8" y="25"/>
                      <a:pt x="10" y="28"/>
                    </a:cubicBezTo>
                    <a:cubicBezTo>
                      <a:pt x="12" y="31"/>
                      <a:pt x="15" y="33"/>
                      <a:pt x="20" y="3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1049561" name="ïSļiďé"/>
              <p:cNvSpPr/>
              <p:nvPr/>
            </p:nvSpPr>
            <p:spPr bwMode="auto">
              <a:xfrm>
                <a:off x="3165372" y="5390153"/>
                <a:ext cx="85725" cy="77788"/>
              </a:xfrm>
              <a:custGeom>
                <a:avLst/>
                <a:gdLst>
                  <a:gd name="T0" fmla="*/ 29 w 46"/>
                  <a:gd name="T1" fmla="*/ 21 h 42"/>
                  <a:gd name="T2" fmla="*/ 22 w 46"/>
                  <a:gd name="T3" fmla="*/ 20 h 42"/>
                  <a:gd name="T4" fmla="*/ 24 w 46"/>
                  <a:gd name="T5" fmla="*/ 1 h 42"/>
                  <a:gd name="T6" fmla="*/ 41 w 46"/>
                  <a:gd name="T7" fmla="*/ 3 h 42"/>
                  <a:gd name="T8" fmla="*/ 45 w 46"/>
                  <a:gd name="T9" fmla="*/ 11 h 42"/>
                  <a:gd name="T10" fmla="*/ 46 w 46"/>
                  <a:gd name="T11" fmla="*/ 22 h 42"/>
                  <a:gd name="T12" fmla="*/ 42 w 46"/>
                  <a:gd name="T13" fmla="*/ 34 h 42"/>
                  <a:gd name="T14" fmla="*/ 33 w 46"/>
                  <a:gd name="T15" fmla="*/ 41 h 42"/>
                  <a:gd name="T16" fmla="*/ 21 w 46"/>
                  <a:gd name="T17" fmla="*/ 42 h 42"/>
                  <a:gd name="T18" fmla="*/ 9 w 46"/>
                  <a:gd name="T19" fmla="*/ 38 h 42"/>
                  <a:gd name="T20" fmla="*/ 2 w 46"/>
                  <a:gd name="T21" fmla="*/ 28 h 42"/>
                  <a:gd name="T22" fmla="*/ 1 w 46"/>
                  <a:gd name="T23" fmla="*/ 18 h 42"/>
                  <a:gd name="T24" fmla="*/ 6 w 46"/>
                  <a:gd name="T25" fmla="*/ 5 h 42"/>
                  <a:gd name="T26" fmla="*/ 16 w 46"/>
                  <a:gd name="T27" fmla="*/ 0 h 42"/>
                  <a:gd name="T28" fmla="*/ 16 w 46"/>
                  <a:gd name="T29" fmla="*/ 9 h 42"/>
                  <a:gd name="T30" fmla="*/ 11 w 46"/>
                  <a:gd name="T31" fmla="*/ 12 h 42"/>
                  <a:gd name="T32" fmla="*/ 8 w 46"/>
                  <a:gd name="T33" fmla="*/ 18 h 42"/>
                  <a:gd name="T34" fmla="*/ 11 w 46"/>
                  <a:gd name="T35" fmla="*/ 28 h 42"/>
                  <a:gd name="T36" fmla="*/ 21 w 46"/>
                  <a:gd name="T37" fmla="*/ 33 h 42"/>
                  <a:gd name="T38" fmla="*/ 34 w 46"/>
                  <a:gd name="T39" fmla="*/ 31 h 42"/>
                  <a:gd name="T40" fmla="*/ 38 w 46"/>
                  <a:gd name="T41" fmla="*/ 22 h 42"/>
                  <a:gd name="T42" fmla="*/ 38 w 46"/>
                  <a:gd name="T43" fmla="*/ 16 h 42"/>
                  <a:gd name="T44" fmla="*/ 36 w 46"/>
                  <a:gd name="T45" fmla="*/ 11 h 42"/>
                  <a:gd name="T46" fmla="*/ 30 w 46"/>
                  <a:gd name="T47" fmla="*/ 11 h 42"/>
                  <a:gd name="T48" fmla="*/ 29 w 46"/>
                  <a:gd name="T49" fmla="*/ 21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46" h="42">
                    <a:moveTo>
                      <a:pt x="29" y="21"/>
                    </a:moveTo>
                    <a:cubicBezTo>
                      <a:pt x="22" y="20"/>
                      <a:pt x="22" y="20"/>
                      <a:pt x="22" y="20"/>
                    </a:cubicBezTo>
                    <a:cubicBezTo>
                      <a:pt x="24" y="1"/>
                      <a:pt x="24" y="1"/>
                      <a:pt x="24" y="1"/>
                    </a:cubicBezTo>
                    <a:cubicBezTo>
                      <a:pt x="41" y="3"/>
                      <a:pt x="41" y="3"/>
                      <a:pt x="41" y="3"/>
                    </a:cubicBezTo>
                    <a:cubicBezTo>
                      <a:pt x="43" y="5"/>
                      <a:pt x="44" y="8"/>
                      <a:pt x="45" y="11"/>
                    </a:cubicBezTo>
                    <a:cubicBezTo>
                      <a:pt x="46" y="15"/>
                      <a:pt x="46" y="19"/>
                      <a:pt x="46" y="22"/>
                    </a:cubicBezTo>
                    <a:cubicBezTo>
                      <a:pt x="46" y="27"/>
                      <a:pt x="44" y="31"/>
                      <a:pt x="42" y="34"/>
                    </a:cubicBezTo>
                    <a:cubicBezTo>
                      <a:pt x="39" y="37"/>
                      <a:pt x="36" y="39"/>
                      <a:pt x="33" y="41"/>
                    </a:cubicBezTo>
                    <a:cubicBezTo>
                      <a:pt x="29" y="42"/>
                      <a:pt x="25" y="42"/>
                      <a:pt x="21" y="42"/>
                    </a:cubicBezTo>
                    <a:cubicBezTo>
                      <a:pt x="16" y="41"/>
                      <a:pt x="12" y="40"/>
                      <a:pt x="9" y="38"/>
                    </a:cubicBezTo>
                    <a:cubicBezTo>
                      <a:pt x="6" y="35"/>
                      <a:pt x="3" y="32"/>
                      <a:pt x="2" y="28"/>
                    </a:cubicBezTo>
                    <a:cubicBezTo>
                      <a:pt x="1" y="25"/>
                      <a:pt x="0" y="22"/>
                      <a:pt x="1" y="18"/>
                    </a:cubicBezTo>
                    <a:cubicBezTo>
                      <a:pt x="1" y="12"/>
                      <a:pt x="3" y="8"/>
                      <a:pt x="6" y="5"/>
                    </a:cubicBezTo>
                    <a:cubicBezTo>
                      <a:pt x="8" y="2"/>
                      <a:pt x="12" y="1"/>
                      <a:pt x="16" y="0"/>
                    </a:cubicBezTo>
                    <a:cubicBezTo>
                      <a:pt x="16" y="9"/>
                      <a:pt x="16" y="9"/>
                      <a:pt x="16" y="9"/>
                    </a:cubicBezTo>
                    <a:cubicBezTo>
                      <a:pt x="14" y="10"/>
                      <a:pt x="12" y="11"/>
                      <a:pt x="11" y="12"/>
                    </a:cubicBezTo>
                    <a:cubicBezTo>
                      <a:pt x="10" y="14"/>
                      <a:pt x="9" y="16"/>
                      <a:pt x="8" y="18"/>
                    </a:cubicBezTo>
                    <a:cubicBezTo>
                      <a:pt x="8" y="22"/>
                      <a:pt x="9" y="25"/>
                      <a:pt x="11" y="28"/>
                    </a:cubicBezTo>
                    <a:cubicBezTo>
                      <a:pt x="13" y="31"/>
                      <a:pt x="17" y="32"/>
                      <a:pt x="21" y="33"/>
                    </a:cubicBezTo>
                    <a:cubicBezTo>
                      <a:pt x="27" y="33"/>
                      <a:pt x="31" y="33"/>
                      <a:pt x="34" y="31"/>
                    </a:cubicBezTo>
                    <a:cubicBezTo>
                      <a:pt x="36" y="29"/>
                      <a:pt x="38" y="26"/>
                      <a:pt x="38" y="22"/>
                    </a:cubicBezTo>
                    <a:cubicBezTo>
                      <a:pt x="39" y="20"/>
                      <a:pt x="39" y="18"/>
                      <a:pt x="38" y="16"/>
                    </a:cubicBezTo>
                    <a:cubicBezTo>
                      <a:pt x="37" y="14"/>
                      <a:pt x="37" y="13"/>
                      <a:pt x="36" y="11"/>
                    </a:cubicBezTo>
                    <a:cubicBezTo>
                      <a:pt x="30" y="11"/>
                      <a:pt x="30" y="11"/>
                      <a:pt x="30" y="11"/>
                    </a:cubicBezTo>
                    <a:lnTo>
                      <a:pt x="29" y="21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1049562" name="îSḷiḋè"/>
              <p:cNvSpPr/>
              <p:nvPr/>
            </p:nvSpPr>
            <p:spPr bwMode="auto">
              <a:xfrm>
                <a:off x="3173309" y="5313953"/>
                <a:ext cx="80963" cy="76200"/>
              </a:xfrm>
              <a:custGeom>
                <a:avLst/>
                <a:gdLst>
                  <a:gd name="T0" fmla="*/ 51 w 51"/>
                  <a:gd name="T1" fmla="*/ 30 h 48"/>
                  <a:gd name="T2" fmla="*/ 29 w 51"/>
                  <a:gd name="T3" fmla="*/ 29 h 48"/>
                  <a:gd name="T4" fmla="*/ 0 w 51"/>
                  <a:gd name="T5" fmla="*/ 48 h 48"/>
                  <a:gd name="T6" fmla="*/ 0 w 51"/>
                  <a:gd name="T7" fmla="*/ 36 h 48"/>
                  <a:gd name="T8" fmla="*/ 20 w 51"/>
                  <a:gd name="T9" fmla="*/ 24 h 48"/>
                  <a:gd name="T10" fmla="*/ 0 w 51"/>
                  <a:gd name="T11" fmla="*/ 12 h 48"/>
                  <a:gd name="T12" fmla="*/ 0 w 51"/>
                  <a:gd name="T13" fmla="*/ 0 h 48"/>
                  <a:gd name="T14" fmla="*/ 30 w 51"/>
                  <a:gd name="T15" fmla="*/ 20 h 48"/>
                  <a:gd name="T16" fmla="*/ 51 w 51"/>
                  <a:gd name="T17" fmla="*/ 20 h 48"/>
                  <a:gd name="T18" fmla="*/ 51 w 51"/>
                  <a:gd name="T19" fmla="*/ 30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51" h="48">
                    <a:moveTo>
                      <a:pt x="51" y="30"/>
                    </a:moveTo>
                    <a:lnTo>
                      <a:pt x="29" y="29"/>
                    </a:lnTo>
                    <a:lnTo>
                      <a:pt x="0" y="48"/>
                    </a:lnTo>
                    <a:lnTo>
                      <a:pt x="0" y="36"/>
                    </a:lnTo>
                    <a:lnTo>
                      <a:pt x="20" y="24"/>
                    </a:lnTo>
                    <a:lnTo>
                      <a:pt x="0" y="12"/>
                    </a:lnTo>
                    <a:lnTo>
                      <a:pt x="0" y="0"/>
                    </a:lnTo>
                    <a:lnTo>
                      <a:pt x="30" y="20"/>
                    </a:lnTo>
                    <a:lnTo>
                      <a:pt x="51" y="20"/>
                    </a:lnTo>
                    <a:lnTo>
                      <a:pt x="51" y="30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1049563" name="îṣḷíḋé"/>
              <p:cNvSpPr/>
              <p:nvPr/>
            </p:nvSpPr>
            <p:spPr bwMode="auto">
              <a:xfrm>
                <a:off x="3163784" y="5193303"/>
                <a:ext cx="87313" cy="76200"/>
              </a:xfrm>
              <a:custGeom>
                <a:avLst/>
                <a:gdLst>
                  <a:gd name="T0" fmla="*/ 4 w 47"/>
                  <a:gd name="T1" fmla="*/ 41 h 41"/>
                  <a:gd name="T2" fmla="*/ 1 w 47"/>
                  <a:gd name="T3" fmla="*/ 24 h 41"/>
                  <a:gd name="T4" fmla="*/ 0 w 47"/>
                  <a:gd name="T5" fmla="*/ 16 h 41"/>
                  <a:gd name="T6" fmla="*/ 2 w 47"/>
                  <a:gd name="T7" fmla="*/ 11 h 41"/>
                  <a:gd name="T8" fmla="*/ 5 w 47"/>
                  <a:gd name="T9" fmla="*/ 7 h 41"/>
                  <a:gd name="T10" fmla="*/ 10 w 47"/>
                  <a:gd name="T11" fmla="*/ 5 h 41"/>
                  <a:gd name="T12" fmla="*/ 16 w 47"/>
                  <a:gd name="T13" fmla="*/ 6 h 41"/>
                  <a:gd name="T14" fmla="*/ 20 w 47"/>
                  <a:gd name="T15" fmla="*/ 10 h 41"/>
                  <a:gd name="T16" fmla="*/ 23 w 47"/>
                  <a:gd name="T17" fmla="*/ 3 h 41"/>
                  <a:gd name="T18" fmla="*/ 29 w 47"/>
                  <a:gd name="T19" fmla="*/ 0 h 41"/>
                  <a:gd name="T20" fmla="*/ 35 w 47"/>
                  <a:gd name="T21" fmla="*/ 1 h 41"/>
                  <a:gd name="T22" fmla="*/ 40 w 47"/>
                  <a:gd name="T23" fmla="*/ 4 h 41"/>
                  <a:gd name="T24" fmla="*/ 43 w 47"/>
                  <a:gd name="T25" fmla="*/ 10 h 41"/>
                  <a:gd name="T26" fmla="*/ 45 w 47"/>
                  <a:gd name="T27" fmla="*/ 20 h 41"/>
                  <a:gd name="T28" fmla="*/ 47 w 47"/>
                  <a:gd name="T29" fmla="*/ 35 h 41"/>
                  <a:gd name="T30" fmla="*/ 4 w 47"/>
                  <a:gd name="T31" fmla="*/ 41 h 41"/>
                  <a:gd name="T32" fmla="*/ 10 w 47"/>
                  <a:gd name="T33" fmla="*/ 31 h 41"/>
                  <a:gd name="T34" fmla="*/ 20 w 47"/>
                  <a:gd name="T35" fmla="*/ 30 h 41"/>
                  <a:gd name="T36" fmla="*/ 19 w 47"/>
                  <a:gd name="T37" fmla="*/ 24 h 41"/>
                  <a:gd name="T38" fmla="*/ 18 w 47"/>
                  <a:gd name="T39" fmla="*/ 18 h 41"/>
                  <a:gd name="T40" fmla="*/ 16 w 47"/>
                  <a:gd name="T41" fmla="*/ 15 h 41"/>
                  <a:gd name="T42" fmla="*/ 12 w 47"/>
                  <a:gd name="T43" fmla="*/ 14 h 41"/>
                  <a:gd name="T44" fmla="*/ 9 w 47"/>
                  <a:gd name="T45" fmla="*/ 15 h 41"/>
                  <a:gd name="T46" fmla="*/ 8 w 47"/>
                  <a:gd name="T47" fmla="*/ 19 h 41"/>
                  <a:gd name="T48" fmla="*/ 9 w 47"/>
                  <a:gd name="T49" fmla="*/ 26 h 41"/>
                  <a:gd name="T50" fmla="*/ 10 w 47"/>
                  <a:gd name="T51" fmla="*/ 31 h 41"/>
                  <a:gd name="T52" fmla="*/ 27 w 47"/>
                  <a:gd name="T53" fmla="*/ 29 h 41"/>
                  <a:gd name="T54" fmla="*/ 39 w 47"/>
                  <a:gd name="T55" fmla="*/ 27 h 41"/>
                  <a:gd name="T56" fmla="*/ 37 w 47"/>
                  <a:gd name="T57" fmla="*/ 19 h 41"/>
                  <a:gd name="T58" fmla="*/ 36 w 47"/>
                  <a:gd name="T59" fmla="*/ 13 h 41"/>
                  <a:gd name="T60" fmla="*/ 34 w 47"/>
                  <a:gd name="T61" fmla="*/ 10 h 41"/>
                  <a:gd name="T62" fmla="*/ 30 w 47"/>
                  <a:gd name="T63" fmla="*/ 10 h 41"/>
                  <a:gd name="T64" fmla="*/ 27 w 47"/>
                  <a:gd name="T65" fmla="*/ 11 h 41"/>
                  <a:gd name="T66" fmla="*/ 25 w 47"/>
                  <a:gd name="T67" fmla="*/ 14 h 41"/>
                  <a:gd name="T68" fmla="*/ 26 w 47"/>
                  <a:gd name="T69" fmla="*/ 22 h 41"/>
                  <a:gd name="T70" fmla="*/ 27 w 47"/>
                  <a:gd name="T71" fmla="*/ 29 h 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47" h="41">
                    <a:moveTo>
                      <a:pt x="4" y="41"/>
                    </a:moveTo>
                    <a:cubicBezTo>
                      <a:pt x="1" y="24"/>
                      <a:pt x="1" y="24"/>
                      <a:pt x="1" y="24"/>
                    </a:cubicBezTo>
                    <a:cubicBezTo>
                      <a:pt x="1" y="20"/>
                      <a:pt x="0" y="18"/>
                      <a:pt x="0" y="16"/>
                    </a:cubicBezTo>
                    <a:cubicBezTo>
                      <a:pt x="1" y="14"/>
                      <a:pt x="1" y="13"/>
                      <a:pt x="2" y="11"/>
                    </a:cubicBezTo>
                    <a:cubicBezTo>
                      <a:pt x="2" y="10"/>
                      <a:pt x="3" y="9"/>
                      <a:pt x="5" y="7"/>
                    </a:cubicBezTo>
                    <a:cubicBezTo>
                      <a:pt x="6" y="6"/>
                      <a:pt x="8" y="6"/>
                      <a:pt x="10" y="5"/>
                    </a:cubicBezTo>
                    <a:cubicBezTo>
                      <a:pt x="12" y="5"/>
                      <a:pt x="14" y="5"/>
                      <a:pt x="16" y="6"/>
                    </a:cubicBezTo>
                    <a:cubicBezTo>
                      <a:pt x="17" y="7"/>
                      <a:pt x="19" y="8"/>
                      <a:pt x="20" y="10"/>
                    </a:cubicBezTo>
                    <a:cubicBezTo>
                      <a:pt x="20" y="7"/>
                      <a:pt x="21" y="5"/>
                      <a:pt x="23" y="3"/>
                    </a:cubicBezTo>
                    <a:cubicBezTo>
                      <a:pt x="25" y="2"/>
                      <a:pt x="27" y="1"/>
                      <a:pt x="29" y="0"/>
                    </a:cubicBezTo>
                    <a:cubicBezTo>
                      <a:pt x="31" y="0"/>
                      <a:pt x="33" y="0"/>
                      <a:pt x="35" y="1"/>
                    </a:cubicBezTo>
                    <a:cubicBezTo>
                      <a:pt x="37" y="2"/>
                      <a:pt x="39" y="3"/>
                      <a:pt x="40" y="4"/>
                    </a:cubicBezTo>
                    <a:cubicBezTo>
                      <a:pt x="42" y="5"/>
                      <a:pt x="43" y="7"/>
                      <a:pt x="43" y="10"/>
                    </a:cubicBezTo>
                    <a:cubicBezTo>
                      <a:pt x="44" y="11"/>
                      <a:pt x="44" y="15"/>
                      <a:pt x="45" y="20"/>
                    </a:cubicBezTo>
                    <a:cubicBezTo>
                      <a:pt x="47" y="35"/>
                      <a:pt x="47" y="35"/>
                      <a:pt x="47" y="35"/>
                    </a:cubicBezTo>
                    <a:lnTo>
                      <a:pt x="4" y="41"/>
                    </a:lnTo>
                    <a:close/>
                    <a:moveTo>
                      <a:pt x="10" y="31"/>
                    </a:moveTo>
                    <a:cubicBezTo>
                      <a:pt x="20" y="30"/>
                      <a:pt x="20" y="30"/>
                      <a:pt x="20" y="30"/>
                    </a:cubicBezTo>
                    <a:cubicBezTo>
                      <a:pt x="19" y="24"/>
                      <a:pt x="19" y="24"/>
                      <a:pt x="19" y="24"/>
                    </a:cubicBezTo>
                    <a:cubicBezTo>
                      <a:pt x="18" y="21"/>
                      <a:pt x="18" y="19"/>
                      <a:pt x="18" y="18"/>
                    </a:cubicBezTo>
                    <a:cubicBezTo>
                      <a:pt x="17" y="16"/>
                      <a:pt x="17" y="15"/>
                      <a:pt x="16" y="15"/>
                    </a:cubicBezTo>
                    <a:cubicBezTo>
                      <a:pt x="15" y="14"/>
                      <a:pt x="14" y="14"/>
                      <a:pt x="12" y="14"/>
                    </a:cubicBezTo>
                    <a:cubicBezTo>
                      <a:pt x="11" y="14"/>
                      <a:pt x="10" y="14"/>
                      <a:pt x="9" y="15"/>
                    </a:cubicBezTo>
                    <a:cubicBezTo>
                      <a:pt x="8" y="16"/>
                      <a:pt x="8" y="17"/>
                      <a:pt x="8" y="19"/>
                    </a:cubicBezTo>
                    <a:cubicBezTo>
                      <a:pt x="8" y="20"/>
                      <a:pt x="8" y="22"/>
                      <a:pt x="9" y="26"/>
                    </a:cubicBezTo>
                    <a:lnTo>
                      <a:pt x="10" y="31"/>
                    </a:lnTo>
                    <a:close/>
                    <a:moveTo>
                      <a:pt x="27" y="29"/>
                    </a:moveTo>
                    <a:cubicBezTo>
                      <a:pt x="39" y="27"/>
                      <a:pt x="39" y="27"/>
                      <a:pt x="39" y="27"/>
                    </a:cubicBezTo>
                    <a:cubicBezTo>
                      <a:pt x="37" y="19"/>
                      <a:pt x="37" y="19"/>
                      <a:pt x="37" y="19"/>
                    </a:cubicBezTo>
                    <a:cubicBezTo>
                      <a:pt x="37" y="16"/>
                      <a:pt x="37" y="14"/>
                      <a:pt x="36" y="13"/>
                    </a:cubicBezTo>
                    <a:cubicBezTo>
                      <a:pt x="36" y="12"/>
                      <a:pt x="35" y="11"/>
                      <a:pt x="34" y="10"/>
                    </a:cubicBezTo>
                    <a:cubicBezTo>
                      <a:pt x="33" y="10"/>
                      <a:pt x="32" y="9"/>
                      <a:pt x="30" y="10"/>
                    </a:cubicBezTo>
                    <a:cubicBezTo>
                      <a:pt x="29" y="10"/>
                      <a:pt x="28" y="10"/>
                      <a:pt x="27" y="11"/>
                    </a:cubicBezTo>
                    <a:cubicBezTo>
                      <a:pt x="26" y="12"/>
                      <a:pt x="26" y="13"/>
                      <a:pt x="25" y="14"/>
                    </a:cubicBezTo>
                    <a:cubicBezTo>
                      <a:pt x="25" y="15"/>
                      <a:pt x="25" y="18"/>
                      <a:pt x="26" y="22"/>
                    </a:cubicBezTo>
                    <a:lnTo>
                      <a:pt x="27" y="29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1049564" name="îṩliďè"/>
              <p:cNvSpPr/>
              <p:nvPr/>
            </p:nvSpPr>
            <p:spPr bwMode="auto">
              <a:xfrm>
                <a:off x="3146322" y="5120278"/>
                <a:ext cx="93663" cy="79375"/>
              </a:xfrm>
              <a:custGeom>
                <a:avLst/>
                <a:gdLst>
                  <a:gd name="T0" fmla="*/ 59 w 59"/>
                  <a:gd name="T1" fmla="*/ 37 h 50"/>
                  <a:gd name="T2" fmla="*/ 9 w 59"/>
                  <a:gd name="T3" fmla="*/ 50 h 50"/>
                  <a:gd name="T4" fmla="*/ 0 w 59"/>
                  <a:gd name="T5" fmla="*/ 13 h 50"/>
                  <a:gd name="T6" fmla="*/ 8 w 59"/>
                  <a:gd name="T7" fmla="*/ 10 h 50"/>
                  <a:gd name="T8" fmla="*/ 15 w 59"/>
                  <a:gd name="T9" fmla="*/ 37 h 50"/>
                  <a:gd name="T10" fmla="*/ 25 w 59"/>
                  <a:gd name="T11" fmla="*/ 35 h 50"/>
                  <a:gd name="T12" fmla="*/ 19 w 59"/>
                  <a:gd name="T13" fmla="*/ 9 h 50"/>
                  <a:gd name="T14" fmla="*/ 27 w 59"/>
                  <a:gd name="T15" fmla="*/ 8 h 50"/>
                  <a:gd name="T16" fmla="*/ 34 w 59"/>
                  <a:gd name="T17" fmla="*/ 32 h 50"/>
                  <a:gd name="T18" fmla="*/ 47 w 59"/>
                  <a:gd name="T19" fmla="*/ 29 h 50"/>
                  <a:gd name="T20" fmla="*/ 40 w 59"/>
                  <a:gd name="T21" fmla="*/ 1 h 50"/>
                  <a:gd name="T22" fmla="*/ 49 w 59"/>
                  <a:gd name="T23" fmla="*/ 0 h 50"/>
                  <a:gd name="T24" fmla="*/ 59 w 59"/>
                  <a:gd name="T25" fmla="*/ 37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59" h="50">
                    <a:moveTo>
                      <a:pt x="59" y="37"/>
                    </a:moveTo>
                    <a:lnTo>
                      <a:pt x="9" y="50"/>
                    </a:lnTo>
                    <a:lnTo>
                      <a:pt x="0" y="13"/>
                    </a:lnTo>
                    <a:lnTo>
                      <a:pt x="8" y="10"/>
                    </a:lnTo>
                    <a:lnTo>
                      <a:pt x="15" y="37"/>
                    </a:lnTo>
                    <a:lnTo>
                      <a:pt x="25" y="35"/>
                    </a:lnTo>
                    <a:lnTo>
                      <a:pt x="19" y="9"/>
                    </a:lnTo>
                    <a:lnTo>
                      <a:pt x="27" y="8"/>
                    </a:lnTo>
                    <a:lnTo>
                      <a:pt x="34" y="32"/>
                    </a:lnTo>
                    <a:lnTo>
                      <a:pt x="47" y="29"/>
                    </a:lnTo>
                    <a:lnTo>
                      <a:pt x="40" y="1"/>
                    </a:lnTo>
                    <a:lnTo>
                      <a:pt x="49" y="0"/>
                    </a:lnTo>
                    <a:lnTo>
                      <a:pt x="59" y="37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1049565" name="iṧlíḋè"/>
              <p:cNvSpPr/>
              <p:nvPr/>
            </p:nvSpPr>
            <p:spPr bwMode="auto">
              <a:xfrm>
                <a:off x="3138384" y="5096465"/>
                <a:ext cx="82550" cy="38100"/>
              </a:xfrm>
              <a:custGeom>
                <a:avLst/>
                <a:gdLst>
                  <a:gd name="T0" fmla="*/ 52 w 52"/>
                  <a:gd name="T1" fmla="*/ 9 h 24"/>
                  <a:gd name="T2" fmla="*/ 3 w 52"/>
                  <a:gd name="T3" fmla="*/ 24 h 24"/>
                  <a:gd name="T4" fmla="*/ 0 w 52"/>
                  <a:gd name="T5" fmla="*/ 15 h 24"/>
                  <a:gd name="T6" fmla="*/ 49 w 52"/>
                  <a:gd name="T7" fmla="*/ 0 h 24"/>
                  <a:gd name="T8" fmla="*/ 52 w 52"/>
                  <a:gd name="T9" fmla="*/ 9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2" h="24">
                    <a:moveTo>
                      <a:pt x="52" y="9"/>
                    </a:moveTo>
                    <a:lnTo>
                      <a:pt x="3" y="24"/>
                    </a:lnTo>
                    <a:lnTo>
                      <a:pt x="0" y="15"/>
                    </a:lnTo>
                    <a:lnTo>
                      <a:pt x="49" y="0"/>
                    </a:lnTo>
                    <a:lnTo>
                      <a:pt x="52" y="9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1049566" name="islïḓè"/>
              <p:cNvSpPr/>
              <p:nvPr/>
            </p:nvSpPr>
            <p:spPr bwMode="auto">
              <a:xfrm>
                <a:off x="3120922" y="5047253"/>
                <a:ext cx="88900" cy="52388"/>
              </a:xfrm>
              <a:custGeom>
                <a:avLst/>
                <a:gdLst>
                  <a:gd name="T0" fmla="*/ 3 w 48"/>
                  <a:gd name="T1" fmla="*/ 20 h 28"/>
                  <a:gd name="T2" fmla="*/ 0 w 48"/>
                  <a:gd name="T3" fmla="*/ 12 h 28"/>
                  <a:gd name="T4" fmla="*/ 26 w 48"/>
                  <a:gd name="T5" fmla="*/ 2 h 28"/>
                  <a:gd name="T6" fmla="*/ 34 w 48"/>
                  <a:gd name="T7" fmla="*/ 0 h 28"/>
                  <a:gd name="T8" fmla="*/ 42 w 48"/>
                  <a:gd name="T9" fmla="*/ 3 h 28"/>
                  <a:gd name="T10" fmla="*/ 47 w 48"/>
                  <a:gd name="T11" fmla="*/ 10 h 28"/>
                  <a:gd name="T12" fmla="*/ 47 w 48"/>
                  <a:gd name="T13" fmla="*/ 21 h 28"/>
                  <a:gd name="T14" fmla="*/ 38 w 48"/>
                  <a:gd name="T15" fmla="*/ 28 h 28"/>
                  <a:gd name="T16" fmla="*/ 34 w 48"/>
                  <a:gd name="T17" fmla="*/ 20 h 28"/>
                  <a:gd name="T18" fmla="*/ 39 w 48"/>
                  <a:gd name="T19" fmla="*/ 17 h 28"/>
                  <a:gd name="T20" fmla="*/ 40 w 48"/>
                  <a:gd name="T21" fmla="*/ 13 h 28"/>
                  <a:gd name="T22" fmla="*/ 37 w 48"/>
                  <a:gd name="T23" fmla="*/ 9 h 28"/>
                  <a:gd name="T24" fmla="*/ 30 w 48"/>
                  <a:gd name="T25" fmla="*/ 10 h 28"/>
                  <a:gd name="T26" fmla="*/ 3 w 48"/>
                  <a:gd name="T27" fmla="*/ 20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48" h="28">
                    <a:moveTo>
                      <a:pt x="3" y="20"/>
                    </a:moveTo>
                    <a:cubicBezTo>
                      <a:pt x="0" y="12"/>
                      <a:pt x="0" y="12"/>
                      <a:pt x="0" y="12"/>
                    </a:cubicBezTo>
                    <a:cubicBezTo>
                      <a:pt x="26" y="2"/>
                      <a:pt x="26" y="2"/>
                      <a:pt x="26" y="2"/>
                    </a:cubicBezTo>
                    <a:cubicBezTo>
                      <a:pt x="29" y="1"/>
                      <a:pt x="32" y="0"/>
                      <a:pt x="34" y="0"/>
                    </a:cubicBezTo>
                    <a:cubicBezTo>
                      <a:pt x="37" y="0"/>
                      <a:pt x="39" y="1"/>
                      <a:pt x="42" y="3"/>
                    </a:cubicBezTo>
                    <a:cubicBezTo>
                      <a:pt x="44" y="4"/>
                      <a:pt x="46" y="7"/>
                      <a:pt x="47" y="10"/>
                    </a:cubicBezTo>
                    <a:cubicBezTo>
                      <a:pt x="48" y="14"/>
                      <a:pt x="48" y="18"/>
                      <a:pt x="47" y="21"/>
                    </a:cubicBezTo>
                    <a:cubicBezTo>
                      <a:pt x="45" y="24"/>
                      <a:pt x="42" y="26"/>
                      <a:pt x="38" y="28"/>
                    </a:cubicBezTo>
                    <a:cubicBezTo>
                      <a:pt x="34" y="20"/>
                      <a:pt x="34" y="20"/>
                      <a:pt x="34" y="20"/>
                    </a:cubicBezTo>
                    <a:cubicBezTo>
                      <a:pt x="37" y="19"/>
                      <a:pt x="38" y="18"/>
                      <a:pt x="39" y="17"/>
                    </a:cubicBezTo>
                    <a:cubicBezTo>
                      <a:pt x="40" y="16"/>
                      <a:pt x="40" y="14"/>
                      <a:pt x="40" y="13"/>
                    </a:cubicBezTo>
                    <a:cubicBezTo>
                      <a:pt x="39" y="11"/>
                      <a:pt x="38" y="10"/>
                      <a:pt x="37" y="9"/>
                    </a:cubicBezTo>
                    <a:cubicBezTo>
                      <a:pt x="35" y="9"/>
                      <a:pt x="33" y="9"/>
                      <a:pt x="30" y="10"/>
                    </a:cubicBezTo>
                    <a:lnTo>
                      <a:pt x="3" y="20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1049567" name="íṥ1iḍe"/>
              <p:cNvSpPr/>
              <p:nvPr/>
            </p:nvSpPr>
            <p:spPr bwMode="auto">
              <a:xfrm>
                <a:off x="3112984" y="5017090"/>
                <a:ext cx="80963" cy="46038"/>
              </a:xfrm>
              <a:custGeom>
                <a:avLst/>
                <a:gdLst>
                  <a:gd name="T0" fmla="*/ 51 w 51"/>
                  <a:gd name="T1" fmla="*/ 9 h 29"/>
                  <a:gd name="T2" fmla="*/ 3 w 51"/>
                  <a:gd name="T3" fmla="*/ 29 h 29"/>
                  <a:gd name="T4" fmla="*/ 0 w 51"/>
                  <a:gd name="T5" fmla="*/ 19 h 29"/>
                  <a:gd name="T6" fmla="*/ 46 w 51"/>
                  <a:gd name="T7" fmla="*/ 0 h 29"/>
                  <a:gd name="T8" fmla="*/ 51 w 51"/>
                  <a:gd name="T9" fmla="*/ 9 h 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1" h="29">
                    <a:moveTo>
                      <a:pt x="51" y="9"/>
                    </a:moveTo>
                    <a:lnTo>
                      <a:pt x="3" y="29"/>
                    </a:lnTo>
                    <a:lnTo>
                      <a:pt x="0" y="19"/>
                    </a:lnTo>
                    <a:lnTo>
                      <a:pt x="46" y="0"/>
                    </a:lnTo>
                    <a:lnTo>
                      <a:pt x="51" y="9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1049568" name="iṥľîḋé"/>
              <p:cNvSpPr/>
              <p:nvPr/>
            </p:nvSpPr>
            <p:spPr bwMode="auto">
              <a:xfrm>
                <a:off x="3081234" y="4948828"/>
                <a:ext cx="101600" cy="93663"/>
              </a:xfrm>
              <a:custGeom>
                <a:avLst/>
                <a:gdLst>
                  <a:gd name="T0" fmla="*/ 64 w 64"/>
                  <a:gd name="T1" fmla="*/ 36 h 59"/>
                  <a:gd name="T2" fmla="*/ 18 w 64"/>
                  <a:gd name="T3" fmla="*/ 59 h 59"/>
                  <a:gd name="T4" fmla="*/ 14 w 64"/>
                  <a:gd name="T5" fmla="*/ 50 h 59"/>
                  <a:gd name="T6" fmla="*/ 35 w 64"/>
                  <a:gd name="T7" fmla="*/ 16 h 59"/>
                  <a:gd name="T8" fmla="*/ 3 w 64"/>
                  <a:gd name="T9" fmla="*/ 31 h 59"/>
                  <a:gd name="T10" fmla="*/ 0 w 64"/>
                  <a:gd name="T11" fmla="*/ 22 h 59"/>
                  <a:gd name="T12" fmla="*/ 45 w 64"/>
                  <a:gd name="T13" fmla="*/ 0 h 59"/>
                  <a:gd name="T14" fmla="*/ 50 w 64"/>
                  <a:gd name="T15" fmla="*/ 8 h 59"/>
                  <a:gd name="T16" fmla="*/ 29 w 64"/>
                  <a:gd name="T17" fmla="*/ 42 h 59"/>
                  <a:gd name="T18" fmla="*/ 59 w 64"/>
                  <a:gd name="T19" fmla="*/ 26 h 59"/>
                  <a:gd name="T20" fmla="*/ 64 w 64"/>
                  <a:gd name="T21" fmla="*/ 36 h 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64" h="59">
                    <a:moveTo>
                      <a:pt x="64" y="36"/>
                    </a:moveTo>
                    <a:lnTo>
                      <a:pt x="18" y="59"/>
                    </a:lnTo>
                    <a:lnTo>
                      <a:pt x="14" y="50"/>
                    </a:lnTo>
                    <a:lnTo>
                      <a:pt x="35" y="16"/>
                    </a:lnTo>
                    <a:lnTo>
                      <a:pt x="3" y="31"/>
                    </a:lnTo>
                    <a:lnTo>
                      <a:pt x="0" y="22"/>
                    </a:lnTo>
                    <a:lnTo>
                      <a:pt x="45" y="0"/>
                    </a:lnTo>
                    <a:lnTo>
                      <a:pt x="50" y="8"/>
                    </a:lnTo>
                    <a:lnTo>
                      <a:pt x="29" y="42"/>
                    </a:lnTo>
                    <a:lnTo>
                      <a:pt x="59" y="26"/>
                    </a:lnTo>
                    <a:lnTo>
                      <a:pt x="64" y="36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1049569" name="îślidè"/>
              <p:cNvSpPr/>
              <p:nvPr/>
            </p:nvSpPr>
            <p:spPr bwMode="auto">
              <a:xfrm>
                <a:off x="3047897" y="4877390"/>
                <a:ext cx="84138" cy="88900"/>
              </a:xfrm>
              <a:custGeom>
                <a:avLst/>
                <a:gdLst>
                  <a:gd name="T0" fmla="*/ 28 w 46"/>
                  <a:gd name="T1" fmla="*/ 21 h 48"/>
                  <a:gd name="T2" fmla="*/ 22 w 46"/>
                  <a:gd name="T3" fmla="*/ 25 h 48"/>
                  <a:gd name="T4" fmla="*/ 11 w 46"/>
                  <a:gd name="T5" fmla="*/ 9 h 48"/>
                  <a:gd name="T6" fmla="*/ 26 w 46"/>
                  <a:gd name="T7" fmla="*/ 0 h 48"/>
                  <a:gd name="T8" fmla="*/ 35 w 46"/>
                  <a:gd name="T9" fmla="*/ 4 h 48"/>
                  <a:gd name="T10" fmla="*/ 42 w 46"/>
                  <a:gd name="T11" fmla="*/ 12 h 48"/>
                  <a:gd name="T12" fmla="*/ 46 w 46"/>
                  <a:gd name="T13" fmla="*/ 24 h 48"/>
                  <a:gd name="T14" fmla="*/ 43 w 46"/>
                  <a:gd name="T15" fmla="*/ 35 h 48"/>
                  <a:gd name="T16" fmla="*/ 35 w 46"/>
                  <a:gd name="T17" fmla="*/ 43 h 48"/>
                  <a:gd name="T18" fmla="*/ 23 w 46"/>
                  <a:gd name="T19" fmla="*/ 47 h 48"/>
                  <a:gd name="T20" fmla="*/ 12 w 46"/>
                  <a:gd name="T21" fmla="*/ 45 h 48"/>
                  <a:gd name="T22" fmla="*/ 4 w 46"/>
                  <a:gd name="T23" fmla="*/ 37 h 48"/>
                  <a:gd name="T24" fmla="*/ 0 w 46"/>
                  <a:gd name="T25" fmla="*/ 24 h 48"/>
                  <a:gd name="T26" fmla="*/ 5 w 46"/>
                  <a:gd name="T27" fmla="*/ 14 h 48"/>
                  <a:gd name="T28" fmla="*/ 11 w 46"/>
                  <a:gd name="T29" fmla="*/ 21 h 48"/>
                  <a:gd name="T30" fmla="*/ 9 w 46"/>
                  <a:gd name="T31" fmla="*/ 27 h 48"/>
                  <a:gd name="T32" fmla="*/ 11 w 46"/>
                  <a:gd name="T33" fmla="*/ 33 h 48"/>
                  <a:gd name="T34" fmla="*/ 19 w 46"/>
                  <a:gd name="T35" fmla="*/ 39 h 48"/>
                  <a:gd name="T36" fmla="*/ 30 w 46"/>
                  <a:gd name="T37" fmla="*/ 36 h 48"/>
                  <a:gd name="T38" fmla="*/ 38 w 46"/>
                  <a:gd name="T39" fmla="*/ 26 h 48"/>
                  <a:gd name="T40" fmla="*/ 36 w 46"/>
                  <a:gd name="T41" fmla="*/ 17 h 48"/>
                  <a:gd name="T42" fmla="*/ 32 w 46"/>
                  <a:gd name="T43" fmla="*/ 13 h 48"/>
                  <a:gd name="T44" fmla="*/ 27 w 46"/>
                  <a:gd name="T45" fmla="*/ 10 h 48"/>
                  <a:gd name="T46" fmla="*/ 23 w 46"/>
                  <a:gd name="T47" fmla="*/ 13 h 48"/>
                  <a:gd name="T48" fmla="*/ 28 w 46"/>
                  <a:gd name="T49" fmla="*/ 21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46" h="48">
                    <a:moveTo>
                      <a:pt x="28" y="21"/>
                    </a:moveTo>
                    <a:cubicBezTo>
                      <a:pt x="22" y="25"/>
                      <a:pt x="22" y="25"/>
                      <a:pt x="22" y="25"/>
                    </a:cubicBezTo>
                    <a:cubicBezTo>
                      <a:pt x="11" y="9"/>
                      <a:pt x="11" y="9"/>
                      <a:pt x="11" y="9"/>
                    </a:cubicBezTo>
                    <a:cubicBezTo>
                      <a:pt x="26" y="0"/>
                      <a:pt x="26" y="0"/>
                      <a:pt x="26" y="0"/>
                    </a:cubicBezTo>
                    <a:cubicBezTo>
                      <a:pt x="29" y="1"/>
                      <a:pt x="31" y="2"/>
                      <a:pt x="35" y="4"/>
                    </a:cubicBezTo>
                    <a:cubicBezTo>
                      <a:pt x="38" y="6"/>
                      <a:pt x="40" y="9"/>
                      <a:pt x="42" y="12"/>
                    </a:cubicBezTo>
                    <a:cubicBezTo>
                      <a:pt x="45" y="16"/>
                      <a:pt x="46" y="20"/>
                      <a:pt x="46" y="24"/>
                    </a:cubicBezTo>
                    <a:cubicBezTo>
                      <a:pt x="46" y="28"/>
                      <a:pt x="45" y="31"/>
                      <a:pt x="43" y="35"/>
                    </a:cubicBezTo>
                    <a:cubicBezTo>
                      <a:pt x="41" y="38"/>
                      <a:pt x="38" y="41"/>
                      <a:pt x="35" y="43"/>
                    </a:cubicBezTo>
                    <a:cubicBezTo>
                      <a:pt x="31" y="46"/>
                      <a:pt x="27" y="47"/>
                      <a:pt x="23" y="47"/>
                    </a:cubicBezTo>
                    <a:cubicBezTo>
                      <a:pt x="19" y="48"/>
                      <a:pt x="15" y="47"/>
                      <a:pt x="12" y="45"/>
                    </a:cubicBezTo>
                    <a:cubicBezTo>
                      <a:pt x="9" y="43"/>
                      <a:pt x="6" y="41"/>
                      <a:pt x="4" y="37"/>
                    </a:cubicBezTo>
                    <a:cubicBezTo>
                      <a:pt x="1" y="32"/>
                      <a:pt x="0" y="28"/>
                      <a:pt x="0" y="24"/>
                    </a:cubicBezTo>
                    <a:cubicBezTo>
                      <a:pt x="0" y="21"/>
                      <a:pt x="2" y="17"/>
                      <a:pt x="5" y="14"/>
                    </a:cubicBezTo>
                    <a:cubicBezTo>
                      <a:pt x="11" y="21"/>
                      <a:pt x="11" y="21"/>
                      <a:pt x="11" y="21"/>
                    </a:cubicBezTo>
                    <a:cubicBezTo>
                      <a:pt x="10" y="23"/>
                      <a:pt x="9" y="24"/>
                      <a:pt x="9" y="27"/>
                    </a:cubicBezTo>
                    <a:cubicBezTo>
                      <a:pt x="8" y="29"/>
                      <a:pt x="9" y="31"/>
                      <a:pt x="11" y="33"/>
                    </a:cubicBezTo>
                    <a:cubicBezTo>
                      <a:pt x="13" y="36"/>
                      <a:pt x="15" y="38"/>
                      <a:pt x="19" y="39"/>
                    </a:cubicBezTo>
                    <a:cubicBezTo>
                      <a:pt x="22" y="39"/>
                      <a:pt x="26" y="38"/>
                      <a:pt x="30" y="36"/>
                    </a:cubicBezTo>
                    <a:cubicBezTo>
                      <a:pt x="34" y="33"/>
                      <a:pt x="37" y="30"/>
                      <a:pt x="38" y="26"/>
                    </a:cubicBezTo>
                    <a:cubicBezTo>
                      <a:pt x="39" y="23"/>
                      <a:pt x="38" y="20"/>
                      <a:pt x="36" y="17"/>
                    </a:cubicBezTo>
                    <a:cubicBezTo>
                      <a:pt x="35" y="15"/>
                      <a:pt x="34" y="14"/>
                      <a:pt x="32" y="13"/>
                    </a:cubicBezTo>
                    <a:cubicBezTo>
                      <a:pt x="30" y="11"/>
                      <a:pt x="29" y="10"/>
                      <a:pt x="27" y="10"/>
                    </a:cubicBezTo>
                    <a:cubicBezTo>
                      <a:pt x="23" y="13"/>
                      <a:pt x="23" y="13"/>
                      <a:pt x="23" y="13"/>
                    </a:cubicBezTo>
                    <a:lnTo>
                      <a:pt x="28" y="21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1049570" name="îŝ1ide"/>
              <p:cNvSpPr/>
              <p:nvPr/>
            </p:nvSpPr>
            <p:spPr bwMode="auto">
              <a:xfrm>
                <a:off x="1981097" y="4907553"/>
                <a:ext cx="931863" cy="969963"/>
              </a:xfrm>
              <a:custGeom>
                <a:avLst/>
                <a:gdLst>
                  <a:gd name="T0" fmla="*/ 488 w 506"/>
                  <a:gd name="T1" fmla="*/ 144 h 525"/>
                  <a:gd name="T2" fmla="*/ 449 w 506"/>
                  <a:gd name="T3" fmla="*/ 161 h 525"/>
                  <a:gd name="T4" fmla="*/ 473 w 506"/>
                  <a:gd name="T5" fmla="*/ 361 h 525"/>
                  <a:gd name="T6" fmla="*/ 434 w 506"/>
                  <a:gd name="T7" fmla="*/ 382 h 525"/>
                  <a:gd name="T8" fmla="*/ 463 w 506"/>
                  <a:gd name="T9" fmla="*/ 392 h 525"/>
                  <a:gd name="T10" fmla="*/ 434 w 506"/>
                  <a:gd name="T11" fmla="*/ 455 h 525"/>
                  <a:gd name="T12" fmla="*/ 418 w 506"/>
                  <a:gd name="T13" fmla="*/ 525 h 525"/>
                  <a:gd name="T14" fmla="*/ 328 w 506"/>
                  <a:gd name="T15" fmla="*/ 392 h 525"/>
                  <a:gd name="T16" fmla="*/ 200 w 506"/>
                  <a:gd name="T17" fmla="*/ 376 h 525"/>
                  <a:gd name="T18" fmla="*/ 179 w 506"/>
                  <a:gd name="T19" fmla="*/ 525 h 525"/>
                  <a:gd name="T20" fmla="*/ 72 w 506"/>
                  <a:gd name="T21" fmla="*/ 510 h 525"/>
                  <a:gd name="T22" fmla="*/ 44 w 506"/>
                  <a:gd name="T23" fmla="*/ 439 h 525"/>
                  <a:gd name="T24" fmla="*/ 72 w 506"/>
                  <a:gd name="T25" fmla="*/ 392 h 525"/>
                  <a:gd name="T26" fmla="*/ 57 w 506"/>
                  <a:gd name="T27" fmla="*/ 382 h 525"/>
                  <a:gd name="T28" fmla="*/ 18 w 506"/>
                  <a:gd name="T29" fmla="*/ 161 h 525"/>
                  <a:gd name="T30" fmla="*/ 56 w 506"/>
                  <a:gd name="T31" fmla="*/ 144 h 525"/>
                  <a:gd name="T32" fmla="*/ 0 w 506"/>
                  <a:gd name="T33" fmla="*/ 21 h 525"/>
                  <a:gd name="T34" fmla="*/ 92 w 506"/>
                  <a:gd name="T35" fmla="*/ 21 h 525"/>
                  <a:gd name="T36" fmla="*/ 403 w 506"/>
                  <a:gd name="T37" fmla="*/ 82 h 525"/>
                  <a:gd name="T38" fmla="*/ 457 w 506"/>
                  <a:gd name="T39" fmla="*/ 0 h 525"/>
                  <a:gd name="T40" fmla="*/ 461 w 506"/>
                  <a:gd name="T41" fmla="*/ 82 h 525"/>
                  <a:gd name="T42" fmla="*/ 455 w 506"/>
                  <a:gd name="T43" fmla="*/ 24 h 525"/>
                  <a:gd name="T44" fmla="*/ 435 w 506"/>
                  <a:gd name="T45" fmla="*/ 82 h 525"/>
                  <a:gd name="T46" fmla="*/ 454 w 506"/>
                  <a:gd name="T47" fmla="*/ 127 h 525"/>
                  <a:gd name="T48" fmla="*/ 49 w 506"/>
                  <a:gd name="T49" fmla="*/ 112 h 525"/>
                  <a:gd name="T50" fmla="*/ 78 w 506"/>
                  <a:gd name="T51" fmla="*/ 127 h 525"/>
                  <a:gd name="T52" fmla="*/ 81 w 506"/>
                  <a:gd name="T53" fmla="*/ 161 h 525"/>
                  <a:gd name="T54" fmla="*/ 426 w 506"/>
                  <a:gd name="T55" fmla="*/ 145 h 525"/>
                  <a:gd name="T56" fmla="*/ 454 w 506"/>
                  <a:gd name="T57" fmla="*/ 127 h 525"/>
                  <a:gd name="T58" fmla="*/ 450 w 506"/>
                  <a:gd name="T59" fmla="*/ 178 h 525"/>
                  <a:gd name="T60" fmla="*/ 65 w 506"/>
                  <a:gd name="T61" fmla="*/ 335 h 525"/>
                  <a:gd name="T62" fmla="*/ 421 w 506"/>
                  <a:gd name="T63" fmla="*/ 349 h 525"/>
                  <a:gd name="T64" fmla="*/ 398 w 506"/>
                  <a:gd name="T65" fmla="*/ 490 h 525"/>
                  <a:gd name="T66" fmla="*/ 356 w 506"/>
                  <a:gd name="T67" fmla="*/ 371 h 525"/>
                  <a:gd name="T68" fmla="*/ 389 w 506"/>
                  <a:gd name="T69" fmla="*/ 496 h 525"/>
                  <a:gd name="T70" fmla="*/ 150 w 506"/>
                  <a:gd name="T71" fmla="*/ 496 h 525"/>
                  <a:gd name="T72" fmla="*/ 108 w 506"/>
                  <a:gd name="T73" fmla="*/ 371 h 525"/>
                  <a:gd name="T74" fmla="*/ 117 w 506"/>
                  <a:gd name="T75" fmla="*/ 496 h 525"/>
                  <a:gd name="T76" fmla="*/ 71 w 506"/>
                  <a:gd name="T77" fmla="*/ 82 h 525"/>
                  <a:gd name="T78" fmla="*/ 51 w 506"/>
                  <a:gd name="T79" fmla="*/ 24 h 525"/>
                  <a:gd name="T80" fmla="*/ 45 w 506"/>
                  <a:gd name="T81" fmla="*/ 82 h 5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506" h="525">
                    <a:moveTo>
                      <a:pt x="506" y="21"/>
                    </a:moveTo>
                    <a:cubicBezTo>
                      <a:pt x="488" y="144"/>
                      <a:pt x="488" y="144"/>
                      <a:pt x="488" y="144"/>
                    </a:cubicBezTo>
                    <a:cubicBezTo>
                      <a:pt x="450" y="144"/>
                      <a:pt x="450" y="144"/>
                      <a:pt x="450" y="144"/>
                    </a:cubicBezTo>
                    <a:cubicBezTo>
                      <a:pt x="449" y="161"/>
                      <a:pt x="449" y="161"/>
                      <a:pt x="449" y="161"/>
                    </a:cubicBezTo>
                    <a:cubicBezTo>
                      <a:pt x="488" y="161"/>
                      <a:pt x="488" y="161"/>
                      <a:pt x="488" y="161"/>
                    </a:cubicBezTo>
                    <a:cubicBezTo>
                      <a:pt x="473" y="361"/>
                      <a:pt x="473" y="361"/>
                      <a:pt x="473" y="361"/>
                    </a:cubicBezTo>
                    <a:cubicBezTo>
                      <a:pt x="473" y="372"/>
                      <a:pt x="462" y="382"/>
                      <a:pt x="450" y="382"/>
                    </a:cubicBezTo>
                    <a:cubicBezTo>
                      <a:pt x="434" y="382"/>
                      <a:pt x="434" y="382"/>
                      <a:pt x="434" y="382"/>
                    </a:cubicBezTo>
                    <a:cubicBezTo>
                      <a:pt x="434" y="392"/>
                      <a:pt x="434" y="392"/>
                      <a:pt x="434" y="392"/>
                    </a:cubicBezTo>
                    <a:cubicBezTo>
                      <a:pt x="463" y="392"/>
                      <a:pt x="463" y="392"/>
                      <a:pt x="463" y="392"/>
                    </a:cubicBezTo>
                    <a:cubicBezTo>
                      <a:pt x="463" y="439"/>
                      <a:pt x="463" y="439"/>
                      <a:pt x="463" y="439"/>
                    </a:cubicBezTo>
                    <a:cubicBezTo>
                      <a:pt x="463" y="448"/>
                      <a:pt x="450" y="455"/>
                      <a:pt x="434" y="455"/>
                    </a:cubicBezTo>
                    <a:cubicBezTo>
                      <a:pt x="434" y="510"/>
                      <a:pt x="434" y="510"/>
                      <a:pt x="434" y="510"/>
                    </a:cubicBezTo>
                    <a:cubicBezTo>
                      <a:pt x="434" y="518"/>
                      <a:pt x="427" y="525"/>
                      <a:pt x="418" y="525"/>
                    </a:cubicBezTo>
                    <a:cubicBezTo>
                      <a:pt x="328" y="525"/>
                      <a:pt x="328" y="525"/>
                      <a:pt x="328" y="525"/>
                    </a:cubicBezTo>
                    <a:cubicBezTo>
                      <a:pt x="328" y="392"/>
                      <a:pt x="328" y="392"/>
                      <a:pt x="328" y="392"/>
                    </a:cubicBezTo>
                    <a:cubicBezTo>
                      <a:pt x="328" y="383"/>
                      <a:pt x="318" y="376"/>
                      <a:pt x="307" y="376"/>
                    </a:cubicBezTo>
                    <a:cubicBezTo>
                      <a:pt x="200" y="376"/>
                      <a:pt x="200" y="376"/>
                      <a:pt x="200" y="376"/>
                    </a:cubicBezTo>
                    <a:cubicBezTo>
                      <a:pt x="188" y="376"/>
                      <a:pt x="179" y="383"/>
                      <a:pt x="179" y="392"/>
                    </a:cubicBezTo>
                    <a:cubicBezTo>
                      <a:pt x="179" y="525"/>
                      <a:pt x="179" y="525"/>
                      <a:pt x="179" y="525"/>
                    </a:cubicBezTo>
                    <a:cubicBezTo>
                      <a:pt x="89" y="525"/>
                      <a:pt x="89" y="525"/>
                      <a:pt x="89" y="525"/>
                    </a:cubicBezTo>
                    <a:cubicBezTo>
                      <a:pt x="80" y="525"/>
                      <a:pt x="72" y="518"/>
                      <a:pt x="72" y="510"/>
                    </a:cubicBezTo>
                    <a:cubicBezTo>
                      <a:pt x="72" y="455"/>
                      <a:pt x="72" y="455"/>
                      <a:pt x="72" y="455"/>
                    </a:cubicBezTo>
                    <a:cubicBezTo>
                      <a:pt x="56" y="455"/>
                      <a:pt x="44" y="448"/>
                      <a:pt x="44" y="439"/>
                    </a:cubicBezTo>
                    <a:cubicBezTo>
                      <a:pt x="44" y="392"/>
                      <a:pt x="44" y="392"/>
                      <a:pt x="44" y="392"/>
                    </a:cubicBezTo>
                    <a:cubicBezTo>
                      <a:pt x="72" y="392"/>
                      <a:pt x="72" y="392"/>
                      <a:pt x="72" y="392"/>
                    </a:cubicBezTo>
                    <a:cubicBezTo>
                      <a:pt x="72" y="382"/>
                      <a:pt x="72" y="382"/>
                      <a:pt x="72" y="382"/>
                    </a:cubicBezTo>
                    <a:cubicBezTo>
                      <a:pt x="57" y="382"/>
                      <a:pt x="57" y="382"/>
                      <a:pt x="57" y="382"/>
                    </a:cubicBezTo>
                    <a:cubicBezTo>
                      <a:pt x="44" y="382"/>
                      <a:pt x="34" y="372"/>
                      <a:pt x="34" y="361"/>
                    </a:cubicBezTo>
                    <a:cubicBezTo>
                      <a:pt x="18" y="161"/>
                      <a:pt x="18" y="161"/>
                      <a:pt x="18" y="161"/>
                    </a:cubicBezTo>
                    <a:cubicBezTo>
                      <a:pt x="58" y="161"/>
                      <a:pt x="58" y="161"/>
                      <a:pt x="58" y="161"/>
                    </a:cubicBezTo>
                    <a:cubicBezTo>
                      <a:pt x="56" y="144"/>
                      <a:pt x="56" y="144"/>
                      <a:pt x="56" y="144"/>
                    </a:cubicBezTo>
                    <a:cubicBezTo>
                      <a:pt x="18" y="144"/>
                      <a:pt x="18" y="144"/>
                      <a:pt x="18" y="144"/>
                    </a:cubicBezTo>
                    <a:cubicBezTo>
                      <a:pt x="0" y="21"/>
                      <a:pt x="0" y="21"/>
                      <a:pt x="0" y="21"/>
                    </a:cubicBezTo>
                    <a:cubicBezTo>
                      <a:pt x="2" y="7"/>
                      <a:pt x="31" y="0"/>
                      <a:pt x="49" y="0"/>
                    </a:cubicBezTo>
                    <a:cubicBezTo>
                      <a:pt x="73" y="0"/>
                      <a:pt x="80" y="3"/>
                      <a:pt x="92" y="21"/>
                    </a:cubicBezTo>
                    <a:cubicBezTo>
                      <a:pt x="103" y="82"/>
                      <a:pt x="103" y="82"/>
                      <a:pt x="103" y="82"/>
                    </a:cubicBezTo>
                    <a:cubicBezTo>
                      <a:pt x="403" y="82"/>
                      <a:pt x="403" y="82"/>
                      <a:pt x="403" y="82"/>
                    </a:cubicBezTo>
                    <a:cubicBezTo>
                      <a:pt x="415" y="21"/>
                      <a:pt x="415" y="21"/>
                      <a:pt x="415" y="21"/>
                    </a:cubicBezTo>
                    <a:cubicBezTo>
                      <a:pt x="426" y="3"/>
                      <a:pt x="433" y="0"/>
                      <a:pt x="457" y="0"/>
                    </a:cubicBezTo>
                    <a:cubicBezTo>
                      <a:pt x="475" y="0"/>
                      <a:pt x="504" y="7"/>
                      <a:pt x="506" y="21"/>
                    </a:cubicBezTo>
                    <a:close/>
                    <a:moveTo>
                      <a:pt x="461" y="82"/>
                    </a:moveTo>
                    <a:cubicBezTo>
                      <a:pt x="469" y="32"/>
                      <a:pt x="469" y="32"/>
                      <a:pt x="469" y="32"/>
                    </a:cubicBezTo>
                    <a:cubicBezTo>
                      <a:pt x="469" y="24"/>
                      <a:pt x="463" y="24"/>
                      <a:pt x="455" y="24"/>
                    </a:cubicBezTo>
                    <a:cubicBezTo>
                      <a:pt x="450" y="24"/>
                      <a:pt x="447" y="26"/>
                      <a:pt x="445" y="32"/>
                    </a:cubicBezTo>
                    <a:cubicBezTo>
                      <a:pt x="435" y="82"/>
                      <a:pt x="435" y="82"/>
                      <a:pt x="435" y="82"/>
                    </a:cubicBezTo>
                    <a:lnTo>
                      <a:pt x="461" y="82"/>
                    </a:lnTo>
                    <a:close/>
                    <a:moveTo>
                      <a:pt x="454" y="127"/>
                    </a:moveTo>
                    <a:cubicBezTo>
                      <a:pt x="457" y="112"/>
                      <a:pt x="457" y="112"/>
                      <a:pt x="457" y="112"/>
                    </a:cubicBezTo>
                    <a:cubicBezTo>
                      <a:pt x="49" y="112"/>
                      <a:pt x="49" y="112"/>
                      <a:pt x="49" y="112"/>
                    </a:cubicBezTo>
                    <a:cubicBezTo>
                      <a:pt x="52" y="127"/>
                      <a:pt x="52" y="127"/>
                      <a:pt x="52" y="127"/>
                    </a:cubicBezTo>
                    <a:cubicBezTo>
                      <a:pt x="78" y="127"/>
                      <a:pt x="78" y="127"/>
                      <a:pt x="78" y="127"/>
                    </a:cubicBezTo>
                    <a:cubicBezTo>
                      <a:pt x="80" y="145"/>
                      <a:pt x="80" y="145"/>
                      <a:pt x="80" y="145"/>
                    </a:cubicBezTo>
                    <a:cubicBezTo>
                      <a:pt x="81" y="161"/>
                      <a:pt x="81" y="161"/>
                      <a:pt x="81" y="161"/>
                    </a:cubicBezTo>
                    <a:cubicBezTo>
                      <a:pt x="425" y="161"/>
                      <a:pt x="425" y="161"/>
                      <a:pt x="425" y="161"/>
                    </a:cubicBezTo>
                    <a:cubicBezTo>
                      <a:pt x="426" y="145"/>
                      <a:pt x="426" y="145"/>
                      <a:pt x="426" y="145"/>
                    </a:cubicBezTo>
                    <a:cubicBezTo>
                      <a:pt x="428" y="127"/>
                      <a:pt x="428" y="127"/>
                      <a:pt x="428" y="127"/>
                    </a:cubicBezTo>
                    <a:lnTo>
                      <a:pt x="454" y="127"/>
                    </a:lnTo>
                    <a:close/>
                    <a:moveTo>
                      <a:pt x="441" y="335"/>
                    </a:moveTo>
                    <a:cubicBezTo>
                      <a:pt x="450" y="178"/>
                      <a:pt x="450" y="178"/>
                      <a:pt x="450" y="178"/>
                    </a:cubicBezTo>
                    <a:cubicBezTo>
                      <a:pt x="56" y="178"/>
                      <a:pt x="56" y="178"/>
                      <a:pt x="56" y="178"/>
                    </a:cubicBezTo>
                    <a:cubicBezTo>
                      <a:pt x="65" y="335"/>
                      <a:pt x="65" y="335"/>
                      <a:pt x="65" y="335"/>
                    </a:cubicBezTo>
                    <a:cubicBezTo>
                      <a:pt x="65" y="343"/>
                      <a:pt x="74" y="349"/>
                      <a:pt x="85" y="349"/>
                    </a:cubicBezTo>
                    <a:cubicBezTo>
                      <a:pt x="421" y="349"/>
                      <a:pt x="421" y="349"/>
                      <a:pt x="421" y="349"/>
                    </a:cubicBezTo>
                    <a:cubicBezTo>
                      <a:pt x="432" y="349"/>
                      <a:pt x="441" y="343"/>
                      <a:pt x="441" y="335"/>
                    </a:cubicBezTo>
                    <a:close/>
                    <a:moveTo>
                      <a:pt x="398" y="490"/>
                    </a:moveTo>
                    <a:cubicBezTo>
                      <a:pt x="398" y="371"/>
                      <a:pt x="398" y="371"/>
                      <a:pt x="398" y="371"/>
                    </a:cubicBezTo>
                    <a:cubicBezTo>
                      <a:pt x="356" y="371"/>
                      <a:pt x="356" y="371"/>
                      <a:pt x="356" y="371"/>
                    </a:cubicBezTo>
                    <a:cubicBezTo>
                      <a:pt x="356" y="496"/>
                      <a:pt x="356" y="496"/>
                      <a:pt x="356" y="496"/>
                    </a:cubicBezTo>
                    <a:cubicBezTo>
                      <a:pt x="389" y="496"/>
                      <a:pt x="389" y="496"/>
                      <a:pt x="389" y="496"/>
                    </a:cubicBezTo>
                    <a:cubicBezTo>
                      <a:pt x="394" y="496"/>
                      <a:pt x="398" y="496"/>
                      <a:pt x="398" y="490"/>
                    </a:cubicBezTo>
                    <a:close/>
                    <a:moveTo>
                      <a:pt x="150" y="496"/>
                    </a:moveTo>
                    <a:cubicBezTo>
                      <a:pt x="150" y="371"/>
                      <a:pt x="150" y="371"/>
                      <a:pt x="150" y="371"/>
                    </a:cubicBezTo>
                    <a:cubicBezTo>
                      <a:pt x="108" y="371"/>
                      <a:pt x="108" y="371"/>
                      <a:pt x="108" y="371"/>
                    </a:cubicBezTo>
                    <a:cubicBezTo>
                      <a:pt x="108" y="490"/>
                      <a:pt x="108" y="490"/>
                      <a:pt x="108" y="490"/>
                    </a:cubicBezTo>
                    <a:cubicBezTo>
                      <a:pt x="108" y="496"/>
                      <a:pt x="112" y="496"/>
                      <a:pt x="117" y="496"/>
                    </a:cubicBezTo>
                    <a:lnTo>
                      <a:pt x="150" y="496"/>
                    </a:lnTo>
                    <a:close/>
                    <a:moveTo>
                      <a:pt x="71" y="82"/>
                    </a:moveTo>
                    <a:cubicBezTo>
                      <a:pt x="61" y="32"/>
                      <a:pt x="61" y="32"/>
                      <a:pt x="61" y="32"/>
                    </a:cubicBezTo>
                    <a:cubicBezTo>
                      <a:pt x="60" y="26"/>
                      <a:pt x="57" y="24"/>
                      <a:pt x="51" y="24"/>
                    </a:cubicBezTo>
                    <a:cubicBezTo>
                      <a:pt x="43" y="24"/>
                      <a:pt x="37" y="24"/>
                      <a:pt x="37" y="32"/>
                    </a:cubicBezTo>
                    <a:cubicBezTo>
                      <a:pt x="45" y="82"/>
                      <a:pt x="45" y="82"/>
                      <a:pt x="45" y="82"/>
                    </a:cubicBezTo>
                    <a:lnTo>
                      <a:pt x="71" y="82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1049571" name="í$ḻíde"/>
              <p:cNvSpPr/>
              <p:nvPr/>
            </p:nvSpPr>
            <p:spPr bwMode="auto">
              <a:xfrm>
                <a:off x="2144609" y="5142503"/>
                <a:ext cx="604838" cy="31750"/>
              </a:xfrm>
              <a:prstGeom prst="rect">
                <a:avLst/>
              </a:pr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</p:grpSp>
      </p:grpSp>
      <p:grpSp>
        <p:nvGrpSpPr>
          <p:cNvPr id="201" name="组合 297"/>
          <p:cNvGrpSpPr/>
          <p:nvPr userDrawn="1"/>
        </p:nvGrpSpPr>
        <p:grpSpPr>
          <a:xfrm>
            <a:off x="3989822" y="1457555"/>
            <a:ext cx="1164357" cy="320434"/>
            <a:chOff x="5180266" y="4756740"/>
            <a:chExt cx="5753100" cy="1187451"/>
          </a:xfrm>
          <a:solidFill>
            <a:srgbClr val="F2C68E"/>
          </a:solidFill>
        </p:grpSpPr>
        <p:sp>
          <p:nvSpPr>
            <p:cNvPr id="1049572" name="ïṩļîḑê"/>
            <p:cNvSpPr/>
            <p:nvPr/>
          </p:nvSpPr>
          <p:spPr bwMode="auto">
            <a:xfrm>
              <a:off x="10319003" y="4805953"/>
              <a:ext cx="600075" cy="771525"/>
            </a:xfrm>
            <a:custGeom>
              <a:avLst/>
              <a:gdLst>
                <a:gd name="T0" fmla="*/ 210 w 325"/>
                <a:gd name="T1" fmla="*/ 140 h 418"/>
                <a:gd name="T2" fmla="*/ 237 w 325"/>
                <a:gd name="T3" fmla="*/ 155 h 418"/>
                <a:gd name="T4" fmla="*/ 161 w 325"/>
                <a:gd name="T5" fmla="*/ 179 h 418"/>
                <a:gd name="T6" fmla="*/ 187 w 325"/>
                <a:gd name="T7" fmla="*/ 68 h 418"/>
                <a:gd name="T8" fmla="*/ 230 w 325"/>
                <a:gd name="T9" fmla="*/ 40 h 418"/>
                <a:gd name="T10" fmla="*/ 199 w 325"/>
                <a:gd name="T11" fmla="*/ 85 h 418"/>
                <a:gd name="T12" fmla="*/ 99 w 325"/>
                <a:gd name="T13" fmla="*/ 132 h 418"/>
                <a:gd name="T14" fmla="*/ 132 w 325"/>
                <a:gd name="T15" fmla="*/ 83 h 418"/>
                <a:gd name="T16" fmla="*/ 174 w 325"/>
                <a:gd name="T17" fmla="*/ 116 h 418"/>
                <a:gd name="T18" fmla="*/ 59 w 325"/>
                <a:gd name="T19" fmla="*/ 198 h 418"/>
                <a:gd name="T20" fmla="*/ 16 w 325"/>
                <a:gd name="T21" fmla="*/ 224 h 418"/>
                <a:gd name="T22" fmla="*/ 17 w 325"/>
                <a:gd name="T23" fmla="*/ 314 h 418"/>
                <a:gd name="T24" fmla="*/ 55 w 325"/>
                <a:gd name="T25" fmla="*/ 244 h 418"/>
                <a:gd name="T26" fmla="*/ 131 w 325"/>
                <a:gd name="T27" fmla="*/ 194 h 418"/>
                <a:gd name="T28" fmla="*/ 111 w 325"/>
                <a:gd name="T29" fmla="*/ 251 h 418"/>
                <a:gd name="T30" fmla="*/ 148 w 325"/>
                <a:gd name="T31" fmla="*/ 246 h 418"/>
                <a:gd name="T32" fmla="*/ 184 w 325"/>
                <a:gd name="T33" fmla="*/ 243 h 418"/>
                <a:gd name="T34" fmla="*/ 131 w 325"/>
                <a:gd name="T35" fmla="*/ 281 h 418"/>
                <a:gd name="T36" fmla="*/ 76 w 325"/>
                <a:gd name="T37" fmla="*/ 299 h 418"/>
                <a:gd name="T38" fmla="*/ 134 w 325"/>
                <a:gd name="T39" fmla="*/ 334 h 418"/>
                <a:gd name="T40" fmla="*/ 203 w 325"/>
                <a:gd name="T41" fmla="*/ 298 h 418"/>
                <a:gd name="T42" fmla="*/ 206 w 325"/>
                <a:gd name="T43" fmla="*/ 350 h 418"/>
                <a:gd name="T44" fmla="*/ 165 w 325"/>
                <a:gd name="T45" fmla="*/ 378 h 418"/>
                <a:gd name="T46" fmla="*/ 144 w 325"/>
                <a:gd name="T47" fmla="*/ 410 h 418"/>
                <a:gd name="T48" fmla="*/ 228 w 325"/>
                <a:gd name="T49" fmla="*/ 408 h 418"/>
                <a:gd name="T50" fmla="*/ 239 w 325"/>
                <a:gd name="T51" fmla="*/ 307 h 418"/>
                <a:gd name="T52" fmla="*/ 273 w 325"/>
                <a:gd name="T53" fmla="*/ 283 h 418"/>
                <a:gd name="T54" fmla="*/ 271 w 325"/>
                <a:gd name="T55" fmla="*/ 239 h 418"/>
                <a:gd name="T56" fmla="*/ 233 w 325"/>
                <a:gd name="T57" fmla="*/ 226 h 418"/>
                <a:gd name="T58" fmla="*/ 261 w 325"/>
                <a:gd name="T59" fmla="*/ 181 h 418"/>
                <a:gd name="T60" fmla="*/ 316 w 325"/>
                <a:gd name="T61" fmla="*/ 167 h 418"/>
                <a:gd name="T62" fmla="*/ 297 w 325"/>
                <a:gd name="T63" fmla="*/ 119 h 418"/>
                <a:gd name="T64" fmla="*/ 251 w 325"/>
                <a:gd name="T65" fmla="*/ 93 h 418"/>
                <a:gd name="T66" fmla="*/ 276 w 325"/>
                <a:gd name="T67" fmla="*/ 34 h 418"/>
                <a:gd name="T68" fmla="*/ 217 w 325"/>
                <a:gd name="T69" fmla="*/ 11 h 418"/>
                <a:gd name="T70" fmla="*/ 164 w 325"/>
                <a:gd name="T71" fmla="*/ 29 h 418"/>
                <a:gd name="T72" fmla="*/ 136 w 325"/>
                <a:gd name="T73" fmla="*/ 43 h 418"/>
                <a:gd name="T74" fmla="*/ 113 w 325"/>
                <a:gd name="T75" fmla="*/ 21 h 418"/>
                <a:gd name="T76" fmla="*/ 78 w 325"/>
                <a:gd name="T77" fmla="*/ 52 h 4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325" h="418">
                  <a:moveTo>
                    <a:pt x="161" y="179"/>
                  </a:moveTo>
                  <a:cubicBezTo>
                    <a:pt x="160" y="178"/>
                    <a:pt x="188" y="143"/>
                    <a:pt x="210" y="140"/>
                  </a:cubicBezTo>
                  <a:cubicBezTo>
                    <a:pt x="232" y="137"/>
                    <a:pt x="226" y="133"/>
                    <a:pt x="238" y="138"/>
                  </a:cubicBezTo>
                  <a:cubicBezTo>
                    <a:pt x="250" y="144"/>
                    <a:pt x="252" y="148"/>
                    <a:pt x="237" y="155"/>
                  </a:cubicBezTo>
                  <a:cubicBezTo>
                    <a:pt x="222" y="162"/>
                    <a:pt x="215" y="168"/>
                    <a:pt x="196" y="171"/>
                  </a:cubicBezTo>
                  <a:cubicBezTo>
                    <a:pt x="177" y="175"/>
                    <a:pt x="163" y="181"/>
                    <a:pt x="161" y="179"/>
                  </a:cubicBezTo>
                  <a:close/>
                  <a:moveTo>
                    <a:pt x="199" y="85"/>
                  </a:moveTo>
                  <a:cubicBezTo>
                    <a:pt x="197" y="87"/>
                    <a:pt x="186" y="79"/>
                    <a:pt x="187" y="68"/>
                  </a:cubicBezTo>
                  <a:cubicBezTo>
                    <a:pt x="188" y="57"/>
                    <a:pt x="197" y="38"/>
                    <a:pt x="211" y="34"/>
                  </a:cubicBezTo>
                  <a:cubicBezTo>
                    <a:pt x="225" y="30"/>
                    <a:pt x="230" y="30"/>
                    <a:pt x="230" y="40"/>
                  </a:cubicBezTo>
                  <a:cubicBezTo>
                    <a:pt x="229" y="51"/>
                    <a:pt x="229" y="62"/>
                    <a:pt x="219" y="71"/>
                  </a:cubicBezTo>
                  <a:cubicBezTo>
                    <a:pt x="210" y="80"/>
                    <a:pt x="201" y="84"/>
                    <a:pt x="199" y="85"/>
                  </a:cubicBezTo>
                  <a:close/>
                  <a:moveTo>
                    <a:pt x="79" y="112"/>
                  </a:moveTo>
                  <a:cubicBezTo>
                    <a:pt x="79" y="113"/>
                    <a:pt x="87" y="125"/>
                    <a:pt x="99" y="132"/>
                  </a:cubicBezTo>
                  <a:cubicBezTo>
                    <a:pt x="112" y="138"/>
                    <a:pt x="119" y="135"/>
                    <a:pt x="129" y="127"/>
                  </a:cubicBezTo>
                  <a:cubicBezTo>
                    <a:pt x="139" y="118"/>
                    <a:pt x="130" y="95"/>
                    <a:pt x="132" y="83"/>
                  </a:cubicBezTo>
                  <a:cubicBezTo>
                    <a:pt x="135" y="70"/>
                    <a:pt x="136" y="73"/>
                    <a:pt x="146" y="75"/>
                  </a:cubicBezTo>
                  <a:cubicBezTo>
                    <a:pt x="156" y="76"/>
                    <a:pt x="173" y="108"/>
                    <a:pt x="174" y="116"/>
                  </a:cubicBezTo>
                  <a:cubicBezTo>
                    <a:pt x="174" y="123"/>
                    <a:pt x="170" y="123"/>
                    <a:pt x="128" y="142"/>
                  </a:cubicBezTo>
                  <a:cubicBezTo>
                    <a:pt x="86" y="161"/>
                    <a:pt x="67" y="195"/>
                    <a:pt x="59" y="198"/>
                  </a:cubicBezTo>
                  <a:cubicBezTo>
                    <a:pt x="52" y="202"/>
                    <a:pt x="55" y="191"/>
                    <a:pt x="40" y="188"/>
                  </a:cubicBezTo>
                  <a:cubicBezTo>
                    <a:pt x="26" y="186"/>
                    <a:pt x="23" y="211"/>
                    <a:pt x="16" y="224"/>
                  </a:cubicBezTo>
                  <a:cubicBezTo>
                    <a:pt x="8" y="238"/>
                    <a:pt x="5" y="266"/>
                    <a:pt x="5" y="277"/>
                  </a:cubicBezTo>
                  <a:cubicBezTo>
                    <a:pt x="5" y="288"/>
                    <a:pt x="0" y="301"/>
                    <a:pt x="17" y="314"/>
                  </a:cubicBezTo>
                  <a:cubicBezTo>
                    <a:pt x="33" y="326"/>
                    <a:pt x="49" y="311"/>
                    <a:pt x="53" y="304"/>
                  </a:cubicBezTo>
                  <a:cubicBezTo>
                    <a:pt x="57" y="298"/>
                    <a:pt x="53" y="269"/>
                    <a:pt x="55" y="244"/>
                  </a:cubicBezTo>
                  <a:cubicBezTo>
                    <a:pt x="57" y="220"/>
                    <a:pt x="89" y="204"/>
                    <a:pt x="100" y="197"/>
                  </a:cubicBezTo>
                  <a:cubicBezTo>
                    <a:pt x="115" y="189"/>
                    <a:pt x="129" y="190"/>
                    <a:pt x="131" y="194"/>
                  </a:cubicBezTo>
                  <a:cubicBezTo>
                    <a:pt x="134" y="197"/>
                    <a:pt x="119" y="214"/>
                    <a:pt x="112" y="219"/>
                  </a:cubicBezTo>
                  <a:cubicBezTo>
                    <a:pt x="105" y="224"/>
                    <a:pt x="110" y="244"/>
                    <a:pt x="111" y="251"/>
                  </a:cubicBezTo>
                  <a:cubicBezTo>
                    <a:pt x="113" y="257"/>
                    <a:pt x="111" y="260"/>
                    <a:pt x="125" y="265"/>
                  </a:cubicBezTo>
                  <a:cubicBezTo>
                    <a:pt x="142" y="271"/>
                    <a:pt x="139" y="257"/>
                    <a:pt x="148" y="246"/>
                  </a:cubicBezTo>
                  <a:cubicBezTo>
                    <a:pt x="157" y="236"/>
                    <a:pt x="163" y="224"/>
                    <a:pt x="170" y="224"/>
                  </a:cubicBezTo>
                  <a:cubicBezTo>
                    <a:pt x="177" y="224"/>
                    <a:pt x="180" y="238"/>
                    <a:pt x="184" y="243"/>
                  </a:cubicBezTo>
                  <a:cubicBezTo>
                    <a:pt x="187" y="248"/>
                    <a:pt x="189" y="257"/>
                    <a:pt x="177" y="263"/>
                  </a:cubicBezTo>
                  <a:cubicBezTo>
                    <a:pt x="165" y="269"/>
                    <a:pt x="131" y="281"/>
                    <a:pt x="131" y="281"/>
                  </a:cubicBezTo>
                  <a:cubicBezTo>
                    <a:pt x="131" y="281"/>
                    <a:pt x="112" y="284"/>
                    <a:pt x="101" y="287"/>
                  </a:cubicBezTo>
                  <a:cubicBezTo>
                    <a:pt x="90" y="289"/>
                    <a:pt x="78" y="285"/>
                    <a:pt x="76" y="299"/>
                  </a:cubicBezTo>
                  <a:cubicBezTo>
                    <a:pt x="73" y="312"/>
                    <a:pt x="78" y="305"/>
                    <a:pt x="86" y="319"/>
                  </a:cubicBezTo>
                  <a:cubicBezTo>
                    <a:pt x="94" y="333"/>
                    <a:pt x="119" y="337"/>
                    <a:pt x="134" y="334"/>
                  </a:cubicBezTo>
                  <a:cubicBezTo>
                    <a:pt x="149" y="332"/>
                    <a:pt x="157" y="324"/>
                    <a:pt x="168" y="316"/>
                  </a:cubicBezTo>
                  <a:cubicBezTo>
                    <a:pt x="178" y="308"/>
                    <a:pt x="194" y="298"/>
                    <a:pt x="203" y="298"/>
                  </a:cubicBezTo>
                  <a:cubicBezTo>
                    <a:pt x="211" y="299"/>
                    <a:pt x="211" y="311"/>
                    <a:pt x="211" y="325"/>
                  </a:cubicBezTo>
                  <a:cubicBezTo>
                    <a:pt x="211" y="339"/>
                    <a:pt x="210" y="337"/>
                    <a:pt x="206" y="350"/>
                  </a:cubicBezTo>
                  <a:cubicBezTo>
                    <a:pt x="202" y="364"/>
                    <a:pt x="199" y="368"/>
                    <a:pt x="194" y="372"/>
                  </a:cubicBezTo>
                  <a:cubicBezTo>
                    <a:pt x="189" y="377"/>
                    <a:pt x="184" y="376"/>
                    <a:pt x="165" y="378"/>
                  </a:cubicBezTo>
                  <a:cubicBezTo>
                    <a:pt x="145" y="380"/>
                    <a:pt x="131" y="393"/>
                    <a:pt x="129" y="400"/>
                  </a:cubicBezTo>
                  <a:cubicBezTo>
                    <a:pt x="128" y="407"/>
                    <a:pt x="135" y="405"/>
                    <a:pt x="144" y="410"/>
                  </a:cubicBezTo>
                  <a:cubicBezTo>
                    <a:pt x="152" y="414"/>
                    <a:pt x="163" y="416"/>
                    <a:pt x="185" y="417"/>
                  </a:cubicBezTo>
                  <a:cubicBezTo>
                    <a:pt x="208" y="418"/>
                    <a:pt x="219" y="417"/>
                    <a:pt x="228" y="408"/>
                  </a:cubicBezTo>
                  <a:cubicBezTo>
                    <a:pt x="238" y="400"/>
                    <a:pt x="240" y="373"/>
                    <a:pt x="241" y="354"/>
                  </a:cubicBezTo>
                  <a:cubicBezTo>
                    <a:pt x="243" y="335"/>
                    <a:pt x="239" y="315"/>
                    <a:pt x="239" y="307"/>
                  </a:cubicBezTo>
                  <a:cubicBezTo>
                    <a:pt x="239" y="299"/>
                    <a:pt x="239" y="297"/>
                    <a:pt x="244" y="288"/>
                  </a:cubicBezTo>
                  <a:cubicBezTo>
                    <a:pt x="249" y="280"/>
                    <a:pt x="257" y="284"/>
                    <a:pt x="273" y="283"/>
                  </a:cubicBezTo>
                  <a:cubicBezTo>
                    <a:pt x="288" y="281"/>
                    <a:pt x="286" y="270"/>
                    <a:pt x="287" y="261"/>
                  </a:cubicBezTo>
                  <a:cubicBezTo>
                    <a:pt x="288" y="251"/>
                    <a:pt x="281" y="247"/>
                    <a:pt x="271" y="239"/>
                  </a:cubicBezTo>
                  <a:cubicBezTo>
                    <a:pt x="260" y="231"/>
                    <a:pt x="250" y="236"/>
                    <a:pt x="240" y="236"/>
                  </a:cubicBezTo>
                  <a:cubicBezTo>
                    <a:pt x="230" y="236"/>
                    <a:pt x="233" y="234"/>
                    <a:pt x="233" y="226"/>
                  </a:cubicBezTo>
                  <a:cubicBezTo>
                    <a:pt x="233" y="219"/>
                    <a:pt x="238" y="215"/>
                    <a:pt x="239" y="207"/>
                  </a:cubicBezTo>
                  <a:cubicBezTo>
                    <a:pt x="241" y="200"/>
                    <a:pt x="251" y="192"/>
                    <a:pt x="261" y="181"/>
                  </a:cubicBezTo>
                  <a:cubicBezTo>
                    <a:pt x="270" y="170"/>
                    <a:pt x="276" y="175"/>
                    <a:pt x="289" y="176"/>
                  </a:cubicBezTo>
                  <a:cubicBezTo>
                    <a:pt x="302" y="176"/>
                    <a:pt x="307" y="176"/>
                    <a:pt x="316" y="167"/>
                  </a:cubicBezTo>
                  <a:cubicBezTo>
                    <a:pt x="325" y="157"/>
                    <a:pt x="318" y="138"/>
                    <a:pt x="316" y="132"/>
                  </a:cubicBezTo>
                  <a:cubicBezTo>
                    <a:pt x="315" y="125"/>
                    <a:pt x="309" y="129"/>
                    <a:pt x="297" y="119"/>
                  </a:cubicBezTo>
                  <a:cubicBezTo>
                    <a:pt x="285" y="108"/>
                    <a:pt x="274" y="111"/>
                    <a:pt x="261" y="111"/>
                  </a:cubicBezTo>
                  <a:cubicBezTo>
                    <a:pt x="248" y="111"/>
                    <a:pt x="244" y="100"/>
                    <a:pt x="251" y="93"/>
                  </a:cubicBezTo>
                  <a:cubicBezTo>
                    <a:pt x="259" y="87"/>
                    <a:pt x="265" y="77"/>
                    <a:pt x="272" y="66"/>
                  </a:cubicBezTo>
                  <a:cubicBezTo>
                    <a:pt x="278" y="55"/>
                    <a:pt x="276" y="45"/>
                    <a:pt x="276" y="34"/>
                  </a:cubicBezTo>
                  <a:cubicBezTo>
                    <a:pt x="275" y="24"/>
                    <a:pt x="264" y="20"/>
                    <a:pt x="252" y="10"/>
                  </a:cubicBezTo>
                  <a:cubicBezTo>
                    <a:pt x="240" y="0"/>
                    <a:pt x="225" y="8"/>
                    <a:pt x="217" y="11"/>
                  </a:cubicBezTo>
                  <a:cubicBezTo>
                    <a:pt x="208" y="14"/>
                    <a:pt x="196" y="20"/>
                    <a:pt x="187" y="25"/>
                  </a:cubicBezTo>
                  <a:cubicBezTo>
                    <a:pt x="178" y="30"/>
                    <a:pt x="172" y="30"/>
                    <a:pt x="164" y="29"/>
                  </a:cubicBezTo>
                  <a:cubicBezTo>
                    <a:pt x="157" y="29"/>
                    <a:pt x="150" y="29"/>
                    <a:pt x="147" y="29"/>
                  </a:cubicBezTo>
                  <a:cubicBezTo>
                    <a:pt x="144" y="29"/>
                    <a:pt x="141" y="35"/>
                    <a:pt x="136" y="43"/>
                  </a:cubicBezTo>
                  <a:cubicBezTo>
                    <a:pt x="131" y="51"/>
                    <a:pt x="126" y="47"/>
                    <a:pt x="124" y="43"/>
                  </a:cubicBezTo>
                  <a:cubicBezTo>
                    <a:pt x="121" y="38"/>
                    <a:pt x="116" y="28"/>
                    <a:pt x="113" y="21"/>
                  </a:cubicBezTo>
                  <a:cubicBezTo>
                    <a:pt x="110" y="15"/>
                    <a:pt x="97" y="18"/>
                    <a:pt x="91" y="21"/>
                  </a:cubicBezTo>
                  <a:cubicBezTo>
                    <a:pt x="84" y="25"/>
                    <a:pt x="80" y="41"/>
                    <a:pt x="78" y="52"/>
                  </a:cubicBezTo>
                  <a:cubicBezTo>
                    <a:pt x="75" y="63"/>
                    <a:pt x="78" y="111"/>
                    <a:pt x="79" y="11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1049573" name="îşḷïḍe"/>
            <p:cNvSpPr/>
            <p:nvPr/>
          </p:nvSpPr>
          <p:spPr bwMode="auto">
            <a:xfrm>
              <a:off x="9461753" y="4939303"/>
              <a:ext cx="388938" cy="534988"/>
            </a:xfrm>
            <a:custGeom>
              <a:avLst/>
              <a:gdLst>
                <a:gd name="T0" fmla="*/ 4 w 211"/>
                <a:gd name="T1" fmla="*/ 137 h 290"/>
                <a:gd name="T2" fmla="*/ 41 w 211"/>
                <a:gd name="T3" fmla="*/ 117 h 290"/>
                <a:gd name="T4" fmla="*/ 75 w 211"/>
                <a:gd name="T5" fmla="*/ 83 h 290"/>
                <a:gd name="T6" fmla="*/ 82 w 211"/>
                <a:gd name="T7" fmla="*/ 29 h 290"/>
                <a:gd name="T8" fmla="*/ 94 w 211"/>
                <a:gd name="T9" fmla="*/ 6 h 290"/>
                <a:gd name="T10" fmla="*/ 126 w 211"/>
                <a:gd name="T11" fmla="*/ 27 h 290"/>
                <a:gd name="T12" fmla="*/ 145 w 211"/>
                <a:gd name="T13" fmla="*/ 65 h 290"/>
                <a:gd name="T14" fmla="*/ 170 w 211"/>
                <a:gd name="T15" fmla="*/ 93 h 290"/>
                <a:gd name="T16" fmla="*/ 164 w 211"/>
                <a:gd name="T17" fmla="*/ 119 h 290"/>
                <a:gd name="T18" fmla="*/ 127 w 211"/>
                <a:gd name="T19" fmla="*/ 151 h 290"/>
                <a:gd name="T20" fmla="*/ 123 w 211"/>
                <a:gd name="T21" fmla="*/ 165 h 290"/>
                <a:gd name="T22" fmla="*/ 181 w 211"/>
                <a:gd name="T23" fmla="*/ 187 h 290"/>
                <a:gd name="T24" fmla="*/ 210 w 211"/>
                <a:gd name="T25" fmla="*/ 231 h 290"/>
                <a:gd name="T26" fmla="*/ 202 w 211"/>
                <a:gd name="T27" fmla="*/ 281 h 290"/>
                <a:gd name="T28" fmla="*/ 185 w 211"/>
                <a:gd name="T29" fmla="*/ 289 h 290"/>
                <a:gd name="T30" fmla="*/ 162 w 211"/>
                <a:gd name="T31" fmla="*/ 267 h 290"/>
                <a:gd name="T32" fmla="*/ 158 w 211"/>
                <a:gd name="T33" fmla="*/ 217 h 290"/>
                <a:gd name="T34" fmla="*/ 134 w 211"/>
                <a:gd name="T35" fmla="*/ 188 h 290"/>
                <a:gd name="T36" fmla="*/ 117 w 211"/>
                <a:gd name="T37" fmla="*/ 183 h 290"/>
                <a:gd name="T38" fmla="*/ 105 w 211"/>
                <a:gd name="T39" fmla="*/ 191 h 290"/>
                <a:gd name="T40" fmla="*/ 95 w 211"/>
                <a:gd name="T41" fmla="*/ 225 h 290"/>
                <a:gd name="T42" fmla="*/ 92 w 211"/>
                <a:gd name="T43" fmla="*/ 251 h 290"/>
                <a:gd name="T44" fmla="*/ 58 w 211"/>
                <a:gd name="T45" fmla="*/ 261 h 290"/>
                <a:gd name="T46" fmla="*/ 37 w 211"/>
                <a:gd name="T47" fmla="*/ 235 h 290"/>
                <a:gd name="T48" fmla="*/ 39 w 211"/>
                <a:gd name="T49" fmla="*/ 205 h 290"/>
                <a:gd name="T50" fmla="*/ 45 w 211"/>
                <a:gd name="T51" fmla="*/ 177 h 290"/>
                <a:gd name="T52" fmla="*/ 18 w 211"/>
                <a:gd name="T53" fmla="*/ 155 h 290"/>
                <a:gd name="T54" fmla="*/ 0 w 211"/>
                <a:gd name="T55" fmla="*/ 147 h 290"/>
                <a:gd name="T56" fmla="*/ 4 w 211"/>
                <a:gd name="T57" fmla="*/ 137 h 2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211" h="290">
                  <a:moveTo>
                    <a:pt x="4" y="137"/>
                  </a:moveTo>
                  <a:cubicBezTo>
                    <a:pt x="4" y="137"/>
                    <a:pt x="32" y="120"/>
                    <a:pt x="41" y="117"/>
                  </a:cubicBezTo>
                  <a:cubicBezTo>
                    <a:pt x="50" y="115"/>
                    <a:pt x="69" y="103"/>
                    <a:pt x="75" y="83"/>
                  </a:cubicBezTo>
                  <a:cubicBezTo>
                    <a:pt x="81" y="63"/>
                    <a:pt x="82" y="39"/>
                    <a:pt x="82" y="29"/>
                  </a:cubicBezTo>
                  <a:cubicBezTo>
                    <a:pt x="82" y="19"/>
                    <a:pt x="76" y="0"/>
                    <a:pt x="94" y="6"/>
                  </a:cubicBezTo>
                  <a:cubicBezTo>
                    <a:pt x="112" y="12"/>
                    <a:pt x="124" y="15"/>
                    <a:pt x="126" y="27"/>
                  </a:cubicBezTo>
                  <a:cubicBezTo>
                    <a:pt x="129" y="39"/>
                    <a:pt x="131" y="55"/>
                    <a:pt x="145" y="65"/>
                  </a:cubicBezTo>
                  <a:cubicBezTo>
                    <a:pt x="159" y="75"/>
                    <a:pt x="168" y="83"/>
                    <a:pt x="170" y="93"/>
                  </a:cubicBezTo>
                  <a:cubicBezTo>
                    <a:pt x="172" y="103"/>
                    <a:pt x="172" y="114"/>
                    <a:pt x="164" y="119"/>
                  </a:cubicBezTo>
                  <a:cubicBezTo>
                    <a:pt x="157" y="123"/>
                    <a:pt x="132" y="147"/>
                    <a:pt x="127" y="151"/>
                  </a:cubicBezTo>
                  <a:cubicBezTo>
                    <a:pt x="121" y="154"/>
                    <a:pt x="119" y="165"/>
                    <a:pt x="123" y="165"/>
                  </a:cubicBezTo>
                  <a:cubicBezTo>
                    <a:pt x="127" y="165"/>
                    <a:pt x="163" y="172"/>
                    <a:pt x="181" y="187"/>
                  </a:cubicBezTo>
                  <a:cubicBezTo>
                    <a:pt x="198" y="202"/>
                    <a:pt x="209" y="216"/>
                    <a:pt x="210" y="231"/>
                  </a:cubicBezTo>
                  <a:cubicBezTo>
                    <a:pt x="211" y="247"/>
                    <a:pt x="210" y="273"/>
                    <a:pt x="202" y="281"/>
                  </a:cubicBezTo>
                  <a:cubicBezTo>
                    <a:pt x="194" y="288"/>
                    <a:pt x="192" y="290"/>
                    <a:pt x="185" y="289"/>
                  </a:cubicBezTo>
                  <a:cubicBezTo>
                    <a:pt x="178" y="288"/>
                    <a:pt x="164" y="279"/>
                    <a:pt x="162" y="267"/>
                  </a:cubicBezTo>
                  <a:cubicBezTo>
                    <a:pt x="160" y="255"/>
                    <a:pt x="164" y="239"/>
                    <a:pt x="158" y="217"/>
                  </a:cubicBezTo>
                  <a:cubicBezTo>
                    <a:pt x="153" y="196"/>
                    <a:pt x="139" y="191"/>
                    <a:pt x="134" y="188"/>
                  </a:cubicBezTo>
                  <a:cubicBezTo>
                    <a:pt x="129" y="186"/>
                    <a:pt x="117" y="183"/>
                    <a:pt x="117" y="183"/>
                  </a:cubicBezTo>
                  <a:cubicBezTo>
                    <a:pt x="117" y="183"/>
                    <a:pt x="108" y="182"/>
                    <a:pt x="105" y="191"/>
                  </a:cubicBezTo>
                  <a:cubicBezTo>
                    <a:pt x="102" y="199"/>
                    <a:pt x="96" y="215"/>
                    <a:pt x="95" y="225"/>
                  </a:cubicBezTo>
                  <a:cubicBezTo>
                    <a:pt x="94" y="235"/>
                    <a:pt x="96" y="247"/>
                    <a:pt x="92" y="251"/>
                  </a:cubicBezTo>
                  <a:cubicBezTo>
                    <a:pt x="87" y="256"/>
                    <a:pt x="77" y="267"/>
                    <a:pt x="58" y="261"/>
                  </a:cubicBezTo>
                  <a:cubicBezTo>
                    <a:pt x="39" y="255"/>
                    <a:pt x="41" y="238"/>
                    <a:pt x="37" y="235"/>
                  </a:cubicBezTo>
                  <a:cubicBezTo>
                    <a:pt x="33" y="231"/>
                    <a:pt x="39" y="211"/>
                    <a:pt x="39" y="205"/>
                  </a:cubicBezTo>
                  <a:cubicBezTo>
                    <a:pt x="39" y="200"/>
                    <a:pt x="47" y="182"/>
                    <a:pt x="45" y="177"/>
                  </a:cubicBezTo>
                  <a:cubicBezTo>
                    <a:pt x="44" y="173"/>
                    <a:pt x="25" y="153"/>
                    <a:pt x="18" y="155"/>
                  </a:cubicBezTo>
                  <a:cubicBezTo>
                    <a:pt x="11" y="157"/>
                    <a:pt x="1" y="155"/>
                    <a:pt x="0" y="147"/>
                  </a:cubicBezTo>
                  <a:cubicBezTo>
                    <a:pt x="0" y="140"/>
                    <a:pt x="4" y="137"/>
                    <a:pt x="4" y="13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1049574" name="îṧļíďe"/>
            <p:cNvSpPr/>
            <p:nvPr/>
          </p:nvSpPr>
          <p:spPr bwMode="auto">
            <a:xfrm>
              <a:off x="8326691" y="4823415"/>
              <a:ext cx="746125" cy="695325"/>
            </a:xfrm>
            <a:custGeom>
              <a:avLst/>
              <a:gdLst>
                <a:gd name="T0" fmla="*/ 159 w 405"/>
                <a:gd name="T1" fmla="*/ 229 h 377"/>
                <a:gd name="T2" fmla="*/ 218 w 405"/>
                <a:gd name="T3" fmla="*/ 183 h 377"/>
                <a:gd name="T4" fmla="*/ 234 w 405"/>
                <a:gd name="T5" fmla="*/ 247 h 377"/>
                <a:gd name="T6" fmla="*/ 260 w 405"/>
                <a:gd name="T7" fmla="*/ 269 h 377"/>
                <a:gd name="T8" fmla="*/ 209 w 405"/>
                <a:gd name="T9" fmla="*/ 247 h 377"/>
                <a:gd name="T10" fmla="*/ 108 w 405"/>
                <a:gd name="T11" fmla="*/ 215 h 377"/>
                <a:gd name="T12" fmla="*/ 73 w 405"/>
                <a:gd name="T13" fmla="*/ 283 h 377"/>
                <a:gd name="T14" fmla="*/ 43 w 405"/>
                <a:gd name="T15" fmla="*/ 350 h 377"/>
                <a:gd name="T16" fmla="*/ 91 w 405"/>
                <a:gd name="T17" fmla="*/ 347 h 377"/>
                <a:gd name="T18" fmla="*/ 118 w 405"/>
                <a:gd name="T19" fmla="*/ 372 h 377"/>
                <a:gd name="T20" fmla="*/ 136 w 405"/>
                <a:gd name="T21" fmla="*/ 328 h 377"/>
                <a:gd name="T22" fmla="*/ 147 w 405"/>
                <a:gd name="T23" fmla="*/ 265 h 377"/>
                <a:gd name="T24" fmla="*/ 242 w 405"/>
                <a:gd name="T25" fmla="*/ 306 h 377"/>
                <a:gd name="T26" fmla="*/ 186 w 405"/>
                <a:gd name="T27" fmla="*/ 337 h 377"/>
                <a:gd name="T28" fmla="*/ 172 w 405"/>
                <a:gd name="T29" fmla="*/ 367 h 377"/>
                <a:gd name="T30" fmla="*/ 272 w 405"/>
                <a:gd name="T31" fmla="*/ 328 h 377"/>
                <a:gd name="T32" fmla="*/ 352 w 405"/>
                <a:gd name="T33" fmla="*/ 373 h 377"/>
                <a:gd name="T34" fmla="*/ 389 w 405"/>
                <a:gd name="T35" fmla="*/ 333 h 377"/>
                <a:gd name="T36" fmla="*/ 292 w 405"/>
                <a:gd name="T37" fmla="*/ 299 h 377"/>
                <a:gd name="T38" fmla="*/ 291 w 405"/>
                <a:gd name="T39" fmla="*/ 217 h 377"/>
                <a:gd name="T40" fmla="*/ 261 w 405"/>
                <a:gd name="T41" fmla="*/ 173 h 377"/>
                <a:gd name="T42" fmla="*/ 297 w 405"/>
                <a:gd name="T43" fmla="*/ 107 h 377"/>
                <a:gd name="T44" fmla="*/ 283 w 405"/>
                <a:gd name="T45" fmla="*/ 43 h 377"/>
                <a:gd name="T46" fmla="*/ 241 w 405"/>
                <a:gd name="T47" fmla="*/ 1 h 377"/>
                <a:gd name="T48" fmla="*/ 241 w 405"/>
                <a:gd name="T49" fmla="*/ 35 h 377"/>
                <a:gd name="T50" fmla="*/ 245 w 405"/>
                <a:gd name="T51" fmla="*/ 97 h 377"/>
                <a:gd name="T52" fmla="*/ 194 w 405"/>
                <a:gd name="T53" fmla="*/ 129 h 377"/>
                <a:gd name="T54" fmla="*/ 161 w 405"/>
                <a:gd name="T55" fmla="*/ 121 h 377"/>
                <a:gd name="T56" fmla="*/ 150 w 405"/>
                <a:gd name="T57" fmla="*/ 33 h 377"/>
                <a:gd name="T58" fmla="*/ 122 w 405"/>
                <a:gd name="T59" fmla="*/ 56 h 377"/>
                <a:gd name="T60" fmla="*/ 121 w 405"/>
                <a:gd name="T61" fmla="*/ 133 h 377"/>
                <a:gd name="T62" fmla="*/ 30 w 405"/>
                <a:gd name="T63" fmla="*/ 180 h 377"/>
                <a:gd name="T64" fmla="*/ 22 w 405"/>
                <a:gd name="T65" fmla="*/ 219 h 3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05" h="377">
                  <a:moveTo>
                    <a:pt x="174" y="243"/>
                  </a:moveTo>
                  <a:cubicBezTo>
                    <a:pt x="172" y="243"/>
                    <a:pt x="154" y="236"/>
                    <a:pt x="159" y="229"/>
                  </a:cubicBezTo>
                  <a:cubicBezTo>
                    <a:pt x="163" y="221"/>
                    <a:pt x="190" y="187"/>
                    <a:pt x="199" y="183"/>
                  </a:cubicBezTo>
                  <a:cubicBezTo>
                    <a:pt x="208" y="178"/>
                    <a:pt x="215" y="172"/>
                    <a:pt x="218" y="183"/>
                  </a:cubicBezTo>
                  <a:cubicBezTo>
                    <a:pt x="221" y="193"/>
                    <a:pt x="215" y="230"/>
                    <a:pt x="220" y="236"/>
                  </a:cubicBezTo>
                  <a:cubicBezTo>
                    <a:pt x="225" y="241"/>
                    <a:pt x="227" y="248"/>
                    <a:pt x="234" y="247"/>
                  </a:cubicBezTo>
                  <a:cubicBezTo>
                    <a:pt x="241" y="246"/>
                    <a:pt x="256" y="238"/>
                    <a:pt x="260" y="245"/>
                  </a:cubicBezTo>
                  <a:cubicBezTo>
                    <a:pt x="263" y="252"/>
                    <a:pt x="268" y="259"/>
                    <a:pt x="260" y="269"/>
                  </a:cubicBezTo>
                  <a:cubicBezTo>
                    <a:pt x="253" y="278"/>
                    <a:pt x="247" y="281"/>
                    <a:pt x="239" y="274"/>
                  </a:cubicBezTo>
                  <a:cubicBezTo>
                    <a:pt x="230" y="267"/>
                    <a:pt x="221" y="250"/>
                    <a:pt x="209" y="247"/>
                  </a:cubicBezTo>
                  <a:cubicBezTo>
                    <a:pt x="198" y="245"/>
                    <a:pt x="176" y="243"/>
                    <a:pt x="174" y="243"/>
                  </a:cubicBezTo>
                  <a:close/>
                  <a:moveTo>
                    <a:pt x="108" y="215"/>
                  </a:moveTo>
                  <a:cubicBezTo>
                    <a:pt x="109" y="216"/>
                    <a:pt x="102" y="238"/>
                    <a:pt x="93" y="254"/>
                  </a:cubicBezTo>
                  <a:cubicBezTo>
                    <a:pt x="84" y="271"/>
                    <a:pt x="81" y="271"/>
                    <a:pt x="73" y="283"/>
                  </a:cubicBezTo>
                  <a:cubicBezTo>
                    <a:pt x="65" y="295"/>
                    <a:pt x="45" y="309"/>
                    <a:pt x="44" y="316"/>
                  </a:cubicBezTo>
                  <a:cubicBezTo>
                    <a:pt x="43" y="323"/>
                    <a:pt x="41" y="343"/>
                    <a:pt x="43" y="350"/>
                  </a:cubicBezTo>
                  <a:cubicBezTo>
                    <a:pt x="44" y="357"/>
                    <a:pt x="61" y="358"/>
                    <a:pt x="69" y="357"/>
                  </a:cubicBezTo>
                  <a:cubicBezTo>
                    <a:pt x="77" y="355"/>
                    <a:pt x="84" y="347"/>
                    <a:pt x="91" y="347"/>
                  </a:cubicBezTo>
                  <a:cubicBezTo>
                    <a:pt x="98" y="347"/>
                    <a:pt x="96" y="355"/>
                    <a:pt x="97" y="361"/>
                  </a:cubicBezTo>
                  <a:cubicBezTo>
                    <a:pt x="97" y="366"/>
                    <a:pt x="101" y="368"/>
                    <a:pt x="118" y="372"/>
                  </a:cubicBezTo>
                  <a:cubicBezTo>
                    <a:pt x="136" y="377"/>
                    <a:pt x="140" y="364"/>
                    <a:pt x="144" y="352"/>
                  </a:cubicBezTo>
                  <a:cubicBezTo>
                    <a:pt x="148" y="339"/>
                    <a:pt x="140" y="339"/>
                    <a:pt x="136" y="328"/>
                  </a:cubicBezTo>
                  <a:cubicBezTo>
                    <a:pt x="133" y="316"/>
                    <a:pt x="136" y="302"/>
                    <a:pt x="136" y="292"/>
                  </a:cubicBezTo>
                  <a:cubicBezTo>
                    <a:pt x="135" y="281"/>
                    <a:pt x="141" y="272"/>
                    <a:pt x="147" y="265"/>
                  </a:cubicBezTo>
                  <a:cubicBezTo>
                    <a:pt x="153" y="258"/>
                    <a:pt x="160" y="248"/>
                    <a:pt x="186" y="258"/>
                  </a:cubicBezTo>
                  <a:cubicBezTo>
                    <a:pt x="212" y="267"/>
                    <a:pt x="239" y="298"/>
                    <a:pt x="242" y="306"/>
                  </a:cubicBezTo>
                  <a:cubicBezTo>
                    <a:pt x="245" y="313"/>
                    <a:pt x="232" y="318"/>
                    <a:pt x="227" y="325"/>
                  </a:cubicBezTo>
                  <a:cubicBezTo>
                    <a:pt x="222" y="332"/>
                    <a:pt x="196" y="338"/>
                    <a:pt x="186" y="337"/>
                  </a:cubicBezTo>
                  <a:cubicBezTo>
                    <a:pt x="175" y="336"/>
                    <a:pt x="172" y="344"/>
                    <a:pt x="167" y="348"/>
                  </a:cubicBezTo>
                  <a:cubicBezTo>
                    <a:pt x="162" y="351"/>
                    <a:pt x="167" y="361"/>
                    <a:pt x="172" y="367"/>
                  </a:cubicBezTo>
                  <a:cubicBezTo>
                    <a:pt x="177" y="373"/>
                    <a:pt x="211" y="373"/>
                    <a:pt x="224" y="364"/>
                  </a:cubicBezTo>
                  <a:cubicBezTo>
                    <a:pt x="237" y="354"/>
                    <a:pt x="272" y="328"/>
                    <a:pt x="272" y="328"/>
                  </a:cubicBezTo>
                  <a:cubicBezTo>
                    <a:pt x="272" y="328"/>
                    <a:pt x="285" y="340"/>
                    <a:pt x="293" y="348"/>
                  </a:cubicBezTo>
                  <a:cubicBezTo>
                    <a:pt x="301" y="357"/>
                    <a:pt x="319" y="369"/>
                    <a:pt x="352" y="373"/>
                  </a:cubicBezTo>
                  <a:cubicBezTo>
                    <a:pt x="385" y="377"/>
                    <a:pt x="398" y="356"/>
                    <a:pt x="401" y="352"/>
                  </a:cubicBezTo>
                  <a:cubicBezTo>
                    <a:pt x="405" y="348"/>
                    <a:pt x="399" y="342"/>
                    <a:pt x="389" y="333"/>
                  </a:cubicBezTo>
                  <a:cubicBezTo>
                    <a:pt x="379" y="323"/>
                    <a:pt x="353" y="312"/>
                    <a:pt x="337" y="313"/>
                  </a:cubicBezTo>
                  <a:cubicBezTo>
                    <a:pt x="321" y="315"/>
                    <a:pt x="303" y="305"/>
                    <a:pt x="292" y="299"/>
                  </a:cubicBezTo>
                  <a:cubicBezTo>
                    <a:pt x="282" y="293"/>
                    <a:pt x="287" y="293"/>
                    <a:pt x="291" y="277"/>
                  </a:cubicBezTo>
                  <a:cubicBezTo>
                    <a:pt x="295" y="261"/>
                    <a:pt x="294" y="231"/>
                    <a:pt x="291" y="217"/>
                  </a:cubicBezTo>
                  <a:cubicBezTo>
                    <a:pt x="287" y="204"/>
                    <a:pt x="269" y="200"/>
                    <a:pt x="264" y="192"/>
                  </a:cubicBezTo>
                  <a:cubicBezTo>
                    <a:pt x="258" y="184"/>
                    <a:pt x="251" y="180"/>
                    <a:pt x="261" y="173"/>
                  </a:cubicBezTo>
                  <a:cubicBezTo>
                    <a:pt x="272" y="166"/>
                    <a:pt x="282" y="146"/>
                    <a:pt x="290" y="135"/>
                  </a:cubicBezTo>
                  <a:cubicBezTo>
                    <a:pt x="298" y="123"/>
                    <a:pt x="305" y="117"/>
                    <a:pt x="297" y="107"/>
                  </a:cubicBezTo>
                  <a:cubicBezTo>
                    <a:pt x="289" y="97"/>
                    <a:pt x="283" y="94"/>
                    <a:pt x="281" y="86"/>
                  </a:cubicBezTo>
                  <a:cubicBezTo>
                    <a:pt x="280" y="79"/>
                    <a:pt x="283" y="57"/>
                    <a:pt x="283" y="43"/>
                  </a:cubicBezTo>
                  <a:cubicBezTo>
                    <a:pt x="283" y="29"/>
                    <a:pt x="285" y="30"/>
                    <a:pt x="272" y="15"/>
                  </a:cubicBezTo>
                  <a:cubicBezTo>
                    <a:pt x="260" y="0"/>
                    <a:pt x="248" y="2"/>
                    <a:pt x="241" y="1"/>
                  </a:cubicBezTo>
                  <a:cubicBezTo>
                    <a:pt x="235" y="0"/>
                    <a:pt x="231" y="21"/>
                    <a:pt x="233" y="26"/>
                  </a:cubicBezTo>
                  <a:cubicBezTo>
                    <a:pt x="235" y="31"/>
                    <a:pt x="239" y="31"/>
                    <a:pt x="241" y="35"/>
                  </a:cubicBezTo>
                  <a:cubicBezTo>
                    <a:pt x="242" y="39"/>
                    <a:pt x="239" y="36"/>
                    <a:pt x="243" y="53"/>
                  </a:cubicBezTo>
                  <a:cubicBezTo>
                    <a:pt x="247" y="70"/>
                    <a:pt x="245" y="91"/>
                    <a:pt x="245" y="97"/>
                  </a:cubicBezTo>
                  <a:cubicBezTo>
                    <a:pt x="245" y="103"/>
                    <a:pt x="240" y="107"/>
                    <a:pt x="234" y="114"/>
                  </a:cubicBezTo>
                  <a:cubicBezTo>
                    <a:pt x="228" y="121"/>
                    <a:pt x="206" y="123"/>
                    <a:pt x="194" y="129"/>
                  </a:cubicBezTo>
                  <a:cubicBezTo>
                    <a:pt x="181" y="135"/>
                    <a:pt x="179" y="146"/>
                    <a:pt x="170" y="149"/>
                  </a:cubicBezTo>
                  <a:cubicBezTo>
                    <a:pt x="161" y="151"/>
                    <a:pt x="157" y="138"/>
                    <a:pt x="161" y="121"/>
                  </a:cubicBezTo>
                  <a:cubicBezTo>
                    <a:pt x="164" y="109"/>
                    <a:pt x="168" y="79"/>
                    <a:pt x="168" y="64"/>
                  </a:cubicBezTo>
                  <a:cubicBezTo>
                    <a:pt x="167" y="54"/>
                    <a:pt x="158" y="40"/>
                    <a:pt x="150" y="33"/>
                  </a:cubicBezTo>
                  <a:cubicBezTo>
                    <a:pt x="142" y="25"/>
                    <a:pt x="136" y="30"/>
                    <a:pt x="131" y="32"/>
                  </a:cubicBezTo>
                  <a:cubicBezTo>
                    <a:pt x="126" y="35"/>
                    <a:pt x="120" y="43"/>
                    <a:pt x="122" y="56"/>
                  </a:cubicBezTo>
                  <a:cubicBezTo>
                    <a:pt x="124" y="70"/>
                    <a:pt x="127" y="72"/>
                    <a:pt x="127" y="82"/>
                  </a:cubicBezTo>
                  <a:cubicBezTo>
                    <a:pt x="128" y="92"/>
                    <a:pt x="124" y="113"/>
                    <a:pt x="121" y="133"/>
                  </a:cubicBezTo>
                  <a:cubicBezTo>
                    <a:pt x="117" y="152"/>
                    <a:pt x="104" y="151"/>
                    <a:pt x="90" y="158"/>
                  </a:cubicBezTo>
                  <a:cubicBezTo>
                    <a:pt x="76" y="165"/>
                    <a:pt x="48" y="175"/>
                    <a:pt x="30" y="180"/>
                  </a:cubicBezTo>
                  <a:cubicBezTo>
                    <a:pt x="13" y="184"/>
                    <a:pt x="0" y="191"/>
                    <a:pt x="0" y="200"/>
                  </a:cubicBezTo>
                  <a:cubicBezTo>
                    <a:pt x="0" y="209"/>
                    <a:pt x="9" y="210"/>
                    <a:pt x="22" y="219"/>
                  </a:cubicBezTo>
                  <a:cubicBezTo>
                    <a:pt x="35" y="228"/>
                    <a:pt x="107" y="215"/>
                    <a:pt x="108" y="21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1049575" name="íŝļïḓè"/>
            <p:cNvSpPr/>
            <p:nvPr/>
          </p:nvSpPr>
          <p:spPr bwMode="auto">
            <a:xfrm>
              <a:off x="6220078" y="4756740"/>
              <a:ext cx="627063" cy="793750"/>
            </a:xfrm>
            <a:custGeom>
              <a:avLst/>
              <a:gdLst>
                <a:gd name="T0" fmla="*/ 194 w 340"/>
                <a:gd name="T1" fmla="*/ 225 h 430"/>
                <a:gd name="T2" fmla="*/ 189 w 340"/>
                <a:gd name="T3" fmla="*/ 204 h 430"/>
                <a:gd name="T4" fmla="*/ 222 w 340"/>
                <a:gd name="T5" fmla="*/ 196 h 430"/>
                <a:gd name="T6" fmla="*/ 234 w 340"/>
                <a:gd name="T7" fmla="*/ 215 h 430"/>
                <a:gd name="T8" fmla="*/ 217 w 340"/>
                <a:gd name="T9" fmla="*/ 231 h 430"/>
                <a:gd name="T10" fmla="*/ 194 w 340"/>
                <a:gd name="T11" fmla="*/ 225 h 430"/>
                <a:gd name="T12" fmla="*/ 33 w 340"/>
                <a:gd name="T13" fmla="*/ 228 h 430"/>
                <a:gd name="T14" fmla="*/ 67 w 340"/>
                <a:gd name="T15" fmla="*/ 224 h 430"/>
                <a:gd name="T16" fmla="*/ 105 w 340"/>
                <a:gd name="T17" fmla="*/ 194 h 430"/>
                <a:gd name="T18" fmla="*/ 164 w 340"/>
                <a:gd name="T19" fmla="*/ 151 h 430"/>
                <a:gd name="T20" fmla="*/ 170 w 340"/>
                <a:gd name="T21" fmla="*/ 163 h 430"/>
                <a:gd name="T22" fmla="*/ 144 w 340"/>
                <a:gd name="T23" fmla="*/ 203 h 430"/>
                <a:gd name="T24" fmla="*/ 142 w 340"/>
                <a:gd name="T25" fmla="*/ 250 h 430"/>
                <a:gd name="T26" fmla="*/ 166 w 340"/>
                <a:gd name="T27" fmla="*/ 278 h 430"/>
                <a:gd name="T28" fmla="*/ 170 w 340"/>
                <a:gd name="T29" fmla="*/ 300 h 430"/>
                <a:gd name="T30" fmla="*/ 132 w 340"/>
                <a:gd name="T31" fmla="*/ 347 h 430"/>
                <a:gd name="T32" fmla="*/ 133 w 340"/>
                <a:gd name="T33" fmla="*/ 397 h 430"/>
                <a:gd name="T34" fmla="*/ 181 w 340"/>
                <a:gd name="T35" fmla="*/ 410 h 430"/>
                <a:gd name="T36" fmla="*/ 184 w 340"/>
                <a:gd name="T37" fmla="*/ 375 h 430"/>
                <a:gd name="T38" fmla="*/ 198 w 340"/>
                <a:gd name="T39" fmla="*/ 374 h 430"/>
                <a:gd name="T40" fmla="*/ 215 w 340"/>
                <a:gd name="T41" fmla="*/ 416 h 430"/>
                <a:gd name="T42" fmla="*/ 240 w 340"/>
                <a:gd name="T43" fmla="*/ 406 h 430"/>
                <a:gd name="T44" fmla="*/ 230 w 340"/>
                <a:gd name="T45" fmla="*/ 341 h 430"/>
                <a:gd name="T46" fmla="*/ 250 w 340"/>
                <a:gd name="T47" fmla="*/ 322 h 430"/>
                <a:gd name="T48" fmla="*/ 268 w 340"/>
                <a:gd name="T49" fmla="*/ 373 h 430"/>
                <a:gd name="T50" fmla="*/ 316 w 340"/>
                <a:gd name="T51" fmla="*/ 385 h 430"/>
                <a:gd name="T52" fmla="*/ 295 w 340"/>
                <a:gd name="T53" fmla="*/ 310 h 430"/>
                <a:gd name="T54" fmla="*/ 263 w 340"/>
                <a:gd name="T55" fmla="*/ 288 h 430"/>
                <a:gd name="T56" fmla="*/ 264 w 340"/>
                <a:gd name="T57" fmla="*/ 259 h 430"/>
                <a:gd name="T58" fmla="*/ 265 w 340"/>
                <a:gd name="T59" fmla="*/ 233 h 430"/>
                <a:gd name="T60" fmla="*/ 300 w 340"/>
                <a:gd name="T61" fmla="*/ 199 h 430"/>
                <a:gd name="T62" fmla="*/ 275 w 340"/>
                <a:gd name="T63" fmla="*/ 161 h 430"/>
                <a:gd name="T64" fmla="*/ 217 w 340"/>
                <a:gd name="T65" fmla="*/ 159 h 430"/>
                <a:gd name="T66" fmla="*/ 270 w 340"/>
                <a:gd name="T67" fmla="*/ 132 h 430"/>
                <a:gd name="T68" fmla="*/ 316 w 340"/>
                <a:gd name="T69" fmla="*/ 126 h 430"/>
                <a:gd name="T70" fmla="*/ 332 w 340"/>
                <a:gd name="T71" fmla="*/ 110 h 430"/>
                <a:gd name="T72" fmla="*/ 321 w 340"/>
                <a:gd name="T73" fmla="*/ 75 h 430"/>
                <a:gd name="T74" fmla="*/ 256 w 340"/>
                <a:gd name="T75" fmla="*/ 74 h 430"/>
                <a:gd name="T76" fmla="*/ 240 w 340"/>
                <a:gd name="T77" fmla="*/ 51 h 430"/>
                <a:gd name="T78" fmla="*/ 212 w 340"/>
                <a:gd name="T79" fmla="*/ 9 h 430"/>
                <a:gd name="T80" fmla="*/ 190 w 340"/>
                <a:gd name="T81" fmla="*/ 6 h 430"/>
                <a:gd name="T82" fmla="*/ 174 w 340"/>
                <a:gd name="T83" fmla="*/ 34 h 430"/>
                <a:gd name="T84" fmla="*/ 183 w 340"/>
                <a:gd name="T85" fmla="*/ 70 h 430"/>
                <a:gd name="T86" fmla="*/ 172 w 340"/>
                <a:gd name="T87" fmla="*/ 98 h 430"/>
                <a:gd name="T88" fmla="*/ 65 w 340"/>
                <a:gd name="T89" fmla="*/ 161 h 430"/>
                <a:gd name="T90" fmla="*/ 21 w 340"/>
                <a:gd name="T91" fmla="*/ 171 h 430"/>
                <a:gd name="T92" fmla="*/ 10 w 340"/>
                <a:gd name="T93" fmla="*/ 198 h 430"/>
                <a:gd name="T94" fmla="*/ 33 w 340"/>
                <a:gd name="T95" fmla="*/ 228 h 4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340" h="430">
                  <a:moveTo>
                    <a:pt x="194" y="225"/>
                  </a:moveTo>
                  <a:cubicBezTo>
                    <a:pt x="194" y="225"/>
                    <a:pt x="178" y="212"/>
                    <a:pt x="189" y="204"/>
                  </a:cubicBezTo>
                  <a:cubicBezTo>
                    <a:pt x="201" y="196"/>
                    <a:pt x="211" y="188"/>
                    <a:pt x="222" y="196"/>
                  </a:cubicBezTo>
                  <a:cubicBezTo>
                    <a:pt x="234" y="203"/>
                    <a:pt x="238" y="207"/>
                    <a:pt x="234" y="215"/>
                  </a:cubicBezTo>
                  <a:cubicBezTo>
                    <a:pt x="230" y="222"/>
                    <a:pt x="228" y="229"/>
                    <a:pt x="217" y="231"/>
                  </a:cubicBezTo>
                  <a:cubicBezTo>
                    <a:pt x="204" y="230"/>
                    <a:pt x="194" y="225"/>
                    <a:pt x="194" y="225"/>
                  </a:cubicBezTo>
                  <a:close/>
                  <a:moveTo>
                    <a:pt x="33" y="228"/>
                  </a:moveTo>
                  <a:cubicBezTo>
                    <a:pt x="40" y="229"/>
                    <a:pt x="52" y="231"/>
                    <a:pt x="67" y="224"/>
                  </a:cubicBezTo>
                  <a:cubicBezTo>
                    <a:pt x="82" y="216"/>
                    <a:pt x="91" y="208"/>
                    <a:pt x="105" y="194"/>
                  </a:cubicBezTo>
                  <a:cubicBezTo>
                    <a:pt x="119" y="180"/>
                    <a:pt x="153" y="155"/>
                    <a:pt x="164" y="151"/>
                  </a:cubicBezTo>
                  <a:cubicBezTo>
                    <a:pt x="176" y="146"/>
                    <a:pt x="176" y="155"/>
                    <a:pt x="170" y="163"/>
                  </a:cubicBezTo>
                  <a:cubicBezTo>
                    <a:pt x="164" y="171"/>
                    <a:pt x="150" y="188"/>
                    <a:pt x="144" y="203"/>
                  </a:cubicBezTo>
                  <a:cubicBezTo>
                    <a:pt x="139" y="218"/>
                    <a:pt x="134" y="224"/>
                    <a:pt x="142" y="250"/>
                  </a:cubicBezTo>
                  <a:cubicBezTo>
                    <a:pt x="149" y="275"/>
                    <a:pt x="160" y="275"/>
                    <a:pt x="166" y="278"/>
                  </a:cubicBezTo>
                  <a:cubicBezTo>
                    <a:pt x="172" y="281"/>
                    <a:pt x="176" y="301"/>
                    <a:pt x="170" y="300"/>
                  </a:cubicBezTo>
                  <a:cubicBezTo>
                    <a:pt x="164" y="299"/>
                    <a:pt x="136" y="327"/>
                    <a:pt x="132" y="347"/>
                  </a:cubicBezTo>
                  <a:cubicBezTo>
                    <a:pt x="127" y="366"/>
                    <a:pt x="123" y="375"/>
                    <a:pt x="133" y="397"/>
                  </a:cubicBezTo>
                  <a:cubicBezTo>
                    <a:pt x="144" y="419"/>
                    <a:pt x="174" y="413"/>
                    <a:pt x="181" y="410"/>
                  </a:cubicBezTo>
                  <a:cubicBezTo>
                    <a:pt x="189" y="407"/>
                    <a:pt x="185" y="395"/>
                    <a:pt x="184" y="375"/>
                  </a:cubicBezTo>
                  <a:cubicBezTo>
                    <a:pt x="182" y="355"/>
                    <a:pt x="192" y="364"/>
                    <a:pt x="198" y="374"/>
                  </a:cubicBezTo>
                  <a:cubicBezTo>
                    <a:pt x="204" y="384"/>
                    <a:pt x="203" y="402"/>
                    <a:pt x="215" y="416"/>
                  </a:cubicBezTo>
                  <a:cubicBezTo>
                    <a:pt x="226" y="430"/>
                    <a:pt x="235" y="419"/>
                    <a:pt x="240" y="406"/>
                  </a:cubicBezTo>
                  <a:cubicBezTo>
                    <a:pt x="245" y="393"/>
                    <a:pt x="232" y="357"/>
                    <a:pt x="230" y="341"/>
                  </a:cubicBezTo>
                  <a:cubicBezTo>
                    <a:pt x="229" y="326"/>
                    <a:pt x="238" y="322"/>
                    <a:pt x="250" y="322"/>
                  </a:cubicBezTo>
                  <a:cubicBezTo>
                    <a:pt x="262" y="322"/>
                    <a:pt x="248" y="347"/>
                    <a:pt x="268" y="373"/>
                  </a:cubicBezTo>
                  <a:cubicBezTo>
                    <a:pt x="287" y="399"/>
                    <a:pt x="292" y="396"/>
                    <a:pt x="316" y="385"/>
                  </a:cubicBezTo>
                  <a:cubicBezTo>
                    <a:pt x="340" y="375"/>
                    <a:pt x="311" y="327"/>
                    <a:pt x="295" y="310"/>
                  </a:cubicBezTo>
                  <a:cubicBezTo>
                    <a:pt x="279" y="294"/>
                    <a:pt x="263" y="294"/>
                    <a:pt x="263" y="288"/>
                  </a:cubicBezTo>
                  <a:cubicBezTo>
                    <a:pt x="263" y="282"/>
                    <a:pt x="266" y="267"/>
                    <a:pt x="264" y="259"/>
                  </a:cubicBezTo>
                  <a:cubicBezTo>
                    <a:pt x="262" y="251"/>
                    <a:pt x="258" y="239"/>
                    <a:pt x="265" y="233"/>
                  </a:cubicBezTo>
                  <a:cubicBezTo>
                    <a:pt x="273" y="226"/>
                    <a:pt x="301" y="222"/>
                    <a:pt x="300" y="199"/>
                  </a:cubicBezTo>
                  <a:cubicBezTo>
                    <a:pt x="299" y="177"/>
                    <a:pt x="294" y="175"/>
                    <a:pt x="275" y="161"/>
                  </a:cubicBezTo>
                  <a:cubicBezTo>
                    <a:pt x="257" y="148"/>
                    <a:pt x="216" y="168"/>
                    <a:pt x="217" y="159"/>
                  </a:cubicBezTo>
                  <a:cubicBezTo>
                    <a:pt x="218" y="150"/>
                    <a:pt x="250" y="138"/>
                    <a:pt x="270" y="132"/>
                  </a:cubicBezTo>
                  <a:cubicBezTo>
                    <a:pt x="290" y="125"/>
                    <a:pt x="306" y="126"/>
                    <a:pt x="316" y="126"/>
                  </a:cubicBezTo>
                  <a:cubicBezTo>
                    <a:pt x="326" y="126"/>
                    <a:pt x="326" y="118"/>
                    <a:pt x="332" y="110"/>
                  </a:cubicBezTo>
                  <a:cubicBezTo>
                    <a:pt x="337" y="102"/>
                    <a:pt x="334" y="88"/>
                    <a:pt x="321" y="75"/>
                  </a:cubicBezTo>
                  <a:cubicBezTo>
                    <a:pt x="308" y="61"/>
                    <a:pt x="263" y="74"/>
                    <a:pt x="256" y="74"/>
                  </a:cubicBezTo>
                  <a:cubicBezTo>
                    <a:pt x="250" y="74"/>
                    <a:pt x="250" y="63"/>
                    <a:pt x="240" y="51"/>
                  </a:cubicBezTo>
                  <a:cubicBezTo>
                    <a:pt x="229" y="38"/>
                    <a:pt x="220" y="18"/>
                    <a:pt x="212" y="9"/>
                  </a:cubicBezTo>
                  <a:cubicBezTo>
                    <a:pt x="205" y="0"/>
                    <a:pt x="203" y="8"/>
                    <a:pt x="190" y="6"/>
                  </a:cubicBezTo>
                  <a:cubicBezTo>
                    <a:pt x="176" y="3"/>
                    <a:pt x="165" y="15"/>
                    <a:pt x="174" y="34"/>
                  </a:cubicBezTo>
                  <a:cubicBezTo>
                    <a:pt x="183" y="53"/>
                    <a:pt x="183" y="56"/>
                    <a:pt x="183" y="70"/>
                  </a:cubicBezTo>
                  <a:cubicBezTo>
                    <a:pt x="183" y="84"/>
                    <a:pt x="197" y="88"/>
                    <a:pt x="172" y="98"/>
                  </a:cubicBezTo>
                  <a:cubicBezTo>
                    <a:pt x="147" y="108"/>
                    <a:pt x="75" y="152"/>
                    <a:pt x="65" y="161"/>
                  </a:cubicBezTo>
                  <a:cubicBezTo>
                    <a:pt x="55" y="170"/>
                    <a:pt x="26" y="169"/>
                    <a:pt x="21" y="171"/>
                  </a:cubicBezTo>
                  <a:cubicBezTo>
                    <a:pt x="15" y="173"/>
                    <a:pt x="0" y="170"/>
                    <a:pt x="10" y="198"/>
                  </a:cubicBezTo>
                  <a:cubicBezTo>
                    <a:pt x="24" y="238"/>
                    <a:pt x="26" y="227"/>
                    <a:pt x="33" y="22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1049576" name="ïs1îḋè"/>
            <p:cNvSpPr/>
            <p:nvPr/>
          </p:nvSpPr>
          <p:spPr bwMode="auto">
            <a:xfrm>
              <a:off x="7263066" y="4780553"/>
              <a:ext cx="674688" cy="863600"/>
            </a:xfrm>
            <a:custGeom>
              <a:avLst/>
              <a:gdLst>
                <a:gd name="T0" fmla="*/ 258 w 366"/>
                <a:gd name="T1" fmla="*/ 136 h 468"/>
                <a:gd name="T2" fmla="*/ 270 w 366"/>
                <a:gd name="T3" fmla="*/ 115 h 468"/>
                <a:gd name="T4" fmla="*/ 287 w 366"/>
                <a:gd name="T5" fmla="*/ 153 h 468"/>
                <a:gd name="T6" fmla="*/ 200 w 366"/>
                <a:gd name="T7" fmla="*/ 103 h 468"/>
                <a:gd name="T8" fmla="*/ 227 w 366"/>
                <a:gd name="T9" fmla="*/ 122 h 468"/>
                <a:gd name="T10" fmla="*/ 225 w 366"/>
                <a:gd name="T11" fmla="*/ 167 h 468"/>
                <a:gd name="T12" fmla="*/ 215 w 366"/>
                <a:gd name="T13" fmla="*/ 201 h 468"/>
                <a:gd name="T14" fmla="*/ 197 w 366"/>
                <a:gd name="T15" fmla="*/ 167 h 468"/>
                <a:gd name="T16" fmla="*/ 204 w 366"/>
                <a:gd name="T17" fmla="*/ 133 h 468"/>
                <a:gd name="T18" fmla="*/ 200 w 366"/>
                <a:gd name="T19" fmla="*/ 103 h 468"/>
                <a:gd name="T20" fmla="*/ 271 w 366"/>
                <a:gd name="T21" fmla="*/ 175 h 468"/>
                <a:gd name="T22" fmla="*/ 286 w 366"/>
                <a:gd name="T23" fmla="*/ 190 h 468"/>
                <a:gd name="T24" fmla="*/ 146 w 366"/>
                <a:gd name="T25" fmla="*/ 109 h 468"/>
                <a:gd name="T26" fmla="*/ 87 w 366"/>
                <a:gd name="T27" fmla="*/ 173 h 468"/>
                <a:gd name="T28" fmla="*/ 7 w 366"/>
                <a:gd name="T29" fmla="*/ 236 h 468"/>
                <a:gd name="T30" fmla="*/ 111 w 366"/>
                <a:gd name="T31" fmla="*/ 239 h 468"/>
                <a:gd name="T32" fmla="*/ 108 w 366"/>
                <a:gd name="T33" fmla="*/ 279 h 468"/>
                <a:gd name="T34" fmla="*/ 110 w 366"/>
                <a:gd name="T35" fmla="*/ 332 h 468"/>
                <a:gd name="T36" fmla="*/ 139 w 366"/>
                <a:gd name="T37" fmla="*/ 316 h 468"/>
                <a:gd name="T38" fmla="*/ 159 w 366"/>
                <a:gd name="T39" fmla="*/ 326 h 468"/>
                <a:gd name="T40" fmla="*/ 189 w 366"/>
                <a:gd name="T41" fmla="*/ 330 h 468"/>
                <a:gd name="T42" fmla="*/ 217 w 366"/>
                <a:gd name="T43" fmla="*/ 281 h 468"/>
                <a:gd name="T44" fmla="*/ 284 w 366"/>
                <a:gd name="T45" fmla="*/ 237 h 468"/>
                <a:gd name="T46" fmla="*/ 287 w 366"/>
                <a:gd name="T47" fmla="*/ 396 h 468"/>
                <a:gd name="T48" fmla="*/ 284 w 366"/>
                <a:gd name="T49" fmla="*/ 461 h 468"/>
                <a:gd name="T50" fmla="*/ 319 w 366"/>
                <a:gd name="T51" fmla="*/ 393 h 468"/>
                <a:gd name="T52" fmla="*/ 327 w 366"/>
                <a:gd name="T53" fmla="*/ 227 h 468"/>
                <a:gd name="T54" fmla="*/ 363 w 366"/>
                <a:gd name="T55" fmla="*/ 202 h 468"/>
                <a:gd name="T56" fmla="*/ 324 w 366"/>
                <a:gd name="T57" fmla="*/ 162 h 468"/>
                <a:gd name="T58" fmla="*/ 330 w 366"/>
                <a:gd name="T59" fmla="*/ 85 h 468"/>
                <a:gd name="T60" fmla="*/ 324 w 366"/>
                <a:gd name="T61" fmla="*/ 23 h 468"/>
                <a:gd name="T62" fmla="*/ 275 w 366"/>
                <a:gd name="T63" fmla="*/ 29 h 468"/>
                <a:gd name="T64" fmla="*/ 286 w 366"/>
                <a:gd name="T65" fmla="*/ 69 h 468"/>
                <a:gd name="T66" fmla="*/ 253 w 366"/>
                <a:gd name="T67" fmla="*/ 65 h 468"/>
                <a:gd name="T68" fmla="*/ 212 w 366"/>
                <a:gd name="T69" fmla="*/ 52 h 468"/>
                <a:gd name="T70" fmla="*/ 115 w 366"/>
                <a:gd name="T71" fmla="*/ 68 h 468"/>
                <a:gd name="T72" fmla="*/ 30 w 366"/>
                <a:gd name="T73" fmla="*/ 163 h 468"/>
                <a:gd name="T74" fmla="*/ 96 w 366"/>
                <a:gd name="T75" fmla="*/ 132 h 4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366" h="468">
                  <a:moveTo>
                    <a:pt x="270" y="152"/>
                  </a:moveTo>
                  <a:cubicBezTo>
                    <a:pt x="270" y="152"/>
                    <a:pt x="273" y="146"/>
                    <a:pt x="258" y="136"/>
                  </a:cubicBezTo>
                  <a:cubicBezTo>
                    <a:pt x="242" y="126"/>
                    <a:pt x="247" y="126"/>
                    <a:pt x="254" y="122"/>
                  </a:cubicBezTo>
                  <a:cubicBezTo>
                    <a:pt x="261" y="119"/>
                    <a:pt x="262" y="114"/>
                    <a:pt x="270" y="115"/>
                  </a:cubicBezTo>
                  <a:cubicBezTo>
                    <a:pt x="279" y="116"/>
                    <a:pt x="285" y="112"/>
                    <a:pt x="287" y="120"/>
                  </a:cubicBezTo>
                  <a:cubicBezTo>
                    <a:pt x="289" y="128"/>
                    <a:pt x="291" y="151"/>
                    <a:pt x="287" y="153"/>
                  </a:cubicBezTo>
                  <a:cubicBezTo>
                    <a:pt x="284" y="155"/>
                    <a:pt x="271" y="153"/>
                    <a:pt x="270" y="152"/>
                  </a:cubicBezTo>
                  <a:close/>
                  <a:moveTo>
                    <a:pt x="200" y="103"/>
                  </a:moveTo>
                  <a:cubicBezTo>
                    <a:pt x="200" y="99"/>
                    <a:pt x="207" y="96"/>
                    <a:pt x="216" y="102"/>
                  </a:cubicBezTo>
                  <a:cubicBezTo>
                    <a:pt x="225" y="108"/>
                    <a:pt x="228" y="113"/>
                    <a:pt x="227" y="122"/>
                  </a:cubicBezTo>
                  <a:cubicBezTo>
                    <a:pt x="225" y="131"/>
                    <a:pt x="222" y="135"/>
                    <a:pt x="223" y="145"/>
                  </a:cubicBezTo>
                  <a:cubicBezTo>
                    <a:pt x="223" y="156"/>
                    <a:pt x="217" y="162"/>
                    <a:pt x="225" y="167"/>
                  </a:cubicBezTo>
                  <a:cubicBezTo>
                    <a:pt x="232" y="173"/>
                    <a:pt x="235" y="171"/>
                    <a:pt x="233" y="185"/>
                  </a:cubicBezTo>
                  <a:cubicBezTo>
                    <a:pt x="231" y="202"/>
                    <a:pt x="214" y="210"/>
                    <a:pt x="215" y="201"/>
                  </a:cubicBezTo>
                  <a:cubicBezTo>
                    <a:pt x="215" y="192"/>
                    <a:pt x="220" y="185"/>
                    <a:pt x="213" y="176"/>
                  </a:cubicBezTo>
                  <a:cubicBezTo>
                    <a:pt x="205" y="167"/>
                    <a:pt x="204" y="178"/>
                    <a:pt x="197" y="167"/>
                  </a:cubicBezTo>
                  <a:cubicBezTo>
                    <a:pt x="191" y="155"/>
                    <a:pt x="195" y="154"/>
                    <a:pt x="199" y="152"/>
                  </a:cubicBezTo>
                  <a:cubicBezTo>
                    <a:pt x="204" y="149"/>
                    <a:pt x="209" y="147"/>
                    <a:pt x="204" y="133"/>
                  </a:cubicBezTo>
                  <a:cubicBezTo>
                    <a:pt x="199" y="119"/>
                    <a:pt x="198" y="127"/>
                    <a:pt x="197" y="119"/>
                  </a:cubicBezTo>
                  <a:cubicBezTo>
                    <a:pt x="196" y="112"/>
                    <a:pt x="200" y="107"/>
                    <a:pt x="200" y="103"/>
                  </a:cubicBezTo>
                  <a:close/>
                  <a:moveTo>
                    <a:pt x="246" y="206"/>
                  </a:moveTo>
                  <a:cubicBezTo>
                    <a:pt x="243" y="205"/>
                    <a:pt x="264" y="181"/>
                    <a:pt x="271" y="175"/>
                  </a:cubicBezTo>
                  <a:cubicBezTo>
                    <a:pt x="277" y="170"/>
                    <a:pt x="289" y="166"/>
                    <a:pt x="288" y="173"/>
                  </a:cubicBezTo>
                  <a:cubicBezTo>
                    <a:pt x="287" y="180"/>
                    <a:pt x="291" y="185"/>
                    <a:pt x="286" y="190"/>
                  </a:cubicBezTo>
                  <a:cubicBezTo>
                    <a:pt x="282" y="195"/>
                    <a:pt x="250" y="207"/>
                    <a:pt x="246" y="206"/>
                  </a:cubicBezTo>
                  <a:close/>
                  <a:moveTo>
                    <a:pt x="146" y="109"/>
                  </a:moveTo>
                  <a:cubicBezTo>
                    <a:pt x="146" y="114"/>
                    <a:pt x="141" y="124"/>
                    <a:pt x="134" y="134"/>
                  </a:cubicBezTo>
                  <a:cubicBezTo>
                    <a:pt x="127" y="144"/>
                    <a:pt x="103" y="162"/>
                    <a:pt x="87" y="173"/>
                  </a:cubicBezTo>
                  <a:cubicBezTo>
                    <a:pt x="70" y="183"/>
                    <a:pt x="23" y="206"/>
                    <a:pt x="16" y="212"/>
                  </a:cubicBezTo>
                  <a:cubicBezTo>
                    <a:pt x="10" y="218"/>
                    <a:pt x="0" y="213"/>
                    <a:pt x="7" y="236"/>
                  </a:cubicBezTo>
                  <a:cubicBezTo>
                    <a:pt x="13" y="258"/>
                    <a:pt x="24" y="253"/>
                    <a:pt x="55" y="252"/>
                  </a:cubicBezTo>
                  <a:cubicBezTo>
                    <a:pt x="85" y="250"/>
                    <a:pt x="106" y="237"/>
                    <a:pt x="111" y="239"/>
                  </a:cubicBezTo>
                  <a:cubicBezTo>
                    <a:pt x="116" y="242"/>
                    <a:pt x="119" y="251"/>
                    <a:pt x="119" y="259"/>
                  </a:cubicBezTo>
                  <a:cubicBezTo>
                    <a:pt x="120" y="266"/>
                    <a:pt x="116" y="270"/>
                    <a:pt x="108" y="279"/>
                  </a:cubicBezTo>
                  <a:cubicBezTo>
                    <a:pt x="100" y="288"/>
                    <a:pt x="100" y="303"/>
                    <a:pt x="100" y="311"/>
                  </a:cubicBezTo>
                  <a:cubicBezTo>
                    <a:pt x="101" y="318"/>
                    <a:pt x="104" y="325"/>
                    <a:pt x="110" y="332"/>
                  </a:cubicBezTo>
                  <a:cubicBezTo>
                    <a:pt x="117" y="338"/>
                    <a:pt x="119" y="333"/>
                    <a:pt x="127" y="333"/>
                  </a:cubicBezTo>
                  <a:cubicBezTo>
                    <a:pt x="134" y="332"/>
                    <a:pt x="138" y="323"/>
                    <a:pt x="139" y="316"/>
                  </a:cubicBezTo>
                  <a:cubicBezTo>
                    <a:pt x="140" y="308"/>
                    <a:pt x="148" y="313"/>
                    <a:pt x="155" y="314"/>
                  </a:cubicBezTo>
                  <a:cubicBezTo>
                    <a:pt x="161" y="316"/>
                    <a:pt x="158" y="318"/>
                    <a:pt x="159" y="326"/>
                  </a:cubicBezTo>
                  <a:cubicBezTo>
                    <a:pt x="159" y="334"/>
                    <a:pt x="159" y="336"/>
                    <a:pt x="168" y="339"/>
                  </a:cubicBezTo>
                  <a:cubicBezTo>
                    <a:pt x="177" y="343"/>
                    <a:pt x="178" y="342"/>
                    <a:pt x="189" y="330"/>
                  </a:cubicBezTo>
                  <a:cubicBezTo>
                    <a:pt x="199" y="319"/>
                    <a:pt x="187" y="291"/>
                    <a:pt x="193" y="292"/>
                  </a:cubicBezTo>
                  <a:cubicBezTo>
                    <a:pt x="198" y="293"/>
                    <a:pt x="209" y="289"/>
                    <a:pt x="217" y="281"/>
                  </a:cubicBezTo>
                  <a:cubicBezTo>
                    <a:pt x="225" y="273"/>
                    <a:pt x="232" y="272"/>
                    <a:pt x="243" y="263"/>
                  </a:cubicBezTo>
                  <a:cubicBezTo>
                    <a:pt x="253" y="254"/>
                    <a:pt x="278" y="233"/>
                    <a:pt x="284" y="237"/>
                  </a:cubicBezTo>
                  <a:cubicBezTo>
                    <a:pt x="290" y="240"/>
                    <a:pt x="285" y="282"/>
                    <a:pt x="286" y="321"/>
                  </a:cubicBezTo>
                  <a:cubicBezTo>
                    <a:pt x="288" y="361"/>
                    <a:pt x="286" y="379"/>
                    <a:pt x="287" y="396"/>
                  </a:cubicBezTo>
                  <a:cubicBezTo>
                    <a:pt x="289" y="413"/>
                    <a:pt x="278" y="425"/>
                    <a:pt x="278" y="434"/>
                  </a:cubicBezTo>
                  <a:cubicBezTo>
                    <a:pt x="277" y="443"/>
                    <a:pt x="278" y="454"/>
                    <a:pt x="284" y="461"/>
                  </a:cubicBezTo>
                  <a:cubicBezTo>
                    <a:pt x="291" y="468"/>
                    <a:pt x="296" y="458"/>
                    <a:pt x="305" y="449"/>
                  </a:cubicBezTo>
                  <a:cubicBezTo>
                    <a:pt x="314" y="440"/>
                    <a:pt x="315" y="424"/>
                    <a:pt x="319" y="393"/>
                  </a:cubicBezTo>
                  <a:cubicBezTo>
                    <a:pt x="323" y="362"/>
                    <a:pt x="318" y="269"/>
                    <a:pt x="320" y="252"/>
                  </a:cubicBezTo>
                  <a:cubicBezTo>
                    <a:pt x="321" y="236"/>
                    <a:pt x="323" y="232"/>
                    <a:pt x="327" y="227"/>
                  </a:cubicBezTo>
                  <a:cubicBezTo>
                    <a:pt x="332" y="222"/>
                    <a:pt x="332" y="212"/>
                    <a:pt x="340" y="211"/>
                  </a:cubicBezTo>
                  <a:cubicBezTo>
                    <a:pt x="349" y="210"/>
                    <a:pt x="360" y="212"/>
                    <a:pt x="363" y="202"/>
                  </a:cubicBezTo>
                  <a:cubicBezTo>
                    <a:pt x="366" y="192"/>
                    <a:pt x="364" y="182"/>
                    <a:pt x="358" y="177"/>
                  </a:cubicBezTo>
                  <a:cubicBezTo>
                    <a:pt x="352" y="172"/>
                    <a:pt x="326" y="167"/>
                    <a:pt x="324" y="162"/>
                  </a:cubicBezTo>
                  <a:cubicBezTo>
                    <a:pt x="322" y="158"/>
                    <a:pt x="323" y="119"/>
                    <a:pt x="322" y="108"/>
                  </a:cubicBezTo>
                  <a:cubicBezTo>
                    <a:pt x="322" y="96"/>
                    <a:pt x="324" y="98"/>
                    <a:pt x="330" y="85"/>
                  </a:cubicBezTo>
                  <a:cubicBezTo>
                    <a:pt x="336" y="73"/>
                    <a:pt x="333" y="65"/>
                    <a:pt x="334" y="48"/>
                  </a:cubicBezTo>
                  <a:cubicBezTo>
                    <a:pt x="334" y="32"/>
                    <a:pt x="334" y="33"/>
                    <a:pt x="324" y="23"/>
                  </a:cubicBezTo>
                  <a:cubicBezTo>
                    <a:pt x="315" y="14"/>
                    <a:pt x="306" y="6"/>
                    <a:pt x="292" y="3"/>
                  </a:cubicBezTo>
                  <a:cubicBezTo>
                    <a:pt x="278" y="0"/>
                    <a:pt x="274" y="12"/>
                    <a:pt x="275" y="29"/>
                  </a:cubicBezTo>
                  <a:cubicBezTo>
                    <a:pt x="275" y="47"/>
                    <a:pt x="278" y="37"/>
                    <a:pt x="282" y="43"/>
                  </a:cubicBezTo>
                  <a:cubicBezTo>
                    <a:pt x="286" y="49"/>
                    <a:pt x="285" y="62"/>
                    <a:pt x="286" y="69"/>
                  </a:cubicBezTo>
                  <a:cubicBezTo>
                    <a:pt x="287" y="76"/>
                    <a:pt x="283" y="77"/>
                    <a:pt x="274" y="77"/>
                  </a:cubicBezTo>
                  <a:cubicBezTo>
                    <a:pt x="265" y="78"/>
                    <a:pt x="268" y="69"/>
                    <a:pt x="253" y="65"/>
                  </a:cubicBezTo>
                  <a:cubicBezTo>
                    <a:pt x="238" y="60"/>
                    <a:pt x="225" y="74"/>
                    <a:pt x="218" y="72"/>
                  </a:cubicBezTo>
                  <a:cubicBezTo>
                    <a:pt x="212" y="71"/>
                    <a:pt x="215" y="68"/>
                    <a:pt x="212" y="52"/>
                  </a:cubicBezTo>
                  <a:cubicBezTo>
                    <a:pt x="209" y="36"/>
                    <a:pt x="191" y="26"/>
                    <a:pt x="177" y="26"/>
                  </a:cubicBezTo>
                  <a:cubicBezTo>
                    <a:pt x="164" y="26"/>
                    <a:pt x="135" y="52"/>
                    <a:pt x="115" y="68"/>
                  </a:cubicBezTo>
                  <a:cubicBezTo>
                    <a:pt x="96" y="84"/>
                    <a:pt x="55" y="129"/>
                    <a:pt x="47" y="139"/>
                  </a:cubicBezTo>
                  <a:cubicBezTo>
                    <a:pt x="39" y="149"/>
                    <a:pt x="30" y="156"/>
                    <a:pt x="30" y="163"/>
                  </a:cubicBezTo>
                  <a:cubicBezTo>
                    <a:pt x="30" y="170"/>
                    <a:pt x="28" y="170"/>
                    <a:pt x="39" y="172"/>
                  </a:cubicBezTo>
                  <a:cubicBezTo>
                    <a:pt x="49" y="174"/>
                    <a:pt x="64" y="154"/>
                    <a:pt x="96" y="132"/>
                  </a:cubicBezTo>
                  <a:cubicBezTo>
                    <a:pt x="128" y="110"/>
                    <a:pt x="147" y="103"/>
                    <a:pt x="146" y="10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1049577" name="îš1ïdè"/>
            <p:cNvSpPr/>
            <p:nvPr/>
          </p:nvSpPr>
          <p:spPr bwMode="auto">
            <a:xfrm>
              <a:off x="5180266" y="4845640"/>
              <a:ext cx="635000" cy="660400"/>
            </a:xfrm>
            <a:custGeom>
              <a:avLst/>
              <a:gdLst>
                <a:gd name="T0" fmla="*/ 5 w 344"/>
                <a:gd name="T1" fmla="*/ 147 h 358"/>
                <a:gd name="T2" fmla="*/ 38 w 344"/>
                <a:gd name="T3" fmla="*/ 142 h 358"/>
                <a:gd name="T4" fmla="*/ 53 w 344"/>
                <a:gd name="T5" fmla="*/ 125 h 358"/>
                <a:gd name="T6" fmla="*/ 43 w 344"/>
                <a:gd name="T7" fmla="*/ 70 h 358"/>
                <a:gd name="T8" fmla="*/ 48 w 344"/>
                <a:gd name="T9" fmla="*/ 43 h 358"/>
                <a:gd name="T10" fmla="*/ 76 w 344"/>
                <a:gd name="T11" fmla="*/ 45 h 358"/>
                <a:gd name="T12" fmla="*/ 122 w 344"/>
                <a:gd name="T13" fmla="*/ 89 h 358"/>
                <a:gd name="T14" fmla="*/ 122 w 344"/>
                <a:gd name="T15" fmla="*/ 185 h 358"/>
                <a:gd name="T16" fmla="*/ 141 w 344"/>
                <a:gd name="T17" fmla="*/ 192 h 358"/>
                <a:gd name="T18" fmla="*/ 231 w 344"/>
                <a:gd name="T19" fmla="*/ 135 h 358"/>
                <a:gd name="T20" fmla="*/ 241 w 344"/>
                <a:gd name="T21" fmla="*/ 87 h 358"/>
                <a:gd name="T22" fmla="*/ 234 w 344"/>
                <a:gd name="T23" fmla="*/ 48 h 358"/>
                <a:gd name="T24" fmla="*/ 263 w 344"/>
                <a:gd name="T25" fmla="*/ 17 h 358"/>
                <a:gd name="T26" fmla="*/ 298 w 344"/>
                <a:gd name="T27" fmla="*/ 76 h 358"/>
                <a:gd name="T28" fmla="*/ 292 w 344"/>
                <a:gd name="T29" fmla="*/ 111 h 358"/>
                <a:gd name="T30" fmla="*/ 317 w 344"/>
                <a:gd name="T31" fmla="*/ 138 h 358"/>
                <a:gd name="T32" fmla="*/ 292 w 344"/>
                <a:gd name="T33" fmla="*/ 181 h 358"/>
                <a:gd name="T34" fmla="*/ 270 w 344"/>
                <a:gd name="T35" fmla="*/ 217 h 358"/>
                <a:gd name="T36" fmla="*/ 276 w 344"/>
                <a:gd name="T37" fmla="*/ 252 h 358"/>
                <a:gd name="T38" fmla="*/ 334 w 344"/>
                <a:gd name="T39" fmla="*/ 270 h 358"/>
                <a:gd name="T40" fmla="*/ 333 w 344"/>
                <a:gd name="T41" fmla="*/ 304 h 358"/>
                <a:gd name="T42" fmla="*/ 226 w 344"/>
                <a:gd name="T43" fmla="*/ 338 h 358"/>
                <a:gd name="T44" fmla="*/ 166 w 344"/>
                <a:gd name="T45" fmla="*/ 352 h 358"/>
                <a:gd name="T46" fmla="*/ 191 w 344"/>
                <a:gd name="T47" fmla="*/ 319 h 358"/>
                <a:gd name="T48" fmla="*/ 228 w 344"/>
                <a:gd name="T49" fmla="*/ 287 h 358"/>
                <a:gd name="T50" fmla="*/ 231 w 344"/>
                <a:gd name="T51" fmla="*/ 223 h 358"/>
                <a:gd name="T52" fmla="*/ 194 w 344"/>
                <a:gd name="T53" fmla="*/ 194 h 358"/>
                <a:gd name="T54" fmla="*/ 152 w 344"/>
                <a:gd name="T55" fmla="*/ 228 h 358"/>
                <a:gd name="T56" fmla="*/ 55 w 344"/>
                <a:gd name="T57" fmla="*/ 337 h 358"/>
                <a:gd name="T58" fmla="*/ 21 w 344"/>
                <a:gd name="T59" fmla="*/ 316 h 358"/>
                <a:gd name="T60" fmla="*/ 30 w 344"/>
                <a:gd name="T61" fmla="*/ 260 h 358"/>
                <a:gd name="T62" fmla="*/ 53 w 344"/>
                <a:gd name="T63" fmla="*/ 228 h 358"/>
                <a:gd name="T64" fmla="*/ 37 w 344"/>
                <a:gd name="T65" fmla="*/ 201 h 358"/>
                <a:gd name="T66" fmla="*/ 1 w 344"/>
                <a:gd name="T67" fmla="*/ 170 h 358"/>
                <a:gd name="T68" fmla="*/ 5 w 344"/>
                <a:gd name="T69" fmla="*/ 147 h 3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344" h="358">
                  <a:moveTo>
                    <a:pt x="5" y="147"/>
                  </a:moveTo>
                  <a:cubicBezTo>
                    <a:pt x="6" y="143"/>
                    <a:pt x="22" y="140"/>
                    <a:pt x="38" y="142"/>
                  </a:cubicBezTo>
                  <a:cubicBezTo>
                    <a:pt x="54" y="144"/>
                    <a:pt x="53" y="137"/>
                    <a:pt x="53" y="125"/>
                  </a:cubicBezTo>
                  <a:cubicBezTo>
                    <a:pt x="53" y="112"/>
                    <a:pt x="60" y="89"/>
                    <a:pt x="43" y="70"/>
                  </a:cubicBezTo>
                  <a:cubicBezTo>
                    <a:pt x="25" y="52"/>
                    <a:pt x="48" y="43"/>
                    <a:pt x="48" y="43"/>
                  </a:cubicBezTo>
                  <a:cubicBezTo>
                    <a:pt x="48" y="43"/>
                    <a:pt x="55" y="32"/>
                    <a:pt x="76" y="45"/>
                  </a:cubicBezTo>
                  <a:cubicBezTo>
                    <a:pt x="97" y="58"/>
                    <a:pt x="115" y="74"/>
                    <a:pt x="122" y="89"/>
                  </a:cubicBezTo>
                  <a:cubicBezTo>
                    <a:pt x="129" y="104"/>
                    <a:pt x="118" y="174"/>
                    <a:pt x="122" y="185"/>
                  </a:cubicBezTo>
                  <a:cubicBezTo>
                    <a:pt x="125" y="195"/>
                    <a:pt x="130" y="200"/>
                    <a:pt x="141" y="192"/>
                  </a:cubicBezTo>
                  <a:cubicBezTo>
                    <a:pt x="153" y="183"/>
                    <a:pt x="214" y="138"/>
                    <a:pt x="231" y="135"/>
                  </a:cubicBezTo>
                  <a:cubicBezTo>
                    <a:pt x="249" y="132"/>
                    <a:pt x="241" y="103"/>
                    <a:pt x="241" y="87"/>
                  </a:cubicBezTo>
                  <a:cubicBezTo>
                    <a:pt x="242" y="70"/>
                    <a:pt x="234" y="59"/>
                    <a:pt x="234" y="48"/>
                  </a:cubicBezTo>
                  <a:cubicBezTo>
                    <a:pt x="234" y="36"/>
                    <a:pt x="247" y="0"/>
                    <a:pt x="263" y="17"/>
                  </a:cubicBezTo>
                  <a:cubicBezTo>
                    <a:pt x="279" y="35"/>
                    <a:pt x="303" y="58"/>
                    <a:pt x="298" y="76"/>
                  </a:cubicBezTo>
                  <a:cubicBezTo>
                    <a:pt x="294" y="95"/>
                    <a:pt x="283" y="92"/>
                    <a:pt x="292" y="111"/>
                  </a:cubicBezTo>
                  <a:cubicBezTo>
                    <a:pt x="301" y="129"/>
                    <a:pt x="320" y="117"/>
                    <a:pt x="317" y="138"/>
                  </a:cubicBezTo>
                  <a:cubicBezTo>
                    <a:pt x="315" y="160"/>
                    <a:pt x="321" y="149"/>
                    <a:pt x="292" y="181"/>
                  </a:cubicBezTo>
                  <a:cubicBezTo>
                    <a:pt x="268" y="209"/>
                    <a:pt x="270" y="208"/>
                    <a:pt x="270" y="217"/>
                  </a:cubicBezTo>
                  <a:cubicBezTo>
                    <a:pt x="270" y="226"/>
                    <a:pt x="266" y="249"/>
                    <a:pt x="276" y="252"/>
                  </a:cubicBezTo>
                  <a:cubicBezTo>
                    <a:pt x="287" y="254"/>
                    <a:pt x="325" y="250"/>
                    <a:pt x="334" y="270"/>
                  </a:cubicBezTo>
                  <a:cubicBezTo>
                    <a:pt x="344" y="290"/>
                    <a:pt x="344" y="295"/>
                    <a:pt x="333" y="304"/>
                  </a:cubicBezTo>
                  <a:cubicBezTo>
                    <a:pt x="321" y="312"/>
                    <a:pt x="288" y="320"/>
                    <a:pt x="226" y="338"/>
                  </a:cubicBezTo>
                  <a:cubicBezTo>
                    <a:pt x="180" y="351"/>
                    <a:pt x="168" y="358"/>
                    <a:pt x="166" y="352"/>
                  </a:cubicBezTo>
                  <a:cubicBezTo>
                    <a:pt x="164" y="346"/>
                    <a:pt x="175" y="331"/>
                    <a:pt x="191" y="319"/>
                  </a:cubicBezTo>
                  <a:cubicBezTo>
                    <a:pt x="207" y="307"/>
                    <a:pt x="224" y="304"/>
                    <a:pt x="228" y="287"/>
                  </a:cubicBezTo>
                  <a:cubicBezTo>
                    <a:pt x="232" y="270"/>
                    <a:pt x="235" y="234"/>
                    <a:pt x="231" y="223"/>
                  </a:cubicBezTo>
                  <a:cubicBezTo>
                    <a:pt x="227" y="212"/>
                    <a:pt x="213" y="188"/>
                    <a:pt x="194" y="194"/>
                  </a:cubicBezTo>
                  <a:cubicBezTo>
                    <a:pt x="176" y="200"/>
                    <a:pt x="166" y="210"/>
                    <a:pt x="152" y="228"/>
                  </a:cubicBezTo>
                  <a:cubicBezTo>
                    <a:pt x="138" y="247"/>
                    <a:pt x="66" y="336"/>
                    <a:pt x="55" y="337"/>
                  </a:cubicBezTo>
                  <a:cubicBezTo>
                    <a:pt x="45" y="338"/>
                    <a:pt x="22" y="340"/>
                    <a:pt x="21" y="316"/>
                  </a:cubicBezTo>
                  <a:cubicBezTo>
                    <a:pt x="20" y="292"/>
                    <a:pt x="16" y="285"/>
                    <a:pt x="30" y="260"/>
                  </a:cubicBezTo>
                  <a:cubicBezTo>
                    <a:pt x="44" y="234"/>
                    <a:pt x="53" y="241"/>
                    <a:pt x="53" y="228"/>
                  </a:cubicBezTo>
                  <a:cubicBezTo>
                    <a:pt x="53" y="216"/>
                    <a:pt x="47" y="207"/>
                    <a:pt x="37" y="201"/>
                  </a:cubicBezTo>
                  <a:cubicBezTo>
                    <a:pt x="27" y="195"/>
                    <a:pt x="2" y="182"/>
                    <a:pt x="1" y="170"/>
                  </a:cubicBezTo>
                  <a:cubicBezTo>
                    <a:pt x="0" y="157"/>
                    <a:pt x="4" y="150"/>
                    <a:pt x="5" y="14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1049578" name="ï$líḋé"/>
            <p:cNvSpPr/>
            <p:nvPr/>
          </p:nvSpPr>
          <p:spPr bwMode="auto">
            <a:xfrm>
              <a:off x="5596191" y="5675903"/>
              <a:ext cx="25400" cy="30163"/>
            </a:xfrm>
            <a:prstGeom prst="rect">
              <a:avLst/>
            </a:pr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1049579" name="işḷíḓè"/>
            <p:cNvSpPr/>
            <p:nvPr/>
          </p:nvSpPr>
          <p:spPr bwMode="auto">
            <a:xfrm>
              <a:off x="5596191" y="5733053"/>
              <a:ext cx="25400" cy="149225"/>
            </a:xfrm>
            <a:prstGeom prst="rect">
              <a:avLst/>
            </a:pr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1049580" name="ïSḷîḋé"/>
            <p:cNvSpPr/>
            <p:nvPr/>
          </p:nvSpPr>
          <p:spPr bwMode="auto">
            <a:xfrm>
              <a:off x="5645403" y="5733053"/>
              <a:ext cx="136525" cy="149225"/>
            </a:xfrm>
            <a:custGeom>
              <a:avLst/>
              <a:gdLst>
                <a:gd name="T0" fmla="*/ 42 w 74"/>
                <a:gd name="T1" fmla="*/ 50 h 81"/>
                <a:gd name="T2" fmla="*/ 37 w 74"/>
                <a:gd name="T3" fmla="*/ 65 h 81"/>
                <a:gd name="T4" fmla="*/ 32 w 74"/>
                <a:gd name="T5" fmla="*/ 49 h 81"/>
                <a:gd name="T6" fmla="*/ 14 w 74"/>
                <a:gd name="T7" fmla="*/ 0 h 81"/>
                <a:gd name="T8" fmla="*/ 0 w 74"/>
                <a:gd name="T9" fmla="*/ 0 h 81"/>
                <a:gd name="T10" fmla="*/ 31 w 74"/>
                <a:gd name="T11" fmla="*/ 81 h 81"/>
                <a:gd name="T12" fmla="*/ 44 w 74"/>
                <a:gd name="T13" fmla="*/ 81 h 81"/>
                <a:gd name="T14" fmla="*/ 74 w 74"/>
                <a:gd name="T15" fmla="*/ 0 h 81"/>
                <a:gd name="T16" fmla="*/ 60 w 74"/>
                <a:gd name="T17" fmla="*/ 0 h 81"/>
                <a:gd name="T18" fmla="*/ 42 w 74"/>
                <a:gd name="T19" fmla="*/ 50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4" h="81">
                  <a:moveTo>
                    <a:pt x="42" y="50"/>
                  </a:moveTo>
                  <a:cubicBezTo>
                    <a:pt x="40" y="56"/>
                    <a:pt x="38" y="61"/>
                    <a:pt x="37" y="65"/>
                  </a:cubicBezTo>
                  <a:cubicBezTo>
                    <a:pt x="35" y="59"/>
                    <a:pt x="34" y="54"/>
                    <a:pt x="32" y="49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44" y="81"/>
                    <a:pt x="44" y="81"/>
                    <a:pt x="44" y="81"/>
                  </a:cubicBezTo>
                  <a:cubicBezTo>
                    <a:pt x="74" y="0"/>
                    <a:pt x="74" y="0"/>
                    <a:pt x="74" y="0"/>
                  </a:cubicBezTo>
                  <a:cubicBezTo>
                    <a:pt x="60" y="0"/>
                    <a:pt x="60" y="0"/>
                    <a:pt x="60" y="0"/>
                  </a:cubicBezTo>
                  <a:lnTo>
                    <a:pt x="42" y="5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1049581" name="išḷiḓé"/>
            <p:cNvSpPr/>
            <p:nvPr/>
          </p:nvSpPr>
          <p:spPr bwMode="auto">
            <a:xfrm>
              <a:off x="5796216" y="5729878"/>
              <a:ext cx="138113" cy="157163"/>
            </a:xfrm>
            <a:custGeom>
              <a:avLst/>
              <a:gdLst>
                <a:gd name="T0" fmla="*/ 38 w 75"/>
                <a:gd name="T1" fmla="*/ 0 h 85"/>
                <a:gd name="T2" fmla="*/ 10 w 75"/>
                <a:gd name="T3" fmla="*/ 12 h 85"/>
                <a:gd name="T4" fmla="*/ 0 w 75"/>
                <a:gd name="T5" fmla="*/ 43 h 85"/>
                <a:gd name="T6" fmla="*/ 10 w 75"/>
                <a:gd name="T7" fmla="*/ 74 h 85"/>
                <a:gd name="T8" fmla="*/ 39 w 75"/>
                <a:gd name="T9" fmla="*/ 85 h 85"/>
                <a:gd name="T10" fmla="*/ 62 w 75"/>
                <a:gd name="T11" fmla="*/ 78 h 85"/>
                <a:gd name="T12" fmla="*/ 74 w 75"/>
                <a:gd name="T13" fmla="*/ 59 h 85"/>
                <a:gd name="T14" fmla="*/ 60 w 75"/>
                <a:gd name="T15" fmla="*/ 57 h 85"/>
                <a:gd name="T16" fmla="*/ 52 w 75"/>
                <a:gd name="T17" fmla="*/ 70 h 85"/>
                <a:gd name="T18" fmla="*/ 39 w 75"/>
                <a:gd name="T19" fmla="*/ 74 h 85"/>
                <a:gd name="T20" fmla="*/ 22 w 75"/>
                <a:gd name="T21" fmla="*/ 67 h 85"/>
                <a:gd name="T22" fmla="*/ 14 w 75"/>
                <a:gd name="T23" fmla="*/ 46 h 85"/>
                <a:gd name="T24" fmla="*/ 75 w 75"/>
                <a:gd name="T25" fmla="*/ 46 h 85"/>
                <a:gd name="T26" fmla="*/ 75 w 75"/>
                <a:gd name="T27" fmla="*/ 43 h 85"/>
                <a:gd name="T28" fmla="*/ 64 w 75"/>
                <a:gd name="T29" fmla="*/ 11 h 85"/>
                <a:gd name="T30" fmla="*/ 38 w 75"/>
                <a:gd name="T31" fmla="*/ 0 h 85"/>
                <a:gd name="T32" fmla="*/ 15 w 75"/>
                <a:gd name="T33" fmla="*/ 35 h 85"/>
                <a:gd name="T34" fmla="*/ 22 w 75"/>
                <a:gd name="T35" fmla="*/ 18 h 85"/>
                <a:gd name="T36" fmla="*/ 38 w 75"/>
                <a:gd name="T37" fmla="*/ 12 h 85"/>
                <a:gd name="T38" fmla="*/ 55 w 75"/>
                <a:gd name="T39" fmla="*/ 20 h 85"/>
                <a:gd name="T40" fmla="*/ 60 w 75"/>
                <a:gd name="T41" fmla="*/ 35 h 85"/>
                <a:gd name="T42" fmla="*/ 15 w 75"/>
                <a:gd name="T43" fmla="*/ 35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75" h="85">
                  <a:moveTo>
                    <a:pt x="38" y="0"/>
                  </a:moveTo>
                  <a:cubicBezTo>
                    <a:pt x="27" y="0"/>
                    <a:pt x="17" y="4"/>
                    <a:pt x="10" y="12"/>
                  </a:cubicBezTo>
                  <a:cubicBezTo>
                    <a:pt x="3" y="19"/>
                    <a:pt x="0" y="30"/>
                    <a:pt x="0" y="43"/>
                  </a:cubicBezTo>
                  <a:cubicBezTo>
                    <a:pt x="0" y="57"/>
                    <a:pt x="3" y="67"/>
                    <a:pt x="10" y="74"/>
                  </a:cubicBezTo>
                  <a:cubicBezTo>
                    <a:pt x="17" y="81"/>
                    <a:pt x="27" y="85"/>
                    <a:pt x="39" y="85"/>
                  </a:cubicBezTo>
                  <a:cubicBezTo>
                    <a:pt x="48" y="85"/>
                    <a:pt x="56" y="83"/>
                    <a:pt x="62" y="78"/>
                  </a:cubicBezTo>
                  <a:cubicBezTo>
                    <a:pt x="68" y="74"/>
                    <a:pt x="72" y="67"/>
                    <a:pt x="74" y="59"/>
                  </a:cubicBezTo>
                  <a:cubicBezTo>
                    <a:pt x="60" y="57"/>
                    <a:pt x="60" y="57"/>
                    <a:pt x="60" y="57"/>
                  </a:cubicBezTo>
                  <a:cubicBezTo>
                    <a:pt x="58" y="63"/>
                    <a:pt x="55" y="67"/>
                    <a:pt x="52" y="70"/>
                  </a:cubicBezTo>
                  <a:cubicBezTo>
                    <a:pt x="48" y="73"/>
                    <a:pt x="44" y="74"/>
                    <a:pt x="39" y="74"/>
                  </a:cubicBezTo>
                  <a:cubicBezTo>
                    <a:pt x="32" y="74"/>
                    <a:pt x="26" y="71"/>
                    <a:pt x="22" y="67"/>
                  </a:cubicBezTo>
                  <a:cubicBezTo>
                    <a:pt x="17" y="62"/>
                    <a:pt x="15" y="55"/>
                    <a:pt x="14" y="46"/>
                  </a:cubicBezTo>
                  <a:cubicBezTo>
                    <a:pt x="75" y="46"/>
                    <a:pt x="75" y="46"/>
                    <a:pt x="75" y="46"/>
                  </a:cubicBezTo>
                  <a:cubicBezTo>
                    <a:pt x="75" y="45"/>
                    <a:pt x="75" y="43"/>
                    <a:pt x="75" y="43"/>
                  </a:cubicBezTo>
                  <a:cubicBezTo>
                    <a:pt x="75" y="29"/>
                    <a:pt x="71" y="19"/>
                    <a:pt x="64" y="11"/>
                  </a:cubicBezTo>
                  <a:cubicBezTo>
                    <a:pt x="58" y="4"/>
                    <a:pt x="49" y="0"/>
                    <a:pt x="38" y="0"/>
                  </a:cubicBezTo>
                  <a:close/>
                  <a:moveTo>
                    <a:pt x="15" y="35"/>
                  </a:moveTo>
                  <a:cubicBezTo>
                    <a:pt x="15" y="28"/>
                    <a:pt x="18" y="22"/>
                    <a:pt x="22" y="18"/>
                  </a:cubicBezTo>
                  <a:cubicBezTo>
                    <a:pt x="26" y="14"/>
                    <a:pt x="32" y="12"/>
                    <a:pt x="38" y="12"/>
                  </a:cubicBezTo>
                  <a:cubicBezTo>
                    <a:pt x="45" y="12"/>
                    <a:pt x="51" y="14"/>
                    <a:pt x="55" y="20"/>
                  </a:cubicBezTo>
                  <a:cubicBezTo>
                    <a:pt x="58" y="23"/>
                    <a:pt x="60" y="28"/>
                    <a:pt x="60" y="35"/>
                  </a:cubicBezTo>
                  <a:lnTo>
                    <a:pt x="15" y="35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1049582" name="iṩľidè"/>
            <p:cNvSpPr/>
            <p:nvPr/>
          </p:nvSpPr>
          <p:spPr bwMode="auto">
            <a:xfrm>
              <a:off x="5964491" y="5729878"/>
              <a:ext cx="82550" cy="152400"/>
            </a:xfrm>
            <a:custGeom>
              <a:avLst/>
              <a:gdLst>
                <a:gd name="T0" fmla="*/ 22 w 45"/>
                <a:gd name="T1" fmla="*/ 3 h 83"/>
                <a:gd name="T2" fmla="*/ 13 w 45"/>
                <a:gd name="T3" fmla="*/ 14 h 83"/>
                <a:gd name="T4" fmla="*/ 13 w 45"/>
                <a:gd name="T5" fmla="*/ 2 h 83"/>
                <a:gd name="T6" fmla="*/ 0 w 45"/>
                <a:gd name="T7" fmla="*/ 2 h 83"/>
                <a:gd name="T8" fmla="*/ 0 w 45"/>
                <a:gd name="T9" fmla="*/ 83 h 83"/>
                <a:gd name="T10" fmla="*/ 14 w 45"/>
                <a:gd name="T11" fmla="*/ 83 h 83"/>
                <a:gd name="T12" fmla="*/ 14 w 45"/>
                <a:gd name="T13" fmla="*/ 41 h 83"/>
                <a:gd name="T14" fmla="*/ 17 w 45"/>
                <a:gd name="T15" fmla="*/ 25 h 83"/>
                <a:gd name="T16" fmla="*/ 22 w 45"/>
                <a:gd name="T17" fmla="*/ 17 h 83"/>
                <a:gd name="T18" fmla="*/ 30 w 45"/>
                <a:gd name="T19" fmla="*/ 14 h 83"/>
                <a:gd name="T20" fmla="*/ 40 w 45"/>
                <a:gd name="T21" fmla="*/ 17 h 83"/>
                <a:gd name="T22" fmla="*/ 45 w 45"/>
                <a:gd name="T23" fmla="*/ 5 h 83"/>
                <a:gd name="T24" fmla="*/ 30 w 45"/>
                <a:gd name="T25" fmla="*/ 0 h 83"/>
                <a:gd name="T26" fmla="*/ 22 w 45"/>
                <a:gd name="T27" fmla="*/ 3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5" h="83">
                  <a:moveTo>
                    <a:pt x="22" y="3"/>
                  </a:moveTo>
                  <a:cubicBezTo>
                    <a:pt x="19" y="5"/>
                    <a:pt x="16" y="9"/>
                    <a:pt x="13" y="14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83"/>
                    <a:pt x="0" y="83"/>
                    <a:pt x="0" y="83"/>
                  </a:cubicBezTo>
                  <a:cubicBezTo>
                    <a:pt x="14" y="83"/>
                    <a:pt x="14" y="83"/>
                    <a:pt x="14" y="83"/>
                  </a:cubicBezTo>
                  <a:cubicBezTo>
                    <a:pt x="14" y="41"/>
                    <a:pt x="14" y="41"/>
                    <a:pt x="14" y="41"/>
                  </a:cubicBezTo>
                  <a:cubicBezTo>
                    <a:pt x="14" y="35"/>
                    <a:pt x="15" y="30"/>
                    <a:pt x="17" y="25"/>
                  </a:cubicBezTo>
                  <a:cubicBezTo>
                    <a:pt x="18" y="21"/>
                    <a:pt x="19" y="19"/>
                    <a:pt x="22" y="17"/>
                  </a:cubicBezTo>
                  <a:cubicBezTo>
                    <a:pt x="24" y="15"/>
                    <a:pt x="27" y="14"/>
                    <a:pt x="30" y="14"/>
                  </a:cubicBezTo>
                  <a:cubicBezTo>
                    <a:pt x="33" y="14"/>
                    <a:pt x="37" y="15"/>
                    <a:pt x="40" y="17"/>
                  </a:cubicBezTo>
                  <a:cubicBezTo>
                    <a:pt x="45" y="5"/>
                    <a:pt x="45" y="5"/>
                    <a:pt x="45" y="5"/>
                  </a:cubicBezTo>
                  <a:cubicBezTo>
                    <a:pt x="40" y="2"/>
                    <a:pt x="35" y="0"/>
                    <a:pt x="30" y="0"/>
                  </a:cubicBezTo>
                  <a:cubicBezTo>
                    <a:pt x="27" y="0"/>
                    <a:pt x="24" y="1"/>
                    <a:pt x="22" y="3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1049583" name="îṡļiḑe"/>
            <p:cNvSpPr/>
            <p:nvPr/>
          </p:nvSpPr>
          <p:spPr bwMode="auto">
            <a:xfrm>
              <a:off x="6050216" y="5729878"/>
              <a:ext cx="125413" cy="157163"/>
            </a:xfrm>
            <a:custGeom>
              <a:avLst/>
              <a:gdLst>
                <a:gd name="T0" fmla="*/ 55 w 68"/>
                <a:gd name="T1" fmla="*/ 40 h 85"/>
                <a:gd name="T2" fmla="*/ 35 w 68"/>
                <a:gd name="T3" fmla="*/ 34 h 85"/>
                <a:gd name="T4" fmla="*/ 23 w 68"/>
                <a:gd name="T5" fmla="*/ 31 h 85"/>
                <a:gd name="T6" fmla="*/ 18 w 68"/>
                <a:gd name="T7" fmla="*/ 27 h 85"/>
                <a:gd name="T8" fmla="*/ 16 w 68"/>
                <a:gd name="T9" fmla="*/ 22 h 85"/>
                <a:gd name="T10" fmla="*/ 20 w 68"/>
                <a:gd name="T11" fmla="*/ 15 h 85"/>
                <a:gd name="T12" fmla="*/ 34 w 68"/>
                <a:gd name="T13" fmla="*/ 12 h 85"/>
                <a:gd name="T14" fmla="*/ 46 w 68"/>
                <a:gd name="T15" fmla="*/ 15 h 85"/>
                <a:gd name="T16" fmla="*/ 51 w 68"/>
                <a:gd name="T17" fmla="*/ 25 h 85"/>
                <a:gd name="T18" fmla="*/ 65 w 68"/>
                <a:gd name="T19" fmla="*/ 23 h 85"/>
                <a:gd name="T20" fmla="*/ 60 w 68"/>
                <a:gd name="T21" fmla="*/ 10 h 85"/>
                <a:gd name="T22" fmla="*/ 49 w 68"/>
                <a:gd name="T23" fmla="*/ 3 h 85"/>
                <a:gd name="T24" fmla="*/ 33 w 68"/>
                <a:gd name="T25" fmla="*/ 0 h 85"/>
                <a:gd name="T26" fmla="*/ 21 w 68"/>
                <a:gd name="T27" fmla="*/ 2 h 85"/>
                <a:gd name="T28" fmla="*/ 12 w 68"/>
                <a:gd name="T29" fmla="*/ 6 h 85"/>
                <a:gd name="T30" fmla="*/ 5 w 68"/>
                <a:gd name="T31" fmla="*/ 14 h 85"/>
                <a:gd name="T32" fmla="*/ 3 w 68"/>
                <a:gd name="T33" fmla="*/ 24 h 85"/>
                <a:gd name="T34" fmla="*/ 6 w 68"/>
                <a:gd name="T35" fmla="*/ 35 h 85"/>
                <a:gd name="T36" fmla="*/ 15 w 68"/>
                <a:gd name="T37" fmla="*/ 42 h 85"/>
                <a:gd name="T38" fmla="*/ 36 w 68"/>
                <a:gd name="T39" fmla="*/ 49 h 85"/>
                <a:gd name="T40" fmla="*/ 50 w 68"/>
                <a:gd name="T41" fmla="*/ 54 h 85"/>
                <a:gd name="T42" fmla="*/ 54 w 68"/>
                <a:gd name="T43" fmla="*/ 61 h 85"/>
                <a:gd name="T44" fmla="*/ 49 w 68"/>
                <a:gd name="T45" fmla="*/ 70 h 85"/>
                <a:gd name="T46" fmla="*/ 35 w 68"/>
                <a:gd name="T47" fmla="*/ 74 h 85"/>
                <a:gd name="T48" fmla="*/ 20 w 68"/>
                <a:gd name="T49" fmla="*/ 69 h 85"/>
                <a:gd name="T50" fmla="*/ 14 w 68"/>
                <a:gd name="T51" fmla="*/ 57 h 85"/>
                <a:gd name="T52" fmla="*/ 0 w 68"/>
                <a:gd name="T53" fmla="*/ 59 h 85"/>
                <a:gd name="T54" fmla="*/ 11 w 68"/>
                <a:gd name="T55" fmla="*/ 79 h 85"/>
                <a:gd name="T56" fmla="*/ 35 w 68"/>
                <a:gd name="T57" fmla="*/ 85 h 85"/>
                <a:gd name="T58" fmla="*/ 52 w 68"/>
                <a:gd name="T59" fmla="*/ 82 h 85"/>
                <a:gd name="T60" fmla="*/ 64 w 68"/>
                <a:gd name="T61" fmla="*/ 72 h 85"/>
                <a:gd name="T62" fmla="*/ 68 w 68"/>
                <a:gd name="T63" fmla="*/ 59 h 85"/>
                <a:gd name="T64" fmla="*/ 65 w 68"/>
                <a:gd name="T65" fmla="*/ 48 h 85"/>
                <a:gd name="T66" fmla="*/ 55 w 68"/>
                <a:gd name="T67" fmla="*/ 40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68" h="85">
                  <a:moveTo>
                    <a:pt x="55" y="40"/>
                  </a:moveTo>
                  <a:cubicBezTo>
                    <a:pt x="52" y="39"/>
                    <a:pt x="45" y="37"/>
                    <a:pt x="35" y="34"/>
                  </a:cubicBezTo>
                  <a:cubicBezTo>
                    <a:pt x="28" y="32"/>
                    <a:pt x="24" y="31"/>
                    <a:pt x="23" y="31"/>
                  </a:cubicBezTo>
                  <a:cubicBezTo>
                    <a:pt x="20" y="30"/>
                    <a:pt x="19" y="28"/>
                    <a:pt x="18" y="27"/>
                  </a:cubicBezTo>
                  <a:cubicBezTo>
                    <a:pt x="16" y="25"/>
                    <a:pt x="16" y="24"/>
                    <a:pt x="16" y="22"/>
                  </a:cubicBezTo>
                  <a:cubicBezTo>
                    <a:pt x="16" y="19"/>
                    <a:pt x="17" y="17"/>
                    <a:pt x="20" y="15"/>
                  </a:cubicBezTo>
                  <a:cubicBezTo>
                    <a:pt x="23" y="13"/>
                    <a:pt x="27" y="12"/>
                    <a:pt x="34" y="12"/>
                  </a:cubicBezTo>
                  <a:cubicBezTo>
                    <a:pt x="39" y="12"/>
                    <a:pt x="43" y="13"/>
                    <a:pt x="46" y="15"/>
                  </a:cubicBezTo>
                  <a:cubicBezTo>
                    <a:pt x="49" y="17"/>
                    <a:pt x="51" y="21"/>
                    <a:pt x="51" y="25"/>
                  </a:cubicBezTo>
                  <a:cubicBezTo>
                    <a:pt x="65" y="23"/>
                    <a:pt x="65" y="23"/>
                    <a:pt x="65" y="23"/>
                  </a:cubicBezTo>
                  <a:cubicBezTo>
                    <a:pt x="64" y="18"/>
                    <a:pt x="62" y="14"/>
                    <a:pt x="60" y="10"/>
                  </a:cubicBezTo>
                  <a:cubicBezTo>
                    <a:pt x="58" y="7"/>
                    <a:pt x="54" y="5"/>
                    <a:pt x="49" y="3"/>
                  </a:cubicBezTo>
                  <a:cubicBezTo>
                    <a:pt x="44" y="1"/>
                    <a:pt x="39" y="0"/>
                    <a:pt x="33" y="0"/>
                  </a:cubicBezTo>
                  <a:cubicBezTo>
                    <a:pt x="28" y="0"/>
                    <a:pt x="24" y="1"/>
                    <a:pt x="21" y="2"/>
                  </a:cubicBezTo>
                  <a:cubicBezTo>
                    <a:pt x="17" y="3"/>
                    <a:pt x="14" y="4"/>
                    <a:pt x="12" y="6"/>
                  </a:cubicBezTo>
                  <a:cubicBezTo>
                    <a:pt x="9" y="8"/>
                    <a:pt x="7" y="10"/>
                    <a:pt x="5" y="14"/>
                  </a:cubicBezTo>
                  <a:cubicBezTo>
                    <a:pt x="3" y="17"/>
                    <a:pt x="3" y="20"/>
                    <a:pt x="3" y="24"/>
                  </a:cubicBezTo>
                  <a:cubicBezTo>
                    <a:pt x="3" y="28"/>
                    <a:pt x="4" y="31"/>
                    <a:pt x="6" y="35"/>
                  </a:cubicBezTo>
                  <a:cubicBezTo>
                    <a:pt x="8" y="38"/>
                    <a:pt x="11" y="40"/>
                    <a:pt x="15" y="42"/>
                  </a:cubicBezTo>
                  <a:cubicBezTo>
                    <a:pt x="18" y="44"/>
                    <a:pt x="25" y="46"/>
                    <a:pt x="36" y="49"/>
                  </a:cubicBezTo>
                  <a:cubicBezTo>
                    <a:pt x="43" y="51"/>
                    <a:pt x="48" y="52"/>
                    <a:pt x="50" y="54"/>
                  </a:cubicBezTo>
                  <a:cubicBezTo>
                    <a:pt x="52" y="55"/>
                    <a:pt x="54" y="58"/>
                    <a:pt x="54" y="61"/>
                  </a:cubicBezTo>
                  <a:cubicBezTo>
                    <a:pt x="54" y="64"/>
                    <a:pt x="52" y="67"/>
                    <a:pt x="49" y="70"/>
                  </a:cubicBezTo>
                  <a:cubicBezTo>
                    <a:pt x="46" y="73"/>
                    <a:pt x="41" y="74"/>
                    <a:pt x="35" y="74"/>
                  </a:cubicBezTo>
                  <a:cubicBezTo>
                    <a:pt x="29" y="74"/>
                    <a:pt x="24" y="72"/>
                    <a:pt x="20" y="69"/>
                  </a:cubicBezTo>
                  <a:cubicBezTo>
                    <a:pt x="17" y="67"/>
                    <a:pt x="15" y="62"/>
                    <a:pt x="14" y="57"/>
                  </a:cubicBezTo>
                  <a:cubicBezTo>
                    <a:pt x="0" y="59"/>
                    <a:pt x="0" y="59"/>
                    <a:pt x="0" y="59"/>
                  </a:cubicBezTo>
                  <a:cubicBezTo>
                    <a:pt x="2" y="68"/>
                    <a:pt x="5" y="74"/>
                    <a:pt x="11" y="79"/>
                  </a:cubicBezTo>
                  <a:cubicBezTo>
                    <a:pt x="16" y="83"/>
                    <a:pt x="24" y="85"/>
                    <a:pt x="35" y="85"/>
                  </a:cubicBezTo>
                  <a:cubicBezTo>
                    <a:pt x="41" y="85"/>
                    <a:pt x="47" y="84"/>
                    <a:pt x="52" y="82"/>
                  </a:cubicBezTo>
                  <a:cubicBezTo>
                    <a:pt x="57" y="80"/>
                    <a:pt x="61" y="76"/>
                    <a:pt x="64" y="72"/>
                  </a:cubicBezTo>
                  <a:cubicBezTo>
                    <a:pt x="66" y="68"/>
                    <a:pt x="68" y="64"/>
                    <a:pt x="68" y="59"/>
                  </a:cubicBezTo>
                  <a:cubicBezTo>
                    <a:pt x="68" y="55"/>
                    <a:pt x="67" y="51"/>
                    <a:pt x="65" y="48"/>
                  </a:cubicBezTo>
                  <a:cubicBezTo>
                    <a:pt x="62" y="45"/>
                    <a:pt x="59" y="42"/>
                    <a:pt x="55" y="4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1049584" name="ïśļíḓe"/>
            <p:cNvSpPr/>
            <p:nvPr/>
          </p:nvSpPr>
          <p:spPr bwMode="auto">
            <a:xfrm>
              <a:off x="6205791" y="5675903"/>
              <a:ext cx="25400" cy="30163"/>
            </a:xfrm>
            <a:prstGeom prst="rect">
              <a:avLst/>
            </a:pr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1049585" name="îṡľîdè"/>
            <p:cNvSpPr/>
            <p:nvPr/>
          </p:nvSpPr>
          <p:spPr bwMode="auto">
            <a:xfrm>
              <a:off x="6205791" y="5733053"/>
              <a:ext cx="25400" cy="149225"/>
            </a:xfrm>
            <a:prstGeom prst="rect">
              <a:avLst/>
            </a:pr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1049586" name="îś1iḋê"/>
            <p:cNvSpPr/>
            <p:nvPr/>
          </p:nvSpPr>
          <p:spPr bwMode="auto">
            <a:xfrm>
              <a:off x="6255003" y="5680665"/>
              <a:ext cx="74613" cy="203200"/>
            </a:xfrm>
            <a:custGeom>
              <a:avLst/>
              <a:gdLst>
                <a:gd name="T0" fmla="*/ 32 w 40"/>
                <a:gd name="T1" fmla="*/ 98 h 110"/>
                <a:gd name="T2" fmla="*/ 27 w 40"/>
                <a:gd name="T3" fmla="*/ 97 h 110"/>
                <a:gd name="T4" fmla="*/ 25 w 40"/>
                <a:gd name="T5" fmla="*/ 94 h 110"/>
                <a:gd name="T6" fmla="*/ 24 w 40"/>
                <a:gd name="T7" fmla="*/ 86 h 110"/>
                <a:gd name="T8" fmla="*/ 24 w 40"/>
                <a:gd name="T9" fmla="*/ 39 h 110"/>
                <a:gd name="T10" fmla="*/ 38 w 40"/>
                <a:gd name="T11" fmla="*/ 39 h 110"/>
                <a:gd name="T12" fmla="*/ 38 w 40"/>
                <a:gd name="T13" fmla="*/ 28 h 110"/>
                <a:gd name="T14" fmla="*/ 24 w 40"/>
                <a:gd name="T15" fmla="*/ 28 h 110"/>
                <a:gd name="T16" fmla="*/ 24 w 40"/>
                <a:gd name="T17" fmla="*/ 0 h 110"/>
                <a:gd name="T18" fmla="*/ 11 w 40"/>
                <a:gd name="T19" fmla="*/ 8 h 110"/>
                <a:gd name="T20" fmla="*/ 11 w 40"/>
                <a:gd name="T21" fmla="*/ 28 h 110"/>
                <a:gd name="T22" fmla="*/ 0 w 40"/>
                <a:gd name="T23" fmla="*/ 28 h 110"/>
                <a:gd name="T24" fmla="*/ 0 w 40"/>
                <a:gd name="T25" fmla="*/ 39 h 110"/>
                <a:gd name="T26" fmla="*/ 11 w 40"/>
                <a:gd name="T27" fmla="*/ 39 h 110"/>
                <a:gd name="T28" fmla="*/ 11 w 40"/>
                <a:gd name="T29" fmla="*/ 86 h 110"/>
                <a:gd name="T30" fmla="*/ 12 w 40"/>
                <a:gd name="T31" fmla="*/ 102 h 110"/>
                <a:gd name="T32" fmla="*/ 18 w 40"/>
                <a:gd name="T33" fmla="*/ 108 h 110"/>
                <a:gd name="T34" fmla="*/ 30 w 40"/>
                <a:gd name="T35" fmla="*/ 110 h 110"/>
                <a:gd name="T36" fmla="*/ 40 w 40"/>
                <a:gd name="T37" fmla="*/ 109 h 110"/>
                <a:gd name="T38" fmla="*/ 38 w 40"/>
                <a:gd name="T39" fmla="*/ 97 h 110"/>
                <a:gd name="T40" fmla="*/ 32 w 40"/>
                <a:gd name="T41" fmla="*/ 98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0" h="110">
                  <a:moveTo>
                    <a:pt x="32" y="98"/>
                  </a:moveTo>
                  <a:cubicBezTo>
                    <a:pt x="30" y="98"/>
                    <a:pt x="28" y="97"/>
                    <a:pt x="27" y="97"/>
                  </a:cubicBezTo>
                  <a:cubicBezTo>
                    <a:pt x="26" y="96"/>
                    <a:pt x="25" y="95"/>
                    <a:pt x="25" y="94"/>
                  </a:cubicBezTo>
                  <a:cubicBezTo>
                    <a:pt x="24" y="93"/>
                    <a:pt x="24" y="90"/>
                    <a:pt x="24" y="86"/>
                  </a:cubicBezTo>
                  <a:cubicBezTo>
                    <a:pt x="24" y="39"/>
                    <a:pt x="24" y="39"/>
                    <a:pt x="24" y="39"/>
                  </a:cubicBezTo>
                  <a:cubicBezTo>
                    <a:pt x="38" y="39"/>
                    <a:pt x="38" y="39"/>
                    <a:pt x="38" y="39"/>
                  </a:cubicBezTo>
                  <a:cubicBezTo>
                    <a:pt x="38" y="28"/>
                    <a:pt x="38" y="28"/>
                    <a:pt x="38" y="28"/>
                  </a:cubicBezTo>
                  <a:cubicBezTo>
                    <a:pt x="24" y="28"/>
                    <a:pt x="24" y="28"/>
                    <a:pt x="24" y="28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11" y="8"/>
                    <a:pt x="11" y="8"/>
                    <a:pt x="11" y="8"/>
                  </a:cubicBezTo>
                  <a:cubicBezTo>
                    <a:pt x="11" y="28"/>
                    <a:pt x="11" y="28"/>
                    <a:pt x="11" y="28"/>
                  </a:cubicBezTo>
                  <a:cubicBezTo>
                    <a:pt x="0" y="28"/>
                    <a:pt x="0" y="28"/>
                    <a:pt x="0" y="28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11" y="39"/>
                    <a:pt x="11" y="39"/>
                    <a:pt x="11" y="39"/>
                  </a:cubicBezTo>
                  <a:cubicBezTo>
                    <a:pt x="11" y="86"/>
                    <a:pt x="11" y="86"/>
                    <a:pt x="11" y="86"/>
                  </a:cubicBezTo>
                  <a:cubicBezTo>
                    <a:pt x="11" y="94"/>
                    <a:pt x="11" y="99"/>
                    <a:pt x="12" y="102"/>
                  </a:cubicBezTo>
                  <a:cubicBezTo>
                    <a:pt x="13" y="104"/>
                    <a:pt x="15" y="106"/>
                    <a:pt x="18" y="108"/>
                  </a:cubicBezTo>
                  <a:cubicBezTo>
                    <a:pt x="21" y="110"/>
                    <a:pt x="25" y="110"/>
                    <a:pt x="30" y="110"/>
                  </a:cubicBezTo>
                  <a:cubicBezTo>
                    <a:pt x="33" y="110"/>
                    <a:pt x="36" y="110"/>
                    <a:pt x="40" y="109"/>
                  </a:cubicBezTo>
                  <a:cubicBezTo>
                    <a:pt x="38" y="97"/>
                    <a:pt x="38" y="97"/>
                    <a:pt x="38" y="97"/>
                  </a:cubicBezTo>
                  <a:cubicBezTo>
                    <a:pt x="36" y="97"/>
                    <a:pt x="34" y="98"/>
                    <a:pt x="32" y="9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1049587" name="išľîḋê"/>
            <p:cNvSpPr/>
            <p:nvPr/>
          </p:nvSpPr>
          <p:spPr bwMode="auto">
            <a:xfrm>
              <a:off x="6335966" y="5733053"/>
              <a:ext cx="136525" cy="211138"/>
            </a:xfrm>
            <a:custGeom>
              <a:avLst/>
              <a:gdLst>
                <a:gd name="T0" fmla="*/ 43 w 74"/>
                <a:gd name="T1" fmla="*/ 47 h 114"/>
                <a:gd name="T2" fmla="*/ 37 w 74"/>
                <a:gd name="T3" fmla="*/ 66 h 114"/>
                <a:gd name="T4" fmla="*/ 32 w 74"/>
                <a:gd name="T5" fmla="*/ 47 h 114"/>
                <a:gd name="T6" fmla="*/ 15 w 74"/>
                <a:gd name="T7" fmla="*/ 0 h 114"/>
                <a:gd name="T8" fmla="*/ 0 w 74"/>
                <a:gd name="T9" fmla="*/ 0 h 114"/>
                <a:gd name="T10" fmla="*/ 31 w 74"/>
                <a:gd name="T11" fmla="*/ 81 h 114"/>
                <a:gd name="T12" fmla="*/ 29 w 74"/>
                <a:gd name="T13" fmla="*/ 85 h 114"/>
                <a:gd name="T14" fmla="*/ 25 w 74"/>
                <a:gd name="T15" fmla="*/ 95 h 114"/>
                <a:gd name="T16" fmla="*/ 21 w 74"/>
                <a:gd name="T17" fmla="*/ 99 h 114"/>
                <a:gd name="T18" fmla="*/ 13 w 74"/>
                <a:gd name="T19" fmla="*/ 101 h 114"/>
                <a:gd name="T20" fmla="*/ 5 w 74"/>
                <a:gd name="T21" fmla="*/ 100 h 114"/>
                <a:gd name="T22" fmla="*/ 7 w 74"/>
                <a:gd name="T23" fmla="*/ 113 h 114"/>
                <a:gd name="T24" fmla="*/ 16 w 74"/>
                <a:gd name="T25" fmla="*/ 114 h 114"/>
                <a:gd name="T26" fmla="*/ 27 w 74"/>
                <a:gd name="T27" fmla="*/ 111 h 114"/>
                <a:gd name="T28" fmla="*/ 36 w 74"/>
                <a:gd name="T29" fmla="*/ 101 h 114"/>
                <a:gd name="T30" fmla="*/ 43 w 74"/>
                <a:gd name="T31" fmla="*/ 83 h 114"/>
                <a:gd name="T32" fmla="*/ 74 w 74"/>
                <a:gd name="T33" fmla="*/ 0 h 114"/>
                <a:gd name="T34" fmla="*/ 60 w 74"/>
                <a:gd name="T35" fmla="*/ 0 h 114"/>
                <a:gd name="T36" fmla="*/ 43 w 74"/>
                <a:gd name="T37" fmla="*/ 47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74" h="114">
                  <a:moveTo>
                    <a:pt x="43" y="47"/>
                  </a:moveTo>
                  <a:cubicBezTo>
                    <a:pt x="41" y="53"/>
                    <a:pt x="39" y="60"/>
                    <a:pt x="37" y="66"/>
                  </a:cubicBezTo>
                  <a:cubicBezTo>
                    <a:pt x="36" y="59"/>
                    <a:pt x="34" y="53"/>
                    <a:pt x="32" y="47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0" y="83"/>
                    <a:pt x="30" y="84"/>
                    <a:pt x="29" y="85"/>
                  </a:cubicBezTo>
                  <a:cubicBezTo>
                    <a:pt x="27" y="90"/>
                    <a:pt x="26" y="94"/>
                    <a:pt x="25" y="95"/>
                  </a:cubicBezTo>
                  <a:cubicBezTo>
                    <a:pt x="24" y="97"/>
                    <a:pt x="22" y="98"/>
                    <a:pt x="21" y="99"/>
                  </a:cubicBezTo>
                  <a:cubicBezTo>
                    <a:pt x="19" y="100"/>
                    <a:pt x="16" y="101"/>
                    <a:pt x="13" y="101"/>
                  </a:cubicBezTo>
                  <a:cubicBezTo>
                    <a:pt x="11" y="101"/>
                    <a:pt x="8" y="101"/>
                    <a:pt x="5" y="100"/>
                  </a:cubicBezTo>
                  <a:cubicBezTo>
                    <a:pt x="7" y="113"/>
                    <a:pt x="7" y="113"/>
                    <a:pt x="7" y="113"/>
                  </a:cubicBezTo>
                  <a:cubicBezTo>
                    <a:pt x="10" y="114"/>
                    <a:pt x="13" y="114"/>
                    <a:pt x="16" y="114"/>
                  </a:cubicBezTo>
                  <a:cubicBezTo>
                    <a:pt x="20" y="114"/>
                    <a:pt x="24" y="113"/>
                    <a:pt x="27" y="111"/>
                  </a:cubicBezTo>
                  <a:cubicBezTo>
                    <a:pt x="30" y="109"/>
                    <a:pt x="33" y="106"/>
                    <a:pt x="36" y="101"/>
                  </a:cubicBezTo>
                  <a:cubicBezTo>
                    <a:pt x="37" y="98"/>
                    <a:pt x="40" y="92"/>
                    <a:pt x="43" y="83"/>
                  </a:cubicBezTo>
                  <a:cubicBezTo>
                    <a:pt x="74" y="0"/>
                    <a:pt x="74" y="0"/>
                    <a:pt x="74" y="0"/>
                  </a:cubicBezTo>
                  <a:cubicBezTo>
                    <a:pt x="60" y="0"/>
                    <a:pt x="60" y="0"/>
                    <a:pt x="60" y="0"/>
                  </a:cubicBezTo>
                  <a:lnTo>
                    <a:pt x="43" y="47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1049588" name="íSḷiḑè"/>
            <p:cNvSpPr/>
            <p:nvPr/>
          </p:nvSpPr>
          <p:spPr bwMode="auto">
            <a:xfrm>
              <a:off x="6564566" y="5729878"/>
              <a:ext cx="142875" cy="157163"/>
            </a:xfrm>
            <a:custGeom>
              <a:avLst/>
              <a:gdLst>
                <a:gd name="T0" fmla="*/ 38 w 77"/>
                <a:gd name="T1" fmla="*/ 0 h 85"/>
                <a:gd name="T2" fmla="*/ 13 w 77"/>
                <a:gd name="T3" fmla="*/ 9 h 85"/>
                <a:gd name="T4" fmla="*/ 0 w 77"/>
                <a:gd name="T5" fmla="*/ 43 h 85"/>
                <a:gd name="T6" fmla="*/ 11 w 77"/>
                <a:gd name="T7" fmla="*/ 74 h 85"/>
                <a:gd name="T8" fmla="*/ 38 w 77"/>
                <a:gd name="T9" fmla="*/ 85 h 85"/>
                <a:gd name="T10" fmla="*/ 58 w 77"/>
                <a:gd name="T11" fmla="*/ 80 h 85"/>
                <a:gd name="T12" fmla="*/ 72 w 77"/>
                <a:gd name="T13" fmla="*/ 66 h 85"/>
                <a:gd name="T14" fmla="*/ 77 w 77"/>
                <a:gd name="T15" fmla="*/ 42 h 85"/>
                <a:gd name="T16" fmla="*/ 66 w 77"/>
                <a:gd name="T17" fmla="*/ 11 h 85"/>
                <a:gd name="T18" fmla="*/ 38 w 77"/>
                <a:gd name="T19" fmla="*/ 0 h 85"/>
                <a:gd name="T20" fmla="*/ 56 w 77"/>
                <a:gd name="T21" fmla="*/ 66 h 85"/>
                <a:gd name="T22" fmla="*/ 38 w 77"/>
                <a:gd name="T23" fmla="*/ 74 h 85"/>
                <a:gd name="T24" fmla="*/ 21 w 77"/>
                <a:gd name="T25" fmla="*/ 66 h 85"/>
                <a:gd name="T26" fmla="*/ 15 w 77"/>
                <a:gd name="T27" fmla="*/ 43 h 85"/>
                <a:gd name="T28" fmla="*/ 21 w 77"/>
                <a:gd name="T29" fmla="*/ 19 h 85"/>
                <a:gd name="T30" fmla="*/ 38 w 77"/>
                <a:gd name="T31" fmla="*/ 12 h 85"/>
                <a:gd name="T32" fmla="*/ 56 w 77"/>
                <a:gd name="T33" fmla="*/ 19 h 85"/>
                <a:gd name="T34" fmla="*/ 62 w 77"/>
                <a:gd name="T35" fmla="*/ 42 h 85"/>
                <a:gd name="T36" fmla="*/ 56 w 77"/>
                <a:gd name="T37" fmla="*/ 66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77" h="85">
                  <a:moveTo>
                    <a:pt x="38" y="0"/>
                  </a:moveTo>
                  <a:cubicBezTo>
                    <a:pt x="28" y="0"/>
                    <a:pt x="20" y="3"/>
                    <a:pt x="13" y="9"/>
                  </a:cubicBezTo>
                  <a:cubicBezTo>
                    <a:pt x="5" y="16"/>
                    <a:pt x="0" y="28"/>
                    <a:pt x="0" y="43"/>
                  </a:cubicBezTo>
                  <a:cubicBezTo>
                    <a:pt x="0" y="56"/>
                    <a:pt x="4" y="67"/>
                    <a:pt x="11" y="74"/>
                  </a:cubicBezTo>
                  <a:cubicBezTo>
                    <a:pt x="18" y="82"/>
                    <a:pt x="27" y="85"/>
                    <a:pt x="38" y="85"/>
                  </a:cubicBezTo>
                  <a:cubicBezTo>
                    <a:pt x="46" y="85"/>
                    <a:pt x="52" y="84"/>
                    <a:pt x="58" y="80"/>
                  </a:cubicBezTo>
                  <a:cubicBezTo>
                    <a:pt x="64" y="77"/>
                    <a:pt x="69" y="72"/>
                    <a:pt x="72" y="66"/>
                  </a:cubicBezTo>
                  <a:cubicBezTo>
                    <a:pt x="75" y="60"/>
                    <a:pt x="77" y="52"/>
                    <a:pt x="77" y="42"/>
                  </a:cubicBezTo>
                  <a:cubicBezTo>
                    <a:pt x="77" y="29"/>
                    <a:pt x="73" y="19"/>
                    <a:pt x="66" y="11"/>
                  </a:cubicBezTo>
                  <a:cubicBezTo>
                    <a:pt x="59" y="4"/>
                    <a:pt x="50" y="0"/>
                    <a:pt x="38" y="0"/>
                  </a:cubicBezTo>
                  <a:close/>
                  <a:moveTo>
                    <a:pt x="56" y="66"/>
                  </a:moveTo>
                  <a:cubicBezTo>
                    <a:pt x="51" y="71"/>
                    <a:pt x="45" y="74"/>
                    <a:pt x="38" y="74"/>
                  </a:cubicBezTo>
                  <a:cubicBezTo>
                    <a:pt x="32" y="74"/>
                    <a:pt x="26" y="71"/>
                    <a:pt x="21" y="66"/>
                  </a:cubicBezTo>
                  <a:cubicBezTo>
                    <a:pt x="17" y="61"/>
                    <a:pt x="15" y="53"/>
                    <a:pt x="15" y="43"/>
                  </a:cubicBezTo>
                  <a:cubicBezTo>
                    <a:pt x="15" y="32"/>
                    <a:pt x="17" y="24"/>
                    <a:pt x="21" y="19"/>
                  </a:cubicBezTo>
                  <a:cubicBezTo>
                    <a:pt x="26" y="14"/>
                    <a:pt x="32" y="12"/>
                    <a:pt x="38" y="12"/>
                  </a:cubicBezTo>
                  <a:cubicBezTo>
                    <a:pt x="45" y="12"/>
                    <a:pt x="51" y="14"/>
                    <a:pt x="56" y="19"/>
                  </a:cubicBezTo>
                  <a:cubicBezTo>
                    <a:pt x="60" y="25"/>
                    <a:pt x="62" y="32"/>
                    <a:pt x="62" y="42"/>
                  </a:cubicBezTo>
                  <a:cubicBezTo>
                    <a:pt x="62" y="53"/>
                    <a:pt x="60" y="61"/>
                    <a:pt x="56" y="66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1049589" name="ïṣľïḑe"/>
            <p:cNvSpPr/>
            <p:nvPr/>
          </p:nvSpPr>
          <p:spPr bwMode="auto">
            <a:xfrm>
              <a:off x="6720141" y="5672728"/>
              <a:ext cx="85725" cy="209550"/>
            </a:xfrm>
            <a:custGeom>
              <a:avLst/>
              <a:gdLst>
                <a:gd name="T0" fmla="*/ 20 w 47"/>
                <a:gd name="T1" fmla="*/ 4 h 114"/>
                <a:gd name="T2" fmla="*/ 13 w 47"/>
                <a:gd name="T3" fmla="*/ 12 h 114"/>
                <a:gd name="T4" fmla="*/ 12 w 47"/>
                <a:gd name="T5" fmla="*/ 24 h 114"/>
                <a:gd name="T6" fmla="*/ 12 w 47"/>
                <a:gd name="T7" fmla="*/ 33 h 114"/>
                <a:gd name="T8" fmla="*/ 0 w 47"/>
                <a:gd name="T9" fmla="*/ 33 h 114"/>
                <a:gd name="T10" fmla="*/ 0 w 47"/>
                <a:gd name="T11" fmla="*/ 44 h 114"/>
                <a:gd name="T12" fmla="*/ 12 w 47"/>
                <a:gd name="T13" fmla="*/ 44 h 114"/>
                <a:gd name="T14" fmla="*/ 12 w 47"/>
                <a:gd name="T15" fmla="*/ 114 h 114"/>
                <a:gd name="T16" fmla="*/ 26 w 47"/>
                <a:gd name="T17" fmla="*/ 114 h 114"/>
                <a:gd name="T18" fmla="*/ 26 w 47"/>
                <a:gd name="T19" fmla="*/ 44 h 114"/>
                <a:gd name="T20" fmla="*/ 41 w 47"/>
                <a:gd name="T21" fmla="*/ 44 h 114"/>
                <a:gd name="T22" fmla="*/ 41 w 47"/>
                <a:gd name="T23" fmla="*/ 33 h 114"/>
                <a:gd name="T24" fmla="*/ 26 w 47"/>
                <a:gd name="T25" fmla="*/ 33 h 114"/>
                <a:gd name="T26" fmla="*/ 26 w 47"/>
                <a:gd name="T27" fmla="*/ 26 h 114"/>
                <a:gd name="T28" fmla="*/ 28 w 47"/>
                <a:gd name="T29" fmla="*/ 16 h 114"/>
                <a:gd name="T30" fmla="*/ 37 w 47"/>
                <a:gd name="T31" fmla="*/ 13 h 114"/>
                <a:gd name="T32" fmla="*/ 45 w 47"/>
                <a:gd name="T33" fmla="*/ 14 h 114"/>
                <a:gd name="T34" fmla="*/ 47 w 47"/>
                <a:gd name="T35" fmla="*/ 2 h 114"/>
                <a:gd name="T36" fmla="*/ 34 w 47"/>
                <a:gd name="T37" fmla="*/ 0 h 114"/>
                <a:gd name="T38" fmla="*/ 20 w 47"/>
                <a:gd name="T39" fmla="*/ 4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47" h="114">
                  <a:moveTo>
                    <a:pt x="20" y="4"/>
                  </a:moveTo>
                  <a:cubicBezTo>
                    <a:pt x="17" y="6"/>
                    <a:pt x="15" y="9"/>
                    <a:pt x="13" y="12"/>
                  </a:cubicBezTo>
                  <a:cubicBezTo>
                    <a:pt x="12" y="15"/>
                    <a:pt x="12" y="19"/>
                    <a:pt x="12" y="24"/>
                  </a:cubicBezTo>
                  <a:cubicBezTo>
                    <a:pt x="12" y="33"/>
                    <a:pt x="12" y="33"/>
                    <a:pt x="12" y="33"/>
                  </a:cubicBezTo>
                  <a:cubicBezTo>
                    <a:pt x="0" y="33"/>
                    <a:pt x="0" y="33"/>
                    <a:pt x="0" y="33"/>
                  </a:cubicBezTo>
                  <a:cubicBezTo>
                    <a:pt x="0" y="44"/>
                    <a:pt x="0" y="44"/>
                    <a:pt x="0" y="44"/>
                  </a:cubicBezTo>
                  <a:cubicBezTo>
                    <a:pt x="12" y="44"/>
                    <a:pt x="12" y="44"/>
                    <a:pt x="12" y="44"/>
                  </a:cubicBezTo>
                  <a:cubicBezTo>
                    <a:pt x="12" y="114"/>
                    <a:pt x="12" y="114"/>
                    <a:pt x="12" y="114"/>
                  </a:cubicBezTo>
                  <a:cubicBezTo>
                    <a:pt x="26" y="114"/>
                    <a:pt x="26" y="114"/>
                    <a:pt x="26" y="114"/>
                  </a:cubicBezTo>
                  <a:cubicBezTo>
                    <a:pt x="26" y="44"/>
                    <a:pt x="26" y="44"/>
                    <a:pt x="26" y="44"/>
                  </a:cubicBezTo>
                  <a:cubicBezTo>
                    <a:pt x="41" y="44"/>
                    <a:pt x="41" y="44"/>
                    <a:pt x="41" y="44"/>
                  </a:cubicBezTo>
                  <a:cubicBezTo>
                    <a:pt x="41" y="33"/>
                    <a:pt x="41" y="33"/>
                    <a:pt x="41" y="33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26" y="26"/>
                    <a:pt x="26" y="26"/>
                    <a:pt x="26" y="26"/>
                  </a:cubicBezTo>
                  <a:cubicBezTo>
                    <a:pt x="26" y="21"/>
                    <a:pt x="27" y="17"/>
                    <a:pt x="28" y="16"/>
                  </a:cubicBezTo>
                  <a:cubicBezTo>
                    <a:pt x="30" y="14"/>
                    <a:pt x="33" y="13"/>
                    <a:pt x="37" y="13"/>
                  </a:cubicBezTo>
                  <a:cubicBezTo>
                    <a:pt x="40" y="13"/>
                    <a:pt x="42" y="13"/>
                    <a:pt x="45" y="14"/>
                  </a:cubicBezTo>
                  <a:cubicBezTo>
                    <a:pt x="47" y="2"/>
                    <a:pt x="47" y="2"/>
                    <a:pt x="47" y="2"/>
                  </a:cubicBezTo>
                  <a:cubicBezTo>
                    <a:pt x="43" y="1"/>
                    <a:pt x="38" y="0"/>
                    <a:pt x="34" y="0"/>
                  </a:cubicBezTo>
                  <a:cubicBezTo>
                    <a:pt x="28" y="0"/>
                    <a:pt x="24" y="1"/>
                    <a:pt x="20" y="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1049590" name="ïš1îḍè"/>
            <p:cNvSpPr/>
            <p:nvPr/>
          </p:nvSpPr>
          <p:spPr bwMode="auto">
            <a:xfrm>
              <a:off x="6890003" y="5672728"/>
              <a:ext cx="165100" cy="214313"/>
            </a:xfrm>
            <a:custGeom>
              <a:avLst/>
              <a:gdLst>
                <a:gd name="T0" fmla="*/ 71 w 90"/>
                <a:gd name="T1" fmla="*/ 55 h 116"/>
                <a:gd name="T2" fmla="*/ 46 w 90"/>
                <a:gd name="T3" fmla="*/ 48 h 116"/>
                <a:gd name="T4" fmla="*/ 23 w 90"/>
                <a:gd name="T5" fmla="*/ 40 h 116"/>
                <a:gd name="T6" fmla="*/ 19 w 90"/>
                <a:gd name="T7" fmla="*/ 30 h 116"/>
                <a:gd name="T8" fmla="*/ 25 w 90"/>
                <a:gd name="T9" fmla="*/ 18 h 116"/>
                <a:gd name="T10" fmla="*/ 45 w 90"/>
                <a:gd name="T11" fmla="*/ 13 h 116"/>
                <a:gd name="T12" fmla="*/ 64 w 90"/>
                <a:gd name="T13" fmla="*/ 19 h 116"/>
                <a:gd name="T14" fmla="*/ 72 w 90"/>
                <a:gd name="T15" fmla="*/ 35 h 116"/>
                <a:gd name="T16" fmla="*/ 86 w 90"/>
                <a:gd name="T17" fmla="*/ 34 h 116"/>
                <a:gd name="T18" fmla="*/ 81 w 90"/>
                <a:gd name="T19" fmla="*/ 16 h 116"/>
                <a:gd name="T20" fmla="*/ 66 w 90"/>
                <a:gd name="T21" fmla="*/ 4 h 116"/>
                <a:gd name="T22" fmla="*/ 44 w 90"/>
                <a:gd name="T23" fmla="*/ 0 h 116"/>
                <a:gd name="T24" fmla="*/ 24 w 90"/>
                <a:gd name="T25" fmla="*/ 4 h 116"/>
                <a:gd name="T26" fmla="*/ 10 w 90"/>
                <a:gd name="T27" fmla="*/ 15 h 116"/>
                <a:gd name="T28" fmla="*/ 5 w 90"/>
                <a:gd name="T29" fmla="*/ 31 h 116"/>
                <a:gd name="T30" fmla="*/ 9 w 90"/>
                <a:gd name="T31" fmla="*/ 45 h 116"/>
                <a:gd name="T32" fmla="*/ 21 w 90"/>
                <a:gd name="T33" fmla="*/ 56 h 116"/>
                <a:gd name="T34" fmla="*/ 42 w 90"/>
                <a:gd name="T35" fmla="*/ 63 h 116"/>
                <a:gd name="T36" fmla="*/ 62 w 90"/>
                <a:gd name="T37" fmla="*/ 68 h 116"/>
                <a:gd name="T38" fmla="*/ 72 w 90"/>
                <a:gd name="T39" fmla="*/ 75 h 116"/>
                <a:gd name="T40" fmla="*/ 75 w 90"/>
                <a:gd name="T41" fmla="*/ 84 h 116"/>
                <a:gd name="T42" fmla="*/ 72 w 90"/>
                <a:gd name="T43" fmla="*/ 93 h 116"/>
                <a:gd name="T44" fmla="*/ 63 w 90"/>
                <a:gd name="T45" fmla="*/ 100 h 116"/>
                <a:gd name="T46" fmla="*/ 48 w 90"/>
                <a:gd name="T47" fmla="*/ 103 h 116"/>
                <a:gd name="T48" fmla="*/ 30 w 90"/>
                <a:gd name="T49" fmla="*/ 100 h 116"/>
                <a:gd name="T50" fmla="*/ 19 w 90"/>
                <a:gd name="T51" fmla="*/ 91 h 116"/>
                <a:gd name="T52" fmla="*/ 14 w 90"/>
                <a:gd name="T53" fmla="*/ 77 h 116"/>
                <a:gd name="T54" fmla="*/ 0 w 90"/>
                <a:gd name="T55" fmla="*/ 78 h 116"/>
                <a:gd name="T56" fmla="*/ 7 w 90"/>
                <a:gd name="T57" fmla="*/ 98 h 116"/>
                <a:gd name="T58" fmla="*/ 23 w 90"/>
                <a:gd name="T59" fmla="*/ 112 h 116"/>
                <a:gd name="T60" fmla="*/ 48 w 90"/>
                <a:gd name="T61" fmla="*/ 116 h 116"/>
                <a:gd name="T62" fmla="*/ 70 w 90"/>
                <a:gd name="T63" fmla="*/ 112 h 116"/>
                <a:gd name="T64" fmla="*/ 85 w 90"/>
                <a:gd name="T65" fmla="*/ 100 h 116"/>
                <a:gd name="T66" fmla="*/ 90 w 90"/>
                <a:gd name="T67" fmla="*/ 83 h 116"/>
                <a:gd name="T68" fmla="*/ 85 w 90"/>
                <a:gd name="T69" fmla="*/ 67 h 116"/>
                <a:gd name="T70" fmla="*/ 71 w 90"/>
                <a:gd name="T71" fmla="*/ 55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90" h="116">
                  <a:moveTo>
                    <a:pt x="71" y="55"/>
                  </a:moveTo>
                  <a:cubicBezTo>
                    <a:pt x="66" y="53"/>
                    <a:pt x="58" y="51"/>
                    <a:pt x="46" y="48"/>
                  </a:cubicBezTo>
                  <a:cubicBezTo>
                    <a:pt x="34" y="45"/>
                    <a:pt x="26" y="43"/>
                    <a:pt x="23" y="40"/>
                  </a:cubicBezTo>
                  <a:cubicBezTo>
                    <a:pt x="21" y="38"/>
                    <a:pt x="19" y="34"/>
                    <a:pt x="19" y="30"/>
                  </a:cubicBezTo>
                  <a:cubicBezTo>
                    <a:pt x="19" y="26"/>
                    <a:pt x="21" y="22"/>
                    <a:pt x="25" y="18"/>
                  </a:cubicBezTo>
                  <a:cubicBezTo>
                    <a:pt x="29" y="15"/>
                    <a:pt x="36" y="13"/>
                    <a:pt x="45" y="13"/>
                  </a:cubicBezTo>
                  <a:cubicBezTo>
                    <a:pt x="53" y="13"/>
                    <a:pt x="60" y="15"/>
                    <a:pt x="64" y="19"/>
                  </a:cubicBezTo>
                  <a:cubicBezTo>
                    <a:pt x="69" y="22"/>
                    <a:pt x="71" y="28"/>
                    <a:pt x="72" y="35"/>
                  </a:cubicBezTo>
                  <a:cubicBezTo>
                    <a:pt x="86" y="34"/>
                    <a:pt x="86" y="34"/>
                    <a:pt x="86" y="34"/>
                  </a:cubicBezTo>
                  <a:cubicBezTo>
                    <a:pt x="86" y="27"/>
                    <a:pt x="84" y="21"/>
                    <a:pt x="81" y="16"/>
                  </a:cubicBezTo>
                  <a:cubicBezTo>
                    <a:pt x="77" y="11"/>
                    <a:pt x="73" y="7"/>
                    <a:pt x="66" y="4"/>
                  </a:cubicBezTo>
                  <a:cubicBezTo>
                    <a:pt x="60" y="2"/>
                    <a:pt x="53" y="0"/>
                    <a:pt x="44" y="0"/>
                  </a:cubicBezTo>
                  <a:cubicBezTo>
                    <a:pt x="37" y="0"/>
                    <a:pt x="30" y="1"/>
                    <a:pt x="24" y="4"/>
                  </a:cubicBezTo>
                  <a:cubicBezTo>
                    <a:pt x="17" y="7"/>
                    <a:pt x="13" y="10"/>
                    <a:pt x="10" y="15"/>
                  </a:cubicBezTo>
                  <a:cubicBezTo>
                    <a:pt x="6" y="20"/>
                    <a:pt x="5" y="25"/>
                    <a:pt x="5" y="31"/>
                  </a:cubicBezTo>
                  <a:cubicBezTo>
                    <a:pt x="5" y="36"/>
                    <a:pt x="6" y="41"/>
                    <a:pt x="9" y="45"/>
                  </a:cubicBezTo>
                  <a:cubicBezTo>
                    <a:pt x="11" y="49"/>
                    <a:pt x="15" y="53"/>
                    <a:pt x="21" y="56"/>
                  </a:cubicBezTo>
                  <a:cubicBezTo>
                    <a:pt x="25" y="58"/>
                    <a:pt x="32" y="60"/>
                    <a:pt x="42" y="63"/>
                  </a:cubicBezTo>
                  <a:cubicBezTo>
                    <a:pt x="53" y="65"/>
                    <a:pt x="59" y="67"/>
                    <a:pt x="62" y="68"/>
                  </a:cubicBezTo>
                  <a:cubicBezTo>
                    <a:pt x="67" y="70"/>
                    <a:pt x="70" y="72"/>
                    <a:pt x="72" y="75"/>
                  </a:cubicBezTo>
                  <a:cubicBezTo>
                    <a:pt x="74" y="77"/>
                    <a:pt x="75" y="80"/>
                    <a:pt x="75" y="84"/>
                  </a:cubicBezTo>
                  <a:cubicBezTo>
                    <a:pt x="75" y="87"/>
                    <a:pt x="74" y="91"/>
                    <a:pt x="72" y="93"/>
                  </a:cubicBezTo>
                  <a:cubicBezTo>
                    <a:pt x="70" y="96"/>
                    <a:pt x="67" y="99"/>
                    <a:pt x="63" y="100"/>
                  </a:cubicBezTo>
                  <a:cubicBezTo>
                    <a:pt x="58" y="102"/>
                    <a:pt x="53" y="103"/>
                    <a:pt x="48" y="103"/>
                  </a:cubicBezTo>
                  <a:cubicBezTo>
                    <a:pt x="41" y="103"/>
                    <a:pt x="35" y="102"/>
                    <a:pt x="30" y="100"/>
                  </a:cubicBezTo>
                  <a:cubicBezTo>
                    <a:pt x="25" y="97"/>
                    <a:pt x="22" y="94"/>
                    <a:pt x="19" y="91"/>
                  </a:cubicBezTo>
                  <a:cubicBezTo>
                    <a:pt x="17" y="87"/>
                    <a:pt x="15" y="83"/>
                    <a:pt x="14" y="77"/>
                  </a:cubicBezTo>
                  <a:cubicBezTo>
                    <a:pt x="0" y="78"/>
                    <a:pt x="0" y="78"/>
                    <a:pt x="0" y="78"/>
                  </a:cubicBezTo>
                  <a:cubicBezTo>
                    <a:pt x="1" y="86"/>
                    <a:pt x="3" y="93"/>
                    <a:pt x="7" y="98"/>
                  </a:cubicBezTo>
                  <a:cubicBezTo>
                    <a:pt x="11" y="104"/>
                    <a:pt x="16" y="109"/>
                    <a:pt x="23" y="112"/>
                  </a:cubicBezTo>
                  <a:cubicBezTo>
                    <a:pt x="30" y="115"/>
                    <a:pt x="38" y="116"/>
                    <a:pt x="48" y="116"/>
                  </a:cubicBezTo>
                  <a:cubicBezTo>
                    <a:pt x="56" y="116"/>
                    <a:pt x="64" y="115"/>
                    <a:pt x="70" y="112"/>
                  </a:cubicBezTo>
                  <a:cubicBezTo>
                    <a:pt x="76" y="109"/>
                    <a:pt x="81" y="105"/>
                    <a:pt x="85" y="100"/>
                  </a:cubicBezTo>
                  <a:cubicBezTo>
                    <a:pt x="88" y="94"/>
                    <a:pt x="90" y="89"/>
                    <a:pt x="90" y="83"/>
                  </a:cubicBezTo>
                  <a:cubicBezTo>
                    <a:pt x="90" y="77"/>
                    <a:pt x="88" y="71"/>
                    <a:pt x="85" y="67"/>
                  </a:cubicBezTo>
                  <a:cubicBezTo>
                    <a:pt x="82" y="62"/>
                    <a:pt x="77" y="58"/>
                    <a:pt x="71" y="5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1049591" name="iṥľïḍê"/>
            <p:cNvSpPr/>
            <p:nvPr/>
          </p:nvSpPr>
          <p:spPr bwMode="auto">
            <a:xfrm>
              <a:off x="7080503" y="5729878"/>
              <a:ext cx="131763" cy="157163"/>
            </a:xfrm>
            <a:custGeom>
              <a:avLst/>
              <a:gdLst>
                <a:gd name="T0" fmla="*/ 50 w 71"/>
                <a:gd name="T1" fmla="*/ 69 h 85"/>
                <a:gd name="T2" fmla="*/ 37 w 71"/>
                <a:gd name="T3" fmla="*/ 74 h 85"/>
                <a:gd name="T4" fmla="*/ 21 w 71"/>
                <a:gd name="T5" fmla="*/ 66 h 85"/>
                <a:gd name="T6" fmla="*/ 14 w 71"/>
                <a:gd name="T7" fmla="*/ 43 h 85"/>
                <a:gd name="T8" fmla="*/ 21 w 71"/>
                <a:gd name="T9" fmla="*/ 19 h 85"/>
                <a:gd name="T10" fmla="*/ 38 w 71"/>
                <a:gd name="T11" fmla="*/ 12 h 85"/>
                <a:gd name="T12" fmla="*/ 49 w 71"/>
                <a:gd name="T13" fmla="*/ 16 h 85"/>
                <a:gd name="T14" fmla="*/ 56 w 71"/>
                <a:gd name="T15" fmla="*/ 28 h 85"/>
                <a:gd name="T16" fmla="*/ 70 w 71"/>
                <a:gd name="T17" fmla="*/ 26 h 85"/>
                <a:gd name="T18" fmla="*/ 59 w 71"/>
                <a:gd name="T19" fmla="*/ 7 h 85"/>
                <a:gd name="T20" fmla="*/ 37 w 71"/>
                <a:gd name="T21" fmla="*/ 0 h 85"/>
                <a:gd name="T22" fmla="*/ 18 w 71"/>
                <a:gd name="T23" fmla="*/ 5 h 85"/>
                <a:gd name="T24" fmla="*/ 4 w 71"/>
                <a:gd name="T25" fmla="*/ 20 h 85"/>
                <a:gd name="T26" fmla="*/ 0 w 71"/>
                <a:gd name="T27" fmla="*/ 43 h 85"/>
                <a:gd name="T28" fmla="*/ 10 w 71"/>
                <a:gd name="T29" fmla="*/ 74 h 85"/>
                <a:gd name="T30" fmla="*/ 37 w 71"/>
                <a:gd name="T31" fmla="*/ 85 h 85"/>
                <a:gd name="T32" fmla="*/ 60 w 71"/>
                <a:gd name="T33" fmla="*/ 77 h 85"/>
                <a:gd name="T34" fmla="*/ 71 w 71"/>
                <a:gd name="T35" fmla="*/ 55 h 85"/>
                <a:gd name="T36" fmla="*/ 57 w 71"/>
                <a:gd name="T37" fmla="*/ 54 h 85"/>
                <a:gd name="T38" fmla="*/ 50 w 71"/>
                <a:gd name="T39" fmla="*/ 69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71" h="85">
                  <a:moveTo>
                    <a:pt x="50" y="69"/>
                  </a:moveTo>
                  <a:cubicBezTo>
                    <a:pt x="47" y="72"/>
                    <a:pt x="42" y="74"/>
                    <a:pt x="37" y="74"/>
                  </a:cubicBezTo>
                  <a:cubicBezTo>
                    <a:pt x="30" y="74"/>
                    <a:pt x="25" y="71"/>
                    <a:pt x="21" y="66"/>
                  </a:cubicBezTo>
                  <a:cubicBezTo>
                    <a:pt x="16" y="61"/>
                    <a:pt x="14" y="54"/>
                    <a:pt x="14" y="43"/>
                  </a:cubicBezTo>
                  <a:cubicBezTo>
                    <a:pt x="14" y="32"/>
                    <a:pt x="16" y="24"/>
                    <a:pt x="21" y="19"/>
                  </a:cubicBezTo>
                  <a:cubicBezTo>
                    <a:pt x="25" y="14"/>
                    <a:pt x="31" y="12"/>
                    <a:pt x="38" y="12"/>
                  </a:cubicBezTo>
                  <a:cubicBezTo>
                    <a:pt x="42" y="12"/>
                    <a:pt x="46" y="13"/>
                    <a:pt x="49" y="16"/>
                  </a:cubicBezTo>
                  <a:cubicBezTo>
                    <a:pt x="53" y="18"/>
                    <a:pt x="55" y="23"/>
                    <a:pt x="56" y="28"/>
                  </a:cubicBezTo>
                  <a:cubicBezTo>
                    <a:pt x="70" y="26"/>
                    <a:pt x="70" y="26"/>
                    <a:pt x="70" y="26"/>
                  </a:cubicBezTo>
                  <a:cubicBezTo>
                    <a:pt x="68" y="18"/>
                    <a:pt x="64" y="11"/>
                    <a:pt x="59" y="7"/>
                  </a:cubicBezTo>
                  <a:cubicBezTo>
                    <a:pt x="53" y="2"/>
                    <a:pt x="46" y="0"/>
                    <a:pt x="37" y="0"/>
                  </a:cubicBezTo>
                  <a:cubicBezTo>
                    <a:pt x="30" y="0"/>
                    <a:pt x="24" y="2"/>
                    <a:pt x="18" y="5"/>
                  </a:cubicBezTo>
                  <a:cubicBezTo>
                    <a:pt x="12" y="8"/>
                    <a:pt x="7" y="13"/>
                    <a:pt x="4" y="20"/>
                  </a:cubicBezTo>
                  <a:cubicBezTo>
                    <a:pt x="2" y="27"/>
                    <a:pt x="0" y="34"/>
                    <a:pt x="0" y="43"/>
                  </a:cubicBezTo>
                  <a:cubicBezTo>
                    <a:pt x="0" y="57"/>
                    <a:pt x="3" y="67"/>
                    <a:pt x="10" y="74"/>
                  </a:cubicBezTo>
                  <a:cubicBezTo>
                    <a:pt x="17" y="82"/>
                    <a:pt x="26" y="85"/>
                    <a:pt x="37" y="85"/>
                  </a:cubicBezTo>
                  <a:cubicBezTo>
                    <a:pt x="46" y="85"/>
                    <a:pt x="53" y="83"/>
                    <a:pt x="60" y="77"/>
                  </a:cubicBezTo>
                  <a:cubicBezTo>
                    <a:pt x="66" y="72"/>
                    <a:pt x="69" y="65"/>
                    <a:pt x="71" y="55"/>
                  </a:cubicBezTo>
                  <a:cubicBezTo>
                    <a:pt x="57" y="54"/>
                    <a:pt x="57" y="54"/>
                    <a:pt x="57" y="54"/>
                  </a:cubicBezTo>
                  <a:cubicBezTo>
                    <a:pt x="56" y="60"/>
                    <a:pt x="54" y="66"/>
                    <a:pt x="50" y="6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1049592" name="íṥ1ïdê"/>
            <p:cNvSpPr/>
            <p:nvPr/>
          </p:nvSpPr>
          <p:spPr bwMode="auto">
            <a:xfrm>
              <a:off x="7234491" y="5675903"/>
              <a:ext cx="25400" cy="30163"/>
            </a:xfrm>
            <a:prstGeom prst="rect">
              <a:avLst/>
            </a:pr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1049593" name="îṡ1îďé"/>
            <p:cNvSpPr/>
            <p:nvPr/>
          </p:nvSpPr>
          <p:spPr bwMode="auto">
            <a:xfrm>
              <a:off x="7234491" y="5733053"/>
              <a:ext cx="25400" cy="149225"/>
            </a:xfrm>
            <a:prstGeom prst="rect">
              <a:avLst/>
            </a:pr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1049594" name="íṩḷïḑé"/>
            <p:cNvSpPr/>
            <p:nvPr/>
          </p:nvSpPr>
          <p:spPr bwMode="auto">
            <a:xfrm>
              <a:off x="7290053" y="5729878"/>
              <a:ext cx="138113" cy="157163"/>
            </a:xfrm>
            <a:custGeom>
              <a:avLst/>
              <a:gdLst>
                <a:gd name="T0" fmla="*/ 38 w 75"/>
                <a:gd name="T1" fmla="*/ 0 h 85"/>
                <a:gd name="T2" fmla="*/ 10 w 75"/>
                <a:gd name="T3" fmla="*/ 12 h 85"/>
                <a:gd name="T4" fmla="*/ 0 w 75"/>
                <a:gd name="T5" fmla="*/ 43 h 85"/>
                <a:gd name="T6" fmla="*/ 10 w 75"/>
                <a:gd name="T7" fmla="*/ 74 h 85"/>
                <a:gd name="T8" fmla="*/ 39 w 75"/>
                <a:gd name="T9" fmla="*/ 85 h 85"/>
                <a:gd name="T10" fmla="*/ 62 w 75"/>
                <a:gd name="T11" fmla="*/ 78 h 85"/>
                <a:gd name="T12" fmla="*/ 74 w 75"/>
                <a:gd name="T13" fmla="*/ 59 h 85"/>
                <a:gd name="T14" fmla="*/ 60 w 75"/>
                <a:gd name="T15" fmla="*/ 57 h 85"/>
                <a:gd name="T16" fmla="*/ 52 w 75"/>
                <a:gd name="T17" fmla="*/ 70 h 85"/>
                <a:gd name="T18" fmla="*/ 39 w 75"/>
                <a:gd name="T19" fmla="*/ 74 h 85"/>
                <a:gd name="T20" fmla="*/ 22 w 75"/>
                <a:gd name="T21" fmla="*/ 67 h 85"/>
                <a:gd name="T22" fmla="*/ 14 w 75"/>
                <a:gd name="T23" fmla="*/ 46 h 85"/>
                <a:gd name="T24" fmla="*/ 75 w 75"/>
                <a:gd name="T25" fmla="*/ 46 h 85"/>
                <a:gd name="T26" fmla="*/ 75 w 75"/>
                <a:gd name="T27" fmla="*/ 43 h 85"/>
                <a:gd name="T28" fmla="*/ 65 w 75"/>
                <a:gd name="T29" fmla="*/ 11 h 85"/>
                <a:gd name="T30" fmla="*/ 38 w 75"/>
                <a:gd name="T31" fmla="*/ 0 h 85"/>
                <a:gd name="T32" fmla="*/ 15 w 75"/>
                <a:gd name="T33" fmla="*/ 35 h 85"/>
                <a:gd name="T34" fmla="*/ 22 w 75"/>
                <a:gd name="T35" fmla="*/ 18 h 85"/>
                <a:gd name="T36" fmla="*/ 38 w 75"/>
                <a:gd name="T37" fmla="*/ 12 h 85"/>
                <a:gd name="T38" fmla="*/ 55 w 75"/>
                <a:gd name="T39" fmla="*/ 20 h 85"/>
                <a:gd name="T40" fmla="*/ 60 w 75"/>
                <a:gd name="T41" fmla="*/ 35 h 85"/>
                <a:gd name="T42" fmla="*/ 15 w 75"/>
                <a:gd name="T43" fmla="*/ 35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75" h="85">
                  <a:moveTo>
                    <a:pt x="38" y="0"/>
                  </a:moveTo>
                  <a:cubicBezTo>
                    <a:pt x="27" y="0"/>
                    <a:pt x="18" y="4"/>
                    <a:pt x="10" y="12"/>
                  </a:cubicBezTo>
                  <a:cubicBezTo>
                    <a:pt x="3" y="19"/>
                    <a:pt x="0" y="30"/>
                    <a:pt x="0" y="43"/>
                  </a:cubicBezTo>
                  <a:cubicBezTo>
                    <a:pt x="0" y="57"/>
                    <a:pt x="3" y="67"/>
                    <a:pt x="10" y="74"/>
                  </a:cubicBezTo>
                  <a:cubicBezTo>
                    <a:pt x="17" y="81"/>
                    <a:pt x="27" y="85"/>
                    <a:pt x="39" y="85"/>
                  </a:cubicBezTo>
                  <a:cubicBezTo>
                    <a:pt x="48" y="85"/>
                    <a:pt x="56" y="83"/>
                    <a:pt x="62" y="78"/>
                  </a:cubicBezTo>
                  <a:cubicBezTo>
                    <a:pt x="68" y="74"/>
                    <a:pt x="72" y="67"/>
                    <a:pt x="74" y="59"/>
                  </a:cubicBezTo>
                  <a:cubicBezTo>
                    <a:pt x="60" y="57"/>
                    <a:pt x="60" y="57"/>
                    <a:pt x="60" y="57"/>
                  </a:cubicBezTo>
                  <a:cubicBezTo>
                    <a:pt x="58" y="63"/>
                    <a:pt x="55" y="67"/>
                    <a:pt x="52" y="70"/>
                  </a:cubicBezTo>
                  <a:cubicBezTo>
                    <a:pt x="48" y="73"/>
                    <a:pt x="44" y="74"/>
                    <a:pt x="39" y="74"/>
                  </a:cubicBezTo>
                  <a:cubicBezTo>
                    <a:pt x="32" y="74"/>
                    <a:pt x="26" y="71"/>
                    <a:pt x="22" y="67"/>
                  </a:cubicBezTo>
                  <a:cubicBezTo>
                    <a:pt x="17" y="62"/>
                    <a:pt x="15" y="55"/>
                    <a:pt x="14" y="46"/>
                  </a:cubicBezTo>
                  <a:cubicBezTo>
                    <a:pt x="75" y="46"/>
                    <a:pt x="75" y="46"/>
                    <a:pt x="75" y="46"/>
                  </a:cubicBezTo>
                  <a:cubicBezTo>
                    <a:pt x="75" y="45"/>
                    <a:pt x="75" y="43"/>
                    <a:pt x="75" y="43"/>
                  </a:cubicBezTo>
                  <a:cubicBezTo>
                    <a:pt x="75" y="29"/>
                    <a:pt x="71" y="19"/>
                    <a:pt x="65" y="11"/>
                  </a:cubicBezTo>
                  <a:cubicBezTo>
                    <a:pt x="58" y="4"/>
                    <a:pt x="49" y="0"/>
                    <a:pt x="38" y="0"/>
                  </a:cubicBezTo>
                  <a:close/>
                  <a:moveTo>
                    <a:pt x="15" y="35"/>
                  </a:moveTo>
                  <a:cubicBezTo>
                    <a:pt x="15" y="28"/>
                    <a:pt x="18" y="22"/>
                    <a:pt x="22" y="18"/>
                  </a:cubicBezTo>
                  <a:cubicBezTo>
                    <a:pt x="26" y="14"/>
                    <a:pt x="32" y="12"/>
                    <a:pt x="38" y="12"/>
                  </a:cubicBezTo>
                  <a:cubicBezTo>
                    <a:pt x="45" y="12"/>
                    <a:pt x="51" y="14"/>
                    <a:pt x="55" y="20"/>
                  </a:cubicBezTo>
                  <a:cubicBezTo>
                    <a:pt x="58" y="23"/>
                    <a:pt x="60" y="28"/>
                    <a:pt x="60" y="35"/>
                  </a:cubicBezTo>
                  <a:lnTo>
                    <a:pt x="15" y="35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1049595" name="ïşḷiḋè"/>
            <p:cNvSpPr/>
            <p:nvPr/>
          </p:nvSpPr>
          <p:spPr bwMode="auto">
            <a:xfrm>
              <a:off x="7458328" y="5729878"/>
              <a:ext cx="122238" cy="152400"/>
            </a:xfrm>
            <a:custGeom>
              <a:avLst/>
              <a:gdLst>
                <a:gd name="T0" fmla="*/ 61 w 66"/>
                <a:gd name="T1" fmla="*/ 10 h 83"/>
                <a:gd name="T2" fmla="*/ 51 w 66"/>
                <a:gd name="T3" fmla="*/ 3 h 83"/>
                <a:gd name="T4" fmla="*/ 38 w 66"/>
                <a:gd name="T5" fmla="*/ 0 h 83"/>
                <a:gd name="T6" fmla="*/ 12 w 66"/>
                <a:gd name="T7" fmla="*/ 14 h 83"/>
                <a:gd name="T8" fmla="*/ 12 w 66"/>
                <a:gd name="T9" fmla="*/ 2 h 83"/>
                <a:gd name="T10" fmla="*/ 0 w 66"/>
                <a:gd name="T11" fmla="*/ 2 h 83"/>
                <a:gd name="T12" fmla="*/ 0 w 66"/>
                <a:gd name="T13" fmla="*/ 83 h 83"/>
                <a:gd name="T14" fmla="*/ 13 w 66"/>
                <a:gd name="T15" fmla="*/ 83 h 83"/>
                <a:gd name="T16" fmla="*/ 13 w 66"/>
                <a:gd name="T17" fmla="*/ 39 h 83"/>
                <a:gd name="T18" fmla="*/ 20 w 66"/>
                <a:gd name="T19" fmla="*/ 18 h 83"/>
                <a:gd name="T20" fmla="*/ 35 w 66"/>
                <a:gd name="T21" fmla="*/ 12 h 83"/>
                <a:gd name="T22" fmla="*/ 45 w 66"/>
                <a:gd name="T23" fmla="*/ 15 h 83"/>
                <a:gd name="T24" fmla="*/ 50 w 66"/>
                <a:gd name="T25" fmla="*/ 21 h 83"/>
                <a:gd name="T26" fmla="*/ 52 w 66"/>
                <a:gd name="T27" fmla="*/ 34 h 83"/>
                <a:gd name="T28" fmla="*/ 52 w 66"/>
                <a:gd name="T29" fmla="*/ 83 h 83"/>
                <a:gd name="T30" fmla="*/ 66 w 66"/>
                <a:gd name="T31" fmla="*/ 83 h 83"/>
                <a:gd name="T32" fmla="*/ 66 w 66"/>
                <a:gd name="T33" fmla="*/ 33 h 83"/>
                <a:gd name="T34" fmla="*/ 65 w 66"/>
                <a:gd name="T35" fmla="*/ 20 h 83"/>
                <a:gd name="T36" fmla="*/ 61 w 66"/>
                <a:gd name="T37" fmla="*/ 10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6" h="83">
                  <a:moveTo>
                    <a:pt x="61" y="10"/>
                  </a:moveTo>
                  <a:cubicBezTo>
                    <a:pt x="59" y="7"/>
                    <a:pt x="56" y="5"/>
                    <a:pt x="51" y="3"/>
                  </a:cubicBezTo>
                  <a:cubicBezTo>
                    <a:pt x="47" y="1"/>
                    <a:pt x="43" y="0"/>
                    <a:pt x="38" y="0"/>
                  </a:cubicBezTo>
                  <a:cubicBezTo>
                    <a:pt x="27" y="0"/>
                    <a:pt x="18" y="5"/>
                    <a:pt x="12" y="14"/>
                  </a:cubicBezTo>
                  <a:cubicBezTo>
                    <a:pt x="12" y="2"/>
                    <a:pt x="12" y="2"/>
                    <a:pt x="12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83"/>
                    <a:pt x="0" y="83"/>
                    <a:pt x="0" y="83"/>
                  </a:cubicBezTo>
                  <a:cubicBezTo>
                    <a:pt x="13" y="83"/>
                    <a:pt x="13" y="83"/>
                    <a:pt x="13" y="83"/>
                  </a:cubicBezTo>
                  <a:cubicBezTo>
                    <a:pt x="13" y="39"/>
                    <a:pt x="13" y="39"/>
                    <a:pt x="13" y="39"/>
                  </a:cubicBezTo>
                  <a:cubicBezTo>
                    <a:pt x="13" y="29"/>
                    <a:pt x="16" y="21"/>
                    <a:pt x="20" y="18"/>
                  </a:cubicBezTo>
                  <a:cubicBezTo>
                    <a:pt x="24" y="14"/>
                    <a:pt x="29" y="12"/>
                    <a:pt x="35" y="12"/>
                  </a:cubicBezTo>
                  <a:cubicBezTo>
                    <a:pt x="39" y="12"/>
                    <a:pt x="42" y="13"/>
                    <a:pt x="45" y="15"/>
                  </a:cubicBezTo>
                  <a:cubicBezTo>
                    <a:pt x="47" y="16"/>
                    <a:pt x="49" y="19"/>
                    <a:pt x="50" y="21"/>
                  </a:cubicBezTo>
                  <a:cubicBezTo>
                    <a:pt x="51" y="24"/>
                    <a:pt x="52" y="28"/>
                    <a:pt x="52" y="34"/>
                  </a:cubicBezTo>
                  <a:cubicBezTo>
                    <a:pt x="52" y="83"/>
                    <a:pt x="52" y="83"/>
                    <a:pt x="52" y="83"/>
                  </a:cubicBezTo>
                  <a:cubicBezTo>
                    <a:pt x="66" y="83"/>
                    <a:pt x="66" y="83"/>
                    <a:pt x="66" y="83"/>
                  </a:cubicBezTo>
                  <a:cubicBezTo>
                    <a:pt x="66" y="33"/>
                    <a:pt x="66" y="33"/>
                    <a:pt x="66" y="33"/>
                  </a:cubicBezTo>
                  <a:cubicBezTo>
                    <a:pt x="66" y="27"/>
                    <a:pt x="65" y="23"/>
                    <a:pt x="65" y="20"/>
                  </a:cubicBezTo>
                  <a:cubicBezTo>
                    <a:pt x="64" y="16"/>
                    <a:pt x="63" y="13"/>
                    <a:pt x="61" y="1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1049596" name="îṩľiḍé"/>
            <p:cNvSpPr/>
            <p:nvPr/>
          </p:nvSpPr>
          <p:spPr bwMode="auto">
            <a:xfrm>
              <a:off x="7612316" y="5729878"/>
              <a:ext cx="128588" cy="157163"/>
            </a:xfrm>
            <a:custGeom>
              <a:avLst/>
              <a:gdLst>
                <a:gd name="T0" fmla="*/ 50 w 70"/>
                <a:gd name="T1" fmla="*/ 69 h 85"/>
                <a:gd name="T2" fmla="*/ 36 w 70"/>
                <a:gd name="T3" fmla="*/ 74 h 85"/>
                <a:gd name="T4" fmla="*/ 20 w 70"/>
                <a:gd name="T5" fmla="*/ 66 h 85"/>
                <a:gd name="T6" fmla="*/ 14 w 70"/>
                <a:gd name="T7" fmla="*/ 43 h 85"/>
                <a:gd name="T8" fmla="*/ 20 w 70"/>
                <a:gd name="T9" fmla="*/ 19 h 85"/>
                <a:gd name="T10" fmla="*/ 37 w 70"/>
                <a:gd name="T11" fmla="*/ 12 h 85"/>
                <a:gd name="T12" fmla="*/ 49 w 70"/>
                <a:gd name="T13" fmla="*/ 16 h 85"/>
                <a:gd name="T14" fmla="*/ 56 w 70"/>
                <a:gd name="T15" fmla="*/ 28 h 85"/>
                <a:gd name="T16" fmla="*/ 69 w 70"/>
                <a:gd name="T17" fmla="*/ 26 h 85"/>
                <a:gd name="T18" fmla="*/ 58 w 70"/>
                <a:gd name="T19" fmla="*/ 7 h 85"/>
                <a:gd name="T20" fmla="*/ 37 w 70"/>
                <a:gd name="T21" fmla="*/ 0 h 85"/>
                <a:gd name="T22" fmla="*/ 17 w 70"/>
                <a:gd name="T23" fmla="*/ 5 h 85"/>
                <a:gd name="T24" fmla="*/ 4 w 70"/>
                <a:gd name="T25" fmla="*/ 20 h 85"/>
                <a:gd name="T26" fmla="*/ 0 w 70"/>
                <a:gd name="T27" fmla="*/ 43 h 85"/>
                <a:gd name="T28" fmla="*/ 10 w 70"/>
                <a:gd name="T29" fmla="*/ 74 h 85"/>
                <a:gd name="T30" fmla="*/ 37 w 70"/>
                <a:gd name="T31" fmla="*/ 85 h 85"/>
                <a:gd name="T32" fmla="*/ 59 w 70"/>
                <a:gd name="T33" fmla="*/ 77 h 85"/>
                <a:gd name="T34" fmla="*/ 70 w 70"/>
                <a:gd name="T35" fmla="*/ 55 h 85"/>
                <a:gd name="T36" fmla="*/ 57 w 70"/>
                <a:gd name="T37" fmla="*/ 54 h 85"/>
                <a:gd name="T38" fmla="*/ 50 w 70"/>
                <a:gd name="T39" fmla="*/ 69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70" h="85">
                  <a:moveTo>
                    <a:pt x="50" y="69"/>
                  </a:moveTo>
                  <a:cubicBezTo>
                    <a:pt x="46" y="72"/>
                    <a:pt x="42" y="74"/>
                    <a:pt x="36" y="74"/>
                  </a:cubicBezTo>
                  <a:cubicBezTo>
                    <a:pt x="30" y="74"/>
                    <a:pt x="24" y="71"/>
                    <a:pt x="20" y="66"/>
                  </a:cubicBezTo>
                  <a:cubicBezTo>
                    <a:pt x="16" y="61"/>
                    <a:pt x="14" y="54"/>
                    <a:pt x="14" y="43"/>
                  </a:cubicBezTo>
                  <a:cubicBezTo>
                    <a:pt x="14" y="32"/>
                    <a:pt x="16" y="24"/>
                    <a:pt x="20" y="19"/>
                  </a:cubicBezTo>
                  <a:cubicBezTo>
                    <a:pt x="25" y="14"/>
                    <a:pt x="30" y="12"/>
                    <a:pt x="37" y="12"/>
                  </a:cubicBezTo>
                  <a:cubicBezTo>
                    <a:pt x="42" y="12"/>
                    <a:pt x="46" y="13"/>
                    <a:pt x="49" y="16"/>
                  </a:cubicBezTo>
                  <a:cubicBezTo>
                    <a:pt x="52" y="18"/>
                    <a:pt x="54" y="23"/>
                    <a:pt x="56" y="28"/>
                  </a:cubicBezTo>
                  <a:cubicBezTo>
                    <a:pt x="69" y="26"/>
                    <a:pt x="69" y="26"/>
                    <a:pt x="69" y="26"/>
                  </a:cubicBezTo>
                  <a:cubicBezTo>
                    <a:pt x="68" y="18"/>
                    <a:pt x="64" y="11"/>
                    <a:pt x="58" y="7"/>
                  </a:cubicBezTo>
                  <a:cubicBezTo>
                    <a:pt x="53" y="2"/>
                    <a:pt x="46" y="0"/>
                    <a:pt x="37" y="0"/>
                  </a:cubicBezTo>
                  <a:cubicBezTo>
                    <a:pt x="30" y="0"/>
                    <a:pt x="23" y="2"/>
                    <a:pt x="17" y="5"/>
                  </a:cubicBezTo>
                  <a:cubicBezTo>
                    <a:pt x="11" y="8"/>
                    <a:pt x="7" y="13"/>
                    <a:pt x="4" y="20"/>
                  </a:cubicBezTo>
                  <a:cubicBezTo>
                    <a:pt x="1" y="27"/>
                    <a:pt x="0" y="34"/>
                    <a:pt x="0" y="43"/>
                  </a:cubicBezTo>
                  <a:cubicBezTo>
                    <a:pt x="0" y="57"/>
                    <a:pt x="3" y="67"/>
                    <a:pt x="10" y="74"/>
                  </a:cubicBezTo>
                  <a:cubicBezTo>
                    <a:pt x="17" y="82"/>
                    <a:pt x="26" y="85"/>
                    <a:pt x="37" y="85"/>
                  </a:cubicBezTo>
                  <a:cubicBezTo>
                    <a:pt x="45" y="85"/>
                    <a:pt x="53" y="83"/>
                    <a:pt x="59" y="77"/>
                  </a:cubicBezTo>
                  <a:cubicBezTo>
                    <a:pt x="65" y="72"/>
                    <a:pt x="69" y="65"/>
                    <a:pt x="70" y="55"/>
                  </a:cubicBezTo>
                  <a:cubicBezTo>
                    <a:pt x="57" y="54"/>
                    <a:pt x="57" y="54"/>
                    <a:pt x="57" y="54"/>
                  </a:cubicBezTo>
                  <a:cubicBezTo>
                    <a:pt x="56" y="60"/>
                    <a:pt x="54" y="66"/>
                    <a:pt x="50" y="6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1049597" name="íṡḷïďe"/>
            <p:cNvSpPr/>
            <p:nvPr/>
          </p:nvSpPr>
          <p:spPr bwMode="auto">
            <a:xfrm>
              <a:off x="7755191" y="5729878"/>
              <a:ext cx="138113" cy="157163"/>
            </a:xfrm>
            <a:custGeom>
              <a:avLst/>
              <a:gdLst>
                <a:gd name="T0" fmla="*/ 38 w 75"/>
                <a:gd name="T1" fmla="*/ 0 h 85"/>
                <a:gd name="T2" fmla="*/ 10 w 75"/>
                <a:gd name="T3" fmla="*/ 12 h 85"/>
                <a:gd name="T4" fmla="*/ 0 w 75"/>
                <a:gd name="T5" fmla="*/ 43 h 85"/>
                <a:gd name="T6" fmla="*/ 10 w 75"/>
                <a:gd name="T7" fmla="*/ 74 h 85"/>
                <a:gd name="T8" fmla="*/ 38 w 75"/>
                <a:gd name="T9" fmla="*/ 85 h 85"/>
                <a:gd name="T10" fmla="*/ 62 w 75"/>
                <a:gd name="T11" fmla="*/ 78 h 85"/>
                <a:gd name="T12" fmla="*/ 74 w 75"/>
                <a:gd name="T13" fmla="*/ 59 h 85"/>
                <a:gd name="T14" fmla="*/ 60 w 75"/>
                <a:gd name="T15" fmla="*/ 57 h 85"/>
                <a:gd name="T16" fmla="*/ 51 w 75"/>
                <a:gd name="T17" fmla="*/ 70 h 85"/>
                <a:gd name="T18" fmla="*/ 38 w 75"/>
                <a:gd name="T19" fmla="*/ 74 h 85"/>
                <a:gd name="T20" fmla="*/ 21 w 75"/>
                <a:gd name="T21" fmla="*/ 67 h 85"/>
                <a:gd name="T22" fmla="*/ 14 w 75"/>
                <a:gd name="T23" fmla="*/ 46 h 85"/>
                <a:gd name="T24" fmla="*/ 75 w 75"/>
                <a:gd name="T25" fmla="*/ 46 h 85"/>
                <a:gd name="T26" fmla="*/ 75 w 75"/>
                <a:gd name="T27" fmla="*/ 43 h 85"/>
                <a:gd name="T28" fmla="*/ 64 w 75"/>
                <a:gd name="T29" fmla="*/ 11 h 85"/>
                <a:gd name="T30" fmla="*/ 38 w 75"/>
                <a:gd name="T31" fmla="*/ 0 h 85"/>
                <a:gd name="T32" fmla="*/ 15 w 75"/>
                <a:gd name="T33" fmla="*/ 35 h 85"/>
                <a:gd name="T34" fmla="*/ 22 w 75"/>
                <a:gd name="T35" fmla="*/ 18 h 85"/>
                <a:gd name="T36" fmla="*/ 38 w 75"/>
                <a:gd name="T37" fmla="*/ 12 h 85"/>
                <a:gd name="T38" fmla="*/ 55 w 75"/>
                <a:gd name="T39" fmla="*/ 20 h 85"/>
                <a:gd name="T40" fmla="*/ 60 w 75"/>
                <a:gd name="T41" fmla="*/ 35 h 85"/>
                <a:gd name="T42" fmla="*/ 15 w 75"/>
                <a:gd name="T43" fmla="*/ 35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75" h="85">
                  <a:moveTo>
                    <a:pt x="38" y="0"/>
                  </a:moveTo>
                  <a:cubicBezTo>
                    <a:pt x="26" y="0"/>
                    <a:pt x="17" y="4"/>
                    <a:pt x="10" y="12"/>
                  </a:cubicBezTo>
                  <a:cubicBezTo>
                    <a:pt x="3" y="19"/>
                    <a:pt x="0" y="30"/>
                    <a:pt x="0" y="43"/>
                  </a:cubicBezTo>
                  <a:cubicBezTo>
                    <a:pt x="0" y="57"/>
                    <a:pt x="3" y="67"/>
                    <a:pt x="10" y="74"/>
                  </a:cubicBezTo>
                  <a:cubicBezTo>
                    <a:pt x="17" y="81"/>
                    <a:pt x="26" y="85"/>
                    <a:pt x="38" y="85"/>
                  </a:cubicBezTo>
                  <a:cubicBezTo>
                    <a:pt x="48" y="85"/>
                    <a:pt x="56" y="83"/>
                    <a:pt x="62" y="78"/>
                  </a:cubicBezTo>
                  <a:cubicBezTo>
                    <a:pt x="68" y="74"/>
                    <a:pt x="72" y="67"/>
                    <a:pt x="74" y="59"/>
                  </a:cubicBezTo>
                  <a:cubicBezTo>
                    <a:pt x="60" y="57"/>
                    <a:pt x="60" y="57"/>
                    <a:pt x="60" y="57"/>
                  </a:cubicBezTo>
                  <a:cubicBezTo>
                    <a:pt x="58" y="63"/>
                    <a:pt x="55" y="67"/>
                    <a:pt x="51" y="70"/>
                  </a:cubicBezTo>
                  <a:cubicBezTo>
                    <a:pt x="48" y="73"/>
                    <a:pt x="43" y="74"/>
                    <a:pt x="38" y="74"/>
                  </a:cubicBezTo>
                  <a:cubicBezTo>
                    <a:pt x="32" y="74"/>
                    <a:pt x="26" y="71"/>
                    <a:pt x="21" y="67"/>
                  </a:cubicBezTo>
                  <a:cubicBezTo>
                    <a:pt x="17" y="62"/>
                    <a:pt x="14" y="55"/>
                    <a:pt x="14" y="46"/>
                  </a:cubicBezTo>
                  <a:cubicBezTo>
                    <a:pt x="75" y="46"/>
                    <a:pt x="75" y="46"/>
                    <a:pt x="75" y="46"/>
                  </a:cubicBezTo>
                  <a:cubicBezTo>
                    <a:pt x="75" y="45"/>
                    <a:pt x="75" y="43"/>
                    <a:pt x="75" y="43"/>
                  </a:cubicBezTo>
                  <a:cubicBezTo>
                    <a:pt x="75" y="29"/>
                    <a:pt x="71" y="19"/>
                    <a:pt x="64" y="11"/>
                  </a:cubicBezTo>
                  <a:cubicBezTo>
                    <a:pt x="57" y="4"/>
                    <a:pt x="48" y="0"/>
                    <a:pt x="38" y="0"/>
                  </a:cubicBezTo>
                  <a:close/>
                  <a:moveTo>
                    <a:pt x="15" y="35"/>
                  </a:moveTo>
                  <a:cubicBezTo>
                    <a:pt x="15" y="28"/>
                    <a:pt x="17" y="22"/>
                    <a:pt x="22" y="18"/>
                  </a:cubicBezTo>
                  <a:cubicBezTo>
                    <a:pt x="26" y="14"/>
                    <a:pt x="31" y="12"/>
                    <a:pt x="38" y="12"/>
                  </a:cubicBezTo>
                  <a:cubicBezTo>
                    <a:pt x="45" y="12"/>
                    <a:pt x="50" y="14"/>
                    <a:pt x="55" y="20"/>
                  </a:cubicBezTo>
                  <a:cubicBezTo>
                    <a:pt x="58" y="23"/>
                    <a:pt x="59" y="28"/>
                    <a:pt x="60" y="35"/>
                  </a:cubicBezTo>
                  <a:lnTo>
                    <a:pt x="15" y="35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1049598" name="í$ľîde"/>
            <p:cNvSpPr/>
            <p:nvPr/>
          </p:nvSpPr>
          <p:spPr bwMode="auto">
            <a:xfrm>
              <a:off x="7994903" y="5729878"/>
              <a:ext cx="138113" cy="157163"/>
            </a:xfrm>
            <a:custGeom>
              <a:avLst/>
              <a:gdLst>
                <a:gd name="T0" fmla="*/ 71 w 75"/>
                <a:gd name="T1" fmla="*/ 49 h 85"/>
                <a:gd name="T2" fmla="*/ 71 w 75"/>
                <a:gd name="T3" fmla="*/ 31 h 85"/>
                <a:gd name="T4" fmla="*/ 70 w 75"/>
                <a:gd name="T5" fmla="*/ 18 h 85"/>
                <a:gd name="T6" fmla="*/ 66 w 75"/>
                <a:gd name="T7" fmla="*/ 9 h 85"/>
                <a:gd name="T8" fmla="*/ 56 w 75"/>
                <a:gd name="T9" fmla="*/ 3 h 85"/>
                <a:gd name="T10" fmla="*/ 39 w 75"/>
                <a:gd name="T11" fmla="*/ 0 h 85"/>
                <a:gd name="T12" fmla="*/ 21 w 75"/>
                <a:gd name="T13" fmla="*/ 3 h 85"/>
                <a:gd name="T14" fmla="*/ 9 w 75"/>
                <a:gd name="T15" fmla="*/ 11 h 85"/>
                <a:gd name="T16" fmla="*/ 3 w 75"/>
                <a:gd name="T17" fmla="*/ 25 h 85"/>
                <a:gd name="T18" fmla="*/ 16 w 75"/>
                <a:gd name="T19" fmla="*/ 27 h 85"/>
                <a:gd name="T20" fmla="*/ 23 w 75"/>
                <a:gd name="T21" fmla="*/ 15 h 85"/>
                <a:gd name="T22" fmla="*/ 37 w 75"/>
                <a:gd name="T23" fmla="*/ 12 h 85"/>
                <a:gd name="T24" fmla="*/ 53 w 75"/>
                <a:gd name="T25" fmla="*/ 16 h 85"/>
                <a:gd name="T26" fmla="*/ 57 w 75"/>
                <a:gd name="T27" fmla="*/ 28 h 85"/>
                <a:gd name="T28" fmla="*/ 57 w 75"/>
                <a:gd name="T29" fmla="*/ 32 h 85"/>
                <a:gd name="T30" fmla="*/ 32 w 75"/>
                <a:gd name="T31" fmla="*/ 36 h 85"/>
                <a:gd name="T32" fmla="*/ 20 w 75"/>
                <a:gd name="T33" fmla="*/ 39 h 85"/>
                <a:gd name="T34" fmla="*/ 10 w 75"/>
                <a:gd name="T35" fmla="*/ 43 h 85"/>
                <a:gd name="T36" fmla="*/ 3 w 75"/>
                <a:gd name="T37" fmla="*/ 51 h 85"/>
                <a:gd name="T38" fmla="*/ 0 w 75"/>
                <a:gd name="T39" fmla="*/ 62 h 85"/>
                <a:gd name="T40" fmla="*/ 7 w 75"/>
                <a:gd name="T41" fmla="*/ 79 h 85"/>
                <a:gd name="T42" fmla="*/ 28 w 75"/>
                <a:gd name="T43" fmla="*/ 85 h 85"/>
                <a:gd name="T44" fmla="*/ 43 w 75"/>
                <a:gd name="T45" fmla="*/ 82 h 85"/>
                <a:gd name="T46" fmla="*/ 58 w 75"/>
                <a:gd name="T47" fmla="*/ 73 h 85"/>
                <a:gd name="T48" fmla="*/ 61 w 75"/>
                <a:gd name="T49" fmla="*/ 83 h 85"/>
                <a:gd name="T50" fmla="*/ 75 w 75"/>
                <a:gd name="T51" fmla="*/ 83 h 85"/>
                <a:gd name="T52" fmla="*/ 72 w 75"/>
                <a:gd name="T53" fmla="*/ 74 h 85"/>
                <a:gd name="T54" fmla="*/ 71 w 75"/>
                <a:gd name="T55" fmla="*/ 49 h 85"/>
                <a:gd name="T56" fmla="*/ 57 w 75"/>
                <a:gd name="T57" fmla="*/ 48 h 85"/>
                <a:gd name="T58" fmla="*/ 55 w 75"/>
                <a:gd name="T59" fmla="*/ 61 h 85"/>
                <a:gd name="T60" fmla="*/ 46 w 75"/>
                <a:gd name="T61" fmla="*/ 71 h 85"/>
                <a:gd name="T62" fmla="*/ 31 w 75"/>
                <a:gd name="T63" fmla="*/ 74 h 85"/>
                <a:gd name="T64" fmla="*/ 19 w 75"/>
                <a:gd name="T65" fmla="*/ 71 h 85"/>
                <a:gd name="T66" fmla="*/ 15 w 75"/>
                <a:gd name="T67" fmla="*/ 62 h 85"/>
                <a:gd name="T68" fmla="*/ 17 w 75"/>
                <a:gd name="T69" fmla="*/ 55 h 85"/>
                <a:gd name="T70" fmla="*/ 22 w 75"/>
                <a:gd name="T71" fmla="*/ 50 h 85"/>
                <a:gd name="T72" fmla="*/ 34 w 75"/>
                <a:gd name="T73" fmla="*/ 48 h 85"/>
                <a:gd name="T74" fmla="*/ 57 w 75"/>
                <a:gd name="T75" fmla="*/ 43 h 85"/>
                <a:gd name="T76" fmla="*/ 57 w 75"/>
                <a:gd name="T77" fmla="*/ 48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75" h="85">
                  <a:moveTo>
                    <a:pt x="71" y="49"/>
                  </a:moveTo>
                  <a:cubicBezTo>
                    <a:pt x="71" y="31"/>
                    <a:pt x="71" y="31"/>
                    <a:pt x="71" y="31"/>
                  </a:cubicBezTo>
                  <a:cubicBezTo>
                    <a:pt x="71" y="25"/>
                    <a:pt x="71" y="21"/>
                    <a:pt x="70" y="18"/>
                  </a:cubicBezTo>
                  <a:cubicBezTo>
                    <a:pt x="69" y="14"/>
                    <a:pt x="68" y="11"/>
                    <a:pt x="66" y="9"/>
                  </a:cubicBezTo>
                  <a:cubicBezTo>
                    <a:pt x="64" y="6"/>
                    <a:pt x="61" y="4"/>
                    <a:pt x="56" y="3"/>
                  </a:cubicBezTo>
                  <a:cubicBezTo>
                    <a:pt x="52" y="1"/>
                    <a:pt x="46" y="0"/>
                    <a:pt x="39" y="0"/>
                  </a:cubicBezTo>
                  <a:cubicBezTo>
                    <a:pt x="32" y="0"/>
                    <a:pt x="26" y="1"/>
                    <a:pt x="21" y="3"/>
                  </a:cubicBezTo>
                  <a:cubicBezTo>
                    <a:pt x="16" y="5"/>
                    <a:pt x="12" y="8"/>
                    <a:pt x="9" y="11"/>
                  </a:cubicBezTo>
                  <a:cubicBezTo>
                    <a:pt x="6" y="15"/>
                    <a:pt x="4" y="19"/>
                    <a:pt x="3" y="25"/>
                  </a:cubicBezTo>
                  <a:cubicBezTo>
                    <a:pt x="16" y="27"/>
                    <a:pt x="16" y="27"/>
                    <a:pt x="16" y="27"/>
                  </a:cubicBezTo>
                  <a:cubicBezTo>
                    <a:pt x="18" y="21"/>
                    <a:pt x="20" y="17"/>
                    <a:pt x="23" y="15"/>
                  </a:cubicBezTo>
                  <a:cubicBezTo>
                    <a:pt x="26" y="13"/>
                    <a:pt x="31" y="12"/>
                    <a:pt x="37" y="12"/>
                  </a:cubicBezTo>
                  <a:cubicBezTo>
                    <a:pt x="44" y="12"/>
                    <a:pt x="50" y="13"/>
                    <a:pt x="53" y="16"/>
                  </a:cubicBezTo>
                  <a:cubicBezTo>
                    <a:pt x="56" y="19"/>
                    <a:pt x="57" y="23"/>
                    <a:pt x="57" y="28"/>
                  </a:cubicBezTo>
                  <a:cubicBezTo>
                    <a:pt x="57" y="29"/>
                    <a:pt x="57" y="30"/>
                    <a:pt x="57" y="32"/>
                  </a:cubicBezTo>
                  <a:cubicBezTo>
                    <a:pt x="52" y="34"/>
                    <a:pt x="43" y="35"/>
                    <a:pt x="32" y="36"/>
                  </a:cubicBezTo>
                  <a:cubicBezTo>
                    <a:pt x="27" y="37"/>
                    <a:pt x="23" y="38"/>
                    <a:pt x="20" y="39"/>
                  </a:cubicBezTo>
                  <a:cubicBezTo>
                    <a:pt x="16" y="40"/>
                    <a:pt x="13" y="41"/>
                    <a:pt x="10" y="43"/>
                  </a:cubicBezTo>
                  <a:cubicBezTo>
                    <a:pt x="7" y="45"/>
                    <a:pt x="5" y="48"/>
                    <a:pt x="3" y="51"/>
                  </a:cubicBezTo>
                  <a:cubicBezTo>
                    <a:pt x="1" y="54"/>
                    <a:pt x="0" y="58"/>
                    <a:pt x="0" y="62"/>
                  </a:cubicBezTo>
                  <a:cubicBezTo>
                    <a:pt x="0" y="69"/>
                    <a:pt x="3" y="74"/>
                    <a:pt x="7" y="79"/>
                  </a:cubicBezTo>
                  <a:cubicBezTo>
                    <a:pt x="12" y="83"/>
                    <a:pt x="19" y="85"/>
                    <a:pt x="28" y="85"/>
                  </a:cubicBezTo>
                  <a:cubicBezTo>
                    <a:pt x="33" y="85"/>
                    <a:pt x="39" y="84"/>
                    <a:pt x="43" y="82"/>
                  </a:cubicBezTo>
                  <a:cubicBezTo>
                    <a:pt x="48" y="81"/>
                    <a:pt x="53" y="78"/>
                    <a:pt x="58" y="73"/>
                  </a:cubicBezTo>
                  <a:cubicBezTo>
                    <a:pt x="58" y="77"/>
                    <a:pt x="59" y="80"/>
                    <a:pt x="61" y="83"/>
                  </a:cubicBezTo>
                  <a:cubicBezTo>
                    <a:pt x="75" y="83"/>
                    <a:pt x="75" y="83"/>
                    <a:pt x="75" y="83"/>
                  </a:cubicBezTo>
                  <a:cubicBezTo>
                    <a:pt x="73" y="80"/>
                    <a:pt x="72" y="77"/>
                    <a:pt x="72" y="74"/>
                  </a:cubicBezTo>
                  <a:cubicBezTo>
                    <a:pt x="71" y="70"/>
                    <a:pt x="71" y="62"/>
                    <a:pt x="71" y="49"/>
                  </a:cubicBezTo>
                  <a:close/>
                  <a:moveTo>
                    <a:pt x="57" y="48"/>
                  </a:moveTo>
                  <a:cubicBezTo>
                    <a:pt x="57" y="54"/>
                    <a:pt x="56" y="58"/>
                    <a:pt x="55" y="61"/>
                  </a:cubicBezTo>
                  <a:cubicBezTo>
                    <a:pt x="53" y="65"/>
                    <a:pt x="50" y="69"/>
                    <a:pt x="46" y="71"/>
                  </a:cubicBezTo>
                  <a:cubicBezTo>
                    <a:pt x="41" y="73"/>
                    <a:pt x="37" y="74"/>
                    <a:pt x="31" y="74"/>
                  </a:cubicBezTo>
                  <a:cubicBezTo>
                    <a:pt x="26" y="74"/>
                    <a:pt x="22" y="73"/>
                    <a:pt x="19" y="71"/>
                  </a:cubicBezTo>
                  <a:cubicBezTo>
                    <a:pt x="16" y="68"/>
                    <a:pt x="15" y="65"/>
                    <a:pt x="15" y="62"/>
                  </a:cubicBezTo>
                  <a:cubicBezTo>
                    <a:pt x="15" y="59"/>
                    <a:pt x="16" y="57"/>
                    <a:pt x="17" y="55"/>
                  </a:cubicBezTo>
                  <a:cubicBezTo>
                    <a:pt x="18" y="53"/>
                    <a:pt x="20" y="52"/>
                    <a:pt x="22" y="50"/>
                  </a:cubicBezTo>
                  <a:cubicBezTo>
                    <a:pt x="25" y="49"/>
                    <a:pt x="29" y="49"/>
                    <a:pt x="34" y="48"/>
                  </a:cubicBezTo>
                  <a:cubicBezTo>
                    <a:pt x="44" y="46"/>
                    <a:pt x="52" y="45"/>
                    <a:pt x="57" y="43"/>
                  </a:cubicBezTo>
                  <a:lnTo>
                    <a:pt x="57" y="4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1049599" name="ï$ḻíḋê"/>
            <p:cNvSpPr/>
            <p:nvPr/>
          </p:nvSpPr>
          <p:spPr bwMode="auto">
            <a:xfrm>
              <a:off x="8164766" y="5729878"/>
              <a:ext cx="122238" cy="152400"/>
            </a:xfrm>
            <a:custGeom>
              <a:avLst/>
              <a:gdLst>
                <a:gd name="T0" fmla="*/ 61 w 66"/>
                <a:gd name="T1" fmla="*/ 10 h 83"/>
                <a:gd name="T2" fmla="*/ 52 w 66"/>
                <a:gd name="T3" fmla="*/ 3 h 83"/>
                <a:gd name="T4" fmla="*/ 38 w 66"/>
                <a:gd name="T5" fmla="*/ 0 h 83"/>
                <a:gd name="T6" fmla="*/ 13 w 66"/>
                <a:gd name="T7" fmla="*/ 14 h 83"/>
                <a:gd name="T8" fmla="*/ 13 w 66"/>
                <a:gd name="T9" fmla="*/ 2 h 83"/>
                <a:gd name="T10" fmla="*/ 0 w 66"/>
                <a:gd name="T11" fmla="*/ 2 h 83"/>
                <a:gd name="T12" fmla="*/ 0 w 66"/>
                <a:gd name="T13" fmla="*/ 83 h 83"/>
                <a:gd name="T14" fmla="*/ 14 w 66"/>
                <a:gd name="T15" fmla="*/ 83 h 83"/>
                <a:gd name="T16" fmla="*/ 14 w 66"/>
                <a:gd name="T17" fmla="*/ 39 h 83"/>
                <a:gd name="T18" fmla="*/ 20 w 66"/>
                <a:gd name="T19" fmla="*/ 18 h 83"/>
                <a:gd name="T20" fmla="*/ 36 w 66"/>
                <a:gd name="T21" fmla="*/ 12 h 83"/>
                <a:gd name="T22" fmla="*/ 45 w 66"/>
                <a:gd name="T23" fmla="*/ 15 h 83"/>
                <a:gd name="T24" fmla="*/ 51 w 66"/>
                <a:gd name="T25" fmla="*/ 21 h 83"/>
                <a:gd name="T26" fmla="*/ 52 w 66"/>
                <a:gd name="T27" fmla="*/ 34 h 83"/>
                <a:gd name="T28" fmla="*/ 52 w 66"/>
                <a:gd name="T29" fmla="*/ 83 h 83"/>
                <a:gd name="T30" fmla="*/ 66 w 66"/>
                <a:gd name="T31" fmla="*/ 83 h 83"/>
                <a:gd name="T32" fmla="*/ 66 w 66"/>
                <a:gd name="T33" fmla="*/ 33 h 83"/>
                <a:gd name="T34" fmla="*/ 65 w 66"/>
                <a:gd name="T35" fmla="*/ 20 h 83"/>
                <a:gd name="T36" fmla="*/ 61 w 66"/>
                <a:gd name="T37" fmla="*/ 10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6" h="83">
                  <a:moveTo>
                    <a:pt x="61" y="10"/>
                  </a:moveTo>
                  <a:cubicBezTo>
                    <a:pt x="59" y="7"/>
                    <a:pt x="56" y="5"/>
                    <a:pt x="52" y="3"/>
                  </a:cubicBezTo>
                  <a:cubicBezTo>
                    <a:pt x="48" y="1"/>
                    <a:pt x="43" y="0"/>
                    <a:pt x="38" y="0"/>
                  </a:cubicBezTo>
                  <a:cubicBezTo>
                    <a:pt x="27" y="0"/>
                    <a:pt x="19" y="5"/>
                    <a:pt x="13" y="14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83"/>
                    <a:pt x="0" y="83"/>
                    <a:pt x="0" y="83"/>
                  </a:cubicBezTo>
                  <a:cubicBezTo>
                    <a:pt x="14" y="83"/>
                    <a:pt x="14" y="83"/>
                    <a:pt x="14" y="83"/>
                  </a:cubicBezTo>
                  <a:cubicBezTo>
                    <a:pt x="14" y="39"/>
                    <a:pt x="14" y="39"/>
                    <a:pt x="14" y="39"/>
                  </a:cubicBezTo>
                  <a:cubicBezTo>
                    <a:pt x="14" y="29"/>
                    <a:pt x="16" y="21"/>
                    <a:pt x="20" y="18"/>
                  </a:cubicBezTo>
                  <a:cubicBezTo>
                    <a:pt x="25" y="14"/>
                    <a:pt x="30" y="12"/>
                    <a:pt x="36" y="12"/>
                  </a:cubicBezTo>
                  <a:cubicBezTo>
                    <a:pt x="39" y="12"/>
                    <a:pt x="42" y="13"/>
                    <a:pt x="45" y="15"/>
                  </a:cubicBezTo>
                  <a:cubicBezTo>
                    <a:pt x="48" y="16"/>
                    <a:pt x="50" y="19"/>
                    <a:pt x="51" y="21"/>
                  </a:cubicBezTo>
                  <a:cubicBezTo>
                    <a:pt x="52" y="24"/>
                    <a:pt x="52" y="28"/>
                    <a:pt x="52" y="34"/>
                  </a:cubicBezTo>
                  <a:cubicBezTo>
                    <a:pt x="52" y="83"/>
                    <a:pt x="52" y="83"/>
                    <a:pt x="52" y="83"/>
                  </a:cubicBezTo>
                  <a:cubicBezTo>
                    <a:pt x="66" y="83"/>
                    <a:pt x="66" y="83"/>
                    <a:pt x="66" y="83"/>
                  </a:cubicBezTo>
                  <a:cubicBezTo>
                    <a:pt x="66" y="33"/>
                    <a:pt x="66" y="33"/>
                    <a:pt x="66" y="33"/>
                  </a:cubicBezTo>
                  <a:cubicBezTo>
                    <a:pt x="66" y="27"/>
                    <a:pt x="66" y="23"/>
                    <a:pt x="65" y="20"/>
                  </a:cubicBezTo>
                  <a:cubicBezTo>
                    <a:pt x="65" y="16"/>
                    <a:pt x="63" y="13"/>
                    <a:pt x="61" y="1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1049600" name="îśḻïďè"/>
            <p:cNvSpPr/>
            <p:nvPr/>
          </p:nvSpPr>
          <p:spPr bwMode="auto">
            <a:xfrm>
              <a:off x="8315578" y="5675903"/>
              <a:ext cx="131763" cy="211138"/>
            </a:xfrm>
            <a:custGeom>
              <a:avLst/>
              <a:gdLst>
                <a:gd name="T0" fmla="*/ 57 w 71"/>
                <a:gd name="T1" fmla="*/ 40 h 114"/>
                <a:gd name="T2" fmla="*/ 48 w 71"/>
                <a:gd name="T3" fmla="*/ 32 h 114"/>
                <a:gd name="T4" fmla="*/ 35 w 71"/>
                <a:gd name="T5" fmla="*/ 29 h 114"/>
                <a:gd name="T6" fmla="*/ 17 w 71"/>
                <a:gd name="T7" fmla="*/ 35 h 114"/>
                <a:gd name="T8" fmla="*/ 4 w 71"/>
                <a:gd name="T9" fmla="*/ 50 h 114"/>
                <a:gd name="T10" fmla="*/ 0 w 71"/>
                <a:gd name="T11" fmla="*/ 72 h 114"/>
                <a:gd name="T12" fmla="*/ 5 w 71"/>
                <a:gd name="T13" fmla="*/ 94 h 114"/>
                <a:gd name="T14" fmla="*/ 17 w 71"/>
                <a:gd name="T15" fmla="*/ 109 h 114"/>
                <a:gd name="T16" fmla="*/ 35 w 71"/>
                <a:gd name="T17" fmla="*/ 114 h 114"/>
                <a:gd name="T18" fmla="*/ 58 w 71"/>
                <a:gd name="T19" fmla="*/ 102 h 114"/>
                <a:gd name="T20" fmla="*/ 58 w 71"/>
                <a:gd name="T21" fmla="*/ 112 h 114"/>
                <a:gd name="T22" fmla="*/ 71 w 71"/>
                <a:gd name="T23" fmla="*/ 112 h 114"/>
                <a:gd name="T24" fmla="*/ 71 w 71"/>
                <a:gd name="T25" fmla="*/ 0 h 114"/>
                <a:gd name="T26" fmla="*/ 57 w 71"/>
                <a:gd name="T27" fmla="*/ 0 h 114"/>
                <a:gd name="T28" fmla="*/ 57 w 71"/>
                <a:gd name="T29" fmla="*/ 40 h 114"/>
                <a:gd name="T30" fmla="*/ 52 w 71"/>
                <a:gd name="T31" fmla="*/ 95 h 114"/>
                <a:gd name="T32" fmla="*/ 37 w 71"/>
                <a:gd name="T33" fmla="*/ 103 h 114"/>
                <a:gd name="T34" fmla="*/ 21 w 71"/>
                <a:gd name="T35" fmla="*/ 95 h 114"/>
                <a:gd name="T36" fmla="*/ 15 w 71"/>
                <a:gd name="T37" fmla="*/ 72 h 114"/>
                <a:gd name="T38" fmla="*/ 21 w 71"/>
                <a:gd name="T39" fmla="*/ 48 h 114"/>
                <a:gd name="T40" fmla="*/ 36 w 71"/>
                <a:gd name="T41" fmla="*/ 41 h 114"/>
                <a:gd name="T42" fmla="*/ 52 w 71"/>
                <a:gd name="T43" fmla="*/ 48 h 114"/>
                <a:gd name="T44" fmla="*/ 58 w 71"/>
                <a:gd name="T45" fmla="*/ 73 h 114"/>
                <a:gd name="T46" fmla="*/ 52 w 71"/>
                <a:gd name="T47" fmla="*/ 95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71" h="114">
                  <a:moveTo>
                    <a:pt x="57" y="40"/>
                  </a:moveTo>
                  <a:cubicBezTo>
                    <a:pt x="55" y="37"/>
                    <a:pt x="52" y="34"/>
                    <a:pt x="48" y="32"/>
                  </a:cubicBezTo>
                  <a:cubicBezTo>
                    <a:pt x="44" y="30"/>
                    <a:pt x="40" y="29"/>
                    <a:pt x="35" y="29"/>
                  </a:cubicBezTo>
                  <a:cubicBezTo>
                    <a:pt x="28" y="29"/>
                    <a:pt x="22" y="31"/>
                    <a:pt x="17" y="35"/>
                  </a:cubicBezTo>
                  <a:cubicBezTo>
                    <a:pt x="11" y="38"/>
                    <a:pt x="7" y="43"/>
                    <a:pt x="4" y="50"/>
                  </a:cubicBezTo>
                  <a:cubicBezTo>
                    <a:pt x="2" y="56"/>
                    <a:pt x="0" y="64"/>
                    <a:pt x="0" y="72"/>
                  </a:cubicBezTo>
                  <a:cubicBezTo>
                    <a:pt x="0" y="80"/>
                    <a:pt x="2" y="87"/>
                    <a:pt x="5" y="94"/>
                  </a:cubicBezTo>
                  <a:cubicBezTo>
                    <a:pt x="8" y="100"/>
                    <a:pt x="12" y="105"/>
                    <a:pt x="17" y="109"/>
                  </a:cubicBezTo>
                  <a:cubicBezTo>
                    <a:pt x="23" y="112"/>
                    <a:pt x="29" y="114"/>
                    <a:pt x="35" y="114"/>
                  </a:cubicBezTo>
                  <a:cubicBezTo>
                    <a:pt x="45" y="114"/>
                    <a:pt x="53" y="110"/>
                    <a:pt x="58" y="102"/>
                  </a:cubicBezTo>
                  <a:cubicBezTo>
                    <a:pt x="58" y="112"/>
                    <a:pt x="58" y="112"/>
                    <a:pt x="58" y="112"/>
                  </a:cubicBezTo>
                  <a:cubicBezTo>
                    <a:pt x="71" y="112"/>
                    <a:pt x="71" y="112"/>
                    <a:pt x="71" y="112"/>
                  </a:cubicBezTo>
                  <a:cubicBezTo>
                    <a:pt x="71" y="0"/>
                    <a:pt x="71" y="0"/>
                    <a:pt x="71" y="0"/>
                  </a:cubicBezTo>
                  <a:cubicBezTo>
                    <a:pt x="57" y="0"/>
                    <a:pt x="57" y="0"/>
                    <a:pt x="57" y="0"/>
                  </a:cubicBezTo>
                  <a:lnTo>
                    <a:pt x="57" y="40"/>
                  </a:lnTo>
                  <a:close/>
                  <a:moveTo>
                    <a:pt x="52" y="95"/>
                  </a:moveTo>
                  <a:cubicBezTo>
                    <a:pt x="48" y="100"/>
                    <a:pt x="43" y="103"/>
                    <a:pt x="37" y="103"/>
                  </a:cubicBezTo>
                  <a:cubicBezTo>
                    <a:pt x="31" y="103"/>
                    <a:pt x="25" y="100"/>
                    <a:pt x="21" y="95"/>
                  </a:cubicBezTo>
                  <a:cubicBezTo>
                    <a:pt x="17" y="90"/>
                    <a:pt x="15" y="82"/>
                    <a:pt x="15" y="72"/>
                  </a:cubicBezTo>
                  <a:cubicBezTo>
                    <a:pt x="15" y="61"/>
                    <a:pt x="17" y="53"/>
                    <a:pt x="21" y="48"/>
                  </a:cubicBezTo>
                  <a:cubicBezTo>
                    <a:pt x="25" y="43"/>
                    <a:pt x="30" y="41"/>
                    <a:pt x="36" y="41"/>
                  </a:cubicBezTo>
                  <a:cubicBezTo>
                    <a:pt x="42" y="41"/>
                    <a:pt x="48" y="43"/>
                    <a:pt x="52" y="48"/>
                  </a:cubicBezTo>
                  <a:cubicBezTo>
                    <a:pt x="56" y="54"/>
                    <a:pt x="58" y="62"/>
                    <a:pt x="58" y="73"/>
                  </a:cubicBezTo>
                  <a:cubicBezTo>
                    <a:pt x="58" y="83"/>
                    <a:pt x="56" y="91"/>
                    <a:pt x="52" y="9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1049601" name="iṡľîdé"/>
            <p:cNvSpPr/>
            <p:nvPr/>
          </p:nvSpPr>
          <p:spPr bwMode="auto">
            <a:xfrm>
              <a:off x="8550528" y="5675903"/>
              <a:ext cx="163513" cy="206375"/>
            </a:xfrm>
            <a:custGeom>
              <a:avLst/>
              <a:gdLst>
                <a:gd name="T0" fmla="*/ 103 w 103"/>
                <a:gd name="T1" fmla="*/ 0 h 130"/>
                <a:gd name="T2" fmla="*/ 0 w 103"/>
                <a:gd name="T3" fmla="*/ 0 h 130"/>
                <a:gd name="T4" fmla="*/ 0 w 103"/>
                <a:gd name="T5" fmla="*/ 15 h 130"/>
                <a:gd name="T6" fmla="*/ 43 w 103"/>
                <a:gd name="T7" fmla="*/ 15 h 130"/>
                <a:gd name="T8" fmla="*/ 43 w 103"/>
                <a:gd name="T9" fmla="*/ 130 h 130"/>
                <a:gd name="T10" fmla="*/ 59 w 103"/>
                <a:gd name="T11" fmla="*/ 130 h 130"/>
                <a:gd name="T12" fmla="*/ 59 w 103"/>
                <a:gd name="T13" fmla="*/ 15 h 130"/>
                <a:gd name="T14" fmla="*/ 103 w 103"/>
                <a:gd name="T15" fmla="*/ 15 h 130"/>
                <a:gd name="T16" fmla="*/ 103 w 103"/>
                <a:gd name="T17" fmla="*/ 0 h 1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3" h="130">
                  <a:moveTo>
                    <a:pt x="103" y="0"/>
                  </a:moveTo>
                  <a:lnTo>
                    <a:pt x="0" y="0"/>
                  </a:lnTo>
                  <a:lnTo>
                    <a:pt x="0" y="15"/>
                  </a:lnTo>
                  <a:lnTo>
                    <a:pt x="43" y="15"/>
                  </a:lnTo>
                  <a:lnTo>
                    <a:pt x="43" y="130"/>
                  </a:lnTo>
                  <a:lnTo>
                    <a:pt x="59" y="130"/>
                  </a:lnTo>
                  <a:lnTo>
                    <a:pt x="59" y="15"/>
                  </a:lnTo>
                  <a:lnTo>
                    <a:pt x="103" y="15"/>
                  </a:lnTo>
                  <a:lnTo>
                    <a:pt x="103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1049602" name="íṥḻíḋé"/>
            <p:cNvSpPr/>
            <p:nvPr/>
          </p:nvSpPr>
          <p:spPr bwMode="auto">
            <a:xfrm>
              <a:off x="8698166" y="5729878"/>
              <a:ext cx="138113" cy="157163"/>
            </a:xfrm>
            <a:custGeom>
              <a:avLst/>
              <a:gdLst>
                <a:gd name="T0" fmla="*/ 38 w 75"/>
                <a:gd name="T1" fmla="*/ 0 h 85"/>
                <a:gd name="T2" fmla="*/ 11 w 75"/>
                <a:gd name="T3" fmla="*/ 12 h 85"/>
                <a:gd name="T4" fmla="*/ 0 w 75"/>
                <a:gd name="T5" fmla="*/ 43 h 85"/>
                <a:gd name="T6" fmla="*/ 10 w 75"/>
                <a:gd name="T7" fmla="*/ 74 h 85"/>
                <a:gd name="T8" fmla="*/ 39 w 75"/>
                <a:gd name="T9" fmla="*/ 85 h 85"/>
                <a:gd name="T10" fmla="*/ 62 w 75"/>
                <a:gd name="T11" fmla="*/ 78 h 85"/>
                <a:gd name="T12" fmla="*/ 74 w 75"/>
                <a:gd name="T13" fmla="*/ 59 h 85"/>
                <a:gd name="T14" fmla="*/ 60 w 75"/>
                <a:gd name="T15" fmla="*/ 57 h 85"/>
                <a:gd name="T16" fmla="*/ 52 w 75"/>
                <a:gd name="T17" fmla="*/ 70 h 85"/>
                <a:gd name="T18" fmla="*/ 39 w 75"/>
                <a:gd name="T19" fmla="*/ 74 h 85"/>
                <a:gd name="T20" fmla="*/ 22 w 75"/>
                <a:gd name="T21" fmla="*/ 67 h 85"/>
                <a:gd name="T22" fmla="*/ 14 w 75"/>
                <a:gd name="T23" fmla="*/ 46 h 85"/>
                <a:gd name="T24" fmla="*/ 75 w 75"/>
                <a:gd name="T25" fmla="*/ 46 h 85"/>
                <a:gd name="T26" fmla="*/ 75 w 75"/>
                <a:gd name="T27" fmla="*/ 43 h 85"/>
                <a:gd name="T28" fmla="*/ 65 w 75"/>
                <a:gd name="T29" fmla="*/ 11 h 85"/>
                <a:gd name="T30" fmla="*/ 38 w 75"/>
                <a:gd name="T31" fmla="*/ 0 h 85"/>
                <a:gd name="T32" fmla="*/ 15 w 75"/>
                <a:gd name="T33" fmla="*/ 35 h 85"/>
                <a:gd name="T34" fmla="*/ 22 w 75"/>
                <a:gd name="T35" fmla="*/ 18 h 85"/>
                <a:gd name="T36" fmla="*/ 38 w 75"/>
                <a:gd name="T37" fmla="*/ 12 h 85"/>
                <a:gd name="T38" fmla="*/ 55 w 75"/>
                <a:gd name="T39" fmla="*/ 20 h 85"/>
                <a:gd name="T40" fmla="*/ 60 w 75"/>
                <a:gd name="T41" fmla="*/ 35 h 85"/>
                <a:gd name="T42" fmla="*/ 15 w 75"/>
                <a:gd name="T43" fmla="*/ 35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75" h="85">
                  <a:moveTo>
                    <a:pt x="38" y="0"/>
                  </a:moveTo>
                  <a:cubicBezTo>
                    <a:pt x="27" y="0"/>
                    <a:pt x="18" y="4"/>
                    <a:pt x="11" y="12"/>
                  </a:cubicBezTo>
                  <a:cubicBezTo>
                    <a:pt x="4" y="19"/>
                    <a:pt x="0" y="30"/>
                    <a:pt x="0" y="43"/>
                  </a:cubicBezTo>
                  <a:cubicBezTo>
                    <a:pt x="0" y="57"/>
                    <a:pt x="3" y="67"/>
                    <a:pt x="10" y="74"/>
                  </a:cubicBezTo>
                  <a:cubicBezTo>
                    <a:pt x="17" y="81"/>
                    <a:pt x="27" y="85"/>
                    <a:pt x="39" y="85"/>
                  </a:cubicBezTo>
                  <a:cubicBezTo>
                    <a:pt x="48" y="85"/>
                    <a:pt x="56" y="83"/>
                    <a:pt x="62" y="78"/>
                  </a:cubicBezTo>
                  <a:cubicBezTo>
                    <a:pt x="68" y="74"/>
                    <a:pt x="72" y="67"/>
                    <a:pt x="74" y="59"/>
                  </a:cubicBezTo>
                  <a:cubicBezTo>
                    <a:pt x="60" y="57"/>
                    <a:pt x="60" y="57"/>
                    <a:pt x="60" y="57"/>
                  </a:cubicBezTo>
                  <a:cubicBezTo>
                    <a:pt x="58" y="63"/>
                    <a:pt x="55" y="67"/>
                    <a:pt x="52" y="70"/>
                  </a:cubicBezTo>
                  <a:cubicBezTo>
                    <a:pt x="48" y="73"/>
                    <a:pt x="44" y="74"/>
                    <a:pt x="39" y="74"/>
                  </a:cubicBezTo>
                  <a:cubicBezTo>
                    <a:pt x="32" y="74"/>
                    <a:pt x="26" y="71"/>
                    <a:pt x="22" y="67"/>
                  </a:cubicBezTo>
                  <a:cubicBezTo>
                    <a:pt x="17" y="62"/>
                    <a:pt x="15" y="55"/>
                    <a:pt x="14" y="46"/>
                  </a:cubicBezTo>
                  <a:cubicBezTo>
                    <a:pt x="75" y="46"/>
                    <a:pt x="75" y="46"/>
                    <a:pt x="75" y="46"/>
                  </a:cubicBezTo>
                  <a:cubicBezTo>
                    <a:pt x="75" y="45"/>
                    <a:pt x="75" y="43"/>
                    <a:pt x="75" y="43"/>
                  </a:cubicBezTo>
                  <a:cubicBezTo>
                    <a:pt x="75" y="29"/>
                    <a:pt x="72" y="19"/>
                    <a:pt x="65" y="11"/>
                  </a:cubicBezTo>
                  <a:cubicBezTo>
                    <a:pt x="58" y="4"/>
                    <a:pt x="49" y="0"/>
                    <a:pt x="38" y="0"/>
                  </a:cubicBezTo>
                  <a:close/>
                  <a:moveTo>
                    <a:pt x="15" y="35"/>
                  </a:moveTo>
                  <a:cubicBezTo>
                    <a:pt x="15" y="28"/>
                    <a:pt x="18" y="22"/>
                    <a:pt x="22" y="18"/>
                  </a:cubicBezTo>
                  <a:cubicBezTo>
                    <a:pt x="26" y="14"/>
                    <a:pt x="32" y="12"/>
                    <a:pt x="38" y="12"/>
                  </a:cubicBezTo>
                  <a:cubicBezTo>
                    <a:pt x="45" y="12"/>
                    <a:pt x="51" y="14"/>
                    <a:pt x="55" y="20"/>
                  </a:cubicBezTo>
                  <a:cubicBezTo>
                    <a:pt x="58" y="23"/>
                    <a:pt x="60" y="28"/>
                    <a:pt x="60" y="35"/>
                  </a:cubicBezTo>
                  <a:lnTo>
                    <a:pt x="15" y="35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1049603" name="ïṡļïḍè"/>
            <p:cNvSpPr/>
            <p:nvPr/>
          </p:nvSpPr>
          <p:spPr bwMode="auto">
            <a:xfrm>
              <a:off x="8860091" y="5729878"/>
              <a:ext cx="128588" cy="157163"/>
            </a:xfrm>
            <a:custGeom>
              <a:avLst/>
              <a:gdLst>
                <a:gd name="T0" fmla="*/ 50 w 70"/>
                <a:gd name="T1" fmla="*/ 69 h 85"/>
                <a:gd name="T2" fmla="*/ 36 w 70"/>
                <a:gd name="T3" fmla="*/ 74 h 85"/>
                <a:gd name="T4" fmla="*/ 20 w 70"/>
                <a:gd name="T5" fmla="*/ 66 h 85"/>
                <a:gd name="T6" fmla="*/ 14 w 70"/>
                <a:gd name="T7" fmla="*/ 43 h 85"/>
                <a:gd name="T8" fmla="*/ 20 w 70"/>
                <a:gd name="T9" fmla="*/ 19 h 85"/>
                <a:gd name="T10" fmla="*/ 37 w 70"/>
                <a:gd name="T11" fmla="*/ 12 h 85"/>
                <a:gd name="T12" fmla="*/ 49 w 70"/>
                <a:gd name="T13" fmla="*/ 16 h 85"/>
                <a:gd name="T14" fmla="*/ 56 w 70"/>
                <a:gd name="T15" fmla="*/ 28 h 85"/>
                <a:gd name="T16" fmla="*/ 69 w 70"/>
                <a:gd name="T17" fmla="*/ 26 h 85"/>
                <a:gd name="T18" fmla="*/ 58 w 70"/>
                <a:gd name="T19" fmla="*/ 7 h 85"/>
                <a:gd name="T20" fmla="*/ 37 w 70"/>
                <a:gd name="T21" fmla="*/ 0 h 85"/>
                <a:gd name="T22" fmla="*/ 17 w 70"/>
                <a:gd name="T23" fmla="*/ 5 h 85"/>
                <a:gd name="T24" fmla="*/ 4 w 70"/>
                <a:gd name="T25" fmla="*/ 20 h 85"/>
                <a:gd name="T26" fmla="*/ 0 w 70"/>
                <a:gd name="T27" fmla="*/ 43 h 85"/>
                <a:gd name="T28" fmla="*/ 10 w 70"/>
                <a:gd name="T29" fmla="*/ 74 h 85"/>
                <a:gd name="T30" fmla="*/ 37 w 70"/>
                <a:gd name="T31" fmla="*/ 85 h 85"/>
                <a:gd name="T32" fmla="*/ 59 w 70"/>
                <a:gd name="T33" fmla="*/ 77 h 85"/>
                <a:gd name="T34" fmla="*/ 70 w 70"/>
                <a:gd name="T35" fmla="*/ 55 h 85"/>
                <a:gd name="T36" fmla="*/ 57 w 70"/>
                <a:gd name="T37" fmla="*/ 54 h 85"/>
                <a:gd name="T38" fmla="*/ 50 w 70"/>
                <a:gd name="T39" fmla="*/ 69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70" h="85">
                  <a:moveTo>
                    <a:pt x="50" y="69"/>
                  </a:moveTo>
                  <a:cubicBezTo>
                    <a:pt x="46" y="72"/>
                    <a:pt x="42" y="74"/>
                    <a:pt x="36" y="74"/>
                  </a:cubicBezTo>
                  <a:cubicBezTo>
                    <a:pt x="30" y="74"/>
                    <a:pt x="24" y="71"/>
                    <a:pt x="20" y="66"/>
                  </a:cubicBezTo>
                  <a:cubicBezTo>
                    <a:pt x="16" y="61"/>
                    <a:pt x="14" y="54"/>
                    <a:pt x="14" y="43"/>
                  </a:cubicBezTo>
                  <a:cubicBezTo>
                    <a:pt x="14" y="32"/>
                    <a:pt x="16" y="24"/>
                    <a:pt x="20" y="19"/>
                  </a:cubicBezTo>
                  <a:cubicBezTo>
                    <a:pt x="25" y="14"/>
                    <a:pt x="30" y="12"/>
                    <a:pt x="37" y="12"/>
                  </a:cubicBezTo>
                  <a:cubicBezTo>
                    <a:pt x="42" y="12"/>
                    <a:pt x="46" y="13"/>
                    <a:pt x="49" y="16"/>
                  </a:cubicBezTo>
                  <a:cubicBezTo>
                    <a:pt x="52" y="18"/>
                    <a:pt x="54" y="23"/>
                    <a:pt x="56" y="28"/>
                  </a:cubicBezTo>
                  <a:cubicBezTo>
                    <a:pt x="69" y="26"/>
                    <a:pt x="69" y="26"/>
                    <a:pt x="69" y="26"/>
                  </a:cubicBezTo>
                  <a:cubicBezTo>
                    <a:pt x="67" y="18"/>
                    <a:pt x="64" y="11"/>
                    <a:pt x="58" y="7"/>
                  </a:cubicBezTo>
                  <a:cubicBezTo>
                    <a:pt x="53" y="2"/>
                    <a:pt x="45" y="0"/>
                    <a:pt x="37" y="0"/>
                  </a:cubicBezTo>
                  <a:cubicBezTo>
                    <a:pt x="30" y="0"/>
                    <a:pt x="23" y="2"/>
                    <a:pt x="17" y="5"/>
                  </a:cubicBezTo>
                  <a:cubicBezTo>
                    <a:pt x="11" y="8"/>
                    <a:pt x="7" y="13"/>
                    <a:pt x="4" y="20"/>
                  </a:cubicBezTo>
                  <a:cubicBezTo>
                    <a:pt x="1" y="27"/>
                    <a:pt x="0" y="34"/>
                    <a:pt x="0" y="43"/>
                  </a:cubicBezTo>
                  <a:cubicBezTo>
                    <a:pt x="0" y="57"/>
                    <a:pt x="3" y="67"/>
                    <a:pt x="10" y="74"/>
                  </a:cubicBezTo>
                  <a:cubicBezTo>
                    <a:pt x="16" y="82"/>
                    <a:pt x="25" y="85"/>
                    <a:pt x="37" y="85"/>
                  </a:cubicBezTo>
                  <a:cubicBezTo>
                    <a:pt x="45" y="85"/>
                    <a:pt x="53" y="83"/>
                    <a:pt x="59" y="77"/>
                  </a:cubicBezTo>
                  <a:cubicBezTo>
                    <a:pt x="65" y="72"/>
                    <a:pt x="69" y="65"/>
                    <a:pt x="70" y="55"/>
                  </a:cubicBezTo>
                  <a:cubicBezTo>
                    <a:pt x="57" y="54"/>
                    <a:pt x="57" y="54"/>
                    <a:pt x="57" y="54"/>
                  </a:cubicBezTo>
                  <a:cubicBezTo>
                    <a:pt x="56" y="60"/>
                    <a:pt x="54" y="66"/>
                    <a:pt x="50" y="6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1049604" name="iṩḷídê"/>
            <p:cNvSpPr/>
            <p:nvPr/>
          </p:nvSpPr>
          <p:spPr bwMode="auto">
            <a:xfrm>
              <a:off x="9010903" y="5675903"/>
              <a:ext cx="122238" cy="206375"/>
            </a:xfrm>
            <a:custGeom>
              <a:avLst/>
              <a:gdLst>
                <a:gd name="T0" fmla="*/ 54 w 66"/>
                <a:gd name="T1" fmla="*/ 33 h 112"/>
                <a:gd name="T2" fmla="*/ 38 w 66"/>
                <a:gd name="T3" fmla="*/ 29 h 112"/>
                <a:gd name="T4" fmla="*/ 14 w 66"/>
                <a:gd name="T5" fmla="*/ 40 h 112"/>
                <a:gd name="T6" fmla="*/ 14 w 66"/>
                <a:gd name="T7" fmla="*/ 0 h 112"/>
                <a:gd name="T8" fmla="*/ 0 w 66"/>
                <a:gd name="T9" fmla="*/ 0 h 112"/>
                <a:gd name="T10" fmla="*/ 0 w 66"/>
                <a:gd name="T11" fmla="*/ 112 h 112"/>
                <a:gd name="T12" fmla="*/ 14 w 66"/>
                <a:gd name="T13" fmla="*/ 112 h 112"/>
                <a:gd name="T14" fmla="*/ 14 w 66"/>
                <a:gd name="T15" fmla="*/ 68 h 112"/>
                <a:gd name="T16" fmla="*/ 16 w 66"/>
                <a:gd name="T17" fmla="*/ 53 h 112"/>
                <a:gd name="T18" fmla="*/ 24 w 66"/>
                <a:gd name="T19" fmla="*/ 44 h 112"/>
                <a:gd name="T20" fmla="*/ 35 w 66"/>
                <a:gd name="T21" fmla="*/ 41 h 112"/>
                <a:gd name="T22" fmla="*/ 48 w 66"/>
                <a:gd name="T23" fmla="*/ 46 h 112"/>
                <a:gd name="T24" fmla="*/ 53 w 66"/>
                <a:gd name="T25" fmla="*/ 61 h 112"/>
                <a:gd name="T26" fmla="*/ 53 w 66"/>
                <a:gd name="T27" fmla="*/ 112 h 112"/>
                <a:gd name="T28" fmla="*/ 66 w 66"/>
                <a:gd name="T29" fmla="*/ 112 h 112"/>
                <a:gd name="T30" fmla="*/ 66 w 66"/>
                <a:gd name="T31" fmla="*/ 61 h 112"/>
                <a:gd name="T32" fmla="*/ 63 w 66"/>
                <a:gd name="T33" fmla="*/ 43 h 112"/>
                <a:gd name="T34" fmla="*/ 54 w 66"/>
                <a:gd name="T35" fmla="*/ 33 h 1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66" h="112">
                  <a:moveTo>
                    <a:pt x="54" y="33"/>
                  </a:moveTo>
                  <a:cubicBezTo>
                    <a:pt x="50" y="30"/>
                    <a:pt x="44" y="29"/>
                    <a:pt x="38" y="29"/>
                  </a:cubicBezTo>
                  <a:cubicBezTo>
                    <a:pt x="28" y="29"/>
                    <a:pt x="20" y="33"/>
                    <a:pt x="14" y="40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12"/>
                    <a:pt x="0" y="112"/>
                    <a:pt x="0" y="112"/>
                  </a:cubicBezTo>
                  <a:cubicBezTo>
                    <a:pt x="14" y="112"/>
                    <a:pt x="14" y="112"/>
                    <a:pt x="14" y="112"/>
                  </a:cubicBezTo>
                  <a:cubicBezTo>
                    <a:pt x="14" y="68"/>
                    <a:pt x="14" y="68"/>
                    <a:pt x="14" y="68"/>
                  </a:cubicBezTo>
                  <a:cubicBezTo>
                    <a:pt x="14" y="61"/>
                    <a:pt x="15" y="56"/>
                    <a:pt x="16" y="53"/>
                  </a:cubicBezTo>
                  <a:cubicBezTo>
                    <a:pt x="18" y="49"/>
                    <a:pt x="20" y="46"/>
                    <a:pt x="24" y="44"/>
                  </a:cubicBezTo>
                  <a:cubicBezTo>
                    <a:pt x="28" y="42"/>
                    <a:pt x="31" y="41"/>
                    <a:pt x="35" y="41"/>
                  </a:cubicBezTo>
                  <a:cubicBezTo>
                    <a:pt x="41" y="41"/>
                    <a:pt x="45" y="43"/>
                    <a:pt x="48" y="46"/>
                  </a:cubicBezTo>
                  <a:cubicBezTo>
                    <a:pt x="51" y="49"/>
                    <a:pt x="53" y="54"/>
                    <a:pt x="53" y="61"/>
                  </a:cubicBezTo>
                  <a:cubicBezTo>
                    <a:pt x="53" y="112"/>
                    <a:pt x="53" y="112"/>
                    <a:pt x="53" y="112"/>
                  </a:cubicBezTo>
                  <a:cubicBezTo>
                    <a:pt x="66" y="112"/>
                    <a:pt x="66" y="112"/>
                    <a:pt x="66" y="112"/>
                  </a:cubicBezTo>
                  <a:cubicBezTo>
                    <a:pt x="66" y="61"/>
                    <a:pt x="66" y="61"/>
                    <a:pt x="66" y="61"/>
                  </a:cubicBezTo>
                  <a:cubicBezTo>
                    <a:pt x="66" y="53"/>
                    <a:pt x="65" y="47"/>
                    <a:pt x="63" y="43"/>
                  </a:cubicBezTo>
                  <a:cubicBezTo>
                    <a:pt x="62" y="38"/>
                    <a:pt x="58" y="35"/>
                    <a:pt x="54" y="33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1049605" name="íslîḍe"/>
            <p:cNvSpPr/>
            <p:nvPr/>
          </p:nvSpPr>
          <p:spPr bwMode="auto">
            <a:xfrm>
              <a:off x="9171241" y="5729878"/>
              <a:ext cx="122238" cy="152400"/>
            </a:xfrm>
            <a:custGeom>
              <a:avLst/>
              <a:gdLst>
                <a:gd name="T0" fmla="*/ 61 w 66"/>
                <a:gd name="T1" fmla="*/ 10 h 83"/>
                <a:gd name="T2" fmla="*/ 52 w 66"/>
                <a:gd name="T3" fmla="*/ 3 h 83"/>
                <a:gd name="T4" fmla="*/ 39 w 66"/>
                <a:gd name="T5" fmla="*/ 0 h 83"/>
                <a:gd name="T6" fmla="*/ 13 w 66"/>
                <a:gd name="T7" fmla="*/ 14 h 83"/>
                <a:gd name="T8" fmla="*/ 13 w 66"/>
                <a:gd name="T9" fmla="*/ 2 h 83"/>
                <a:gd name="T10" fmla="*/ 0 w 66"/>
                <a:gd name="T11" fmla="*/ 2 h 83"/>
                <a:gd name="T12" fmla="*/ 0 w 66"/>
                <a:gd name="T13" fmla="*/ 83 h 83"/>
                <a:gd name="T14" fmla="*/ 14 w 66"/>
                <a:gd name="T15" fmla="*/ 83 h 83"/>
                <a:gd name="T16" fmla="*/ 14 w 66"/>
                <a:gd name="T17" fmla="*/ 39 h 83"/>
                <a:gd name="T18" fmla="*/ 20 w 66"/>
                <a:gd name="T19" fmla="*/ 18 h 83"/>
                <a:gd name="T20" fmla="*/ 36 w 66"/>
                <a:gd name="T21" fmla="*/ 12 h 83"/>
                <a:gd name="T22" fmla="*/ 45 w 66"/>
                <a:gd name="T23" fmla="*/ 15 h 83"/>
                <a:gd name="T24" fmla="*/ 51 w 66"/>
                <a:gd name="T25" fmla="*/ 21 h 83"/>
                <a:gd name="T26" fmla="*/ 53 w 66"/>
                <a:gd name="T27" fmla="*/ 34 h 83"/>
                <a:gd name="T28" fmla="*/ 53 w 66"/>
                <a:gd name="T29" fmla="*/ 83 h 83"/>
                <a:gd name="T30" fmla="*/ 66 w 66"/>
                <a:gd name="T31" fmla="*/ 83 h 83"/>
                <a:gd name="T32" fmla="*/ 66 w 66"/>
                <a:gd name="T33" fmla="*/ 33 h 83"/>
                <a:gd name="T34" fmla="*/ 66 w 66"/>
                <a:gd name="T35" fmla="*/ 20 h 83"/>
                <a:gd name="T36" fmla="*/ 61 w 66"/>
                <a:gd name="T37" fmla="*/ 10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6" h="83">
                  <a:moveTo>
                    <a:pt x="61" y="10"/>
                  </a:moveTo>
                  <a:cubicBezTo>
                    <a:pt x="59" y="7"/>
                    <a:pt x="56" y="5"/>
                    <a:pt x="52" y="3"/>
                  </a:cubicBezTo>
                  <a:cubicBezTo>
                    <a:pt x="48" y="1"/>
                    <a:pt x="43" y="0"/>
                    <a:pt x="39" y="0"/>
                  </a:cubicBezTo>
                  <a:cubicBezTo>
                    <a:pt x="27" y="0"/>
                    <a:pt x="19" y="5"/>
                    <a:pt x="13" y="14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83"/>
                    <a:pt x="0" y="83"/>
                    <a:pt x="0" y="83"/>
                  </a:cubicBezTo>
                  <a:cubicBezTo>
                    <a:pt x="14" y="83"/>
                    <a:pt x="14" y="83"/>
                    <a:pt x="14" y="83"/>
                  </a:cubicBezTo>
                  <a:cubicBezTo>
                    <a:pt x="14" y="39"/>
                    <a:pt x="14" y="39"/>
                    <a:pt x="14" y="39"/>
                  </a:cubicBezTo>
                  <a:cubicBezTo>
                    <a:pt x="14" y="29"/>
                    <a:pt x="16" y="21"/>
                    <a:pt x="20" y="18"/>
                  </a:cubicBezTo>
                  <a:cubicBezTo>
                    <a:pt x="25" y="14"/>
                    <a:pt x="30" y="12"/>
                    <a:pt x="36" y="12"/>
                  </a:cubicBezTo>
                  <a:cubicBezTo>
                    <a:pt x="39" y="12"/>
                    <a:pt x="43" y="13"/>
                    <a:pt x="45" y="15"/>
                  </a:cubicBezTo>
                  <a:cubicBezTo>
                    <a:pt x="48" y="16"/>
                    <a:pt x="50" y="19"/>
                    <a:pt x="51" y="21"/>
                  </a:cubicBezTo>
                  <a:cubicBezTo>
                    <a:pt x="52" y="24"/>
                    <a:pt x="53" y="28"/>
                    <a:pt x="53" y="34"/>
                  </a:cubicBezTo>
                  <a:cubicBezTo>
                    <a:pt x="53" y="83"/>
                    <a:pt x="53" y="83"/>
                    <a:pt x="53" y="83"/>
                  </a:cubicBezTo>
                  <a:cubicBezTo>
                    <a:pt x="66" y="83"/>
                    <a:pt x="66" y="83"/>
                    <a:pt x="66" y="83"/>
                  </a:cubicBezTo>
                  <a:cubicBezTo>
                    <a:pt x="66" y="33"/>
                    <a:pt x="66" y="33"/>
                    <a:pt x="66" y="33"/>
                  </a:cubicBezTo>
                  <a:cubicBezTo>
                    <a:pt x="66" y="27"/>
                    <a:pt x="66" y="23"/>
                    <a:pt x="66" y="20"/>
                  </a:cubicBezTo>
                  <a:cubicBezTo>
                    <a:pt x="65" y="16"/>
                    <a:pt x="63" y="13"/>
                    <a:pt x="61" y="1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1049606" name="ïṣľíḓè"/>
            <p:cNvSpPr/>
            <p:nvPr/>
          </p:nvSpPr>
          <p:spPr bwMode="auto">
            <a:xfrm>
              <a:off x="9322053" y="5729878"/>
              <a:ext cx="142875" cy="157163"/>
            </a:xfrm>
            <a:custGeom>
              <a:avLst/>
              <a:gdLst>
                <a:gd name="T0" fmla="*/ 38 w 77"/>
                <a:gd name="T1" fmla="*/ 0 h 85"/>
                <a:gd name="T2" fmla="*/ 13 w 77"/>
                <a:gd name="T3" fmla="*/ 9 h 85"/>
                <a:gd name="T4" fmla="*/ 0 w 77"/>
                <a:gd name="T5" fmla="*/ 43 h 85"/>
                <a:gd name="T6" fmla="*/ 11 w 77"/>
                <a:gd name="T7" fmla="*/ 74 h 85"/>
                <a:gd name="T8" fmla="*/ 38 w 77"/>
                <a:gd name="T9" fmla="*/ 85 h 85"/>
                <a:gd name="T10" fmla="*/ 58 w 77"/>
                <a:gd name="T11" fmla="*/ 80 h 85"/>
                <a:gd name="T12" fmla="*/ 72 w 77"/>
                <a:gd name="T13" fmla="*/ 66 h 85"/>
                <a:gd name="T14" fmla="*/ 77 w 77"/>
                <a:gd name="T15" fmla="*/ 42 h 85"/>
                <a:gd name="T16" fmla="*/ 66 w 77"/>
                <a:gd name="T17" fmla="*/ 11 h 85"/>
                <a:gd name="T18" fmla="*/ 38 w 77"/>
                <a:gd name="T19" fmla="*/ 0 h 85"/>
                <a:gd name="T20" fmla="*/ 56 w 77"/>
                <a:gd name="T21" fmla="*/ 66 h 85"/>
                <a:gd name="T22" fmla="*/ 38 w 77"/>
                <a:gd name="T23" fmla="*/ 74 h 85"/>
                <a:gd name="T24" fmla="*/ 21 w 77"/>
                <a:gd name="T25" fmla="*/ 66 h 85"/>
                <a:gd name="T26" fmla="*/ 15 w 77"/>
                <a:gd name="T27" fmla="*/ 43 h 85"/>
                <a:gd name="T28" fmla="*/ 21 w 77"/>
                <a:gd name="T29" fmla="*/ 19 h 85"/>
                <a:gd name="T30" fmla="*/ 38 w 77"/>
                <a:gd name="T31" fmla="*/ 12 h 85"/>
                <a:gd name="T32" fmla="*/ 56 w 77"/>
                <a:gd name="T33" fmla="*/ 19 h 85"/>
                <a:gd name="T34" fmla="*/ 62 w 77"/>
                <a:gd name="T35" fmla="*/ 42 h 85"/>
                <a:gd name="T36" fmla="*/ 56 w 77"/>
                <a:gd name="T37" fmla="*/ 66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77" h="85">
                  <a:moveTo>
                    <a:pt x="38" y="0"/>
                  </a:moveTo>
                  <a:cubicBezTo>
                    <a:pt x="28" y="0"/>
                    <a:pt x="20" y="3"/>
                    <a:pt x="13" y="9"/>
                  </a:cubicBezTo>
                  <a:cubicBezTo>
                    <a:pt x="5" y="16"/>
                    <a:pt x="0" y="28"/>
                    <a:pt x="0" y="43"/>
                  </a:cubicBezTo>
                  <a:cubicBezTo>
                    <a:pt x="0" y="56"/>
                    <a:pt x="4" y="67"/>
                    <a:pt x="11" y="74"/>
                  </a:cubicBezTo>
                  <a:cubicBezTo>
                    <a:pt x="18" y="82"/>
                    <a:pt x="27" y="85"/>
                    <a:pt x="38" y="85"/>
                  </a:cubicBezTo>
                  <a:cubicBezTo>
                    <a:pt x="46" y="85"/>
                    <a:pt x="52" y="84"/>
                    <a:pt x="58" y="80"/>
                  </a:cubicBezTo>
                  <a:cubicBezTo>
                    <a:pt x="64" y="77"/>
                    <a:pt x="69" y="72"/>
                    <a:pt x="72" y="66"/>
                  </a:cubicBezTo>
                  <a:cubicBezTo>
                    <a:pt x="75" y="60"/>
                    <a:pt x="77" y="52"/>
                    <a:pt x="77" y="42"/>
                  </a:cubicBezTo>
                  <a:cubicBezTo>
                    <a:pt x="77" y="29"/>
                    <a:pt x="73" y="19"/>
                    <a:pt x="66" y="11"/>
                  </a:cubicBezTo>
                  <a:cubicBezTo>
                    <a:pt x="59" y="4"/>
                    <a:pt x="50" y="0"/>
                    <a:pt x="38" y="0"/>
                  </a:cubicBezTo>
                  <a:close/>
                  <a:moveTo>
                    <a:pt x="56" y="66"/>
                  </a:moveTo>
                  <a:cubicBezTo>
                    <a:pt x="51" y="71"/>
                    <a:pt x="45" y="74"/>
                    <a:pt x="38" y="74"/>
                  </a:cubicBezTo>
                  <a:cubicBezTo>
                    <a:pt x="32" y="74"/>
                    <a:pt x="26" y="71"/>
                    <a:pt x="21" y="66"/>
                  </a:cubicBezTo>
                  <a:cubicBezTo>
                    <a:pt x="17" y="61"/>
                    <a:pt x="15" y="53"/>
                    <a:pt x="15" y="43"/>
                  </a:cubicBezTo>
                  <a:cubicBezTo>
                    <a:pt x="15" y="32"/>
                    <a:pt x="17" y="24"/>
                    <a:pt x="21" y="19"/>
                  </a:cubicBezTo>
                  <a:cubicBezTo>
                    <a:pt x="26" y="14"/>
                    <a:pt x="32" y="12"/>
                    <a:pt x="38" y="12"/>
                  </a:cubicBezTo>
                  <a:cubicBezTo>
                    <a:pt x="45" y="12"/>
                    <a:pt x="51" y="14"/>
                    <a:pt x="56" y="19"/>
                  </a:cubicBezTo>
                  <a:cubicBezTo>
                    <a:pt x="60" y="25"/>
                    <a:pt x="62" y="32"/>
                    <a:pt x="62" y="42"/>
                  </a:cubicBezTo>
                  <a:cubicBezTo>
                    <a:pt x="62" y="53"/>
                    <a:pt x="60" y="61"/>
                    <a:pt x="56" y="66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1049607" name="îš1ïḋé"/>
            <p:cNvSpPr/>
            <p:nvPr/>
          </p:nvSpPr>
          <p:spPr bwMode="auto">
            <a:xfrm>
              <a:off x="9491916" y="5675903"/>
              <a:ext cx="25400" cy="206375"/>
            </a:xfrm>
            <a:prstGeom prst="rect">
              <a:avLst/>
            </a:pr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1049608" name="íŝḻíḍê"/>
            <p:cNvSpPr/>
            <p:nvPr/>
          </p:nvSpPr>
          <p:spPr bwMode="auto">
            <a:xfrm>
              <a:off x="9547478" y="5729878"/>
              <a:ext cx="141288" cy="157163"/>
            </a:xfrm>
            <a:custGeom>
              <a:avLst/>
              <a:gdLst>
                <a:gd name="T0" fmla="*/ 38 w 77"/>
                <a:gd name="T1" fmla="*/ 0 h 85"/>
                <a:gd name="T2" fmla="*/ 13 w 77"/>
                <a:gd name="T3" fmla="*/ 9 h 85"/>
                <a:gd name="T4" fmla="*/ 0 w 77"/>
                <a:gd name="T5" fmla="*/ 43 h 85"/>
                <a:gd name="T6" fmla="*/ 11 w 77"/>
                <a:gd name="T7" fmla="*/ 74 h 85"/>
                <a:gd name="T8" fmla="*/ 38 w 77"/>
                <a:gd name="T9" fmla="*/ 85 h 85"/>
                <a:gd name="T10" fmla="*/ 58 w 77"/>
                <a:gd name="T11" fmla="*/ 80 h 85"/>
                <a:gd name="T12" fmla="*/ 72 w 77"/>
                <a:gd name="T13" fmla="*/ 66 h 85"/>
                <a:gd name="T14" fmla="*/ 77 w 77"/>
                <a:gd name="T15" fmla="*/ 42 h 85"/>
                <a:gd name="T16" fmla="*/ 66 w 77"/>
                <a:gd name="T17" fmla="*/ 11 h 85"/>
                <a:gd name="T18" fmla="*/ 38 w 77"/>
                <a:gd name="T19" fmla="*/ 0 h 85"/>
                <a:gd name="T20" fmla="*/ 56 w 77"/>
                <a:gd name="T21" fmla="*/ 66 h 85"/>
                <a:gd name="T22" fmla="*/ 38 w 77"/>
                <a:gd name="T23" fmla="*/ 74 h 85"/>
                <a:gd name="T24" fmla="*/ 21 w 77"/>
                <a:gd name="T25" fmla="*/ 66 h 85"/>
                <a:gd name="T26" fmla="*/ 15 w 77"/>
                <a:gd name="T27" fmla="*/ 43 h 85"/>
                <a:gd name="T28" fmla="*/ 21 w 77"/>
                <a:gd name="T29" fmla="*/ 19 h 85"/>
                <a:gd name="T30" fmla="*/ 38 w 77"/>
                <a:gd name="T31" fmla="*/ 12 h 85"/>
                <a:gd name="T32" fmla="*/ 56 w 77"/>
                <a:gd name="T33" fmla="*/ 19 h 85"/>
                <a:gd name="T34" fmla="*/ 62 w 77"/>
                <a:gd name="T35" fmla="*/ 42 h 85"/>
                <a:gd name="T36" fmla="*/ 56 w 77"/>
                <a:gd name="T37" fmla="*/ 66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77" h="85">
                  <a:moveTo>
                    <a:pt x="38" y="0"/>
                  </a:moveTo>
                  <a:cubicBezTo>
                    <a:pt x="28" y="0"/>
                    <a:pt x="20" y="3"/>
                    <a:pt x="13" y="9"/>
                  </a:cubicBezTo>
                  <a:cubicBezTo>
                    <a:pt x="5" y="16"/>
                    <a:pt x="0" y="28"/>
                    <a:pt x="0" y="43"/>
                  </a:cubicBezTo>
                  <a:cubicBezTo>
                    <a:pt x="0" y="56"/>
                    <a:pt x="4" y="67"/>
                    <a:pt x="11" y="74"/>
                  </a:cubicBezTo>
                  <a:cubicBezTo>
                    <a:pt x="18" y="82"/>
                    <a:pt x="27" y="85"/>
                    <a:pt x="38" y="85"/>
                  </a:cubicBezTo>
                  <a:cubicBezTo>
                    <a:pt x="46" y="85"/>
                    <a:pt x="52" y="84"/>
                    <a:pt x="58" y="80"/>
                  </a:cubicBezTo>
                  <a:cubicBezTo>
                    <a:pt x="64" y="77"/>
                    <a:pt x="69" y="72"/>
                    <a:pt x="72" y="66"/>
                  </a:cubicBezTo>
                  <a:cubicBezTo>
                    <a:pt x="75" y="60"/>
                    <a:pt x="77" y="52"/>
                    <a:pt x="77" y="42"/>
                  </a:cubicBezTo>
                  <a:cubicBezTo>
                    <a:pt x="77" y="29"/>
                    <a:pt x="73" y="19"/>
                    <a:pt x="66" y="11"/>
                  </a:cubicBezTo>
                  <a:cubicBezTo>
                    <a:pt x="59" y="4"/>
                    <a:pt x="50" y="0"/>
                    <a:pt x="38" y="0"/>
                  </a:cubicBezTo>
                  <a:close/>
                  <a:moveTo>
                    <a:pt x="56" y="66"/>
                  </a:moveTo>
                  <a:cubicBezTo>
                    <a:pt x="51" y="71"/>
                    <a:pt x="45" y="74"/>
                    <a:pt x="38" y="74"/>
                  </a:cubicBezTo>
                  <a:cubicBezTo>
                    <a:pt x="32" y="74"/>
                    <a:pt x="26" y="71"/>
                    <a:pt x="21" y="66"/>
                  </a:cubicBezTo>
                  <a:cubicBezTo>
                    <a:pt x="17" y="61"/>
                    <a:pt x="15" y="53"/>
                    <a:pt x="15" y="43"/>
                  </a:cubicBezTo>
                  <a:cubicBezTo>
                    <a:pt x="15" y="32"/>
                    <a:pt x="17" y="24"/>
                    <a:pt x="21" y="19"/>
                  </a:cubicBezTo>
                  <a:cubicBezTo>
                    <a:pt x="26" y="14"/>
                    <a:pt x="32" y="12"/>
                    <a:pt x="38" y="12"/>
                  </a:cubicBezTo>
                  <a:cubicBezTo>
                    <a:pt x="45" y="12"/>
                    <a:pt x="51" y="14"/>
                    <a:pt x="56" y="19"/>
                  </a:cubicBezTo>
                  <a:cubicBezTo>
                    <a:pt x="60" y="25"/>
                    <a:pt x="62" y="32"/>
                    <a:pt x="62" y="42"/>
                  </a:cubicBezTo>
                  <a:cubicBezTo>
                    <a:pt x="62" y="53"/>
                    <a:pt x="60" y="61"/>
                    <a:pt x="56" y="66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1049609" name="íṧḷíḓé"/>
            <p:cNvSpPr/>
            <p:nvPr/>
          </p:nvSpPr>
          <p:spPr bwMode="auto">
            <a:xfrm>
              <a:off x="9707816" y="5729878"/>
              <a:ext cx="131763" cy="214313"/>
            </a:xfrm>
            <a:custGeom>
              <a:avLst/>
              <a:gdLst>
                <a:gd name="T0" fmla="*/ 59 w 72"/>
                <a:gd name="T1" fmla="*/ 12 h 116"/>
                <a:gd name="T2" fmla="*/ 36 w 72"/>
                <a:gd name="T3" fmla="*/ 0 h 116"/>
                <a:gd name="T4" fmla="*/ 17 w 72"/>
                <a:gd name="T5" fmla="*/ 6 h 116"/>
                <a:gd name="T6" fmla="*/ 5 w 72"/>
                <a:gd name="T7" fmla="*/ 21 h 116"/>
                <a:gd name="T8" fmla="*/ 0 w 72"/>
                <a:gd name="T9" fmla="*/ 42 h 116"/>
                <a:gd name="T10" fmla="*/ 10 w 72"/>
                <a:gd name="T11" fmla="*/ 71 h 116"/>
                <a:gd name="T12" fmla="*/ 36 w 72"/>
                <a:gd name="T13" fmla="*/ 83 h 116"/>
                <a:gd name="T14" fmla="*/ 58 w 72"/>
                <a:gd name="T15" fmla="*/ 73 h 116"/>
                <a:gd name="T16" fmla="*/ 57 w 72"/>
                <a:gd name="T17" fmla="*/ 90 h 116"/>
                <a:gd name="T18" fmla="*/ 50 w 72"/>
                <a:gd name="T19" fmla="*/ 101 h 116"/>
                <a:gd name="T20" fmla="*/ 35 w 72"/>
                <a:gd name="T21" fmla="*/ 105 h 116"/>
                <a:gd name="T22" fmla="*/ 21 w 72"/>
                <a:gd name="T23" fmla="*/ 101 h 116"/>
                <a:gd name="T24" fmla="*/ 17 w 72"/>
                <a:gd name="T25" fmla="*/ 92 h 116"/>
                <a:gd name="T26" fmla="*/ 3 w 72"/>
                <a:gd name="T27" fmla="*/ 90 h 116"/>
                <a:gd name="T28" fmla="*/ 12 w 72"/>
                <a:gd name="T29" fmla="*/ 110 h 116"/>
                <a:gd name="T30" fmla="*/ 35 w 72"/>
                <a:gd name="T31" fmla="*/ 116 h 116"/>
                <a:gd name="T32" fmla="*/ 56 w 72"/>
                <a:gd name="T33" fmla="*/ 112 h 116"/>
                <a:gd name="T34" fmla="*/ 68 w 72"/>
                <a:gd name="T35" fmla="*/ 99 h 116"/>
                <a:gd name="T36" fmla="*/ 72 w 72"/>
                <a:gd name="T37" fmla="*/ 72 h 116"/>
                <a:gd name="T38" fmla="*/ 72 w 72"/>
                <a:gd name="T39" fmla="*/ 2 h 116"/>
                <a:gd name="T40" fmla="*/ 59 w 72"/>
                <a:gd name="T41" fmla="*/ 2 h 116"/>
                <a:gd name="T42" fmla="*/ 59 w 72"/>
                <a:gd name="T43" fmla="*/ 12 h 116"/>
                <a:gd name="T44" fmla="*/ 53 w 72"/>
                <a:gd name="T45" fmla="*/ 65 h 116"/>
                <a:gd name="T46" fmla="*/ 37 w 72"/>
                <a:gd name="T47" fmla="*/ 72 h 116"/>
                <a:gd name="T48" fmla="*/ 21 w 72"/>
                <a:gd name="T49" fmla="*/ 65 h 116"/>
                <a:gd name="T50" fmla="*/ 15 w 72"/>
                <a:gd name="T51" fmla="*/ 41 h 116"/>
                <a:gd name="T52" fmla="*/ 21 w 72"/>
                <a:gd name="T53" fmla="*/ 19 h 116"/>
                <a:gd name="T54" fmla="*/ 37 w 72"/>
                <a:gd name="T55" fmla="*/ 12 h 116"/>
                <a:gd name="T56" fmla="*/ 53 w 72"/>
                <a:gd name="T57" fmla="*/ 19 h 116"/>
                <a:gd name="T58" fmla="*/ 59 w 72"/>
                <a:gd name="T59" fmla="*/ 42 h 116"/>
                <a:gd name="T60" fmla="*/ 53 w 72"/>
                <a:gd name="T61" fmla="*/ 65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72" h="116">
                  <a:moveTo>
                    <a:pt x="59" y="12"/>
                  </a:moveTo>
                  <a:cubicBezTo>
                    <a:pt x="53" y="4"/>
                    <a:pt x="45" y="0"/>
                    <a:pt x="36" y="0"/>
                  </a:cubicBezTo>
                  <a:cubicBezTo>
                    <a:pt x="28" y="0"/>
                    <a:pt x="22" y="2"/>
                    <a:pt x="17" y="6"/>
                  </a:cubicBezTo>
                  <a:cubicBezTo>
                    <a:pt x="11" y="9"/>
                    <a:pt x="7" y="14"/>
                    <a:pt x="5" y="21"/>
                  </a:cubicBezTo>
                  <a:cubicBezTo>
                    <a:pt x="2" y="27"/>
                    <a:pt x="0" y="34"/>
                    <a:pt x="0" y="42"/>
                  </a:cubicBezTo>
                  <a:cubicBezTo>
                    <a:pt x="0" y="53"/>
                    <a:pt x="3" y="63"/>
                    <a:pt x="10" y="71"/>
                  </a:cubicBezTo>
                  <a:cubicBezTo>
                    <a:pt x="16" y="79"/>
                    <a:pt x="24" y="83"/>
                    <a:pt x="36" y="83"/>
                  </a:cubicBezTo>
                  <a:cubicBezTo>
                    <a:pt x="45" y="83"/>
                    <a:pt x="52" y="80"/>
                    <a:pt x="58" y="73"/>
                  </a:cubicBezTo>
                  <a:cubicBezTo>
                    <a:pt x="58" y="82"/>
                    <a:pt x="58" y="88"/>
                    <a:pt x="57" y="90"/>
                  </a:cubicBezTo>
                  <a:cubicBezTo>
                    <a:pt x="56" y="95"/>
                    <a:pt x="53" y="99"/>
                    <a:pt x="50" y="101"/>
                  </a:cubicBezTo>
                  <a:cubicBezTo>
                    <a:pt x="47" y="104"/>
                    <a:pt x="42" y="105"/>
                    <a:pt x="35" y="105"/>
                  </a:cubicBezTo>
                  <a:cubicBezTo>
                    <a:pt x="29" y="105"/>
                    <a:pt x="25" y="104"/>
                    <a:pt x="21" y="101"/>
                  </a:cubicBezTo>
                  <a:cubicBezTo>
                    <a:pt x="19" y="99"/>
                    <a:pt x="17" y="96"/>
                    <a:pt x="17" y="92"/>
                  </a:cubicBezTo>
                  <a:cubicBezTo>
                    <a:pt x="3" y="90"/>
                    <a:pt x="3" y="90"/>
                    <a:pt x="3" y="90"/>
                  </a:cubicBezTo>
                  <a:cubicBezTo>
                    <a:pt x="3" y="99"/>
                    <a:pt x="6" y="105"/>
                    <a:pt x="12" y="110"/>
                  </a:cubicBezTo>
                  <a:cubicBezTo>
                    <a:pt x="18" y="114"/>
                    <a:pt x="26" y="116"/>
                    <a:pt x="35" y="116"/>
                  </a:cubicBezTo>
                  <a:cubicBezTo>
                    <a:pt x="43" y="116"/>
                    <a:pt x="50" y="115"/>
                    <a:pt x="56" y="112"/>
                  </a:cubicBezTo>
                  <a:cubicBezTo>
                    <a:pt x="62" y="109"/>
                    <a:pt x="66" y="104"/>
                    <a:pt x="68" y="99"/>
                  </a:cubicBezTo>
                  <a:cubicBezTo>
                    <a:pt x="71" y="94"/>
                    <a:pt x="72" y="85"/>
                    <a:pt x="72" y="72"/>
                  </a:cubicBezTo>
                  <a:cubicBezTo>
                    <a:pt x="72" y="2"/>
                    <a:pt x="72" y="2"/>
                    <a:pt x="72" y="2"/>
                  </a:cubicBezTo>
                  <a:cubicBezTo>
                    <a:pt x="59" y="2"/>
                    <a:pt x="59" y="2"/>
                    <a:pt x="59" y="2"/>
                  </a:cubicBezTo>
                  <a:lnTo>
                    <a:pt x="59" y="12"/>
                  </a:lnTo>
                  <a:close/>
                  <a:moveTo>
                    <a:pt x="53" y="65"/>
                  </a:moveTo>
                  <a:cubicBezTo>
                    <a:pt x="48" y="69"/>
                    <a:pt x="43" y="72"/>
                    <a:pt x="37" y="72"/>
                  </a:cubicBezTo>
                  <a:cubicBezTo>
                    <a:pt x="30" y="72"/>
                    <a:pt x="25" y="69"/>
                    <a:pt x="21" y="65"/>
                  </a:cubicBezTo>
                  <a:cubicBezTo>
                    <a:pt x="17" y="60"/>
                    <a:pt x="15" y="52"/>
                    <a:pt x="15" y="41"/>
                  </a:cubicBezTo>
                  <a:cubicBezTo>
                    <a:pt x="15" y="31"/>
                    <a:pt x="17" y="24"/>
                    <a:pt x="21" y="19"/>
                  </a:cubicBezTo>
                  <a:cubicBezTo>
                    <a:pt x="25" y="14"/>
                    <a:pt x="30" y="12"/>
                    <a:pt x="37" y="12"/>
                  </a:cubicBezTo>
                  <a:cubicBezTo>
                    <a:pt x="43" y="12"/>
                    <a:pt x="48" y="14"/>
                    <a:pt x="53" y="19"/>
                  </a:cubicBezTo>
                  <a:cubicBezTo>
                    <a:pt x="57" y="24"/>
                    <a:pt x="59" y="32"/>
                    <a:pt x="59" y="42"/>
                  </a:cubicBezTo>
                  <a:cubicBezTo>
                    <a:pt x="59" y="52"/>
                    <a:pt x="57" y="60"/>
                    <a:pt x="53" y="6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1049610" name="îŝlíde"/>
            <p:cNvSpPr/>
            <p:nvPr/>
          </p:nvSpPr>
          <p:spPr bwMode="auto">
            <a:xfrm>
              <a:off x="9864978" y="5733053"/>
              <a:ext cx="138113" cy="211138"/>
            </a:xfrm>
            <a:custGeom>
              <a:avLst/>
              <a:gdLst>
                <a:gd name="T0" fmla="*/ 43 w 75"/>
                <a:gd name="T1" fmla="*/ 47 h 114"/>
                <a:gd name="T2" fmla="*/ 38 w 75"/>
                <a:gd name="T3" fmla="*/ 66 h 114"/>
                <a:gd name="T4" fmla="*/ 32 w 75"/>
                <a:gd name="T5" fmla="*/ 47 h 114"/>
                <a:gd name="T6" fmla="*/ 15 w 75"/>
                <a:gd name="T7" fmla="*/ 0 h 114"/>
                <a:gd name="T8" fmla="*/ 0 w 75"/>
                <a:gd name="T9" fmla="*/ 0 h 114"/>
                <a:gd name="T10" fmla="*/ 31 w 75"/>
                <a:gd name="T11" fmla="*/ 81 h 114"/>
                <a:gd name="T12" fmla="*/ 30 w 75"/>
                <a:gd name="T13" fmla="*/ 85 h 114"/>
                <a:gd name="T14" fmla="*/ 25 w 75"/>
                <a:gd name="T15" fmla="*/ 95 h 114"/>
                <a:gd name="T16" fmla="*/ 21 w 75"/>
                <a:gd name="T17" fmla="*/ 99 h 114"/>
                <a:gd name="T18" fmla="*/ 14 w 75"/>
                <a:gd name="T19" fmla="*/ 101 h 114"/>
                <a:gd name="T20" fmla="*/ 6 w 75"/>
                <a:gd name="T21" fmla="*/ 100 h 114"/>
                <a:gd name="T22" fmla="*/ 7 w 75"/>
                <a:gd name="T23" fmla="*/ 113 h 114"/>
                <a:gd name="T24" fmla="*/ 16 w 75"/>
                <a:gd name="T25" fmla="*/ 114 h 114"/>
                <a:gd name="T26" fmla="*/ 27 w 75"/>
                <a:gd name="T27" fmla="*/ 111 h 114"/>
                <a:gd name="T28" fmla="*/ 36 w 75"/>
                <a:gd name="T29" fmla="*/ 101 h 114"/>
                <a:gd name="T30" fmla="*/ 44 w 75"/>
                <a:gd name="T31" fmla="*/ 83 h 114"/>
                <a:gd name="T32" fmla="*/ 75 w 75"/>
                <a:gd name="T33" fmla="*/ 0 h 114"/>
                <a:gd name="T34" fmla="*/ 61 w 75"/>
                <a:gd name="T35" fmla="*/ 0 h 114"/>
                <a:gd name="T36" fmla="*/ 43 w 75"/>
                <a:gd name="T37" fmla="*/ 47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75" h="114">
                  <a:moveTo>
                    <a:pt x="43" y="47"/>
                  </a:moveTo>
                  <a:cubicBezTo>
                    <a:pt x="41" y="53"/>
                    <a:pt x="39" y="60"/>
                    <a:pt x="38" y="66"/>
                  </a:cubicBezTo>
                  <a:cubicBezTo>
                    <a:pt x="36" y="59"/>
                    <a:pt x="34" y="53"/>
                    <a:pt x="32" y="47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0" y="83"/>
                    <a:pt x="30" y="84"/>
                    <a:pt x="30" y="85"/>
                  </a:cubicBezTo>
                  <a:cubicBezTo>
                    <a:pt x="28" y="90"/>
                    <a:pt x="26" y="94"/>
                    <a:pt x="25" y="95"/>
                  </a:cubicBezTo>
                  <a:cubicBezTo>
                    <a:pt x="24" y="97"/>
                    <a:pt x="23" y="98"/>
                    <a:pt x="21" y="99"/>
                  </a:cubicBezTo>
                  <a:cubicBezTo>
                    <a:pt x="19" y="100"/>
                    <a:pt x="17" y="101"/>
                    <a:pt x="14" y="101"/>
                  </a:cubicBezTo>
                  <a:cubicBezTo>
                    <a:pt x="11" y="101"/>
                    <a:pt x="9" y="101"/>
                    <a:pt x="6" y="100"/>
                  </a:cubicBezTo>
                  <a:cubicBezTo>
                    <a:pt x="7" y="113"/>
                    <a:pt x="7" y="113"/>
                    <a:pt x="7" y="113"/>
                  </a:cubicBezTo>
                  <a:cubicBezTo>
                    <a:pt x="11" y="114"/>
                    <a:pt x="13" y="114"/>
                    <a:pt x="16" y="114"/>
                  </a:cubicBezTo>
                  <a:cubicBezTo>
                    <a:pt x="21" y="114"/>
                    <a:pt x="24" y="113"/>
                    <a:pt x="27" y="111"/>
                  </a:cubicBezTo>
                  <a:cubicBezTo>
                    <a:pt x="31" y="109"/>
                    <a:pt x="33" y="106"/>
                    <a:pt x="36" y="101"/>
                  </a:cubicBezTo>
                  <a:cubicBezTo>
                    <a:pt x="38" y="98"/>
                    <a:pt x="40" y="92"/>
                    <a:pt x="44" y="83"/>
                  </a:cubicBezTo>
                  <a:cubicBezTo>
                    <a:pt x="75" y="0"/>
                    <a:pt x="75" y="0"/>
                    <a:pt x="75" y="0"/>
                  </a:cubicBezTo>
                  <a:cubicBezTo>
                    <a:pt x="61" y="0"/>
                    <a:pt x="61" y="0"/>
                    <a:pt x="61" y="0"/>
                  </a:cubicBezTo>
                  <a:lnTo>
                    <a:pt x="43" y="47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1049611" name="íṧ1ïḍé"/>
            <p:cNvSpPr/>
            <p:nvPr/>
          </p:nvSpPr>
          <p:spPr bwMode="auto">
            <a:xfrm>
              <a:off x="10106278" y="5675903"/>
              <a:ext cx="155575" cy="206375"/>
            </a:xfrm>
            <a:custGeom>
              <a:avLst/>
              <a:gdLst>
                <a:gd name="T0" fmla="*/ 64 w 85"/>
                <a:gd name="T1" fmla="*/ 53 h 112"/>
                <a:gd name="T2" fmla="*/ 75 w 85"/>
                <a:gd name="T3" fmla="*/ 42 h 112"/>
                <a:gd name="T4" fmla="*/ 79 w 85"/>
                <a:gd name="T5" fmla="*/ 29 h 112"/>
                <a:gd name="T6" fmla="*/ 75 w 85"/>
                <a:gd name="T7" fmla="*/ 14 h 112"/>
                <a:gd name="T8" fmla="*/ 63 w 85"/>
                <a:gd name="T9" fmla="*/ 4 h 112"/>
                <a:gd name="T10" fmla="*/ 42 w 85"/>
                <a:gd name="T11" fmla="*/ 0 h 112"/>
                <a:gd name="T12" fmla="*/ 0 w 85"/>
                <a:gd name="T13" fmla="*/ 0 h 112"/>
                <a:gd name="T14" fmla="*/ 0 w 85"/>
                <a:gd name="T15" fmla="*/ 112 h 112"/>
                <a:gd name="T16" fmla="*/ 43 w 85"/>
                <a:gd name="T17" fmla="*/ 112 h 112"/>
                <a:gd name="T18" fmla="*/ 61 w 85"/>
                <a:gd name="T19" fmla="*/ 110 h 112"/>
                <a:gd name="T20" fmla="*/ 73 w 85"/>
                <a:gd name="T21" fmla="*/ 105 h 112"/>
                <a:gd name="T22" fmla="*/ 81 w 85"/>
                <a:gd name="T23" fmla="*/ 94 h 112"/>
                <a:gd name="T24" fmla="*/ 85 w 85"/>
                <a:gd name="T25" fmla="*/ 80 h 112"/>
                <a:gd name="T26" fmla="*/ 79 w 85"/>
                <a:gd name="T27" fmla="*/ 63 h 112"/>
                <a:gd name="T28" fmla="*/ 64 w 85"/>
                <a:gd name="T29" fmla="*/ 53 h 112"/>
                <a:gd name="T30" fmla="*/ 15 w 85"/>
                <a:gd name="T31" fmla="*/ 13 h 112"/>
                <a:gd name="T32" fmla="*/ 37 w 85"/>
                <a:gd name="T33" fmla="*/ 13 h 112"/>
                <a:gd name="T34" fmla="*/ 54 w 85"/>
                <a:gd name="T35" fmla="*/ 15 h 112"/>
                <a:gd name="T36" fmla="*/ 62 w 85"/>
                <a:gd name="T37" fmla="*/ 21 h 112"/>
                <a:gd name="T38" fmla="*/ 65 w 85"/>
                <a:gd name="T39" fmla="*/ 31 h 112"/>
                <a:gd name="T40" fmla="*/ 62 w 85"/>
                <a:gd name="T41" fmla="*/ 40 h 112"/>
                <a:gd name="T42" fmla="*/ 53 w 85"/>
                <a:gd name="T43" fmla="*/ 46 h 112"/>
                <a:gd name="T44" fmla="*/ 39 w 85"/>
                <a:gd name="T45" fmla="*/ 47 h 112"/>
                <a:gd name="T46" fmla="*/ 15 w 85"/>
                <a:gd name="T47" fmla="*/ 47 h 112"/>
                <a:gd name="T48" fmla="*/ 15 w 85"/>
                <a:gd name="T49" fmla="*/ 13 h 112"/>
                <a:gd name="T50" fmla="*/ 67 w 85"/>
                <a:gd name="T51" fmla="*/ 89 h 112"/>
                <a:gd name="T52" fmla="*/ 61 w 85"/>
                <a:gd name="T53" fmla="*/ 95 h 112"/>
                <a:gd name="T54" fmla="*/ 53 w 85"/>
                <a:gd name="T55" fmla="*/ 99 h 112"/>
                <a:gd name="T56" fmla="*/ 43 w 85"/>
                <a:gd name="T57" fmla="*/ 99 h 112"/>
                <a:gd name="T58" fmla="*/ 15 w 85"/>
                <a:gd name="T59" fmla="*/ 99 h 112"/>
                <a:gd name="T60" fmla="*/ 15 w 85"/>
                <a:gd name="T61" fmla="*/ 61 h 112"/>
                <a:gd name="T62" fmla="*/ 41 w 85"/>
                <a:gd name="T63" fmla="*/ 61 h 112"/>
                <a:gd name="T64" fmla="*/ 57 w 85"/>
                <a:gd name="T65" fmla="*/ 62 h 112"/>
                <a:gd name="T66" fmla="*/ 66 w 85"/>
                <a:gd name="T67" fmla="*/ 69 h 112"/>
                <a:gd name="T68" fmla="*/ 69 w 85"/>
                <a:gd name="T69" fmla="*/ 80 h 112"/>
                <a:gd name="T70" fmla="*/ 67 w 85"/>
                <a:gd name="T71" fmla="*/ 89 h 1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85" h="112">
                  <a:moveTo>
                    <a:pt x="64" y="53"/>
                  </a:moveTo>
                  <a:cubicBezTo>
                    <a:pt x="69" y="50"/>
                    <a:pt x="73" y="47"/>
                    <a:pt x="75" y="42"/>
                  </a:cubicBezTo>
                  <a:cubicBezTo>
                    <a:pt x="78" y="38"/>
                    <a:pt x="79" y="34"/>
                    <a:pt x="79" y="29"/>
                  </a:cubicBezTo>
                  <a:cubicBezTo>
                    <a:pt x="79" y="24"/>
                    <a:pt x="78" y="19"/>
                    <a:pt x="75" y="14"/>
                  </a:cubicBezTo>
                  <a:cubicBezTo>
                    <a:pt x="72" y="9"/>
                    <a:pt x="68" y="6"/>
                    <a:pt x="63" y="4"/>
                  </a:cubicBezTo>
                  <a:cubicBezTo>
                    <a:pt x="57" y="1"/>
                    <a:pt x="51" y="0"/>
                    <a:pt x="42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12"/>
                    <a:pt x="0" y="112"/>
                    <a:pt x="0" y="112"/>
                  </a:cubicBezTo>
                  <a:cubicBezTo>
                    <a:pt x="43" y="112"/>
                    <a:pt x="43" y="112"/>
                    <a:pt x="43" y="112"/>
                  </a:cubicBezTo>
                  <a:cubicBezTo>
                    <a:pt x="50" y="112"/>
                    <a:pt x="56" y="112"/>
                    <a:pt x="61" y="110"/>
                  </a:cubicBezTo>
                  <a:cubicBezTo>
                    <a:pt x="66" y="109"/>
                    <a:pt x="70" y="107"/>
                    <a:pt x="73" y="105"/>
                  </a:cubicBezTo>
                  <a:cubicBezTo>
                    <a:pt x="76" y="102"/>
                    <a:pt x="79" y="99"/>
                    <a:pt x="81" y="94"/>
                  </a:cubicBezTo>
                  <a:cubicBezTo>
                    <a:pt x="84" y="90"/>
                    <a:pt x="85" y="85"/>
                    <a:pt x="85" y="80"/>
                  </a:cubicBezTo>
                  <a:cubicBezTo>
                    <a:pt x="85" y="73"/>
                    <a:pt x="83" y="68"/>
                    <a:pt x="79" y="63"/>
                  </a:cubicBezTo>
                  <a:cubicBezTo>
                    <a:pt x="76" y="58"/>
                    <a:pt x="70" y="55"/>
                    <a:pt x="64" y="53"/>
                  </a:cubicBezTo>
                  <a:close/>
                  <a:moveTo>
                    <a:pt x="15" y="13"/>
                  </a:moveTo>
                  <a:cubicBezTo>
                    <a:pt x="37" y="13"/>
                    <a:pt x="37" y="13"/>
                    <a:pt x="37" y="13"/>
                  </a:cubicBezTo>
                  <a:cubicBezTo>
                    <a:pt x="45" y="13"/>
                    <a:pt x="51" y="14"/>
                    <a:pt x="54" y="15"/>
                  </a:cubicBezTo>
                  <a:cubicBezTo>
                    <a:pt x="58" y="16"/>
                    <a:pt x="60" y="18"/>
                    <a:pt x="62" y="21"/>
                  </a:cubicBezTo>
                  <a:cubicBezTo>
                    <a:pt x="64" y="24"/>
                    <a:pt x="65" y="27"/>
                    <a:pt x="65" y="31"/>
                  </a:cubicBezTo>
                  <a:cubicBezTo>
                    <a:pt x="65" y="35"/>
                    <a:pt x="64" y="38"/>
                    <a:pt x="62" y="40"/>
                  </a:cubicBezTo>
                  <a:cubicBezTo>
                    <a:pt x="60" y="43"/>
                    <a:pt x="57" y="45"/>
                    <a:pt x="53" y="46"/>
                  </a:cubicBezTo>
                  <a:cubicBezTo>
                    <a:pt x="50" y="47"/>
                    <a:pt x="46" y="47"/>
                    <a:pt x="39" y="47"/>
                  </a:cubicBezTo>
                  <a:cubicBezTo>
                    <a:pt x="15" y="47"/>
                    <a:pt x="15" y="47"/>
                    <a:pt x="15" y="47"/>
                  </a:cubicBezTo>
                  <a:lnTo>
                    <a:pt x="15" y="13"/>
                  </a:lnTo>
                  <a:close/>
                  <a:moveTo>
                    <a:pt x="67" y="89"/>
                  </a:moveTo>
                  <a:cubicBezTo>
                    <a:pt x="66" y="92"/>
                    <a:pt x="64" y="94"/>
                    <a:pt x="61" y="95"/>
                  </a:cubicBezTo>
                  <a:cubicBezTo>
                    <a:pt x="59" y="97"/>
                    <a:pt x="56" y="98"/>
                    <a:pt x="53" y="99"/>
                  </a:cubicBezTo>
                  <a:cubicBezTo>
                    <a:pt x="51" y="99"/>
                    <a:pt x="48" y="99"/>
                    <a:pt x="43" y="99"/>
                  </a:cubicBezTo>
                  <a:cubicBezTo>
                    <a:pt x="15" y="99"/>
                    <a:pt x="15" y="99"/>
                    <a:pt x="15" y="99"/>
                  </a:cubicBezTo>
                  <a:cubicBezTo>
                    <a:pt x="15" y="61"/>
                    <a:pt x="15" y="61"/>
                    <a:pt x="15" y="61"/>
                  </a:cubicBezTo>
                  <a:cubicBezTo>
                    <a:pt x="41" y="61"/>
                    <a:pt x="41" y="61"/>
                    <a:pt x="41" y="61"/>
                  </a:cubicBezTo>
                  <a:cubicBezTo>
                    <a:pt x="48" y="61"/>
                    <a:pt x="53" y="61"/>
                    <a:pt x="57" y="62"/>
                  </a:cubicBezTo>
                  <a:cubicBezTo>
                    <a:pt x="61" y="64"/>
                    <a:pt x="64" y="66"/>
                    <a:pt x="66" y="69"/>
                  </a:cubicBezTo>
                  <a:cubicBezTo>
                    <a:pt x="68" y="72"/>
                    <a:pt x="69" y="76"/>
                    <a:pt x="69" y="80"/>
                  </a:cubicBezTo>
                  <a:cubicBezTo>
                    <a:pt x="69" y="83"/>
                    <a:pt x="69" y="87"/>
                    <a:pt x="67" y="8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1049612" name="iŝļidé"/>
            <p:cNvSpPr/>
            <p:nvPr/>
          </p:nvSpPr>
          <p:spPr bwMode="auto">
            <a:xfrm>
              <a:off x="10288841" y="5729878"/>
              <a:ext cx="138113" cy="157163"/>
            </a:xfrm>
            <a:custGeom>
              <a:avLst/>
              <a:gdLst>
                <a:gd name="T0" fmla="*/ 38 w 75"/>
                <a:gd name="T1" fmla="*/ 0 h 85"/>
                <a:gd name="T2" fmla="*/ 10 w 75"/>
                <a:gd name="T3" fmla="*/ 12 h 85"/>
                <a:gd name="T4" fmla="*/ 0 w 75"/>
                <a:gd name="T5" fmla="*/ 43 h 85"/>
                <a:gd name="T6" fmla="*/ 10 w 75"/>
                <a:gd name="T7" fmla="*/ 74 h 85"/>
                <a:gd name="T8" fmla="*/ 38 w 75"/>
                <a:gd name="T9" fmla="*/ 85 h 85"/>
                <a:gd name="T10" fmla="*/ 62 w 75"/>
                <a:gd name="T11" fmla="*/ 78 h 85"/>
                <a:gd name="T12" fmla="*/ 74 w 75"/>
                <a:gd name="T13" fmla="*/ 59 h 85"/>
                <a:gd name="T14" fmla="*/ 60 w 75"/>
                <a:gd name="T15" fmla="*/ 57 h 85"/>
                <a:gd name="T16" fmla="*/ 51 w 75"/>
                <a:gd name="T17" fmla="*/ 70 h 85"/>
                <a:gd name="T18" fmla="*/ 39 w 75"/>
                <a:gd name="T19" fmla="*/ 74 h 85"/>
                <a:gd name="T20" fmla="*/ 22 w 75"/>
                <a:gd name="T21" fmla="*/ 67 h 85"/>
                <a:gd name="T22" fmla="*/ 14 w 75"/>
                <a:gd name="T23" fmla="*/ 46 h 85"/>
                <a:gd name="T24" fmla="*/ 75 w 75"/>
                <a:gd name="T25" fmla="*/ 46 h 85"/>
                <a:gd name="T26" fmla="*/ 75 w 75"/>
                <a:gd name="T27" fmla="*/ 43 h 85"/>
                <a:gd name="T28" fmla="*/ 64 w 75"/>
                <a:gd name="T29" fmla="*/ 11 h 85"/>
                <a:gd name="T30" fmla="*/ 38 w 75"/>
                <a:gd name="T31" fmla="*/ 0 h 85"/>
                <a:gd name="T32" fmla="*/ 15 w 75"/>
                <a:gd name="T33" fmla="*/ 35 h 85"/>
                <a:gd name="T34" fmla="*/ 22 w 75"/>
                <a:gd name="T35" fmla="*/ 18 h 85"/>
                <a:gd name="T36" fmla="*/ 38 w 75"/>
                <a:gd name="T37" fmla="*/ 12 h 85"/>
                <a:gd name="T38" fmla="*/ 55 w 75"/>
                <a:gd name="T39" fmla="*/ 20 h 85"/>
                <a:gd name="T40" fmla="*/ 60 w 75"/>
                <a:gd name="T41" fmla="*/ 35 h 85"/>
                <a:gd name="T42" fmla="*/ 15 w 75"/>
                <a:gd name="T43" fmla="*/ 35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75" h="85">
                  <a:moveTo>
                    <a:pt x="38" y="0"/>
                  </a:moveTo>
                  <a:cubicBezTo>
                    <a:pt x="26" y="0"/>
                    <a:pt x="17" y="4"/>
                    <a:pt x="10" y="12"/>
                  </a:cubicBezTo>
                  <a:cubicBezTo>
                    <a:pt x="3" y="19"/>
                    <a:pt x="0" y="30"/>
                    <a:pt x="0" y="43"/>
                  </a:cubicBezTo>
                  <a:cubicBezTo>
                    <a:pt x="0" y="57"/>
                    <a:pt x="3" y="67"/>
                    <a:pt x="10" y="74"/>
                  </a:cubicBezTo>
                  <a:cubicBezTo>
                    <a:pt x="17" y="81"/>
                    <a:pt x="27" y="85"/>
                    <a:pt x="38" y="85"/>
                  </a:cubicBezTo>
                  <a:cubicBezTo>
                    <a:pt x="48" y="85"/>
                    <a:pt x="56" y="83"/>
                    <a:pt x="62" y="78"/>
                  </a:cubicBezTo>
                  <a:cubicBezTo>
                    <a:pt x="68" y="74"/>
                    <a:pt x="72" y="67"/>
                    <a:pt x="74" y="59"/>
                  </a:cubicBezTo>
                  <a:cubicBezTo>
                    <a:pt x="60" y="57"/>
                    <a:pt x="60" y="57"/>
                    <a:pt x="60" y="57"/>
                  </a:cubicBezTo>
                  <a:cubicBezTo>
                    <a:pt x="58" y="63"/>
                    <a:pt x="55" y="67"/>
                    <a:pt x="51" y="70"/>
                  </a:cubicBezTo>
                  <a:cubicBezTo>
                    <a:pt x="48" y="73"/>
                    <a:pt x="44" y="74"/>
                    <a:pt x="39" y="74"/>
                  </a:cubicBezTo>
                  <a:cubicBezTo>
                    <a:pt x="32" y="74"/>
                    <a:pt x="26" y="71"/>
                    <a:pt x="22" y="67"/>
                  </a:cubicBezTo>
                  <a:cubicBezTo>
                    <a:pt x="17" y="62"/>
                    <a:pt x="14" y="55"/>
                    <a:pt x="14" y="46"/>
                  </a:cubicBezTo>
                  <a:cubicBezTo>
                    <a:pt x="75" y="46"/>
                    <a:pt x="75" y="46"/>
                    <a:pt x="75" y="46"/>
                  </a:cubicBezTo>
                  <a:cubicBezTo>
                    <a:pt x="75" y="45"/>
                    <a:pt x="75" y="43"/>
                    <a:pt x="75" y="43"/>
                  </a:cubicBezTo>
                  <a:cubicBezTo>
                    <a:pt x="75" y="29"/>
                    <a:pt x="71" y="19"/>
                    <a:pt x="64" y="11"/>
                  </a:cubicBezTo>
                  <a:cubicBezTo>
                    <a:pt x="57" y="4"/>
                    <a:pt x="49" y="0"/>
                    <a:pt x="38" y="0"/>
                  </a:cubicBezTo>
                  <a:close/>
                  <a:moveTo>
                    <a:pt x="15" y="35"/>
                  </a:moveTo>
                  <a:cubicBezTo>
                    <a:pt x="15" y="28"/>
                    <a:pt x="18" y="22"/>
                    <a:pt x="22" y="18"/>
                  </a:cubicBezTo>
                  <a:cubicBezTo>
                    <a:pt x="26" y="14"/>
                    <a:pt x="32" y="12"/>
                    <a:pt x="38" y="12"/>
                  </a:cubicBezTo>
                  <a:cubicBezTo>
                    <a:pt x="45" y="12"/>
                    <a:pt x="51" y="14"/>
                    <a:pt x="55" y="20"/>
                  </a:cubicBezTo>
                  <a:cubicBezTo>
                    <a:pt x="58" y="23"/>
                    <a:pt x="60" y="28"/>
                    <a:pt x="60" y="35"/>
                  </a:cubicBezTo>
                  <a:lnTo>
                    <a:pt x="15" y="35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1049613" name="í$lidè"/>
            <p:cNvSpPr/>
            <p:nvPr/>
          </p:nvSpPr>
          <p:spPr bwMode="auto">
            <a:xfrm>
              <a:off x="10457116" y="5675903"/>
              <a:ext cx="25400" cy="30163"/>
            </a:xfrm>
            <a:prstGeom prst="rect">
              <a:avLst/>
            </a:pr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1049614" name="iSļiḋé"/>
            <p:cNvSpPr/>
            <p:nvPr/>
          </p:nvSpPr>
          <p:spPr bwMode="auto">
            <a:xfrm>
              <a:off x="10457116" y="5733053"/>
              <a:ext cx="25400" cy="149225"/>
            </a:xfrm>
            <a:prstGeom prst="rect">
              <a:avLst/>
            </a:pr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1049615" name="íṩḷïḑe"/>
            <p:cNvSpPr/>
            <p:nvPr/>
          </p:nvSpPr>
          <p:spPr bwMode="auto">
            <a:xfrm>
              <a:off x="10520616" y="5675903"/>
              <a:ext cx="25400" cy="30163"/>
            </a:xfrm>
            <a:prstGeom prst="rect">
              <a:avLst/>
            </a:pr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1049616" name="i$ḷïḍè"/>
            <p:cNvSpPr/>
            <p:nvPr/>
          </p:nvSpPr>
          <p:spPr bwMode="auto">
            <a:xfrm>
              <a:off x="10488866" y="5733053"/>
              <a:ext cx="57150" cy="211138"/>
            </a:xfrm>
            <a:custGeom>
              <a:avLst/>
              <a:gdLst>
                <a:gd name="T0" fmla="*/ 17 w 31"/>
                <a:gd name="T1" fmla="*/ 85 h 114"/>
                <a:gd name="T2" fmla="*/ 15 w 31"/>
                <a:gd name="T3" fmla="*/ 99 h 114"/>
                <a:gd name="T4" fmla="*/ 9 w 31"/>
                <a:gd name="T5" fmla="*/ 102 h 114"/>
                <a:gd name="T6" fmla="*/ 2 w 31"/>
                <a:gd name="T7" fmla="*/ 101 h 114"/>
                <a:gd name="T8" fmla="*/ 0 w 31"/>
                <a:gd name="T9" fmla="*/ 113 h 114"/>
                <a:gd name="T10" fmla="*/ 11 w 31"/>
                <a:gd name="T11" fmla="*/ 114 h 114"/>
                <a:gd name="T12" fmla="*/ 27 w 31"/>
                <a:gd name="T13" fmla="*/ 107 h 114"/>
                <a:gd name="T14" fmla="*/ 31 w 31"/>
                <a:gd name="T15" fmla="*/ 86 h 114"/>
                <a:gd name="T16" fmla="*/ 31 w 31"/>
                <a:gd name="T17" fmla="*/ 0 h 114"/>
                <a:gd name="T18" fmla="*/ 17 w 31"/>
                <a:gd name="T19" fmla="*/ 0 h 114"/>
                <a:gd name="T20" fmla="*/ 17 w 31"/>
                <a:gd name="T21" fmla="*/ 85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1" h="114">
                  <a:moveTo>
                    <a:pt x="17" y="85"/>
                  </a:moveTo>
                  <a:cubicBezTo>
                    <a:pt x="17" y="93"/>
                    <a:pt x="17" y="98"/>
                    <a:pt x="15" y="99"/>
                  </a:cubicBezTo>
                  <a:cubicBezTo>
                    <a:pt x="14" y="101"/>
                    <a:pt x="12" y="102"/>
                    <a:pt x="9" y="102"/>
                  </a:cubicBezTo>
                  <a:cubicBezTo>
                    <a:pt x="7" y="102"/>
                    <a:pt x="5" y="102"/>
                    <a:pt x="2" y="101"/>
                  </a:cubicBezTo>
                  <a:cubicBezTo>
                    <a:pt x="0" y="113"/>
                    <a:pt x="0" y="113"/>
                    <a:pt x="0" y="113"/>
                  </a:cubicBezTo>
                  <a:cubicBezTo>
                    <a:pt x="3" y="114"/>
                    <a:pt x="7" y="114"/>
                    <a:pt x="11" y="114"/>
                  </a:cubicBezTo>
                  <a:cubicBezTo>
                    <a:pt x="18" y="114"/>
                    <a:pt x="24" y="112"/>
                    <a:pt x="27" y="107"/>
                  </a:cubicBezTo>
                  <a:cubicBezTo>
                    <a:pt x="30" y="103"/>
                    <a:pt x="31" y="96"/>
                    <a:pt x="31" y="86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17" y="0"/>
                    <a:pt x="17" y="0"/>
                    <a:pt x="17" y="0"/>
                  </a:cubicBezTo>
                  <a:lnTo>
                    <a:pt x="17" y="85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1049617" name="íṩliḋé"/>
            <p:cNvSpPr/>
            <p:nvPr/>
          </p:nvSpPr>
          <p:spPr bwMode="auto">
            <a:xfrm>
              <a:off x="10585703" y="5675903"/>
              <a:ext cx="25400" cy="30163"/>
            </a:xfrm>
            <a:prstGeom prst="rect">
              <a:avLst/>
            </a:pr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1049618" name="ísḷiďé"/>
            <p:cNvSpPr/>
            <p:nvPr/>
          </p:nvSpPr>
          <p:spPr bwMode="auto">
            <a:xfrm>
              <a:off x="10585703" y="5733053"/>
              <a:ext cx="25400" cy="149225"/>
            </a:xfrm>
            <a:prstGeom prst="rect">
              <a:avLst/>
            </a:pr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1049619" name="íṩļïḍe"/>
            <p:cNvSpPr/>
            <p:nvPr/>
          </p:nvSpPr>
          <p:spPr bwMode="auto">
            <a:xfrm>
              <a:off x="10649203" y="5729878"/>
              <a:ext cx="122238" cy="152400"/>
            </a:xfrm>
            <a:custGeom>
              <a:avLst/>
              <a:gdLst>
                <a:gd name="T0" fmla="*/ 65 w 66"/>
                <a:gd name="T1" fmla="*/ 20 h 83"/>
                <a:gd name="T2" fmla="*/ 61 w 66"/>
                <a:gd name="T3" fmla="*/ 10 h 83"/>
                <a:gd name="T4" fmla="*/ 52 w 66"/>
                <a:gd name="T5" fmla="*/ 3 h 83"/>
                <a:gd name="T6" fmla="*/ 38 w 66"/>
                <a:gd name="T7" fmla="*/ 0 h 83"/>
                <a:gd name="T8" fmla="*/ 12 w 66"/>
                <a:gd name="T9" fmla="*/ 14 h 83"/>
                <a:gd name="T10" fmla="*/ 12 w 66"/>
                <a:gd name="T11" fmla="*/ 2 h 83"/>
                <a:gd name="T12" fmla="*/ 0 w 66"/>
                <a:gd name="T13" fmla="*/ 2 h 83"/>
                <a:gd name="T14" fmla="*/ 0 w 66"/>
                <a:gd name="T15" fmla="*/ 83 h 83"/>
                <a:gd name="T16" fmla="*/ 14 w 66"/>
                <a:gd name="T17" fmla="*/ 83 h 83"/>
                <a:gd name="T18" fmla="*/ 14 w 66"/>
                <a:gd name="T19" fmla="*/ 39 h 83"/>
                <a:gd name="T20" fmla="*/ 20 w 66"/>
                <a:gd name="T21" fmla="*/ 18 h 83"/>
                <a:gd name="T22" fmla="*/ 35 w 66"/>
                <a:gd name="T23" fmla="*/ 12 h 83"/>
                <a:gd name="T24" fmla="*/ 45 w 66"/>
                <a:gd name="T25" fmla="*/ 15 h 83"/>
                <a:gd name="T26" fmla="*/ 51 w 66"/>
                <a:gd name="T27" fmla="*/ 21 h 83"/>
                <a:gd name="T28" fmla="*/ 52 w 66"/>
                <a:gd name="T29" fmla="*/ 34 h 83"/>
                <a:gd name="T30" fmla="*/ 52 w 66"/>
                <a:gd name="T31" fmla="*/ 83 h 83"/>
                <a:gd name="T32" fmla="*/ 66 w 66"/>
                <a:gd name="T33" fmla="*/ 83 h 83"/>
                <a:gd name="T34" fmla="*/ 66 w 66"/>
                <a:gd name="T35" fmla="*/ 33 h 83"/>
                <a:gd name="T36" fmla="*/ 65 w 66"/>
                <a:gd name="T37" fmla="*/ 20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6" h="83">
                  <a:moveTo>
                    <a:pt x="65" y="20"/>
                  </a:moveTo>
                  <a:cubicBezTo>
                    <a:pt x="64" y="16"/>
                    <a:pt x="63" y="13"/>
                    <a:pt x="61" y="10"/>
                  </a:cubicBezTo>
                  <a:cubicBezTo>
                    <a:pt x="59" y="7"/>
                    <a:pt x="56" y="5"/>
                    <a:pt x="52" y="3"/>
                  </a:cubicBezTo>
                  <a:cubicBezTo>
                    <a:pt x="48" y="1"/>
                    <a:pt x="43" y="0"/>
                    <a:pt x="38" y="0"/>
                  </a:cubicBezTo>
                  <a:cubicBezTo>
                    <a:pt x="27" y="0"/>
                    <a:pt x="18" y="5"/>
                    <a:pt x="12" y="14"/>
                  </a:cubicBezTo>
                  <a:cubicBezTo>
                    <a:pt x="12" y="2"/>
                    <a:pt x="12" y="2"/>
                    <a:pt x="12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83"/>
                    <a:pt x="0" y="83"/>
                    <a:pt x="0" y="83"/>
                  </a:cubicBezTo>
                  <a:cubicBezTo>
                    <a:pt x="14" y="83"/>
                    <a:pt x="14" y="83"/>
                    <a:pt x="14" y="83"/>
                  </a:cubicBezTo>
                  <a:cubicBezTo>
                    <a:pt x="14" y="39"/>
                    <a:pt x="14" y="39"/>
                    <a:pt x="14" y="39"/>
                  </a:cubicBezTo>
                  <a:cubicBezTo>
                    <a:pt x="14" y="29"/>
                    <a:pt x="16" y="21"/>
                    <a:pt x="20" y="18"/>
                  </a:cubicBezTo>
                  <a:cubicBezTo>
                    <a:pt x="24" y="14"/>
                    <a:pt x="29" y="12"/>
                    <a:pt x="35" y="12"/>
                  </a:cubicBezTo>
                  <a:cubicBezTo>
                    <a:pt x="39" y="12"/>
                    <a:pt x="42" y="13"/>
                    <a:pt x="45" y="15"/>
                  </a:cubicBezTo>
                  <a:cubicBezTo>
                    <a:pt x="48" y="16"/>
                    <a:pt x="50" y="19"/>
                    <a:pt x="51" y="21"/>
                  </a:cubicBezTo>
                  <a:cubicBezTo>
                    <a:pt x="52" y="24"/>
                    <a:pt x="52" y="28"/>
                    <a:pt x="52" y="34"/>
                  </a:cubicBezTo>
                  <a:cubicBezTo>
                    <a:pt x="52" y="83"/>
                    <a:pt x="52" y="83"/>
                    <a:pt x="52" y="83"/>
                  </a:cubicBezTo>
                  <a:cubicBezTo>
                    <a:pt x="66" y="83"/>
                    <a:pt x="66" y="83"/>
                    <a:pt x="66" y="83"/>
                  </a:cubicBezTo>
                  <a:cubicBezTo>
                    <a:pt x="66" y="33"/>
                    <a:pt x="66" y="33"/>
                    <a:pt x="66" y="33"/>
                  </a:cubicBezTo>
                  <a:cubicBezTo>
                    <a:pt x="66" y="27"/>
                    <a:pt x="66" y="23"/>
                    <a:pt x="65" y="2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1049620" name="í$ľíḍê"/>
            <p:cNvSpPr/>
            <p:nvPr/>
          </p:nvSpPr>
          <p:spPr bwMode="auto">
            <a:xfrm>
              <a:off x="10800016" y="5729878"/>
              <a:ext cx="133350" cy="214313"/>
            </a:xfrm>
            <a:custGeom>
              <a:avLst/>
              <a:gdLst>
                <a:gd name="T0" fmla="*/ 59 w 72"/>
                <a:gd name="T1" fmla="*/ 2 h 116"/>
                <a:gd name="T2" fmla="*/ 59 w 72"/>
                <a:gd name="T3" fmla="*/ 12 h 116"/>
                <a:gd name="T4" fmla="*/ 35 w 72"/>
                <a:gd name="T5" fmla="*/ 0 h 116"/>
                <a:gd name="T6" fmla="*/ 16 w 72"/>
                <a:gd name="T7" fmla="*/ 6 h 116"/>
                <a:gd name="T8" fmla="*/ 4 w 72"/>
                <a:gd name="T9" fmla="*/ 21 h 116"/>
                <a:gd name="T10" fmla="*/ 0 w 72"/>
                <a:gd name="T11" fmla="*/ 42 h 116"/>
                <a:gd name="T12" fmla="*/ 9 w 72"/>
                <a:gd name="T13" fmla="*/ 71 h 116"/>
                <a:gd name="T14" fmla="*/ 35 w 72"/>
                <a:gd name="T15" fmla="*/ 83 h 116"/>
                <a:gd name="T16" fmla="*/ 58 w 72"/>
                <a:gd name="T17" fmla="*/ 73 h 116"/>
                <a:gd name="T18" fmla="*/ 57 w 72"/>
                <a:gd name="T19" fmla="*/ 90 h 116"/>
                <a:gd name="T20" fmla="*/ 49 w 72"/>
                <a:gd name="T21" fmla="*/ 101 h 116"/>
                <a:gd name="T22" fmla="*/ 35 w 72"/>
                <a:gd name="T23" fmla="*/ 105 h 116"/>
                <a:gd name="T24" fmla="*/ 21 w 72"/>
                <a:gd name="T25" fmla="*/ 101 h 116"/>
                <a:gd name="T26" fmla="*/ 16 w 72"/>
                <a:gd name="T27" fmla="*/ 92 h 116"/>
                <a:gd name="T28" fmla="*/ 3 w 72"/>
                <a:gd name="T29" fmla="*/ 90 h 116"/>
                <a:gd name="T30" fmla="*/ 11 w 72"/>
                <a:gd name="T31" fmla="*/ 110 h 116"/>
                <a:gd name="T32" fmla="*/ 35 w 72"/>
                <a:gd name="T33" fmla="*/ 116 h 116"/>
                <a:gd name="T34" fmla="*/ 55 w 72"/>
                <a:gd name="T35" fmla="*/ 112 h 116"/>
                <a:gd name="T36" fmla="*/ 68 w 72"/>
                <a:gd name="T37" fmla="*/ 99 h 116"/>
                <a:gd name="T38" fmla="*/ 72 w 72"/>
                <a:gd name="T39" fmla="*/ 72 h 116"/>
                <a:gd name="T40" fmla="*/ 72 w 72"/>
                <a:gd name="T41" fmla="*/ 2 h 116"/>
                <a:gd name="T42" fmla="*/ 59 w 72"/>
                <a:gd name="T43" fmla="*/ 2 h 116"/>
                <a:gd name="T44" fmla="*/ 52 w 72"/>
                <a:gd name="T45" fmla="*/ 65 h 116"/>
                <a:gd name="T46" fmla="*/ 36 w 72"/>
                <a:gd name="T47" fmla="*/ 72 h 116"/>
                <a:gd name="T48" fmla="*/ 20 w 72"/>
                <a:gd name="T49" fmla="*/ 65 h 116"/>
                <a:gd name="T50" fmla="*/ 14 w 72"/>
                <a:gd name="T51" fmla="*/ 41 h 116"/>
                <a:gd name="T52" fmla="*/ 20 w 72"/>
                <a:gd name="T53" fmla="*/ 19 h 116"/>
                <a:gd name="T54" fmla="*/ 36 w 72"/>
                <a:gd name="T55" fmla="*/ 12 h 116"/>
                <a:gd name="T56" fmla="*/ 52 w 72"/>
                <a:gd name="T57" fmla="*/ 19 h 116"/>
                <a:gd name="T58" fmla="*/ 59 w 72"/>
                <a:gd name="T59" fmla="*/ 42 h 116"/>
                <a:gd name="T60" fmla="*/ 52 w 72"/>
                <a:gd name="T61" fmla="*/ 65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72" h="116">
                  <a:moveTo>
                    <a:pt x="59" y="2"/>
                  </a:moveTo>
                  <a:cubicBezTo>
                    <a:pt x="59" y="12"/>
                    <a:pt x="59" y="12"/>
                    <a:pt x="59" y="12"/>
                  </a:cubicBezTo>
                  <a:cubicBezTo>
                    <a:pt x="53" y="4"/>
                    <a:pt x="45" y="0"/>
                    <a:pt x="35" y="0"/>
                  </a:cubicBezTo>
                  <a:cubicBezTo>
                    <a:pt x="28" y="0"/>
                    <a:pt x="22" y="2"/>
                    <a:pt x="16" y="6"/>
                  </a:cubicBezTo>
                  <a:cubicBezTo>
                    <a:pt x="11" y="9"/>
                    <a:pt x="7" y="14"/>
                    <a:pt x="4" y="21"/>
                  </a:cubicBezTo>
                  <a:cubicBezTo>
                    <a:pt x="1" y="27"/>
                    <a:pt x="0" y="34"/>
                    <a:pt x="0" y="42"/>
                  </a:cubicBezTo>
                  <a:cubicBezTo>
                    <a:pt x="0" y="53"/>
                    <a:pt x="3" y="63"/>
                    <a:pt x="9" y="71"/>
                  </a:cubicBezTo>
                  <a:cubicBezTo>
                    <a:pt x="15" y="79"/>
                    <a:pt x="24" y="83"/>
                    <a:pt x="35" y="83"/>
                  </a:cubicBezTo>
                  <a:cubicBezTo>
                    <a:pt x="44" y="83"/>
                    <a:pt x="51" y="80"/>
                    <a:pt x="58" y="73"/>
                  </a:cubicBezTo>
                  <a:cubicBezTo>
                    <a:pt x="58" y="82"/>
                    <a:pt x="57" y="88"/>
                    <a:pt x="57" y="90"/>
                  </a:cubicBezTo>
                  <a:cubicBezTo>
                    <a:pt x="55" y="95"/>
                    <a:pt x="53" y="99"/>
                    <a:pt x="49" y="101"/>
                  </a:cubicBezTo>
                  <a:cubicBezTo>
                    <a:pt x="46" y="104"/>
                    <a:pt x="41" y="105"/>
                    <a:pt x="35" y="105"/>
                  </a:cubicBezTo>
                  <a:cubicBezTo>
                    <a:pt x="29" y="105"/>
                    <a:pt x="24" y="104"/>
                    <a:pt x="21" y="101"/>
                  </a:cubicBezTo>
                  <a:cubicBezTo>
                    <a:pt x="18" y="99"/>
                    <a:pt x="17" y="96"/>
                    <a:pt x="16" y="92"/>
                  </a:cubicBezTo>
                  <a:cubicBezTo>
                    <a:pt x="3" y="90"/>
                    <a:pt x="3" y="90"/>
                    <a:pt x="3" y="90"/>
                  </a:cubicBezTo>
                  <a:cubicBezTo>
                    <a:pt x="2" y="99"/>
                    <a:pt x="5" y="105"/>
                    <a:pt x="11" y="110"/>
                  </a:cubicBezTo>
                  <a:cubicBezTo>
                    <a:pt x="17" y="114"/>
                    <a:pt x="25" y="116"/>
                    <a:pt x="35" y="116"/>
                  </a:cubicBezTo>
                  <a:cubicBezTo>
                    <a:pt x="43" y="116"/>
                    <a:pt x="50" y="115"/>
                    <a:pt x="55" y="112"/>
                  </a:cubicBezTo>
                  <a:cubicBezTo>
                    <a:pt x="61" y="109"/>
                    <a:pt x="65" y="104"/>
                    <a:pt x="68" y="99"/>
                  </a:cubicBezTo>
                  <a:cubicBezTo>
                    <a:pt x="70" y="94"/>
                    <a:pt x="72" y="85"/>
                    <a:pt x="72" y="72"/>
                  </a:cubicBezTo>
                  <a:cubicBezTo>
                    <a:pt x="72" y="2"/>
                    <a:pt x="72" y="2"/>
                    <a:pt x="72" y="2"/>
                  </a:cubicBezTo>
                  <a:lnTo>
                    <a:pt x="59" y="2"/>
                  </a:lnTo>
                  <a:close/>
                  <a:moveTo>
                    <a:pt x="52" y="65"/>
                  </a:moveTo>
                  <a:cubicBezTo>
                    <a:pt x="48" y="69"/>
                    <a:pt x="43" y="72"/>
                    <a:pt x="36" y="72"/>
                  </a:cubicBezTo>
                  <a:cubicBezTo>
                    <a:pt x="30" y="72"/>
                    <a:pt x="25" y="69"/>
                    <a:pt x="20" y="65"/>
                  </a:cubicBezTo>
                  <a:cubicBezTo>
                    <a:pt x="16" y="60"/>
                    <a:pt x="14" y="52"/>
                    <a:pt x="14" y="41"/>
                  </a:cubicBezTo>
                  <a:cubicBezTo>
                    <a:pt x="14" y="31"/>
                    <a:pt x="16" y="24"/>
                    <a:pt x="20" y="19"/>
                  </a:cubicBezTo>
                  <a:cubicBezTo>
                    <a:pt x="25" y="14"/>
                    <a:pt x="30" y="12"/>
                    <a:pt x="36" y="12"/>
                  </a:cubicBezTo>
                  <a:cubicBezTo>
                    <a:pt x="42" y="12"/>
                    <a:pt x="48" y="14"/>
                    <a:pt x="52" y="19"/>
                  </a:cubicBezTo>
                  <a:cubicBezTo>
                    <a:pt x="56" y="24"/>
                    <a:pt x="59" y="32"/>
                    <a:pt x="59" y="42"/>
                  </a:cubicBezTo>
                  <a:cubicBezTo>
                    <a:pt x="59" y="52"/>
                    <a:pt x="57" y="60"/>
                    <a:pt x="52" y="6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1049621" name="î$1ïḍè"/>
            <p:cNvSpPr/>
            <p:nvPr/>
          </p:nvSpPr>
          <p:spPr bwMode="auto">
            <a:xfrm>
              <a:off x="5231066" y="5675903"/>
              <a:ext cx="161925" cy="211138"/>
            </a:xfrm>
            <a:custGeom>
              <a:avLst/>
              <a:gdLst>
                <a:gd name="T0" fmla="*/ 73 w 88"/>
                <a:gd name="T1" fmla="*/ 65 h 114"/>
                <a:gd name="T2" fmla="*/ 66 w 88"/>
                <a:gd name="T3" fmla="*/ 93 h 114"/>
                <a:gd name="T4" fmla="*/ 43 w 88"/>
                <a:gd name="T5" fmla="*/ 101 h 114"/>
                <a:gd name="T6" fmla="*/ 27 w 88"/>
                <a:gd name="T7" fmla="*/ 97 h 114"/>
                <a:gd name="T8" fmla="*/ 17 w 88"/>
                <a:gd name="T9" fmla="*/ 86 h 114"/>
                <a:gd name="T10" fmla="*/ 15 w 88"/>
                <a:gd name="T11" fmla="*/ 65 h 114"/>
                <a:gd name="T12" fmla="*/ 15 w 88"/>
                <a:gd name="T13" fmla="*/ 0 h 114"/>
                <a:gd name="T14" fmla="*/ 0 w 88"/>
                <a:gd name="T15" fmla="*/ 0 h 114"/>
                <a:gd name="T16" fmla="*/ 0 w 88"/>
                <a:gd name="T17" fmla="*/ 65 h 114"/>
                <a:gd name="T18" fmla="*/ 4 w 88"/>
                <a:gd name="T19" fmla="*/ 93 h 114"/>
                <a:gd name="T20" fmla="*/ 18 w 88"/>
                <a:gd name="T21" fmla="*/ 109 h 114"/>
                <a:gd name="T22" fmla="*/ 44 w 88"/>
                <a:gd name="T23" fmla="*/ 114 h 114"/>
                <a:gd name="T24" fmla="*/ 70 w 88"/>
                <a:gd name="T25" fmla="*/ 108 h 114"/>
                <a:gd name="T26" fmla="*/ 84 w 88"/>
                <a:gd name="T27" fmla="*/ 92 h 114"/>
                <a:gd name="T28" fmla="*/ 88 w 88"/>
                <a:gd name="T29" fmla="*/ 65 h 114"/>
                <a:gd name="T30" fmla="*/ 88 w 88"/>
                <a:gd name="T31" fmla="*/ 0 h 114"/>
                <a:gd name="T32" fmla="*/ 73 w 88"/>
                <a:gd name="T33" fmla="*/ 0 h 114"/>
                <a:gd name="T34" fmla="*/ 73 w 88"/>
                <a:gd name="T35" fmla="*/ 65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88" h="114">
                  <a:moveTo>
                    <a:pt x="73" y="65"/>
                  </a:moveTo>
                  <a:cubicBezTo>
                    <a:pt x="73" y="79"/>
                    <a:pt x="71" y="88"/>
                    <a:pt x="66" y="93"/>
                  </a:cubicBezTo>
                  <a:cubicBezTo>
                    <a:pt x="62" y="98"/>
                    <a:pt x="54" y="101"/>
                    <a:pt x="43" y="101"/>
                  </a:cubicBezTo>
                  <a:cubicBezTo>
                    <a:pt x="37" y="101"/>
                    <a:pt x="31" y="100"/>
                    <a:pt x="27" y="97"/>
                  </a:cubicBezTo>
                  <a:cubicBezTo>
                    <a:pt x="22" y="95"/>
                    <a:pt x="19" y="91"/>
                    <a:pt x="17" y="86"/>
                  </a:cubicBezTo>
                  <a:cubicBezTo>
                    <a:pt x="16" y="82"/>
                    <a:pt x="15" y="75"/>
                    <a:pt x="15" y="65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65"/>
                    <a:pt x="0" y="65"/>
                    <a:pt x="0" y="65"/>
                  </a:cubicBezTo>
                  <a:cubicBezTo>
                    <a:pt x="0" y="77"/>
                    <a:pt x="1" y="86"/>
                    <a:pt x="4" y="93"/>
                  </a:cubicBezTo>
                  <a:cubicBezTo>
                    <a:pt x="7" y="100"/>
                    <a:pt x="12" y="105"/>
                    <a:pt x="18" y="109"/>
                  </a:cubicBezTo>
                  <a:cubicBezTo>
                    <a:pt x="25" y="112"/>
                    <a:pt x="34" y="114"/>
                    <a:pt x="44" y="114"/>
                  </a:cubicBezTo>
                  <a:cubicBezTo>
                    <a:pt x="55" y="114"/>
                    <a:pt x="64" y="112"/>
                    <a:pt x="70" y="108"/>
                  </a:cubicBezTo>
                  <a:cubicBezTo>
                    <a:pt x="77" y="104"/>
                    <a:pt x="82" y="98"/>
                    <a:pt x="84" y="92"/>
                  </a:cubicBezTo>
                  <a:cubicBezTo>
                    <a:pt x="87" y="85"/>
                    <a:pt x="88" y="76"/>
                    <a:pt x="88" y="65"/>
                  </a:cubicBezTo>
                  <a:cubicBezTo>
                    <a:pt x="88" y="0"/>
                    <a:pt x="88" y="0"/>
                    <a:pt x="88" y="0"/>
                  </a:cubicBezTo>
                  <a:cubicBezTo>
                    <a:pt x="73" y="0"/>
                    <a:pt x="73" y="0"/>
                    <a:pt x="73" y="0"/>
                  </a:cubicBezTo>
                  <a:lnTo>
                    <a:pt x="73" y="65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1049622" name="ïṡļîḑê"/>
            <p:cNvSpPr/>
            <p:nvPr/>
          </p:nvSpPr>
          <p:spPr bwMode="auto">
            <a:xfrm>
              <a:off x="5435853" y="5729878"/>
              <a:ext cx="120650" cy="152400"/>
            </a:xfrm>
            <a:custGeom>
              <a:avLst/>
              <a:gdLst>
                <a:gd name="T0" fmla="*/ 61 w 66"/>
                <a:gd name="T1" fmla="*/ 10 h 83"/>
                <a:gd name="T2" fmla="*/ 52 w 66"/>
                <a:gd name="T3" fmla="*/ 3 h 83"/>
                <a:gd name="T4" fmla="*/ 38 w 66"/>
                <a:gd name="T5" fmla="*/ 0 h 83"/>
                <a:gd name="T6" fmla="*/ 12 w 66"/>
                <a:gd name="T7" fmla="*/ 14 h 83"/>
                <a:gd name="T8" fmla="*/ 12 w 66"/>
                <a:gd name="T9" fmla="*/ 2 h 83"/>
                <a:gd name="T10" fmla="*/ 0 w 66"/>
                <a:gd name="T11" fmla="*/ 2 h 83"/>
                <a:gd name="T12" fmla="*/ 0 w 66"/>
                <a:gd name="T13" fmla="*/ 83 h 83"/>
                <a:gd name="T14" fmla="*/ 14 w 66"/>
                <a:gd name="T15" fmla="*/ 83 h 83"/>
                <a:gd name="T16" fmla="*/ 14 w 66"/>
                <a:gd name="T17" fmla="*/ 39 h 83"/>
                <a:gd name="T18" fmla="*/ 20 w 66"/>
                <a:gd name="T19" fmla="*/ 18 h 83"/>
                <a:gd name="T20" fmla="*/ 35 w 66"/>
                <a:gd name="T21" fmla="*/ 12 h 83"/>
                <a:gd name="T22" fmla="*/ 45 w 66"/>
                <a:gd name="T23" fmla="*/ 15 h 83"/>
                <a:gd name="T24" fmla="*/ 51 w 66"/>
                <a:gd name="T25" fmla="*/ 21 h 83"/>
                <a:gd name="T26" fmla="*/ 52 w 66"/>
                <a:gd name="T27" fmla="*/ 34 h 83"/>
                <a:gd name="T28" fmla="*/ 52 w 66"/>
                <a:gd name="T29" fmla="*/ 83 h 83"/>
                <a:gd name="T30" fmla="*/ 66 w 66"/>
                <a:gd name="T31" fmla="*/ 83 h 83"/>
                <a:gd name="T32" fmla="*/ 66 w 66"/>
                <a:gd name="T33" fmla="*/ 33 h 83"/>
                <a:gd name="T34" fmla="*/ 65 w 66"/>
                <a:gd name="T35" fmla="*/ 20 h 83"/>
                <a:gd name="T36" fmla="*/ 61 w 66"/>
                <a:gd name="T37" fmla="*/ 10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6" h="83">
                  <a:moveTo>
                    <a:pt x="61" y="10"/>
                  </a:moveTo>
                  <a:cubicBezTo>
                    <a:pt x="59" y="7"/>
                    <a:pt x="56" y="5"/>
                    <a:pt x="52" y="3"/>
                  </a:cubicBezTo>
                  <a:cubicBezTo>
                    <a:pt x="48" y="1"/>
                    <a:pt x="43" y="0"/>
                    <a:pt x="38" y="0"/>
                  </a:cubicBezTo>
                  <a:cubicBezTo>
                    <a:pt x="27" y="0"/>
                    <a:pt x="18" y="5"/>
                    <a:pt x="12" y="14"/>
                  </a:cubicBezTo>
                  <a:cubicBezTo>
                    <a:pt x="12" y="2"/>
                    <a:pt x="12" y="2"/>
                    <a:pt x="12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83"/>
                    <a:pt x="0" y="83"/>
                    <a:pt x="0" y="83"/>
                  </a:cubicBezTo>
                  <a:cubicBezTo>
                    <a:pt x="14" y="83"/>
                    <a:pt x="14" y="83"/>
                    <a:pt x="14" y="83"/>
                  </a:cubicBezTo>
                  <a:cubicBezTo>
                    <a:pt x="14" y="39"/>
                    <a:pt x="14" y="39"/>
                    <a:pt x="14" y="39"/>
                  </a:cubicBezTo>
                  <a:cubicBezTo>
                    <a:pt x="14" y="29"/>
                    <a:pt x="16" y="21"/>
                    <a:pt x="20" y="18"/>
                  </a:cubicBezTo>
                  <a:cubicBezTo>
                    <a:pt x="25" y="14"/>
                    <a:pt x="30" y="12"/>
                    <a:pt x="35" y="12"/>
                  </a:cubicBezTo>
                  <a:cubicBezTo>
                    <a:pt x="39" y="12"/>
                    <a:pt x="42" y="13"/>
                    <a:pt x="45" y="15"/>
                  </a:cubicBezTo>
                  <a:cubicBezTo>
                    <a:pt x="48" y="16"/>
                    <a:pt x="50" y="19"/>
                    <a:pt x="51" y="21"/>
                  </a:cubicBezTo>
                  <a:cubicBezTo>
                    <a:pt x="52" y="24"/>
                    <a:pt x="52" y="28"/>
                    <a:pt x="52" y="34"/>
                  </a:cubicBezTo>
                  <a:cubicBezTo>
                    <a:pt x="52" y="83"/>
                    <a:pt x="52" y="83"/>
                    <a:pt x="52" y="83"/>
                  </a:cubicBezTo>
                  <a:cubicBezTo>
                    <a:pt x="66" y="83"/>
                    <a:pt x="66" y="83"/>
                    <a:pt x="66" y="83"/>
                  </a:cubicBezTo>
                  <a:cubicBezTo>
                    <a:pt x="66" y="33"/>
                    <a:pt x="66" y="33"/>
                    <a:pt x="66" y="33"/>
                  </a:cubicBezTo>
                  <a:cubicBezTo>
                    <a:pt x="66" y="27"/>
                    <a:pt x="66" y="23"/>
                    <a:pt x="65" y="20"/>
                  </a:cubicBezTo>
                  <a:cubicBezTo>
                    <a:pt x="65" y="16"/>
                    <a:pt x="63" y="13"/>
                    <a:pt x="61" y="1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 sz="1350"/>
            </a:p>
          </p:txBody>
        </p:sp>
      </p:grpSp>
      <p:sp>
        <p:nvSpPr>
          <p:cNvPr id="1049623" name="文本框 117"/>
          <p:cNvSpPr txBox="1"/>
          <p:nvPr userDrawn="1"/>
        </p:nvSpPr>
        <p:spPr>
          <a:xfrm>
            <a:off x="4107180" y="6441440"/>
            <a:ext cx="929640" cy="2527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zh-CN" altLang="en-US" sz="1050" spc="300" dirty="0">
                <a:gradFill>
                  <a:gsLst>
                    <a:gs pos="0">
                      <a:srgbClr val="A22B17">
                        <a:lumMod val="90000"/>
                        <a:lumOff val="10000"/>
                      </a:srgbClr>
                    </a:gs>
                    <a:gs pos="100000">
                      <a:srgbClr val="A22B17">
                        <a:alpha val="92000"/>
                        <a:lumMod val="75000"/>
                        <a:lumOff val="25000"/>
                      </a:srgbClr>
                    </a:gs>
                  </a:gsLst>
                  <a:lin ang="0" scaled="1"/>
                </a:gradFill>
                <a:latin typeface="优设标题黑" panose="00000500000000000000" pitchFamily="2" charset="-122"/>
                <a:ea typeface="优设标题黑" panose="00000500000000000000" pitchFamily="2" charset="-122"/>
              </a:rPr>
              <a:t>求实鼎新</a:t>
            </a:r>
            <a:endParaRPr lang="zh-CN" altLang="en-US" sz="1050" spc="300" dirty="0">
              <a:gradFill>
                <a:gsLst>
                  <a:gs pos="0">
                    <a:srgbClr val="A22B17">
                      <a:lumMod val="90000"/>
                      <a:lumOff val="10000"/>
                    </a:srgbClr>
                  </a:gs>
                  <a:gs pos="100000">
                    <a:srgbClr val="A22B17">
                      <a:alpha val="92000"/>
                      <a:lumMod val="75000"/>
                      <a:lumOff val="25000"/>
                    </a:srgbClr>
                  </a:gs>
                </a:gsLst>
                <a:lin ang="0" scaled="1"/>
              </a:gradFill>
              <a:latin typeface="优设标题黑" panose="00000500000000000000" pitchFamily="2" charset="-122"/>
              <a:ea typeface="优设标题黑" panose="00000500000000000000" pitchFamily="2" charset="-122"/>
            </a:endParaRPr>
          </a:p>
        </p:txBody>
      </p:sp>
    </p:spTree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97206" name="PA-图片 14"/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 rotWithShape="1">
          <a:blip r:embed="rId3"/>
          <a:srcRect/>
          <a:stretch>
            <a:fillRect/>
          </a:stretch>
        </p:blipFill>
        <p:spPr>
          <a:xfrm>
            <a:off x="0" y="1"/>
            <a:ext cx="9144000" cy="3429000"/>
          </a:xfrm>
          <a:custGeom>
            <a:avLst/>
            <a:gdLst>
              <a:gd name="connsiteX0" fmla="*/ 0 w 12192000"/>
              <a:gd name="connsiteY0" fmla="*/ 0 h 3429001"/>
              <a:gd name="connsiteX1" fmla="*/ 12192000 w 12192000"/>
              <a:gd name="connsiteY1" fmla="*/ 0 h 3429001"/>
              <a:gd name="connsiteX2" fmla="*/ 12192000 w 12192000"/>
              <a:gd name="connsiteY2" fmla="*/ 2925589 h 3429001"/>
              <a:gd name="connsiteX3" fmla="*/ 12119571 w 12192000"/>
              <a:gd name="connsiteY3" fmla="*/ 2939984 h 3429001"/>
              <a:gd name="connsiteX4" fmla="*/ 6096001 w 12192000"/>
              <a:gd name="connsiteY4" fmla="*/ 3429001 h 3429001"/>
              <a:gd name="connsiteX5" fmla="*/ 72430 w 12192000"/>
              <a:gd name="connsiteY5" fmla="*/ 2939984 h 3429001"/>
              <a:gd name="connsiteX6" fmla="*/ 0 w 12192000"/>
              <a:gd name="connsiteY6" fmla="*/ 2925589 h 3429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3429001">
                <a:moveTo>
                  <a:pt x="0" y="0"/>
                </a:moveTo>
                <a:lnTo>
                  <a:pt x="12192000" y="0"/>
                </a:lnTo>
                <a:lnTo>
                  <a:pt x="12192000" y="2925589"/>
                </a:lnTo>
                <a:lnTo>
                  <a:pt x="12119571" y="2939984"/>
                </a:lnTo>
                <a:cubicBezTo>
                  <a:pt x="10400109" y="3248724"/>
                  <a:pt x="8327268" y="3429001"/>
                  <a:pt x="6096001" y="3429001"/>
                </a:cubicBezTo>
                <a:cubicBezTo>
                  <a:pt x="3864735" y="3429001"/>
                  <a:pt x="1791894" y="3248724"/>
                  <a:pt x="72430" y="2939984"/>
                </a:cubicBezTo>
                <a:lnTo>
                  <a:pt x="0" y="2925589"/>
                </a:lnTo>
                <a:close/>
              </a:path>
            </a:pathLst>
          </a:custGeom>
        </p:spPr>
      </p:pic>
      <p:sp>
        <p:nvSpPr>
          <p:cNvPr id="1049814" name="PA-椭圆 7"/>
          <p:cNvSpPr/>
          <p:nvPr userDrawn="1">
            <p:custDataLst>
              <p:tags r:id="rId4"/>
            </p:custDataLst>
          </p:nvPr>
        </p:nvSpPr>
        <p:spPr>
          <a:xfrm>
            <a:off x="-3508130" y="-2297723"/>
            <a:ext cx="16160261" cy="5726723"/>
          </a:xfrm>
          <a:prstGeom prst="ellipse">
            <a:avLst/>
          </a:prstGeom>
          <a:gradFill flip="none" rotWithShape="1">
            <a:gsLst>
              <a:gs pos="0">
                <a:srgbClr val="A22B17">
                  <a:lumMod val="94000"/>
                  <a:lumOff val="6000"/>
                </a:srgbClr>
              </a:gs>
              <a:gs pos="100000">
                <a:srgbClr val="A22B17">
                  <a:alpha val="72000"/>
                  <a:lumMod val="85000"/>
                  <a:lumOff val="15000"/>
                </a:srgb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zh-CN" altLang="en-US" sz="1350" dirty="0"/>
          </a:p>
        </p:txBody>
      </p:sp>
      <p:grpSp>
        <p:nvGrpSpPr>
          <p:cNvPr id="214" name="组合 119"/>
          <p:cNvGrpSpPr/>
          <p:nvPr userDrawn="1"/>
        </p:nvGrpSpPr>
        <p:grpSpPr>
          <a:xfrm>
            <a:off x="4331279" y="636936"/>
            <a:ext cx="481443" cy="642498"/>
            <a:chOff x="5775038" y="636936"/>
            <a:chExt cx="641924" cy="642498"/>
          </a:xfrm>
        </p:grpSpPr>
        <p:grpSp>
          <p:nvGrpSpPr>
            <p:cNvPr id="215" name="组合 120"/>
            <p:cNvGrpSpPr/>
            <p:nvPr/>
          </p:nvGrpSpPr>
          <p:grpSpPr>
            <a:xfrm>
              <a:off x="5775038" y="636936"/>
              <a:ext cx="641924" cy="642498"/>
              <a:chOff x="1560409" y="2069897"/>
              <a:chExt cx="1776413" cy="1778000"/>
            </a:xfrm>
          </p:grpSpPr>
          <p:sp>
            <p:nvSpPr>
              <p:cNvPr id="1049815" name="îS1îḋé"/>
              <p:cNvSpPr/>
              <p:nvPr/>
            </p:nvSpPr>
            <p:spPr bwMode="auto">
              <a:xfrm>
                <a:off x="1560409" y="2069897"/>
                <a:ext cx="1776413" cy="1778000"/>
              </a:xfrm>
              <a:prstGeom prst="ellipse">
                <a:avLst/>
              </a:prstGeom>
              <a:noFill/>
              <a:ln w="15875" cap="flat">
                <a:solidFill>
                  <a:srgbClr val="F2C68E"/>
                </a:solidFill>
                <a:prstDash val="solid"/>
                <a:miter lim="800000"/>
              </a:ln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1049816" name="îṣḷïďé"/>
              <p:cNvSpPr/>
              <p:nvPr/>
            </p:nvSpPr>
            <p:spPr bwMode="auto">
              <a:xfrm>
                <a:off x="1779484" y="2288972"/>
                <a:ext cx="1336675" cy="1338263"/>
              </a:xfrm>
              <a:prstGeom prst="ellipse">
                <a:avLst/>
              </a:prstGeom>
              <a:noFill/>
              <a:ln w="9525" cap="flat">
                <a:solidFill>
                  <a:srgbClr val="F2C68E"/>
                </a:solidFill>
                <a:prstDash val="solid"/>
                <a:miter lim="800000"/>
              </a:ln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</p:grpSp>
        <p:grpSp>
          <p:nvGrpSpPr>
            <p:cNvPr id="216" name="组合 121"/>
            <p:cNvGrpSpPr/>
            <p:nvPr/>
          </p:nvGrpSpPr>
          <p:grpSpPr>
            <a:xfrm>
              <a:off x="5804581" y="657875"/>
              <a:ext cx="582837" cy="600621"/>
              <a:chOff x="1641372" y="4491628"/>
              <a:chExt cx="1612900" cy="1662113"/>
            </a:xfrm>
            <a:solidFill>
              <a:srgbClr val="F2C68E"/>
            </a:solidFill>
          </p:grpSpPr>
          <p:sp>
            <p:nvSpPr>
              <p:cNvPr id="1049817" name="ïś1íďê"/>
              <p:cNvSpPr/>
              <p:nvPr/>
            </p:nvSpPr>
            <p:spPr bwMode="auto">
              <a:xfrm>
                <a:off x="2889147" y="4701178"/>
                <a:ext cx="153988" cy="138113"/>
              </a:xfrm>
              <a:custGeom>
                <a:avLst/>
                <a:gdLst>
                  <a:gd name="T0" fmla="*/ 62 w 83"/>
                  <a:gd name="T1" fmla="*/ 8 h 75"/>
                  <a:gd name="T2" fmla="*/ 53 w 83"/>
                  <a:gd name="T3" fmla="*/ 10 h 75"/>
                  <a:gd name="T4" fmla="*/ 57 w 83"/>
                  <a:gd name="T5" fmla="*/ 0 h 75"/>
                  <a:gd name="T6" fmla="*/ 44 w 83"/>
                  <a:gd name="T7" fmla="*/ 21 h 75"/>
                  <a:gd name="T8" fmla="*/ 58 w 83"/>
                  <a:gd name="T9" fmla="*/ 11 h 75"/>
                  <a:gd name="T10" fmla="*/ 54 w 83"/>
                  <a:gd name="T11" fmla="*/ 18 h 75"/>
                  <a:gd name="T12" fmla="*/ 28 w 83"/>
                  <a:gd name="T13" fmla="*/ 18 h 75"/>
                  <a:gd name="T14" fmla="*/ 19 w 83"/>
                  <a:gd name="T15" fmla="*/ 17 h 75"/>
                  <a:gd name="T16" fmla="*/ 25 w 83"/>
                  <a:gd name="T17" fmla="*/ 12 h 75"/>
                  <a:gd name="T18" fmla="*/ 1 w 83"/>
                  <a:gd name="T19" fmla="*/ 30 h 75"/>
                  <a:gd name="T20" fmla="*/ 13 w 83"/>
                  <a:gd name="T21" fmla="*/ 24 h 75"/>
                  <a:gd name="T22" fmla="*/ 36 w 83"/>
                  <a:gd name="T23" fmla="*/ 28 h 75"/>
                  <a:gd name="T24" fmla="*/ 22 w 83"/>
                  <a:gd name="T25" fmla="*/ 35 h 75"/>
                  <a:gd name="T26" fmla="*/ 45 w 83"/>
                  <a:gd name="T27" fmla="*/ 41 h 75"/>
                  <a:gd name="T28" fmla="*/ 42 w 83"/>
                  <a:gd name="T29" fmla="*/ 41 h 75"/>
                  <a:gd name="T30" fmla="*/ 35 w 83"/>
                  <a:gd name="T31" fmla="*/ 40 h 75"/>
                  <a:gd name="T32" fmla="*/ 37 w 83"/>
                  <a:gd name="T33" fmla="*/ 45 h 75"/>
                  <a:gd name="T34" fmla="*/ 12 w 83"/>
                  <a:gd name="T35" fmla="*/ 34 h 75"/>
                  <a:gd name="T36" fmla="*/ 9 w 83"/>
                  <a:gd name="T37" fmla="*/ 35 h 75"/>
                  <a:gd name="T38" fmla="*/ 20 w 83"/>
                  <a:gd name="T39" fmla="*/ 64 h 75"/>
                  <a:gd name="T40" fmla="*/ 0 w 83"/>
                  <a:gd name="T41" fmla="*/ 57 h 75"/>
                  <a:gd name="T42" fmla="*/ 35 w 83"/>
                  <a:gd name="T43" fmla="*/ 58 h 75"/>
                  <a:gd name="T44" fmla="*/ 46 w 83"/>
                  <a:gd name="T45" fmla="*/ 57 h 75"/>
                  <a:gd name="T46" fmla="*/ 42 w 83"/>
                  <a:gd name="T47" fmla="*/ 48 h 75"/>
                  <a:gd name="T48" fmla="*/ 62 w 83"/>
                  <a:gd name="T49" fmla="*/ 57 h 75"/>
                  <a:gd name="T50" fmla="*/ 61 w 83"/>
                  <a:gd name="T51" fmla="*/ 35 h 75"/>
                  <a:gd name="T52" fmla="*/ 62 w 83"/>
                  <a:gd name="T53" fmla="*/ 34 h 75"/>
                  <a:gd name="T54" fmla="*/ 66 w 83"/>
                  <a:gd name="T55" fmla="*/ 16 h 75"/>
                  <a:gd name="T56" fmla="*/ 63 w 83"/>
                  <a:gd name="T57" fmla="*/ 44 h 75"/>
                  <a:gd name="T58" fmla="*/ 54 w 83"/>
                  <a:gd name="T59" fmla="*/ 32 h 75"/>
                  <a:gd name="T60" fmla="*/ 60 w 83"/>
                  <a:gd name="T61" fmla="*/ 27 h 75"/>
                  <a:gd name="T62" fmla="*/ 67 w 83"/>
                  <a:gd name="T63" fmla="*/ 18 h 75"/>
                  <a:gd name="T64" fmla="*/ 77 w 83"/>
                  <a:gd name="T65" fmla="*/ 23 h 75"/>
                  <a:gd name="T66" fmla="*/ 60 w 83"/>
                  <a:gd name="T67" fmla="*/ 27 h 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83" h="75">
                    <a:moveTo>
                      <a:pt x="66" y="16"/>
                    </a:moveTo>
                    <a:cubicBezTo>
                      <a:pt x="65" y="13"/>
                      <a:pt x="63" y="11"/>
                      <a:pt x="62" y="8"/>
                    </a:cubicBezTo>
                    <a:cubicBezTo>
                      <a:pt x="59" y="9"/>
                      <a:pt x="57" y="9"/>
                      <a:pt x="54" y="10"/>
                    </a:cubicBezTo>
                    <a:cubicBezTo>
                      <a:pt x="54" y="10"/>
                      <a:pt x="53" y="10"/>
                      <a:pt x="53" y="10"/>
                    </a:cubicBezTo>
                    <a:cubicBezTo>
                      <a:pt x="54" y="7"/>
                      <a:pt x="57" y="6"/>
                      <a:pt x="59" y="3"/>
                    </a:cubicBezTo>
                    <a:cubicBezTo>
                      <a:pt x="58" y="2"/>
                      <a:pt x="58" y="1"/>
                      <a:pt x="57" y="0"/>
                    </a:cubicBezTo>
                    <a:cubicBezTo>
                      <a:pt x="48" y="1"/>
                      <a:pt x="37" y="9"/>
                      <a:pt x="42" y="19"/>
                    </a:cubicBezTo>
                    <a:cubicBezTo>
                      <a:pt x="42" y="19"/>
                      <a:pt x="43" y="20"/>
                      <a:pt x="44" y="21"/>
                    </a:cubicBezTo>
                    <a:cubicBezTo>
                      <a:pt x="47" y="19"/>
                      <a:pt x="48" y="15"/>
                      <a:pt x="51" y="14"/>
                    </a:cubicBezTo>
                    <a:cubicBezTo>
                      <a:pt x="53" y="13"/>
                      <a:pt x="55" y="13"/>
                      <a:pt x="58" y="11"/>
                    </a:cubicBezTo>
                    <a:cubicBezTo>
                      <a:pt x="58" y="11"/>
                      <a:pt x="59" y="11"/>
                      <a:pt x="59" y="11"/>
                    </a:cubicBezTo>
                    <a:cubicBezTo>
                      <a:pt x="57" y="14"/>
                      <a:pt x="56" y="16"/>
                      <a:pt x="54" y="18"/>
                    </a:cubicBezTo>
                    <a:cubicBezTo>
                      <a:pt x="54" y="21"/>
                      <a:pt x="55" y="24"/>
                      <a:pt x="54" y="27"/>
                    </a:cubicBezTo>
                    <a:cubicBezTo>
                      <a:pt x="54" y="27"/>
                      <a:pt x="30" y="18"/>
                      <a:pt x="28" y="18"/>
                    </a:cubicBezTo>
                    <a:cubicBezTo>
                      <a:pt x="25" y="17"/>
                      <a:pt x="22" y="17"/>
                      <a:pt x="20" y="17"/>
                    </a:cubicBezTo>
                    <a:cubicBezTo>
                      <a:pt x="19" y="17"/>
                      <a:pt x="19" y="17"/>
                      <a:pt x="19" y="17"/>
                    </a:cubicBezTo>
                    <a:cubicBezTo>
                      <a:pt x="22" y="15"/>
                      <a:pt x="23" y="15"/>
                      <a:pt x="25" y="13"/>
                    </a:cubicBezTo>
                    <a:cubicBezTo>
                      <a:pt x="25" y="12"/>
                      <a:pt x="25" y="12"/>
                      <a:pt x="25" y="12"/>
                    </a:cubicBezTo>
                    <a:cubicBezTo>
                      <a:pt x="18" y="12"/>
                      <a:pt x="11" y="16"/>
                      <a:pt x="4" y="18"/>
                    </a:cubicBezTo>
                    <a:cubicBezTo>
                      <a:pt x="0" y="22"/>
                      <a:pt x="0" y="25"/>
                      <a:pt x="1" y="30"/>
                    </a:cubicBezTo>
                    <a:cubicBezTo>
                      <a:pt x="3" y="31"/>
                      <a:pt x="3" y="31"/>
                      <a:pt x="3" y="31"/>
                    </a:cubicBezTo>
                    <a:cubicBezTo>
                      <a:pt x="6" y="29"/>
                      <a:pt x="9" y="26"/>
                      <a:pt x="13" y="24"/>
                    </a:cubicBezTo>
                    <a:cubicBezTo>
                      <a:pt x="19" y="20"/>
                      <a:pt x="30" y="22"/>
                      <a:pt x="37" y="27"/>
                    </a:cubicBezTo>
                    <a:cubicBezTo>
                      <a:pt x="37" y="28"/>
                      <a:pt x="36" y="28"/>
                      <a:pt x="36" y="28"/>
                    </a:cubicBezTo>
                    <a:cubicBezTo>
                      <a:pt x="31" y="29"/>
                      <a:pt x="28" y="28"/>
                      <a:pt x="22" y="32"/>
                    </a:cubicBezTo>
                    <a:cubicBezTo>
                      <a:pt x="22" y="33"/>
                      <a:pt x="22" y="34"/>
                      <a:pt x="22" y="35"/>
                    </a:cubicBezTo>
                    <a:cubicBezTo>
                      <a:pt x="22" y="37"/>
                      <a:pt x="22" y="37"/>
                      <a:pt x="24" y="39"/>
                    </a:cubicBezTo>
                    <a:cubicBezTo>
                      <a:pt x="31" y="37"/>
                      <a:pt x="37" y="36"/>
                      <a:pt x="45" y="41"/>
                    </a:cubicBezTo>
                    <a:cubicBezTo>
                      <a:pt x="44" y="41"/>
                      <a:pt x="44" y="41"/>
                      <a:pt x="44" y="41"/>
                    </a:cubicBezTo>
                    <a:cubicBezTo>
                      <a:pt x="43" y="41"/>
                      <a:pt x="42" y="41"/>
                      <a:pt x="42" y="41"/>
                    </a:cubicBezTo>
                    <a:cubicBezTo>
                      <a:pt x="41" y="40"/>
                      <a:pt x="40" y="39"/>
                      <a:pt x="39" y="39"/>
                    </a:cubicBezTo>
                    <a:cubicBezTo>
                      <a:pt x="37" y="41"/>
                      <a:pt x="37" y="41"/>
                      <a:pt x="35" y="40"/>
                    </a:cubicBezTo>
                    <a:cubicBezTo>
                      <a:pt x="35" y="40"/>
                      <a:pt x="34" y="41"/>
                      <a:pt x="34" y="41"/>
                    </a:cubicBezTo>
                    <a:cubicBezTo>
                      <a:pt x="35" y="43"/>
                      <a:pt x="35" y="43"/>
                      <a:pt x="37" y="45"/>
                    </a:cubicBezTo>
                    <a:cubicBezTo>
                      <a:pt x="36" y="46"/>
                      <a:pt x="36" y="47"/>
                      <a:pt x="35" y="48"/>
                    </a:cubicBezTo>
                    <a:cubicBezTo>
                      <a:pt x="27" y="44"/>
                      <a:pt x="20" y="40"/>
                      <a:pt x="12" y="34"/>
                    </a:cubicBezTo>
                    <a:cubicBezTo>
                      <a:pt x="11" y="34"/>
                      <a:pt x="11" y="34"/>
                      <a:pt x="10" y="34"/>
                    </a:cubicBezTo>
                    <a:cubicBezTo>
                      <a:pt x="9" y="34"/>
                      <a:pt x="9" y="35"/>
                      <a:pt x="9" y="35"/>
                    </a:cubicBezTo>
                    <a:cubicBezTo>
                      <a:pt x="11" y="55"/>
                      <a:pt x="20" y="44"/>
                      <a:pt x="31" y="54"/>
                    </a:cubicBezTo>
                    <a:cubicBezTo>
                      <a:pt x="27" y="58"/>
                      <a:pt x="23" y="61"/>
                      <a:pt x="20" y="64"/>
                    </a:cubicBezTo>
                    <a:cubicBezTo>
                      <a:pt x="15" y="63"/>
                      <a:pt x="6" y="55"/>
                      <a:pt x="1" y="56"/>
                    </a:cubicBezTo>
                    <a:cubicBezTo>
                      <a:pt x="1" y="56"/>
                      <a:pt x="1" y="56"/>
                      <a:pt x="0" y="57"/>
                    </a:cubicBezTo>
                    <a:cubicBezTo>
                      <a:pt x="2" y="62"/>
                      <a:pt x="7" y="67"/>
                      <a:pt x="9" y="72"/>
                    </a:cubicBezTo>
                    <a:cubicBezTo>
                      <a:pt x="17" y="75"/>
                      <a:pt x="26" y="66"/>
                      <a:pt x="35" y="58"/>
                    </a:cubicBezTo>
                    <a:cubicBezTo>
                      <a:pt x="37" y="60"/>
                      <a:pt x="39" y="63"/>
                      <a:pt x="42" y="65"/>
                    </a:cubicBezTo>
                    <a:cubicBezTo>
                      <a:pt x="46" y="63"/>
                      <a:pt x="46" y="60"/>
                      <a:pt x="46" y="57"/>
                    </a:cubicBezTo>
                    <a:cubicBezTo>
                      <a:pt x="45" y="54"/>
                      <a:pt x="43" y="53"/>
                      <a:pt x="40" y="50"/>
                    </a:cubicBezTo>
                    <a:cubicBezTo>
                      <a:pt x="41" y="49"/>
                      <a:pt x="42" y="48"/>
                      <a:pt x="42" y="48"/>
                    </a:cubicBezTo>
                    <a:cubicBezTo>
                      <a:pt x="46" y="48"/>
                      <a:pt x="49" y="48"/>
                      <a:pt x="53" y="46"/>
                    </a:cubicBezTo>
                    <a:cubicBezTo>
                      <a:pt x="56" y="49"/>
                      <a:pt x="59" y="53"/>
                      <a:pt x="62" y="57"/>
                    </a:cubicBezTo>
                    <a:cubicBezTo>
                      <a:pt x="65" y="56"/>
                      <a:pt x="68" y="55"/>
                      <a:pt x="70" y="52"/>
                    </a:cubicBezTo>
                    <a:cubicBezTo>
                      <a:pt x="72" y="47"/>
                      <a:pt x="66" y="40"/>
                      <a:pt x="61" y="35"/>
                    </a:cubicBezTo>
                    <a:cubicBezTo>
                      <a:pt x="61" y="35"/>
                      <a:pt x="61" y="35"/>
                      <a:pt x="61" y="35"/>
                    </a:cubicBezTo>
                    <a:cubicBezTo>
                      <a:pt x="62" y="34"/>
                      <a:pt x="62" y="34"/>
                      <a:pt x="62" y="34"/>
                    </a:cubicBezTo>
                    <a:cubicBezTo>
                      <a:pt x="69" y="34"/>
                      <a:pt x="72" y="37"/>
                      <a:pt x="79" y="32"/>
                    </a:cubicBezTo>
                    <a:cubicBezTo>
                      <a:pt x="83" y="17"/>
                      <a:pt x="74" y="21"/>
                      <a:pt x="66" y="16"/>
                    </a:cubicBezTo>
                    <a:close/>
                    <a:moveTo>
                      <a:pt x="63" y="44"/>
                    </a:moveTo>
                    <a:cubicBezTo>
                      <a:pt x="63" y="44"/>
                      <a:pt x="63" y="44"/>
                      <a:pt x="63" y="44"/>
                    </a:cubicBezTo>
                    <a:cubicBezTo>
                      <a:pt x="55" y="42"/>
                      <a:pt x="46" y="34"/>
                      <a:pt x="38" y="32"/>
                    </a:cubicBezTo>
                    <a:cubicBezTo>
                      <a:pt x="43" y="28"/>
                      <a:pt x="48" y="31"/>
                      <a:pt x="54" y="32"/>
                    </a:cubicBezTo>
                    <a:cubicBezTo>
                      <a:pt x="57" y="36"/>
                      <a:pt x="60" y="40"/>
                      <a:pt x="63" y="44"/>
                    </a:cubicBezTo>
                    <a:close/>
                    <a:moveTo>
                      <a:pt x="60" y="27"/>
                    </a:moveTo>
                    <a:cubicBezTo>
                      <a:pt x="60" y="27"/>
                      <a:pt x="60" y="26"/>
                      <a:pt x="59" y="26"/>
                    </a:cubicBezTo>
                    <a:cubicBezTo>
                      <a:pt x="61" y="23"/>
                      <a:pt x="63" y="20"/>
                      <a:pt x="67" y="18"/>
                    </a:cubicBezTo>
                    <a:cubicBezTo>
                      <a:pt x="69" y="19"/>
                      <a:pt x="71" y="19"/>
                      <a:pt x="74" y="20"/>
                    </a:cubicBezTo>
                    <a:cubicBezTo>
                      <a:pt x="75" y="21"/>
                      <a:pt x="76" y="22"/>
                      <a:pt x="77" y="23"/>
                    </a:cubicBezTo>
                    <a:cubicBezTo>
                      <a:pt x="77" y="24"/>
                      <a:pt x="77" y="24"/>
                      <a:pt x="77" y="25"/>
                    </a:cubicBezTo>
                    <a:cubicBezTo>
                      <a:pt x="72" y="29"/>
                      <a:pt x="66" y="27"/>
                      <a:pt x="60" y="27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1049818" name="ïṩḻîḓé"/>
              <p:cNvSpPr/>
              <p:nvPr/>
            </p:nvSpPr>
            <p:spPr bwMode="auto">
              <a:xfrm>
                <a:off x="2728809" y="4582115"/>
                <a:ext cx="101600" cy="147638"/>
              </a:xfrm>
              <a:custGeom>
                <a:avLst/>
                <a:gdLst>
                  <a:gd name="T0" fmla="*/ 47 w 55"/>
                  <a:gd name="T1" fmla="*/ 0 h 80"/>
                  <a:gd name="T2" fmla="*/ 49 w 55"/>
                  <a:gd name="T3" fmla="*/ 20 h 80"/>
                  <a:gd name="T4" fmla="*/ 51 w 55"/>
                  <a:gd name="T5" fmla="*/ 34 h 80"/>
                  <a:gd name="T6" fmla="*/ 28 w 55"/>
                  <a:gd name="T7" fmla="*/ 38 h 80"/>
                  <a:gd name="T8" fmla="*/ 41 w 55"/>
                  <a:gd name="T9" fmla="*/ 68 h 80"/>
                  <a:gd name="T10" fmla="*/ 25 w 55"/>
                  <a:gd name="T11" fmla="*/ 74 h 80"/>
                  <a:gd name="T12" fmla="*/ 26 w 55"/>
                  <a:gd name="T13" fmla="*/ 39 h 80"/>
                  <a:gd name="T14" fmla="*/ 23 w 55"/>
                  <a:gd name="T15" fmla="*/ 40 h 80"/>
                  <a:gd name="T16" fmla="*/ 7 w 55"/>
                  <a:gd name="T17" fmla="*/ 54 h 80"/>
                  <a:gd name="T18" fmla="*/ 0 w 55"/>
                  <a:gd name="T19" fmla="*/ 43 h 80"/>
                  <a:gd name="T20" fmla="*/ 14 w 55"/>
                  <a:gd name="T21" fmla="*/ 28 h 80"/>
                  <a:gd name="T22" fmla="*/ 6 w 55"/>
                  <a:gd name="T23" fmla="*/ 15 h 80"/>
                  <a:gd name="T24" fmla="*/ 7 w 55"/>
                  <a:gd name="T25" fmla="*/ 15 h 80"/>
                  <a:gd name="T26" fmla="*/ 26 w 55"/>
                  <a:gd name="T27" fmla="*/ 18 h 80"/>
                  <a:gd name="T28" fmla="*/ 47 w 55"/>
                  <a:gd name="T29" fmla="*/ 0 h 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55" h="80">
                    <a:moveTo>
                      <a:pt x="47" y="0"/>
                    </a:moveTo>
                    <a:cubicBezTo>
                      <a:pt x="55" y="7"/>
                      <a:pt x="49" y="11"/>
                      <a:pt x="49" y="20"/>
                    </a:cubicBezTo>
                    <a:cubicBezTo>
                      <a:pt x="49" y="25"/>
                      <a:pt x="55" y="25"/>
                      <a:pt x="51" y="34"/>
                    </a:cubicBezTo>
                    <a:cubicBezTo>
                      <a:pt x="44" y="37"/>
                      <a:pt x="34" y="32"/>
                      <a:pt x="28" y="38"/>
                    </a:cubicBezTo>
                    <a:cubicBezTo>
                      <a:pt x="38" y="44"/>
                      <a:pt x="45" y="59"/>
                      <a:pt x="41" y="68"/>
                    </a:cubicBezTo>
                    <a:cubicBezTo>
                      <a:pt x="39" y="74"/>
                      <a:pt x="28" y="80"/>
                      <a:pt x="25" y="74"/>
                    </a:cubicBezTo>
                    <a:cubicBezTo>
                      <a:pt x="19" y="62"/>
                      <a:pt x="39" y="55"/>
                      <a:pt x="26" y="39"/>
                    </a:cubicBezTo>
                    <a:cubicBezTo>
                      <a:pt x="25" y="39"/>
                      <a:pt x="25" y="39"/>
                      <a:pt x="23" y="40"/>
                    </a:cubicBezTo>
                    <a:cubicBezTo>
                      <a:pt x="17" y="44"/>
                      <a:pt x="14" y="52"/>
                      <a:pt x="7" y="54"/>
                    </a:cubicBezTo>
                    <a:cubicBezTo>
                      <a:pt x="2" y="51"/>
                      <a:pt x="2" y="48"/>
                      <a:pt x="0" y="43"/>
                    </a:cubicBezTo>
                    <a:cubicBezTo>
                      <a:pt x="3" y="39"/>
                      <a:pt x="14" y="30"/>
                      <a:pt x="14" y="28"/>
                    </a:cubicBezTo>
                    <a:cubicBezTo>
                      <a:pt x="14" y="25"/>
                      <a:pt x="7" y="19"/>
                      <a:pt x="6" y="15"/>
                    </a:cubicBezTo>
                    <a:cubicBezTo>
                      <a:pt x="6" y="15"/>
                      <a:pt x="7" y="15"/>
                      <a:pt x="7" y="15"/>
                    </a:cubicBezTo>
                    <a:cubicBezTo>
                      <a:pt x="13" y="15"/>
                      <a:pt x="20" y="18"/>
                      <a:pt x="26" y="18"/>
                    </a:cubicBezTo>
                    <a:cubicBezTo>
                      <a:pt x="34" y="17"/>
                      <a:pt x="41" y="5"/>
                      <a:pt x="47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1049819" name="išḷïḓe"/>
              <p:cNvSpPr/>
              <p:nvPr/>
            </p:nvSpPr>
            <p:spPr bwMode="auto">
              <a:xfrm>
                <a:off x="2490684" y="4510678"/>
                <a:ext cx="144463" cy="160338"/>
              </a:xfrm>
              <a:custGeom>
                <a:avLst/>
                <a:gdLst>
                  <a:gd name="T0" fmla="*/ 55 w 78"/>
                  <a:gd name="T1" fmla="*/ 64 h 87"/>
                  <a:gd name="T2" fmla="*/ 62 w 78"/>
                  <a:gd name="T3" fmla="*/ 50 h 87"/>
                  <a:gd name="T4" fmla="*/ 54 w 78"/>
                  <a:gd name="T5" fmla="*/ 43 h 87"/>
                  <a:gd name="T6" fmla="*/ 69 w 78"/>
                  <a:gd name="T7" fmla="*/ 29 h 87"/>
                  <a:gd name="T8" fmla="*/ 67 w 78"/>
                  <a:gd name="T9" fmla="*/ 21 h 87"/>
                  <a:gd name="T10" fmla="*/ 70 w 78"/>
                  <a:gd name="T11" fmla="*/ 11 h 87"/>
                  <a:gd name="T12" fmla="*/ 69 w 78"/>
                  <a:gd name="T13" fmla="*/ 3 h 87"/>
                  <a:gd name="T14" fmla="*/ 64 w 78"/>
                  <a:gd name="T15" fmla="*/ 0 h 87"/>
                  <a:gd name="T16" fmla="*/ 63 w 78"/>
                  <a:gd name="T17" fmla="*/ 0 h 87"/>
                  <a:gd name="T18" fmla="*/ 63 w 78"/>
                  <a:gd name="T19" fmla="*/ 12 h 87"/>
                  <a:gd name="T20" fmla="*/ 42 w 78"/>
                  <a:gd name="T21" fmla="*/ 25 h 87"/>
                  <a:gd name="T22" fmla="*/ 42 w 78"/>
                  <a:gd name="T23" fmla="*/ 33 h 87"/>
                  <a:gd name="T24" fmla="*/ 33 w 78"/>
                  <a:gd name="T25" fmla="*/ 36 h 87"/>
                  <a:gd name="T26" fmla="*/ 39 w 78"/>
                  <a:gd name="T27" fmla="*/ 33 h 87"/>
                  <a:gd name="T28" fmla="*/ 39 w 78"/>
                  <a:gd name="T29" fmla="*/ 23 h 87"/>
                  <a:gd name="T30" fmla="*/ 36 w 78"/>
                  <a:gd name="T31" fmla="*/ 0 h 87"/>
                  <a:gd name="T32" fmla="*/ 36 w 78"/>
                  <a:gd name="T33" fmla="*/ 0 h 87"/>
                  <a:gd name="T34" fmla="*/ 36 w 78"/>
                  <a:gd name="T35" fmla="*/ 8 h 87"/>
                  <a:gd name="T36" fmla="*/ 30 w 78"/>
                  <a:gd name="T37" fmla="*/ 24 h 87"/>
                  <a:gd name="T38" fmla="*/ 1 w 78"/>
                  <a:gd name="T39" fmla="*/ 29 h 87"/>
                  <a:gd name="T40" fmla="*/ 0 w 78"/>
                  <a:gd name="T41" fmla="*/ 31 h 87"/>
                  <a:gd name="T42" fmla="*/ 18 w 78"/>
                  <a:gd name="T43" fmla="*/ 39 h 87"/>
                  <a:gd name="T44" fmla="*/ 25 w 78"/>
                  <a:gd name="T45" fmla="*/ 36 h 87"/>
                  <a:gd name="T46" fmla="*/ 25 w 78"/>
                  <a:gd name="T47" fmla="*/ 36 h 87"/>
                  <a:gd name="T48" fmla="*/ 3 w 78"/>
                  <a:gd name="T49" fmla="*/ 62 h 87"/>
                  <a:gd name="T50" fmla="*/ 5 w 78"/>
                  <a:gd name="T51" fmla="*/ 67 h 87"/>
                  <a:gd name="T52" fmla="*/ 12 w 78"/>
                  <a:gd name="T53" fmla="*/ 66 h 87"/>
                  <a:gd name="T54" fmla="*/ 22 w 78"/>
                  <a:gd name="T55" fmla="*/ 74 h 87"/>
                  <a:gd name="T56" fmla="*/ 25 w 78"/>
                  <a:gd name="T57" fmla="*/ 61 h 87"/>
                  <a:gd name="T58" fmla="*/ 30 w 78"/>
                  <a:gd name="T59" fmla="*/ 49 h 87"/>
                  <a:gd name="T60" fmla="*/ 48 w 78"/>
                  <a:gd name="T61" fmla="*/ 63 h 87"/>
                  <a:gd name="T62" fmla="*/ 24 w 78"/>
                  <a:gd name="T63" fmla="*/ 71 h 87"/>
                  <a:gd name="T64" fmla="*/ 48 w 78"/>
                  <a:gd name="T65" fmla="*/ 71 h 87"/>
                  <a:gd name="T66" fmla="*/ 51 w 78"/>
                  <a:gd name="T67" fmla="*/ 69 h 87"/>
                  <a:gd name="T68" fmla="*/ 77 w 78"/>
                  <a:gd name="T69" fmla="*/ 87 h 87"/>
                  <a:gd name="T70" fmla="*/ 78 w 78"/>
                  <a:gd name="T71" fmla="*/ 86 h 87"/>
                  <a:gd name="T72" fmla="*/ 55 w 78"/>
                  <a:gd name="T73" fmla="*/ 64 h 87"/>
                  <a:gd name="T74" fmla="*/ 15 w 78"/>
                  <a:gd name="T75" fmla="*/ 64 h 87"/>
                  <a:gd name="T76" fmla="*/ 15 w 78"/>
                  <a:gd name="T77" fmla="*/ 65 h 87"/>
                  <a:gd name="T78" fmla="*/ 11 w 78"/>
                  <a:gd name="T79" fmla="*/ 63 h 87"/>
                  <a:gd name="T80" fmla="*/ 12 w 78"/>
                  <a:gd name="T81" fmla="*/ 60 h 87"/>
                  <a:gd name="T82" fmla="*/ 15 w 78"/>
                  <a:gd name="T83" fmla="*/ 57 h 87"/>
                  <a:gd name="T84" fmla="*/ 17 w 78"/>
                  <a:gd name="T85" fmla="*/ 58 h 87"/>
                  <a:gd name="T86" fmla="*/ 15 w 78"/>
                  <a:gd name="T87" fmla="*/ 64 h 87"/>
                  <a:gd name="T88" fmla="*/ 32 w 78"/>
                  <a:gd name="T89" fmla="*/ 46 h 87"/>
                  <a:gd name="T90" fmla="*/ 44 w 78"/>
                  <a:gd name="T91" fmla="*/ 34 h 87"/>
                  <a:gd name="T92" fmla="*/ 52 w 78"/>
                  <a:gd name="T93" fmla="*/ 35 h 87"/>
                  <a:gd name="T94" fmla="*/ 46 w 78"/>
                  <a:gd name="T95" fmla="*/ 50 h 87"/>
                  <a:gd name="T96" fmla="*/ 48 w 78"/>
                  <a:gd name="T97" fmla="*/ 52 h 87"/>
                  <a:gd name="T98" fmla="*/ 56 w 78"/>
                  <a:gd name="T99" fmla="*/ 50 h 87"/>
                  <a:gd name="T100" fmla="*/ 52 w 78"/>
                  <a:gd name="T101" fmla="*/ 61 h 87"/>
                  <a:gd name="T102" fmla="*/ 32 w 78"/>
                  <a:gd name="T103" fmla="*/ 46 h 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78" h="87">
                    <a:moveTo>
                      <a:pt x="55" y="64"/>
                    </a:moveTo>
                    <a:cubicBezTo>
                      <a:pt x="58" y="60"/>
                      <a:pt x="60" y="55"/>
                      <a:pt x="62" y="50"/>
                    </a:cubicBezTo>
                    <a:cubicBezTo>
                      <a:pt x="61" y="47"/>
                      <a:pt x="58" y="44"/>
                      <a:pt x="54" y="43"/>
                    </a:cubicBezTo>
                    <a:cubicBezTo>
                      <a:pt x="57" y="36"/>
                      <a:pt x="64" y="33"/>
                      <a:pt x="69" y="29"/>
                    </a:cubicBezTo>
                    <a:cubicBezTo>
                      <a:pt x="69" y="25"/>
                      <a:pt x="67" y="24"/>
                      <a:pt x="67" y="21"/>
                    </a:cubicBezTo>
                    <a:cubicBezTo>
                      <a:pt x="68" y="18"/>
                      <a:pt x="69" y="15"/>
                      <a:pt x="70" y="11"/>
                    </a:cubicBezTo>
                    <a:cubicBezTo>
                      <a:pt x="70" y="9"/>
                      <a:pt x="69" y="6"/>
                      <a:pt x="69" y="3"/>
                    </a:cubicBezTo>
                    <a:cubicBezTo>
                      <a:pt x="68" y="2"/>
                      <a:pt x="67" y="1"/>
                      <a:pt x="64" y="0"/>
                    </a:cubicBezTo>
                    <a:cubicBezTo>
                      <a:pt x="64" y="0"/>
                      <a:pt x="63" y="0"/>
                      <a:pt x="63" y="0"/>
                    </a:cubicBezTo>
                    <a:cubicBezTo>
                      <a:pt x="61" y="5"/>
                      <a:pt x="63" y="8"/>
                      <a:pt x="63" y="12"/>
                    </a:cubicBezTo>
                    <a:cubicBezTo>
                      <a:pt x="63" y="24"/>
                      <a:pt x="52" y="26"/>
                      <a:pt x="42" y="25"/>
                    </a:cubicBezTo>
                    <a:cubicBezTo>
                      <a:pt x="41" y="28"/>
                      <a:pt x="41" y="31"/>
                      <a:pt x="42" y="33"/>
                    </a:cubicBezTo>
                    <a:cubicBezTo>
                      <a:pt x="39" y="34"/>
                      <a:pt x="36" y="35"/>
                      <a:pt x="33" y="36"/>
                    </a:cubicBezTo>
                    <a:cubicBezTo>
                      <a:pt x="34" y="32"/>
                      <a:pt x="36" y="32"/>
                      <a:pt x="39" y="33"/>
                    </a:cubicBezTo>
                    <a:cubicBezTo>
                      <a:pt x="41" y="29"/>
                      <a:pt x="38" y="27"/>
                      <a:pt x="39" y="23"/>
                    </a:cubicBezTo>
                    <a:cubicBezTo>
                      <a:pt x="39" y="14"/>
                      <a:pt x="53" y="6"/>
                      <a:pt x="36" y="0"/>
                    </a:cubicBezTo>
                    <a:cubicBezTo>
                      <a:pt x="36" y="0"/>
                      <a:pt x="36" y="0"/>
                      <a:pt x="36" y="0"/>
                    </a:cubicBezTo>
                    <a:cubicBezTo>
                      <a:pt x="35" y="3"/>
                      <a:pt x="36" y="5"/>
                      <a:pt x="36" y="8"/>
                    </a:cubicBezTo>
                    <a:cubicBezTo>
                      <a:pt x="34" y="14"/>
                      <a:pt x="32" y="19"/>
                      <a:pt x="30" y="24"/>
                    </a:cubicBezTo>
                    <a:cubicBezTo>
                      <a:pt x="22" y="26"/>
                      <a:pt x="9" y="26"/>
                      <a:pt x="1" y="29"/>
                    </a:cubicBezTo>
                    <a:cubicBezTo>
                      <a:pt x="1" y="30"/>
                      <a:pt x="1" y="30"/>
                      <a:pt x="0" y="31"/>
                    </a:cubicBezTo>
                    <a:cubicBezTo>
                      <a:pt x="1" y="35"/>
                      <a:pt x="12" y="39"/>
                      <a:pt x="18" y="39"/>
                    </a:cubicBezTo>
                    <a:cubicBezTo>
                      <a:pt x="20" y="38"/>
                      <a:pt x="22" y="37"/>
                      <a:pt x="25" y="36"/>
                    </a:cubicBezTo>
                    <a:cubicBezTo>
                      <a:pt x="25" y="36"/>
                      <a:pt x="25" y="36"/>
                      <a:pt x="25" y="36"/>
                    </a:cubicBezTo>
                    <a:cubicBezTo>
                      <a:pt x="21" y="52"/>
                      <a:pt x="9" y="50"/>
                      <a:pt x="3" y="62"/>
                    </a:cubicBezTo>
                    <a:cubicBezTo>
                      <a:pt x="4" y="63"/>
                      <a:pt x="4" y="65"/>
                      <a:pt x="5" y="67"/>
                    </a:cubicBezTo>
                    <a:cubicBezTo>
                      <a:pt x="7" y="67"/>
                      <a:pt x="10" y="67"/>
                      <a:pt x="12" y="66"/>
                    </a:cubicBezTo>
                    <a:cubicBezTo>
                      <a:pt x="17" y="68"/>
                      <a:pt x="17" y="72"/>
                      <a:pt x="22" y="74"/>
                    </a:cubicBezTo>
                    <a:cubicBezTo>
                      <a:pt x="25" y="71"/>
                      <a:pt x="24" y="66"/>
                      <a:pt x="25" y="61"/>
                    </a:cubicBezTo>
                    <a:cubicBezTo>
                      <a:pt x="25" y="56"/>
                      <a:pt x="28" y="52"/>
                      <a:pt x="30" y="49"/>
                    </a:cubicBezTo>
                    <a:cubicBezTo>
                      <a:pt x="40" y="53"/>
                      <a:pt x="42" y="58"/>
                      <a:pt x="48" y="63"/>
                    </a:cubicBezTo>
                    <a:cubicBezTo>
                      <a:pt x="44" y="74"/>
                      <a:pt x="29" y="63"/>
                      <a:pt x="24" y="71"/>
                    </a:cubicBezTo>
                    <a:cubicBezTo>
                      <a:pt x="39" y="78"/>
                      <a:pt x="36" y="74"/>
                      <a:pt x="48" y="71"/>
                    </a:cubicBezTo>
                    <a:cubicBezTo>
                      <a:pt x="49" y="70"/>
                      <a:pt x="50" y="70"/>
                      <a:pt x="51" y="69"/>
                    </a:cubicBezTo>
                    <a:cubicBezTo>
                      <a:pt x="58" y="79"/>
                      <a:pt x="58" y="87"/>
                      <a:pt x="77" y="87"/>
                    </a:cubicBezTo>
                    <a:cubicBezTo>
                      <a:pt x="77" y="87"/>
                      <a:pt x="78" y="86"/>
                      <a:pt x="78" y="86"/>
                    </a:cubicBezTo>
                    <a:cubicBezTo>
                      <a:pt x="74" y="76"/>
                      <a:pt x="60" y="73"/>
                      <a:pt x="55" y="64"/>
                    </a:cubicBezTo>
                    <a:close/>
                    <a:moveTo>
                      <a:pt x="15" y="64"/>
                    </a:moveTo>
                    <a:cubicBezTo>
                      <a:pt x="15" y="65"/>
                      <a:pt x="15" y="65"/>
                      <a:pt x="15" y="65"/>
                    </a:cubicBezTo>
                    <a:cubicBezTo>
                      <a:pt x="14" y="64"/>
                      <a:pt x="13" y="64"/>
                      <a:pt x="11" y="63"/>
                    </a:cubicBezTo>
                    <a:cubicBezTo>
                      <a:pt x="11" y="62"/>
                      <a:pt x="12" y="61"/>
                      <a:pt x="12" y="60"/>
                    </a:cubicBezTo>
                    <a:cubicBezTo>
                      <a:pt x="13" y="59"/>
                      <a:pt x="14" y="58"/>
                      <a:pt x="15" y="57"/>
                    </a:cubicBezTo>
                    <a:cubicBezTo>
                      <a:pt x="16" y="57"/>
                      <a:pt x="16" y="58"/>
                      <a:pt x="17" y="58"/>
                    </a:cubicBezTo>
                    <a:cubicBezTo>
                      <a:pt x="16" y="60"/>
                      <a:pt x="16" y="62"/>
                      <a:pt x="15" y="64"/>
                    </a:cubicBezTo>
                    <a:close/>
                    <a:moveTo>
                      <a:pt x="32" y="46"/>
                    </a:moveTo>
                    <a:cubicBezTo>
                      <a:pt x="35" y="43"/>
                      <a:pt x="44" y="37"/>
                      <a:pt x="44" y="34"/>
                    </a:cubicBezTo>
                    <a:cubicBezTo>
                      <a:pt x="47" y="34"/>
                      <a:pt x="49" y="35"/>
                      <a:pt x="52" y="35"/>
                    </a:cubicBezTo>
                    <a:cubicBezTo>
                      <a:pt x="50" y="40"/>
                      <a:pt x="45" y="44"/>
                      <a:pt x="46" y="50"/>
                    </a:cubicBezTo>
                    <a:cubicBezTo>
                      <a:pt x="46" y="51"/>
                      <a:pt x="47" y="51"/>
                      <a:pt x="48" y="52"/>
                    </a:cubicBezTo>
                    <a:cubicBezTo>
                      <a:pt x="50" y="51"/>
                      <a:pt x="53" y="49"/>
                      <a:pt x="56" y="50"/>
                    </a:cubicBezTo>
                    <a:cubicBezTo>
                      <a:pt x="55" y="54"/>
                      <a:pt x="53" y="57"/>
                      <a:pt x="52" y="61"/>
                    </a:cubicBezTo>
                    <a:cubicBezTo>
                      <a:pt x="45" y="56"/>
                      <a:pt x="44" y="49"/>
                      <a:pt x="32" y="46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1049820" name="ï$ľíḍe"/>
              <p:cNvSpPr/>
              <p:nvPr/>
            </p:nvSpPr>
            <p:spPr bwMode="auto">
              <a:xfrm>
                <a:off x="2255734" y="4491628"/>
                <a:ext cx="136525" cy="174625"/>
              </a:xfrm>
              <a:custGeom>
                <a:avLst/>
                <a:gdLst>
                  <a:gd name="T0" fmla="*/ 74 w 74"/>
                  <a:gd name="T1" fmla="*/ 41 h 94"/>
                  <a:gd name="T2" fmla="*/ 64 w 74"/>
                  <a:gd name="T3" fmla="*/ 35 h 94"/>
                  <a:gd name="T4" fmla="*/ 51 w 74"/>
                  <a:gd name="T5" fmla="*/ 5 h 94"/>
                  <a:gd name="T6" fmla="*/ 58 w 74"/>
                  <a:gd name="T7" fmla="*/ 39 h 94"/>
                  <a:gd name="T8" fmla="*/ 47 w 74"/>
                  <a:gd name="T9" fmla="*/ 47 h 94"/>
                  <a:gd name="T10" fmla="*/ 55 w 74"/>
                  <a:gd name="T11" fmla="*/ 34 h 94"/>
                  <a:gd name="T12" fmla="*/ 47 w 74"/>
                  <a:gd name="T13" fmla="*/ 29 h 94"/>
                  <a:gd name="T14" fmla="*/ 54 w 74"/>
                  <a:gd name="T15" fmla="*/ 22 h 94"/>
                  <a:gd name="T16" fmla="*/ 54 w 74"/>
                  <a:gd name="T17" fmla="*/ 20 h 94"/>
                  <a:gd name="T18" fmla="*/ 54 w 74"/>
                  <a:gd name="T19" fmla="*/ 19 h 94"/>
                  <a:gd name="T20" fmla="*/ 41 w 74"/>
                  <a:gd name="T21" fmla="*/ 19 h 94"/>
                  <a:gd name="T22" fmla="*/ 44 w 74"/>
                  <a:gd name="T23" fmla="*/ 22 h 94"/>
                  <a:gd name="T24" fmla="*/ 44 w 74"/>
                  <a:gd name="T25" fmla="*/ 32 h 94"/>
                  <a:gd name="T26" fmla="*/ 48 w 74"/>
                  <a:gd name="T27" fmla="*/ 37 h 94"/>
                  <a:gd name="T28" fmla="*/ 40 w 74"/>
                  <a:gd name="T29" fmla="*/ 58 h 94"/>
                  <a:gd name="T30" fmla="*/ 44 w 74"/>
                  <a:gd name="T31" fmla="*/ 61 h 94"/>
                  <a:gd name="T32" fmla="*/ 59 w 74"/>
                  <a:gd name="T33" fmla="*/ 46 h 94"/>
                  <a:gd name="T34" fmla="*/ 59 w 74"/>
                  <a:gd name="T35" fmla="*/ 46 h 94"/>
                  <a:gd name="T36" fmla="*/ 66 w 74"/>
                  <a:gd name="T37" fmla="*/ 93 h 94"/>
                  <a:gd name="T38" fmla="*/ 68 w 74"/>
                  <a:gd name="T39" fmla="*/ 93 h 94"/>
                  <a:gd name="T40" fmla="*/ 65 w 74"/>
                  <a:gd name="T41" fmla="*/ 42 h 94"/>
                  <a:gd name="T42" fmla="*/ 73 w 74"/>
                  <a:gd name="T43" fmla="*/ 41 h 94"/>
                  <a:gd name="T44" fmla="*/ 74 w 74"/>
                  <a:gd name="T45" fmla="*/ 41 h 94"/>
                  <a:gd name="T46" fmla="*/ 43 w 74"/>
                  <a:gd name="T47" fmla="*/ 42 h 94"/>
                  <a:gd name="T48" fmla="*/ 35 w 74"/>
                  <a:gd name="T49" fmla="*/ 48 h 94"/>
                  <a:gd name="T50" fmla="*/ 39 w 74"/>
                  <a:gd name="T51" fmla="*/ 38 h 94"/>
                  <a:gd name="T52" fmla="*/ 37 w 74"/>
                  <a:gd name="T53" fmla="*/ 29 h 94"/>
                  <a:gd name="T54" fmla="*/ 40 w 74"/>
                  <a:gd name="T55" fmla="*/ 27 h 94"/>
                  <a:gd name="T56" fmla="*/ 34 w 74"/>
                  <a:gd name="T57" fmla="*/ 16 h 94"/>
                  <a:gd name="T58" fmla="*/ 32 w 74"/>
                  <a:gd name="T59" fmla="*/ 15 h 94"/>
                  <a:gd name="T60" fmla="*/ 4 w 74"/>
                  <a:gd name="T61" fmla="*/ 46 h 94"/>
                  <a:gd name="T62" fmla="*/ 30 w 74"/>
                  <a:gd name="T63" fmla="*/ 29 h 94"/>
                  <a:gd name="T64" fmla="*/ 8 w 74"/>
                  <a:gd name="T65" fmla="*/ 52 h 94"/>
                  <a:gd name="T66" fmla="*/ 0 w 74"/>
                  <a:gd name="T67" fmla="*/ 56 h 94"/>
                  <a:gd name="T68" fmla="*/ 3 w 74"/>
                  <a:gd name="T69" fmla="*/ 61 h 94"/>
                  <a:gd name="T70" fmla="*/ 23 w 74"/>
                  <a:gd name="T71" fmla="*/ 54 h 94"/>
                  <a:gd name="T72" fmla="*/ 25 w 74"/>
                  <a:gd name="T73" fmla="*/ 53 h 94"/>
                  <a:gd name="T74" fmla="*/ 25 w 74"/>
                  <a:gd name="T75" fmla="*/ 53 h 94"/>
                  <a:gd name="T76" fmla="*/ 20 w 74"/>
                  <a:gd name="T77" fmla="*/ 72 h 94"/>
                  <a:gd name="T78" fmla="*/ 25 w 74"/>
                  <a:gd name="T79" fmla="*/ 76 h 94"/>
                  <a:gd name="T80" fmla="*/ 26 w 74"/>
                  <a:gd name="T81" fmla="*/ 76 h 94"/>
                  <a:gd name="T82" fmla="*/ 30 w 74"/>
                  <a:gd name="T83" fmla="*/ 67 h 94"/>
                  <a:gd name="T84" fmla="*/ 31 w 74"/>
                  <a:gd name="T85" fmla="*/ 66 h 94"/>
                  <a:gd name="T86" fmla="*/ 32 w 74"/>
                  <a:gd name="T87" fmla="*/ 75 h 94"/>
                  <a:gd name="T88" fmla="*/ 35 w 74"/>
                  <a:gd name="T89" fmla="*/ 76 h 94"/>
                  <a:gd name="T90" fmla="*/ 38 w 74"/>
                  <a:gd name="T91" fmla="*/ 76 h 94"/>
                  <a:gd name="T92" fmla="*/ 35 w 74"/>
                  <a:gd name="T93" fmla="*/ 61 h 94"/>
                  <a:gd name="T94" fmla="*/ 43 w 74"/>
                  <a:gd name="T95" fmla="*/ 42 h 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74" h="94">
                    <a:moveTo>
                      <a:pt x="74" y="41"/>
                    </a:moveTo>
                    <a:cubicBezTo>
                      <a:pt x="73" y="36"/>
                      <a:pt x="70" y="34"/>
                      <a:pt x="64" y="35"/>
                    </a:cubicBezTo>
                    <a:cubicBezTo>
                      <a:pt x="63" y="24"/>
                      <a:pt x="67" y="0"/>
                      <a:pt x="51" y="5"/>
                    </a:cubicBezTo>
                    <a:cubicBezTo>
                      <a:pt x="50" y="9"/>
                      <a:pt x="61" y="31"/>
                      <a:pt x="58" y="39"/>
                    </a:cubicBezTo>
                    <a:cubicBezTo>
                      <a:pt x="58" y="39"/>
                      <a:pt x="47" y="47"/>
                      <a:pt x="47" y="47"/>
                    </a:cubicBezTo>
                    <a:cubicBezTo>
                      <a:pt x="48" y="41"/>
                      <a:pt x="53" y="39"/>
                      <a:pt x="55" y="34"/>
                    </a:cubicBezTo>
                    <a:cubicBezTo>
                      <a:pt x="56" y="30"/>
                      <a:pt x="49" y="31"/>
                      <a:pt x="47" y="29"/>
                    </a:cubicBezTo>
                    <a:cubicBezTo>
                      <a:pt x="48" y="26"/>
                      <a:pt x="51" y="23"/>
                      <a:pt x="54" y="22"/>
                    </a:cubicBezTo>
                    <a:cubicBezTo>
                      <a:pt x="54" y="21"/>
                      <a:pt x="54" y="21"/>
                      <a:pt x="54" y="20"/>
                    </a:cubicBezTo>
                    <a:cubicBezTo>
                      <a:pt x="54" y="20"/>
                      <a:pt x="54" y="19"/>
                      <a:pt x="54" y="19"/>
                    </a:cubicBezTo>
                    <a:cubicBezTo>
                      <a:pt x="50" y="17"/>
                      <a:pt x="45" y="17"/>
                      <a:pt x="41" y="19"/>
                    </a:cubicBezTo>
                    <a:cubicBezTo>
                      <a:pt x="41" y="22"/>
                      <a:pt x="42" y="22"/>
                      <a:pt x="44" y="22"/>
                    </a:cubicBezTo>
                    <a:cubicBezTo>
                      <a:pt x="44" y="26"/>
                      <a:pt x="44" y="29"/>
                      <a:pt x="44" y="32"/>
                    </a:cubicBezTo>
                    <a:cubicBezTo>
                      <a:pt x="45" y="34"/>
                      <a:pt x="47" y="35"/>
                      <a:pt x="48" y="37"/>
                    </a:cubicBezTo>
                    <a:cubicBezTo>
                      <a:pt x="46" y="41"/>
                      <a:pt x="35" y="51"/>
                      <a:pt x="40" y="58"/>
                    </a:cubicBezTo>
                    <a:cubicBezTo>
                      <a:pt x="41" y="60"/>
                      <a:pt x="42" y="60"/>
                      <a:pt x="44" y="61"/>
                    </a:cubicBezTo>
                    <a:cubicBezTo>
                      <a:pt x="49" y="55"/>
                      <a:pt x="51" y="50"/>
                      <a:pt x="59" y="46"/>
                    </a:cubicBezTo>
                    <a:cubicBezTo>
                      <a:pt x="59" y="46"/>
                      <a:pt x="59" y="46"/>
                      <a:pt x="59" y="46"/>
                    </a:cubicBezTo>
                    <a:cubicBezTo>
                      <a:pt x="61" y="60"/>
                      <a:pt x="59" y="83"/>
                      <a:pt x="66" y="93"/>
                    </a:cubicBezTo>
                    <a:cubicBezTo>
                      <a:pt x="67" y="94"/>
                      <a:pt x="67" y="93"/>
                      <a:pt x="68" y="93"/>
                    </a:cubicBezTo>
                    <a:cubicBezTo>
                      <a:pt x="68" y="78"/>
                      <a:pt x="67" y="60"/>
                      <a:pt x="65" y="42"/>
                    </a:cubicBezTo>
                    <a:cubicBezTo>
                      <a:pt x="68" y="42"/>
                      <a:pt x="72" y="42"/>
                      <a:pt x="73" y="41"/>
                    </a:cubicBezTo>
                    <a:cubicBezTo>
                      <a:pt x="74" y="41"/>
                      <a:pt x="74" y="41"/>
                      <a:pt x="74" y="41"/>
                    </a:cubicBezTo>
                    <a:close/>
                    <a:moveTo>
                      <a:pt x="43" y="42"/>
                    </a:moveTo>
                    <a:cubicBezTo>
                      <a:pt x="39" y="44"/>
                      <a:pt x="38" y="46"/>
                      <a:pt x="35" y="48"/>
                    </a:cubicBezTo>
                    <a:cubicBezTo>
                      <a:pt x="35" y="42"/>
                      <a:pt x="39" y="42"/>
                      <a:pt x="39" y="38"/>
                    </a:cubicBezTo>
                    <a:cubicBezTo>
                      <a:pt x="40" y="35"/>
                      <a:pt x="37" y="33"/>
                      <a:pt x="37" y="29"/>
                    </a:cubicBezTo>
                    <a:cubicBezTo>
                      <a:pt x="38" y="28"/>
                      <a:pt x="39" y="28"/>
                      <a:pt x="40" y="27"/>
                    </a:cubicBezTo>
                    <a:cubicBezTo>
                      <a:pt x="41" y="24"/>
                      <a:pt x="36" y="16"/>
                      <a:pt x="34" y="16"/>
                    </a:cubicBezTo>
                    <a:cubicBezTo>
                      <a:pt x="33" y="16"/>
                      <a:pt x="32" y="15"/>
                      <a:pt x="32" y="15"/>
                    </a:cubicBezTo>
                    <a:cubicBezTo>
                      <a:pt x="22" y="28"/>
                      <a:pt x="10" y="30"/>
                      <a:pt x="4" y="46"/>
                    </a:cubicBezTo>
                    <a:cubicBezTo>
                      <a:pt x="13" y="41"/>
                      <a:pt x="17" y="31"/>
                      <a:pt x="30" y="29"/>
                    </a:cubicBezTo>
                    <a:cubicBezTo>
                      <a:pt x="29" y="39"/>
                      <a:pt x="16" y="48"/>
                      <a:pt x="8" y="52"/>
                    </a:cubicBezTo>
                    <a:cubicBezTo>
                      <a:pt x="4" y="54"/>
                      <a:pt x="2" y="52"/>
                      <a:pt x="0" y="56"/>
                    </a:cubicBezTo>
                    <a:cubicBezTo>
                      <a:pt x="0" y="59"/>
                      <a:pt x="1" y="60"/>
                      <a:pt x="3" y="61"/>
                    </a:cubicBezTo>
                    <a:cubicBezTo>
                      <a:pt x="10" y="63"/>
                      <a:pt x="22" y="58"/>
                      <a:pt x="23" y="54"/>
                    </a:cubicBezTo>
                    <a:cubicBezTo>
                      <a:pt x="24" y="54"/>
                      <a:pt x="24" y="53"/>
                      <a:pt x="25" y="53"/>
                    </a:cubicBezTo>
                    <a:cubicBezTo>
                      <a:pt x="25" y="53"/>
                      <a:pt x="25" y="53"/>
                      <a:pt x="25" y="53"/>
                    </a:cubicBezTo>
                    <a:cubicBezTo>
                      <a:pt x="23" y="59"/>
                      <a:pt x="22" y="66"/>
                      <a:pt x="20" y="72"/>
                    </a:cubicBezTo>
                    <a:cubicBezTo>
                      <a:pt x="21" y="74"/>
                      <a:pt x="23" y="75"/>
                      <a:pt x="25" y="76"/>
                    </a:cubicBezTo>
                    <a:cubicBezTo>
                      <a:pt x="25" y="76"/>
                      <a:pt x="26" y="76"/>
                      <a:pt x="26" y="76"/>
                    </a:cubicBezTo>
                    <a:cubicBezTo>
                      <a:pt x="28" y="73"/>
                      <a:pt x="29" y="70"/>
                      <a:pt x="30" y="67"/>
                    </a:cubicBezTo>
                    <a:cubicBezTo>
                      <a:pt x="31" y="67"/>
                      <a:pt x="31" y="67"/>
                      <a:pt x="31" y="66"/>
                    </a:cubicBezTo>
                    <a:cubicBezTo>
                      <a:pt x="32" y="69"/>
                      <a:pt x="32" y="72"/>
                      <a:pt x="32" y="75"/>
                    </a:cubicBezTo>
                    <a:cubicBezTo>
                      <a:pt x="33" y="75"/>
                      <a:pt x="34" y="76"/>
                      <a:pt x="35" y="76"/>
                    </a:cubicBezTo>
                    <a:cubicBezTo>
                      <a:pt x="36" y="76"/>
                      <a:pt x="37" y="76"/>
                      <a:pt x="38" y="76"/>
                    </a:cubicBezTo>
                    <a:cubicBezTo>
                      <a:pt x="37" y="71"/>
                      <a:pt x="36" y="66"/>
                      <a:pt x="35" y="61"/>
                    </a:cubicBezTo>
                    <a:cubicBezTo>
                      <a:pt x="38" y="54"/>
                      <a:pt x="40" y="48"/>
                      <a:pt x="43" y="42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1049821" name="î$ḻîḑe"/>
              <p:cNvSpPr/>
              <p:nvPr/>
            </p:nvSpPr>
            <p:spPr bwMode="auto">
              <a:xfrm>
                <a:off x="2055709" y="4566240"/>
                <a:ext cx="136525" cy="150813"/>
              </a:xfrm>
              <a:custGeom>
                <a:avLst/>
                <a:gdLst>
                  <a:gd name="T0" fmla="*/ 55 w 74"/>
                  <a:gd name="T1" fmla="*/ 53 h 82"/>
                  <a:gd name="T2" fmla="*/ 54 w 74"/>
                  <a:gd name="T3" fmla="*/ 51 h 82"/>
                  <a:gd name="T4" fmla="*/ 57 w 74"/>
                  <a:gd name="T5" fmla="*/ 49 h 82"/>
                  <a:gd name="T6" fmla="*/ 56 w 74"/>
                  <a:gd name="T7" fmla="*/ 45 h 82"/>
                  <a:gd name="T8" fmla="*/ 52 w 74"/>
                  <a:gd name="T9" fmla="*/ 45 h 82"/>
                  <a:gd name="T10" fmla="*/ 51 w 74"/>
                  <a:gd name="T11" fmla="*/ 44 h 82"/>
                  <a:gd name="T12" fmla="*/ 60 w 74"/>
                  <a:gd name="T13" fmla="*/ 32 h 82"/>
                  <a:gd name="T14" fmla="*/ 60 w 74"/>
                  <a:gd name="T15" fmla="*/ 30 h 82"/>
                  <a:gd name="T16" fmla="*/ 34 w 74"/>
                  <a:gd name="T17" fmla="*/ 38 h 82"/>
                  <a:gd name="T18" fmla="*/ 33 w 74"/>
                  <a:gd name="T19" fmla="*/ 38 h 82"/>
                  <a:gd name="T20" fmla="*/ 60 w 74"/>
                  <a:gd name="T21" fmla="*/ 16 h 82"/>
                  <a:gd name="T22" fmla="*/ 61 w 74"/>
                  <a:gd name="T23" fmla="*/ 10 h 82"/>
                  <a:gd name="T24" fmla="*/ 42 w 74"/>
                  <a:gd name="T25" fmla="*/ 11 h 82"/>
                  <a:gd name="T26" fmla="*/ 27 w 74"/>
                  <a:gd name="T27" fmla="*/ 0 h 82"/>
                  <a:gd name="T28" fmla="*/ 24 w 74"/>
                  <a:gd name="T29" fmla="*/ 0 h 82"/>
                  <a:gd name="T30" fmla="*/ 29 w 74"/>
                  <a:gd name="T31" fmla="*/ 21 h 82"/>
                  <a:gd name="T32" fmla="*/ 11 w 74"/>
                  <a:gd name="T33" fmla="*/ 39 h 82"/>
                  <a:gd name="T34" fmla="*/ 1 w 74"/>
                  <a:gd name="T35" fmla="*/ 44 h 82"/>
                  <a:gd name="T36" fmla="*/ 0 w 74"/>
                  <a:gd name="T37" fmla="*/ 47 h 82"/>
                  <a:gd name="T38" fmla="*/ 35 w 74"/>
                  <a:gd name="T39" fmla="*/ 26 h 82"/>
                  <a:gd name="T40" fmla="*/ 35 w 74"/>
                  <a:gd name="T41" fmla="*/ 26 h 82"/>
                  <a:gd name="T42" fmla="*/ 30 w 74"/>
                  <a:gd name="T43" fmla="*/ 48 h 82"/>
                  <a:gd name="T44" fmla="*/ 40 w 74"/>
                  <a:gd name="T45" fmla="*/ 57 h 82"/>
                  <a:gd name="T46" fmla="*/ 35 w 74"/>
                  <a:gd name="T47" fmla="*/ 78 h 82"/>
                  <a:gd name="T48" fmla="*/ 45 w 74"/>
                  <a:gd name="T49" fmla="*/ 82 h 82"/>
                  <a:gd name="T50" fmla="*/ 47 w 74"/>
                  <a:gd name="T51" fmla="*/ 80 h 82"/>
                  <a:gd name="T52" fmla="*/ 46 w 74"/>
                  <a:gd name="T53" fmla="*/ 67 h 82"/>
                  <a:gd name="T54" fmla="*/ 47 w 74"/>
                  <a:gd name="T55" fmla="*/ 66 h 82"/>
                  <a:gd name="T56" fmla="*/ 50 w 74"/>
                  <a:gd name="T57" fmla="*/ 73 h 82"/>
                  <a:gd name="T58" fmla="*/ 58 w 74"/>
                  <a:gd name="T59" fmla="*/ 79 h 82"/>
                  <a:gd name="T60" fmla="*/ 59 w 74"/>
                  <a:gd name="T61" fmla="*/ 79 h 82"/>
                  <a:gd name="T62" fmla="*/ 53 w 74"/>
                  <a:gd name="T63" fmla="*/ 57 h 82"/>
                  <a:gd name="T64" fmla="*/ 56 w 74"/>
                  <a:gd name="T65" fmla="*/ 55 h 82"/>
                  <a:gd name="T66" fmla="*/ 56 w 74"/>
                  <a:gd name="T67" fmla="*/ 55 h 82"/>
                  <a:gd name="T68" fmla="*/ 69 w 74"/>
                  <a:gd name="T69" fmla="*/ 69 h 82"/>
                  <a:gd name="T70" fmla="*/ 74 w 74"/>
                  <a:gd name="T71" fmla="*/ 64 h 82"/>
                  <a:gd name="T72" fmla="*/ 55 w 74"/>
                  <a:gd name="T73" fmla="*/ 53 h 82"/>
                  <a:gd name="T74" fmla="*/ 40 w 74"/>
                  <a:gd name="T75" fmla="*/ 46 h 82"/>
                  <a:gd name="T76" fmla="*/ 39 w 74"/>
                  <a:gd name="T77" fmla="*/ 46 h 82"/>
                  <a:gd name="T78" fmla="*/ 38 w 74"/>
                  <a:gd name="T79" fmla="*/ 46 h 82"/>
                  <a:gd name="T80" fmla="*/ 37 w 74"/>
                  <a:gd name="T81" fmla="*/ 44 h 82"/>
                  <a:gd name="T82" fmla="*/ 44 w 74"/>
                  <a:gd name="T83" fmla="*/ 36 h 82"/>
                  <a:gd name="T84" fmla="*/ 46 w 74"/>
                  <a:gd name="T85" fmla="*/ 35 h 82"/>
                  <a:gd name="T86" fmla="*/ 46 w 74"/>
                  <a:gd name="T87" fmla="*/ 35 h 82"/>
                  <a:gd name="T88" fmla="*/ 40 w 74"/>
                  <a:gd name="T89" fmla="*/ 46 h 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74" h="82">
                    <a:moveTo>
                      <a:pt x="55" y="53"/>
                    </a:moveTo>
                    <a:cubicBezTo>
                      <a:pt x="55" y="53"/>
                      <a:pt x="54" y="52"/>
                      <a:pt x="54" y="51"/>
                    </a:cubicBezTo>
                    <a:cubicBezTo>
                      <a:pt x="55" y="51"/>
                      <a:pt x="56" y="50"/>
                      <a:pt x="57" y="49"/>
                    </a:cubicBezTo>
                    <a:cubicBezTo>
                      <a:pt x="57" y="48"/>
                      <a:pt x="56" y="47"/>
                      <a:pt x="56" y="45"/>
                    </a:cubicBezTo>
                    <a:cubicBezTo>
                      <a:pt x="54" y="45"/>
                      <a:pt x="53" y="45"/>
                      <a:pt x="52" y="45"/>
                    </a:cubicBezTo>
                    <a:cubicBezTo>
                      <a:pt x="51" y="45"/>
                      <a:pt x="51" y="44"/>
                      <a:pt x="51" y="44"/>
                    </a:cubicBezTo>
                    <a:cubicBezTo>
                      <a:pt x="53" y="40"/>
                      <a:pt x="59" y="36"/>
                      <a:pt x="60" y="32"/>
                    </a:cubicBezTo>
                    <a:cubicBezTo>
                      <a:pt x="60" y="31"/>
                      <a:pt x="60" y="31"/>
                      <a:pt x="60" y="30"/>
                    </a:cubicBezTo>
                    <a:cubicBezTo>
                      <a:pt x="50" y="21"/>
                      <a:pt x="41" y="31"/>
                      <a:pt x="34" y="38"/>
                    </a:cubicBezTo>
                    <a:cubicBezTo>
                      <a:pt x="33" y="38"/>
                      <a:pt x="33" y="38"/>
                      <a:pt x="33" y="38"/>
                    </a:cubicBezTo>
                    <a:cubicBezTo>
                      <a:pt x="34" y="30"/>
                      <a:pt x="48" y="16"/>
                      <a:pt x="60" y="16"/>
                    </a:cubicBezTo>
                    <a:cubicBezTo>
                      <a:pt x="61" y="14"/>
                      <a:pt x="61" y="12"/>
                      <a:pt x="61" y="10"/>
                    </a:cubicBezTo>
                    <a:cubicBezTo>
                      <a:pt x="50" y="3"/>
                      <a:pt x="52" y="11"/>
                      <a:pt x="42" y="11"/>
                    </a:cubicBezTo>
                    <a:cubicBezTo>
                      <a:pt x="38" y="10"/>
                      <a:pt x="32" y="1"/>
                      <a:pt x="27" y="0"/>
                    </a:cubicBezTo>
                    <a:cubicBezTo>
                      <a:pt x="26" y="0"/>
                      <a:pt x="25" y="0"/>
                      <a:pt x="24" y="0"/>
                    </a:cubicBezTo>
                    <a:cubicBezTo>
                      <a:pt x="21" y="5"/>
                      <a:pt x="30" y="14"/>
                      <a:pt x="29" y="21"/>
                    </a:cubicBezTo>
                    <a:cubicBezTo>
                      <a:pt x="19" y="27"/>
                      <a:pt x="17" y="33"/>
                      <a:pt x="11" y="39"/>
                    </a:cubicBezTo>
                    <a:cubicBezTo>
                      <a:pt x="8" y="42"/>
                      <a:pt x="4" y="42"/>
                      <a:pt x="1" y="44"/>
                    </a:cubicBezTo>
                    <a:cubicBezTo>
                      <a:pt x="1" y="45"/>
                      <a:pt x="0" y="46"/>
                      <a:pt x="0" y="47"/>
                    </a:cubicBezTo>
                    <a:cubicBezTo>
                      <a:pt x="11" y="69"/>
                      <a:pt x="23" y="30"/>
                      <a:pt x="35" y="26"/>
                    </a:cubicBezTo>
                    <a:cubicBezTo>
                      <a:pt x="35" y="26"/>
                      <a:pt x="35" y="26"/>
                      <a:pt x="35" y="26"/>
                    </a:cubicBezTo>
                    <a:cubicBezTo>
                      <a:pt x="33" y="33"/>
                      <a:pt x="28" y="39"/>
                      <a:pt x="30" y="48"/>
                    </a:cubicBezTo>
                    <a:cubicBezTo>
                      <a:pt x="30" y="51"/>
                      <a:pt x="37" y="56"/>
                      <a:pt x="40" y="57"/>
                    </a:cubicBezTo>
                    <a:cubicBezTo>
                      <a:pt x="37" y="64"/>
                      <a:pt x="32" y="69"/>
                      <a:pt x="35" y="78"/>
                    </a:cubicBezTo>
                    <a:cubicBezTo>
                      <a:pt x="39" y="79"/>
                      <a:pt x="42" y="80"/>
                      <a:pt x="45" y="82"/>
                    </a:cubicBezTo>
                    <a:cubicBezTo>
                      <a:pt x="46" y="81"/>
                      <a:pt x="46" y="81"/>
                      <a:pt x="47" y="80"/>
                    </a:cubicBezTo>
                    <a:cubicBezTo>
                      <a:pt x="49" y="77"/>
                      <a:pt x="45" y="70"/>
                      <a:pt x="46" y="67"/>
                    </a:cubicBezTo>
                    <a:cubicBezTo>
                      <a:pt x="46" y="66"/>
                      <a:pt x="46" y="66"/>
                      <a:pt x="47" y="66"/>
                    </a:cubicBezTo>
                    <a:cubicBezTo>
                      <a:pt x="48" y="67"/>
                      <a:pt x="49" y="71"/>
                      <a:pt x="50" y="73"/>
                    </a:cubicBezTo>
                    <a:cubicBezTo>
                      <a:pt x="52" y="76"/>
                      <a:pt x="55" y="77"/>
                      <a:pt x="58" y="79"/>
                    </a:cubicBezTo>
                    <a:cubicBezTo>
                      <a:pt x="58" y="79"/>
                      <a:pt x="58" y="79"/>
                      <a:pt x="59" y="79"/>
                    </a:cubicBezTo>
                    <a:cubicBezTo>
                      <a:pt x="60" y="72"/>
                      <a:pt x="53" y="64"/>
                      <a:pt x="53" y="57"/>
                    </a:cubicBezTo>
                    <a:cubicBezTo>
                      <a:pt x="54" y="56"/>
                      <a:pt x="55" y="56"/>
                      <a:pt x="56" y="55"/>
                    </a:cubicBezTo>
                    <a:cubicBezTo>
                      <a:pt x="56" y="55"/>
                      <a:pt x="56" y="55"/>
                      <a:pt x="56" y="55"/>
                    </a:cubicBezTo>
                    <a:cubicBezTo>
                      <a:pt x="63" y="60"/>
                      <a:pt x="59" y="67"/>
                      <a:pt x="69" y="69"/>
                    </a:cubicBezTo>
                    <a:cubicBezTo>
                      <a:pt x="71" y="67"/>
                      <a:pt x="72" y="66"/>
                      <a:pt x="74" y="64"/>
                    </a:cubicBezTo>
                    <a:cubicBezTo>
                      <a:pt x="71" y="56"/>
                      <a:pt x="63" y="51"/>
                      <a:pt x="55" y="53"/>
                    </a:cubicBezTo>
                    <a:close/>
                    <a:moveTo>
                      <a:pt x="40" y="46"/>
                    </a:moveTo>
                    <a:cubicBezTo>
                      <a:pt x="40" y="46"/>
                      <a:pt x="39" y="46"/>
                      <a:pt x="39" y="46"/>
                    </a:cubicBezTo>
                    <a:cubicBezTo>
                      <a:pt x="38" y="46"/>
                      <a:pt x="38" y="46"/>
                      <a:pt x="38" y="46"/>
                    </a:cubicBezTo>
                    <a:cubicBezTo>
                      <a:pt x="38" y="45"/>
                      <a:pt x="37" y="45"/>
                      <a:pt x="37" y="44"/>
                    </a:cubicBezTo>
                    <a:cubicBezTo>
                      <a:pt x="39" y="41"/>
                      <a:pt x="42" y="39"/>
                      <a:pt x="44" y="36"/>
                    </a:cubicBezTo>
                    <a:cubicBezTo>
                      <a:pt x="45" y="36"/>
                      <a:pt x="45" y="35"/>
                      <a:pt x="46" y="35"/>
                    </a:cubicBezTo>
                    <a:cubicBezTo>
                      <a:pt x="46" y="35"/>
                      <a:pt x="46" y="35"/>
                      <a:pt x="46" y="35"/>
                    </a:cubicBezTo>
                    <a:cubicBezTo>
                      <a:pt x="44" y="39"/>
                      <a:pt x="42" y="42"/>
                      <a:pt x="40" y="46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1049822" name="ïşḻíḍe"/>
              <p:cNvSpPr/>
              <p:nvPr/>
            </p:nvSpPr>
            <p:spPr bwMode="auto">
              <a:xfrm>
                <a:off x="1882672" y="4669428"/>
                <a:ext cx="160338" cy="169863"/>
              </a:xfrm>
              <a:custGeom>
                <a:avLst/>
                <a:gdLst>
                  <a:gd name="T0" fmla="*/ 29 w 87"/>
                  <a:gd name="T1" fmla="*/ 8 h 92"/>
                  <a:gd name="T2" fmla="*/ 52 w 87"/>
                  <a:gd name="T3" fmla="*/ 17 h 92"/>
                  <a:gd name="T4" fmla="*/ 61 w 87"/>
                  <a:gd name="T5" fmla="*/ 16 h 92"/>
                  <a:gd name="T6" fmla="*/ 62 w 87"/>
                  <a:gd name="T7" fmla="*/ 17 h 92"/>
                  <a:gd name="T8" fmla="*/ 69 w 87"/>
                  <a:gd name="T9" fmla="*/ 42 h 92"/>
                  <a:gd name="T10" fmla="*/ 86 w 87"/>
                  <a:gd name="T11" fmla="*/ 35 h 92"/>
                  <a:gd name="T12" fmla="*/ 87 w 87"/>
                  <a:gd name="T13" fmla="*/ 39 h 92"/>
                  <a:gd name="T14" fmla="*/ 76 w 87"/>
                  <a:gd name="T15" fmla="*/ 55 h 92"/>
                  <a:gd name="T16" fmla="*/ 67 w 87"/>
                  <a:gd name="T17" fmla="*/ 76 h 92"/>
                  <a:gd name="T18" fmla="*/ 65 w 87"/>
                  <a:gd name="T19" fmla="*/ 74 h 92"/>
                  <a:gd name="T20" fmla="*/ 69 w 87"/>
                  <a:gd name="T21" fmla="*/ 53 h 92"/>
                  <a:gd name="T22" fmla="*/ 55 w 87"/>
                  <a:gd name="T23" fmla="*/ 40 h 92"/>
                  <a:gd name="T24" fmla="*/ 45 w 87"/>
                  <a:gd name="T25" fmla="*/ 44 h 92"/>
                  <a:gd name="T26" fmla="*/ 46 w 87"/>
                  <a:gd name="T27" fmla="*/ 89 h 92"/>
                  <a:gd name="T28" fmla="*/ 38 w 87"/>
                  <a:gd name="T29" fmla="*/ 92 h 92"/>
                  <a:gd name="T30" fmla="*/ 27 w 87"/>
                  <a:gd name="T31" fmla="*/ 68 h 92"/>
                  <a:gd name="T32" fmla="*/ 14 w 87"/>
                  <a:gd name="T33" fmla="*/ 70 h 92"/>
                  <a:gd name="T34" fmla="*/ 12 w 87"/>
                  <a:gd name="T35" fmla="*/ 65 h 92"/>
                  <a:gd name="T36" fmla="*/ 18 w 87"/>
                  <a:gd name="T37" fmla="*/ 58 h 92"/>
                  <a:gd name="T38" fmla="*/ 0 w 87"/>
                  <a:gd name="T39" fmla="*/ 42 h 92"/>
                  <a:gd name="T40" fmla="*/ 0 w 87"/>
                  <a:gd name="T41" fmla="*/ 42 h 92"/>
                  <a:gd name="T42" fmla="*/ 21 w 87"/>
                  <a:gd name="T43" fmla="*/ 39 h 92"/>
                  <a:gd name="T44" fmla="*/ 27 w 87"/>
                  <a:gd name="T45" fmla="*/ 48 h 92"/>
                  <a:gd name="T46" fmla="*/ 34 w 87"/>
                  <a:gd name="T47" fmla="*/ 52 h 92"/>
                  <a:gd name="T48" fmla="*/ 36 w 87"/>
                  <a:gd name="T49" fmla="*/ 62 h 92"/>
                  <a:gd name="T50" fmla="*/ 39 w 87"/>
                  <a:gd name="T51" fmla="*/ 44 h 92"/>
                  <a:gd name="T52" fmla="*/ 46 w 87"/>
                  <a:gd name="T53" fmla="*/ 28 h 92"/>
                  <a:gd name="T54" fmla="*/ 29 w 87"/>
                  <a:gd name="T55" fmla="*/ 8 h 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87" h="92">
                    <a:moveTo>
                      <a:pt x="29" y="8"/>
                    </a:moveTo>
                    <a:cubicBezTo>
                      <a:pt x="42" y="0"/>
                      <a:pt x="43" y="12"/>
                      <a:pt x="52" y="17"/>
                    </a:cubicBezTo>
                    <a:cubicBezTo>
                      <a:pt x="55" y="15"/>
                      <a:pt x="58" y="15"/>
                      <a:pt x="61" y="16"/>
                    </a:cubicBezTo>
                    <a:cubicBezTo>
                      <a:pt x="61" y="16"/>
                      <a:pt x="62" y="17"/>
                      <a:pt x="62" y="17"/>
                    </a:cubicBezTo>
                    <a:cubicBezTo>
                      <a:pt x="62" y="26"/>
                      <a:pt x="58" y="33"/>
                      <a:pt x="69" y="42"/>
                    </a:cubicBezTo>
                    <a:cubicBezTo>
                      <a:pt x="75" y="35"/>
                      <a:pt x="80" y="33"/>
                      <a:pt x="86" y="35"/>
                    </a:cubicBezTo>
                    <a:cubicBezTo>
                      <a:pt x="87" y="36"/>
                      <a:pt x="87" y="38"/>
                      <a:pt x="87" y="39"/>
                    </a:cubicBezTo>
                    <a:cubicBezTo>
                      <a:pt x="83" y="45"/>
                      <a:pt x="80" y="50"/>
                      <a:pt x="76" y="55"/>
                    </a:cubicBezTo>
                    <a:cubicBezTo>
                      <a:pt x="71" y="62"/>
                      <a:pt x="71" y="70"/>
                      <a:pt x="67" y="76"/>
                    </a:cubicBezTo>
                    <a:cubicBezTo>
                      <a:pt x="66" y="75"/>
                      <a:pt x="66" y="75"/>
                      <a:pt x="65" y="74"/>
                    </a:cubicBezTo>
                    <a:cubicBezTo>
                      <a:pt x="63" y="66"/>
                      <a:pt x="67" y="60"/>
                      <a:pt x="69" y="53"/>
                    </a:cubicBezTo>
                    <a:cubicBezTo>
                      <a:pt x="64" y="51"/>
                      <a:pt x="60" y="46"/>
                      <a:pt x="55" y="40"/>
                    </a:cubicBezTo>
                    <a:cubicBezTo>
                      <a:pt x="52" y="42"/>
                      <a:pt x="49" y="41"/>
                      <a:pt x="45" y="44"/>
                    </a:cubicBezTo>
                    <a:cubicBezTo>
                      <a:pt x="40" y="59"/>
                      <a:pt x="48" y="75"/>
                      <a:pt x="46" y="89"/>
                    </a:cubicBezTo>
                    <a:cubicBezTo>
                      <a:pt x="43" y="92"/>
                      <a:pt x="41" y="91"/>
                      <a:pt x="38" y="92"/>
                    </a:cubicBezTo>
                    <a:cubicBezTo>
                      <a:pt x="31" y="83"/>
                      <a:pt x="33" y="76"/>
                      <a:pt x="27" y="68"/>
                    </a:cubicBezTo>
                    <a:cubicBezTo>
                      <a:pt x="23" y="71"/>
                      <a:pt x="18" y="71"/>
                      <a:pt x="14" y="70"/>
                    </a:cubicBezTo>
                    <a:cubicBezTo>
                      <a:pt x="12" y="68"/>
                      <a:pt x="12" y="67"/>
                      <a:pt x="12" y="65"/>
                    </a:cubicBezTo>
                    <a:cubicBezTo>
                      <a:pt x="14" y="63"/>
                      <a:pt x="16" y="60"/>
                      <a:pt x="18" y="58"/>
                    </a:cubicBezTo>
                    <a:cubicBezTo>
                      <a:pt x="13" y="49"/>
                      <a:pt x="3" y="48"/>
                      <a:pt x="0" y="42"/>
                    </a:cubicBezTo>
                    <a:cubicBezTo>
                      <a:pt x="0" y="42"/>
                      <a:pt x="0" y="42"/>
                      <a:pt x="0" y="42"/>
                    </a:cubicBezTo>
                    <a:cubicBezTo>
                      <a:pt x="6" y="39"/>
                      <a:pt x="15" y="35"/>
                      <a:pt x="21" y="39"/>
                    </a:cubicBezTo>
                    <a:cubicBezTo>
                      <a:pt x="23" y="42"/>
                      <a:pt x="25" y="45"/>
                      <a:pt x="27" y="48"/>
                    </a:cubicBezTo>
                    <a:cubicBezTo>
                      <a:pt x="29" y="50"/>
                      <a:pt x="31" y="51"/>
                      <a:pt x="34" y="52"/>
                    </a:cubicBezTo>
                    <a:cubicBezTo>
                      <a:pt x="34" y="55"/>
                      <a:pt x="35" y="58"/>
                      <a:pt x="36" y="62"/>
                    </a:cubicBezTo>
                    <a:cubicBezTo>
                      <a:pt x="39" y="56"/>
                      <a:pt x="38" y="50"/>
                      <a:pt x="39" y="44"/>
                    </a:cubicBezTo>
                    <a:cubicBezTo>
                      <a:pt x="42" y="39"/>
                      <a:pt x="44" y="34"/>
                      <a:pt x="46" y="28"/>
                    </a:cubicBezTo>
                    <a:cubicBezTo>
                      <a:pt x="42" y="22"/>
                      <a:pt x="31" y="15"/>
                      <a:pt x="29" y="8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1049823" name="íṩľíḑè"/>
              <p:cNvSpPr/>
              <p:nvPr/>
            </p:nvSpPr>
            <p:spPr bwMode="auto">
              <a:xfrm>
                <a:off x="2243034" y="6066428"/>
                <a:ext cx="22225" cy="25400"/>
              </a:xfrm>
              <a:custGeom>
                <a:avLst/>
                <a:gdLst>
                  <a:gd name="T0" fmla="*/ 0 w 14"/>
                  <a:gd name="T1" fmla="*/ 12 h 16"/>
                  <a:gd name="T2" fmla="*/ 2 w 14"/>
                  <a:gd name="T3" fmla="*/ 0 h 16"/>
                  <a:gd name="T4" fmla="*/ 14 w 14"/>
                  <a:gd name="T5" fmla="*/ 4 h 16"/>
                  <a:gd name="T6" fmla="*/ 11 w 14"/>
                  <a:gd name="T7" fmla="*/ 16 h 16"/>
                  <a:gd name="T8" fmla="*/ 0 w 14"/>
                  <a:gd name="T9" fmla="*/ 12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4" h="16">
                    <a:moveTo>
                      <a:pt x="0" y="12"/>
                    </a:moveTo>
                    <a:lnTo>
                      <a:pt x="2" y="0"/>
                    </a:lnTo>
                    <a:lnTo>
                      <a:pt x="14" y="4"/>
                    </a:lnTo>
                    <a:lnTo>
                      <a:pt x="11" y="16"/>
                    </a:lnTo>
                    <a:lnTo>
                      <a:pt x="0" y="12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1049824" name="îṣḷïḓê"/>
              <p:cNvSpPr/>
              <p:nvPr/>
            </p:nvSpPr>
            <p:spPr bwMode="auto">
              <a:xfrm>
                <a:off x="2292247" y="6042615"/>
                <a:ext cx="49213" cy="100013"/>
              </a:xfrm>
              <a:custGeom>
                <a:avLst/>
                <a:gdLst>
                  <a:gd name="T0" fmla="*/ 17 w 27"/>
                  <a:gd name="T1" fmla="*/ 54 h 54"/>
                  <a:gd name="T2" fmla="*/ 7 w 27"/>
                  <a:gd name="T3" fmla="*/ 52 h 54"/>
                  <a:gd name="T4" fmla="*/ 14 w 27"/>
                  <a:gd name="T5" fmla="*/ 15 h 54"/>
                  <a:gd name="T6" fmla="*/ 0 w 27"/>
                  <a:gd name="T7" fmla="*/ 20 h 54"/>
                  <a:gd name="T8" fmla="*/ 1 w 27"/>
                  <a:gd name="T9" fmla="*/ 11 h 54"/>
                  <a:gd name="T10" fmla="*/ 11 w 27"/>
                  <a:gd name="T11" fmla="*/ 7 h 54"/>
                  <a:gd name="T12" fmla="*/ 18 w 27"/>
                  <a:gd name="T13" fmla="*/ 0 h 54"/>
                  <a:gd name="T14" fmla="*/ 27 w 27"/>
                  <a:gd name="T15" fmla="*/ 2 h 54"/>
                  <a:gd name="T16" fmla="*/ 17 w 27"/>
                  <a:gd name="T17" fmla="*/ 54 h 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7" h="54">
                    <a:moveTo>
                      <a:pt x="17" y="54"/>
                    </a:moveTo>
                    <a:cubicBezTo>
                      <a:pt x="7" y="52"/>
                      <a:pt x="7" y="52"/>
                      <a:pt x="7" y="52"/>
                    </a:cubicBezTo>
                    <a:cubicBezTo>
                      <a:pt x="14" y="15"/>
                      <a:pt x="14" y="15"/>
                      <a:pt x="14" y="15"/>
                    </a:cubicBezTo>
                    <a:cubicBezTo>
                      <a:pt x="10" y="17"/>
                      <a:pt x="5" y="19"/>
                      <a:pt x="0" y="20"/>
                    </a:cubicBezTo>
                    <a:cubicBezTo>
                      <a:pt x="1" y="11"/>
                      <a:pt x="1" y="11"/>
                      <a:pt x="1" y="11"/>
                    </a:cubicBezTo>
                    <a:cubicBezTo>
                      <a:pt x="4" y="10"/>
                      <a:pt x="7" y="9"/>
                      <a:pt x="11" y="7"/>
                    </a:cubicBezTo>
                    <a:cubicBezTo>
                      <a:pt x="14" y="6"/>
                      <a:pt x="17" y="3"/>
                      <a:pt x="18" y="0"/>
                    </a:cubicBezTo>
                    <a:cubicBezTo>
                      <a:pt x="27" y="2"/>
                      <a:pt x="27" y="2"/>
                      <a:pt x="27" y="2"/>
                    </a:cubicBezTo>
                    <a:lnTo>
                      <a:pt x="17" y="54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1049825" name="i$ḻîḓé"/>
              <p:cNvSpPr/>
              <p:nvPr/>
            </p:nvSpPr>
            <p:spPr bwMode="auto">
              <a:xfrm>
                <a:off x="2363684" y="6052140"/>
                <a:ext cx="66675" cy="100013"/>
              </a:xfrm>
              <a:custGeom>
                <a:avLst/>
                <a:gdLst>
                  <a:gd name="T0" fmla="*/ 0 w 36"/>
                  <a:gd name="T1" fmla="*/ 40 h 54"/>
                  <a:gd name="T2" fmla="*/ 10 w 36"/>
                  <a:gd name="T3" fmla="*/ 39 h 54"/>
                  <a:gd name="T4" fmla="*/ 11 w 36"/>
                  <a:gd name="T5" fmla="*/ 44 h 54"/>
                  <a:gd name="T6" fmla="*/ 15 w 36"/>
                  <a:gd name="T7" fmla="*/ 46 h 54"/>
                  <a:gd name="T8" fmla="*/ 21 w 36"/>
                  <a:gd name="T9" fmla="*/ 43 h 54"/>
                  <a:gd name="T10" fmla="*/ 24 w 36"/>
                  <a:gd name="T11" fmla="*/ 31 h 54"/>
                  <a:gd name="T12" fmla="*/ 15 w 36"/>
                  <a:gd name="T13" fmla="*/ 35 h 54"/>
                  <a:gd name="T14" fmla="*/ 4 w 36"/>
                  <a:gd name="T15" fmla="*/ 30 h 54"/>
                  <a:gd name="T16" fmla="*/ 0 w 36"/>
                  <a:gd name="T17" fmla="*/ 17 h 54"/>
                  <a:gd name="T18" fmla="*/ 6 w 36"/>
                  <a:gd name="T19" fmla="*/ 4 h 54"/>
                  <a:gd name="T20" fmla="*/ 19 w 36"/>
                  <a:gd name="T21" fmla="*/ 0 h 54"/>
                  <a:gd name="T22" fmla="*/ 31 w 36"/>
                  <a:gd name="T23" fmla="*/ 7 h 54"/>
                  <a:gd name="T24" fmla="*/ 35 w 36"/>
                  <a:gd name="T25" fmla="*/ 28 h 54"/>
                  <a:gd name="T26" fmla="*/ 28 w 36"/>
                  <a:gd name="T27" fmla="*/ 49 h 54"/>
                  <a:gd name="T28" fmla="*/ 14 w 36"/>
                  <a:gd name="T29" fmla="*/ 54 h 54"/>
                  <a:gd name="T30" fmla="*/ 4 w 36"/>
                  <a:gd name="T31" fmla="*/ 50 h 54"/>
                  <a:gd name="T32" fmla="*/ 0 w 36"/>
                  <a:gd name="T33" fmla="*/ 40 h 54"/>
                  <a:gd name="T34" fmla="*/ 24 w 36"/>
                  <a:gd name="T35" fmla="*/ 19 h 54"/>
                  <a:gd name="T36" fmla="*/ 23 w 36"/>
                  <a:gd name="T37" fmla="*/ 11 h 54"/>
                  <a:gd name="T38" fmla="*/ 18 w 36"/>
                  <a:gd name="T39" fmla="*/ 8 h 54"/>
                  <a:gd name="T40" fmla="*/ 13 w 36"/>
                  <a:gd name="T41" fmla="*/ 10 h 54"/>
                  <a:gd name="T42" fmla="*/ 10 w 36"/>
                  <a:gd name="T43" fmla="*/ 17 h 54"/>
                  <a:gd name="T44" fmla="*/ 12 w 36"/>
                  <a:gd name="T45" fmla="*/ 25 h 54"/>
                  <a:gd name="T46" fmla="*/ 17 w 36"/>
                  <a:gd name="T47" fmla="*/ 28 h 54"/>
                  <a:gd name="T48" fmla="*/ 22 w 36"/>
                  <a:gd name="T49" fmla="*/ 26 h 54"/>
                  <a:gd name="T50" fmla="*/ 24 w 36"/>
                  <a:gd name="T51" fmla="*/ 19 h 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6" h="54">
                    <a:moveTo>
                      <a:pt x="0" y="40"/>
                    </a:moveTo>
                    <a:cubicBezTo>
                      <a:pt x="10" y="39"/>
                      <a:pt x="10" y="39"/>
                      <a:pt x="10" y="39"/>
                    </a:cubicBezTo>
                    <a:cubicBezTo>
                      <a:pt x="10" y="41"/>
                      <a:pt x="10" y="43"/>
                      <a:pt x="11" y="44"/>
                    </a:cubicBezTo>
                    <a:cubicBezTo>
                      <a:pt x="12" y="45"/>
                      <a:pt x="14" y="46"/>
                      <a:pt x="15" y="46"/>
                    </a:cubicBezTo>
                    <a:cubicBezTo>
                      <a:pt x="17" y="46"/>
                      <a:pt x="19" y="45"/>
                      <a:pt x="21" y="43"/>
                    </a:cubicBezTo>
                    <a:cubicBezTo>
                      <a:pt x="22" y="41"/>
                      <a:pt x="24" y="37"/>
                      <a:pt x="24" y="31"/>
                    </a:cubicBezTo>
                    <a:cubicBezTo>
                      <a:pt x="22" y="34"/>
                      <a:pt x="18" y="35"/>
                      <a:pt x="15" y="35"/>
                    </a:cubicBezTo>
                    <a:cubicBezTo>
                      <a:pt x="10" y="35"/>
                      <a:pt x="7" y="33"/>
                      <a:pt x="4" y="30"/>
                    </a:cubicBezTo>
                    <a:cubicBezTo>
                      <a:pt x="1" y="26"/>
                      <a:pt x="0" y="22"/>
                      <a:pt x="0" y="17"/>
                    </a:cubicBezTo>
                    <a:cubicBezTo>
                      <a:pt x="1" y="11"/>
                      <a:pt x="3" y="7"/>
                      <a:pt x="6" y="4"/>
                    </a:cubicBezTo>
                    <a:cubicBezTo>
                      <a:pt x="10" y="1"/>
                      <a:pt x="14" y="0"/>
                      <a:pt x="19" y="0"/>
                    </a:cubicBezTo>
                    <a:cubicBezTo>
                      <a:pt x="24" y="0"/>
                      <a:pt x="28" y="3"/>
                      <a:pt x="31" y="7"/>
                    </a:cubicBezTo>
                    <a:cubicBezTo>
                      <a:pt x="35" y="12"/>
                      <a:pt x="36" y="19"/>
                      <a:pt x="35" y="28"/>
                    </a:cubicBezTo>
                    <a:cubicBezTo>
                      <a:pt x="34" y="38"/>
                      <a:pt x="32" y="44"/>
                      <a:pt x="28" y="49"/>
                    </a:cubicBezTo>
                    <a:cubicBezTo>
                      <a:pt x="24" y="53"/>
                      <a:pt x="20" y="54"/>
                      <a:pt x="14" y="54"/>
                    </a:cubicBezTo>
                    <a:cubicBezTo>
                      <a:pt x="10" y="54"/>
                      <a:pt x="7" y="52"/>
                      <a:pt x="4" y="50"/>
                    </a:cubicBezTo>
                    <a:cubicBezTo>
                      <a:pt x="2" y="48"/>
                      <a:pt x="0" y="44"/>
                      <a:pt x="0" y="40"/>
                    </a:cubicBezTo>
                    <a:close/>
                    <a:moveTo>
                      <a:pt x="24" y="19"/>
                    </a:moveTo>
                    <a:cubicBezTo>
                      <a:pt x="25" y="16"/>
                      <a:pt x="24" y="13"/>
                      <a:pt x="23" y="11"/>
                    </a:cubicBezTo>
                    <a:cubicBezTo>
                      <a:pt x="21" y="10"/>
                      <a:pt x="20" y="9"/>
                      <a:pt x="18" y="8"/>
                    </a:cubicBezTo>
                    <a:cubicBezTo>
                      <a:pt x="16" y="8"/>
                      <a:pt x="14" y="9"/>
                      <a:pt x="13" y="10"/>
                    </a:cubicBezTo>
                    <a:cubicBezTo>
                      <a:pt x="11" y="12"/>
                      <a:pt x="11" y="14"/>
                      <a:pt x="10" y="17"/>
                    </a:cubicBezTo>
                    <a:cubicBezTo>
                      <a:pt x="10" y="21"/>
                      <a:pt x="11" y="23"/>
                      <a:pt x="12" y="25"/>
                    </a:cubicBezTo>
                    <a:cubicBezTo>
                      <a:pt x="13" y="27"/>
                      <a:pt x="15" y="28"/>
                      <a:pt x="17" y="28"/>
                    </a:cubicBezTo>
                    <a:cubicBezTo>
                      <a:pt x="19" y="28"/>
                      <a:pt x="20" y="27"/>
                      <a:pt x="22" y="26"/>
                    </a:cubicBezTo>
                    <a:cubicBezTo>
                      <a:pt x="23" y="24"/>
                      <a:pt x="24" y="22"/>
                      <a:pt x="24" y="1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1049826" name="îṧľîḋé"/>
              <p:cNvSpPr/>
              <p:nvPr/>
            </p:nvSpPr>
            <p:spPr bwMode="auto">
              <a:xfrm>
                <a:off x="2446234" y="6053728"/>
                <a:ext cx="66675" cy="100013"/>
              </a:xfrm>
              <a:custGeom>
                <a:avLst/>
                <a:gdLst>
                  <a:gd name="T0" fmla="*/ 0 w 36"/>
                  <a:gd name="T1" fmla="*/ 40 h 54"/>
                  <a:gd name="T2" fmla="*/ 10 w 36"/>
                  <a:gd name="T3" fmla="*/ 39 h 54"/>
                  <a:gd name="T4" fmla="*/ 13 w 36"/>
                  <a:gd name="T5" fmla="*/ 44 h 54"/>
                  <a:gd name="T6" fmla="*/ 18 w 36"/>
                  <a:gd name="T7" fmla="*/ 46 h 54"/>
                  <a:gd name="T8" fmla="*/ 23 w 36"/>
                  <a:gd name="T9" fmla="*/ 43 h 54"/>
                  <a:gd name="T10" fmla="*/ 25 w 36"/>
                  <a:gd name="T11" fmla="*/ 35 h 54"/>
                  <a:gd name="T12" fmla="*/ 23 w 36"/>
                  <a:gd name="T13" fmla="*/ 28 h 54"/>
                  <a:gd name="T14" fmla="*/ 17 w 36"/>
                  <a:gd name="T15" fmla="*/ 26 h 54"/>
                  <a:gd name="T16" fmla="*/ 9 w 36"/>
                  <a:gd name="T17" fmla="*/ 30 h 54"/>
                  <a:gd name="T18" fmla="*/ 1 w 36"/>
                  <a:gd name="T19" fmla="*/ 29 h 54"/>
                  <a:gd name="T20" fmla="*/ 5 w 36"/>
                  <a:gd name="T21" fmla="*/ 1 h 54"/>
                  <a:gd name="T22" fmla="*/ 32 w 36"/>
                  <a:gd name="T23" fmla="*/ 0 h 54"/>
                  <a:gd name="T24" fmla="*/ 32 w 36"/>
                  <a:gd name="T25" fmla="*/ 10 h 54"/>
                  <a:gd name="T26" fmla="*/ 13 w 36"/>
                  <a:gd name="T27" fmla="*/ 10 h 54"/>
                  <a:gd name="T28" fmla="*/ 12 w 36"/>
                  <a:gd name="T29" fmla="*/ 19 h 54"/>
                  <a:gd name="T30" fmla="*/ 19 w 36"/>
                  <a:gd name="T31" fmla="*/ 17 h 54"/>
                  <a:gd name="T32" fmla="*/ 30 w 36"/>
                  <a:gd name="T33" fmla="*/ 22 h 54"/>
                  <a:gd name="T34" fmla="*/ 36 w 36"/>
                  <a:gd name="T35" fmla="*/ 34 h 54"/>
                  <a:gd name="T36" fmla="*/ 32 w 36"/>
                  <a:gd name="T37" fmla="*/ 46 h 54"/>
                  <a:gd name="T38" fmla="*/ 18 w 36"/>
                  <a:gd name="T39" fmla="*/ 54 h 54"/>
                  <a:gd name="T40" fmla="*/ 6 w 36"/>
                  <a:gd name="T41" fmla="*/ 50 h 54"/>
                  <a:gd name="T42" fmla="*/ 0 w 36"/>
                  <a:gd name="T43" fmla="*/ 40 h 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36" h="54">
                    <a:moveTo>
                      <a:pt x="0" y="40"/>
                    </a:moveTo>
                    <a:cubicBezTo>
                      <a:pt x="10" y="39"/>
                      <a:pt x="10" y="39"/>
                      <a:pt x="10" y="39"/>
                    </a:cubicBezTo>
                    <a:cubicBezTo>
                      <a:pt x="11" y="41"/>
                      <a:pt x="11" y="43"/>
                      <a:pt x="13" y="44"/>
                    </a:cubicBezTo>
                    <a:cubicBezTo>
                      <a:pt x="14" y="45"/>
                      <a:pt x="16" y="46"/>
                      <a:pt x="18" y="46"/>
                    </a:cubicBezTo>
                    <a:cubicBezTo>
                      <a:pt x="20" y="46"/>
                      <a:pt x="22" y="45"/>
                      <a:pt x="23" y="43"/>
                    </a:cubicBezTo>
                    <a:cubicBezTo>
                      <a:pt x="25" y="41"/>
                      <a:pt x="25" y="38"/>
                      <a:pt x="25" y="35"/>
                    </a:cubicBezTo>
                    <a:cubicBezTo>
                      <a:pt x="25" y="32"/>
                      <a:pt x="24" y="29"/>
                      <a:pt x="23" y="28"/>
                    </a:cubicBezTo>
                    <a:cubicBezTo>
                      <a:pt x="21" y="26"/>
                      <a:pt x="19" y="25"/>
                      <a:pt x="17" y="26"/>
                    </a:cubicBezTo>
                    <a:cubicBezTo>
                      <a:pt x="14" y="26"/>
                      <a:pt x="11" y="27"/>
                      <a:pt x="9" y="30"/>
                    </a:cubicBezTo>
                    <a:cubicBezTo>
                      <a:pt x="1" y="29"/>
                      <a:pt x="1" y="29"/>
                      <a:pt x="1" y="29"/>
                    </a:cubicBezTo>
                    <a:cubicBezTo>
                      <a:pt x="5" y="1"/>
                      <a:pt x="5" y="1"/>
                      <a:pt x="5" y="1"/>
                    </a:cubicBezTo>
                    <a:cubicBezTo>
                      <a:pt x="32" y="0"/>
                      <a:pt x="32" y="0"/>
                      <a:pt x="32" y="0"/>
                    </a:cubicBezTo>
                    <a:cubicBezTo>
                      <a:pt x="32" y="10"/>
                      <a:pt x="32" y="10"/>
                      <a:pt x="32" y="10"/>
                    </a:cubicBezTo>
                    <a:cubicBezTo>
                      <a:pt x="13" y="10"/>
                      <a:pt x="13" y="10"/>
                      <a:pt x="13" y="10"/>
                    </a:cubicBezTo>
                    <a:cubicBezTo>
                      <a:pt x="12" y="19"/>
                      <a:pt x="12" y="19"/>
                      <a:pt x="12" y="19"/>
                    </a:cubicBezTo>
                    <a:cubicBezTo>
                      <a:pt x="14" y="18"/>
                      <a:pt x="16" y="17"/>
                      <a:pt x="19" y="17"/>
                    </a:cubicBezTo>
                    <a:cubicBezTo>
                      <a:pt x="23" y="17"/>
                      <a:pt x="27" y="19"/>
                      <a:pt x="30" y="22"/>
                    </a:cubicBezTo>
                    <a:cubicBezTo>
                      <a:pt x="34" y="25"/>
                      <a:pt x="35" y="29"/>
                      <a:pt x="36" y="34"/>
                    </a:cubicBezTo>
                    <a:cubicBezTo>
                      <a:pt x="36" y="39"/>
                      <a:pt x="35" y="43"/>
                      <a:pt x="32" y="46"/>
                    </a:cubicBezTo>
                    <a:cubicBezTo>
                      <a:pt x="29" y="51"/>
                      <a:pt x="24" y="54"/>
                      <a:pt x="18" y="54"/>
                    </a:cubicBezTo>
                    <a:cubicBezTo>
                      <a:pt x="13" y="54"/>
                      <a:pt x="9" y="53"/>
                      <a:pt x="6" y="50"/>
                    </a:cubicBezTo>
                    <a:cubicBezTo>
                      <a:pt x="3" y="48"/>
                      <a:pt x="1" y="44"/>
                      <a:pt x="0" y="4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1049827" name="i$ḻïḑê"/>
              <p:cNvSpPr/>
              <p:nvPr/>
            </p:nvSpPr>
            <p:spPr bwMode="auto">
              <a:xfrm>
                <a:off x="2522434" y="6045790"/>
                <a:ext cx="74613" cy="103188"/>
              </a:xfrm>
              <a:custGeom>
                <a:avLst/>
                <a:gdLst>
                  <a:gd name="T0" fmla="*/ 39 w 40"/>
                  <a:gd name="T1" fmla="*/ 42 h 56"/>
                  <a:gd name="T2" fmla="*/ 40 w 40"/>
                  <a:gd name="T3" fmla="*/ 51 h 56"/>
                  <a:gd name="T4" fmla="*/ 5 w 40"/>
                  <a:gd name="T5" fmla="*/ 56 h 56"/>
                  <a:gd name="T6" fmla="*/ 7 w 40"/>
                  <a:gd name="T7" fmla="*/ 46 h 56"/>
                  <a:gd name="T8" fmla="*/ 16 w 40"/>
                  <a:gd name="T9" fmla="*/ 32 h 56"/>
                  <a:gd name="T10" fmla="*/ 23 w 40"/>
                  <a:gd name="T11" fmla="*/ 22 h 56"/>
                  <a:gd name="T12" fmla="*/ 24 w 40"/>
                  <a:gd name="T13" fmla="*/ 15 h 56"/>
                  <a:gd name="T14" fmla="*/ 22 w 40"/>
                  <a:gd name="T15" fmla="*/ 10 h 56"/>
                  <a:gd name="T16" fmla="*/ 17 w 40"/>
                  <a:gd name="T17" fmla="*/ 9 h 56"/>
                  <a:gd name="T18" fmla="*/ 12 w 40"/>
                  <a:gd name="T19" fmla="*/ 12 h 56"/>
                  <a:gd name="T20" fmla="*/ 11 w 40"/>
                  <a:gd name="T21" fmla="*/ 19 h 56"/>
                  <a:gd name="T22" fmla="*/ 1 w 40"/>
                  <a:gd name="T23" fmla="*/ 19 h 56"/>
                  <a:gd name="T24" fmla="*/ 4 w 40"/>
                  <a:gd name="T25" fmla="*/ 6 h 56"/>
                  <a:gd name="T26" fmla="*/ 16 w 40"/>
                  <a:gd name="T27" fmla="*/ 1 h 56"/>
                  <a:gd name="T28" fmla="*/ 28 w 40"/>
                  <a:gd name="T29" fmla="*/ 3 h 56"/>
                  <a:gd name="T30" fmla="*/ 34 w 40"/>
                  <a:gd name="T31" fmla="*/ 13 h 56"/>
                  <a:gd name="T32" fmla="*/ 34 w 40"/>
                  <a:gd name="T33" fmla="*/ 20 h 56"/>
                  <a:gd name="T34" fmla="*/ 31 w 40"/>
                  <a:gd name="T35" fmla="*/ 27 h 56"/>
                  <a:gd name="T36" fmla="*/ 26 w 40"/>
                  <a:gd name="T37" fmla="*/ 35 h 56"/>
                  <a:gd name="T38" fmla="*/ 20 w 40"/>
                  <a:gd name="T39" fmla="*/ 42 h 56"/>
                  <a:gd name="T40" fmla="*/ 19 w 40"/>
                  <a:gd name="T41" fmla="*/ 45 h 56"/>
                  <a:gd name="T42" fmla="*/ 39 w 40"/>
                  <a:gd name="T43" fmla="*/ 42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40" h="56">
                    <a:moveTo>
                      <a:pt x="39" y="42"/>
                    </a:moveTo>
                    <a:cubicBezTo>
                      <a:pt x="40" y="51"/>
                      <a:pt x="40" y="51"/>
                      <a:pt x="40" y="51"/>
                    </a:cubicBezTo>
                    <a:cubicBezTo>
                      <a:pt x="5" y="56"/>
                      <a:pt x="5" y="56"/>
                      <a:pt x="5" y="56"/>
                    </a:cubicBezTo>
                    <a:cubicBezTo>
                      <a:pt x="5" y="53"/>
                      <a:pt x="5" y="49"/>
                      <a:pt x="7" y="46"/>
                    </a:cubicBezTo>
                    <a:cubicBezTo>
                      <a:pt x="8" y="42"/>
                      <a:pt x="11" y="38"/>
                      <a:pt x="16" y="32"/>
                    </a:cubicBezTo>
                    <a:cubicBezTo>
                      <a:pt x="20" y="27"/>
                      <a:pt x="22" y="23"/>
                      <a:pt x="23" y="22"/>
                    </a:cubicBezTo>
                    <a:cubicBezTo>
                      <a:pt x="24" y="19"/>
                      <a:pt x="25" y="17"/>
                      <a:pt x="24" y="15"/>
                    </a:cubicBezTo>
                    <a:cubicBezTo>
                      <a:pt x="24" y="13"/>
                      <a:pt x="23" y="11"/>
                      <a:pt x="22" y="10"/>
                    </a:cubicBezTo>
                    <a:cubicBezTo>
                      <a:pt x="21" y="9"/>
                      <a:pt x="19" y="9"/>
                      <a:pt x="17" y="9"/>
                    </a:cubicBezTo>
                    <a:cubicBezTo>
                      <a:pt x="15" y="10"/>
                      <a:pt x="13" y="11"/>
                      <a:pt x="12" y="12"/>
                    </a:cubicBezTo>
                    <a:cubicBezTo>
                      <a:pt x="11" y="13"/>
                      <a:pt x="10" y="16"/>
                      <a:pt x="11" y="19"/>
                    </a:cubicBezTo>
                    <a:cubicBezTo>
                      <a:pt x="1" y="19"/>
                      <a:pt x="1" y="19"/>
                      <a:pt x="1" y="19"/>
                    </a:cubicBezTo>
                    <a:cubicBezTo>
                      <a:pt x="0" y="13"/>
                      <a:pt x="2" y="9"/>
                      <a:pt x="4" y="6"/>
                    </a:cubicBezTo>
                    <a:cubicBezTo>
                      <a:pt x="7" y="3"/>
                      <a:pt x="11" y="2"/>
                      <a:pt x="16" y="1"/>
                    </a:cubicBezTo>
                    <a:cubicBezTo>
                      <a:pt x="21" y="0"/>
                      <a:pt x="25" y="1"/>
                      <a:pt x="28" y="3"/>
                    </a:cubicBezTo>
                    <a:cubicBezTo>
                      <a:pt x="32" y="6"/>
                      <a:pt x="34" y="9"/>
                      <a:pt x="34" y="13"/>
                    </a:cubicBezTo>
                    <a:cubicBezTo>
                      <a:pt x="35" y="15"/>
                      <a:pt x="35" y="18"/>
                      <a:pt x="34" y="20"/>
                    </a:cubicBezTo>
                    <a:cubicBezTo>
                      <a:pt x="34" y="22"/>
                      <a:pt x="33" y="25"/>
                      <a:pt x="31" y="27"/>
                    </a:cubicBezTo>
                    <a:cubicBezTo>
                      <a:pt x="30" y="29"/>
                      <a:pt x="28" y="32"/>
                      <a:pt x="26" y="35"/>
                    </a:cubicBezTo>
                    <a:cubicBezTo>
                      <a:pt x="23" y="38"/>
                      <a:pt x="21" y="41"/>
                      <a:pt x="20" y="42"/>
                    </a:cubicBezTo>
                    <a:cubicBezTo>
                      <a:pt x="20" y="43"/>
                      <a:pt x="19" y="44"/>
                      <a:pt x="19" y="45"/>
                    </a:cubicBezTo>
                    <a:lnTo>
                      <a:pt x="39" y="42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1049828" name="íṧlíḍe"/>
              <p:cNvSpPr/>
              <p:nvPr/>
            </p:nvSpPr>
            <p:spPr bwMode="auto">
              <a:xfrm>
                <a:off x="2611334" y="6072778"/>
                <a:ext cx="22225" cy="23813"/>
              </a:xfrm>
              <a:custGeom>
                <a:avLst/>
                <a:gdLst>
                  <a:gd name="T0" fmla="*/ 3 w 14"/>
                  <a:gd name="T1" fmla="*/ 15 h 15"/>
                  <a:gd name="T2" fmla="*/ 0 w 14"/>
                  <a:gd name="T3" fmla="*/ 3 h 15"/>
                  <a:gd name="T4" fmla="*/ 11 w 14"/>
                  <a:gd name="T5" fmla="*/ 0 h 15"/>
                  <a:gd name="T6" fmla="*/ 14 w 14"/>
                  <a:gd name="T7" fmla="*/ 12 h 15"/>
                  <a:gd name="T8" fmla="*/ 3 w 14"/>
                  <a:gd name="T9" fmla="*/ 15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4" h="15">
                    <a:moveTo>
                      <a:pt x="3" y="15"/>
                    </a:moveTo>
                    <a:lnTo>
                      <a:pt x="0" y="3"/>
                    </a:lnTo>
                    <a:lnTo>
                      <a:pt x="11" y="0"/>
                    </a:lnTo>
                    <a:lnTo>
                      <a:pt x="14" y="12"/>
                    </a:lnTo>
                    <a:lnTo>
                      <a:pt x="3" y="15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1049829" name="îŝľîḓê"/>
              <p:cNvSpPr/>
              <p:nvPr/>
            </p:nvSpPr>
            <p:spPr bwMode="auto">
              <a:xfrm>
                <a:off x="2108097" y="5261565"/>
                <a:ext cx="141288" cy="257175"/>
              </a:xfrm>
              <a:custGeom>
                <a:avLst/>
                <a:gdLst>
                  <a:gd name="T0" fmla="*/ 12 w 77"/>
                  <a:gd name="T1" fmla="*/ 25 h 139"/>
                  <a:gd name="T2" fmla="*/ 9 w 77"/>
                  <a:gd name="T3" fmla="*/ 21 h 139"/>
                  <a:gd name="T4" fmla="*/ 12 w 77"/>
                  <a:gd name="T5" fmla="*/ 17 h 139"/>
                  <a:gd name="T6" fmla="*/ 39 w 77"/>
                  <a:gd name="T7" fmla="*/ 21 h 139"/>
                  <a:gd name="T8" fmla="*/ 46 w 77"/>
                  <a:gd name="T9" fmla="*/ 36 h 139"/>
                  <a:gd name="T10" fmla="*/ 46 w 77"/>
                  <a:gd name="T11" fmla="*/ 39 h 139"/>
                  <a:gd name="T12" fmla="*/ 61 w 77"/>
                  <a:gd name="T13" fmla="*/ 33 h 139"/>
                  <a:gd name="T14" fmla="*/ 57 w 77"/>
                  <a:gd name="T15" fmla="*/ 16 h 139"/>
                  <a:gd name="T16" fmla="*/ 35 w 77"/>
                  <a:gd name="T17" fmla="*/ 9 h 139"/>
                  <a:gd name="T18" fmla="*/ 27 w 77"/>
                  <a:gd name="T19" fmla="*/ 3 h 139"/>
                  <a:gd name="T20" fmla="*/ 32 w 77"/>
                  <a:gd name="T21" fmla="*/ 0 h 139"/>
                  <a:gd name="T22" fmla="*/ 61 w 77"/>
                  <a:gd name="T23" fmla="*/ 9 h 139"/>
                  <a:gd name="T24" fmla="*/ 72 w 77"/>
                  <a:gd name="T25" fmla="*/ 30 h 139"/>
                  <a:gd name="T26" fmla="*/ 48 w 77"/>
                  <a:gd name="T27" fmla="*/ 45 h 139"/>
                  <a:gd name="T28" fmla="*/ 45 w 77"/>
                  <a:gd name="T29" fmla="*/ 46 h 139"/>
                  <a:gd name="T30" fmla="*/ 45 w 77"/>
                  <a:gd name="T31" fmla="*/ 54 h 139"/>
                  <a:gd name="T32" fmla="*/ 59 w 77"/>
                  <a:gd name="T33" fmla="*/ 61 h 139"/>
                  <a:gd name="T34" fmla="*/ 77 w 77"/>
                  <a:gd name="T35" fmla="*/ 80 h 139"/>
                  <a:gd name="T36" fmla="*/ 75 w 77"/>
                  <a:gd name="T37" fmla="*/ 84 h 139"/>
                  <a:gd name="T38" fmla="*/ 71 w 77"/>
                  <a:gd name="T39" fmla="*/ 83 h 139"/>
                  <a:gd name="T40" fmla="*/ 59 w 77"/>
                  <a:gd name="T41" fmla="*/ 70 h 139"/>
                  <a:gd name="T42" fmla="*/ 45 w 77"/>
                  <a:gd name="T43" fmla="*/ 63 h 139"/>
                  <a:gd name="T44" fmla="*/ 45 w 77"/>
                  <a:gd name="T45" fmla="*/ 77 h 139"/>
                  <a:gd name="T46" fmla="*/ 53 w 77"/>
                  <a:gd name="T47" fmla="*/ 83 h 139"/>
                  <a:gd name="T48" fmla="*/ 66 w 77"/>
                  <a:gd name="T49" fmla="*/ 102 h 139"/>
                  <a:gd name="T50" fmla="*/ 72 w 77"/>
                  <a:gd name="T51" fmla="*/ 121 h 139"/>
                  <a:gd name="T52" fmla="*/ 70 w 77"/>
                  <a:gd name="T53" fmla="*/ 124 h 139"/>
                  <a:gd name="T54" fmla="*/ 67 w 77"/>
                  <a:gd name="T55" fmla="*/ 122 h 139"/>
                  <a:gd name="T56" fmla="*/ 64 w 77"/>
                  <a:gd name="T57" fmla="*/ 115 h 139"/>
                  <a:gd name="T58" fmla="*/ 55 w 77"/>
                  <a:gd name="T59" fmla="*/ 97 h 139"/>
                  <a:gd name="T60" fmla="*/ 45 w 77"/>
                  <a:gd name="T61" fmla="*/ 87 h 139"/>
                  <a:gd name="T62" fmla="*/ 45 w 77"/>
                  <a:gd name="T63" fmla="*/ 102 h 139"/>
                  <a:gd name="T64" fmla="*/ 44 w 77"/>
                  <a:gd name="T65" fmla="*/ 136 h 139"/>
                  <a:gd name="T66" fmla="*/ 41 w 77"/>
                  <a:gd name="T67" fmla="*/ 139 h 139"/>
                  <a:gd name="T68" fmla="*/ 38 w 77"/>
                  <a:gd name="T69" fmla="*/ 137 h 139"/>
                  <a:gd name="T70" fmla="*/ 37 w 77"/>
                  <a:gd name="T71" fmla="*/ 103 h 139"/>
                  <a:gd name="T72" fmla="*/ 37 w 77"/>
                  <a:gd name="T73" fmla="*/ 86 h 139"/>
                  <a:gd name="T74" fmla="*/ 28 w 77"/>
                  <a:gd name="T75" fmla="*/ 92 h 139"/>
                  <a:gd name="T76" fmla="*/ 19 w 77"/>
                  <a:gd name="T77" fmla="*/ 109 h 139"/>
                  <a:gd name="T78" fmla="*/ 12 w 77"/>
                  <a:gd name="T79" fmla="*/ 121 h 139"/>
                  <a:gd name="T80" fmla="*/ 8 w 77"/>
                  <a:gd name="T81" fmla="*/ 122 h 139"/>
                  <a:gd name="T82" fmla="*/ 7 w 77"/>
                  <a:gd name="T83" fmla="*/ 120 h 139"/>
                  <a:gd name="T84" fmla="*/ 8 w 77"/>
                  <a:gd name="T85" fmla="*/ 117 h 139"/>
                  <a:gd name="T86" fmla="*/ 11 w 77"/>
                  <a:gd name="T87" fmla="*/ 106 h 139"/>
                  <a:gd name="T88" fmla="*/ 22 w 77"/>
                  <a:gd name="T89" fmla="*/ 86 h 139"/>
                  <a:gd name="T90" fmla="*/ 37 w 77"/>
                  <a:gd name="T91" fmla="*/ 76 h 139"/>
                  <a:gd name="T92" fmla="*/ 37 w 77"/>
                  <a:gd name="T93" fmla="*/ 68 h 139"/>
                  <a:gd name="T94" fmla="*/ 37 w 77"/>
                  <a:gd name="T95" fmla="*/ 63 h 139"/>
                  <a:gd name="T96" fmla="*/ 24 w 77"/>
                  <a:gd name="T97" fmla="*/ 69 h 139"/>
                  <a:gd name="T98" fmla="*/ 16 w 77"/>
                  <a:gd name="T99" fmla="*/ 77 h 139"/>
                  <a:gd name="T100" fmla="*/ 9 w 77"/>
                  <a:gd name="T101" fmla="*/ 85 h 139"/>
                  <a:gd name="T102" fmla="*/ 6 w 77"/>
                  <a:gd name="T103" fmla="*/ 86 h 139"/>
                  <a:gd name="T104" fmla="*/ 5 w 77"/>
                  <a:gd name="T105" fmla="*/ 82 h 139"/>
                  <a:gd name="T106" fmla="*/ 22 w 77"/>
                  <a:gd name="T107" fmla="*/ 60 h 139"/>
                  <a:gd name="T108" fmla="*/ 37 w 77"/>
                  <a:gd name="T109" fmla="*/ 54 h 139"/>
                  <a:gd name="T110" fmla="*/ 37 w 77"/>
                  <a:gd name="T111" fmla="*/ 47 h 139"/>
                  <a:gd name="T112" fmla="*/ 3 w 77"/>
                  <a:gd name="T113" fmla="*/ 45 h 139"/>
                  <a:gd name="T114" fmla="*/ 0 w 77"/>
                  <a:gd name="T115" fmla="*/ 40 h 139"/>
                  <a:gd name="T116" fmla="*/ 5 w 77"/>
                  <a:gd name="T117" fmla="*/ 38 h 139"/>
                  <a:gd name="T118" fmla="*/ 37 w 77"/>
                  <a:gd name="T119" fmla="*/ 39 h 139"/>
                  <a:gd name="T120" fmla="*/ 37 w 77"/>
                  <a:gd name="T121" fmla="*/ 39 h 139"/>
                  <a:gd name="T122" fmla="*/ 33 w 77"/>
                  <a:gd name="T123" fmla="*/ 28 h 139"/>
                  <a:gd name="T124" fmla="*/ 12 w 77"/>
                  <a:gd name="T125" fmla="*/ 25 h 1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77" h="139">
                    <a:moveTo>
                      <a:pt x="12" y="25"/>
                    </a:moveTo>
                    <a:cubicBezTo>
                      <a:pt x="10" y="25"/>
                      <a:pt x="9" y="24"/>
                      <a:pt x="9" y="21"/>
                    </a:cubicBezTo>
                    <a:cubicBezTo>
                      <a:pt x="9" y="18"/>
                      <a:pt x="10" y="17"/>
                      <a:pt x="12" y="17"/>
                    </a:cubicBezTo>
                    <a:cubicBezTo>
                      <a:pt x="24" y="17"/>
                      <a:pt x="33" y="18"/>
                      <a:pt x="39" y="21"/>
                    </a:cubicBezTo>
                    <a:cubicBezTo>
                      <a:pt x="45" y="24"/>
                      <a:pt x="47" y="28"/>
                      <a:pt x="46" y="36"/>
                    </a:cubicBezTo>
                    <a:cubicBezTo>
                      <a:pt x="46" y="37"/>
                      <a:pt x="46" y="38"/>
                      <a:pt x="46" y="39"/>
                    </a:cubicBezTo>
                    <a:cubicBezTo>
                      <a:pt x="53" y="38"/>
                      <a:pt x="58" y="35"/>
                      <a:pt x="61" y="33"/>
                    </a:cubicBezTo>
                    <a:cubicBezTo>
                      <a:pt x="65" y="27"/>
                      <a:pt x="64" y="22"/>
                      <a:pt x="57" y="16"/>
                    </a:cubicBezTo>
                    <a:cubicBezTo>
                      <a:pt x="52" y="12"/>
                      <a:pt x="44" y="9"/>
                      <a:pt x="35" y="9"/>
                    </a:cubicBezTo>
                    <a:cubicBezTo>
                      <a:pt x="30" y="8"/>
                      <a:pt x="28" y="6"/>
                      <a:pt x="27" y="3"/>
                    </a:cubicBezTo>
                    <a:cubicBezTo>
                      <a:pt x="27" y="1"/>
                      <a:pt x="29" y="0"/>
                      <a:pt x="32" y="0"/>
                    </a:cubicBezTo>
                    <a:cubicBezTo>
                      <a:pt x="44" y="0"/>
                      <a:pt x="53" y="3"/>
                      <a:pt x="61" y="9"/>
                    </a:cubicBezTo>
                    <a:cubicBezTo>
                      <a:pt x="69" y="16"/>
                      <a:pt x="73" y="23"/>
                      <a:pt x="72" y="30"/>
                    </a:cubicBezTo>
                    <a:cubicBezTo>
                      <a:pt x="68" y="37"/>
                      <a:pt x="60" y="43"/>
                      <a:pt x="48" y="45"/>
                    </a:cubicBezTo>
                    <a:cubicBezTo>
                      <a:pt x="47" y="46"/>
                      <a:pt x="46" y="46"/>
                      <a:pt x="45" y="46"/>
                    </a:cubicBezTo>
                    <a:cubicBezTo>
                      <a:pt x="45" y="48"/>
                      <a:pt x="45" y="51"/>
                      <a:pt x="45" y="54"/>
                    </a:cubicBezTo>
                    <a:cubicBezTo>
                      <a:pt x="49" y="54"/>
                      <a:pt x="54" y="57"/>
                      <a:pt x="59" y="61"/>
                    </a:cubicBezTo>
                    <a:cubicBezTo>
                      <a:pt x="66" y="66"/>
                      <a:pt x="72" y="72"/>
                      <a:pt x="77" y="80"/>
                    </a:cubicBezTo>
                    <a:cubicBezTo>
                      <a:pt x="77" y="82"/>
                      <a:pt x="77" y="83"/>
                      <a:pt x="75" y="84"/>
                    </a:cubicBezTo>
                    <a:cubicBezTo>
                      <a:pt x="74" y="85"/>
                      <a:pt x="72" y="85"/>
                      <a:pt x="71" y="83"/>
                    </a:cubicBezTo>
                    <a:cubicBezTo>
                      <a:pt x="69" y="80"/>
                      <a:pt x="65" y="76"/>
                      <a:pt x="59" y="70"/>
                    </a:cubicBezTo>
                    <a:cubicBezTo>
                      <a:pt x="54" y="66"/>
                      <a:pt x="49" y="64"/>
                      <a:pt x="45" y="63"/>
                    </a:cubicBezTo>
                    <a:cubicBezTo>
                      <a:pt x="45" y="77"/>
                      <a:pt x="45" y="77"/>
                      <a:pt x="45" y="77"/>
                    </a:cubicBezTo>
                    <a:cubicBezTo>
                      <a:pt x="48" y="78"/>
                      <a:pt x="51" y="80"/>
                      <a:pt x="53" y="83"/>
                    </a:cubicBezTo>
                    <a:cubicBezTo>
                      <a:pt x="59" y="88"/>
                      <a:pt x="63" y="94"/>
                      <a:pt x="66" y="102"/>
                    </a:cubicBezTo>
                    <a:cubicBezTo>
                      <a:pt x="71" y="109"/>
                      <a:pt x="73" y="116"/>
                      <a:pt x="72" y="121"/>
                    </a:cubicBezTo>
                    <a:cubicBezTo>
                      <a:pt x="72" y="122"/>
                      <a:pt x="72" y="123"/>
                      <a:pt x="70" y="124"/>
                    </a:cubicBezTo>
                    <a:cubicBezTo>
                      <a:pt x="69" y="124"/>
                      <a:pt x="68" y="124"/>
                      <a:pt x="67" y="122"/>
                    </a:cubicBezTo>
                    <a:cubicBezTo>
                      <a:pt x="67" y="121"/>
                      <a:pt x="66" y="118"/>
                      <a:pt x="64" y="115"/>
                    </a:cubicBezTo>
                    <a:cubicBezTo>
                      <a:pt x="60" y="107"/>
                      <a:pt x="57" y="102"/>
                      <a:pt x="55" y="97"/>
                    </a:cubicBezTo>
                    <a:cubicBezTo>
                      <a:pt x="51" y="91"/>
                      <a:pt x="48" y="88"/>
                      <a:pt x="45" y="87"/>
                    </a:cubicBezTo>
                    <a:cubicBezTo>
                      <a:pt x="45" y="102"/>
                      <a:pt x="45" y="102"/>
                      <a:pt x="45" y="102"/>
                    </a:cubicBezTo>
                    <a:cubicBezTo>
                      <a:pt x="45" y="117"/>
                      <a:pt x="45" y="128"/>
                      <a:pt x="44" y="136"/>
                    </a:cubicBezTo>
                    <a:cubicBezTo>
                      <a:pt x="43" y="137"/>
                      <a:pt x="42" y="138"/>
                      <a:pt x="41" y="139"/>
                    </a:cubicBezTo>
                    <a:cubicBezTo>
                      <a:pt x="40" y="139"/>
                      <a:pt x="39" y="139"/>
                      <a:pt x="38" y="137"/>
                    </a:cubicBezTo>
                    <a:cubicBezTo>
                      <a:pt x="37" y="135"/>
                      <a:pt x="37" y="123"/>
                      <a:pt x="37" y="103"/>
                    </a:cubicBezTo>
                    <a:cubicBezTo>
                      <a:pt x="37" y="97"/>
                      <a:pt x="37" y="92"/>
                      <a:pt x="37" y="86"/>
                    </a:cubicBezTo>
                    <a:cubicBezTo>
                      <a:pt x="34" y="87"/>
                      <a:pt x="31" y="89"/>
                      <a:pt x="28" y="92"/>
                    </a:cubicBezTo>
                    <a:cubicBezTo>
                      <a:pt x="24" y="98"/>
                      <a:pt x="21" y="103"/>
                      <a:pt x="19" y="109"/>
                    </a:cubicBezTo>
                    <a:cubicBezTo>
                      <a:pt x="17" y="113"/>
                      <a:pt x="15" y="117"/>
                      <a:pt x="12" y="121"/>
                    </a:cubicBezTo>
                    <a:cubicBezTo>
                      <a:pt x="11" y="122"/>
                      <a:pt x="9" y="122"/>
                      <a:pt x="8" y="122"/>
                    </a:cubicBezTo>
                    <a:cubicBezTo>
                      <a:pt x="7" y="122"/>
                      <a:pt x="7" y="121"/>
                      <a:pt x="7" y="120"/>
                    </a:cubicBezTo>
                    <a:cubicBezTo>
                      <a:pt x="7" y="119"/>
                      <a:pt x="7" y="118"/>
                      <a:pt x="8" y="117"/>
                    </a:cubicBezTo>
                    <a:cubicBezTo>
                      <a:pt x="9" y="112"/>
                      <a:pt x="10" y="108"/>
                      <a:pt x="11" y="106"/>
                    </a:cubicBezTo>
                    <a:cubicBezTo>
                      <a:pt x="13" y="101"/>
                      <a:pt x="17" y="94"/>
                      <a:pt x="22" y="86"/>
                    </a:cubicBezTo>
                    <a:cubicBezTo>
                      <a:pt x="27" y="80"/>
                      <a:pt x="32" y="77"/>
                      <a:pt x="37" y="76"/>
                    </a:cubicBezTo>
                    <a:cubicBezTo>
                      <a:pt x="37" y="68"/>
                      <a:pt x="37" y="68"/>
                      <a:pt x="37" y="68"/>
                    </a:cubicBezTo>
                    <a:cubicBezTo>
                      <a:pt x="37" y="63"/>
                      <a:pt x="37" y="63"/>
                      <a:pt x="37" y="63"/>
                    </a:cubicBezTo>
                    <a:cubicBezTo>
                      <a:pt x="33" y="64"/>
                      <a:pt x="29" y="66"/>
                      <a:pt x="24" y="69"/>
                    </a:cubicBezTo>
                    <a:cubicBezTo>
                      <a:pt x="23" y="70"/>
                      <a:pt x="20" y="72"/>
                      <a:pt x="16" y="77"/>
                    </a:cubicBezTo>
                    <a:cubicBezTo>
                      <a:pt x="13" y="81"/>
                      <a:pt x="11" y="83"/>
                      <a:pt x="9" y="85"/>
                    </a:cubicBezTo>
                    <a:cubicBezTo>
                      <a:pt x="8" y="86"/>
                      <a:pt x="7" y="87"/>
                      <a:pt x="6" y="86"/>
                    </a:cubicBezTo>
                    <a:cubicBezTo>
                      <a:pt x="5" y="86"/>
                      <a:pt x="5" y="84"/>
                      <a:pt x="5" y="82"/>
                    </a:cubicBezTo>
                    <a:cubicBezTo>
                      <a:pt x="10" y="73"/>
                      <a:pt x="15" y="65"/>
                      <a:pt x="22" y="60"/>
                    </a:cubicBezTo>
                    <a:cubicBezTo>
                      <a:pt x="27" y="56"/>
                      <a:pt x="32" y="54"/>
                      <a:pt x="37" y="54"/>
                    </a:cubicBezTo>
                    <a:cubicBezTo>
                      <a:pt x="37" y="47"/>
                      <a:pt x="37" y="47"/>
                      <a:pt x="37" y="47"/>
                    </a:cubicBezTo>
                    <a:cubicBezTo>
                      <a:pt x="22" y="49"/>
                      <a:pt x="10" y="48"/>
                      <a:pt x="3" y="45"/>
                    </a:cubicBezTo>
                    <a:cubicBezTo>
                      <a:pt x="1" y="44"/>
                      <a:pt x="0" y="42"/>
                      <a:pt x="0" y="40"/>
                    </a:cubicBezTo>
                    <a:cubicBezTo>
                      <a:pt x="1" y="38"/>
                      <a:pt x="3" y="38"/>
                      <a:pt x="5" y="38"/>
                    </a:cubicBezTo>
                    <a:cubicBezTo>
                      <a:pt x="12" y="40"/>
                      <a:pt x="22" y="40"/>
                      <a:pt x="37" y="39"/>
                    </a:cubicBezTo>
                    <a:cubicBezTo>
                      <a:pt x="37" y="39"/>
                      <a:pt x="37" y="39"/>
                      <a:pt x="37" y="39"/>
                    </a:cubicBezTo>
                    <a:cubicBezTo>
                      <a:pt x="38" y="32"/>
                      <a:pt x="36" y="29"/>
                      <a:pt x="33" y="28"/>
                    </a:cubicBezTo>
                    <a:cubicBezTo>
                      <a:pt x="26" y="25"/>
                      <a:pt x="19" y="24"/>
                      <a:pt x="12" y="25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1049830" name="íṣlíḑe"/>
              <p:cNvSpPr/>
              <p:nvPr/>
            </p:nvSpPr>
            <p:spPr bwMode="auto">
              <a:xfrm>
                <a:off x="2273197" y="5255215"/>
                <a:ext cx="163513" cy="263525"/>
              </a:xfrm>
              <a:custGeom>
                <a:avLst/>
                <a:gdLst>
                  <a:gd name="T0" fmla="*/ 47 w 88"/>
                  <a:gd name="T1" fmla="*/ 8 h 143"/>
                  <a:gd name="T2" fmla="*/ 74 w 88"/>
                  <a:gd name="T3" fmla="*/ 14 h 143"/>
                  <a:gd name="T4" fmla="*/ 82 w 88"/>
                  <a:gd name="T5" fmla="*/ 26 h 143"/>
                  <a:gd name="T6" fmla="*/ 79 w 88"/>
                  <a:gd name="T7" fmla="*/ 75 h 143"/>
                  <a:gd name="T8" fmla="*/ 86 w 88"/>
                  <a:gd name="T9" fmla="*/ 136 h 143"/>
                  <a:gd name="T10" fmla="*/ 73 w 88"/>
                  <a:gd name="T11" fmla="*/ 45 h 143"/>
                  <a:gd name="T12" fmla="*/ 67 w 88"/>
                  <a:gd name="T13" fmla="*/ 44 h 143"/>
                  <a:gd name="T14" fmla="*/ 54 w 88"/>
                  <a:gd name="T15" fmla="*/ 58 h 143"/>
                  <a:gd name="T16" fmla="*/ 22 w 88"/>
                  <a:gd name="T17" fmla="*/ 54 h 143"/>
                  <a:gd name="T18" fmla="*/ 15 w 88"/>
                  <a:gd name="T19" fmla="*/ 45 h 143"/>
                  <a:gd name="T20" fmla="*/ 11 w 88"/>
                  <a:gd name="T21" fmla="*/ 91 h 143"/>
                  <a:gd name="T22" fmla="*/ 9 w 88"/>
                  <a:gd name="T23" fmla="*/ 118 h 143"/>
                  <a:gd name="T24" fmla="*/ 2 w 88"/>
                  <a:gd name="T25" fmla="*/ 139 h 143"/>
                  <a:gd name="T26" fmla="*/ 6 w 88"/>
                  <a:gd name="T27" fmla="*/ 80 h 143"/>
                  <a:gd name="T28" fmla="*/ 2 w 88"/>
                  <a:gd name="T29" fmla="*/ 26 h 143"/>
                  <a:gd name="T30" fmla="*/ 32 w 88"/>
                  <a:gd name="T31" fmla="*/ 10 h 143"/>
                  <a:gd name="T32" fmla="*/ 39 w 88"/>
                  <a:gd name="T33" fmla="*/ 0 h 143"/>
                  <a:gd name="T34" fmla="*/ 24 w 88"/>
                  <a:gd name="T35" fmla="*/ 23 h 143"/>
                  <a:gd name="T36" fmla="*/ 66 w 88"/>
                  <a:gd name="T37" fmla="*/ 29 h 143"/>
                  <a:gd name="T38" fmla="*/ 67 w 88"/>
                  <a:gd name="T39" fmla="*/ 37 h 143"/>
                  <a:gd name="T40" fmla="*/ 73 w 88"/>
                  <a:gd name="T41" fmla="*/ 34 h 143"/>
                  <a:gd name="T42" fmla="*/ 66 w 88"/>
                  <a:gd name="T43" fmla="*/ 20 h 143"/>
                  <a:gd name="T44" fmla="*/ 13 w 88"/>
                  <a:gd name="T45" fmla="*/ 21 h 143"/>
                  <a:gd name="T46" fmla="*/ 12 w 88"/>
                  <a:gd name="T47" fmla="*/ 32 h 143"/>
                  <a:gd name="T48" fmla="*/ 17 w 88"/>
                  <a:gd name="T49" fmla="*/ 38 h 143"/>
                  <a:gd name="T50" fmla="*/ 24 w 88"/>
                  <a:gd name="T51" fmla="*/ 23 h 143"/>
                  <a:gd name="T52" fmla="*/ 61 w 88"/>
                  <a:gd name="T53" fmla="*/ 64 h 143"/>
                  <a:gd name="T54" fmla="*/ 66 w 88"/>
                  <a:gd name="T55" fmla="*/ 96 h 143"/>
                  <a:gd name="T56" fmla="*/ 61 w 88"/>
                  <a:gd name="T57" fmla="*/ 136 h 143"/>
                  <a:gd name="T58" fmla="*/ 59 w 88"/>
                  <a:gd name="T59" fmla="*/ 143 h 143"/>
                  <a:gd name="T60" fmla="*/ 46 w 88"/>
                  <a:gd name="T61" fmla="*/ 105 h 143"/>
                  <a:gd name="T62" fmla="*/ 30 w 88"/>
                  <a:gd name="T63" fmla="*/ 140 h 143"/>
                  <a:gd name="T64" fmla="*/ 26 w 88"/>
                  <a:gd name="T65" fmla="*/ 137 h 143"/>
                  <a:gd name="T66" fmla="*/ 32 w 88"/>
                  <a:gd name="T67" fmla="*/ 121 h 143"/>
                  <a:gd name="T68" fmla="*/ 35 w 88"/>
                  <a:gd name="T69" fmla="*/ 105 h 143"/>
                  <a:gd name="T70" fmla="*/ 18 w 88"/>
                  <a:gd name="T71" fmla="*/ 75 h 143"/>
                  <a:gd name="T72" fmla="*/ 24 w 88"/>
                  <a:gd name="T73" fmla="*/ 35 h 143"/>
                  <a:gd name="T74" fmla="*/ 39 w 88"/>
                  <a:gd name="T75" fmla="*/ 37 h 143"/>
                  <a:gd name="T76" fmla="*/ 34 w 88"/>
                  <a:gd name="T77" fmla="*/ 29 h 143"/>
                  <a:gd name="T78" fmla="*/ 24 w 88"/>
                  <a:gd name="T79" fmla="*/ 35 h 143"/>
                  <a:gd name="T80" fmla="*/ 62 w 88"/>
                  <a:gd name="T81" fmla="*/ 84 h 143"/>
                  <a:gd name="T82" fmla="*/ 43 w 88"/>
                  <a:gd name="T83" fmla="*/ 81 h 143"/>
                  <a:gd name="T84" fmla="*/ 25 w 88"/>
                  <a:gd name="T85" fmla="*/ 87 h 143"/>
                  <a:gd name="T86" fmla="*/ 26 w 88"/>
                  <a:gd name="T87" fmla="*/ 48 h 143"/>
                  <a:gd name="T88" fmla="*/ 38 w 88"/>
                  <a:gd name="T89" fmla="*/ 52 h 143"/>
                  <a:gd name="T90" fmla="*/ 25 w 88"/>
                  <a:gd name="T91" fmla="*/ 44 h 143"/>
                  <a:gd name="T92" fmla="*/ 32 w 88"/>
                  <a:gd name="T93" fmla="*/ 69 h 143"/>
                  <a:gd name="T94" fmla="*/ 41 w 88"/>
                  <a:gd name="T95" fmla="*/ 75 h 143"/>
                  <a:gd name="T96" fmla="*/ 57 w 88"/>
                  <a:gd name="T97" fmla="*/ 70 h 143"/>
                  <a:gd name="T98" fmla="*/ 56 w 88"/>
                  <a:gd name="T99" fmla="*/ 98 h 143"/>
                  <a:gd name="T100" fmla="*/ 54 w 88"/>
                  <a:gd name="T101" fmla="*/ 93 h 143"/>
                  <a:gd name="T102" fmla="*/ 36 w 88"/>
                  <a:gd name="T103" fmla="*/ 93 h 143"/>
                  <a:gd name="T104" fmla="*/ 32 w 88"/>
                  <a:gd name="T105" fmla="*/ 98 h 143"/>
                  <a:gd name="T106" fmla="*/ 56 w 88"/>
                  <a:gd name="T107" fmla="*/ 29 h 143"/>
                  <a:gd name="T108" fmla="*/ 46 w 88"/>
                  <a:gd name="T109" fmla="*/ 29 h 143"/>
                  <a:gd name="T110" fmla="*/ 60 w 88"/>
                  <a:gd name="T111" fmla="*/ 37 h 143"/>
                  <a:gd name="T112" fmla="*/ 56 w 88"/>
                  <a:gd name="T113" fmla="*/ 29 h 143"/>
                  <a:gd name="T114" fmla="*/ 60 w 88"/>
                  <a:gd name="T115" fmla="*/ 43 h 143"/>
                  <a:gd name="T116" fmla="*/ 46 w 88"/>
                  <a:gd name="T117" fmla="*/ 52 h 143"/>
                  <a:gd name="T118" fmla="*/ 59 w 88"/>
                  <a:gd name="T119" fmla="*/ 48 h 1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88" h="143">
                    <a:moveTo>
                      <a:pt x="43" y="2"/>
                    </a:moveTo>
                    <a:cubicBezTo>
                      <a:pt x="45" y="3"/>
                      <a:pt x="47" y="6"/>
                      <a:pt x="47" y="8"/>
                    </a:cubicBezTo>
                    <a:cubicBezTo>
                      <a:pt x="47" y="9"/>
                      <a:pt x="48" y="10"/>
                      <a:pt x="49" y="10"/>
                    </a:cubicBezTo>
                    <a:cubicBezTo>
                      <a:pt x="57" y="10"/>
                      <a:pt x="66" y="12"/>
                      <a:pt x="74" y="14"/>
                    </a:cubicBezTo>
                    <a:cubicBezTo>
                      <a:pt x="78" y="16"/>
                      <a:pt x="81" y="18"/>
                      <a:pt x="81" y="19"/>
                    </a:cubicBezTo>
                    <a:cubicBezTo>
                      <a:pt x="82" y="21"/>
                      <a:pt x="82" y="24"/>
                      <a:pt x="82" y="26"/>
                    </a:cubicBezTo>
                    <a:cubicBezTo>
                      <a:pt x="82" y="27"/>
                      <a:pt x="82" y="27"/>
                      <a:pt x="82" y="28"/>
                    </a:cubicBezTo>
                    <a:cubicBezTo>
                      <a:pt x="79" y="39"/>
                      <a:pt x="78" y="55"/>
                      <a:pt x="79" y="75"/>
                    </a:cubicBezTo>
                    <a:cubicBezTo>
                      <a:pt x="80" y="87"/>
                      <a:pt x="83" y="106"/>
                      <a:pt x="87" y="131"/>
                    </a:cubicBezTo>
                    <a:cubicBezTo>
                      <a:pt x="88" y="134"/>
                      <a:pt x="87" y="135"/>
                      <a:pt x="86" y="136"/>
                    </a:cubicBezTo>
                    <a:cubicBezTo>
                      <a:pt x="84" y="137"/>
                      <a:pt x="82" y="136"/>
                      <a:pt x="82" y="133"/>
                    </a:cubicBezTo>
                    <a:cubicBezTo>
                      <a:pt x="74" y="106"/>
                      <a:pt x="71" y="76"/>
                      <a:pt x="73" y="45"/>
                    </a:cubicBezTo>
                    <a:cubicBezTo>
                      <a:pt x="72" y="45"/>
                      <a:pt x="71" y="44"/>
                      <a:pt x="70" y="44"/>
                    </a:cubicBezTo>
                    <a:cubicBezTo>
                      <a:pt x="69" y="44"/>
                      <a:pt x="68" y="44"/>
                      <a:pt x="67" y="44"/>
                    </a:cubicBezTo>
                    <a:cubicBezTo>
                      <a:pt x="67" y="48"/>
                      <a:pt x="66" y="51"/>
                      <a:pt x="64" y="54"/>
                    </a:cubicBezTo>
                    <a:cubicBezTo>
                      <a:pt x="62" y="57"/>
                      <a:pt x="59" y="59"/>
                      <a:pt x="54" y="58"/>
                    </a:cubicBezTo>
                    <a:cubicBezTo>
                      <a:pt x="47" y="58"/>
                      <a:pt x="39" y="58"/>
                      <a:pt x="32" y="58"/>
                    </a:cubicBezTo>
                    <a:cubicBezTo>
                      <a:pt x="28" y="59"/>
                      <a:pt x="25" y="58"/>
                      <a:pt x="22" y="54"/>
                    </a:cubicBezTo>
                    <a:cubicBezTo>
                      <a:pt x="20" y="51"/>
                      <a:pt x="19" y="48"/>
                      <a:pt x="18" y="45"/>
                    </a:cubicBezTo>
                    <a:cubicBezTo>
                      <a:pt x="17" y="45"/>
                      <a:pt x="16" y="45"/>
                      <a:pt x="15" y="45"/>
                    </a:cubicBezTo>
                    <a:cubicBezTo>
                      <a:pt x="14" y="45"/>
                      <a:pt x="13" y="45"/>
                      <a:pt x="13" y="45"/>
                    </a:cubicBezTo>
                    <a:cubicBezTo>
                      <a:pt x="13" y="60"/>
                      <a:pt x="13" y="75"/>
                      <a:pt x="11" y="91"/>
                    </a:cubicBezTo>
                    <a:cubicBezTo>
                      <a:pt x="11" y="95"/>
                      <a:pt x="11" y="102"/>
                      <a:pt x="10" y="111"/>
                    </a:cubicBezTo>
                    <a:cubicBezTo>
                      <a:pt x="10" y="108"/>
                      <a:pt x="10" y="111"/>
                      <a:pt x="9" y="118"/>
                    </a:cubicBezTo>
                    <a:cubicBezTo>
                      <a:pt x="9" y="124"/>
                      <a:pt x="8" y="130"/>
                      <a:pt x="6" y="134"/>
                    </a:cubicBezTo>
                    <a:cubicBezTo>
                      <a:pt x="5" y="138"/>
                      <a:pt x="3" y="139"/>
                      <a:pt x="2" y="139"/>
                    </a:cubicBezTo>
                    <a:cubicBezTo>
                      <a:pt x="0" y="139"/>
                      <a:pt x="0" y="137"/>
                      <a:pt x="0" y="133"/>
                    </a:cubicBezTo>
                    <a:cubicBezTo>
                      <a:pt x="3" y="112"/>
                      <a:pt x="5" y="94"/>
                      <a:pt x="6" y="80"/>
                    </a:cubicBezTo>
                    <a:cubicBezTo>
                      <a:pt x="8" y="64"/>
                      <a:pt x="7" y="51"/>
                      <a:pt x="6" y="38"/>
                    </a:cubicBezTo>
                    <a:cubicBezTo>
                      <a:pt x="5" y="34"/>
                      <a:pt x="4" y="30"/>
                      <a:pt x="2" y="26"/>
                    </a:cubicBezTo>
                    <a:cubicBezTo>
                      <a:pt x="0" y="21"/>
                      <a:pt x="1" y="17"/>
                      <a:pt x="6" y="16"/>
                    </a:cubicBezTo>
                    <a:cubicBezTo>
                      <a:pt x="14" y="12"/>
                      <a:pt x="23" y="11"/>
                      <a:pt x="32" y="10"/>
                    </a:cubicBezTo>
                    <a:cubicBezTo>
                      <a:pt x="36" y="9"/>
                      <a:pt x="38" y="7"/>
                      <a:pt x="38" y="4"/>
                    </a:cubicBezTo>
                    <a:cubicBezTo>
                      <a:pt x="38" y="2"/>
                      <a:pt x="38" y="1"/>
                      <a:pt x="39" y="0"/>
                    </a:cubicBezTo>
                    <a:cubicBezTo>
                      <a:pt x="41" y="0"/>
                      <a:pt x="42" y="0"/>
                      <a:pt x="43" y="2"/>
                    </a:cubicBezTo>
                    <a:close/>
                    <a:moveTo>
                      <a:pt x="24" y="23"/>
                    </a:moveTo>
                    <a:cubicBezTo>
                      <a:pt x="33" y="22"/>
                      <a:pt x="44" y="22"/>
                      <a:pt x="58" y="23"/>
                    </a:cubicBezTo>
                    <a:cubicBezTo>
                      <a:pt x="63" y="24"/>
                      <a:pt x="66" y="26"/>
                      <a:pt x="66" y="29"/>
                    </a:cubicBezTo>
                    <a:cubicBezTo>
                      <a:pt x="66" y="30"/>
                      <a:pt x="66" y="30"/>
                      <a:pt x="67" y="31"/>
                    </a:cubicBezTo>
                    <a:cubicBezTo>
                      <a:pt x="67" y="33"/>
                      <a:pt x="67" y="35"/>
                      <a:pt x="67" y="37"/>
                    </a:cubicBezTo>
                    <a:cubicBezTo>
                      <a:pt x="69" y="38"/>
                      <a:pt x="71" y="38"/>
                      <a:pt x="73" y="38"/>
                    </a:cubicBezTo>
                    <a:cubicBezTo>
                      <a:pt x="73" y="37"/>
                      <a:pt x="73" y="36"/>
                      <a:pt x="73" y="34"/>
                    </a:cubicBezTo>
                    <a:cubicBezTo>
                      <a:pt x="73" y="32"/>
                      <a:pt x="73" y="30"/>
                      <a:pt x="74" y="29"/>
                    </a:cubicBezTo>
                    <a:cubicBezTo>
                      <a:pt x="75" y="25"/>
                      <a:pt x="72" y="21"/>
                      <a:pt x="66" y="20"/>
                    </a:cubicBezTo>
                    <a:cubicBezTo>
                      <a:pt x="58" y="17"/>
                      <a:pt x="50" y="16"/>
                      <a:pt x="40" y="16"/>
                    </a:cubicBezTo>
                    <a:cubicBezTo>
                      <a:pt x="29" y="16"/>
                      <a:pt x="20" y="18"/>
                      <a:pt x="13" y="21"/>
                    </a:cubicBezTo>
                    <a:cubicBezTo>
                      <a:pt x="11" y="22"/>
                      <a:pt x="11" y="24"/>
                      <a:pt x="11" y="26"/>
                    </a:cubicBezTo>
                    <a:cubicBezTo>
                      <a:pt x="11" y="28"/>
                      <a:pt x="12" y="30"/>
                      <a:pt x="12" y="32"/>
                    </a:cubicBezTo>
                    <a:cubicBezTo>
                      <a:pt x="12" y="35"/>
                      <a:pt x="12" y="37"/>
                      <a:pt x="12" y="38"/>
                    </a:cubicBezTo>
                    <a:cubicBezTo>
                      <a:pt x="14" y="38"/>
                      <a:pt x="15" y="38"/>
                      <a:pt x="17" y="38"/>
                    </a:cubicBezTo>
                    <a:cubicBezTo>
                      <a:pt x="17" y="35"/>
                      <a:pt x="17" y="32"/>
                      <a:pt x="17" y="30"/>
                    </a:cubicBezTo>
                    <a:cubicBezTo>
                      <a:pt x="18" y="26"/>
                      <a:pt x="20" y="24"/>
                      <a:pt x="24" y="23"/>
                    </a:cubicBezTo>
                    <a:close/>
                    <a:moveTo>
                      <a:pt x="28" y="64"/>
                    </a:moveTo>
                    <a:cubicBezTo>
                      <a:pt x="39" y="62"/>
                      <a:pt x="50" y="62"/>
                      <a:pt x="61" y="64"/>
                    </a:cubicBezTo>
                    <a:cubicBezTo>
                      <a:pt x="65" y="65"/>
                      <a:pt x="67" y="67"/>
                      <a:pt x="67" y="71"/>
                    </a:cubicBezTo>
                    <a:cubicBezTo>
                      <a:pt x="69" y="79"/>
                      <a:pt x="68" y="88"/>
                      <a:pt x="66" y="96"/>
                    </a:cubicBezTo>
                    <a:cubicBezTo>
                      <a:pt x="65" y="102"/>
                      <a:pt x="61" y="105"/>
                      <a:pt x="54" y="105"/>
                    </a:cubicBezTo>
                    <a:cubicBezTo>
                      <a:pt x="55" y="115"/>
                      <a:pt x="57" y="125"/>
                      <a:pt x="61" y="136"/>
                    </a:cubicBezTo>
                    <a:cubicBezTo>
                      <a:pt x="63" y="138"/>
                      <a:pt x="63" y="140"/>
                      <a:pt x="61" y="142"/>
                    </a:cubicBezTo>
                    <a:cubicBezTo>
                      <a:pt x="60" y="142"/>
                      <a:pt x="59" y="143"/>
                      <a:pt x="59" y="143"/>
                    </a:cubicBezTo>
                    <a:cubicBezTo>
                      <a:pt x="58" y="143"/>
                      <a:pt x="57" y="142"/>
                      <a:pt x="57" y="141"/>
                    </a:cubicBezTo>
                    <a:cubicBezTo>
                      <a:pt x="52" y="131"/>
                      <a:pt x="48" y="120"/>
                      <a:pt x="46" y="105"/>
                    </a:cubicBezTo>
                    <a:cubicBezTo>
                      <a:pt x="41" y="105"/>
                      <a:pt x="41" y="105"/>
                      <a:pt x="41" y="105"/>
                    </a:cubicBezTo>
                    <a:cubicBezTo>
                      <a:pt x="40" y="120"/>
                      <a:pt x="37" y="131"/>
                      <a:pt x="30" y="140"/>
                    </a:cubicBezTo>
                    <a:cubicBezTo>
                      <a:pt x="29" y="141"/>
                      <a:pt x="27" y="142"/>
                      <a:pt x="26" y="142"/>
                    </a:cubicBezTo>
                    <a:cubicBezTo>
                      <a:pt x="25" y="141"/>
                      <a:pt x="25" y="139"/>
                      <a:pt x="26" y="137"/>
                    </a:cubicBezTo>
                    <a:cubicBezTo>
                      <a:pt x="26" y="137"/>
                      <a:pt x="26" y="135"/>
                      <a:pt x="28" y="132"/>
                    </a:cubicBezTo>
                    <a:cubicBezTo>
                      <a:pt x="30" y="127"/>
                      <a:pt x="32" y="123"/>
                      <a:pt x="32" y="121"/>
                    </a:cubicBezTo>
                    <a:cubicBezTo>
                      <a:pt x="33" y="118"/>
                      <a:pt x="34" y="113"/>
                      <a:pt x="35" y="107"/>
                    </a:cubicBezTo>
                    <a:cubicBezTo>
                      <a:pt x="35" y="106"/>
                      <a:pt x="35" y="106"/>
                      <a:pt x="35" y="105"/>
                    </a:cubicBezTo>
                    <a:cubicBezTo>
                      <a:pt x="29" y="105"/>
                      <a:pt x="25" y="103"/>
                      <a:pt x="22" y="98"/>
                    </a:cubicBezTo>
                    <a:cubicBezTo>
                      <a:pt x="19" y="93"/>
                      <a:pt x="17" y="85"/>
                      <a:pt x="18" y="75"/>
                    </a:cubicBezTo>
                    <a:cubicBezTo>
                      <a:pt x="19" y="68"/>
                      <a:pt x="22" y="65"/>
                      <a:pt x="28" y="64"/>
                    </a:cubicBezTo>
                    <a:close/>
                    <a:moveTo>
                      <a:pt x="24" y="35"/>
                    </a:moveTo>
                    <a:cubicBezTo>
                      <a:pt x="24" y="36"/>
                      <a:pt x="24" y="36"/>
                      <a:pt x="24" y="37"/>
                    </a:cubicBezTo>
                    <a:cubicBezTo>
                      <a:pt x="29" y="37"/>
                      <a:pt x="34" y="37"/>
                      <a:pt x="39" y="37"/>
                    </a:cubicBezTo>
                    <a:cubicBezTo>
                      <a:pt x="39" y="34"/>
                      <a:pt x="38" y="31"/>
                      <a:pt x="38" y="29"/>
                    </a:cubicBezTo>
                    <a:cubicBezTo>
                      <a:pt x="37" y="29"/>
                      <a:pt x="36" y="29"/>
                      <a:pt x="34" y="29"/>
                    </a:cubicBezTo>
                    <a:cubicBezTo>
                      <a:pt x="31" y="29"/>
                      <a:pt x="30" y="29"/>
                      <a:pt x="28" y="29"/>
                    </a:cubicBezTo>
                    <a:cubicBezTo>
                      <a:pt x="25" y="31"/>
                      <a:pt x="24" y="32"/>
                      <a:pt x="24" y="35"/>
                    </a:cubicBezTo>
                    <a:close/>
                    <a:moveTo>
                      <a:pt x="61" y="87"/>
                    </a:moveTo>
                    <a:cubicBezTo>
                      <a:pt x="61" y="86"/>
                      <a:pt x="62" y="85"/>
                      <a:pt x="62" y="84"/>
                    </a:cubicBezTo>
                    <a:cubicBezTo>
                      <a:pt x="62" y="83"/>
                      <a:pt x="62" y="82"/>
                      <a:pt x="62" y="82"/>
                    </a:cubicBezTo>
                    <a:cubicBezTo>
                      <a:pt x="56" y="81"/>
                      <a:pt x="50" y="80"/>
                      <a:pt x="43" y="81"/>
                    </a:cubicBezTo>
                    <a:cubicBezTo>
                      <a:pt x="37" y="81"/>
                      <a:pt x="31" y="82"/>
                      <a:pt x="24" y="83"/>
                    </a:cubicBezTo>
                    <a:cubicBezTo>
                      <a:pt x="25" y="87"/>
                      <a:pt x="25" y="87"/>
                      <a:pt x="25" y="87"/>
                    </a:cubicBezTo>
                    <a:cubicBezTo>
                      <a:pt x="35" y="86"/>
                      <a:pt x="48" y="86"/>
                      <a:pt x="61" y="87"/>
                    </a:cubicBezTo>
                    <a:close/>
                    <a:moveTo>
                      <a:pt x="26" y="48"/>
                    </a:moveTo>
                    <a:cubicBezTo>
                      <a:pt x="28" y="51"/>
                      <a:pt x="30" y="52"/>
                      <a:pt x="35" y="52"/>
                    </a:cubicBezTo>
                    <a:cubicBezTo>
                      <a:pt x="38" y="52"/>
                      <a:pt x="38" y="52"/>
                      <a:pt x="38" y="52"/>
                    </a:cubicBezTo>
                    <a:cubicBezTo>
                      <a:pt x="38" y="49"/>
                      <a:pt x="39" y="46"/>
                      <a:pt x="39" y="44"/>
                    </a:cubicBezTo>
                    <a:cubicBezTo>
                      <a:pt x="34" y="44"/>
                      <a:pt x="30" y="44"/>
                      <a:pt x="25" y="44"/>
                    </a:cubicBezTo>
                    <a:cubicBezTo>
                      <a:pt x="25" y="46"/>
                      <a:pt x="25" y="47"/>
                      <a:pt x="26" y="48"/>
                    </a:cubicBezTo>
                    <a:close/>
                    <a:moveTo>
                      <a:pt x="32" y="69"/>
                    </a:moveTo>
                    <a:cubicBezTo>
                      <a:pt x="28" y="70"/>
                      <a:pt x="25" y="72"/>
                      <a:pt x="25" y="76"/>
                    </a:cubicBezTo>
                    <a:cubicBezTo>
                      <a:pt x="30" y="75"/>
                      <a:pt x="35" y="75"/>
                      <a:pt x="41" y="75"/>
                    </a:cubicBezTo>
                    <a:cubicBezTo>
                      <a:pt x="46" y="74"/>
                      <a:pt x="53" y="74"/>
                      <a:pt x="61" y="75"/>
                    </a:cubicBezTo>
                    <a:cubicBezTo>
                      <a:pt x="61" y="72"/>
                      <a:pt x="59" y="71"/>
                      <a:pt x="57" y="70"/>
                    </a:cubicBezTo>
                    <a:cubicBezTo>
                      <a:pt x="49" y="68"/>
                      <a:pt x="40" y="68"/>
                      <a:pt x="32" y="69"/>
                    </a:cubicBezTo>
                    <a:close/>
                    <a:moveTo>
                      <a:pt x="56" y="98"/>
                    </a:moveTo>
                    <a:cubicBezTo>
                      <a:pt x="59" y="97"/>
                      <a:pt x="60" y="96"/>
                      <a:pt x="61" y="93"/>
                    </a:cubicBezTo>
                    <a:cubicBezTo>
                      <a:pt x="60" y="93"/>
                      <a:pt x="57" y="93"/>
                      <a:pt x="54" y="93"/>
                    </a:cubicBezTo>
                    <a:cubicBezTo>
                      <a:pt x="48" y="92"/>
                      <a:pt x="44" y="92"/>
                      <a:pt x="41" y="92"/>
                    </a:cubicBezTo>
                    <a:cubicBezTo>
                      <a:pt x="40" y="92"/>
                      <a:pt x="38" y="92"/>
                      <a:pt x="36" y="93"/>
                    </a:cubicBezTo>
                    <a:cubicBezTo>
                      <a:pt x="31" y="93"/>
                      <a:pt x="28" y="94"/>
                      <a:pt x="26" y="94"/>
                    </a:cubicBezTo>
                    <a:cubicBezTo>
                      <a:pt x="27" y="96"/>
                      <a:pt x="29" y="98"/>
                      <a:pt x="32" y="98"/>
                    </a:cubicBezTo>
                    <a:cubicBezTo>
                      <a:pt x="39" y="99"/>
                      <a:pt x="47" y="99"/>
                      <a:pt x="56" y="98"/>
                    </a:cubicBezTo>
                    <a:close/>
                    <a:moveTo>
                      <a:pt x="56" y="29"/>
                    </a:moveTo>
                    <a:cubicBezTo>
                      <a:pt x="55" y="29"/>
                      <a:pt x="53" y="29"/>
                      <a:pt x="51" y="29"/>
                    </a:cubicBezTo>
                    <a:cubicBezTo>
                      <a:pt x="49" y="29"/>
                      <a:pt x="47" y="29"/>
                      <a:pt x="46" y="29"/>
                    </a:cubicBezTo>
                    <a:cubicBezTo>
                      <a:pt x="46" y="31"/>
                      <a:pt x="46" y="34"/>
                      <a:pt x="46" y="37"/>
                    </a:cubicBezTo>
                    <a:cubicBezTo>
                      <a:pt x="50" y="37"/>
                      <a:pt x="55" y="37"/>
                      <a:pt x="60" y="37"/>
                    </a:cubicBezTo>
                    <a:cubicBezTo>
                      <a:pt x="60" y="35"/>
                      <a:pt x="60" y="35"/>
                      <a:pt x="60" y="35"/>
                    </a:cubicBezTo>
                    <a:cubicBezTo>
                      <a:pt x="60" y="32"/>
                      <a:pt x="58" y="30"/>
                      <a:pt x="56" y="29"/>
                    </a:cubicBezTo>
                    <a:close/>
                    <a:moveTo>
                      <a:pt x="59" y="48"/>
                    </a:moveTo>
                    <a:cubicBezTo>
                      <a:pt x="59" y="47"/>
                      <a:pt x="59" y="45"/>
                      <a:pt x="60" y="43"/>
                    </a:cubicBezTo>
                    <a:cubicBezTo>
                      <a:pt x="55" y="43"/>
                      <a:pt x="51" y="43"/>
                      <a:pt x="46" y="43"/>
                    </a:cubicBezTo>
                    <a:cubicBezTo>
                      <a:pt x="46" y="52"/>
                      <a:pt x="46" y="52"/>
                      <a:pt x="46" y="52"/>
                    </a:cubicBezTo>
                    <a:cubicBezTo>
                      <a:pt x="48" y="52"/>
                      <a:pt x="51" y="52"/>
                      <a:pt x="54" y="52"/>
                    </a:cubicBezTo>
                    <a:cubicBezTo>
                      <a:pt x="57" y="51"/>
                      <a:pt x="59" y="49"/>
                      <a:pt x="59" y="48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1049831" name="îSḻide"/>
              <p:cNvSpPr/>
              <p:nvPr/>
            </p:nvSpPr>
            <p:spPr bwMode="auto">
              <a:xfrm>
                <a:off x="2449409" y="5256803"/>
                <a:ext cx="139700" cy="265113"/>
              </a:xfrm>
              <a:custGeom>
                <a:avLst/>
                <a:gdLst>
                  <a:gd name="T0" fmla="*/ 56 w 76"/>
                  <a:gd name="T1" fmla="*/ 3 h 144"/>
                  <a:gd name="T2" fmla="*/ 61 w 76"/>
                  <a:gd name="T3" fmla="*/ 45 h 144"/>
                  <a:gd name="T4" fmla="*/ 50 w 76"/>
                  <a:gd name="T5" fmla="*/ 74 h 144"/>
                  <a:gd name="T6" fmla="*/ 68 w 76"/>
                  <a:gd name="T7" fmla="*/ 65 h 144"/>
                  <a:gd name="T8" fmla="*/ 70 w 76"/>
                  <a:gd name="T9" fmla="*/ 31 h 144"/>
                  <a:gd name="T10" fmla="*/ 74 w 76"/>
                  <a:gd name="T11" fmla="*/ 31 h 144"/>
                  <a:gd name="T12" fmla="*/ 74 w 76"/>
                  <a:gd name="T13" fmla="*/ 64 h 144"/>
                  <a:gd name="T14" fmla="*/ 50 w 76"/>
                  <a:gd name="T15" fmla="*/ 81 h 144"/>
                  <a:gd name="T16" fmla="*/ 69 w 76"/>
                  <a:gd name="T17" fmla="*/ 103 h 144"/>
                  <a:gd name="T18" fmla="*/ 74 w 76"/>
                  <a:gd name="T19" fmla="*/ 140 h 144"/>
                  <a:gd name="T20" fmla="*/ 63 w 76"/>
                  <a:gd name="T21" fmla="*/ 105 h 144"/>
                  <a:gd name="T22" fmla="*/ 52 w 76"/>
                  <a:gd name="T23" fmla="*/ 138 h 144"/>
                  <a:gd name="T24" fmla="*/ 46 w 76"/>
                  <a:gd name="T25" fmla="*/ 139 h 144"/>
                  <a:gd name="T26" fmla="*/ 42 w 76"/>
                  <a:gd name="T27" fmla="*/ 57 h 144"/>
                  <a:gd name="T28" fmla="*/ 35 w 76"/>
                  <a:gd name="T29" fmla="*/ 132 h 144"/>
                  <a:gd name="T30" fmla="*/ 27 w 76"/>
                  <a:gd name="T31" fmla="*/ 136 h 144"/>
                  <a:gd name="T32" fmla="*/ 29 w 76"/>
                  <a:gd name="T33" fmla="*/ 95 h 144"/>
                  <a:gd name="T34" fmla="*/ 5 w 76"/>
                  <a:gd name="T35" fmla="*/ 135 h 144"/>
                  <a:gd name="T36" fmla="*/ 0 w 76"/>
                  <a:gd name="T37" fmla="*/ 135 h 144"/>
                  <a:gd name="T38" fmla="*/ 30 w 76"/>
                  <a:gd name="T39" fmla="*/ 86 h 144"/>
                  <a:gd name="T40" fmla="*/ 26 w 76"/>
                  <a:gd name="T41" fmla="*/ 80 h 144"/>
                  <a:gd name="T42" fmla="*/ 5 w 76"/>
                  <a:gd name="T43" fmla="*/ 66 h 144"/>
                  <a:gd name="T44" fmla="*/ 3 w 76"/>
                  <a:gd name="T45" fmla="*/ 29 h 144"/>
                  <a:gd name="T46" fmla="*/ 9 w 76"/>
                  <a:gd name="T47" fmla="*/ 59 h 144"/>
                  <a:gd name="T48" fmla="*/ 31 w 76"/>
                  <a:gd name="T49" fmla="*/ 74 h 144"/>
                  <a:gd name="T50" fmla="*/ 32 w 76"/>
                  <a:gd name="T51" fmla="*/ 57 h 144"/>
                  <a:gd name="T52" fmla="*/ 16 w 76"/>
                  <a:gd name="T53" fmla="*/ 14 h 144"/>
                  <a:gd name="T54" fmla="*/ 22 w 76"/>
                  <a:gd name="T55" fmla="*/ 19 h 144"/>
                  <a:gd name="T56" fmla="*/ 57 w 76"/>
                  <a:gd name="T57" fmla="*/ 19 h 144"/>
                  <a:gd name="T58" fmla="*/ 50 w 76"/>
                  <a:gd name="T59" fmla="*/ 9 h 144"/>
                  <a:gd name="T60" fmla="*/ 22 w 76"/>
                  <a:gd name="T61" fmla="*/ 19 h 144"/>
                  <a:gd name="T62" fmla="*/ 23 w 76"/>
                  <a:gd name="T63" fmla="*/ 31 h 144"/>
                  <a:gd name="T64" fmla="*/ 57 w 76"/>
                  <a:gd name="T65" fmla="*/ 34 h 144"/>
                  <a:gd name="T66" fmla="*/ 22 w 76"/>
                  <a:gd name="T67" fmla="*/ 27 h 144"/>
                  <a:gd name="T68" fmla="*/ 48 w 76"/>
                  <a:gd name="T69" fmla="*/ 50 h 144"/>
                  <a:gd name="T70" fmla="*/ 57 w 76"/>
                  <a:gd name="T71" fmla="*/ 41 h 144"/>
                  <a:gd name="T72" fmla="*/ 25 w 76"/>
                  <a:gd name="T73" fmla="*/ 44 h 1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76" h="144">
                    <a:moveTo>
                      <a:pt x="27" y="2"/>
                    </a:moveTo>
                    <a:cubicBezTo>
                      <a:pt x="37" y="0"/>
                      <a:pt x="47" y="0"/>
                      <a:pt x="56" y="3"/>
                    </a:cubicBezTo>
                    <a:cubicBezTo>
                      <a:pt x="60" y="3"/>
                      <a:pt x="62" y="7"/>
                      <a:pt x="63" y="15"/>
                    </a:cubicBezTo>
                    <a:cubicBezTo>
                      <a:pt x="65" y="25"/>
                      <a:pt x="64" y="35"/>
                      <a:pt x="61" y="45"/>
                    </a:cubicBezTo>
                    <a:cubicBezTo>
                      <a:pt x="60" y="53"/>
                      <a:pt x="55" y="56"/>
                      <a:pt x="49" y="57"/>
                    </a:cubicBezTo>
                    <a:cubicBezTo>
                      <a:pt x="49" y="62"/>
                      <a:pt x="50" y="68"/>
                      <a:pt x="50" y="74"/>
                    </a:cubicBezTo>
                    <a:cubicBezTo>
                      <a:pt x="53" y="74"/>
                      <a:pt x="56" y="74"/>
                      <a:pt x="58" y="74"/>
                    </a:cubicBezTo>
                    <a:cubicBezTo>
                      <a:pt x="62" y="75"/>
                      <a:pt x="66" y="72"/>
                      <a:pt x="68" y="65"/>
                    </a:cubicBezTo>
                    <a:cubicBezTo>
                      <a:pt x="69" y="62"/>
                      <a:pt x="70" y="53"/>
                      <a:pt x="70" y="39"/>
                    </a:cubicBezTo>
                    <a:cubicBezTo>
                      <a:pt x="70" y="35"/>
                      <a:pt x="70" y="32"/>
                      <a:pt x="70" y="31"/>
                    </a:cubicBezTo>
                    <a:cubicBezTo>
                      <a:pt x="71" y="31"/>
                      <a:pt x="71" y="30"/>
                      <a:pt x="72" y="30"/>
                    </a:cubicBezTo>
                    <a:cubicBezTo>
                      <a:pt x="73" y="30"/>
                      <a:pt x="74" y="30"/>
                      <a:pt x="74" y="31"/>
                    </a:cubicBezTo>
                    <a:cubicBezTo>
                      <a:pt x="75" y="33"/>
                      <a:pt x="76" y="36"/>
                      <a:pt x="76" y="41"/>
                    </a:cubicBezTo>
                    <a:cubicBezTo>
                      <a:pt x="76" y="49"/>
                      <a:pt x="75" y="56"/>
                      <a:pt x="74" y="64"/>
                    </a:cubicBezTo>
                    <a:cubicBezTo>
                      <a:pt x="72" y="75"/>
                      <a:pt x="67" y="81"/>
                      <a:pt x="58" y="81"/>
                    </a:cubicBezTo>
                    <a:cubicBezTo>
                      <a:pt x="50" y="81"/>
                      <a:pt x="50" y="81"/>
                      <a:pt x="50" y="81"/>
                    </a:cubicBezTo>
                    <a:cubicBezTo>
                      <a:pt x="50" y="87"/>
                      <a:pt x="50" y="87"/>
                      <a:pt x="50" y="87"/>
                    </a:cubicBezTo>
                    <a:cubicBezTo>
                      <a:pt x="60" y="87"/>
                      <a:pt x="66" y="92"/>
                      <a:pt x="69" y="103"/>
                    </a:cubicBezTo>
                    <a:cubicBezTo>
                      <a:pt x="72" y="112"/>
                      <a:pt x="74" y="122"/>
                      <a:pt x="76" y="134"/>
                    </a:cubicBezTo>
                    <a:cubicBezTo>
                      <a:pt x="76" y="138"/>
                      <a:pt x="75" y="140"/>
                      <a:pt x="74" y="140"/>
                    </a:cubicBezTo>
                    <a:cubicBezTo>
                      <a:pt x="72" y="141"/>
                      <a:pt x="71" y="139"/>
                      <a:pt x="70" y="136"/>
                    </a:cubicBezTo>
                    <a:cubicBezTo>
                      <a:pt x="68" y="126"/>
                      <a:pt x="66" y="116"/>
                      <a:pt x="63" y="105"/>
                    </a:cubicBezTo>
                    <a:cubicBezTo>
                      <a:pt x="61" y="98"/>
                      <a:pt x="57" y="95"/>
                      <a:pt x="50" y="95"/>
                    </a:cubicBezTo>
                    <a:cubicBezTo>
                      <a:pt x="50" y="109"/>
                      <a:pt x="51" y="123"/>
                      <a:pt x="52" y="138"/>
                    </a:cubicBezTo>
                    <a:cubicBezTo>
                      <a:pt x="52" y="141"/>
                      <a:pt x="51" y="143"/>
                      <a:pt x="49" y="144"/>
                    </a:cubicBezTo>
                    <a:cubicBezTo>
                      <a:pt x="47" y="144"/>
                      <a:pt x="46" y="142"/>
                      <a:pt x="46" y="139"/>
                    </a:cubicBezTo>
                    <a:cubicBezTo>
                      <a:pt x="44" y="134"/>
                      <a:pt x="43" y="118"/>
                      <a:pt x="43" y="92"/>
                    </a:cubicBezTo>
                    <a:cubicBezTo>
                      <a:pt x="43" y="76"/>
                      <a:pt x="43" y="64"/>
                      <a:pt x="42" y="57"/>
                    </a:cubicBezTo>
                    <a:cubicBezTo>
                      <a:pt x="38" y="57"/>
                      <a:pt x="38" y="57"/>
                      <a:pt x="38" y="57"/>
                    </a:cubicBezTo>
                    <a:cubicBezTo>
                      <a:pt x="36" y="88"/>
                      <a:pt x="35" y="113"/>
                      <a:pt x="35" y="132"/>
                    </a:cubicBezTo>
                    <a:cubicBezTo>
                      <a:pt x="35" y="138"/>
                      <a:pt x="33" y="142"/>
                      <a:pt x="31" y="142"/>
                    </a:cubicBezTo>
                    <a:cubicBezTo>
                      <a:pt x="29" y="142"/>
                      <a:pt x="27" y="140"/>
                      <a:pt x="27" y="136"/>
                    </a:cubicBezTo>
                    <a:cubicBezTo>
                      <a:pt x="27" y="136"/>
                      <a:pt x="27" y="134"/>
                      <a:pt x="27" y="132"/>
                    </a:cubicBezTo>
                    <a:cubicBezTo>
                      <a:pt x="28" y="118"/>
                      <a:pt x="29" y="105"/>
                      <a:pt x="29" y="95"/>
                    </a:cubicBezTo>
                    <a:cubicBezTo>
                      <a:pt x="19" y="95"/>
                      <a:pt x="14" y="98"/>
                      <a:pt x="13" y="105"/>
                    </a:cubicBezTo>
                    <a:cubicBezTo>
                      <a:pt x="10" y="114"/>
                      <a:pt x="7" y="124"/>
                      <a:pt x="5" y="135"/>
                    </a:cubicBezTo>
                    <a:cubicBezTo>
                      <a:pt x="4" y="137"/>
                      <a:pt x="3" y="139"/>
                      <a:pt x="2" y="139"/>
                    </a:cubicBezTo>
                    <a:cubicBezTo>
                      <a:pt x="1" y="140"/>
                      <a:pt x="0" y="138"/>
                      <a:pt x="0" y="135"/>
                    </a:cubicBezTo>
                    <a:cubicBezTo>
                      <a:pt x="0" y="125"/>
                      <a:pt x="2" y="115"/>
                      <a:pt x="7" y="104"/>
                    </a:cubicBezTo>
                    <a:cubicBezTo>
                      <a:pt x="11" y="92"/>
                      <a:pt x="18" y="86"/>
                      <a:pt x="30" y="86"/>
                    </a:cubicBezTo>
                    <a:cubicBezTo>
                      <a:pt x="30" y="85"/>
                      <a:pt x="30" y="83"/>
                      <a:pt x="31" y="80"/>
                    </a:cubicBezTo>
                    <a:cubicBezTo>
                      <a:pt x="29" y="81"/>
                      <a:pt x="28" y="81"/>
                      <a:pt x="26" y="80"/>
                    </a:cubicBezTo>
                    <a:cubicBezTo>
                      <a:pt x="24" y="80"/>
                      <a:pt x="23" y="80"/>
                      <a:pt x="22" y="80"/>
                    </a:cubicBezTo>
                    <a:cubicBezTo>
                      <a:pt x="14" y="81"/>
                      <a:pt x="8" y="76"/>
                      <a:pt x="5" y="66"/>
                    </a:cubicBezTo>
                    <a:cubicBezTo>
                      <a:pt x="2" y="59"/>
                      <a:pt x="0" y="49"/>
                      <a:pt x="0" y="37"/>
                    </a:cubicBezTo>
                    <a:cubicBezTo>
                      <a:pt x="0" y="32"/>
                      <a:pt x="1" y="29"/>
                      <a:pt x="3" y="29"/>
                    </a:cubicBezTo>
                    <a:cubicBezTo>
                      <a:pt x="6" y="31"/>
                      <a:pt x="8" y="35"/>
                      <a:pt x="8" y="39"/>
                    </a:cubicBezTo>
                    <a:cubicBezTo>
                      <a:pt x="7" y="45"/>
                      <a:pt x="7" y="52"/>
                      <a:pt x="9" y="59"/>
                    </a:cubicBezTo>
                    <a:cubicBezTo>
                      <a:pt x="10" y="68"/>
                      <a:pt x="16" y="73"/>
                      <a:pt x="24" y="74"/>
                    </a:cubicBezTo>
                    <a:cubicBezTo>
                      <a:pt x="26" y="74"/>
                      <a:pt x="29" y="74"/>
                      <a:pt x="31" y="74"/>
                    </a:cubicBezTo>
                    <a:cubicBezTo>
                      <a:pt x="31" y="72"/>
                      <a:pt x="31" y="69"/>
                      <a:pt x="31" y="65"/>
                    </a:cubicBezTo>
                    <a:cubicBezTo>
                      <a:pt x="31" y="61"/>
                      <a:pt x="32" y="58"/>
                      <a:pt x="32" y="57"/>
                    </a:cubicBezTo>
                    <a:cubicBezTo>
                      <a:pt x="25" y="56"/>
                      <a:pt x="20" y="53"/>
                      <a:pt x="19" y="48"/>
                    </a:cubicBezTo>
                    <a:cubicBezTo>
                      <a:pt x="15" y="36"/>
                      <a:pt x="14" y="25"/>
                      <a:pt x="16" y="14"/>
                    </a:cubicBezTo>
                    <a:cubicBezTo>
                      <a:pt x="17" y="6"/>
                      <a:pt x="21" y="2"/>
                      <a:pt x="27" y="2"/>
                    </a:cubicBezTo>
                    <a:close/>
                    <a:moveTo>
                      <a:pt x="22" y="19"/>
                    </a:moveTo>
                    <a:cubicBezTo>
                      <a:pt x="22" y="20"/>
                      <a:pt x="22" y="20"/>
                      <a:pt x="22" y="20"/>
                    </a:cubicBezTo>
                    <a:cubicBezTo>
                      <a:pt x="30" y="20"/>
                      <a:pt x="42" y="19"/>
                      <a:pt x="57" y="19"/>
                    </a:cubicBezTo>
                    <a:cubicBezTo>
                      <a:pt x="57" y="18"/>
                      <a:pt x="57" y="17"/>
                      <a:pt x="57" y="16"/>
                    </a:cubicBezTo>
                    <a:cubicBezTo>
                      <a:pt x="56" y="13"/>
                      <a:pt x="54" y="10"/>
                      <a:pt x="50" y="9"/>
                    </a:cubicBezTo>
                    <a:cubicBezTo>
                      <a:pt x="44" y="8"/>
                      <a:pt x="37" y="7"/>
                      <a:pt x="31" y="9"/>
                    </a:cubicBezTo>
                    <a:cubicBezTo>
                      <a:pt x="25" y="11"/>
                      <a:pt x="22" y="14"/>
                      <a:pt x="22" y="19"/>
                    </a:cubicBezTo>
                    <a:close/>
                    <a:moveTo>
                      <a:pt x="22" y="27"/>
                    </a:moveTo>
                    <a:cubicBezTo>
                      <a:pt x="22" y="28"/>
                      <a:pt x="22" y="29"/>
                      <a:pt x="23" y="31"/>
                    </a:cubicBezTo>
                    <a:cubicBezTo>
                      <a:pt x="23" y="32"/>
                      <a:pt x="23" y="33"/>
                      <a:pt x="23" y="34"/>
                    </a:cubicBezTo>
                    <a:cubicBezTo>
                      <a:pt x="57" y="34"/>
                      <a:pt x="57" y="34"/>
                      <a:pt x="57" y="34"/>
                    </a:cubicBezTo>
                    <a:cubicBezTo>
                      <a:pt x="57" y="27"/>
                      <a:pt x="57" y="27"/>
                      <a:pt x="57" y="27"/>
                    </a:cubicBezTo>
                    <a:cubicBezTo>
                      <a:pt x="45" y="26"/>
                      <a:pt x="33" y="26"/>
                      <a:pt x="22" y="27"/>
                    </a:cubicBezTo>
                    <a:close/>
                    <a:moveTo>
                      <a:pt x="35" y="50"/>
                    </a:moveTo>
                    <a:cubicBezTo>
                      <a:pt x="48" y="50"/>
                      <a:pt x="48" y="50"/>
                      <a:pt x="48" y="50"/>
                    </a:cubicBezTo>
                    <a:cubicBezTo>
                      <a:pt x="53" y="50"/>
                      <a:pt x="55" y="47"/>
                      <a:pt x="57" y="42"/>
                    </a:cubicBezTo>
                    <a:cubicBezTo>
                      <a:pt x="57" y="41"/>
                      <a:pt x="57" y="41"/>
                      <a:pt x="57" y="41"/>
                    </a:cubicBezTo>
                    <a:cubicBezTo>
                      <a:pt x="43" y="41"/>
                      <a:pt x="32" y="41"/>
                      <a:pt x="24" y="42"/>
                    </a:cubicBezTo>
                    <a:cubicBezTo>
                      <a:pt x="24" y="43"/>
                      <a:pt x="24" y="43"/>
                      <a:pt x="25" y="44"/>
                    </a:cubicBezTo>
                    <a:cubicBezTo>
                      <a:pt x="27" y="48"/>
                      <a:pt x="30" y="50"/>
                      <a:pt x="35" y="5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1049832" name="iṣlîḋè"/>
              <p:cNvSpPr/>
              <p:nvPr/>
            </p:nvSpPr>
            <p:spPr bwMode="auto">
              <a:xfrm>
                <a:off x="2604984" y="5259978"/>
                <a:ext cx="177800" cy="255588"/>
              </a:xfrm>
              <a:custGeom>
                <a:avLst/>
                <a:gdLst>
                  <a:gd name="T0" fmla="*/ 5 w 96"/>
                  <a:gd name="T1" fmla="*/ 37 h 138"/>
                  <a:gd name="T2" fmla="*/ 24 w 96"/>
                  <a:gd name="T3" fmla="*/ 49 h 138"/>
                  <a:gd name="T4" fmla="*/ 7 w 96"/>
                  <a:gd name="T5" fmla="*/ 26 h 138"/>
                  <a:gd name="T6" fmla="*/ 0 w 96"/>
                  <a:gd name="T7" fmla="*/ 22 h 138"/>
                  <a:gd name="T8" fmla="*/ 44 w 96"/>
                  <a:gd name="T9" fmla="*/ 19 h 138"/>
                  <a:gd name="T10" fmla="*/ 40 w 96"/>
                  <a:gd name="T11" fmla="*/ 26 h 138"/>
                  <a:gd name="T12" fmla="*/ 29 w 96"/>
                  <a:gd name="T13" fmla="*/ 49 h 138"/>
                  <a:gd name="T14" fmla="*/ 42 w 96"/>
                  <a:gd name="T15" fmla="*/ 39 h 138"/>
                  <a:gd name="T16" fmla="*/ 36 w 96"/>
                  <a:gd name="T17" fmla="*/ 64 h 138"/>
                  <a:gd name="T18" fmla="*/ 44 w 96"/>
                  <a:gd name="T19" fmla="*/ 70 h 138"/>
                  <a:gd name="T20" fmla="*/ 30 w 96"/>
                  <a:gd name="T21" fmla="*/ 78 h 138"/>
                  <a:gd name="T22" fmla="*/ 48 w 96"/>
                  <a:gd name="T23" fmla="*/ 111 h 138"/>
                  <a:gd name="T24" fmla="*/ 42 w 96"/>
                  <a:gd name="T25" fmla="*/ 124 h 138"/>
                  <a:gd name="T26" fmla="*/ 33 w 96"/>
                  <a:gd name="T27" fmla="*/ 93 h 138"/>
                  <a:gd name="T28" fmla="*/ 30 w 96"/>
                  <a:gd name="T29" fmla="*/ 116 h 138"/>
                  <a:gd name="T30" fmla="*/ 24 w 96"/>
                  <a:gd name="T31" fmla="*/ 133 h 138"/>
                  <a:gd name="T32" fmla="*/ 20 w 96"/>
                  <a:gd name="T33" fmla="*/ 93 h 138"/>
                  <a:gd name="T34" fmla="*/ 11 w 96"/>
                  <a:gd name="T35" fmla="*/ 122 h 138"/>
                  <a:gd name="T36" fmla="*/ 8 w 96"/>
                  <a:gd name="T37" fmla="*/ 102 h 138"/>
                  <a:gd name="T38" fmla="*/ 24 w 96"/>
                  <a:gd name="T39" fmla="*/ 81 h 138"/>
                  <a:gd name="T40" fmla="*/ 3 w 96"/>
                  <a:gd name="T41" fmla="*/ 77 h 138"/>
                  <a:gd name="T42" fmla="*/ 14 w 96"/>
                  <a:gd name="T43" fmla="*/ 70 h 138"/>
                  <a:gd name="T44" fmla="*/ 20 w 96"/>
                  <a:gd name="T45" fmla="*/ 65 h 138"/>
                  <a:gd name="T46" fmla="*/ 2 w 96"/>
                  <a:gd name="T47" fmla="*/ 37 h 138"/>
                  <a:gd name="T48" fmla="*/ 40 w 96"/>
                  <a:gd name="T49" fmla="*/ 3 h 138"/>
                  <a:gd name="T50" fmla="*/ 14 w 96"/>
                  <a:gd name="T51" fmla="*/ 11 h 138"/>
                  <a:gd name="T52" fmla="*/ 5 w 96"/>
                  <a:gd name="T53" fmla="*/ 6 h 138"/>
                  <a:gd name="T54" fmla="*/ 33 w 96"/>
                  <a:gd name="T55" fmla="*/ 26 h 138"/>
                  <a:gd name="T56" fmla="*/ 27 w 96"/>
                  <a:gd name="T57" fmla="*/ 45 h 138"/>
                  <a:gd name="T58" fmla="*/ 54 w 96"/>
                  <a:gd name="T59" fmla="*/ 2 h 138"/>
                  <a:gd name="T60" fmla="*/ 58 w 96"/>
                  <a:gd name="T61" fmla="*/ 10 h 138"/>
                  <a:gd name="T62" fmla="*/ 88 w 96"/>
                  <a:gd name="T63" fmla="*/ 22 h 138"/>
                  <a:gd name="T64" fmla="*/ 74 w 96"/>
                  <a:gd name="T65" fmla="*/ 37 h 138"/>
                  <a:gd name="T66" fmla="*/ 62 w 96"/>
                  <a:gd name="T67" fmla="*/ 66 h 138"/>
                  <a:gd name="T68" fmla="*/ 53 w 96"/>
                  <a:gd name="T69" fmla="*/ 136 h 138"/>
                  <a:gd name="T70" fmla="*/ 48 w 96"/>
                  <a:gd name="T71" fmla="*/ 130 h 138"/>
                  <a:gd name="T72" fmla="*/ 55 w 96"/>
                  <a:gd name="T73" fmla="*/ 48 h 138"/>
                  <a:gd name="T74" fmla="*/ 76 w 96"/>
                  <a:gd name="T75" fmla="*/ 31 h 138"/>
                  <a:gd name="T76" fmla="*/ 65 w 96"/>
                  <a:gd name="T77" fmla="*/ 18 h 138"/>
                  <a:gd name="T78" fmla="*/ 52 w 96"/>
                  <a:gd name="T79" fmla="*/ 13 h 138"/>
                  <a:gd name="T80" fmla="*/ 94 w 96"/>
                  <a:gd name="T81" fmla="*/ 74 h 138"/>
                  <a:gd name="T82" fmla="*/ 76 w 96"/>
                  <a:gd name="T83" fmla="*/ 54 h 138"/>
                  <a:gd name="T84" fmla="*/ 83 w 96"/>
                  <a:gd name="T85" fmla="*/ 119 h 138"/>
                  <a:gd name="T86" fmla="*/ 88 w 96"/>
                  <a:gd name="T87" fmla="*/ 133 h 138"/>
                  <a:gd name="T88" fmla="*/ 70 w 96"/>
                  <a:gd name="T89" fmla="*/ 93 h 138"/>
                  <a:gd name="T90" fmla="*/ 70 w 96"/>
                  <a:gd name="T91" fmla="*/ 42 h 138"/>
                  <a:gd name="T92" fmla="*/ 95 w 96"/>
                  <a:gd name="T93" fmla="*/ 70 h 1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96" h="138">
                    <a:moveTo>
                      <a:pt x="2" y="37"/>
                    </a:moveTo>
                    <a:cubicBezTo>
                      <a:pt x="2" y="36"/>
                      <a:pt x="2" y="35"/>
                      <a:pt x="3" y="35"/>
                    </a:cubicBezTo>
                    <a:cubicBezTo>
                      <a:pt x="4" y="35"/>
                      <a:pt x="5" y="36"/>
                      <a:pt x="5" y="37"/>
                    </a:cubicBezTo>
                    <a:cubicBezTo>
                      <a:pt x="9" y="49"/>
                      <a:pt x="14" y="56"/>
                      <a:pt x="21" y="59"/>
                    </a:cubicBezTo>
                    <a:cubicBezTo>
                      <a:pt x="21" y="59"/>
                      <a:pt x="22" y="60"/>
                      <a:pt x="24" y="60"/>
                    </a:cubicBezTo>
                    <a:cubicBezTo>
                      <a:pt x="24" y="56"/>
                      <a:pt x="24" y="53"/>
                      <a:pt x="24" y="49"/>
                    </a:cubicBezTo>
                    <a:cubicBezTo>
                      <a:pt x="21" y="48"/>
                      <a:pt x="18" y="46"/>
                      <a:pt x="16" y="42"/>
                    </a:cubicBezTo>
                    <a:cubicBezTo>
                      <a:pt x="13" y="38"/>
                      <a:pt x="12" y="33"/>
                      <a:pt x="12" y="26"/>
                    </a:cubicBezTo>
                    <a:cubicBezTo>
                      <a:pt x="9" y="26"/>
                      <a:pt x="8" y="26"/>
                      <a:pt x="7" y="26"/>
                    </a:cubicBezTo>
                    <a:cubicBezTo>
                      <a:pt x="4" y="27"/>
                      <a:pt x="2" y="27"/>
                      <a:pt x="1" y="25"/>
                    </a:cubicBezTo>
                    <a:cubicBezTo>
                      <a:pt x="0" y="24"/>
                      <a:pt x="0" y="23"/>
                      <a:pt x="0" y="22"/>
                    </a:cubicBezTo>
                    <a:cubicBezTo>
                      <a:pt x="0" y="22"/>
                      <a:pt x="0" y="22"/>
                      <a:pt x="0" y="22"/>
                    </a:cubicBezTo>
                    <a:cubicBezTo>
                      <a:pt x="1" y="19"/>
                      <a:pt x="2" y="18"/>
                      <a:pt x="4" y="19"/>
                    </a:cubicBezTo>
                    <a:cubicBezTo>
                      <a:pt x="6" y="19"/>
                      <a:pt x="8" y="19"/>
                      <a:pt x="11" y="19"/>
                    </a:cubicBezTo>
                    <a:cubicBezTo>
                      <a:pt x="44" y="19"/>
                      <a:pt x="44" y="19"/>
                      <a:pt x="44" y="19"/>
                    </a:cubicBezTo>
                    <a:cubicBezTo>
                      <a:pt x="46" y="19"/>
                      <a:pt x="48" y="20"/>
                      <a:pt x="48" y="23"/>
                    </a:cubicBezTo>
                    <a:cubicBezTo>
                      <a:pt x="47" y="25"/>
                      <a:pt x="45" y="26"/>
                      <a:pt x="42" y="26"/>
                    </a:cubicBezTo>
                    <a:cubicBezTo>
                      <a:pt x="42" y="26"/>
                      <a:pt x="41" y="26"/>
                      <a:pt x="40" y="26"/>
                    </a:cubicBezTo>
                    <a:cubicBezTo>
                      <a:pt x="40" y="26"/>
                      <a:pt x="40" y="26"/>
                      <a:pt x="40" y="26"/>
                    </a:cubicBezTo>
                    <a:cubicBezTo>
                      <a:pt x="39" y="34"/>
                      <a:pt x="38" y="39"/>
                      <a:pt x="37" y="42"/>
                    </a:cubicBezTo>
                    <a:cubicBezTo>
                      <a:pt x="34" y="46"/>
                      <a:pt x="32" y="49"/>
                      <a:pt x="29" y="49"/>
                    </a:cubicBezTo>
                    <a:cubicBezTo>
                      <a:pt x="30" y="53"/>
                      <a:pt x="30" y="56"/>
                      <a:pt x="30" y="60"/>
                    </a:cubicBezTo>
                    <a:cubicBezTo>
                      <a:pt x="31" y="60"/>
                      <a:pt x="32" y="59"/>
                      <a:pt x="33" y="58"/>
                    </a:cubicBezTo>
                    <a:cubicBezTo>
                      <a:pt x="39" y="56"/>
                      <a:pt x="42" y="49"/>
                      <a:pt x="42" y="39"/>
                    </a:cubicBezTo>
                    <a:cubicBezTo>
                      <a:pt x="43" y="37"/>
                      <a:pt x="44" y="36"/>
                      <a:pt x="46" y="36"/>
                    </a:cubicBezTo>
                    <a:cubicBezTo>
                      <a:pt x="47" y="36"/>
                      <a:pt x="48" y="37"/>
                      <a:pt x="48" y="39"/>
                    </a:cubicBezTo>
                    <a:cubicBezTo>
                      <a:pt x="49" y="49"/>
                      <a:pt x="45" y="57"/>
                      <a:pt x="36" y="64"/>
                    </a:cubicBezTo>
                    <a:cubicBezTo>
                      <a:pt x="34" y="65"/>
                      <a:pt x="32" y="66"/>
                      <a:pt x="30" y="66"/>
                    </a:cubicBezTo>
                    <a:cubicBezTo>
                      <a:pt x="30" y="70"/>
                      <a:pt x="30" y="70"/>
                      <a:pt x="30" y="70"/>
                    </a:cubicBezTo>
                    <a:cubicBezTo>
                      <a:pt x="44" y="70"/>
                      <a:pt x="44" y="70"/>
                      <a:pt x="44" y="70"/>
                    </a:cubicBezTo>
                    <a:cubicBezTo>
                      <a:pt x="47" y="70"/>
                      <a:pt x="49" y="71"/>
                      <a:pt x="49" y="73"/>
                    </a:cubicBezTo>
                    <a:cubicBezTo>
                      <a:pt x="49" y="76"/>
                      <a:pt x="47" y="77"/>
                      <a:pt x="43" y="77"/>
                    </a:cubicBezTo>
                    <a:cubicBezTo>
                      <a:pt x="37" y="77"/>
                      <a:pt x="33" y="77"/>
                      <a:pt x="30" y="78"/>
                    </a:cubicBezTo>
                    <a:cubicBezTo>
                      <a:pt x="30" y="80"/>
                      <a:pt x="30" y="82"/>
                      <a:pt x="30" y="84"/>
                    </a:cubicBezTo>
                    <a:cubicBezTo>
                      <a:pt x="34" y="84"/>
                      <a:pt x="37" y="87"/>
                      <a:pt x="40" y="91"/>
                    </a:cubicBezTo>
                    <a:cubicBezTo>
                      <a:pt x="44" y="96"/>
                      <a:pt x="46" y="103"/>
                      <a:pt x="48" y="111"/>
                    </a:cubicBezTo>
                    <a:cubicBezTo>
                      <a:pt x="49" y="116"/>
                      <a:pt x="49" y="120"/>
                      <a:pt x="48" y="124"/>
                    </a:cubicBezTo>
                    <a:cubicBezTo>
                      <a:pt x="47" y="125"/>
                      <a:pt x="46" y="125"/>
                      <a:pt x="45" y="125"/>
                    </a:cubicBezTo>
                    <a:cubicBezTo>
                      <a:pt x="44" y="125"/>
                      <a:pt x="43" y="125"/>
                      <a:pt x="42" y="124"/>
                    </a:cubicBezTo>
                    <a:cubicBezTo>
                      <a:pt x="42" y="123"/>
                      <a:pt x="42" y="121"/>
                      <a:pt x="42" y="118"/>
                    </a:cubicBezTo>
                    <a:cubicBezTo>
                      <a:pt x="41" y="116"/>
                      <a:pt x="41" y="114"/>
                      <a:pt x="41" y="113"/>
                    </a:cubicBezTo>
                    <a:cubicBezTo>
                      <a:pt x="40" y="104"/>
                      <a:pt x="37" y="97"/>
                      <a:pt x="33" y="93"/>
                    </a:cubicBezTo>
                    <a:cubicBezTo>
                      <a:pt x="33" y="92"/>
                      <a:pt x="32" y="91"/>
                      <a:pt x="30" y="91"/>
                    </a:cubicBezTo>
                    <a:cubicBezTo>
                      <a:pt x="31" y="97"/>
                      <a:pt x="31" y="101"/>
                      <a:pt x="31" y="105"/>
                    </a:cubicBezTo>
                    <a:cubicBezTo>
                      <a:pt x="31" y="107"/>
                      <a:pt x="31" y="111"/>
                      <a:pt x="30" y="116"/>
                    </a:cubicBezTo>
                    <a:cubicBezTo>
                      <a:pt x="30" y="124"/>
                      <a:pt x="30" y="129"/>
                      <a:pt x="29" y="133"/>
                    </a:cubicBezTo>
                    <a:cubicBezTo>
                      <a:pt x="29" y="136"/>
                      <a:pt x="28" y="137"/>
                      <a:pt x="27" y="137"/>
                    </a:cubicBezTo>
                    <a:cubicBezTo>
                      <a:pt x="26" y="137"/>
                      <a:pt x="25" y="136"/>
                      <a:pt x="24" y="133"/>
                    </a:cubicBezTo>
                    <a:cubicBezTo>
                      <a:pt x="24" y="120"/>
                      <a:pt x="24" y="111"/>
                      <a:pt x="24" y="105"/>
                    </a:cubicBezTo>
                    <a:cubicBezTo>
                      <a:pt x="24" y="100"/>
                      <a:pt x="24" y="95"/>
                      <a:pt x="24" y="90"/>
                    </a:cubicBezTo>
                    <a:cubicBezTo>
                      <a:pt x="22" y="91"/>
                      <a:pt x="21" y="92"/>
                      <a:pt x="20" y="93"/>
                    </a:cubicBezTo>
                    <a:cubicBezTo>
                      <a:pt x="18" y="94"/>
                      <a:pt x="16" y="98"/>
                      <a:pt x="14" y="102"/>
                    </a:cubicBezTo>
                    <a:cubicBezTo>
                      <a:pt x="13" y="104"/>
                      <a:pt x="13" y="104"/>
                      <a:pt x="13" y="104"/>
                    </a:cubicBezTo>
                    <a:cubicBezTo>
                      <a:pt x="12" y="108"/>
                      <a:pt x="11" y="114"/>
                      <a:pt x="11" y="122"/>
                    </a:cubicBezTo>
                    <a:cubicBezTo>
                      <a:pt x="10" y="124"/>
                      <a:pt x="9" y="125"/>
                      <a:pt x="7" y="125"/>
                    </a:cubicBezTo>
                    <a:cubicBezTo>
                      <a:pt x="6" y="125"/>
                      <a:pt x="5" y="124"/>
                      <a:pt x="5" y="122"/>
                    </a:cubicBezTo>
                    <a:cubicBezTo>
                      <a:pt x="6" y="115"/>
                      <a:pt x="7" y="108"/>
                      <a:pt x="8" y="102"/>
                    </a:cubicBezTo>
                    <a:cubicBezTo>
                      <a:pt x="9" y="97"/>
                      <a:pt x="11" y="92"/>
                      <a:pt x="14" y="89"/>
                    </a:cubicBezTo>
                    <a:cubicBezTo>
                      <a:pt x="17" y="86"/>
                      <a:pt x="20" y="84"/>
                      <a:pt x="24" y="84"/>
                    </a:cubicBezTo>
                    <a:cubicBezTo>
                      <a:pt x="24" y="81"/>
                      <a:pt x="24" y="81"/>
                      <a:pt x="24" y="81"/>
                    </a:cubicBezTo>
                    <a:cubicBezTo>
                      <a:pt x="24" y="80"/>
                      <a:pt x="24" y="79"/>
                      <a:pt x="24" y="78"/>
                    </a:cubicBezTo>
                    <a:cubicBezTo>
                      <a:pt x="14" y="78"/>
                      <a:pt x="9" y="78"/>
                      <a:pt x="9" y="78"/>
                    </a:cubicBezTo>
                    <a:cubicBezTo>
                      <a:pt x="6" y="79"/>
                      <a:pt x="4" y="79"/>
                      <a:pt x="3" y="77"/>
                    </a:cubicBezTo>
                    <a:cubicBezTo>
                      <a:pt x="2" y="76"/>
                      <a:pt x="2" y="74"/>
                      <a:pt x="3" y="72"/>
                    </a:cubicBezTo>
                    <a:cubicBezTo>
                      <a:pt x="3" y="70"/>
                      <a:pt x="4" y="70"/>
                      <a:pt x="7" y="70"/>
                    </a:cubicBezTo>
                    <a:cubicBezTo>
                      <a:pt x="8" y="70"/>
                      <a:pt x="10" y="70"/>
                      <a:pt x="14" y="70"/>
                    </a:cubicBezTo>
                    <a:cubicBezTo>
                      <a:pt x="24" y="70"/>
                      <a:pt x="24" y="70"/>
                      <a:pt x="24" y="70"/>
                    </a:cubicBezTo>
                    <a:cubicBezTo>
                      <a:pt x="24" y="66"/>
                      <a:pt x="24" y="66"/>
                      <a:pt x="24" y="66"/>
                    </a:cubicBezTo>
                    <a:cubicBezTo>
                      <a:pt x="22" y="66"/>
                      <a:pt x="21" y="66"/>
                      <a:pt x="20" y="65"/>
                    </a:cubicBezTo>
                    <a:cubicBezTo>
                      <a:pt x="12" y="62"/>
                      <a:pt x="6" y="56"/>
                      <a:pt x="2" y="46"/>
                    </a:cubicBezTo>
                    <a:cubicBezTo>
                      <a:pt x="2" y="46"/>
                      <a:pt x="2" y="43"/>
                      <a:pt x="2" y="40"/>
                    </a:cubicBezTo>
                    <a:cubicBezTo>
                      <a:pt x="2" y="39"/>
                      <a:pt x="2" y="38"/>
                      <a:pt x="2" y="37"/>
                    </a:cubicBezTo>
                    <a:close/>
                    <a:moveTo>
                      <a:pt x="9" y="3"/>
                    </a:moveTo>
                    <a:cubicBezTo>
                      <a:pt x="11" y="3"/>
                      <a:pt x="15" y="3"/>
                      <a:pt x="19" y="3"/>
                    </a:cubicBezTo>
                    <a:cubicBezTo>
                      <a:pt x="40" y="3"/>
                      <a:pt x="40" y="3"/>
                      <a:pt x="40" y="3"/>
                    </a:cubicBezTo>
                    <a:cubicBezTo>
                      <a:pt x="43" y="3"/>
                      <a:pt x="44" y="5"/>
                      <a:pt x="44" y="7"/>
                    </a:cubicBezTo>
                    <a:cubicBezTo>
                      <a:pt x="44" y="9"/>
                      <a:pt x="42" y="10"/>
                      <a:pt x="39" y="10"/>
                    </a:cubicBezTo>
                    <a:cubicBezTo>
                      <a:pt x="34" y="10"/>
                      <a:pt x="25" y="10"/>
                      <a:pt x="14" y="11"/>
                    </a:cubicBezTo>
                    <a:cubicBezTo>
                      <a:pt x="13" y="11"/>
                      <a:pt x="12" y="11"/>
                      <a:pt x="11" y="11"/>
                    </a:cubicBezTo>
                    <a:cubicBezTo>
                      <a:pt x="7" y="11"/>
                      <a:pt x="5" y="11"/>
                      <a:pt x="5" y="9"/>
                    </a:cubicBezTo>
                    <a:cubicBezTo>
                      <a:pt x="5" y="9"/>
                      <a:pt x="4" y="8"/>
                      <a:pt x="5" y="6"/>
                    </a:cubicBezTo>
                    <a:cubicBezTo>
                      <a:pt x="5" y="5"/>
                      <a:pt x="5" y="5"/>
                      <a:pt x="5" y="5"/>
                    </a:cubicBezTo>
                    <a:cubicBezTo>
                      <a:pt x="5" y="3"/>
                      <a:pt x="6" y="3"/>
                      <a:pt x="9" y="3"/>
                    </a:cubicBezTo>
                    <a:close/>
                    <a:moveTo>
                      <a:pt x="33" y="26"/>
                    </a:moveTo>
                    <a:cubicBezTo>
                      <a:pt x="28" y="26"/>
                      <a:pt x="23" y="26"/>
                      <a:pt x="17" y="26"/>
                    </a:cubicBezTo>
                    <a:cubicBezTo>
                      <a:pt x="18" y="32"/>
                      <a:pt x="20" y="38"/>
                      <a:pt x="24" y="42"/>
                    </a:cubicBezTo>
                    <a:cubicBezTo>
                      <a:pt x="25" y="44"/>
                      <a:pt x="26" y="45"/>
                      <a:pt x="27" y="45"/>
                    </a:cubicBezTo>
                    <a:cubicBezTo>
                      <a:pt x="28" y="45"/>
                      <a:pt x="29" y="44"/>
                      <a:pt x="29" y="42"/>
                    </a:cubicBezTo>
                    <a:cubicBezTo>
                      <a:pt x="32" y="38"/>
                      <a:pt x="33" y="33"/>
                      <a:pt x="33" y="26"/>
                    </a:cubicBezTo>
                    <a:close/>
                    <a:moveTo>
                      <a:pt x="54" y="2"/>
                    </a:moveTo>
                    <a:cubicBezTo>
                      <a:pt x="55" y="0"/>
                      <a:pt x="57" y="0"/>
                      <a:pt x="58" y="1"/>
                    </a:cubicBezTo>
                    <a:cubicBezTo>
                      <a:pt x="59" y="2"/>
                      <a:pt x="60" y="4"/>
                      <a:pt x="59" y="6"/>
                    </a:cubicBezTo>
                    <a:cubicBezTo>
                      <a:pt x="57" y="8"/>
                      <a:pt x="57" y="9"/>
                      <a:pt x="58" y="10"/>
                    </a:cubicBezTo>
                    <a:cubicBezTo>
                      <a:pt x="59" y="11"/>
                      <a:pt x="61" y="12"/>
                      <a:pt x="63" y="11"/>
                    </a:cubicBezTo>
                    <a:cubicBezTo>
                      <a:pt x="67" y="9"/>
                      <a:pt x="73" y="9"/>
                      <a:pt x="80" y="11"/>
                    </a:cubicBezTo>
                    <a:cubicBezTo>
                      <a:pt x="84" y="13"/>
                      <a:pt x="87" y="16"/>
                      <a:pt x="88" y="22"/>
                    </a:cubicBezTo>
                    <a:cubicBezTo>
                      <a:pt x="89" y="27"/>
                      <a:pt x="88" y="32"/>
                      <a:pt x="85" y="35"/>
                    </a:cubicBezTo>
                    <a:cubicBezTo>
                      <a:pt x="84" y="38"/>
                      <a:pt x="81" y="39"/>
                      <a:pt x="75" y="37"/>
                    </a:cubicBezTo>
                    <a:cubicBezTo>
                      <a:pt x="75" y="37"/>
                      <a:pt x="74" y="37"/>
                      <a:pt x="74" y="37"/>
                    </a:cubicBezTo>
                    <a:cubicBezTo>
                      <a:pt x="69" y="37"/>
                      <a:pt x="66" y="37"/>
                      <a:pt x="63" y="38"/>
                    </a:cubicBezTo>
                    <a:cubicBezTo>
                      <a:pt x="62" y="38"/>
                      <a:pt x="61" y="40"/>
                      <a:pt x="61" y="43"/>
                    </a:cubicBezTo>
                    <a:cubicBezTo>
                      <a:pt x="62" y="48"/>
                      <a:pt x="62" y="56"/>
                      <a:pt x="62" y="66"/>
                    </a:cubicBezTo>
                    <a:cubicBezTo>
                      <a:pt x="62" y="70"/>
                      <a:pt x="61" y="76"/>
                      <a:pt x="61" y="84"/>
                    </a:cubicBezTo>
                    <a:cubicBezTo>
                      <a:pt x="59" y="99"/>
                      <a:pt x="58" y="110"/>
                      <a:pt x="57" y="116"/>
                    </a:cubicBezTo>
                    <a:cubicBezTo>
                      <a:pt x="57" y="122"/>
                      <a:pt x="55" y="128"/>
                      <a:pt x="53" y="136"/>
                    </a:cubicBezTo>
                    <a:cubicBezTo>
                      <a:pt x="52" y="137"/>
                      <a:pt x="51" y="138"/>
                      <a:pt x="50" y="138"/>
                    </a:cubicBezTo>
                    <a:cubicBezTo>
                      <a:pt x="48" y="138"/>
                      <a:pt x="48" y="137"/>
                      <a:pt x="48" y="136"/>
                    </a:cubicBezTo>
                    <a:cubicBezTo>
                      <a:pt x="48" y="135"/>
                      <a:pt x="48" y="133"/>
                      <a:pt x="48" y="130"/>
                    </a:cubicBezTo>
                    <a:cubicBezTo>
                      <a:pt x="49" y="127"/>
                      <a:pt x="49" y="126"/>
                      <a:pt x="49" y="125"/>
                    </a:cubicBezTo>
                    <a:cubicBezTo>
                      <a:pt x="53" y="104"/>
                      <a:pt x="55" y="85"/>
                      <a:pt x="55" y="68"/>
                    </a:cubicBezTo>
                    <a:cubicBezTo>
                      <a:pt x="56" y="60"/>
                      <a:pt x="56" y="54"/>
                      <a:pt x="55" y="48"/>
                    </a:cubicBezTo>
                    <a:cubicBezTo>
                      <a:pt x="54" y="45"/>
                      <a:pt x="53" y="42"/>
                      <a:pt x="52" y="40"/>
                    </a:cubicBezTo>
                    <a:cubicBezTo>
                      <a:pt x="50" y="38"/>
                      <a:pt x="51" y="36"/>
                      <a:pt x="54" y="34"/>
                    </a:cubicBezTo>
                    <a:cubicBezTo>
                      <a:pt x="58" y="30"/>
                      <a:pt x="66" y="29"/>
                      <a:pt x="76" y="31"/>
                    </a:cubicBezTo>
                    <a:cubicBezTo>
                      <a:pt x="81" y="32"/>
                      <a:pt x="83" y="30"/>
                      <a:pt x="83" y="25"/>
                    </a:cubicBezTo>
                    <a:cubicBezTo>
                      <a:pt x="83" y="21"/>
                      <a:pt x="81" y="18"/>
                      <a:pt x="77" y="18"/>
                    </a:cubicBezTo>
                    <a:cubicBezTo>
                      <a:pt x="70" y="17"/>
                      <a:pt x="66" y="17"/>
                      <a:pt x="65" y="18"/>
                    </a:cubicBezTo>
                    <a:cubicBezTo>
                      <a:pt x="63" y="19"/>
                      <a:pt x="60" y="19"/>
                      <a:pt x="57" y="19"/>
                    </a:cubicBezTo>
                    <a:cubicBezTo>
                      <a:pt x="57" y="18"/>
                      <a:pt x="55" y="17"/>
                      <a:pt x="53" y="15"/>
                    </a:cubicBezTo>
                    <a:cubicBezTo>
                      <a:pt x="53" y="14"/>
                      <a:pt x="52" y="14"/>
                      <a:pt x="52" y="13"/>
                    </a:cubicBezTo>
                    <a:cubicBezTo>
                      <a:pt x="50" y="10"/>
                      <a:pt x="51" y="6"/>
                      <a:pt x="54" y="2"/>
                    </a:cubicBezTo>
                    <a:close/>
                    <a:moveTo>
                      <a:pt x="95" y="70"/>
                    </a:moveTo>
                    <a:cubicBezTo>
                      <a:pt x="96" y="72"/>
                      <a:pt x="95" y="73"/>
                      <a:pt x="94" y="74"/>
                    </a:cubicBezTo>
                    <a:cubicBezTo>
                      <a:pt x="92" y="74"/>
                      <a:pt x="91" y="74"/>
                      <a:pt x="90" y="72"/>
                    </a:cubicBezTo>
                    <a:cubicBezTo>
                      <a:pt x="88" y="67"/>
                      <a:pt x="84" y="62"/>
                      <a:pt x="78" y="56"/>
                    </a:cubicBezTo>
                    <a:cubicBezTo>
                      <a:pt x="77" y="55"/>
                      <a:pt x="76" y="54"/>
                      <a:pt x="76" y="54"/>
                    </a:cubicBezTo>
                    <a:cubicBezTo>
                      <a:pt x="75" y="56"/>
                      <a:pt x="75" y="56"/>
                      <a:pt x="75" y="56"/>
                    </a:cubicBezTo>
                    <a:cubicBezTo>
                      <a:pt x="75" y="61"/>
                      <a:pt x="75" y="73"/>
                      <a:pt x="77" y="93"/>
                    </a:cubicBezTo>
                    <a:cubicBezTo>
                      <a:pt x="78" y="99"/>
                      <a:pt x="80" y="107"/>
                      <a:pt x="83" y="119"/>
                    </a:cubicBezTo>
                    <a:cubicBezTo>
                      <a:pt x="84" y="122"/>
                      <a:pt x="85" y="124"/>
                      <a:pt x="85" y="124"/>
                    </a:cubicBezTo>
                    <a:cubicBezTo>
                      <a:pt x="86" y="126"/>
                      <a:pt x="86" y="128"/>
                      <a:pt x="87" y="131"/>
                    </a:cubicBezTo>
                    <a:cubicBezTo>
                      <a:pt x="88" y="132"/>
                      <a:pt x="88" y="133"/>
                      <a:pt x="88" y="133"/>
                    </a:cubicBezTo>
                    <a:cubicBezTo>
                      <a:pt x="88" y="135"/>
                      <a:pt x="88" y="136"/>
                      <a:pt x="86" y="136"/>
                    </a:cubicBezTo>
                    <a:cubicBezTo>
                      <a:pt x="84" y="136"/>
                      <a:pt x="83" y="135"/>
                      <a:pt x="82" y="133"/>
                    </a:cubicBezTo>
                    <a:cubicBezTo>
                      <a:pt x="77" y="123"/>
                      <a:pt x="73" y="110"/>
                      <a:pt x="70" y="93"/>
                    </a:cubicBezTo>
                    <a:cubicBezTo>
                      <a:pt x="69" y="79"/>
                      <a:pt x="68" y="68"/>
                      <a:pt x="68" y="58"/>
                    </a:cubicBezTo>
                    <a:cubicBezTo>
                      <a:pt x="68" y="51"/>
                      <a:pt x="68" y="46"/>
                      <a:pt x="68" y="44"/>
                    </a:cubicBezTo>
                    <a:cubicBezTo>
                      <a:pt x="68" y="43"/>
                      <a:pt x="69" y="42"/>
                      <a:pt x="70" y="42"/>
                    </a:cubicBezTo>
                    <a:cubicBezTo>
                      <a:pt x="71" y="41"/>
                      <a:pt x="71" y="41"/>
                      <a:pt x="72" y="42"/>
                    </a:cubicBezTo>
                    <a:cubicBezTo>
                      <a:pt x="76" y="45"/>
                      <a:pt x="78" y="48"/>
                      <a:pt x="80" y="49"/>
                    </a:cubicBezTo>
                    <a:cubicBezTo>
                      <a:pt x="86" y="54"/>
                      <a:pt x="91" y="61"/>
                      <a:pt x="95" y="7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1049833" name="íṣ1ïḑe"/>
              <p:cNvSpPr/>
              <p:nvPr/>
            </p:nvSpPr>
            <p:spPr bwMode="auto">
              <a:xfrm>
                <a:off x="1750909" y="4905965"/>
                <a:ext cx="93663" cy="87313"/>
              </a:xfrm>
              <a:custGeom>
                <a:avLst/>
                <a:gdLst>
                  <a:gd name="T0" fmla="*/ 51 w 51"/>
                  <a:gd name="T1" fmla="*/ 17 h 47"/>
                  <a:gd name="T2" fmla="*/ 46 w 51"/>
                  <a:gd name="T3" fmla="*/ 25 h 47"/>
                  <a:gd name="T4" fmla="*/ 26 w 51"/>
                  <a:gd name="T5" fmla="*/ 13 h 47"/>
                  <a:gd name="T6" fmla="*/ 20 w 51"/>
                  <a:gd name="T7" fmla="*/ 9 h 47"/>
                  <a:gd name="T8" fmla="*/ 14 w 51"/>
                  <a:gd name="T9" fmla="*/ 9 h 47"/>
                  <a:gd name="T10" fmla="*/ 10 w 51"/>
                  <a:gd name="T11" fmla="*/ 13 h 47"/>
                  <a:gd name="T12" fmla="*/ 8 w 51"/>
                  <a:gd name="T13" fmla="*/ 19 h 47"/>
                  <a:gd name="T14" fmla="*/ 10 w 51"/>
                  <a:gd name="T15" fmla="*/ 23 h 47"/>
                  <a:gd name="T16" fmla="*/ 17 w 51"/>
                  <a:gd name="T17" fmla="*/ 27 h 47"/>
                  <a:gd name="T18" fmla="*/ 37 w 51"/>
                  <a:gd name="T19" fmla="*/ 40 h 47"/>
                  <a:gd name="T20" fmla="*/ 33 w 51"/>
                  <a:gd name="T21" fmla="*/ 47 h 47"/>
                  <a:gd name="T22" fmla="*/ 13 w 51"/>
                  <a:gd name="T23" fmla="*/ 35 h 47"/>
                  <a:gd name="T24" fmla="*/ 4 w 51"/>
                  <a:gd name="T25" fmla="*/ 29 h 47"/>
                  <a:gd name="T26" fmla="*/ 1 w 51"/>
                  <a:gd name="T27" fmla="*/ 24 h 47"/>
                  <a:gd name="T28" fmla="*/ 0 w 51"/>
                  <a:gd name="T29" fmla="*/ 18 h 47"/>
                  <a:gd name="T30" fmla="*/ 3 w 51"/>
                  <a:gd name="T31" fmla="*/ 10 h 47"/>
                  <a:gd name="T32" fmla="*/ 10 w 51"/>
                  <a:gd name="T33" fmla="*/ 2 h 47"/>
                  <a:gd name="T34" fmla="*/ 15 w 51"/>
                  <a:gd name="T35" fmla="*/ 0 h 47"/>
                  <a:gd name="T36" fmla="*/ 21 w 51"/>
                  <a:gd name="T37" fmla="*/ 0 h 47"/>
                  <a:gd name="T38" fmla="*/ 31 w 51"/>
                  <a:gd name="T39" fmla="*/ 5 h 47"/>
                  <a:gd name="T40" fmla="*/ 51 w 51"/>
                  <a:gd name="T41" fmla="*/ 17 h 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51" h="47">
                    <a:moveTo>
                      <a:pt x="51" y="17"/>
                    </a:moveTo>
                    <a:cubicBezTo>
                      <a:pt x="46" y="25"/>
                      <a:pt x="46" y="25"/>
                      <a:pt x="46" y="25"/>
                    </a:cubicBezTo>
                    <a:cubicBezTo>
                      <a:pt x="26" y="13"/>
                      <a:pt x="26" y="13"/>
                      <a:pt x="26" y="13"/>
                    </a:cubicBezTo>
                    <a:cubicBezTo>
                      <a:pt x="23" y="11"/>
                      <a:pt x="21" y="10"/>
                      <a:pt x="20" y="9"/>
                    </a:cubicBezTo>
                    <a:cubicBezTo>
                      <a:pt x="18" y="9"/>
                      <a:pt x="16" y="9"/>
                      <a:pt x="14" y="9"/>
                    </a:cubicBezTo>
                    <a:cubicBezTo>
                      <a:pt x="13" y="10"/>
                      <a:pt x="11" y="11"/>
                      <a:pt x="10" y="13"/>
                    </a:cubicBezTo>
                    <a:cubicBezTo>
                      <a:pt x="9" y="16"/>
                      <a:pt x="8" y="17"/>
                      <a:pt x="8" y="19"/>
                    </a:cubicBezTo>
                    <a:cubicBezTo>
                      <a:pt x="9" y="21"/>
                      <a:pt x="9" y="22"/>
                      <a:pt x="10" y="23"/>
                    </a:cubicBezTo>
                    <a:cubicBezTo>
                      <a:pt x="12" y="24"/>
                      <a:pt x="14" y="25"/>
                      <a:pt x="17" y="27"/>
                    </a:cubicBezTo>
                    <a:cubicBezTo>
                      <a:pt x="37" y="40"/>
                      <a:pt x="37" y="40"/>
                      <a:pt x="37" y="40"/>
                    </a:cubicBezTo>
                    <a:cubicBezTo>
                      <a:pt x="33" y="47"/>
                      <a:pt x="33" y="47"/>
                      <a:pt x="33" y="47"/>
                    </a:cubicBezTo>
                    <a:cubicBezTo>
                      <a:pt x="13" y="35"/>
                      <a:pt x="13" y="35"/>
                      <a:pt x="13" y="35"/>
                    </a:cubicBezTo>
                    <a:cubicBezTo>
                      <a:pt x="9" y="33"/>
                      <a:pt x="6" y="31"/>
                      <a:pt x="4" y="29"/>
                    </a:cubicBezTo>
                    <a:cubicBezTo>
                      <a:pt x="2" y="28"/>
                      <a:pt x="1" y="26"/>
                      <a:pt x="1" y="24"/>
                    </a:cubicBezTo>
                    <a:cubicBezTo>
                      <a:pt x="0" y="22"/>
                      <a:pt x="0" y="20"/>
                      <a:pt x="0" y="18"/>
                    </a:cubicBezTo>
                    <a:cubicBezTo>
                      <a:pt x="0" y="15"/>
                      <a:pt x="2" y="13"/>
                      <a:pt x="3" y="10"/>
                    </a:cubicBezTo>
                    <a:cubicBezTo>
                      <a:pt x="6" y="6"/>
                      <a:pt x="8" y="4"/>
                      <a:pt x="10" y="2"/>
                    </a:cubicBezTo>
                    <a:cubicBezTo>
                      <a:pt x="11" y="1"/>
                      <a:pt x="13" y="0"/>
                      <a:pt x="15" y="0"/>
                    </a:cubicBezTo>
                    <a:cubicBezTo>
                      <a:pt x="17" y="0"/>
                      <a:pt x="19" y="0"/>
                      <a:pt x="21" y="0"/>
                    </a:cubicBezTo>
                    <a:cubicBezTo>
                      <a:pt x="23" y="1"/>
                      <a:pt x="27" y="3"/>
                      <a:pt x="31" y="5"/>
                    </a:cubicBezTo>
                    <a:lnTo>
                      <a:pt x="51" y="17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1049834" name="íṧḷîde"/>
              <p:cNvSpPr/>
              <p:nvPr/>
            </p:nvSpPr>
            <p:spPr bwMode="auto">
              <a:xfrm>
                <a:off x="1704872" y="4971053"/>
                <a:ext cx="100013" cy="92075"/>
              </a:xfrm>
              <a:custGeom>
                <a:avLst/>
                <a:gdLst>
                  <a:gd name="T0" fmla="*/ 17 w 63"/>
                  <a:gd name="T1" fmla="*/ 0 h 58"/>
                  <a:gd name="T2" fmla="*/ 63 w 63"/>
                  <a:gd name="T3" fmla="*/ 21 h 58"/>
                  <a:gd name="T4" fmla="*/ 59 w 63"/>
                  <a:gd name="T5" fmla="*/ 30 h 58"/>
                  <a:gd name="T6" fmla="*/ 19 w 63"/>
                  <a:gd name="T7" fmla="*/ 35 h 58"/>
                  <a:gd name="T8" fmla="*/ 50 w 63"/>
                  <a:gd name="T9" fmla="*/ 50 h 58"/>
                  <a:gd name="T10" fmla="*/ 46 w 63"/>
                  <a:gd name="T11" fmla="*/ 58 h 58"/>
                  <a:gd name="T12" fmla="*/ 0 w 63"/>
                  <a:gd name="T13" fmla="*/ 37 h 58"/>
                  <a:gd name="T14" fmla="*/ 4 w 63"/>
                  <a:gd name="T15" fmla="*/ 26 h 58"/>
                  <a:gd name="T16" fmla="*/ 43 w 63"/>
                  <a:gd name="T17" fmla="*/ 22 h 58"/>
                  <a:gd name="T18" fmla="*/ 12 w 63"/>
                  <a:gd name="T19" fmla="*/ 8 h 58"/>
                  <a:gd name="T20" fmla="*/ 17 w 63"/>
                  <a:gd name="T21" fmla="*/ 0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63" h="58">
                    <a:moveTo>
                      <a:pt x="17" y="0"/>
                    </a:moveTo>
                    <a:lnTo>
                      <a:pt x="63" y="21"/>
                    </a:lnTo>
                    <a:lnTo>
                      <a:pt x="59" y="30"/>
                    </a:lnTo>
                    <a:lnTo>
                      <a:pt x="19" y="35"/>
                    </a:lnTo>
                    <a:lnTo>
                      <a:pt x="50" y="50"/>
                    </a:lnTo>
                    <a:lnTo>
                      <a:pt x="46" y="58"/>
                    </a:lnTo>
                    <a:lnTo>
                      <a:pt x="0" y="37"/>
                    </a:lnTo>
                    <a:lnTo>
                      <a:pt x="4" y="26"/>
                    </a:lnTo>
                    <a:lnTo>
                      <a:pt x="43" y="22"/>
                    </a:lnTo>
                    <a:lnTo>
                      <a:pt x="12" y="8"/>
                    </a:lnTo>
                    <a:lnTo>
                      <a:pt x="17" y="0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1049835" name="íS1îḍé"/>
              <p:cNvSpPr/>
              <p:nvPr/>
            </p:nvSpPr>
            <p:spPr bwMode="auto">
              <a:xfrm>
                <a:off x="1690584" y="5045665"/>
                <a:ext cx="84138" cy="44450"/>
              </a:xfrm>
              <a:custGeom>
                <a:avLst/>
                <a:gdLst>
                  <a:gd name="T0" fmla="*/ 5 w 53"/>
                  <a:gd name="T1" fmla="*/ 0 h 28"/>
                  <a:gd name="T2" fmla="*/ 53 w 53"/>
                  <a:gd name="T3" fmla="*/ 19 h 28"/>
                  <a:gd name="T4" fmla="*/ 49 w 53"/>
                  <a:gd name="T5" fmla="*/ 28 h 28"/>
                  <a:gd name="T6" fmla="*/ 0 w 53"/>
                  <a:gd name="T7" fmla="*/ 10 h 28"/>
                  <a:gd name="T8" fmla="*/ 5 w 53"/>
                  <a:gd name="T9" fmla="*/ 0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3" h="28">
                    <a:moveTo>
                      <a:pt x="5" y="0"/>
                    </a:moveTo>
                    <a:lnTo>
                      <a:pt x="53" y="19"/>
                    </a:lnTo>
                    <a:lnTo>
                      <a:pt x="49" y="28"/>
                    </a:lnTo>
                    <a:lnTo>
                      <a:pt x="0" y="10"/>
                    </a:lnTo>
                    <a:lnTo>
                      <a:pt x="5" y="0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1049836" name="íṧļïḋè"/>
              <p:cNvSpPr/>
              <p:nvPr/>
            </p:nvSpPr>
            <p:spPr bwMode="auto">
              <a:xfrm>
                <a:off x="1674709" y="5091703"/>
                <a:ext cx="92075" cy="73025"/>
              </a:xfrm>
              <a:custGeom>
                <a:avLst/>
                <a:gdLst>
                  <a:gd name="T0" fmla="*/ 4 w 58"/>
                  <a:gd name="T1" fmla="*/ 3 h 46"/>
                  <a:gd name="T2" fmla="*/ 58 w 58"/>
                  <a:gd name="T3" fmla="*/ 0 h 46"/>
                  <a:gd name="T4" fmla="*/ 55 w 58"/>
                  <a:gd name="T5" fmla="*/ 11 h 46"/>
                  <a:gd name="T6" fmla="*/ 14 w 58"/>
                  <a:gd name="T7" fmla="*/ 13 h 46"/>
                  <a:gd name="T8" fmla="*/ 46 w 58"/>
                  <a:gd name="T9" fmla="*/ 35 h 46"/>
                  <a:gd name="T10" fmla="*/ 44 w 58"/>
                  <a:gd name="T11" fmla="*/ 46 h 46"/>
                  <a:gd name="T12" fmla="*/ 0 w 58"/>
                  <a:gd name="T13" fmla="*/ 14 h 46"/>
                  <a:gd name="T14" fmla="*/ 4 w 58"/>
                  <a:gd name="T15" fmla="*/ 3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58" h="46">
                    <a:moveTo>
                      <a:pt x="4" y="3"/>
                    </a:moveTo>
                    <a:lnTo>
                      <a:pt x="58" y="0"/>
                    </a:lnTo>
                    <a:lnTo>
                      <a:pt x="55" y="11"/>
                    </a:lnTo>
                    <a:lnTo>
                      <a:pt x="14" y="13"/>
                    </a:lnTo>
                    <a:lnTo>
                      <a:pt x="46" y="35"/>
                    </a:lnTo>
                    <a:lnTo>
                      <a:pt x="44" y="46"/>
                    </a:lnTo>
                    <a:lnTo>
                      <a:pt x="0" y="14"/>
                    </a:lnTo>
                    <a:lnTo>
                      <a:pt x="4" y="3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1049837" name="ïṡḷiḋé"/>
              <p:cNvSpPr/>
              <p:nvPr/>
            </p:nvSpPr>
            <p:spPr bwMode="auto">
              <a:xfrm>
                <a:off x="1652484" y="5153615"/>
                <a:ext cx="90488" cy="73025"/>
              </a:xfrm>
              <a:custGeom>
                <a:avLst/>
                <a:gdLst>
                  <a:gd name="T0" fmla="*/ 7 w 57"/>
                  <a:gd name="T1" fmla="*/ 0 h 46"/>
                  <a:gd name="T2" fmla="*/ 57 w 57"/>
                  <a:gd name="T3" fmla="*/ 10 h 46"/>
                  <a:gd name="T4" fmla="*/ 50 w 57"/>
                  <a:gd name="T5" fmla="*/ 46 h 46"/>
                  <a:gd name="T6" fmla="*/ 42 w 57"/>
                  <a:gd name="T7" fmla="*/ 45 h 46"/>
                  <a:gd name="T8" fmla="*/ 47 w 57"/>
                  <a:gd name="T9" fmla="*/ 18 h 46"/>
                  <a:gd name="T10" fmla="*/ 36 w 57"/>
                  <a:gd name="T11" fmla="*/ 16 h 46"/>
                  <a:gd name="T12" fmla="*/ 30 w 57"/>
                  <a:gd name="T13" fmla="*/ 40 h 46"/>
                  <a:gd name="T14" fmla="*/ 22 w 57"/>
                  <a:gd name="T15" fmla="*/ 39 h 46"/>
                  <a:gd name="T16" fmla="*/ 27 w 57"/>
                  <a:gd name="T17" fmla="*/ 14 h 46"/>
                  <a:gd name="T18" fmla="*/ 14 w 57"/>
                  <a:gd name="T19" fmla="*/ 11 h 46"/>
                  <a:gd name="T20" fmla="*/ 8 w 57"/>
                  <a:gd name="T21" fmla="*/ 39 h 46"/>
                  <a:gd name="T22" fmla="*/ 0 w 57"/>
                  <a:gd name="T23" fmla="*/ 38 h 46"/>
                  <a:gd name="T24" fmla="*/ 7 w 57"/>
                  <a:gd name="T25" fmla="*/ 0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57" h="46">
                    <a:moveTo>
                      <a:pt x="7" y="0"/>
                    </a:moveTo>
                    <a:lnTo>
                      <a:pt x="57" y="10"/>
                    </a:lnTo>
                    <a:lnTo>
                      <a:pt x="50" y="46"/>
                    </a:lnTo>
                    <a:lnTo>
                      <a:pt x="42" y="45"/>
                    </a:lnTo>
                    <a:lnTo>
                      <a:pt x="47" y="18"/>
                    </a:lnTo>
                    <a:lnTo>
                      <a:pt x="36" y="16"/>
                    </a:lnTo>
                    <a:lnTo>
                      <a:pt x="30" y="40"/>
                    </a:lnTo>
                    <a:lnTo>
                      <a:pt x="22" y="39"/>
                    </a:lnTo>
                    <a:lnTo>
                      <a:pt x="27" y="14"/>
                    </a:lnTo>
                    <a:lnTo>
                      <a:pt x="14" y="11"/>
                    </a:lnTo>
                    <a:lnTo>
                      <a:pt x="8" y="39"/>
                    </a:lnTo>
                    <a:lnTo>
                      <a:pt x="0" y="38"/>
                    </a:lnTo>
                    <a:lnTo>
                      <a:pt x="7" y="0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1049838" name="ïşļiḋe"/>
              <p:cNvSpPr/>
              <p:nvPr/>
            </p:nvSpPr>
            <p:spPr bwMode="auto">
              <a:xfrm>
                <a:off x="1641372" y="5231403"/>
                <a:ext cx="88900" cy="71438"/>
              </a:xfrm>
              <a:custGeom>
                <a:avLst/>
                <a:gdLst>
                  <a:gd name="T0" fmla="*/ 4 w 48"/>
                  <a:gd name="T1" fmla="*/ 0 h 39"/>
                  <a:gd name="T2" fmla="*/ 48 w 48"/>
                  <a:gd name="T3" fmla="*/ 4 h 39"/>
                  <a:gd name="T4" fmla="*/ 46 w 48"/>
                  <a:gd name="T5" fmla="*/ 23 h 39"/>
                  <a:gd name="T6" fmla="*/ 44 w 48"/>
                  <a:gd name="T7" fmla="*/ 33 h 39"/>
                  <a:gd name="T8" fmla="*/ 39 w 48"/>
                  <a:gd name="T9" fmla="*/ 38 h 39"/>
                  <a:gd name="T10" fmla="*/ 32 w 48"/>
                  <a:gd name="T11" fmla="*/ 39 h 39"/>
                  <a:gd name="T12" fmla="*/ 24 w 48"/>
                  <a:gd name="T13" fmla="*/ 35 h 39"/>
                  <a:gd name="T14" fmla="*/ 21 w 48"/>
                  <a:gd name="T15" fmla="*/ 26 h 39"/>
                  <a:gd name="T16" fmla="*/ 17 w 48"/>
                  <a:gd name="T17" fmla="*/ 30 h 39"/>
                  <a:gd name="T18" fmla="*/ 9 w 48"/>
                  <a:gd name="T19" fmla="*/ 35 h 39"/>
                  <a:gd name="T20" fmla="*/ 0 w 48"/>
                  <a:gd name="T21" fmla="*/ 39 h 39"/>
                  <a:gd name="T22" fmla="*/ 1 w 48"/>
                  <a:gd name="T23" fmla="*/ 29 h 39"/>
                  <a:gd name="T24" fmla="*/ 12 w 48"/>
                  <a:gd name="T25" fmla="*/ 23 h 39"/>
                  <a:gd name="T26" fmla="*/ 18 w 48"/>
                  <a:gd name="T27" fmla="*/ 19 h 39"/>
                  <a:gd name="T28" fmla="*/ 20 w 48"/>
                  <a:gd name="T29" fmla="*/ 17 h 39"/>
                  <a:gd name="T30" fmla="*/ 21 w 48"/>
                  <a:gd name="T31" fmla="*/ 12 h 39"/>
                  <a:gd name="T32" fmla="*/ 22 w 48"/>
                  <a:gd name="T33" fmla="*/ 11 h 39"/>
                  <a:gd name="T34" fmla="*/ 3 w 48"/>
                  <a:gd name="T35" fmla="*/ 9 h 39"/>
                  <a:gd name="T36" fmla="*/ 4 w 48"/>
                  <a:gd name="T37" fmla="*/ 0 h 39"/>
                  <a:gd name="T38" fmla="*/ 29 w 48"/>
                  <a:gd name="T39" fmla="*/ 11 h 39"/>
                  <a:gd name="T40" fmla="*/ 28 w 48"/>
                  <a:gd name="T41" fmla="*/ 18 h 39"/>
                  <a:gd name="T42" fmla="*/ 28 w 48"/>
                  <a:gd name="T43" fmla="*/ 26 h 39"/>
                  <a:gd name="T44" fmla="*/ 29 w 48"/>
                  <a:gd name="T45" fmla="*/ 28 h 39"/>
                  <a:gd name="T46" fmla="*/ 32 w 48"/>
                  <a:gd name="T47" fmla="*/ 30 h 39"/>
                  <a:gd name="T48" fmla="*/ 36 w 48"/>
                  <a:gd name="T49" fmla="*/ 29 h 39"/>
                  <a:gd name="T50" fmla="*/ 38 w 48"/>
                  <a:gd name="T51" fmla="*/ 26 h 39"/>
                  <a:gd name="T52" fmla="*/ 39 w 48"/>
                  <a:gd name="T53" fmla="*/ 19 h 39"/>
                  <a:gd name="T54" fmla="*/ 40 w 48"/>
                  <a:gd name="T55" fmla="*/ 12 h 39"/>
                  <a:gd name="T56" fmla="*/ 29 w 48"/>
                  <a:gd name="T57" fmla="*/ 11 h 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48" h="39">
                    <a:moveTo>
                      <a:pt x="4" y="0"/>
                    </a:moveTo>
                    <a:cubicBezTo>
                      <a:pt x="48" y="4"/>
                      <a:pt x="48" y="4"/>
                      <a:pt x="48" y="4"/>
                    </a:cubicBezTo>
                    <a:cubicBezTo>
                      <a:pt x="46" y="23"/>
                      <a:pt x="46" y="23"/>
                      <a:pt x="46" y="23"/>
                    </a:cubicBezTo>
                    <a:cubicBezTo>
                      <a:pt x="46" y="27"/>
                      <a:pt x="45" y="31"/>
                      <a:pt x="44" y="33"/>
                    </a:cubicBezTo>
                    <a:cubicBezTo>
                      <a:pt x="43" y="35"/>
                      <a:pt x="41" y="36"/>
                      <a:pt x="39" y="38"/>
                    </a:cubicBezTo>
                    <a:cubicBezTo>
                      <a:pt x="37" y="39"/>
                      <a:pt x="35" y="39"/>
                      <a:pt x="32" y="39"/>
                    </a:cubicBezTo>
                    <a:cubicBezTo>
                      <a:pt x="29" y="38"/>
                      <a:pt x="26" y="37"/>
                      <a:pt x="24" y="35"/>
                    </a:cubicBezTo>
                    <a:cubicBezTo>
                      <a:pt x="22" y="33"/>
                      <a:pt x="21" y="30"/>
                      <a:pt x="21" y="26"/>
                    </a:cubicBezTo>
                    <a:cubicBezTo>
                      <a:pt x="20" y="28"/>
                      <a:pt x="18" y="29"/>
                      <a:pt x="17" y="30"/>
                    </a:cubicBezTo>
                    <a:cubicBezTo>
                      <a:pt x="16" y="32"/>
                      <a:pt x="13" y="33"/>
                      <a:pt x="9" y="35"/>
                    </a:cubicBezTo>
                    <a:cubicBezTo>
                      <a:pt x="0" y="39"/>
                      <a:pt x="0" y="39"/>
                      <a:pt x="0" y="39"/>
                    </a:cubicBezTo>
                    <a:cubicBezTo>
                      <a:pt x="1" y="29"/>
                      <a:pt x="1" y="29"/>
                      <a:pt x="1" y="29"/>
                    </a:cubicBezTo>
                    <a:cubicBezTo>
                      <a:pt x="12" y="23"/>
                      <a:pt x="12" y="23"/>
                      <a:pt x="12" y="23"/>
                    </a:cubicBezTo>
                    <a:cubicBezTo>
                      <a:pt x="15" y="21"/>
                      <a:pt x="17" y="20"/>
                      <a:pt x="18" y="19"/>
                    </a:cubicBezTo>
                    <a:cubicBezTo>
                      <a:pt x="19" y="18"/>
                      <a:pt x="20" y="18"/>
                      <a:pt x="20" y="17"/>
                    </a:cubicBezTo>
                    <a:cubicBezTo>
                      <a:pt x="21" y="16"/>
                      <a:pt x="21" y="14"/>
                      <a:pt x="21" y="12"/>
                    </a:cubicBezTo>
                    <a:cubicBezTo>
                      <a:pt x="22" y="11"/>
                      <a:pt x="22" y="11"/>
                      <a:pt x="22" y="11"/>
                    </a:cubicBezTo>
                    <a:cubicBezTo>
                      <a:pt x="3" y="9"/>
                      <a:pt x="3" y="9"/>
                      <a:pt x="3" y="9"/>
                    </a:cubicBezTo>
                    <a:lnTo>
                      <a:pt x="4" y="0"/>
                    </a:lnTo>
                    <a:close/>
                    <a:moveTo>
                      <a:pt x="29" y="11"/>
                    </a:moveTo>
                    <a:cubicBezTo>
                      <a:pt x="28" y="18"/>
                      <a:pt x="28" y="18"/>
                      <a:pt x="28" y="18"/>
                    </a:cubicBezTo>
                    <a:cubicBezTo>
                      <a:pt x="28" y="22"/>
                      <a:pt x="27" y="25"/>
                      <a:pt x="28" y="26"/>
                    </a:cubicBezTo>
                    <a:cubicBezTo>
                      <a:pt x="28" y="27"/>
                      <a:pt x="28" y="28"/>
                      <a:pt x="29" y="28"/>
                    </a:cubicBezTo>
                    <a:cubicBezTo>
                      <a:pt x="30" y="29"/>
                      <a:pt x="31" y="30"/>
                      <a:pt x="32" y="30"/>
                    </a:cubicBezTo>
                    <a:cubicBezTo>
                      <a:pt x="34" y="30"/>
                      <a:pt x="35" y="30"/>
                      <a:pt x="36" y="29"/>
                    </a:cubicBezTo>
                    <a:cubicBezTo>
                      <a:pt x="37" y="28"/>
                      <a:pt x="38" y="27"/>
                      <a:pt x="38" y="26"/>
                    </a:cubicBezTo>
                    <a:cubicBezTo>
                      <a:pt x="38" y="25"/>
                      <a:pt x="39" y="23"/>
                      <a:pt x="39" y="19"/>
                    </a:cubicBezTo>
                    <a:cubicBezTo>
                      <a:pt x="40" y="12"/>
                      <a:pt x="40" y="12"/>
                      <a:pt x="40" y="12"/>
                    </a:cubicBezTo>
                    <a:lnTo>
                      <a:pt x="29" y="11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1049839" name="îś1iḓê"/>
              <p:cNvSpPr/>
              <p:nvPr/>
            </p:nvSpPr>
            <p:spPr bwMode="auto">
              <a:xfrm>
                <a:off x="1641372" y="5312365"/>
                <a:ext cx="82550" cy="66675"/>
              </a:xfrm>
              <a:custGeom>
                <a:avLst/>
                <a:gdLst>
                  <a:gd name="T0" fmla="*/ 15 w 45"/>
                  <a:gd name="T1" fmla="*/ 0 h 36"/>
                  <a:gd name="T2" fmla="*/ 16 w 45"/>
                  <a:gd name="T3" fmla="*/ 8 h 36"/>
                  <a:gd name="T4" fmla="*/ 9 w 45"/>
                  <a:gd name="T5" fmla="*/ 12 h 36"/>
                  <a:gd name="T6" fmla="*/ 7 w 45"/>
                  <a:gd name="T7" fmla="*/ 18 h 36"/>
                  <a:gd name="T8" fmla="*/ 9 w 45"/>
                  <a:gd name="T9" fmla="*/ 25 h 36"/>
                  <a:gd name="T10" fmla="*/ 13 w 45"/>
                  <a:gd name="T11" fmla="*/ 27 h 36"/>
                  <a:gd name="T12" fmla="*/ 16 w 45"/>
                  <a:gd name="T13" fmla="*/ 26 h 36"/>
                  <a:gd name="T14" fmla="*/ 18 w 45"/>
                  <a:gd name="T15" fmla="*/ 23 h 36"/>
                  <a:gd name="T16" fmla="*/ 20 w 45"/>
                  <a:gd name="T17" fmla="*/ 15 h 36"/>
                  <a:gd name="T18" fmla="*/ 24 w 45"/>
                  <a:gd name="T19" fmla="*/ 5 h 36"/>
                  <a:gd name="T20" fmla="*/ 33 w 45"/>
                  <a:gd name="T21" fmla="*/ 1 h 36"/>
                  <a:gd name="T22" fmla="*/ 39 w 45"/>
                  <a:gd name="T23" fmla="*/ 3 h 36"/>
                  <a:gd name="T24" fmla="*/ 44 w 45"/>
                  <a:gd name="T25" fmla="*/ 9 h 36"/>
                  <a:gd name="T26" fmla="*/ 45 w 45"/>
                  <a:gd name="T27" fmla="*/ 17 h 36"/>
                  <a:gd name="T28" fmla="*/ 42 w 45"/>
                  <a:gd name="T29" fmla="*/ 30 h 36"/>
                  <a:gd name="T30" fmla="*/ 32 w 45"/>
                  <a:gd name="T31" fmla="*/ 34 h 36"/>
                  <a:gd name="T32" fmla="*/ 31 w 45"/>
                  <a:gd name="T33" fmla="*/ 25 h 36"/>
                  <a:gd name="T34" fmla="*/ 36 w 45"/>
                  <a:gd name="T35" fmla="*/ 23 h 36"/>
                  <a:gd name="T36" fmla="*/ 38 w 45"/>
                  <a:gd name="T37" fmla="*/ 17 h 36"/>
                  <a:gd name="T38" fmla="*/ 36 w 45"/>
                  <a:gd name="T39" fmla="*/ 11 h 36"/>
                  <a:gd name="T40" fmla="*/ 33 w 45"/>
                  <a:gd name="T41" fmla="*/ 10 h 36"/>
                  <a:gd name="T42" fmla="*/ 31 w 45"/>
                  <a:gd name="T43" fmla="*/ 11 h 36"/>
                  <a:gd name="T44" fmla="*/ 28 w 45"/>
                  <a:gd name="T45" fmla="*/ 19 h 36"/>
                  <a:gd name="T46" fmla="*/ 25 w 45"/>
                  <a:gd name="T47" fmla="*/ 29 h 36"/>
                  <a:gd name="T48" fmla="*/ 20 w 45"/>
                  <a:gd name="T49" fmla="*/ 34 h 36"/>
                  <a:gd name="T50" fmla="*/ 13 w 45"/>
                  <a:gd name="T51" fmla="*/ 36 h 36"/>
                  <a:gd name="T52" fmla="*/ 6 w 45"/>
                  <a:gd name="T53" fmla="*/ 33 h 36"/>
                  <a:gd name="T54" fmla="*/ 1 w 45"/>
                  <a:gd name="T55" fmla="*/ 28 h 36"/>
                  <a:gd name="T56" fmla="*/ 0 w 45"/>
                  <a:gd name="T57" fmla="*/ 18 h 36"/>
                  <a:gd name="T58" fmla="*/ 3 w 45"/>
                  <a:gd name="T59" fmla="*/ 5 h 36"/>
                  <a:gd name="T60" fmla="*/ 15 w 45"/>
                  <a:gd name="T61" fmla="*/ 0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45" h="36">
                    <a:moveTo>
                      <a:pt x="15" y="0"/>
                    </a:moveTo>
                    <a:cubicBezTo>
                      <a:pt x="16" y="8"/>
                      <a:pt x="16" y="8"/>
                      <a:pt x="16" y="8"/>
                    </a:cubicBezTo>
                    <a:cubicBezTo>
                      <a:pt x="13" y="9"/>
                      <a:pt x="10" y="10"/>
                      <a:pt x="9" y="12"/>
                    </a:cubicBezTo>
                    <a:cubicBezTo>
                      <a:pt x="8" y="13"/>
                      <a:pt x="7" y="15"/>
                      <a:pt x="7" y="18"/>
                    </a:cubicBezTo>
                    <a:cubicBezTo>
                      <a:pt x="7" y="21"/>
                      <a:pt x="8" y="23"/>
                      <a:pt x="9" y="25"/>
                    </a:cubicBezTo>
                    <a:cubicBezTo>
                      <a:pt x="10" y="26"/>
                      <a:pt x="12" y="27"/>
                      <a:pt x="13" y="27"/>
                    </a:cubicBezTo>
                    <a:cubicBezTo>
                      <a:pt x="14" y="27"/>
                      <a:pt x="15" y="26"/>
                      <a:pt x="16" y="26"/>
                    </a:cubicBezTo>
                    <a:cubicBezTo>
                      <a:pt x="17" y="25"/>
                      <a:pt x="17" y="24"/>
                      <a:pt x="18" y="23"/>
                    </a:cubicBezTo>
                    <a:cubicBezTo>
                      <a:pt x="18" y="22"/>
                      <a:pt x="19" y="19"/>
                      <a:pt x="20" y="15"/>
                    </a:cubicBezTo>
                    <a:cubicBezTo>
                      <a:pt x="21" y="11"/>
                      <a:pt x="22" y="7"/>
                      <a:pt x="24" y="5"/>
                    </a:cubicBezTo>
                    <a:cubicBezTo>
                      <a:pt x="26" y="3"/>
                      <a:pt x="29" y="1"/>
                      <a:pt x="33" y="1"/>
                    </a:cubicBezTo>
                    <a:cubicBezTo>
                      <a:pt x="35" y="1"/>
                      <a:pt x="37" y="2"/>
                      <a:pt x="39" y="3"/>
                    </a:cubicBezTo>
                    <a:cubicBezTo>
                      <a:pt x="41" y="4"/>
                      <a:pt x="43" y="6"/>
                      <a:pt x="44" y="9"/>
                    </a:cubicBezTo>
                    <a:cubicBezTo>
                      <a:pt x="45" y="11"/>
                      <a:pt x="45" y="14"/>
                      <a:pt x="45" y="17"/>
                    </a:cubicBezTo>
                    <a:cubicBezTo>
                      <a:pt x="45" y="23"/>
                      <a:pt x="44" y="27"/>
                      <a:pt x="42" y="30"/>
                    </a:cubicBezTo>
                    <a:cubicBezTo>
                      <a:pt x="39" y="33"/>
                      <a:pt x="36" y="34"/>
                      <a:pt x="32" y="34"/>
                    </a:cubicBezTo>
                    <a:cubicBezTo>
                      <a:pt x="31" y="25"/>
                      <a:pt x="31" y="25"/>
                      <a:pt x="31" y="25"/>
                    </a:cubicBezTo>
                    <a:cubicBezTo>
                      <a:pt x="34" y="25"/>
                      <a:pt x="35" y="24"/>
                      <a:pt x="36" y="23"/>
                    </a:cubicBezTo>
                    <a:cubicBezTo>
                      <a:pt x="37" y="22"/>
                      <a:pt x="38" y="20"/>
                      <a:pt x="38" y="17"/>
                    </a:cubicBezTo>
                    <a:cubicBezTo>
                      <a:pt x="38" y="15"/>
                      <a:pt x="37" y="13"/>
                      <a:pt x="36" y="11"/>
                    </a:cubicBezTo>
                    <a:cubicBezTo>
                      <a:pt x="35" y="10"/>
                      <a:pt x="35" y="10"/>
                      <a:pt x="33" y="10"/>
                    </a:cubicBezTo>
                    <a:cubicBezTo>
                      <a:pt x="32" y="10"/>
                      <a:pt x="31" y="10"/>
                      <a:pt x="31" y="11"/>
                    </a:cubicBezTo>
                    <a:cubicBezTo>
                      <a:pt x="30" y="12"/>
                      <a:pt x="29" y="15"/>
                      <a:pt x="28" y="19"/>
                    </a:cubicBezTo>
                    <a:cubicBezTo>
                      <a:pt x="27" y="24"/>
                      <a:pt x="26" y="27"/>
                      <a:pt x="25" y="29"/>
                    </a:cubicBezTo>
                    <a:cubicBezTo>
                      <a:pt x="24" y="31"/>
                      <a:pt x="22" y="33"/>
                      <a:pt x="20" y="34"/>
                    </a:cubicBezTo>
                    <a:cubicBezTo>
                      <a:pt x="18" y="35"/>
                      <a:pt x="16" y="36"/>
                      <a:pt x="13" y="36"/>
                    </a:cubicBezTo>
                    <a:cubicBezTo>
                      <a:pt x="11" y="36"/>
                      <a:pt x="8" y="35"/>
                      <a:pt x="6" y="33"/>
                    </a:cubicBezTo>
                    <a:cubicBezTo>
                      <a:pt x="4" y="32"/>
                      <a:pt x="2" y="30"/>
                      <a:pt x="1" y="28"/>
                    </a:cubicBezTo>
                    <a:cubicBezTo>
                      <a:pt x="0" y="25"/>
                      <a:pt x="0" y="22"/>
                      <a:pt x="0" y="18"/>
                    </a:cubicBezTo>
                    <a:cubicBezTo>
                      <a:pt x="0" y="12"/>
                      <a:pt x="1" y="8"/>
                      <a:pt x="3" y="5"/>
                    </a:cubicBezTo>
                    <a:cubicBezTo>
                      <a:pt x="6" y="2"/>
                      <a:pt x="10" y="0"/>
                      <a:pt x="15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1049840" name="íş1ïḓe"/>
              <p:cNvSpPr/>
              <p:nvPr/>
            </p:nvSpPr>
            <p:spPr bwMode="auto">
              <a:xfrm>
                <a:off x="1642959" y="5385390"/>
                <a:ext cx="84138" cy="22225"/>
              </a:xfrm>
              <a:custGeom>
                <a:avLst/>
                <a:gdLst>
                  <a:gd name="T0" fmla="*/ 0 w 53"/>
                  <a:gd name="T1" fmla="*/ 5 h 14"/>
                  <a:gd name="T2" fmla="*/ 51 w 53"/>
                  <a:gd name="T3" fmla="*/ 0 h 14"/>
                  <a:gd name="T4" fmla="*/ 53 w 53"/>
                  <a:gd name="T5" fmla="*/ 11 h 14"/>
                  <a:gd name="T6" fmla="*/ 1 w 53"/>
                  <a:gd name="T7" fmla="*/ 14 h 14"/>
                  <a:gd name="T8" fmla="*/ 0 w 53"/>
                  <a:gd name="T9" fmla="*/ 5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3" h="14">
                    <a:moveTo>
                      <a:pt x="0" y="5"/>
                    </a:moveTo>
                    <a:lnTo>
                      <a:pt x="51" y="0"/>
                    </a:lnTo>
                    <a:lnTo>
                      <a:pt x="53" y="11"/>
                    </a:lnTo>
                    <a:lnTo>
                      <a:pt x="1" y="14"/>
                    </a:lnTo>
                    <a:lnTo>
                      <a:pt x="0" y="5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1049841" name="ïṩlîḋè"/>
              <p:cNvSpPr/>
              <p:nvPr/>
            </p:nvSpPr>
            <p:spPr bwMode="auto">
              <a:xfrm>
                <a:off x="1649309" y="5407615"/>
                <a:ext cx="84138" cy="66675"/>
              </a:xfrm>
              <a:custGeom>
                <a:avLst/>
                <a:gdLst>
                  <a:gd name="T0" fmla="*/ 0 w 53"/>
                  <a:gd name="T1" fmla="*/ 22 h 42"/>
                  <a:gd name="T2" fmla="*/ 42 w 53"/>
                  <a:gd name="T3" fmla="*/ 17 h 42"/>
                  <a:gd name="T4" fmla="*/ 39 w 53"/>
                  <a:gd name="T5" fmla="*/ 1 h 42"/>
                  <a:gd name="T6" fmla="*/ 49 w 53"/>
                  <a:gd name="T7" fmla="*/ 0 h 42"/>
                  <a:gd name="T8" fmla="*/ 53 w 53"/>
                  <a:gd name="T9" fmla="*/ 41 h 42"/>
                  <a:gd name="T10" fmla="*/ 45 w 53"/>
                  <a:gd name="T11" fmla="*/ 42 h 42"/>
                  <a:gd name="T12" fmla="*/ 43 w 53"/>
                  <a:gd name="T13" fmla="*/ 27 h 42"/>
                  <a:gd name="T14" fmla="*/ 1 w 53"/>
                  <a:gd name="T15" fmla="*/ 33 h 42"/>
                  <a:gd name="T16" fmla="*/ 0 w 53"/>
                  <a:gd name="T17" fmla="*/ 22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3" h="42">
                    <a:moveTo>
                      <a:pt x="0" y="22"/>
                    </a:moveTo>
                    <a:lnTo>
                      <a:pt x="42" y="17"/>
                    </a:lnTo>
                    <a:lnTo>
                      <a:pt x="39" y="1"/>
                    </a:lnTo>
                    <a:lnTo>
                      <a:pt x="49" y="0"/>
                    </a:lnTo>
                    <a:lnTo>
                      <a:pt x="53" y="41"/>
                    </a:lnTo>
                    <a:lnTo>
                      <a:pt x="45" y="42"/>
                    </a:lnTo>
                    <a:lnTo>
                      <a:pt x="43" y="27"/>
                    </a:lnTo>
                    <a:lnTo>
                      <a:pt x="1" y="33"/>
                    </a:lnTo>
                    <a:lnTo>
                      <a:pt x="0" y="22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1049842" name="ïṣľîďe"/>
              <p:cNvSpPr/>
              <p:nvPr/>
            </p:nvSpPr>
            <p:spPr bwMode="auto">
              <a:xfrm>
                <a:off x="1662009" y="5471115"/>
                <a:ext cx="90488" cy="73025"/>
              </a:xfrm>
              <a:custGeom>
                <a:avLst/>
                <a:gdLst>
                  <a:gd name="T0" fmla="*/ 0 w 57"/>
                  <a:gd name="T1" fmla="*/ 29 h 46"/>
                  <a:gd name="T2" fmla="*/ 21 w 57"/>
                  <a:gd name="T3" fmla="*/ 24 h 46"/>
                  <a:gd name="T4" fmla="*/ 45 w 57"/>
                  <a:gd name="T5" fmla="*/ 0 h 46"/>
                  <a:gd name="T6" fmla="*/ 49 w 57"/>
                  <a:gd name="T7" fmla="*/ 11 h 46"/>
                  <a:gd name="T8" fmla="*/ 31 w 57"/>
                  <a:gd name="T9" fmla="*/ 28 h 46"/>
                  <a:gd name="T10" fmla="*/ 53 w 57"/>
                  <a:gd name="T11" fmla="*/ 35 h 46"/>
                  <a:gd name="T12" fmla="*/ 57 w 57"/>
                  <a:gd name="T13" fmla="*/ 46 h 46"/>
                  <a:gd name="T14" fmla="*/ 23 w 57"/>
                  <a:gd name="T15" fmla="*/ 35 h 46"/>
                  <a:gd name="T16" fmla="*/ 2 w 57"/>
                  <a:gd name="T17" fmla="*/ 39 h 46"/>
                  <a:gd name="T18" fmla="*/ 0 w 57"/>
                  <a:gd name="T19" fmla="*/ 29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57" h="46">
                    <a:moveTo>
                      <a:pt x="0" y="29"/>
                    </a:moveTo>
                    <a:lnTo>
                      <a:pt x="21" y="24"/>
                    </a:lnTo>
                    <a:lnTo>
                      <a:pt x="45" y="0"/>
                    </a:lnTo>
                    <a:lnTo>
                      <a:pt x="49" y="11"/>
                    </a:lnTo>
                    <a:lnTo>
                      <a:pt x="31" y="28"/>
                    </a:lnTo>
                    <a:lnTo>
                      <a:pt x="53" y="35"/>
                    </a:lnTo>
                    <a:lnTo>
                      <a:pt x="57" y="46"/>
                    </a:lnTo>
                    <a:lnTo>
                      <a:pt x="23" y="35"/>
                    </a:lnTo>
                    <a:lnTo>
                      <a:pt x="2" y="39"/>
                    </a:lnTo>
                    <a:lnTo>
                      <a:pt x="0" y="29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1049843" name="íśļiḓe"/>
              <p:cNvSpPr/>
              <p:nvPr/>
            </p:nvSpPr>
            <p:spPr bwMode="auto">
              <a:xfrm>
                <a:off x="1704872" y="5609228"/>
                <a:ext cx="85725" cy="80963"/>
              </a:xfrm>
              <a:custGeom>
                <a:avLst/>
                <a:gdLst>
                  <a:gd name="T0" fmla="*/ 15 w 47"/>
                  <a:gd name="T1" fmla="*/ 2 h 44"/>
                  <a:gd name="T2" fmla="*/ 26 w 47"/>
                  <a:gd name="T3" fmla="*/ 0 h 44"/>
                  <a:gd name="T4" fmla="*/ 33 w 47"/>
                  <a:gd name="T5" fmla="*/ 1 h 44"/>
                  <a:gd name="T6" fmla="*/ 39 w 47"/>
                  <a:gd name="T7" fmla="*/ 4 h 44"/>
                  <a:gd name="T8" fmla="*/ 44 w 47"/>
                  <a:gd name="T9" fmla="*/ 12 h 44"/>
                  <a:gd name="T10" fmla="*/ 45 w 47"/>
                  <a:gd name="T11" fmla="*/ 29 h 44"/>
                  <a:gd name="T12" fmla="*/ 32 w 47"/>
                  <a:gd name="T13" fmla="*/ 41 h 44"/>
                  <a:gd name="T14" fmla="*/ 15 w 47"/>
                  <a:gd name="T15" fmla="*/ 43 h 44"/>
                  <a:gd name="T16" fmla="*/ 3 w 47"/>
                  <a:gd name="T17" fmla="*/ 31 h 44"/>
                  <a:gd name="T18" fmla="*/ 2 w 47"/>
                  <a:gd name="T19" fmla="*/ 14 h 44"/>
                  <a:gd name="T20" fmla="*/ 15 w 47"/>
                  <a:gd name="T21" fmla="*/ 2 h 44"/>
                  <a:gd name="T22" fmla="*/ 19 w 47"/>
                  <a:gd name="T23" fmla="*/ 10 h 44"/>
                  <a:gd name="T24" fmla="*/ 10 w 47"/>
                  <a:gd name="T25" fmla="*/ 18 h 44"/>
                  <a:gd name="T26" fmla="*/ 10 w 47"/>
                  <a:gd name="T27" fmla="*/ 28 h 44"/>
                  <a:gd name="T28" fmla="*/ 17 w 47"/>
                  <a:gd name="T29" fmla="*/ 34 h 44"/>
                  <a:gd name="T30" fmla="*/ 29 w 47"/>
                  <a:gd name="T31" fmla="*/ 33 h 44"/>
                  <a:gd name="T32" fmla="*/ 38 w 47"/>
                  <a:gd name="T33" fmla="*/ 25 h 44"/>
                  <a:gd name="T34" fmla="*/ 37 w 47"/>
                  <a:gd name="T35" fmla="*/ 16 h 44"/>
                  <a:gd name="T36" fmla="*/ 30 w 47"/>
                  <a:gd name="T37" fmla="*/ 9 h 44"/>
                  <a:gd name="T38" fmla="*/ 19 w 47"/>
                  <a:gd name="T39" fmla="*/ 10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47" h="44">
                    <a:moveTo>
                      <a:pt x="15" y="2"/>
                    </a:moveTo>
                    <a:cubicBezTo>
                      <a:pt x="19" y="0"/>
                      <a:pt x="23" y="0"/>
                      <a:pt x="26" y="0"/>
                    </a:cubicBezTo>
                    <a:cubicBezTo>
                      <a:pt x="28" y="0"/>
                      <a:pt x="31" y="0"/>
                      <a:pt x="33" y="1"/>
                    </a:cubicBezTo>
                    <a:cubicBezTo>
                      <a:pt x="35" y="2"/>
                      <a:pt x="37" y="3"/>
                      <a:pt x="39" y="4"/>
                    </a:cubicBezTo>
                    <a:cubicBezTo>
                      <a:pt x="41" y="6"/>
                      <a:pt x="43" y="9"/>
                      <a:pt x="44" y="12"/>
                    </a:cubicBezTo>
                    <a:cubicBezTo>
                      <a:pt x="47" y="18"/>
                      <a:pt x="47" y="24"/>
                      <a:pt x="45" y="29"/>
                    </a:cubicBezTo>
                    <a:cubicBezTo>
                      <a:pt x="43" y="34"/>
                      <a:pt x="39" y="38"/>
                      <a:pt x="32" y="41"/>
                    </a:cubicBezTo>
                    <a:cubicBezTo>
                      <a:pt x="26" y="44"/>
                      <a:pt x="20" y="44"/>
                      <a:pt x="15" y="43"/>
                    </a:cubicBezTo>
                    <a:cubicBezTo>
                      <a:pt x="9" y="41"/>
                      <a:pt x="5" y="37"/>
                      <a:pt x="3" y="31"/>
                    </a:cubicBezTo>
                    <a:cubicBezTo>
                      <a:pt x="0" y="25"/>
                      <a:pt x="0" y="19"/>
                      <a:pt x="2" y="14"/>
                    </a:cubicBezTo>
                    <a:cubicBezTo>
                      <a:pt x="4" y="9"/>
                      <a:pt x="8" y="5"/>
                      <a:pt x="15" y="2"/>
                    </a:cubicBezTo>
                    <a:close/>
                    <a:moveTo>
                      <a:pt x="19" y="10"/>
                    </a:moveTo>
                    <a:cubicBezTo>
                      <a:pt x="14" y="12"/>
                      <a:pt x="11" y="15"/>
                      <a:pt x="10" y="18"/>
                    </a:cubicBezTo>
                    <a:cubicBezTo>
                      <a:pt x="8" y="21"/>
                      <a:pt x="8" y="24"/>
                      <a:pt x="10" y="28"/>
                    </a:cubicBezTo>
                    <a:cubicBezTo>
                      <a:pt x="11" y="31"/>
                      <a:pt x="13" y="33"/>
                      <a:pt x="17" y="34"/>
                    </a:cubicBezTo>
                    <a:cubicBezTo>
                      <a:pt x="20" y="35"/>
                      <a:pt x="24" y="35"/>
                      <a:pt x="29" y="33"/>
                    </a:cubicBezTo>
                    <a:cubicBezTo>
                      <a:pt x="33" y="31"/>
                      <a:pt x="36" y="28"/>
                      <a:pt x="38" y="25"/>
                    </a:cubicBezTo>
                    <a:cubicBezTo>
                      <a:pt x="39" y="22"/>
                      <a:pt x="39" y="19"/>
                      <a:pt x="37" y="16"/>
                    </a:cubicBezTo>
                    <a:cubicBezTo>
                      <a:pt x="36" y="12"/>
                      <a:pt x="34" y="10"/>
                      <a:pt x="30" y="9"/>
                    </a:cubicBezTo>
                    <a:cubicBezTo>
                      <a:pt x="27" y="8"/>
                      <a:pt x="23" y="8"/>
                      <a:pt x="19" y="1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1049844" name="î$ḷïďe"/>
              <p:cNvSpPr/>
              <p:nvPr/>
            </p:nvSpPr>
            <p:spPr bwMode="auto">
              <a:xfrm>
                <a:off x="1733447" y="5675903"/>
                <a:ext cx="98425" cy="66675"/>
              </a:xfrm>
              <a:custGeom>
                <a:avLst/>
                <a:gdLst>
                  <a:gd name="T0" fmla="*/ 0 w 62"/>
                  <a:gd name="T1" fmla="*/ 26 h 42"/>
                  <a:gd name="T2" fmla="*/ 45 w 62"/>
                  <a:gd name="T3" fmla="*/ 0 h 42"/>
                  <a:gd name="T4" fmla="*/ 62 w 62"/>
                  <a:gd name="T5" fmla="*/ 30 h 42"/>
                  <a:gd name="T6" fmla="*/ 55 w 62"/>
                  <a:gd name="T7" fmla="*/ 35 h 42"/>
                  <a:gd name="T8" fmla="*/ 43 w 62"/>
                  <a:gd name="T9" fmla="*/ 14 h 42"/>
                  <a:gd name="T10" fmla="*/ 32 w 62"/>
                  <a:gd name="T11" fmla="*/ 20 h 42"/>
                  <a:gd name="T12" fmla="*/ 43 w 62"/>
                  <a:gd name="T13" fmla="*/ 38 h 42"/>
                  <a:gd name="T14" fmla="*/ 35 w 62"/>
                  <a:gd name="T15" fmla="*/ 42 h 42"/>
                  <a:gd name="T16" fmla="*/ 25 w 62"/>
                  <a:gd name="T17" fmla="*/ 23 h 42"/>
                  <a:gd name="T18" fmla="*/ 6 w 62"/>
                  <a:gd name="T19" fmla="*/ 35 h 42"/>
                  <a:gd name="T20" fmla="*/ 0 w 62"/>
                  <a:gd name="T21" fmla="*/ 26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62" h="42">
                    <a:moveTo>
                      <a:pt x="0" y="26"/>
                    </a:moveTo>
                    <a:lnTo>
                      <a:pt x="45" y="0"/>
                    </a:lnTo>
                    <a:lnTo>
                      <a:pt x="62" y="30"/>
                    </a:lnTo>
                    <a:lnTo>
                      <a:pt x="55" y="35"/>
                    </a:lnTo>
                    <a:lnTo>
                      <a:pt x="43" y="14"/>
                    </a:lnTo>
                    <a:lnTo>
                      <a:pt x="32" y="20"/>
                    </a:lnTo>
                    <a:lnTo>
                      <a:pt x="43" y="38"/>
                    </a:lnTo>
                    <a:lnTo>
                      <a:pt x="35" y="42"/>
                    </a:lnTo>
                    <a:lnTo>
                      <a:pt x="25" y="23"/>
                    </a:lnTo>
                    <a:lnTo>
                      <a:pt x="6" y="35"/>
                    </a:lnTo>
                    <a:lnTo>
                      <a:pt x="0" y="26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1049845" name="îśḻîḍe"/>
              <p:cNvSpPr/>
              <p:nvPr/>
            </p:nvSpPr>
            <p:spPr bwMode="auto">
              <a:xfrm>
                <a:off x="1812822" y="5785440"/>
                <a:ext cx="85725" cy="82550"/>
              </a:xfrm>
              <a:custGeom>
                <a:avLst/>
                <a:gdLst>
                  <a:gd name="T0" fmla="*/ 6 w 46"/>
                  <a:gd name="T1" fmla="*/ 13 h 45"/>
                  <a:gd name="T2" fmla="*/ 12 w 46"/>
                  <a:gd name="T3" fmla="*/ 19 h 45"/>
                  <a:gd name="T4" fmla="*/ 9 w 46"/>
                  <a:gd name="T5" fmla="*/ 26 h 45"/>
                  <a:gd name="T6" fmla="*/ 11 w 46"/>
                  <a:gd name="T7" fmla="*/ 32 h 45"/>
                  <a:gd name="T8" fmla="*/ 17 w 46"/>
                  <a:gd name="T9" fmla="*/ 36 h 45"/>
                  <a:gd name="T10" fmla="*/ 22 w 46"/>
                  <a:gd name="T11" fmla="*/ 35 h 45"/>
                  <a:gd name="T12" fmla="*/ 23 w 46"/>
                  <a:gd name="T13" fmla="*/ 32 h 45"/>
                  <a:gd name="T14" fmla="*/ 22 w 46"/>
                  <a:gd name="T15" fmla="*/ 29 h 45"/>
                  <a:gd name="T16" fmla="*/ 19 w 46"/>
                  <a:gd name="T17" fmla="*/ 22 h 45"/>
                  <a:gd name="T18" fmla="*/ 16 w 46"/>
                  <a:gd name="T19" fmla="*/ 12 h 45"/>
                  <a:gd name="T20" fmla="*/ 21 w 46"/>
                  <a:gd name="T21" fmla="*/ 3 h 45"/>
                  <a:gd name="T22" fmla="*/ 27 w 46"/>
                  <a:gd name="T23" fmla="*/ 0 h 45"/>
                  <a:gd name="T24" fmla="*/ 34 w 46"/>
                  <a:gd name="T25" fmla="*/ 2 h 45"/>
                  <a:gd name="T26" fmla="*/ 40 w 46"/>
                  <a:gd name="T27" fmla="*/ 8 h 45"/>
                  <a:gd name="T28" fmla="*/ 45 w 46"/>
                  <a:gd name="T29" fmla="*/ 19 h 45"/>
                  <a:gd name="T30" fmla="*/ 41 w 46"/>
                  <a:gd name="T31" fmla="*/ 29 h 45"/>
                  <a:gd name="T32" fmla="*/ 35 w 46"/>
                  <a:gd name="T33" fmla="*/ 22 h 45"/>
                  <a:gd name="T34" fmla="*/ 37 w 46"/>
                  <a:gd name="T35" fmla="*/ 17 h 45"/>
                  <a:gd name="T36" fmla="*/ 35 w 46"/>
                  <a:gd name="T37" fmla="*/ 12 h 45"/>
                  <a:gd name="T38" fmla="*/ 30 w 46"/>
                  <a:gd name="T39" fmla="*/ 8 h 45"/>
                  <a:gd name="T40" fmla="*/ 27 w 46"/>
                  <a:gd name="T41" fmla="*/ 9 h 45"/>
                  <a:gd name="T42" fmla="*/ 25 w 46"/>
                  <a:gd name="T43" fmla="*/ 12 h 45"/>
                  <a:gd name="T44" fmla="*/ 28 w 46"/>
                  <a:gd name="T45" fmla="*/ 20 h 45"/>
                  <a:gd name="T46" fmla="*/ 32 w 46"/>
                  <a:gd name="T47" fmla="*/ 29 h 45"/>
                  <a:gd name="T48" fmla="*/ 31 w 46"/>
                  <a:gd name="T49" fmla="*/ 36 h 45"/>
                  <a:gd name="T50" fmla="*/ 27 w 46"/>
                  <a:gd name="T51" fmla="*/ 42 h 45"/>
                  <a:gd name="T52" fmla="*/ 20 w 46"/>
                  <a:gd name="T53" fmla="*/ 45 h 45"/>
                  <a:gd name="T54" fmla="*/ 13 w 46"/>
                  <a:gd name="T55" fmla="*/ 43 h 45"/>
                  <a:gd name="T56" fmla="*/ 6 w 46"/>
                  <a:gd name="T57" fmla="*/ 37 h 45"/>
                  <a:gd name="T58" fmla="*/ 0 w 46"/>
                  <a:gd name="T59" fmla="*/ 24 h 45"/>
                  <a:gd name="T60" fmla="*/ 6 w 46"/>
                  <a:gd name="T61" fmla="*/ 13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46" h="45">
                    <a:moveTo>
                      <a:pt x="6" y="13"/>
                    </a:moveTo>
                    <a:cubicBezTo>
                      <a:pt x="12" y="19"/>
                      <a:pt x="12" y="19"/>
                      <a:pt x="12" y="19"/>
                    </a:cubicBezTo>
                    <a:cubicBezTo>
                      <a:pt x="10" y="21"/>
                      <a:pt x="9" y="24"/>
                      <a:pt x="9" y="26"/>
                    </a:cubicBezTo>
                    <a:cubicBezTo>
                      <a:pt x="9" y="28"/>
                      <a:pt x="10" y="30"/>
                      <a:pt x="11" y="32"/>
                    </a:cubicBezTo>
                    <a:cubicBezTo>
                      <a:pt x="13" y="34"/>
                      <a:pt x="15" y="35"/>
                      <a:pt x="17" y="36"/>
                    </a:cubicBezTo>
                    <a:cubicBezTo>
                      <a:pt x="19" y="36"/>
                      <a:pt x="20" y="36"/>
                      <a:pt x="22" y="35"/>
                    </a:cubicBezTo>
                    <a:cubicBezTo>
                      <a:pt x="22" y="34"/>
                      <a:pt x="23" y="33"/>
                      <a:pt x="23" y="32"/>
                    </a:cubicBezTo>
                    <a:cubicBezTo>
                      <a:pt x="23" y="32"/>
                      <a:pt x="23" y="30"/>
                      <a:pt x="22" y="29"/>
                    </a:cubicBezTo>
                    <a:cubicBezTo>
                      <a:pt x="22" y="28"/>
                      <a:pt x="21" y="26"/>
                      <a:pt x="19" y="22"/>
                    </a:cubicBezTo>
                    <a:cubicBezTo>
                      <a:pt x="17" y="18"/>
                      <a:pt x="16" y="14"/>
                      <a:pt x="16" y="12"/>
                    </a:cubicBezTo>
                    <a:cubicBezTo>
                      <a:pt x="17" y="8"/>
                      <a:pt x="18" y="5"/>
                      <a:pt x="21" y="3"/>
                    </a:cubicBezTo>
                    <a:cubicBezTo>
                      <a:pt x="23" y="1"/>
                      <a:pt x="25" y="1"/>
                      <a:pt x="27" y="0"/>
                    </a:cubicBezTo>
                    <a:cubicBezTo>
                      <a:pt x="29" y="0"/>
                      <a:pt x="31" y="1"/>
                      <a:pt x="34" y="2"/>
                    </a:cubicBezTo>
                    <a:cubicBezTo>
                      <a:pt x="36" y="3"/>
                      <a:pt x="38" y="5"/>
                      <a:pt x="40" y="8"/>
                    </a:cubicBezTo>
                    <a:cubicBezTo>
                      <a:pt x="44" y="12"/>
                      <a:pt x="46" y="16"/>
                      <a:pt x="45" y="19"/>
                    </a:cubicBezTo>
                    <a:cubicBezTo>
                      <a:pt x="45" y="23"/>
                      <a:pt x="44" y="26"/>
                      <a:pt x="41" y="29"/>
                    </a:cubicBezTo>
                    <a:cubicBezTo>
                      <a:pt x="35" y="22"/>
                      <a:pt x="35" y="22"/>
                      <a:pt x="35" y="22"/>
                    </a:cubicBezTo>
                    <a:cubicBezTo>
                      <a:pt x="36" y="21"/>
                      <a:pt x="37" y="19"/>
                      <a:pt x="37" y="17"/>
                    </a:cubicBezTo>
                    <a:cubicBezTo>
                      <a:pt x="37" y="16"/>
                      <a:pt x="36" y="14"/>
                      <a:pt x="35" y="12"/>
                    </a:cubicBezTo>
                    <a:cubicBezTo>
                      <a:pt x="33" y="10"/>
                      <a:pt x="31" y="9"/>
                      <a:pt x="30" y="8"/>
                    </a:cubicBezTo>
                    <a:cubicBezTo>
                      <a:pt x="28" y="8"/>
                      <a:pt x="27" y="8"/>
                      <a:pt x="27" y="9"/>
                    </a:cubicBezTo>
                    <a:cubicBezTo>
                      <a:pt x="26" y="10"/>
                      <a:pt x="25" y="11"/>
                      <a:pt x="25" y="12"/>
                    </a:cubicBezTo>
                    <a:cubicBezTo>
                      <a:pt x="25" y="13"/>
                      <a:pt x="26" y="16"/>
                      <a:pt x="28" y="20"/>
                    </a:cubicBezTo>
                    <a:cubicBezTo>
                      <a:pt x="30" y="24"/>
                      <a:pt x="31" y="27"/>
                      <a:pt x="32" y="29"/>
                    </a:cubicBezTo>
                    <a:cubicBezTo>
                      <a:pt x="32" y="32"/>
                      <a:pt x="32" y="34"/>
                      <a:pt x="31" y="36"/>
                    </a:cubicBezTo>
                    <a:cubicBezTo>
                      <a:pt x="31" y="38"/>
                      <a:pt x="29" y="40"/>
                      <a:pt x="27" y="42"/>
                    </a:cubicBezTo>
                    <a:cubicBezTo>
                      <a:pt x="25" y="43"/>
                      <a:pt x="23" y="44"/>
                      <a:pt x="20" y="45"/>
                    </a:cubicBezTo>
                    <a:cubicBezTo>
                      <a:pt x="18" y="45"/>
                      <a:pt x="15" y="44"/>
                      <a:pt x="13" y="43"/>
                    </a:cubicBezTo>
                    <a:cubicBezTo>
                      <a:pt x="10" y="42"/>
                      <a:pt x="8" y="40"/>
                      <a:pt x="6" y="37"/>
                    </a:cubicBezTo>
                    <a:cubicBezTo>
                      <a:pt x="2" y="32"/>
                      <a:pt x="0" y="28"/>
                      <a:pt x="0" y="24"/>
                    </a:cubicBezTo>
                    <a:cubicBezTo>
                      <a:pt x="1" y="20"/>
                      <a:pt x="2" y="17"/>
                      <a:pt x="6" y="13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1049846" name="í$ļîḋê"/>
              <p:cNvSpPr/>
              <p:nvPr/>
            </p:nvSpPr>
            <p:spPr bwMode="auto">
              <a:xfrm>
                <a:off x="1868384" y="5844178"/>
                <a:ext cx="82550" cy="82550"/>
              </a:xfrm>
              <a:custGeom>
                <a:avLst/>
                <a:gdLst>
                  <a:gd name="T0" fmla="*/ 25 w 45"/>
                  <a:gd name="T1" fmla="*/ 33 h 45"/>
                  <a:gd name="T2" fmla="*/ 29 w 45"/>
                  <a:gd name="T3" fmla="*/ 41 h 45"/>
                  <a:gd name="T4" fmla="*/ 17 w 45"/>
                  <a:gd name="T5" fmla="*/ 44 h 45"/>
                  <a:gd name="T6" fmla="*/ 6 w 45"/>
                  <a:gd name="T7" fmla="*/ 38 h 45"/>
                  <a:gd name="T8" fmla="*/ 0 w 45"/>
                  <a:gd name="T9" fmla="*/ 24 h 45"/>
                  <a:gd name="T10" fmla="*/ 8 w 45"/>
                  <a:gd name="T11" fmla="*/ 8 h 45"/>
                  <a:gd name="T12" fmla="*/ 24 w 45"/>
                  <a:gd name="T13" fmla="*/ 0 h 45"/>
                  <a:gd name="T14" fmla="*/ 39 w 45"/>
                  <a:gd name="T15" fmla="*/ 7 h 45"/>
                  <a:gd name="T16" fmla="*/ 45 w 45"/>
                  <a:gd name="T17" fmla="*/ 19 h 45"/>
                  <a:gd name="T18" fmla="*/ 42 w 45"/>
                  <a:gd name="T19" fmla="*/ 28 h 45"/>
                  <a:gd name="T20" fmla="*/ 34 w 45"/>
                  <a:gd name="T21" fmla="*/ 23 h 45"/>
                  <a:gd name="T22" fmla="*/ 36 w 45"/>
                  <a:gd name="T23" fmla="*/ 17 h 45"/>
                  <a:gd name="T24" fmla="*/ 33 w 45"/>
                  <a:gd name="T25" fmla="*/ 12 h 45"/>
                  <a:gd name="T26" fmla="*/ 25 w 45"/>
                  <a:gd name="T27" fmla="*/ 9 h 45"/>
                  <a:gd name="T28" fmla="*/ 15 w 45"/>
                  <a:gd name="T29" fmla="*/ 14 h 45"/>
                  <a:gd name="T30" fmla="*/ 8 w 45"/>
                  <a:gd name="T31" fmla="*/ 25 h 45"/>
                  <a:gd name="T32" fmla="*/ 11 w 45"/>
                  <a:gd name="T33" fmla="*/ 33 h 45"/>
                  <a:gd name="T34" fmla="*/ 17 w 45"/>
                  <a:gd name="T35" fmla="*/ 36 h 45"/>
                  <a:gd name="T36" fmla="*/ 25 w 45"/>
                  <a:gd name="T37" fmla="*/ 33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45" h="45">
                    <a:moveTo>
                      <a:pt x="25" y="33"/>
                    </a:moveTo>
                    <a:cubicBezTo>
                      <a:pt x="29" y="41"/>
                      <a:pt x="29" y="41"/>
                      <a:pt x="29" y="41"/>
                    </a:cubicBezTo>
                    <a:cubicBezTo>
                      <a:pt x="25" y="44"/>
                      <a:pt x="21" y="45"/>
                      <a:pt x="17" y="44"/>
                    </a:cubicBezTo>
                    <a:cubicBezTo>
                      <a:pt x="13" y="44"/>
                      <a:pt x="9" y="42"/>
                      <a:pt x="6" y="38"/>
                    </a:cubicBezTo>
                    <a:cubicBezTo>
                      <a:pt x="2" y="34"/>
                      <a:pt x="0" y="29"/>
                      <a:pt x="0" y="24"/>
                    </a:cubicBezTo>
                    <a:cubicBezTo>
                      <a:pt x="0" y="19"/>
                      <a:pt x="3" y="13"/>
                      <a:pt x="8" y="8"/>
                    </a:cubicBezTo>
                    <a:cubicBezTo>
                      <a:pt x="13" y="3"/>
                      <a:pt x="18" y="1"/>
                      <a:pt x="24" y="0"/>
                    </a:cubicBezTo>
                    <a:cubicBezTo>
                      <a:pt x="29" y="0"/>
                      <a:pt x="34" y="2"/>
                      <a:pt x="39" y="7"/>
                    </a:cubicBezTo>
                    <a:cubicBezTo>
                      <a:pt x="42" y="10"/>
                      <a:pt x="44" y="15"/>
                      <a:pt x="45" y="19"/>
                    </a:cubicBezTo>
                    <a:cubicBezTo>
                      <a:pt x="45" y="22"/>
                      <a:pt x="44" y="25"/>
                      <a:pt x="42" y="28"/>
                    </a:cubicBezTo>
                    <a:cubicBezTo>
                      <a:pt x="34" y="23"/>
                      <a:pt x="34" y="23"/>
                      <a:pt x="34" y="23"/>
                    </a:cubicBezTo>
                    <a:cubicBezTo>
                      <a:pt x="36" y="21"/>
                      <a:pt x="36" y="19"/>
                      <a:pt x="36" y="17"/>
                    </a:cubicBezTo>
                    <a:cubicBezTo>
                      <a:pt x="36" y="15"/>
                      <a:pt x="35" y="13"/>
                      <a:pt x="33" y="12"/>
                    </a:cubicBezTo>
                    <a:cubicBezTo>
                      <a:pt x="31" y="9"/>
                      <a:pt x="28" y="8"/>
                      <a:pt x="25" y="9"/>
                    </a:cubicBezTo>
                    <a:cubicBezTo>
                      <a:pt x="22" y="9"/>
                      <a:pt x="18" y="11"/>
                      <a:pt x="15" y="14"/>
                    </a:cubicBezTo>
                    <a:cubicBezTo>
                      <a:pt x="11" y="18"/>
                      <a:pt x="9" y="22"/>
                      <a:pt x="8" y="25"/>
                    </a:cubicBezTo>
                    <a:cubicBezTo>
                      <a:pt x="8" y="28"/>
                      <a:pt x="9" y="31"/>
                      <a:pt x="11" y="33"/>
                    </a:cubicBezTo>
                    <a:cubicBezTo>
                      <a:pt x="13" y="35"/>
                      <a:pt x="15" y="36"/>
                      <a:pt x="17" y="36"/>
                    </a:cubicBezTo>
                    <a:cubicBezTo>
                      <a:pt x="20" y="36"/>
                      <a:pt x="22" y="35"/>
                      <a:pt x="25" y="33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1049847" name="íṩḷiḋé"/>
              <p:cNvSpPr/>
              <p:nvPr/>
            </p:nvSpPr>
            <p:spPr bwMode="auto">
              <a:xfrm>
                <a:off x="1916009" y="5887040"/>
                <a:ext cx="65088" cy="71438"/>
              </a:xfrm>
              <a:custGeom>
                <a:avLst/>
                <a:gdLst>
                  <a:gd name="T0" fmla="*/ 0 w 41"/>
                  <a:gd name="T1" fmla="*/ 38 h 45"/>
                  <a:gd name="T2" fmla="*/ 34 w 41"/>
                  <a:gd name="T3" fmla="*/ 0 h 45"/>
                  <a:gd name="T4" fmla="*/ 41 w 41"/>
                  <a:gd name="T5" fmla="*/ 6 h 45"/>
                  <a:gd name="T6" fmla="*/ 8 w 41"/>
                  <a:gd name="T7" fmla="*/ 45 h 45"/>
                  <a:gd name="T8" fmla="*/ 0 w 41"/>
                  <a:gd name="T9" fmla="*/ 38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1" h="45">
                    <a:moveTo>
                      <a:pt x="0" y="38"/>
                    </a:moveTo>
                    <a:lnTo>
                      <a:pt x="34" y="0"/>
                    </a:lnTo>
                    <a:lnTo>
                      <a:pt x="41" y="6"/>
                    </a:lnTo>
                    <a:lnTo>
                      <a:pt x="8" y="45"/>
                    </a:lnTo>
                    <a:lnTo>
                      <a:pt x="0" y="38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1049848" name="îsľïďé"/>
              <p:cNvSpPr/>
              <p:nvPr/>
            </p:nvSpPr>
            <p:spPr bwMode="auto">
              <a:xfrm>
                <a:off x="1941409" y="5904503"/>
                <a:ext cx="96838" cy="101600"/>
              </a:xfrm>
              <a:custGeom>
                <a:avLst/>
                <a:gdLst>
                  <a:gd name="T0" fmla="*/ 0 w 61"/>
                  <a:gd name="T1" fmla="*/ 41 h 64"/>
                  <a:gd name="T2" fmla="*/ 31 w 61"/>
                  <a:gd name="T3" fmla="*/ 0 h 64"/>
                  <a:gd name="T4" fmla="*/ 61 w 61"/>
                  <a:gd name="T5" fmla="*/ 22 h 64"/>
                  <a:gd name="T6" fmla="*/ 56 w 61"/>
                  <a:gd name="T7" fmla="*/ 29 h 64"/>
                  <a:gd name="T8" fmla="*/ 34 w 61"/>
                  <a:gd name="T9" fmla="*/ 13 h 64"/>
                  <a:gd name="T10" fmla="*/ 27 w 61"/>
                  <a:gd name="T11" fmla="*/ 22 h 64"/>
                  <a:gd name="T12" fmla="*/ 47 w 61"/>
                  <a:gd name="T13" fmla="*/ 37 h 64"/>
                  <a:gd name="T14" fmla="*/ 42 w 61"/>
                  <a:gd name="T15" fmla="*/ 44 h 64"/>
                  <a:gd name="T16" fmla="*/ 21 w 61"/>
                  <a:gd name="T17" fmla="*/ 29 h 64"/>
                  <a:gd name="T18" fmla="*/ 13 w 61"/>
                  <a:gd name="T19" fmla="*/ 40 h 64"/>
                  <a:gd name="T20" fmla="*/ 36 w 61"/>
                  <a:gd name="T21" fmla="*/ 57 h 64"/>
                  <a:gd name="T22" fmla="*/ 31 w 61"/>
                  <a:gd name="T23" fmla="*/ 64 h 64"/>
                  <a:gd name="T24" fmla="*/ 0 w 61"/>
                  <a:gd name="T25" fmla="*/ 41 h 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1" h="64">
                    <a:moveTo>
                      <a:pt x="0" y="41"/>
                    </a:moveTo>
                    <a:lnTo>
                      <a:pt x="31" y="0"/>
                    </a:lnTo>
                    <a:lnTo>
                      <a:pt x="61" y="22"/>
                    </a:lnTo>
                    <a:lnTo>
                      <a:pt x="56" y="29"/>
                    </a:lnTo>
                    <a:lnTo>
                      <a:pt x="34" y="13"/>
                    </a:lnTo>
                    <a:lnTo>
                      <a:pt x="27" y="22"/>
                    </a:lnTo>
                    <a:lnTo>
                      <a:pt x="47" y="37"/>
                    </a:lnTo>
                    <a:lnTo>
                      <a:pt x="42" y="44"/>
                    </a:lnTo>
                    <a:lnTo>
                      <a:pt x="21" y="29"/>
                    </a:lnTo>
                    <a:lnTo>
                      <a:pt x="13" y="40"/>
                    </a:lnTo>
                    <a:lnTo>
                      <a:pt x="36" y="57"/>
                    </a:lnTo>
                    <a:lnTo>
                      <a:pt x="31" y="64"/>
                    </a:lnTo>
                    <a:lnTo>
                      <a:pt x="0" y="41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1049849" name="íśliḋé"/>
              <p:cNvSpPr/>
              <p:nvPr/>
            </p:nvSpPr>
            <p:spPr bwMode="auto">
              <a:xfrm>
                <a:off x="2004909" y="5947365"/>
                <a:ext cx="96838" cy="101600"/>
              </a:xfrm>
              <a:custGeom>
                <a:avLst/>
                <a:gdLst>
                  <a:gd name="T0" fmla="*/ 0 w 61"/>
                  <a:gd name="T1" fmla="*/ 43 h 64"/>
                  <a:gd name="T2" fmla="*/ 27 w 61"/>
                  <a:gd name="T3" fmla="*/ 0 h 64"/>
                  <a:gd name="T4" fmla="*/ 35 w 61"/>
                  <a:gd name="T5" fmla="*/ 5 h 64"/>
                  <a:gd name="T6" fmla="*/ 36 w 61"/>
                  <a:gd name="T7" fmla="*/ 45 h 64"/>
                  <a:gd name="T8" fmla="*/ 53 w 61"/>
                  <a:gd name="T9" fmla="*/ 15 h 64"/>
                  <a:gd name="T10" fmla="*/ 61 w 61"/>
                  <a:gd name="T11" fmla="*/ 21 h 64"/>
                  <a:gd name="T12" fmla="*/ 35 w 61"/>
                  <a:gd name="T13" fmla="*/ 64 h 64"/>
                  <a:gd name="T14" fmla="*/ 27 w 61"/>
                  <a:gd name="T15" fmla="*/ 59 h 64"/>
                  <a:gd name="T16" fmla="*/ 25 w 61"/>
                  <a:gd name="T17" fmla="*/ 20 h 64"/>
                  <a:gd name="T18" fmla="*/ 8 w 61"/>
                  <a:gd name="T19" fmla="*/ 49 h 64"/>
                  <a:gd name="T20" fmla="*/ 0 w 61"/>
                  <a:gd name="T21" fmla="*/ 43 h 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61" h="64">
                    <a:moveTo>
                      <a:pt x="0" y="43"/>
                    </a:moveTo>
                    <a:lnTo>
                      <a:pt x="27" y="0"/>
                    </a:lnTo>
                    <a:lnTo>
                      <a:pt x="35" y="5"/>
                    </a:lnTo>
                    <a:lnTo>
                      <a:pt x="36" y="45"/>
                    </a:lnTo>
                    <a:lnTo>
                      <a:pt x="53" y="15"/>
                    </a:lnTo>
                    <a:lnTo>
                      <a:pt x="61" y="21"/>
                    </a:lnTo>
                    <a:lnTo>
                      <a:pt x="35" y="64"/>
                    </a:lnTo>
                    <a:lnTo>
                      <a:pt x="27" y="59"/>
                    </a:lnTo>
                    <a:lnTo>
                      <a:pt x="25" y="20"/>
                    </a:lnTo>
                    <a:lnTo>
                      <a:pt x="8" y="49"/>
                    </a:lnTo>
                    <a:lnTo>
                      <a:pt x="0" y="43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1049850" name="iSļiďê"/>
              <p:cNvSpPr/>
              <p:nvPr/>
            </p:nvSpPr>
            <p:spPr bwMode="auto">
              <a:xfrm>
                <a:off x="2087459" y="5993403"/>
                <a:ext cx="79375" cy="87313"/>
              </a:xfrm>
              <a:custGeom>
                <a:avLst/>
                <a:gdLst>
                  <a:gd name="T0" fmla="*/ 28 w 43"/>
                  <a:gd name="T1" fmla="*/ 33 h 47"/>
                  <a:gd name="T2" fmla="*/ 34 w 43"/>
                  <a:gd name="T3" fmla="*/ 39 h 47"/>
                  <a:gd name="T4" fmla="*/ 24 w 43"/>
                  <a:gd name="T5" fmla="*/ 46 h 47"/>
                  <a:gd name="T6" fmla="*/ 12 w 43"/>
                  <a:gd name="T7" fmla="*/ 44 h 47"/>
                  <a:gd name="T8" fmla="*/ 1 w 43"/>
                  <a:gd name="T9" fmla="*/ 33 h 47"/>
                  <a:gd name="T10" fmla="*/ 3 w 43"/>
                  <a:gd name="T11" fmla="*/ 15 h 47"/>
                  <a:gd name="T12" fmla="*/ 15 w 43"/>
                  <a:gd name="T13" fmla="*/ 2 h 47"/>
                  <a:gd name="T14" fmla="*/ 32 w 43"/>
                  <a:gd name="T15" fmla="*/ 3 h 47"/>
                  <a:gd name="T16" fmla="*/ 41 w 43"/>
                  <a:gd name="T17" fmla="*/ 13 h 47"/>
                  <a:gd name="T18" fmla="*/ 42 w 43"/>
                  <a:gd name="T19" fmla="*/ 22 h 47"/>
                  <a:gd name="T20" fmla="*/ 33 w 43"/>
                  <a:gd name="T21" fmla="*/ 20 h 47"/>
                  <a:gd name="T22" fmla="*/ 33 w 43"/>
                  <a:gd name="T23" fmla="*/ 14 h 47"/>
                  <a:gd name="T24" fmla="*/ 28 w 43"/>
                  <a:gd name="T25" fmla="*/ 10 h 47"/>
                  <a:gd name="T26" fmla="*/ 19 w 43"/>
                  <a:gd name="T27" fmla="*/ 10 h 47"/>
                  <a:gd name="T28" fmla="*/ 12 w 43"/>
                  <a:gd name="T29" fmla="*/ 19 h 47"/>
                  <a:gd name="T30" fmla="*/ 9 w 43"/>
                  <a:gd name="T31" fmla="*/ 31 h 47"/>
                  <a:gd name="T32" fmla="*/ 15 w 43"/>
                  <a:gd name="T33" fmla="*/ 37 h 47"/>
                  <a:gd name="T34" fmla="*/ 22 w 43"/>
                  <a:gd name="T35" fmla="*/ 38 h 47"/>
                  <a:gd name="T36" fmla="*/ 28 w 43"/>
                  <a:gd name="T37" fmla="*/ 33 h 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43" h="47">
                    <a:moveTo>
                      <a:pt x="28" y="33"/>
                    </a:moveTo>
                    <a:cubicBezTo>
                      <a:pt x="34" y="39"/>
                      <a:pt x="34" y="39"/>
                      <a:pt x="34" y="39"/>
                    </a:cubicBezTo>
                    <a:cubicBezTo>
                      <a:pt x="31" y="43"/>
                      <a:pt x="28" y="45"/>
                      <a:pt x="24" y="46"/>
                    </a:cubicBezTo>
                    <a:cubicBezTo>
                      <a:pt x="20" y="47"/>
                      <a:pt x="16" y="46"/>
                      <a:pt x="12" y="44"/>
                    </a:cubicBezTo>
                    <a:cubicBezTo>
                      <a:pt x="7" y="42"/>
                      <a:pt x="3" y="38"/>
                      <a:pt x="1" y="33"/>
                    </a:cubicBezTo>
                    <a:cubicBezTo>
                      <a:pt x="0" y="27"/>
                      <a:pt x="0" y="22"/>
                      <a:pt x="3" y="15"/>
                    </a:cubicBezTo>
                    <a:cubicBezTo>
                      <a:pt x="6" y="9"/>
                      <a:pt x="10" y="4"/>
                      <a:pt x="15" y="2"/>
                    </a:cubicBezTo>
                    <a:cubicBezTo>
                      <a:pt x="21" y="0"/>
                      <a:pt x="26" y="1"/>
                      <a:pt x="32" y="3"/>
                    </a:cubicBezTo>
                    <a:cubicBezTo>
                      <a:pt x="36" y="5"/>
                      <a:pt x="40" y="9"/>
                      <a:pt x="41" y="13"/>
                    </a:cubicBezTo>
                    <a:cubicBezTo>
                      <a:pt x="42" y="16"/>
                      <a:pt x="43" y="19"/>
                      <a:pt x="42" y="22"/>
                    </a:cubicBezTo>
                    <a:cubicBezTo>
                      <a:pt x="33" y="20"/>
                      <a:pt x="33" y="20"/>
                      <a:pt x="33" y="20"/>
                    </a:cubicBezTo>
                    <a:cubicBezTo>
                      <a:pt x="34" y="18"/>
                      <a:pt x="34" y="16"/>
                      <a:pt x="33" y="14"/>
                    </a:cubicBezTo>
                    <a:cubicBezTo>
                      <a:pt x="32" y="12"/>
                      <a:pt x="30" y="11"/>
                      <a:pt x="28" y="10"/>
                    </a:cubicBezTo>
                    <a:cubicBezTo>
                      <a:pt x="25" y="8"/>
                      <a:pt x="22" y="8"/>
                      <a:pt x="19" y="10"/>
                    </a:cubicBezTo>
                    <a:cubicBezTo>
                      <a:pt x="16" y="11"/>
                      <a:pt x="14" y="14"/>
                      <a:pt x="12" y="19"/>
                    </a:cubicBezTo>
                    <a:cubicBezTo>
                      <a:pt x="9" y="24"/>
                      <a:pt x="9" y="28"/>
                      <a:pt x="9" y="31"/>
                    </a:cubicBezTo>
                    <a:cubicBezTo>
                      <a:pt x="10" y="34"/>
                      <a:pt x="12" y="36"/>
                      <a:pt x="15" y="37"/>
                    </a:cubicBezTo>
                    <a:cubicBezTo>
                      <a:pt x="17" y="38"/>
                      <a:pt x="19" y="38"/>
                      <a:pt x="22" y="38"/>
                    </a:cubicBezTo>
                    <a:cubicBezTo>
                      <a:pt x="24" y="37"/>
                      <a:pt x="26" y="35"/>
                      <a:pt x="28" y="33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1049851" name="íSliḋé"/>
              <p:cNvSpPr/>
              <p:nvPr/>
            </p:nvSpPr>
            <p:spPr bwMode="auto">
              <a:xfrm>
                <a:off x="2157309" y="6017215"/>
                <a:ext cx="82550" cy="96838"/>
              </a:xfrm>
              <a:custGeom>
                <a:avLst/>
                <a:gdLst>
                  <a:gd name="T0" fmla="*/ 0 w 52"/>
                  <a:gd name="T1" fmla="*/ 49 h 61"/>
                  <a:gd name="T2" fmla="*/ 16 w 52"/>
                  <a:gd name="T3" fmla="*/ 0 h 61"/>
                  <a:gd name="T4" fmla="*/ 52 w 52"/>
                  <a:gd name="T5" fmla="*/ 13 h 61"/>
                  <a:gd name="T6" fmla="*/ 50 w 52"/>
                  <a:gd name="T7" fmla="*/ 21 h 61"/>
                  <a:gd name="T8" fmla="*/ 23 w 52"/>
                  <a:gd name="T9" fmla="*/ 12 h 61"/>
                  <a:gd name="T10" fmla="*/ 20 w 52"/>
                  <a:gd name="T11" fmla="*/ 22 h 61"/>
                  <a:gd name="T12" fmla="*/ 44 w 52"/>
                  <a:gd name="T13" fmla="*/ 30 h 61"/>
                  <a:gd name="T14" fmla="*/ 41 w 52"/>
                  <a:gd name="T15" fmla="*/ 38 h 61"/>
                  <a:gd name="T16" fmla="*/ 18 w 52"/>
                  <a:gd name="T17" fmla="*/ 30 h 61"/>
                  <a:gd name="T18" fmla="*/ 13 w 52"/>
                  <a:gd name="T19" fmla="*/ 43 h 61"/>
                  <a:gd name="T20" fmla="*/ 40 w 52"/>
                  <a:gd name="T21" fmla="*/ 52 h 61"/>
                  <a:gd name="T22" fmla="*/ 36 w 52"/>
                  <a:gd name="T23" fmla="*/ 61 h 61"/>
                  <a:gd name="T24" fmla="*/ 0 w 52"/>
                  <a:gd name="T25" fmla="*/ 49 h 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52" h="61">
                    <a:moveTo>
                      <a:pt x="0" y="49"/>
                    </a:moveTo>
                    <a:lnTo>
                      <a:pt x="16" y="0"/>
                    </a:lnTo>
                    <a:lnTo>
                      <a:pt x="52" y="13"/>
                    </a:lnTo>
                    <a:lnTo>
                      <a:pt x="50" y="21"/>
                    </a:lnTo>
                    <a:lnTo>
                      <a:pt x="23" y="12"/>
                    </a:lnTo>
                    <a:lnTo>
                      <a:pt x="20" y="22"/>
                    </a:lnTo>
                    <a:lnTo>
                      <a:pt x="44" y="30"/>
                    </a:lnTo>
                    <a:lnTo>
                      <a:pt x="41" y="38"/>
                    </a:lnTo>
                    <a:lnTo>
                      <a:pt x="18" y="30"/>
                    </a:lnTo>
                    <a:lnTo>
                      <a:pt x="13" y="43"/>
                    </a:lnTo>
                    <a:lnTo>
                      <a:pt x="40" y="52"/>
                    </a:lnTo>
                    <a:lnTo>
                      <a:pt x="36" y="61"/>
                    </a:lnTo>
                    <a:lnTo>
                      <a:pt x="0" y="49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1049852" name="îŝ1îḑè"/>
              <p:cNvSpPr/>
              <p:nvPr/>
            </p:nvSpPr>
            <p:spPr bwMode="auto">
              <a:xfrm>
                <a:off x="2663722" y="6026740"/>
                <a:ext cx="77788" cy="92075"/>
              </a:xfrm>
              <a:custGeom>
                <a:avLst/>
                <a:gdLst>
                  <a:gd name="T0" fmla="*/ 49 w 49"/>
                  <a:gd name="T1" fmla="*/ 42 h 58"/>
                  <a:gd name="T2" fmla="*/ 39 w 49"/>
                  <a:gd name="T3" fmla="*/ 45 h 58"/>
                  <a:gd name="T4" fmla="*/ 31 w 49"/>
                  <a:gd name="T5" fmla="*/ 36 h 58"/>
                  <a:gd name="T6" fmla="*/ 11 w 49"/>
                  <a:gd name="T7" fmla="*/ 43 h 58"/>
                  <a:gd name="T8" fmla="*/ 11 w 49"/>
                  <a:gd name="T9" fmla="*/ 55 h 58"/>
                  <a:gd name="T10" fmla="*/ 0 w 49"/>
                  <a:gd name="T11" fmla="*/ 58 h 58"/>
                  <a:gd name="T12" fmla="*/ 3 w 49"/>
                  <a:gd name="T13" fmla="*/ 3 h 58"/>
                  <a:gd name="T14" fmla="*/ 13 w 49"/>
                  <a:gd name="T15" fmla="*/ 0 h 58"/>
                  <a:gd name="T16" fmla="*/ 49 w 49"/>
                  <a:gd name="T17" fmla="*/ 42 h 58"/>
                  <a:gd name="T18" fmla="*/ 25 w 49"/>
                  <a:gd name="T19" fmla="*/ 29 h 58"/>
                  <a:gd name="T20" fmla="*/ 12 w 49"/>
                  <a:gd name="T21" fmla="*/ 14 h 58"/>
                  <a:gd name="T22" fmla="*/ 11 w 49"/>
                  <a:gd name="T23" fmla="*/ 34 h 58"/>
                  <a:gd name="T24" fmla="*/ 25 w 49"/>
                  <a:gd name="T25" fmla="*/ 29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49" h="58">
                    <a:moveTo>
                      <a:pt x="49" y="42"/>
                    </a:moveTo>
                    <a:lnTo>
                      <a:pt x="39" y="45"/>
                    </a:lnTo>
                    <a:lnTo>
                      <a:pt x="31" y="36"/>
                    </a:lnTo>
                    <a:lnTo>
                      <a:pt x="11" y="43"/>
                    </a:lnTo>
                    <a:lnTo>
                      <a:pt x="11" y="55"/>
                    </a:lnTo>
                    <a:lnTo>
                      <a:pt x="0" y="58"/>
                    </a:lnTo>
                    <a:lnTo>
                      <a:pt x="3" y="3"/>
                    </a:lnTo>
                    <a:lnTo>
                      <a:pt x="13" y="0"/>
                    </a:lnTo>
                    <a:lnTo>
                      <a:pt x="49" y="42"/>
                    </a:lnTo>
                    <a:close/>
                    <a:moveTo>
                      <a:pt x="25" y="29"/>
                    </a:moveTo>
                    <a:lnTo>
                      <a:pt x="12" y="14"/>
                    </a:lnTo>
                    <a:lnTo>
                      <a:pt x="11" y="34"/>
                    </a:lnTo>
                    <a:lnTo>
                      <a:pt x="25" y="29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1049853" name="íṩḻiḋê"/>
              <p:cNvSpPr/>
              <p:nvPr/>
            </p:nvSpPr>
            <p:spPr bwMode="auto">
              <a:xfrm>
                <a:off x="2714522" y="5990228"/>
                <a:ext cx="92075" cy="101600"/>
              </a:xfrm>
              <a:custGeom>
                <a:avLst/>
                <a:gdLst>
                  <a:gd name="T0" fmla="*/ 21 w 58"/>
                  <a:gd name="T1" fmla="*/ 64 h 64"/>
                  <a:gd name="T2" fmla="*/ 0 w 58"/>
                  <a:gd name="T3" fmla="*/ 17 h 64"/>
                  <a:gd name="T4" fmla="*/ 9 w 58"/>
                  <a:gd name="T5" fmla="*/ 12 h 64"/>
                  <a:gd name="T6" fmla="*/ 43 w 58"/>
                  <a:gd name="T7" fmla="*/ 36 h 64"/>
                  <a:gd name="T8" fmla="*/ 29 w 58"/>
                  <a:gd name="T9" fmla="*/ 4 h 64"/>
                  <a:gd name="T10" fmla="*/ 37 w 58"/>
                  <a:gd name="T11" fmla="*/ 0 h 64"/>
                  <a:gd name="T12" fmla="*/ 58 w 58"/>
                  <a:gd name="T13" fmla="*/ 46 h 64"/>
                  <a:gd name="T14" fmla="*/ 49 w 58"/>
                  <a:gd name="T15" fmla="*/ 51 h 64"/>
                  <a:gd name="T16" fmla="*/ 16 w 58"/>
                  <a:gd name="T17" fmla="*/ 29 h 64"/>
                  <a:gd name="T18" fmla="*/ 30 w 58"/>
                  <a:gd name="T19" fmla="*/ 59 h 64"/>
                  <a:gd name="T20" fmla="*/ 21 w 58"/>
                  <a:gd name="T21" fmla="*/ 64 h 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58" h="64">
                    <a:moveTo>
                      <a:pt x="21" y="64"/>
                    </a:moveTo>
                    <a:lnTo>
                      <a:pt x="0" y="17"/>
                    </a:lnTo>
                    <a:lnTo>
                      <a:pt x="9" y="12"/>
                    </a:lnTo>
                    <a:lnTo>
                      <a:pt x="43" y="36"/>
                    </a:lnTo>
                    <a:lnTo>
                      <a:pt x="29" y="4"/>
                    </a:lnTo>
                    <a:lnTo>
                      <a:pt x="37" y="0"/>
                    </a:lnTo>
                    <a:lnTo>
                      <a:pt x="58" y="46"/>
                    </a:lnTo>
                    <a:lnTo>
                      <a:pt x="49" y="51"/>
                    </a:lnTo>
                    <a:lnTo>
                      <a:pt x="16" y="29"/>
                    </a:lnTo>
                    <a:lnTo>
                      <a:pt x="30" y="59"/>
                    </a:lnTo>
                    <a:lnTo>
                      <a:pt x="21" y="64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1049854" name="îṧľíḍe"/>
              <p:cNvSpPr/>
              <p:nvPr/>
            </p:nvSpPr>
            <p:spPr bwMode="auto">
              <a:xfrm>
                <a:off x="2781197" y="5963240"/>
                <a:ext cx="85725" cy="95250"/>
              </a:xfrm>
              <a:custGeom>
                <a:avLst/>
                <a:gdLst>
                  <a:gd name="T0" fmla="*/ 0 w 47"/>
                  <a:gd name="T1" fmla="*/ 13 h 51"/>
                  <a:gd name="T2" fmla="*/ 14 w 47"/>
                  <a:gd name="T3" fmla="*/ 4 h 51"/>
                  <a:gd name="T4" fmla="*/ 22 w 47"/>
                  <a:gd name="T5" fmla="*/ 1 h 51"/>
                  <a:gd name="T6" fmla="*/ 29 w 47"/>
                  <a:gd name="T7" fmla="*/ 1 h 51"/>
                  <a:gd name="T8" fmla="*/ 37 w 47"/>
                  <a:gd name="T9" fmla="*/ 5 h 51"/>
                  <a:gd name="T10" fmla="*/ 43 w 47"/>
                  <a:gd name="T11" fmla="*/ 14 h 51"/>
                  <a:gd name="T12" fmla="*/ 47 w 47"/>
                  <a:gd name="T13" fmla="*/ 22 h 51"/>
                  <a:gd name="T14" fmla="*/ 46 w 47"/>
                  <a:gd name="T15" fmla="*/ 31 h 51"/>
                  <a:gd name="T16" fmla="*/ 43 w 47"/>
                  <a:gd name="T17" fmla="*/ 38 h 51"/>
                  <a:gd name="T18" fmla="*/ 36 w 47"/>
                  <a:gd name="T19" fmla="*/ 42 h 51"/>
                  <a:gd name="T20" fmla="*/ 22 w 47"/>
                  <a:gd name="T21" fmla="*/ 51 h 51"/>
                  <a:gd name="T22" fmla="*/ 0 w 47"/>
                  <a:gd name="T23" fmla="*/ 13 h 51"/>
                  <a:gd name="T24" fmla="*/ 11 w 47"/>
                  <a:gd name="T25" fmla="*/ 15 h 51"/>
                  <a:gd name="T26" fmla="*/ 26 w 47"/>
                  <a:gd name="T27" fmla="*/ 40 h 51"/>
                  <a:gd name="T28" fmla="*/ 32 w 47"/>
                  <a:gd name="T29" fmla="*/ 37 h 51"/>
                  <a:gd name="T30" fmla="*/ 36 w 47"/>
                  <a:gd name="T31" fmla="*/ 33 h 51"/>
                  <a:gd name="T32" fmla="*/ 38 w 47"/>
                  <a:gd name="T33" fmla="*/ 30 h 51"/>
                  <a:gd name="T34" fmla="*/ 38 w 47"/>
                  <a:gd name="T35" fmla="*/ 25 h 51"/>
                  <a:gd name="T36" fmla="*/ 35 w 47"/>
                  <a:gd name="T37" fmla="*/ 18 h 51"/>
                  <a:gd name="T38" fmla="*/ 30 w 47"/>
                  <a:gd name="T39" fmla="*/ 11 h 51"/>
                  <a:gd name="T40" fmla="*/ 26 w 47"/>
                  <a:gd name="T41" fmla="*/ 9 h 51"/>
                  <a:gd name="T42" fmla="*/ 21 w 47"/>
                  <a:gd name="T43" fmla="*/ 9 h 51"/>
                  <a:gd name="T44" fmla="*/ 15 w 47"/>
                  <a:gd name="T45" fmla="*/ 13 h 51"/>
                  <a:gd name="T46" fmla="*/ 11 w 47"/>
                  <a:gd name="T47" fmla="*/ 15 h 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47" h="51">
                    <a:moveTo>
                      <a:pt x="0" y="13"/>
                    </a:moveTo>
                    <a:cubicBezTo>
                      <a:pt x="14" y="4"/>
                      <a:pt x="14" y="4"/>
                      <a:pt x="14" y="4"/>
                    </a:cubicBezTo>
                    <a:cubicBezTo>
                      <a:pt x="17" y="3"/>
                      <a:pt x="20" y="1"/>
                      <a:pt x="22" y="1"/>
                    </a:cubicBezTo>
                    <a:cubicBezTo>
                      <a:pt x="24" y="0"/>
                      <a:pt x="27" y="0"/>
                      <a:pt x="29" y="1"/>
                    </a:cubicBezTo>
                    <a:cubicBezTo>
                      <a:pt x="32" y="2"/>
                      <a:pt x="34" y="3"/>
                      <a:pt x="37" y="5"/>
                    </a:cubicBezTo>
                    <a:cubicBezTo>
                      <a:pt x="39" y="7"/>
                      <a:pt x="41" y="10"/>
                      <a:pt x="43" y="14"/>
                    </a:cubicBezTo>
                    <a:cubicBezTo>
                      <a:pt x="45" y="17"/>
                      <a:pt x="46" y="20"/>
                      <a:pt x="47" y="22"/>
                    </a:cubicBezTo>
                    <a:cubicBezTo>
                      <a:pt x="47" y="26"/>
                      <a:pt x="47" y="29"/>
                      <a:pt x="46" y="31"/>
                    </a:cubicBezTo>
                    <a:cubicBezTo>
                      <a:pt x="46" y="34"/>
                      <a:pt x="45" y="36"/>
                      <a:pt x="43" y="38"/>
                    </a:cubicBezTo>
                    <a:cubicBezTo>
                      <a:pt x="41" y="39"/>
                      <a:pt x="39" y="41"/>
                      <a:pt x="36" y="42"/>
                    </a:cubicBezTo>
                    <a:cubicBezTo>
                      <a:pt x="22" y="51"/>
                      <a:pt x="22" y="51"/>
                      <a:pt x="22" y="51"/>
                    </a:cubicBezTo>
                    <a:lnTo>
                      <a:pt x="0" y="13"/>
                    </a:lnTo>
                    <a:close/>
                    <a:moveTo>
                      <a:pt x="11" y="15"/>
                    </a:moveTo>
                    <a:cubicBezTo>
                      <a:pt x="26" y="40"/>
                      <a:pt x="26" y="40"/>
                      <a:pt x="26" y="40"/>
                    </a:cubicBezTo>
                    <a:cubicBezTo>
                      <a:pt x="32" y="37"/>
                      <a:pt x="32" y="37"/>
                      <a:pt x="32" y="37"/>
                    </a:cubicBezTo>
                    <a:cubicBezTo>
                      <a:pt x="34" y="35"/>
                      <a:pt x="35" y="34"/>
                      <a:pt x="36" y="33"/>
                    </a:cubicBezTo>
                    <a:cubicBezTo>
                      <a:pt x="37" y="32"/>
                      <a:pt x="38" y="31"/>
                      <a:pt x="38" y="30"/>
                    </a:cubicBezTo>
                    <a:cubicBezTo>
                      <a:pt x="39" y="29"/>
                      <a:pt x="39" y="27"/>
                      <a:pt x="38" y="25"/>
                    </a:cubicBezTo>
                    <a:cubicBezTo>
                      <a:pt x="38" y="23"/>
                      <a:pt x="37" y="21"/>
                      <a:pt x="35" y="18"/>
                    </a:cubicBezTo>
                    <a:cubicBezTo>
                      <a:pt x="33" y="15"/>
                      <a:pt x="32" y="13"/>
                      <a:pt x="30" y="11"/>
                    </a:cubicBezTo>
                    <a:cubicBezTo>
                      <a:pt x="29" y="10"/>
                      <a:pt x="27" y="9"/>
                      <a:pt x="26" y="9"/>
                    </a:cubicBezTo>
                    <a:cubicBezTo>
                      <a:pt x="25" y="9"/>
                      <a:pt x="23" y="9"/>
                      <a:pt x="21" y="9"/>
                    </a:cubicBezTo>
                    <a:cubicBezTo>
                      <a:pt x="20" y="10"/>
                      <a:pt x="18" y="11"/>
                      <a:pt x="15" y="13"/>
                    </a:cubicBezTo>
                    <a:lnTo>
                      <a:pt x="11" y="15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1049855" name="ïṩḻiḍe"/>
              <p:cNvSpPr/>
              <p:nvPr/>
            </p:nvSpPr>
            <p:spPr bwMode="auto">
              <a:xfrm>
                <a:off x="2876447" y="5888628"/>
                <a:ext cx="80963" cy="88900"/>
              </a:xfrm>
              <a:custGeom>
                <a:avLst/>
                <a:gdLst>
                  <a:gd name="T0" fmla="*/ 43 w 51"/>
                  <a:gd name="T1" fmla="*/ 56 h 56"/>
                  <a:gd name="T2" fmla="*/ 16 w 51"/>
                  <a:gd name="T3" fmla="*/ 22 h 56"/>
                  <a:gd name="T4" fmla="*/ 5 w 51"/>
                  <a:gd name="T5" fmla="*/ 31 h 56"/>
                  <a:gd name="T6" fmla="*/ 0 w 51"/>
                  <a:gd name="T7" fmla="*/ 25 h 56"/>
                  <a:gd name="T8" fmla="*/ 31 w 51"/>
                  <a:gd name="T9" fmla="*/ 0 h 56"/>
                  <a:gd name="T10" fmla="*/ 37 w 51"/>
                  <a:gd name="T11" fmla="*/ 7 h 56"/>
                  <a:gd name="T12" fmla="*/ 24 w 51"/>
                  <a:gd name="T13" fmla="*/ 16 h 56"/>
                  <a:gd name="T14" fmla="*/ 51 w 51"/>
                  <a:gd name="T15" fmla="*/ 49 h 56"/>
                  <a:gd name="T16" fmla="*/ 43 w 51"/>
                  <a:gd name="T17" fmla="*/ 56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1" h="56">
                    <a:moveTo>
                      <a:pt x="43" y="56"/>
                    </a:moveTo>
                    <a:lnTo>
                      <a:pt x="16" y="22"/>
                    </a:lnTo>
                    <a:lnTo>
                      <a:pt x="5" y="31"/>
                    </a:lnTo>
                    <a:lnTo>
                      <a:pt x="0" y="25"/>
                    </a:lnTo>
                    <a:lnTo>
                      <a:pt x="31" y="0"/>
                    </a:lnTo>
                    <a:lnTo>
                      <a:pt x="37" y="7"/>
                    </a:lnTo>
                    <a:lnTo>
                      <a:pt x="24" y="16"/>
                    </a:lnTo>
                    <a:lnTo>
                      <a:pt x="51" y="49"/>
                    </a:lnTo>
                    <a:lnTo>
                      <a:pt x="43" y="56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1049856" name="íśļïḓè"/>
              <p:cNvSpPr/>
              <p:nvPr/>
            </p:nvSpPr>
            <p:spPr bwMode="auto">
              <a:xfrm>
                <a:off x="2925659" y="5845765"/>
                <a:ext cx="101600" cy="100013"/>
              </a:xfrm>
              <a:custGeom>
                <a:avLst/>
                <a:gdLst>
                  <a:gd name="T0" fmla="*/ 36 w 64"/>
                  <a:gd name="T1" fmla="*/ 63 h 63"/>
                  <a:gd name="T2" fmla="*/ 0 w 64"/>
                  <a:gd name="T3" fmla="*/ 26 h 63"/>
                  <a:gd name="T4" fmla="*/ 28 w 64"/>
                  <a:gd name="T5" fmla="*/ 0 h 63"/>
                  <a:gd name="T6" fmla="*/ 34 w 64"/>
                  <a:gd name="T7" fmla="*/ 6 h 63"/>
                  <a:gd name="T8" fmla="*/ 14 w 64"/>
                  <a:gd name="T9" fmla="*/ 26 h 63"/>
                  <a:gd name="T10" fmla="*/ 22 w 64"/>
                  <a:gd name="T11" fmla="*/ 34 h 63"/>
                  <a:gd name="T12" fmla="*/ 41 w 64"/>
                  <a:gd name="T13" fmla="*/ 16 h 63"/>
                  <a:gd name="T14" fmla="*/ 47 w 64"/>
                  <a:gd name="T15" fmla="*/ 22 h 63"/>
                  <a:gd name="T16" fmla="*/ 28 w 64"/>
                  <a:gd name="T17" fmla="*/ 39 h 63"/>
                  <a:gd name="T18" fmla="*/ 38 w 64"/>
                  <a:gd name="T19" fmla="*/ 50 h 63"/>
                  <a:gd name="T20" fmla="*/ 58 w 64"/>
                  <a:gd name="T21" fmla="*/ 30 h 63"/>
                  <a:gd name="T22" fmla="*/ 64 w 64"/>
                  <a:gd name="T23" fmla="*/ 36 h 63"/>
                  <a:gd name="T24" fmla="*/ 36 w 64"/>
                  <a:gd name="T25" fmla="*/ 63 h 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4" h="63">
                    <a:moveTo>
                      <a:pt x="36" y="63"/>
                    </a:moveTo>
                    <a:lnTo>
                      <a:pt x="0" y="26"/>
                    </a:lnTo>
                    <a:lnTo>
                      <a:pt x="28" y="0"/>
                    </a:lnTo>
                    <a:lnTo>
                      <a:pt x="34" y="6"/>
                    </a:lnTo>
                    <a:lnTo>
                      <a:pt x="14" y="26"/>
                    </a:lnTo>
                    <a:lnTo>
                      <a:pt x="22" y="34"/>
                    </a:lnTo>
                    <a:lnTo>
                      <a:pt x="41" y="16"/>
                    </a:lnTo>
                    <a:lnTo>
                      <a:pt x="47" y="22"/>
                    </a:lnTo>
                    <a:lnTo>
                      <a:pt x="28" y="39"/>
                    </a:lnTo>
                    <a:lnTo>
                      <a:pt x="38" y="50"/>
                    </a:lnTo>
                    <a:lnTo>
                      <a:pt x="58" y="30"/>
                    </a:lnTo>
                    <a:lnTo>
                      <a:pt x="64" y="36"/>
                    </a:lnTo>
                    <a:lnTo>
                      <a:pt x="36" y="63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1049857" name="íṩḻîde"/>
              <p:cNvSpPr/>
              <p:nvPr/>
            </p:nvSpPr>
            <p:spPr bwMode="auto">
              <a:xfrm>
                <a:off x="2985984" y="5801315"/>
                <a:ext cx="82550" cy="80963"/>
              </a:xfrm>
              <a:custGeom>
                <a:avLst/>
                <a:gdLst>
                  <a:gd name="T0" fmla="*/ 34 w 45"/>
                  <a:gd name="T1" fmla="*/ 19 h 44"/>
                  <a:gd name="T2" fmla="*/ 41 w 45"/>
                  <a:gd name="T3" fmla="*/ 14 h 44"/>
                  <a:gd name="T4" fmla="*/ 45 w 45"/>
                  <a:gd name="T5" fmla="*/ 26 h 44"/>
                  <a:gd name="T6" fmla="*/ 40 w 45"/>
                  <a:gd name="T7" fmla="*/ 37 h 44"/>
                  <a:gd name="T8" fmla="*/ 26 w 45"/>
                  <a:gd name="T9" fmla="*/ 44 h 44"/>
                  <a:gd name="T10" fmla="*/ 10 w 45"/>
                  <a:gd name="T11" fmla="*/ 38 h 44"/>
                  <a:gd name="T12" fmla="*/ 1 w 45"/>
                  <a:gd name="T13" fmla="*/ 22 h 44"/>
                  <a:gd name="T14" fmla="*/ 6 w 45"/>
                  <a:gd name="T15" fmla="*/ 7 h 44"/>
                  <a:gd name="T16" fmla="*/ 18 w 45"/>
                  <a:gd name="T17" fmla="*/ 0 h 44"/>
                  <a:gd name="T18" fmla="*/ 27 w 45"/>
                  <a:gd name="T19" fmla="*/ 2 h 44"/>
                  <a:gd name="T20" fmla="*/ 23 w 45"/>
                  <a:gd name="T21" fmla="*/ 10 h 44"/>
                  <a:gd name="T22" fmla="*/ 17 w 45"/>
                  <a:gd name="T23" fmla="*/ 9 h 44"/>
                  <a:gd name="T24" fmla="*/ 11 w 45"/>
                  <a:gd name="T25" fmla="*/ 12 h 44"/>
                  <a:gd name="T26" fmla="*/ 9 w 45"/>
                  <a:gd name="T27" fmla="*/ 21 h 44"/>
                  <a:gd name="T28" fmla="*/ 15 w 45"/>
                  <a:gd name="T29" fmla="*/ 30 h 44"/>
                  <a:gd name="T30" fmla="*/ 26 w 45"/>
                  <a:gd name="T31" fmla="*/ 36 h 44"/>
                  <a:gd name="T32" fmla="*/ 34 w 45"/>
                  <a:gd name="T33" fmla="*/ 32 h 44"/>
                  <a:gd name="T34" fmla="*/ 36 w 45"/>
                  <a:gd name="T35" fmla="*/ 26 h 44"/>
                  <a:gd name="T36" fmla="*/ 34 w 45"/>
                  <a:gd name="T37" fmla="*/ 19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45" h="44">
                    <a:moveTo>
                      <a:pt x="34" y="19"/>
                    </a:moveTo>
                    <a:cubicBezTo>
                      <a:pt x="41" y="14"/>
                      <a:pt x="41" y="14"/>
                      <a:pt x="41" y="14"/>
                    </a:cubicBezTo>
                    <a:cubicBezTo>
                      <a:pt x="44" y="18"/>
                      <a:pt x="45" y="22"/>
                      <a:pt x="45" y="26"/>
                    </a:cubicBezTo>
                    <a:cubicBezTo>
                      <a:pt x="45" y="30"/>
                      <a:pt x="43" y="34"/>
                      <a:pt x="40" y="37"/>
                    </a:cubicBezTo>
                    <a:cubicBezTo>
                      <a:pt x="36" y="42"/>
                      <a:pt x="31" y="44"/>
                      <a:pt x="26" y="44"/>
                    </a:cubicBezTo>
                    <a:cubicBezTo>
                      <a:pt x="21" y="44"/>
                      <a:pt x="15" y="42"/>
                      <a:pt x="10" y="38"/>
                    </a:cubicBezTo>
                    <a:cubicBezTo>
                      <a:pt x="4" y="33"/>
                      <a:pt x="1" y="28"/>
                      <a:pt x="1" y="22"/>
                    </a:cubicBezTo>
                    <a:cubicBezTo>
                      <a:pt x="0" y="17"/>
                      <a:pt x="2" y="12"/>
                      <a:pt x="6" y="7"/>
                    </a:cubicBezTo>
                    <a:cubicBezTo>
                      <a:pt x="10" y="3"/>
                      <a:pt x="14" y="1"/>
                      <a:pt x="18" y="0"/>
                    </a:cubicBezTo>
                    <a:cubicBezTo>
                      <a:pt x="21" y="0"/>
                      <a:pt x="24" y="1"/>
                      <a:pt x="27" y="2"/>
                    </a:cubicBezTo>
                    <a:cubicBezTo>
                      <a:pt x="23" y="10"/>
                      <a:pt x="23" y="10"/>
                      <a:pt x="23" y="10"/>
                    </a:cubicBezTo>
                    <a:cubicBezTo>
                      <a:pt x="21" y="9"/>
                      <a:pt x="19" y="9"/>
                      <a:pt x="17" y="9"/>
                    </a:cubicBezTo>
                    <a:cubicBezTo>
                      <a:pt x="15" y="9"/>
                      <a:pt x="13" y="11"/>
                      <a:pt x="11" y="12"/>
                    </a:cubicBezTo>
                    <a:cubicBezTo>
                      <a:pt x="9" y="15"/>
                      <a:pt x="8" y="18"/>
                      <a:pt x="9" y="21"/>
                    </a:cubicBezTo>
                    <a:cubicBezTo>
                      <a:pt x="9" y="24"/>
                      <a:pt x="12" y="27"/>
                      <a:pt x="15" y="30"/>
                    </a:cubicBezTo>
                    <a:cubicBezTo>
                      <a:pt x="20" y="34"/>
                      <a:pt x="23" y="36"/>
                      <a:pt x="26" y="36"/>
                    </a:cubicBezTo>
                    <a:cubicBezTo>
                      <a:pt x="29" y="36"/>
                      <a:pt x="32" y="35"/>
                      <a:pt x="34" y="32"/>
                    </a:cubicBezTo>
                    <a:cubicBezTo>
                      <a:pt x="36" y="31"/>
                      <a:pt x="36" y="29"/>
                      <a:pt x="36" y="26"/>
                    </a:cubicBezTo>
                    <a:cubicBezTo>
                      <a:pt x="36" y="24"/>
                      <a:pt x="35" y="22"/>
                      <a:pt x="34" y="1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1049858" name="îŝḷïḓê"/>
              <p:cNvSpPr/>
              <p:nvPr/>
            </p:nvSpPr>
            <p:spPr bwMode="auto">
              <a:xfrm>
                <a:off x="3022497" y="5733053"/>
                <a:ext cx="103188" cy="101600"/>
              </a:xfrm>
              <a:custGeom>
                <a:avLst/>
                <a:gdLst>
                  <a:gd name="T0" fmla="*/ 42 w 65"/>
                  <a:gd name="T1" fmla="*/ 64 h 64"/>
                  <a:gd name="T2" fmla="*/ 0 w 65"/>
                  <a:gd name="T3" fmla="*/ 34 h 64"/>
                  <a:gd name="T4" fmla="*/ 6 w 65"/>
                  <a:gd name="T5" fmla="*/ 26 h 64"/>
                  <a:gd name="T6" fmla="*/ 22 w 65"/>
                  <a:gd name="T7" fmla="*/ 37 h 64"/>
                  <a:gd name="T8" fmla="*/ 33 w 65"/>
                  <a:gd name="T9" fmla="*/ 21 h 64"/>
                  <a:gd name="T10" fmla="*/ 17 w 65"/>
                  <a:gd name="T11" fmla="*/ 9 h 64"/>
                  <a:gd name="T12" fmla="*/ 23 w 65"/>
                  <a:gd name="T13" fmla="*/ 0 h 64"/>
                  <a:gd name="T14" fmla="*/ 65 w 65"/>
                  <a:gd name="T15" fmla="*/ 30 h 64"/>
                  <a:gd name="T16" fmla="*/ 59 w 65"/>
                  <a:gd name="T17" fmla="*/ 38 h 64"/>
                  <a:gd name="T18" fmla="*/ 40 w 65"/>
                  <a:gd name="T19" fmla="*/ 26 h 64"/>
                  <a:gd name="T20" fmla="*/ 29 w 65"/>
                  <a:gd name="T21" fmla="*/ 42 h 64"/>
                  <a:gd name="T22" fmla="*/ 47 w 65"/>
                  <a:gd name="T23" fmla="*/ 55 h 64"/>
                  <a:gd name="T24" fmla="*/ 42 w 65"/>
                  <a:gd name="T25" fmla="*/ 64 h 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5" h="64">
                    <a:moveTo>
                      <a:pt x="42" y="64"/>
                    </a:moveTo>
                    <a:lnTo>
                      <a:pt x="0" y="34"/>
                    </a:lnTo>
                    <a:lnTo>
                      <a:pt x="6" y="26"/>
                    </a:lnTo>
                    <a:lnTo>
                      <a:pt x="22" y="37"/>
                    </a:lnTo>
                    <a:lnTo>
                      <a:pt x="33" y="21"/>
                    </a:lnTo>
                    <a:lnTo>
                      <a:pt x="17" y="9"/>
                    </a:lnTo>
                    <a:lnTo>
                      <a:pt x="23" y="0"/>
                    </a:lnTo>
                    <a:lnTo>
                      <a:pt x="65" y="30"/>
                    </a:lnTo>
                    <a:lnTo>
                      <a:pt x="59" y="38"/>
                    </a:lnTo>
                    <a:lnTo>
                      <a:pt x="40" y="26"/>
                    </a:lnTo>
                    <a:lnTo>
                      <a:pt x="29" y="42"/>
                    </a:lnTo>
                    <a:lnTo>
                      <a:pt x="47" y="55"/>
                    </a:lnTo>
                    <a:lnTo>
                      <a:pt x="42" y="64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1049859" name="îşḷîḑe"/>
              <p:cNvSpPr/>
              <p:nvPr/>
            </p:nvSpPr>
            <p:spPr bwMode="auto">
              <a:xfrm>
                <a:off x="3062184" y="5672728"/>
                <a:ext cx="103188" cy="95250"/>
              </a:xfrm>
              <a:custGeom>
                <a:avLst/>
                <a:gdLst>
                  <a:gd name="T0" fmla="*/ 44 w 65"/>
                  <a:gd name="T1" fmla="*/ 60 h 60"/>
                  <a:gd name="T2" fmla="*/ 0 w 65"/>
                  <a:gd name="T3" fmla="*/ 34 h 60"/>
                  <a:gd name="T4" fmla="*/ 5 w 65"/>
                  <a:gd name="T5" fmla="*/ 26 h 60"/>
                  <a:gd name="T6" fmla="*/ 46 w 65"/>
                  <a:gd name="T7" fmla="*/ 24 h 60"/>
                  <a:gd name="T8" fmla="*/ 15 w 65"/>
                  <a:gd name="T9" fmla="*/ 8 h 60"/>
                  <a:gd name="T10" fmla="*/ 20 w 65"/>
                  <a:gd name="T11" fmla="*/ 0 h 60"/>
                  <a:gd name="T12" fmla="*/ 65 w 65"/>
                  <a:gd name="T13" fmla="*/ 24 h 60"/>
                  <a:gd name="T14" fmla="*/ 59 w 65"/>
                  <a:gd name="T15" fmla="*/ 33 h 60"/>
                  <a:gd name="T16" fmla="*/ 20 w 65"/>
                  <a:gd name="T17" fmla="*/ 34 h 60"/>
                  <a:gd name="T18" fmla="*/ 49 w 65"/>
                  <a:gd name="T19" fmla="*/ 52 h 60"/>
                  <a:gd name="T20" fmla="*/ 44 w 65"/>
                  <a:gd name="T21" fmla="*/ 60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65" h="60">
                    <a:moveTo>
                      <a:pt x="44" y="60"/>
                    </a:moveTo>
                    <a:lnTo>
                      <a:pt x="0" y="34"/>
                    </a:lnTo>
                    <a:lnTo>
                      <a:pt x="5" y="26"/>
                    </a:lnTo>
                    <a:lnTo>
                      <a:pt x="46" y="24"/>
                    </a:lnTo>
                    <a:lnTo>
                      <a:pt x="15" y="8"/>
                    </a:lnTo>
                    <a:lnTo>
                      <a:pt x="20" y="0"/>
                    </a:lnTo>
                    <a:lnTo>
                      <a:pt x="65" y="24"/>
                    </a:lnTo>
                    <a:lnTo>
                      <a:pt x="59" y="33"/>
                    </a:lnTo>
                    <a:lnTo>
                      <a:pt x="20" y="34"/>
                    </a:lnTo>
                    <a:lnTo>
                      <a:pt x="49" y="52"/>
                    </a:lnTo>
                    <a:lnTo>
                      <a:pt x="44" y="60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1049860" name="îşḷïḋê"/>
              <p:cNvSpPr/>
              <p:nvPr/>
            </p:nvSpPr>
            <p:spPr bwMode="auto">
              <a:xfrm>
                <a:off x="3106634" y="5606053"/>
                <a:ext cx="87313" cy="84138"/>
              </a:xfrm>
              <a:custGeom>
                <a:avLst/>
                <a:gdLst>
                  <a:gd name="T0" fmla="*/ 15 w 47"/>
                  <a:gd name="T1" fmla="*/ 43 h 46"/>
                  <a:gd name="T2" fmla="*/ 5 w 47"/>
                  <a:gd name="T3" fmla="*/ 36 h 46"/>
                  <a:gd name="T4" fmla="*/ 2 w 47"/>
                  <a:gd name="T5" fmla="*/ 30 h 46"/>
                  <a:gd name="T6" fmla="*/ 0 w 47"/>
                  <a:gd name="T7" fmla="*/ 23 h 46"/>
                  <a:gd name="T8" fmla="*/ 2 w 47"/>
                  <a:gd name="T9" fmla="*/ 14 h 46"/>
                  <a:gd name="T10" fmla="*/ 14 w 47"/>
                  <a:gd name="T11" fmla="*/ 2 h 46"/>
                  <a:gd name="T12" fmla="*/ 32 w 47"/>
                  <a:gd name="T13" fmla="*/ 3 h 46"/>
                  <a:gd name="T14" fmla="*/ 45 w 47"/>
                  <a:gd name="T15" fmla="*/ 15 h 46"/>
                  <a:gd name="T16" fmla="*/ 44 w 47"/>
                  <a:gd name="T17" fmla="*/ 32 h 46"/>
                  <a:gd name="T18" fmla="*/ 32 w 47"/>
                  <a:gd name="T19" fmla="*/ 44 h 46"/>
                  <a:gd name="T20" fmla="*/ 15 w 47"/>
                  <a:gd name="T21" fmla="*/ 43 h 46"/>
                  <a:gd name="T22" fmla="*/ 18 w 47"/>
                  <a:gd name="T23" fmla="*/ 34 h 46"/>
                  <a:gd name="T24" fmla="*/ 30 w 47"/>
                  <a:gd name="T25" fmla="*/ 35 h 46"/>
                  <a:gd name="T26" fmla="*/ 37 w 47"/>
                  <a:gd name="T27" fmla="*/ 29 h 46"/>
                  <a:gd name="T28" fmla="*/ 37 w 47"/>
                  <a:gd name="T29" fmla="*/ 19 h 46"/>
                  <a:gd name="T30" fmla="*/ 28 w 47"/>
                  <a:gd name="T31" fmla="*/ 12 h 46"/>
                  <a:gd name="T32" fmla="*/ 16 w 47"/>
                  <a:gd name="T33" fmla="*/ 10 h 46"/>
                  <a:gd name="T34" fmla="*/ 9 w 47"/>
                  <a:gd name="T35" fmla="*/ 17 h 46"/>
                  <a:gd name="T36" fmla="*/ 9 w 47"/>
                  <a:gd name="T37" fmla="*/ 27 h 46"/>
                  <a:gd name="T38" fmla="*/ 18 w 47"/>
                  <a:gd name="T39" fmla="*/ 34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47" h="46">
                    <a:moveTo>
                      <a:pt x="15" y="43"/>
                    </a:moveTo>
                    <a:cubicBezTo>
                      <a:pt x="11" y="41"/>
                      <a:pt x="8" y="39"/>
                      <a:pt x="5" y="36"/>
                    </a:cubicBezTo>
                    <a:cubicBezTo>
                      <a:pt x="4" y="34"/>
                      <a:pt x="2" y="32"/>
                      <a:pt x="2" y="30"/>
                    </a:cubicBezTo>
                    <a:cubicBezTo>
                      <a:pt x="1" y="28"/>
                      <a:pt x="0" y="26"/>
                      <a:pt x="0" y="23"/>
                    </a:cubicBezTo>
                    <a:cubicBezTo>
                      <a:pt x="0" y="20"/>
                      <a:pt x="1" y="17"/>
                      <a:pt x="2" y="14"/>
                    </a:cubicBezTo>
                    <a:cubicBezTo>
                      <a:pt x="5" y="8"/>
                      <a:pt x="9" y="4"/>
                      <a:pt x="14" y="2"/>
                    </a:cubicBezTo>
                    <a:cubicBezTo>
                      <a:pt x="19" y="0"/>
                      <a:pt x="25" y="1"/>
                      <a:pt x="32" y="3"/>
                    </a:cubicBezTo>
                    <a:cubicBezTo>
                      <a:pt x="38" y="6"/>
                      <a:pt x="43" y="10"/>
                      <a:pt x="45" y="15"/>
                    </a:cubicBezTo>
                    <a:cubicBezTo>
                      <a:pt x="47" y="21"/>
                      <a:pt x="47" y="26"/>
                      <a:pt x="44" y="32"/>
                    </a:cubicBezTo>
                    <a:cubicBezTo>
                      <a:pt x="41" y="38"/>
                      <a:pt x="38" y="42"/>
                      <a:pt x="32" y="44"/>
                    </a:cubicBezTo>
                    <a:cubicBezTo>
                      <a:pt x="27" y="46"/>
                      <a:pt x="21" y="45"/>
                      <a:pt x="15" y="43"/>
                    </a:cubicBezTo>
                    <a:close/>
                    <a:moveTo>
                      <a:pt x="18" y="34"/>
                    </a:moveTo>
                    <a:cubicBezTo>
                      <a:pt x="23" y="36"/>
                      <a:pt x="27" y="37"/>
                      <a:pt x="30" y="35"/>
                    </a:cubicBezTo>
                    <a:cubicBezTo>
                      <a:pt x="33" y="34"/>
                      <a:pt x="36" y="32"/>
                      <a:pt x="37" y="29"/>
                    </a:cubicBezTo>
                    <a:cubicBezTo>
                      <a:pt x="39" y="26"/>
                      <a:pt x="39" y="23"/>
                      <a:pt x="37" y="19"/>
                    </a:cubicBezTo>
                    <a:cubicBezTo>
                      <a:pt x="36" y="16"/>
                      <a:pt x="33" y="14"/>
                      <a:pt x="28" y="12"/>
                    </a:cubicBezTo>
                    <a:cubicBezTo>
                      <a:pt x="23" y="10"/>
                      <a:pt x="19" y="9"/>
                      <a:pt x="16" y="10"/>
                    </a:cubicBezTo>
                    <a:cubicBezTo>
                      <a:pt x="13" y="11"/>
                      <a:pt x="11" y="14"/>
                      <a:pt x="9" y="17"/>
                    </a:cubicBezTo>
                    <a:cubicBezTo>
                      <a:pt x="8" y="20"/>
                      <a:pt x="8" y="23"/>
                      <a:pt x="9" y="27"/>
                    </a:cubicBezTo>
                    <a:cubicBezTo>
                      <a:pt x="11" y="30"/>
                      <a:pt x="14" y="32"/>
                      <a:pt x="18" y="3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1049861" name="îṣlïḍè"/>
              <p:cNvSpPr/>
              <p:nvPr/>
            </p:nvSpPr>
            <p:spPr bwMode="auto">
              <a:xfrm>
                <a:off x="3128859" y="5560015"/>
                <a:ext cx="93663" cy="57150"/>
              </a:xfrm>
              <a:custGeom>
                <a:avLst/>
                <a:gdLst>
                  <a:gd name="T0" fmla="*/ 49 w 59"/>
                  <a:gd name="T1" fmla="*/ 36 h 36"/>
                  <a:gd name="T2" fmla="*/ 0 w 59"/>
                  <a:gd name="T3" fmla="*/ 21 h 36"/>
                  <a:gd name="T4" fmla="*/ 4 w 59"/>
                  <a:gd name="T5" fmla="*/ 10 h 36"/>
                  <a:gd name="T6" fmla="*/ 43 w 59"/>
                  <a:gd name="T7" fmla="*/ 24 h 36"/>
                  <a:gd name="T8" fmla="*/ 51 w 59"/>
                  <a:gd name="T9" fmla="*/ 0 h 36"/>
                  <a:gd name="T10" fmla="*/ 59 w 59"/>
                  <a:gd name="T11" fmla="*/ 2 h 36"/>
                  <a:gd name="T12" fmla="*/ 49 w 59"/>
                  <a:gd name="T13" fmla="*/ 36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59" h="36">
                    <a:moveTo>
                      <a:pt x="49" y="36"/>
                    </a:moveTo>
                    <a:lnTo>
                      <a:pt x="0" y="21"/>
                    </a:lnTo>
                    <a:lnTo>
                      <a:pt x="4" y="10"/>
                    </a:lnTo>
                    <a:lnTo>
                      <a:pt x="43" y="24"/>
                    </a:lnTo>
                    <a:lnTo>
                      <a:pt x="51" y="0"/>
                    </a:lnTo>
                    <a:lnTo>
                      <a:pt x="59" y="2"/>
                    </a:lnTo>
                    <a:lnTo>
                      <a:pt x="49" y="36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1049862" name="ïṩḷîḓê"/>
              <p:cNvSpPr/>
              <p:nvPr/>
            </p:nvSpPr>
            <p:spPr bwMode="auto">
              <a:xfrm>
                <a:off x="3152672" y="5469528"/>
                <a:ext cx="85725" cy="80963"/>
              </a:xfrm>
              <a:custGeom>
                <a:avLst/>
                <a:gdLst>
                  <a:gd name="T0" fmla="*/ 18 w 46"/>
                  <a:gd name="T1" fmla="*/ 43 h 44"/>
                  <a:gd name="T2" fmla="*/ 8 w 46"/>
                  <a:gd name="T3" fmla="*/ 38 h 44"/>
                  <a:gd name="T4" fmla="*/ 3 w 46"/>
                  <a:gd name="T5" fmla="*/ 33 h 44"/>
                  <a:gd name="T6" fmla="*/ 0 w 46"/>
                  <a:gd name="T7" fmla="*/ 27 h 44"/>
                  <a:gd name="T8" fmla="*/ 1 w 46"/>
                  <a:gd name="T9" fmla="*/ 17 h 44"/>
                  <a:gd name="T10" fmla="*/ 10 w 46"/>
                  <a:gd name="T11" fmla="*/ 3 h 44"/>
                  <a:gd name="T12" fmla="*/ 28 w 46"/>
                  <a:gd name="T13" fmla="*/ 1 h 44"/>
                  <a:gd name="T14" fmla="*/ 43 w 46"/>
                  <a:gd name="T15" fmla="*/ 11 h 44"/>
                  <a:gd name="T16" fmla="*/ 45 w 46"/>
                  <a:gd name="T17" fmla="*/ 27 h 44"/>
                  <a:gd name="T18" fmla="*/ 36 w 46"/>
                  <a:gd name="T19" fmla="*/ 41 h 44"/>
                  <a:gd name="T20" fmla="*/ 18 w 46"/>
                  <a:gd name="T21" fmla="*/ 43 h 44"/>
                  <a:gd name="T22" fmla="*/ 20 w 46"/>
                  <a:gd name="T23" fmla="*/ 34 h 44"/>
                  <a:gd name="T24" fmla="*/ 32 w 46"/>
                  <a:gd name="T25" fmla="*/ 33 h 44"/>
                  <a:gd name="T26" fmla="*/ 38 w 46"/>
                  <a:gd name="T27" fmla="*/ 25 h 44"/>
                  <a:gd name="T28" fmla="*/ 36 w 46"/>
                  <a:gd name="T29" fmla="*/ 16 h 44"/>
                  <a:gd name="T30" fmla="*/ 25 w 46"/>
                  <a:gd name="T31" fmla="*/ 10 h 44"/>
                  <a:gd name="T32" fmla="*/ 14 w 46"/>
                  <a:gd name="T33" fmla="*/ 11 h 44"/>
                  <a:gd name="T34" fmla="*/ 8 w 46"/>
                  <a:gd name="T35" fmla="*/ 19 h 44"/>
                  <a:gd name="T36" fmla="*/ 10 w 46"/>
                  <a:gd name="T37" fmla="*/ 28 h 44"/>
                  <a:gd name="T38" fmla="*/ 20 w 46"/>
                  <a:gd name="T39" fmla="*/ 34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46" h="44">
                    <a:moveTo>
                      <a:pt x="18" y="43"/>
                    </a:moveTo>
                    <a:cubicBezTo>
                      <a:pt x="14" y="42"/>
                      <a:pt x="10" y="40"/>
                      <a:pt x="8" y="38"/>
                    </a:cubicBezTo>
                    <a:cubicBezTo>
                      <a:pt x="6" y="37"/>
                      <a:pt x="4" y="35"/>
                      <a:pt x="3" y="33"/>
                    </a:cubicBezTo>
                    <a:cubicBezTo>
                      <a:pt x="1" y="31"/>
                      <a:pt x="1" y="29"/>
                      <a:pt x="0" y="27"/>
                    </a:cubicBezTo>
                    <a:cubicBezTo>
                      <a:pt x="0" y="24"/>
                      <a:pt x="0" y="21"/>
                      <a:pt x="1" y="17"/>
                    </a:cubicBezTo>
                    <a:cubicBezTo>
                      <a:pt x="2" y="11"/>
                      <a:pt x="5" y="6"/>
                      <a:pt x="10" y="3"/>
                    </a:cubicBezTo>
                    <a:cubicBezTo>
                      <a:pt x="15" y="0"/>
                      <a:pt x="21" y="0"/>
                      <a:pt x="28" y="1"/>
                    </a:cubicBezTo>
                    <a:cubicBezTo>
                      <a:pt x="34" y="3"/>
                      <a:pt x="39" y="6"/>
                      <a:pt x="43" y="11"/>
                    </a:cubicBezTo>
                    <a:cubicBezTo>
                      <a:pt x="46" y="15"/>
                      <a:pt x="46" y="21"/>
                      <a:pt x="45" y="27"/>
                    </a:cubicBezTo>
                    <a:cubicBezTo>
                      <a:pt x="44" y="33"/>
                      <a:pt x="40" y="38"/>
                      <a:pt x="36" y="41"/>
                    </a:cubicBezTo>
                    <a:cubicBezTo>
                      <a:pt x="31" y="44"/>
                      <a:pt x="25" y="44"/>
                      <a:pt x="18" y="43"/>
                    </a:cubicBezTo>
                    <a:close/>
                    <a:moveTo>
                      <a:pt x="20" y="34"/>
                    </a:moveTo>
                    <a:cubicBezTo>
                      <a:pt x="25" y="35"/>
                      <a:pt x="29" y="35"/>
                      <a:pt x="32" y="33"/>
                    </a:cubicBezTo>
                    <a:cubicBezTo>
                      <a:pt x="35" y="31"/>
                      <a:pt x="37" y="29"/>
                      <a:pt x="38" y="25"/>
                    </a:cubicBezTo>
                    <a:cubicBezTo>
                      <a:pt x="38" y="22"/>
                      <a:pt x="38" y="19"/>
                      <a:pt x="36" y="16"/>
                    </a:cubicBezTo>
                    <a:cubicBezTo>
                      <a:pt x="34" y="13"/>
                      <a:pt x="30" y="11"/>
                      <a:pt x="25" y="10"/>
                    </a:cubicBezTo>
                    <a:cubicBezTo>
                      <a:pt x="20" y="9"/>
                      <a:pt x="16" y="9"/>
                      <a:pt x="14" y="11"/>
                    </a:cubicBezTo>
                    <a:cubicBezTo>
                      <a:pt x="11" y="13"/>
                      <a:pt x="9" y="15"/>
                      <a:pt x="8" y="19"/>
                    </a:cubicBezTo>
                    <a:cubicBezTo>
                      <a:pt x="7" y="22"/>
                      <a:pt x="8" y="25"/>
                      <a:pt x="10" y="28"/>
                    </a:cubicBezTo>
                    <a:cubicBezTo>
                      <a:pt x="12" y="31"/>
                      <a:pt x="15" y="33"/>
                      <a:pt x="20" y="3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1049863" name="ïSļiďé"/>
              <p:cNvSpPr/>
              <p:nvPr/>
            </p:nvSpPr>
            <p:spPr bwMode="auto">
              <a:xfrm>
                <a:off x="3165372" y="5390153"/>
                <a:ext cx="85725" cy="77788"/>
              </a:xfrm>
              <a:custGeom>
                <a:avLst/>
                <a:gdLst>
                  <a:gd name="T0" fmla="*/ 29 w 46"/>
                  <a:gd name="T1" fmla="*/ 21 h 42"/>
                  <a:gd name="T2" fmla="*/ 22 w 46"/>
                  <a:gd name="T3" fmla="*/ 20 h 42"/>
                  <a:gd name="T4" fmla="*/ 24 w 46"/>
                  <a:gd name="T5" fmla="*/ 1 h 42"/>
                  <a:gd name="T6" fmla="*/ 41 w 46"/>
                  <a:gd name="T7" fmla="*/ 3 h 42"/>
                  <a:gd name="T8" fmla="*/ 45 w 46"/>
                  <a:gd name="T9" fmla="*/ 11 h 42"/>
                  <a:gd name="T10" fmla="*/ 46 w 46"/>
                  <a:gd name="T11" fmla="*/ 22 h 42"/>
                  <a:gd name="T12" fmla="*/ 42 w 46"/>
                  <a:gd name="T13" fmla="*/ 34 h 42"/>
                  <a:gd name="T14" fmla="*/ 33 w 46"/>
                  <a:gd name="T15" fmla="*/ 41 h 42"/>
                  <a:gd name="T16" fmla="*/ 21 w 46"/>
                  <a:gd name="T17" fmla="*/ 42 h 42"/>
                  <a:gd name="T18" fmla="*/ 9 w 46"/>
                  <a:gd name="T19" fmla="*/ 38 h 42"/>
                  <a:gd name="T20" fmla="*/ 2 w 46"/>
                  <a:gd name="T21" fmla="*/ 28 h 42"/>
                  <a:gd name="T22" fmla="*/ 1 w 46"/>
                  <a:gd name="T23" fmla="*/ 18 h 42"/>
                  <a:gd name="T24" fmla="*/ 6 w 46"/>
                  <a:gd name="T25" fmla="*/ 5 h 42"/>
                  <a:gd name="T26" fmla="*/ 16 w 46"/>
                  <a:gd name="T27" fmla="*/ 0 h 42"/>
                  <a:gd name="T28" fmla="*/ 16 w 46"/>
                  <a:gd name="T29" fmla="*/ 9 h 42"/>
                  <a:gd name="T30" fmla="*/ 11 w 46"/>
                  <a:gd name="T31" fmla="*/ 12 h 42"/>
                  <a:gd name="T32" fmla="*/ 8 w 46"/>
                  <a:gd name="T33" fmla="*/ 18 h 42"/>
                  <a:gd name="T34" fmla="*/ 11 w 46"/>
                  <a:gd name="T35" fmla="*/ 28 h 42"/>
                  <a:gd name="T36" fmla="*/ 21 w 46"/>
                  <a:gd name="T37" fmla="*/ 33 h 42"/>
                  <a:gd name="T38" fmla="*/ 34 w 46"/>
                  <a:gd name="T39" fmla="*/ 31 h 42"/>
                  <a:gd name="T40" fmla="*/ 38 w 46"/>
                  <a:gd name="T41" fmla="*/ 22 h 42"/>
                  <a:gd name="T42" fmla="*/ 38 w 46"/>
                  <a:gd name="T43" fmla="*/ 16 h 42"/>
                  <a:gd name="T44" fmla="*/ 36 w 46"/>
                  <a:gd name="T45" fmla="*/ 11 h 42"/>
                  <a:gd name="T46" fmla="*/ 30 w 46"/>
                  <a:gd name="T47" fmla="*/ 11 h 42"/>
                  <a:gd name="T48" fmla="*/ 29 w 46"/>
                  <a:gd name="T49" fmla="*/ 21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46" h="42">
                    <a:moveTo>
                      <a:pt x="29" y="21"/>
                    </a:moveTo>
                    <a:cubicBezTo>
                      <a:pt x="22" y="20"/>
                      <a:pt x="22" y="20"/>
                      <a:pt x="22" y="20"/>
                    </a:cubicBezTo>
                    <a:cubicBezTo>
                      <a:pt x="24" y="1"/>
                      <a:pt x="24" y="1"/>
                      <a:pt x="24" y="1"/>
                    </a:cubicBezTo>
                    <a:cubicBezTo>
                      <a:pt x="41" y="3"/>
                      <a:pt x="41" y="3"/>
                      <a:pt x="41" y="3"/>
                    </a:cubicBezTo>
                    <a:cubicBezTo>
                      <a:pt x="43" y="5"/>
                      <a:pt x="44" y="8"/>
                      <a:pt x="45" y="11"/>
                    </a:cubicBezTo>
                    <a:cubicBezTo>
                      <a:pt x="46" y="15"/>
                      <a:pt x="46" y="19"/>
                      <a:pt x="46" y="22"/>
                    </a:cubicBezTo>
                    <a:cubicBezTo>
                      <a:pt x="46" y="27"/>
                      <a:pt x="44" y="31"/>
                      <a:pt x="42" y="34"/>
                    </a:cubicBezTo>
                    <a:cubicBezTo>
                      <a:pt x="39" y="37"/>
                      <a:pt x="36" y="39"/>
                      <a:pt x="33" y="41"/>
                    </a:cubicBezTo>
                    <a:cubicBezTo>
                      <a:pt x="29" y="42"/>
                      <a:pt x="25" y="42"/>
                      <a:pt x="21" y="42"/>
                    </a:cubicBezTo>
                    <a:cubicBezTo>
                      <a:pt x="16" y="41"/>
                      <a:pt x="12" y="40"/>
                      <a:pt x="9" y="38"/>
                    </a:cubicBezTo>
                    <a:cubicBezTo>
                      <a:pt x="6" y="35"/>
                      <a:pt x="3" y="32"/>
                      <a:pt x="2" y="28"/>
                    </a:cubicBezTo>
                    <a:cubicBezTo>
                      <a:pt x="1" y="25"/>
                      <a:pt x="0" y="22"/>
                      <a:pt x="1" y="18"/>
                    </a:cubicBezTo>
                    <a:cubicBezTo>
                      <a:pt x="1" y="12"/>
                      <a:pt x="3" y="8"/>
                      <a:pt x="6" y="5"/>
                    </a:cubicBezTo>
                    <a:cubicBezTo>
                      <a:pt x="8" y="2"/>
                      <a:pt x="12" y="1"/>
                      <a:pt x="16" y="0"/>
                    </a:cubicBezTo>
                    <a:cubicBezTo>
                      <a:pt x="16" y="9"/>
                      <a:pt x="16" y="9"/>
                      <a:pt x="16" y="9"/>
                    </a:cubicBezTo>
                    <a:cubicBezTo>
                      <a:pt x="14" y="10"/>
                      <a:pt x="12" y="11"/>
                      <a:pt x="11" y="12"/>
                    </a:cubicBezTo>
                    <a:cubicBezTo>
                      <a:pt x="10" y="14"/>
                      <a:pt x="9" y="16"/>
                      <a:pt x="8" y="18"/>
                    </a:cubicBezTo>
                    <a:cubicBezTo>
                      <a:pt x="8" y="22"/>
                      <a:pt x="9" y="25"/>
                      <a:pt x="11" y="28"/>
                    </a:cubicBezTo>
                    <a:cubicBezTo>
                      <a:pt x="13" y="31"/>
                      <a:pt x="17" y="32"/>
                      <a:pt x="21" y="33"/>
                    </a:cubicBezTo>
                    <a:cubicBezTo>
                      <a:pt x="27" y="33"/>
                      <a:pt x="31" y="33"/>
                      <a:pt x="34" y="31"/>
                    </a:cubicBezTo>
                    <a:cubicBezTo>
                      <a:pt x="36" y="29"/>
                      <a:pt x="38" y="26"/>
                      <a:pt x="38" y="22"/>
                    </a:cubicBezTo>
                    <a:cubicBezTo>
                      <a:pt x="39" y="20"/>
                      <a:pt x="39" y="18"/>
                      <a:pt x="38" y="16"/>
                    </a:cubicBezTo>
                    <a:cubicBezTo>
                      <a:pt x="37" y="14"/>
                      <a:pt x="37" y="13"/>
                      <a:pt x="36" y="11"/>
                    </a:cubicBezTo>
                    <a:cubicBezTo>
                      <a:pt x="30" y="11"/>
                      <a:pt x="30" y="11"/>
                      <a:pt x="30" y="11"/>
                    </a:cubicBezTo>
                    <a:lnTo>
                      <a:pt x="29" y="21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1049864" name="îSḷiḋè"/>
              <p:cNvSpPr/>
              <p:nvPr/>
            </p:nvSpPr>
            <p:spPr bwMode="auto">
              <a:xfrm>
                <a:off x="3173309" y="5313953"/>
                <a:ext cx="80963" cy="76200"/>
              </a:xfrm>
              <a:custGeom>
                <a:avLst/>
                <a:gdLst>
                  <a:gd name="T0" fmla="*/ 51 w 51"/>
                  <a:gd name="T1" fmla="*/ 30 h 48"/>
                  <a:gd name="T2" fmla="*/ 29 w 51"/>
                  <a:gd name="T3" fmla="*/ 29 h 48"/>
                  <a:gd name="T4" fmla="*/ 0 w 51"/>
                  <a:gd name="T5" fmla="*/ 48 h 48"/>
                  <a:gd name="T6" fmla="*/ 0 w 51"/>
                  <a:gd name="T7" fmla="*/ 36 h 48"/>
                  <a:gd name="T8" fmla="*/ 20 w 51"/>
                  <a:gd name="T9" fmla="*/ 24 h 48"/>
                  <a:gd name="T10" fmla="*/ 0 w 51"/>
                  <a:gd name="T11" fmla="*/ 12 h 48"/>
                  <a:gd name="T12" fmla="*/ 0 w 51"/>
                  <a:gd name="T13" fmla="*/ 0 h 48"/>
                  <a:gd name="T14" fmla="*/ 30 w 51"/>
                  <a:gd name="T15" fmla="*/ 20 h 48"/>
                  <a:gd name="T16" fmla="*/ 51 w 51"/>
                  <a:gd name="T17" fmla="*/ 20 h 48"/>
                  <a:gd name="T18" fmla="*/ 51 w 51"/>
                  <a:gd name="T19" fmla="*/ 30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51" h="48">
                    <a:moveTo>
                      <a:pt x="51" y="30"/>
                    </a:moveTo>
                    <a:lnTo>
                      <a:pt x="29" y="29"/>
                    </a:lnTo>
                    <a:lnTo>
                      <a:pt x="0" y="48"/>
                    </a:lnTo>
                    <a:lnTo>
                      <a:pt x="0" y="36"/>
                    </a:lnTo>
                    <a:lnTo>
                      <a:pt x="20" y="24"/>
                    </a:lnTo>
                    <a:lnTo>
                      <a:pt x="0" y="12"/>
                    </a:lnTo>
                    <a:lnTo>
                      <a:pt x="0" y="0"/>
                    </a:lnTo>
                    <a:lnTo>
                      <a:pt x="30" y="20"/>
                    </a:lnTo>
                    <a:lnTo>
                      <a:pt x="51" y="20"/>
                    </a:lnTo>
                    <a:lnTo>
                      <a:pt x="51" y="30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1049865" name="îṣḷíḋé"/>
              <p:cNvSpPr/>
              <p:nvPr/>
            </p:nvSpPr>
            <p:spPr bwMode="auto">
              <a:xfrm>
                <a:off x="3163784" y="5193303"/>
                <a:ext cx="87313" cy="76200"/>
              </a:xfrm>
              <a:custGeom>
                <a:avLst/>
                <a:gdLst>
                  <a:gd name="T0" fmla="*/ 4 w 47"/>
                  <a:gd name="T1" fmla="*/ 41 h 41"/>
                  <a:gd name="T2" fmla="*/ 1 w 47"/>
                  <a:gd name="T3" fmla="*/ 24 h 41"/>
                  <a:gd name="T4" fmla="*/ 0 w 47"/>
                  <a:gd name="T5" fmla="*/ 16 h 41"/>
                  <a:gd name="T6" fmla="*/ 2 w 47"/>
                  <a:gd name="T7" fmla="*/ 11 h 41"/>
                  <a:gd name="T8" fmla="*/ 5 w 47"/>
                  <a:gd name="T9" fmla="*/ 7 h 41"/>
                  <a:gd name="T10" fmla="*/ 10 w 47"/>
                  <a:gd name="T11" fmla="*/ 5 h 41"/>
                  <a:gd name="T12" fmla="*/ 16 w 47"/>
                  <a:gd name="T13" fmla="*/ 6 h 41"/>
                  <a:gd name="T14" fmla="*/ 20 w 47"/>
                  <a:gd name="T15" fmla="*/ 10 h 41"/>
                  <a:gd name="T16" fmla="*/ 23 w 47"/>
                  <a:gd name="T17" fmla="*/ 3 h 41"/>
                  <a:gd name="T18" fmla="*/ 29 w 47"/>
                  <a:gd name="T19" fmla="*/ 0 h 41"/>
                  <a:gd name="T20" fmla="*/ 35 w 47"/>
                  <a:gd name="T21" fmla="*/ 1 h 41"/>
                  <a:gd name="T22" fmla="*/ 40 w 47"/>
                  <a:gd name="T23" fmla="*/ 4 h 41"/>
                  <a:gd name="T24" fmla="*/ 43 w 47"/>
                  <a:gd name="T25" fmla="*/ 10 h 41"/>
                  <a:gd name="T26" fmla="*/ 45 w 47"/>
                  <a:gd name="T27" fmla="*/ 20 h 41"/>
                  <a:gd name="T28" fmla="*/ 47 w 47"/>
                  <a:gd name="T29" fmla="*/ 35 h 41"/>
                  <a:gd name="T30" fmla="*/ 4 w 47"/>
                  <a:gd name="T31" fmla="*/ 41 h 41"/>
                  <a:gd name="T32" fmla="*/ 10 w 47"/>
                  <a:gd name="T33" fmla="*/ 31 h 41"/>
                  <a:gd name="T34" fmla="*/ 20 w 47"/>
                  <a:gd name="T35" fmla="*/ 30 h 41"/>
                  <a:gd name="T36" fmla="*/ 19 w 47"/>
                  <a:gd name="T37" fmla="*/ 24 h 41"/>
                  <a:gd name="T38" fmla="*/ 18 w 47"/>
                  <a:gd name="T39" fmla="*/ 18 h 41"/>
                  <a:gd name="T40" fmla="*/ 16 w 47"/>
                  <a:gd name="T41" fmla="*/ 15 h 41"/>
                  <a:gd name="T42" fmla="*/ 12 w 47"/>
                  <a:gd name="T43" fmla="*/ 14 h 41"/>
                  <a:gd name="T44" fmla="*/ 9 w 47"/>
                  <a:gd name="T45" fmla="*/ 15 h 41"/>
                  <a:gd name="T46" fmla="*/ 8 w 47"/>
                  <a:gd name="T47" fmla="*/ 19 h 41"/>
                  <a:gd name="T48" fmla="*/ 9 w 47"/>
                  <a:gd name="T49" fmla="*/ 26 h 41"/>
                  <a:gd name="T50" fmla="*/ 10 w 47"/>
                  <a:gd name="T51" fmla="*/ 31 h 41"/>
                  <a:gd name="T52" fmla="*/ 27 w 47"/>
                  <a:gd name="T53" fmla="*/ 29 h 41"/>
                  <a:gd name="T54" fmla="*/ 39 w 47"/>
                  <a:gd name="T55" fmla="*/ 27 h 41"/>
                  <a:gd name="T56" fmla="*/ 37 w 47"/>
                  <a:gd name="T57" fmla="*/ 19 h 41"/>
                  <a:gd name="T58" fmla="*/ 36 w 47"/>
                  <a:gd name="T59" fmla="*/ 13 h 41"/>
                  <a:gd name="T60" fmla="*/ 34 w 47"/>
                  <a:gd name="T61" fmla="*/ 10 h 41"/>
                  <a:gd name="T62" fmla="*/ 30 w 47"/>
                  <a:gd name="T63" fmla="*/ 10 h 41"/>
                  <a:gd name="T64" fmla="*/ 27 w 47"/>
                  <a:gd name="T65" fmla="*/ 11 h 41"/>
                  <a:gd name="T66" fmla="*/ 25 w 47"/>
                  <a:gd name="T67" fmla="*/ 14 h 41"/>
                  <a:gd name="T68" fmla="*/ 26 w 47"/>
                  <a:gd name="T69" fmla="*/ 22 h 41"/>
                  <a:gd name="T70" fmla="*/ 27 w 47"/>
                  <a:gd name="T71" fmla="*/ 29 h 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47" h="41">
                    <a:moveTo>
                      <a:pt x="4" y="41"/>
                    </a:moveTo>
                    <a:cubicBezTo>
                      <a:pt x="1" y="24"/>
                      <a:pt x="1" y="24"/>
                      <a:pt x="1" y="24"/>
                    </a:cubicBezTo>
                    <a:cubicBezTo>
                      <a:pt x="1" y="20"/>
                      <a:pt x="0" y="18"/>
                      <a:pt x="0" y="16"/>
                    </a:cubicBezTo>
                    <a:cubicBezTo>
                      <a:pt x="1" y="14"/>
                      <a:pt x="1" y="13"/>
                      <a:pt x="2" y="11"/>
                    </a:cubicBezTo>
                    <a:cubicBezTo>
                      <a:pt x="2" y="10"/>
                      <a:pt x="3" y="9"/>
                      <a:pt x="5" y="7"/>
                    </a:cubicBezTo>
                    <a:cubicBezTo>
                      <a:pt x="6" y="6"/>
                      <a:pt x="8" y="6"/>
                      <a:pt x="10" y="5"/>
                    </a:cubicBezTo>
                    <a:cubicBezTo>
                      <a:pt x="12" y="5"/>
                      <a:pt x="14" y="5"/>
                      <a:pt x="16" y="6"/>
                    </a:cubicBezTo>
                    <a:cubicBezTo>
                      <a:pt x="17" y="7"/>
                      <a:pt x="19" y="8"/>
                      <a:pt x="20" y="10"/>
                    </a:cubicBezTo>
                    <a:cubicBezTo>
                      <a:pt x="20" y="7"/>
                      <a:pt x="21" y="5"/>
                      <a:pt x="23" y="3"/>
                    </a:cubicBezTo>
                    <a:cubicBezTo>
                      <a:pt x="25" y="2"/>
                      <a:pt x="27" y="1"/>
                      <a:pt x="29" y="0"/>
                    </a:cubicBezTo>
                    <a:cubicBezTo>
                      <a:pt x="31" y="0"/>
                      <a:pt x="33" y="0"/>
                      <a:pt x="35" y="1"/>
                    </a:cubicBezTo>
                    <a:cubicBezTo>
                      <a:pt x="37" y="2"/>
                      <a:pt x="39" y="3"/>
                      <a:pt x="40" y="4"/>
                    </a:cubicBezTo>
                    <a:cubicBezTo>
                      <a:pt x="42" y="5"/>
                      <a:pt x="43" y="7"/>
                      <a:pt x="43" y="10"/>
                    </a:cubicBezTo>
                    <a:cubicBezTo>
                      <a:pt x="44" y="11"/>
                      <a:pt x="44" y="15"/>
                      <a:pt x="45" y="20"/>
                    </a:cubicBezTo>
                    <a:cubicBezTo>
                      <a:pt x="47" y="35"/>
                      <a:pt x="47" y="35"/>
                      <a:pt x="47" y="35"/>
                    </a:cubicBezTo>
                    <a:lnTo>
                      <a:pt x="4" y="41"/>
                    </a:lnTo>
                    <a:close/>
                    <a:moveTo>
                      <a:pt x="10" y="31"/>
                    </a:moveTo>
                    <a:cubicBezTo>
                      <a:pt x="20" y="30"/>
                      <a:pt x="20" y="30"/>
                      <a:pt x="20" y="30"/>
                    </a:cubicBezTo>
                    <a:cubicBezTo>
                      <a:pt x="19" y="24"/>
                      <a:pt x="19" y="24"/>
                      <a:pt x="19" y="24"/>
                    </a:cubicBezTo>
                    <a:cubicBezTo>
                      <a:pt x="18" y="21"/>
                      <a:pt x="18" y="19"/>
                      <a:pt x="18" y="18"/>
                    </a:cubicBezTo>
                    <a:cubicBezTo>
                      <a:pt x="17" y="16"/>
                      <a:pt x="17" y="15"/>
                      <a:pt x="16" y="15"/>
                    </a:cubicBezTo>
                    <a:cubicBezTo>
                      <a:pt x="15" y="14"/>
                      <a:pt x="14" y="14"/>
                      <a:pt x="12" y="14"/>
                    </a:cubicBezTo>
                    <a:cubicBezTo>
                      <a:pt x="11" y="14"/>
                      <a:pt x="10" y="14"/>
                      <a:pt x="9" y="15"/>
                    </a:cubicBezTo>
                    <a:cubicBezTo>
                      <a:pt x="8" y="16"/>
                      <a:pt x="8" y="17"/>
                      <a:pt x="8" y="19"/>
                    </a:cubicBezTo>
                    <a:cubicBezTo>
                      <a:pt x="8" y="20"/>
                      <a:pt x="8" y="22"/>
                      <a:pt x="9" y="26"/>
                    </a:cubicBezTo>
                    <a:lnTo>
                      <a:pt x="10" y="31"/>
                    </a:lnTo>
                    <a:close/>
                    <a:moveTo>
                      <a:pt x="27" y="29"/>
                    </a:moveTo>
                    <a:cubicBezTo>
                      <a:pt x="39" y="27"/>
                      <a:pt x="39" y="27"/>
                      <a:pt x="39" y="27"/>
                    </a:cubicBezTo>
                    <a:cubicBezTo>
                      <a:pt x="37" y="19"/>
                      <a:pt x="37" y="19"/>
                      <a:pt x="37" y="19"/>
                    </a:cubicBezTo>
                    <a:cubicBezTo>
                      <a:pt x="37" y="16"/>
                      <a:pt x="37" y="14"/>
                      <a:pt x="36" y="13"/>
                    </a:cubicBezTo>
                    <a:cubicBezTo>
                      <a:pt x="36" y="12"/>
                      <a:pt x="35" y="11"/>
                      <a:pt x="34" y="10"/>
                    </a:cubicBezTo>
                    <a:cubicBezTo>
                      <a:pt x="33" y="10"/>
                      <a:pt x="32" y="9"/>
                      <a:pt x="30" y="10"/>
                    </a:cubicBezTo>
                    <a:cubicBezTo>
                      <a:pt x="29" y="10"/>
                      <a:pt x="28" y="10"/>
                      <a:pt x="27" y="11"/>
                    </a:cubicBezTo>
                    <a:cubicBezTo>
                      <a:pt x="26" y="12"/>
                      <a:pt x="26" y="13"/>
                      <a:pt x="25" y="14"/>
                    </a:cubicBezTo>
                    <a:cubicBezTo>
                      <a:pt x="25" y="15"/>
                      <a:pt x="25" y="18"/>
                      <a:pt x="26" y="22"/>
                    </a:cubicBezTo>
                    <a:lnTo>
                      <a:pt x="27" y="29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1049866" name="îṩliďè"/>
              <p:cNvSpPr/>
              <p:nvPr/>
            </p:nvSpPr>
            <p:spPr bwMode="auto">
              <a:xfrm>
                <a:off x="3146322" y="5120278"/>
                <a:ext cx="93663" cy="79375"/>
              </a:xfrm>
              <a:custGeom>
                <a:avLst/>
                <a:gdLst>
                  <a:gd name="T0" fmla="*/ 59 w 59"/>
                  <a:gd name="T1" fmla="*/ 37 h 50"/>
                  <a:gd name="T2" fmla="*/ 9 w 59"/>
                  <a:gd name="T3" fmla="*/ 50 h 50"/>
                  <a:gd name="T4" fmla="*/ 0 w 59"/>
                  <a:gd name="T5" fmla="*/ 13 h 50"/>
                  <a:gd name="T6" fmla="*/ 8 w 59"/>
                  <a:gd name="T7" fmla="*/ 10 h 50"/>
                  <a:gd name="T8" fmla="*/ 15 w 59"/>
                  <a:gd name="T9" fmla="*/ 37 h 50"/>
                  <a:gd name="T10" fmla="*/ 25 w 59"/>
                  <a:gd name="T11" fmla="*/ 35 h 50"/>
                  <a:gd name="T12" fmla="*/ 19 w 59"/>
                  <a:gd name="T13" fmla="*/ 9 h 50"/>
                  <a:gd name="T14" fmla="*/ 27 w 59"/>
                  <a:gd name="T15" fmla="*/ 8 h 50"/>
                  <a:gd name="T16" fmla="*/ 34 w 59"/>
                  <a:gd name="T17" fmla="*/ 32 h 50"/>
                  <a:gd name="T18" fmla="*/ 47 w 59"/>
                  <a:gd name="T19" fmla="*/ 29 h 50"/>
                  <a:gd name="T20" fmla="*/ 40 w 59"/>
                  <a:gd name="T21" fmla="*/ 1 h 50"/>
                  <a:gd name="T22" fmla="*/ 49 w 59"/>
                  <a:gd name="T23" fmla="*/ 0 h 50"/>
                  <a:gd name="T24" fmla="*/ 59 w 59"/>
                  <a:gd name="T25" fmla="*/ 37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59" h="50">
                    <a:moveTo>
                      <a:pt x="59" y="37"/>
                    </a:moveTo>
                    <a:lnTo>
                      <a:pt x="9" y="50"/>
                    </a:lnTo>
                    <a:lnTo>
                      <a:pt x="0" y="13"/>
                    </a:lnTo>
                    <a:lnTo>
                      <a:pt x="8" y="10"/>
                    </a:lnTo>
                    <a:lnTo>
                      <a:pt x="15" y="37"/>
                    </a:lnTo>
                    <a:lnTo>
                      <a:pt x="25" y="35"/>
                    </a:lnTo>
                    <a:lnTo>
                      <a:pt x="19" y="9"/>
                    </a:lnTo>
                    <a:lnTo>
                      <a:pt x="27" y="8"/>
                    </a:lnTo>
                    <a:lnTo>
                      <a:pt x="34" y="32"/>
                    </a:lnTo>
                    <a:lnTo>
                      <a:pt x="47" y="29"/>
                    </a:lnTo>
                    <a:lnTo>
                      <a:pt x="40" y="1"/>
                    </a:lnTo>
                    <a:lnTo>
                      <a:pt x="49" y="0"/>
                    </a:lnTo>
                    <a:lnTo>
                      <a:pt x="59" y="37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1049867" name="iṧlíḋè"/>
              <p:cNvSpPr/>
              <p:nvPr/>
            </p:nvSpPr>
            <p:spPr bwMode="auto">
              <a:xfrm>
                <a:off x="3138384" y="5096465"/>
                <a:ext cx="82550" cy="38100"/>
              </a:xfrm>
              <a:custGeom>
                <a:avLst/>
                <a:gdLst>
                  <a:gd name="T0" fmla="*/ 52 w 52"/>
                  <a:gd name="T1" fmla="*/ 9 h 24"/>
                  <a:gd name="T2" fmla="*/ 3 w 52"/>
                  <a:gd name="T3" fmla="*/ 24 h 24"/>
                  <a:gd name="T4" fmla="*/ 0 w 52"/>
                  <a:gd name="T5" fmla="*/ 15 h 24"/>
                  <a:gd name="T6" fmla="*/ 49 w 52"/>
                  <a:gd name="T7" fmla="*/ 0 h 24"/>
                  <a:gd name="T8" fmla="*/ 52 w 52"/>
                  <a:gd name="T9" fmla="*/ 9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2" h="24">
                    <a:moveTo>
                      <a:pt x="52" y="9"/>
                    </a:moveTo>
                    <a:lnTo>
                      <a:pt x="3" y="24"/>
                    </a:lnTo>
                    <a:lnTo>
                      <a:pt x="0" y="15"/>
                    </a:lnTo>
                    <a:lnTo>
                      <a:pt x="49" y="0"/>
                    </a:lnTo>
                    <a:lnTo>
                      <a:pt x="52" y="9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1049868" name="islïḓè"/>
              <p:cNvSpPr/>
              <p:nvPr/>
            </p:nvSpPr>
            <p:spPr bwMode="auto">
              <a:xfrm>
                <a:off x="3120922" y="5047253"/>
                <a:ext cx="88900" cy="52388"/>
              </a:xfrm>
              <a:custGeom>
                <a:avLst/>
                <a:gdLst>
                  <a:gd name="T0" fmla="*/ 3 w 48"/>
                  <a:gd name="T1" fmla="*/ 20 h 28"/>
                  <a:gd name="T2" fmla="*/ 0 w 48"/>
                  <a:gd name="T3" fmla="*/ 12 h 28"/>
                  <a:gd name="T4" fmla="*/ 26 w 48"/>
                  <a:gd name="T5" fmla="*/ 2 h 28"/>
                  <a:gd name="T6" fmla="*/ 34 w 48"/>
                  <a:gd name="T7" fmla="*/ 0 h 28"/>
                  <a:gd name="T8" fmla="*/ 42 w 48"/>
                  <a:gd name="T9" fmla="*/ 3 h 28"/>
                  <a:gd name="T10" fmla="*/ 47 w 48"/>
                  <a:gd name="T11" fmla="*/ 10 h 28"/>
                  <a:gd name="T12" fmla="*/ 47 w 48"/>
                  <a:gd name="T13" fmla="*/ 21 h 28"/>
                  <a:gd name="T14" fmla="*/ 38 w 48"/>
                  <a:gd name="T15" fmla="*/ 28 h 28"/>
                  <a:gd name="T16" fmla="*/ 34 w 48"/>
                  <a:gd name="T17" fmla="*/ 20 h 28"/>
                  <a:gd name="T18" fmla="*/ 39 w 48"/>
                  <a:gd name="T19" fmla="*/ 17 h 28"/>
                  <a:gd name="T20" fmla="*/ 40 w 48"/>
                  <a:gd name="T21" fmla="*/ 13 h 28"/>
                  <a:gd name="T22" fmla="*/ 37 w 48"/>
                  <a:gd name="T23" fmla="*/ 9 h 28"/>
                  <a:gd name="T24" fmla="*/ 30 w 48"/>
                  <a:gd name="T25" fmla="*/ 10 h 28"/>
                  <a:gd name="T26" fmla="*/ 3 w 48"/>
                  <a:gd name="T27" fmla="*/ 20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48" h="28">
                    <a:moveTo>
                      <a:pt x="3" y="20"/>
                    </a:moveTo>
                    <a:cubicBezTo>
                      <a:pt x="0" y="12"/>
                      <a:pt x="0" y="12"/>
                      <a:pt x="0" y="12"/>
                    </a:cubicBezTo>
                    <a:cubicBezTo>
                      <a:pt x="26" y="2"/>
                      <a:pt x="26" y="2"/>
                      <a:pt x="26" y="2"/>
                    </a:cubicBezTo>
                    <a:cubicBezTo>
                      <a:pt x="29" y="1"/>
                      <a:pt x="32" y="0"/>
                      <a:pt x="34" y="0"/>
                    </a:cubicBezTo>
                    <a:cubicBezTo>
                      <a:pt x="37" y="0"/>
                      <a:pt x="39" y="1"/>
                      <a:pt x="42" y="3"/>
                    </a:cubicBezTo>
                    <a:cubicBezTo>
                      <a:pt x="44" y="4"/>
                      <a:pt x="46" y="7"/>
                      <a:pt x="47" y="10"/>
                    </a:cubicBezTo>
                    <a:cubicBezTo>
                      <a:pt x="48" y="14"/>
                      <a:pt x="48" y="18"/>
                      <a:pt x="47" y="21"/>
                    </a:cubicBezTo>
                    <a:cubicBezTo>
                      <a:pt x="45" y="24"/>
                      <a:pt x="42" y="26"/>
                      <a:pt x="38" y="28"/>
                    </a:cubicBezTo>
                    <a:cubicBezTo>
                      <a:pt x="34" y="20"/>
                      <a:pt x="34" y="20"/>
                      <a:pt x="34" y="20"/>
                    </a:cubicBezTo>
                    <a:cubicBezTo>
                      <a:pt x="37" y="19"/>
                      <a:pt x="38" y="18"/>
                      <a:pt x="39" y="17"/>
                    </a:cubicBezTo>
                    <a:cubicBezTo>
                      <a:pt x="40" y="16"/>
                      <a:pt x="40" y="14"/>
                      <a:pt x="40" y="13"/>
                    </a:cubicBezTo>
                    <a:cubicBezTo>
                      <a:pt x="39" y="11"/>
                      <a:pt x="38" y="10"/>
                      <a:pt x="37" y="9"/>
                    </a:cubicBezTo>
                    <a:cubicBezTo>
                      <a:pt x="35" y="9"/>
                      <a:pt x="33" y="9"/>
                      <a:pt x="30" y="10"/>
                    </a:cubicBezTo>
                    <a:lnTo>
                      <a:pt x="3" y="20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1049869" name="íṥ1iḍe"/>
              <p:cNvSpPr/>
              <p:nvPr/>
            </p:nvSpPr>
            <p:spPr bwMode="auto">
              <a:xfrm>
                <a:off x="3112984" y="5017090"/>
                <a:ext cx="80963" cy="46038"/>
              </a:xfrm>
              <a:custGeom>
                <a:avLst/>
                <a:gdLst>
                  <a:gd name="T0" fmla="*/ 51 w 51"/>
                  <a:gd name="T1" fmla="*/ 9 h 29"/>
                  <a:gd name="T2" fmla="*/ 3 w 51"/>
                  <a:gd name="T3" fmla="*/ 29 h 29"/>
                  <a:gd name="T4" fmla="*/ 0 w 51"/>
                  <a:gd name="T5" fmla="*/ 19 h 29"/>
                  <a:gd name="T6" fmla="*/ 46 w 51"/>
                  <a:gd name="T7" fmla="*/ 0 h 29"/>
                  <a:gd name="T8" fmla="*/ 51 w 51"/>
                  <a:gd name="T9" fmla="*/ 9 h 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1" h="29">
                    <a:moveTo>
                      <a:pt x="51" y="9"/>
                    </a:moveTo>
                    <a:lnTo>
                      <a:pt x="3" y="29"/>
                    </a:lnTo>
                    <a:lnTo>
                      <a:pt x="0" y="19"/>
                    </a:lnTo>
                    <a:lnTo>
                      <a:pt x="46" y="0"/>
                    </a:lnTo>
                    <a:lnTo>
                      <a:pt x="51" y="9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1049870" name="iṥľîḋé"/>
              <p:cNvSpPr/>
              <p:nvPr/>
            </p:nvSpPr>
            <p:spPr bwMode="auto">
              <a:xfrm>
                <a:off x="3081234" y="4948828"/>
                <a:ext cx="101600" cy="93663"/>
              </a:xfrm>
              <a:custGeom>
                <a:avLst/>
                <a:gdLst>
                  <a:gd name="T0" fmla="*/ 64 w 64"/>
                  <a:gd name="T1" fmla="*/ 36 h 59"/>
                  <a:gd name="T2" fmla="*/ 18 w 64"/>
                  <a:gd name="T3" fmla="*/ 59 h 59"/>
                  <a:gd name="T4" fmla="*/ 14 w 64"/>
                  <a:gd name="T5" fmla="*/ 50 h 59"/>
                  <a:gd name="T6" fmla="*/ 35 w 64"/>
                  <a:gd name="T7" fmla="*/ 16 h 59"/>
                  <a:gd name="T8" fmla="*/ 3 w 64"/>
                  <a:gd name="T9" fmla="*/ 31 h 59"/>
                  <a:gd name="T10" fmla="*/ 0 w 64"/>
                  <a:gd name="T11" fmla="*/ 22 h 59"/>
                  <a:gd name="T12" fmla="*/ 45 w 64"/>
                  <a:gd name="T13" fmla="*/ 0 h 59"/>
                  <a:gd name="T14" fmla="*/ 50 w 64"/>
                  <a:gd name="T15" fmla="*/ 8 h 59"/>
                  <a:gd name="T16" fmla="*/ 29 w 64"/>
                  <a:gd name="T17" fmla="*/ 42 h 59"/>
                  <a:gd name="T18" fmla="*/ 59 w 64"/>
                  <a:gd name="T19" fmla="*/ 26 h 59"/>
                  <a:gd name="T20" fmla="*/ 64 w 64"/>
                  <a:gd name="T21" fmla="*/ 36 h 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64" h="59">
                    <a:moveTo>
                      <a:pt x="64" y="36"/>
                    </a:moveTo>
                    <a:lnTo>
                      <a:pt x="18" y="59"/>
                    </a:lnTo>
                    <a:lnTo>
                      <a:pt x="14" y="50"/>
                    </a:lnTo>
                    <a:lnTo>
                      <a:pt x="35" y="16"/>
                    </a:lnTo>
                    <a:lnTo>
                      <a:pt x="3" y="31"/>
                    </a:lnTo>
                    <a:lnTo>
                      <a:pt x="0" y="22"/>
                    </a:lnTo>
                    <a:lnTo>
                      <a:pt x="45" y="0"/>
                    </a:lnTo>
                    <a:lnTo>
                      <a:pt x="50" y="8"/>
                    </a:lnTo>
                    <a:lnTo>
                      <a:pt x="29" y="42"/>
                    </a:lnTo>
                    <a:lnTo>
                      <a:pt x="59" y="26"/>
                    </a:lnTo>
                    <a:lnTo>
                      <a:pt x="64" y="36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1049871" name="îślidè"/>
              <p:cNvSpPr/>
              <p:nvPr/>
            </p:nvSpPr>
            <p:spPr bwMode="auto">
              <a:xfrm>
                <a:off x="3047897" y="4877390"/>
                <a:ext cx="84138" cy="88900"/>
              </a:xfrm>
              <a:custGeom>
                <a:avLst/>
                <a:gdLst>
                  <a:gd name="T0" fmla="*/ 28 w 46"/>
                  <a:gd name="T1" fmla="*/ 21 h 48"/>
                  <a:gd name="T2" fmla="*/ 22 w 46"/>
                  <a:gd name="T3" fmla="*/ 25 h 48"/>
                  <a:gd name="T4" fmla="*/ 11 w 46"/>
                  <a:gd name="T5" fmla="*/ 9 h 48"/>
                  <a:gd name="T6" fmla="*/ 26 w 46"/>
                  <a:gd name="T7" fmla="*/ 0 h 48"/>
                  <a:gd name="T8" fmla="*/ 35 w 46"/>
                  <a:gd name="T9" fmla="*/ 4 h 48"/>
                  <a:gd name="T10" fmla="*/ 42 w 46"/>
                  <a:gd name="T11" fmla="*/ 12 h 48"/>
                  <a:gd name="T12" fmla="*/ 46 w 46"/>
                  <a:gd name="T13" fmla="*/ 24 h 48"/>
                  <a:gd name="T14" fmla="*/ 43 w 46"/>
                  <a:gd name="T15" fmla="*/ 35 h 48"/>
                  <a:gd name="T16" fmla="*/ 35 w 46"/>
                  <a:gd name="T17" fmla="*/ 43 h 48"/>
                  <a:gd name="T18" fmla="*/ 23 w 46"/>
                  <a:gd name="T19" fmla="*/ 47 h 48"/>
                  <a:gd name="T20" fmla="*/ 12 w 46"/>
                  <a:gd name="T21" fmla="*/ 45 h 48"/>
                  <a:gd name="T22" fmla="*/ 4 w 46"/>
                  <a:gd name="T23" fmla="*/ 37 h 48"/>
                  <a:gd name="T24" fmla="*/ 0 w 46"/>
                  <a:gd name="T25" fmla="*/ 24 h 48"/>
                  <a:gd name="T26" fmla="*/ 5 w 46"/>
                  <a:gd name="T27" fmla="*/ 14 h 48"/>
                  <a:gd name="T28" fmla="*/ 11 w 46"/>
                  <a:gd name="T29" fmla="*/ 21 h 48"/>
                  <a:gd name="T30" fmla="*/ 9 w 46"/>
                  <a:gd name="T31" fmla="*/ 27 h 48"/>
                  <a:gd name="T32" fmla="*/ 11 w 46"/>
                  <a:gd name="T33" fmla="*/ 33 h 48"/>
                  <a:gd name="T34" fmla="*/ 19 w 46"/>
                  <a:gd name="T35" fmla="*/ 39 h 48"/>
                  <a:gd name="T36" fmla="*/ 30 w 46"/>
                  <a:gd name="T37" fmla="*/ 36 h 48"/>
                  <a:gd name="T38" fmla="*/ 38 w 46"/>
                  <a:gd name="T39" fmla="*/ 26 h 48"/>
                  <a:gd name="T40" fmla="*/ 36 w 46"/>
                  <a:gd name="T41" fmla="*/ 17 h 48"/>
                  <a:gd name="T42" fmla="*/ 32 w 46"/>
                  <a:gd name="T43" fmla="*/ 13 h 48"/>
                  <a:gd name="T44" fmla="*/ 27 w 46"/>
                  <a:gd name="T45" fmla="*/ 10 h 48"/>
                  <a:gd name="T46" fmla="*/ 23 w 46"/>
                  <a:gd name="T47" fmla="*/ 13 h 48"/>
                  <a:gd name="T48" fmla="*/ 28 w 46"/>
                  <a:gd name="T49" fmla="*/ 21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46" h="48">
                    <a:moveTo>
                      <a:pt x="28" y="21"/>
                    </a:moveTo>
                    <a:cubicBezTo>
                      <a:pt x="22" y="25"/>
                      <a:pt x="22" y="25"/>
                      <a:pt x="22" y="25"/>
                    </a:cubicBezTo>
                    <a:cubicBezTo>
                      <a:pt x="11" y="9"/>
                      <a:pt x="11" y="9"/>
                      <a:pt x="11" y="9"/>
                    </a:cubicBezTo>
                    <a:cubicBezTo>
                      <a:pt x="26" y="0"/>
                      <a:pt x="26" y="0"/>
                      <a:pt x="26" y="0"/>
                    </a:cubicBezTo>
                    <a:cubicBezTo>
                      <a:pt x="29" y="1"/>
                      <a:pt x="31" y="2"/>
                      <a:pt x="35" y="4"/>
                    </a:cubicBezTo>
                    <a:cubicBezTo>
                      <a:pt x="38" y="6"/>
                      <a:pt x="40" y="9"/>
                      <a:pt x="42" y="12"/>
                    </a:cubicBezTo>
                    <a:cubicBezTo>
                      <a:pt x="45" y="16"/>
                      <a:pt x="46" y="20"/>
                      <a:pt x="46" y="24"/>
                    </a:cubicBezTo>
                    <a:cubicBezTo>
                      <a:pt x="46" y="28"/>
                      <a:pt x="45" y="31"/>
                      <a:pt x="43" y="35"/>
                    </a:cubicBezTo>
                    <a:cubicBezTo>
                      <a:pt x="41" y="38"/>
                      <a:pt x="38" y="41"/>
                      <a:pt x="35" y="43"/>
                    </a:cubicBezTo>
                    <a:cubicBezTo>
                      <a:pt x="31" y="46"/>
                      <a:pt x="27" y="47"/>
                      <a:pt x="23" y="47"/>
                    </a:cubicBezTo>
                    <a:cubicBezTo>
                      <a:pt x="19" y="48"/>
                      <a:pt x="15" y="47"/>
                      <a:pt x="12" y="45"/>
                    </a:cubicBezTo>
                    <a:cubicBezTo>
                      <a:pt x="9" y="43"/>
                      <a:pt x="6" y="41"/>
                      <a:pt x="4" y="37"/>
                    </a:cubicBezTo>
                    <a:cubicBezTo>
                      <a:pt x="1" y="32"/>
                      <a:pt x="0" y="28"/>
                      <a:pt x="0" y="24"/>
                    </a:cubicBezTo>
                    <a:cubicBezTo>
                      <a:pt x="0" y="21"/>
                      <a:pt x="2" y="17"/>
                      <a:pt x="5" y="14"/>
                    </a:cubicBezTo>
                    <a:cubicBezTo>
                      <a:pt x="11" y="21"/>
                      <a:pt x="11" y="21"/>
                      <a:pt x="11" y="21"/>
                    </a:cubicBezTo>
                    <a:cubicBezTo>
                      <a:pt x="10" y="23"/>
                      <a:pt x="9" y="24"/>
                      <a:pt x="9" y="27"/>
                    </a:cubicBezTo>
                    <a:cubicBezTo>
                      <a:pt x="8" y="29"/>
                      <a:pt x="9" y="31"/>
                      <a:pt x="11" y="33"/>
                    </a:cubicBezTo>
                    <a:cubicBezTo>
                      <a:pt x="13" y="36"/>
                      <a:pt x="15" y="38"/>
                      <a:pt x="19" y="39"/>
                    </a:cubicBezTo>
                    <a:cubicBezTo>
                      <a:pt x="22" y="39"/>
                      <a:pt x="26" y="38"/>
                      <a:pt x="30" y="36"/>
                    </a:cubicBezTo>
                    <a:cubicBezTo>
                      <a:pt x="34" y="33"/>
                      <a:pt x="37" y="30"/>
                      <a:pt x="38" y="26"/>
                    </a:cubicBezTo>
                    <a:cubicBezTo>
                      <a:pt x="39" y="23"/>
                      <a:pt x="38" y="20"/>
                      <a:pt x="36" y="17"/>
                    </a:cubicBezTo>
                    <a:cubicBezTo>
                      <a:pt x="35" y="15"/>
                      <a:pt x="34" y="14"/>
                      <a:pt x="32" y="13"/>
                    </a:cubicBezTo>
                    <a:cubicBezTo>
                      <a:pt x="30" y="11"/>
                      <a:pt x="29" y="10"/>
                      <a:pt x="27" y="10"/>
                    </a:cubicBezTo>
                    <a:cubicBezTo>
                      <a:pt x="23" y="13"/>
                      <a:pt x="23" y="13"/>
                      <a:pt x="23" y="13"/>
                    </a:cubicBezTo>
                    <a:lnTo>
                      <a:pt x="28" y="21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1049872" name="îŝ1ide"/>
              <p:cNvSpPr/>
              <p:nvPr/>
            </p:nvSpPr>
            <p:spPr bwMode="auto">
              <a:xfrm>
                <a:off x="1981097" y="4907553"/>
                <a:ext cx="931863" cy="969963"/>
              </a:xfrm>
              <a:custGeom>
                <a:avLst/>
                <a:gdLst>
                  <a:gd name="T0" fmla="*/ 488 w 506"/>
                  <a:gd name="T1" fmla="*/ 144 h 525"/>
                  <a:gd name="T2" fmla="*/ 449 w 506"/>
                  <a:gd name="T3" fmla="*/ 161 h 525"/>
                  <a:gd name="T4" fmla="*/ 473 w 506"/>
                  <a:gd name="T5" fmla="*/ 361 h 525"/>
                  <a:gd name="T6" fmla="*/ 434 w 506"/>
                  <a:gd name="T7" fmla="*/ 382 h 525"/>
                  <a:gd name="T8" fmla="*/ 463 w 506"/>
                  <a:gd name="T9" fmla="*/ 392 h 525"/>
                  <a:gd name="T10" fmla="*/ 434 w 506"/>
                  <a:gd name="T11" fmla="*/ 455 h 525"/>
                  <a:gd name="T12" fmla="*/ 418 w 506"/>
                  <a:gd name="T13" fmla="*/ 525 h 525"/>
                  <a:gd name="T14" fmla="*/ 328 w 506"/>
                  <a:gd name="T15" fmla="*/ 392 h 525"/>
                  <a:gd name="T16" fmla="*/ 200 w 506"/>
                  <a:gd name="T17" fmla="*/ 376 h 525"/>
                  <a:gd name="T18" fmla="*/ 179 w 506"/>
                  <a:gd name="T19" fmla="*/ 525 h 525"/>
                  <a:gd name="T20" fmla="*/ 72 w 506"/>
                  <a:gd name="T21" fmla="*/ 510 h 525"/>
                  <a:gd name="T22" fmla="*/ 44 w 506"/>
                  <a:gd name="T23" fmla="*/ 439 h 525"/>
                  <a:gd name="T24" fmla="*/ 72 w 506"/>
                  <a:gd name="T25" fmla="*/ 392 h 525"/>
                  <a:gd name="T26" fmla="*/ 57 w 506"/>
                  <a:gd name="T27" fmla="*/ 382 h 525"/>
                  <a:gd name="T28" fmla="*/ 18 w 506"/>
                  <a:gd name="T29" fmla="*/ 161 h 525"/>
                  <a:gd name="T30" fmla="*/ 56 w 506"/>
                  <a:gd name="T31" fmla="*/ 144 h 525"/>
                  <a:gd name="T32" fmla="*/ 0 w 506"/>
                  <a:gd name="T33" fmla="*/ 21 h 525"/>
                  <a:gd name="T34" fmla="*/ 92 w 506"/>
                  <a:gd name="T35" fmla="*/ 21 h 525"/>
                  <a:gd name="T36" fmla="*/ 403 w 506"/>
                  <a:gd name="T37" fmla="*/ 82 h 525"/>
                  <a:gd name="T38" fmla="*/ 457 w 506"/>
                  <a:gd name="T39" fmla="*/ 0 h 525"/>
                  <a:gd name="T40" fmla="*/ 461 w 506"/>
                  <a:gd name="T41" fmla="*/ 82 h 525"/>
                  <a:gd name="T42" fmla="*/ 455 w 506"/>
                  <a:gd name="T43" fmla="*/ 24 h 525"/>
                  <a:gd name="T44" fmla="*/ 435 w 506"/>
                  <a:gd name="T45" fmla="*/ 82 h 525"/>
                  <a:gd name="T46" fmla="*/ 454 w 506"/>
                  <a:gd name="T47" fmla="*/ 127 h 525"/>
                  <a:gd name="T48" fmla="*/ 49 w 506"/>
                  <a:gd name="T49" fmla="*/ 112 h 525"/>
                  <a:gd name="T50" fmla="*/ 78 w 506"/>
                  <a:gd name="T51" fmla="*/ 127 h 525"/>
                  <a:gd name="T52" fmla="*/ 81 w 506"/>
                  <a:gd name="T53" fmla="*/ 161 h 525"/>
                  <a:gd name="T54" fmla="*/ 426 w 506"/>
                  <a:gd name="T55" fmla="*/ 145 h 525"/>
                  <a:gd name="T56" fmla="*/ 454 w 506"/>
                  <a:gd name="T57" fmla="*/ 127 h 525"/>
                  <a:gd name="T58" fmla="*/ 450 w 506"/>
                  <a:gd name="T59" fmla="*/ 178 h 525"/>
                  <a:gd name="T60" fmla="*/ 65 w 506"/>
                  <a:gd name="T61" fmla="*/ 335 h 525"/>
                  <a:gd name="T62" fmla="*/ 421 w 506"/>
                  <a:gd name="T63" fmla="*/ 349 h 525"/>
                  <a:gd name="T64" fmla="*/ 398 w 506"/>
                  <a:gd name="T65" fmla="*/ 490 h 525"/>
                  <a:gd name="T66" fmla="*/ 356 w 506"/>
                  <a:gd name="T67" fmla="*/ 371 h 525"/>
                  <a:gd name="T68" fmla="*/ 389 w 506"/>
                  <a:gd name="T69" fmla="*/ 496 h 525"/>
                  <a:gd name="T70" fmla="*/ 150 w 506"/>
                  <a:gd name="T71" fmla="*/ 496 h 525"/>
                  <a:gd name="T72" fmla="*/ 108 w 506"/>
                  <a:gd name="T73" fmla="*/ 371 h 525"/>
                  <a:gd name="T74" fmla="*/ 117 w 506"/>
                  <a:gd name="T75" fmla="*/ 496 h 525"/>
                  <a:gd name="T76" fmla="*/ 71 w 506"/>
                  <a:gd name="T77" fmla="*/ 82 h 525"/>
                  <a:gd name="T78" fmla="*/ 51 w 506"/>
                  <a:gd name="T79" fmla="*/ 24 h 525"/>
                  <a:gd name="T80" fmla="*/ 45 w 506"/>
                  <a:gd name="T81" fmla="*/ 82 h 5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506" h="525">
                    <a:moveTo>
                      <a:pt x="506" y="21"/>
                    </a:moveTo>
                    <a:cubicBezTo>
                      <a:pt x="488" y="144"/>
                      <a:pt x="488" y="144"/>
                      <a:pt x="488" y="144"/>
                    </a:cubicBezTo>
                    <a:cubicBezTo>
                      <a:pt x="450" y="144"/>
                      <a:pt x="450" y="144"/>
                      <a:pt x="450" y="144"/>
                    </a:cubicBezTo>
                    <a:cubicBezTo>
                      <a:pt x="449" y="161"/>
                      <a:pt x="449" y="161"/>
                      <a:pt x="449" y="161"/>
                    </a:cubicBezTo>
                    <a:cubicBezTo>
                      <a:pt x="488" y="161"/>
                      <a:pt x="488" y="161"/>
                      <a:pt x="488" y="161"/>
                    </a:cubicBezTo>
                    <a:cubicBezTo>
                      <a:pt x="473" y="361"/>
                      <a:pt x="473" y="361"/>
                      <a:pt x="473" y="361"/>
                    </a:cubicBezTo>
                    <a:cubicBezTo>
                      <a:pt x="473" y="372"/>
                      <a:pt x="462" y="382"/>
                      <a:pt x="450" y="382"/>
                    </a:cubicBezTo>
                    <a:cubicBezTo>
                      <a:pt x="434" y="382"/>
                      <a:pt x="434" y="382"/>
                      <a:pt x="434" y="382"/>
                    </a:cubicBezTo>
                    <a:cubicBezTo>
                      <a:pt x="434" y="392"/>
                      <a:pt x="434" y="392"/>
                      <a:pt x="434" y="392"/>
                    </a:cubicBezTo>
                    <a:cubicBezTo>
                      <a:pt x="463" y="392"/>
                      <a:pt x="463" y="392"/>
                      <a:pt x="463" y="392"/>
                    </a:cubicBezTo>
                    <a:cubicBezTo>
                      <a:pt x="463" y="439"/>
                      <a:pt x="463" y="439"/>
                      <a:pt x="463" y="439"/>
                    </a:cubicBezTo>
                    <a:cubicBezTo>
                      <a:pt x="463" y="448"/>
                      <a:pt x="450" y="455"/>
                      <a:pt x="434" y="455"/>
                    </a:cubicBezTo>
                    <a:cubicBezTo>
                      <a:pt x="434" y="510"/>
                      <a:pt x="434" y="510"/>
                      <a:pt x="434" y="510"/>
                    </a:cubicBezTo>
                    <a:cubicBezTo>
                      <a:pt x="434" y="518"/>
                      <a:pt x="427" y="525"/>
                      <a:pt x="418" y="525"/>
                    </a:cubicBezTo>
                    <a:cubicBezTo>
                      <a:pt x="328" y="525"/>
                      <a:pt x="328" y="525"/>
                      <a:pt x="328" y="525"/>
                    </a:cubicBezTo>
                    <a:cubicBezTo>
                      <a:pt x="328" y="392"/>
                      <a:pt x="328" y="392"/>
                      <a:pt x="328" y="392"/>
                    </a:cubicBezTo>
                    <a:cubicBezTo>
                      <a:pt x="328" y="383"/>
                      <a:pt x="318" y="376"/>
                      <a:pt x="307" y="376"/>
                    </a:cubicBezTo>
                    <a:cubicBezTo>
                      <a:pt x="200" y="376"/>
                      <a:pt x="200" y="376"/>
                      <a:pt x="200" y="376"/>
                    </a:cubicBezTo>
                    <a:cubicBezTo>
                      <a:pt x="188" y="376"/>
                      <a:pt x="179" y="383"/>
                      <a:pt x="179" y="392"/>
                    </a:cubicBezTo>
                    <a:cubicBezTo>
                      <a:pt x="179" y="525"/>
                      <a:pt x="179" y="525"/>
                      <a:pt x="179" y="525"/>
                    </a:cubicBezTo>
                    <a:cubicBezTo>
                      <a:pt x="89" y="525"/>
                      <a:pt x="89" y="525"/>
                      <a:pt x="89" y="525"/>
                    </a:cubicBezTo>
                    <a:cubicBezTo>
                      <a:pt x="80" y="525"/>
                      <a:pt x="72" y="518"/>
                      <a:pt x="72" y="510"/>
                    </a:cubicBezTo>
                    <a:cubicBezTo>
                      <a:pt x="72" y="455"/>
                      <a:pt x="72" y="455"/>
                      <a:pt x="72" y="455"/>
                    </a:cubicBezTo>
                    <a:cubicBezTo>
                      <a:pt x="56" y="455"/>
                      <a:pt x="44" y="448"/>
                      <a:pt x="44" y="439"/>
                    </a:cubicBezTo>
                    <a:cubicBezTo>
                      <a:pt x="44" y="392"/>
                      <a:pt x="44" y="392"/>
                      <a:pt x="44" y="392"/>
                    </a:cubicBezTo>
                    <a:cubicBezTo>
                      <a:pt x="72" y="392"/>
                      <a:pt x="72" y="392"/>
                      <a:pt x="72" y="392"/>
                    </a:cubicBezTo>
                    <a:cubicBezTo>
                      <a:pt x="72" y="382"/>
                      <a:pt x="72" y="382"/>
                      <a:pt x="72" y="382"/>
                    </a:cubicBezTo>
                    <a:cubicBezTo>
                      <a:pt x="57" y="382"/>
                      <a:pt x="57" y="382"/>
                      <a:pt x="57" y="382"/>
                    </a:cubicBezTo>
                    <a:cubicBezTo>
                      <a:pt x="44" y="382"/>
                      <a:pt x="34" y="372"/>
                      <a:pt x="34" y="361"/>
                    </a:cubicBezTo>
                    <a:cubicBezTo>
                      <a:pt x="18" y="161"/>
                      <a:pt x="18" y="161"/>
                      <a:pt x="18" y="161"/>
                    </a:cubicBezTo>
                    <a:cubicBezTo>
                      <a:pt x="58" y="161"/>
                      <a:pt x="58" y="161"/>
                      <a:pt x="58" y="161"/>
                    </a:cubicBezTo>
                    <a:cubicBezTo>
                      <a:pt x="56" y="144"/>
                      <a:pt x="56" y="144"/>
                      <a:pt x="56" y="144"/>
                    </a:cubicBezTo>
                    <a:cubicBezTo>
                      <a:pt x="18" y="144"/>
                      <a:pt x="18" y="144"/>
                      <a:pt x="18" y="144"/>
                    </a:cubicBezTo>
                    <a:cubicBezTo>
                      <a:pt x="0" y="21"/>
                      <a:pt x="0" y="21"/>
                      <a:pt x="0" y="21"/>
                    </a:cubicBezTo>
                    <a:cubicBezTo>
                      <a:pt x="2" y="7"/>
                      <a:pt x="31" y="0"/>
                      <a:pt x="49" y="0"/>
                    </a:cubicBezTo>
                    <a:cubicBezTo>
                      <a:pt x="73" y="0"/>
                      <a:pt x="80" y="3"/>
                      <a:pt x="92" y="21"/>
                    </a:cubicBezTo>
                    <a:cubicBezTo>
                      <a:pt x="103" y="82"/>
                      <a:pt x="103" y="82"/>
                      <a:pt x="103" y="82"/>
                    </a:cubicBezTo>
                    <a:cubicBezTo>
                      <a:pt x="403" y="82"/>
                      <a:pt x="403" y="82"/>
                      <a:pt x="403" y="82"/>
                    </a:cubicBezTo>
                    <a:cubicBezTo>
                      <a:pt x="415" y="21"/>
                      <a:pt x="415" y="21"/>
                      <a:pt x="415" y="21"/>
                    </a:cubicBezTo>
                    <a:cubicBezTo>
                      <a:pt x="426" y="3"/>
                      <a:pt x="433" y="0"/>
                      <a:pt x="457" y="0"/>
                    </a:cubicBezTo>
                    <a:cubicBezTo>
                      <a:pt x="475" y="0"/>
                      <a:pt x="504" y="7"/>
                      <a:pt x="506" y="21"/>
                    </a:cubicBezTo>
                    <a:close/>
                    <a:moveTo>
                      <a:pt x="461" y="82"/>
                    </a:moveTo>
                    <a:cubicBezTo>
                      <a:pt x="469" y="32"/>
                      <a:pt x="469" y="32"/>
                      <a:pt x="469" y="32"/>
                    </a:cubicBezTo>
                    <a:cubicBezTo>
                      <a:pt x="469" y="24"/>
                      <a:pt x="463" y="24"/>
                      <a:pt x="455" y="24"/>
                    </a:cubicBezTo>
                    <a:cubicBezTo>
                      <a:pt x="450" y="24"/>
                      <a:pt x="447" y="26"/>
                      <a:pt x="445" y="32"/>
                    </a:cubicBezTo>
                    <a:cubicBezTo>
                      <a:pt x="435" y="82"/>
                      <a:pt x="435" y="82"/>
                      <a:pt x="435" y="82"/>
                    </a:cubicBezTo>
                    <a:lnTo>
                      <a:pt x="461" y="82"/>
                    </a:lnTo>
                    <a:close/>
                    <a:moveTo>
                      <a:pt x="454" y="127"/>
                    </a:moveTo>
                    <a:cubicBezTo>
                      <a:pt x="457" y="112"/>
                      <a:pt x="457" y="112"/>
                      <a:pt x="457" y="112"/>
                    </a:cubicBezTo>
                    <a:cubicBezTo>
                      <a:pt x="49" y="112"/>
                      <a:pt x="49" y="112"/>
                      <a:pt x="49" y="112"/>
                    </a:cubicBezTo>
                    <a:cubicBezTo>
                      <a:pt x="52" y="127"/>
                      <a:pt x="52" y="127"/>
                      <a:pt x="52" y="127"/>
                    </a:cubicBezTo>
                    <a:cubicBezTo>
                      <a:pt x="78" y="127"/>
                      <a:pt x="78" y="127"/>
                      <a:pt x="78" y="127"/>
                    </a:cubicBezTo>
                    <a:cubicBezTo>
                      <a:pt x="80" y="145"/>
                      <a:pt x="80" y="145"/>
                      <a:pt x="80" y="145"/>
                    </a:cubicBezTo>
                    <a:cubicBezTo>
                      <a:pt x="81" y="161"/>
                      <a:pt x="81" y="161"/>
                      <a:pt x="81" y="161"/>
                    </a:cubicBezTo>
                    <a:cubicBezTo>
                      <a:pt x="425" y="161"/>
                      <a:pt x="425" y="161"/>
                      <a:pt x="425" y="161"/>
                    </a:cubicBezTo>
                    <a:cubicBezTo>
                      <a:pt x="426" y="145"/>
                      <a:pt x="426" y="145"/>
                      <a:pt x="426" y="145"/>
                    </a:cubicBezTo>
                    <a:cubicBezTo>
                      <a:pt x="428" y="127"/>
                      <a:pt x="428" y="127"/>
                      <a:pt x="428" y="127"/>
                    </a:cubicBezTo>
                    <a:lnTo>
                      <a:pt x="454" y="127"/>
                    </a:lnTo>
                    <a:close/>
                    <a:moveTo>
                      <a:pt x="441" y="335"/>
                    </a:moveTo>
                    <a:cubicBezTo>
                      <a:pt x="450" y="178"/>
                      <a:pt x="450" y="178"/>
                      <a:pt x="450" y="178"/>
                    </a:cubicBezTo>
                    <a:cubicBezTo>
                      <a:pt x="56" y="178"/>
                      <a:pt x="56" y="178"/>
                      <a:pt x="56" y="178"/>
                    </a:cubicBezTo>
                    <a:cubicBezTo>
                      <a:pt x="65" y="335"/>
                      <a:pt x="65" y="335"/>
                      <a:pt x="65" y="335"/>
                    </a:cubicBezTo>
                    <a:cubicBezTo>
                      <a:pt x="65" y="343"/>
                      <a:pt x="74" y="349"/>
                      <a:pt x="85" y="349"/>
                    </a:cubicBezTo>
                    <a:cubicBezTo>
                      <a:pt x="421" y="349"/>
                      <a:pt x="421" y="349"/>
                      <a:pt x="421" y="349"/>
                    </a:cubicBezTo>
                    <a:cubicBezTo>
                      <a:pt x="432" y="349"/>
                      <a:pt x="441" y="343"/>
                      <a:pt x="441" y="335"/>
                    </a:cubicBezTo>
                    <a:close/>
                    <a:moveTo>
                      <a:pt x="398" y="490"/>
                    </a:moveTo>
                    <a:cubicBezTo>
                      <a:pt x="398" y="371"/>
                      <a:pt x="398" y="371"/>
                      <a:pt x="398" y="371"/>
                    </a:cubicBezTo>
                    <a:cubicBezTo>
                      <a:pt x="356" y="371"/>
                      <a:pt x="356" y="371"/>
                      <a:pt x="356" y="371"/>
                    </a:cubicBezTo>
                    <a:cubicBezTo>
                      <a:pt x="356" y="496"/>
                      <a:pt x="356" y="496"/>
                      <a:pt x="356" y="496"/>
                    </a:cubicBezTo>
                    <a:cubicBezTo>
                      <a:pt x="389" y="496"/>
                      <a:pt x="389" y="496"/>
                      <a:pt x="389" y="496"/>
                    </a:cubicBezTo>
                    <a:cubicBezTo>
                      <a:pt x="394" y="496"/>
                      <a:pt x="398" y="496"/>
                      <a:pt x="398" y="490"/>
                    </a:cubicBezTo>
                    <a:close/>
                    <a:moveTo>
                      <a:pt x="150" y="496"/>
                    </a:moveTo>
                    <a:cubicBezTo>
                      <a:pt x="150" y="371"/>
                      <a:pt x="150" y="371"/>
                      <a:pt x="150" y="371"/>
                    </a:cubicBezTo>
                    <a:cubicBezTo>
                      <a:pt x="108" y="371"/>
                      <a:pt x="108" y="371"/>
                      <a:pt x="108" y="371"/>
                    </a:cubicBezTo>
                    <a:cubicBezTo>
                      <a:pt x="108" y="490"/>
                      <a:pt x="108" y="490"/>
                      <a:pt x="108" y="490"/>
                    </a:cubicBezTo>
                    <a:cubicBezTo>
                      <a:pt x="108" y="496"/>
                      <a:pt x="112" y="496"/>
                      <a:pt x="117" y="496"/>
                    </a:cubicBezTo>
                    <a:lnTo>
                      <a:pt x="150" y="496"/>
                    </a:lnTo>
                    <a:close/>
                    <a:moveTo>
                      <a:pt x="71" y="82"/>
                    </a:moveTo>
                    <a:cubicBezTo>
                      <a:pt x="61" y="32"/>
                      <a:pt x="61" y="32"/>
                      <a:pt x="61" y="32"/>
                    </a:cubicBezTo>
                    <a:cubicBezTo>
                      <a:pt x="60" y="26"/>
                      <a:pt x="57" y="24"/>
                      <a:pt x="51" y="24"/>
                    </a:cubicBezTo>
                    <a:cubicBezTo>
                      <a:pt x="43" y="24"/>
                      <a:pt x="37" y="24"/>
                      <a:pt x="37" y="32"/>
                    </a:cubicBezTo>
                    <a:cubicBezTo>
                      <a:pt x="45" y="82"/>
                      <a:pt x="45" y="82"/>
                      <a:pt x="45" y="82"/>
                    </a:cubicBezTo>
                    <a:lnTo>
                      <a:pt x="71" y="82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1049873" name="í$ḻíde"/>
              <p:cNvSpPr/>
              <p:nvPr/>
            </p:nvSpPr>
            <p:spPr bwMode="auto">
              <a:xfrm>
                <a:off x="2144609" y="5142503"/>
                <a:ext cx="604838" cy="31750"/>
              </a:xfrm>
              <a:prstGeom prst="rect">
                <a:avLst/>
              </a:pr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</p:grpSp>
      </p:grpSp>
      <p:grpSp>
        <p:nvGrpSpPr>
          <p:cNvPr id="217" name="组合 181"/>
          <p:cNvGrpSpPr/>
          <p:nvPr userDrawn="1"/>
        </p:nvGrpSpPr>
        <p:grpSpPr>
          <a:xfrm>
            <a:off x="3989822" y="1457555"/>
            <a:ext cx="1164357" cy="320434"/>
            <a:chOff x="5180266" y="4756740"/>
            <a:chExt cx="5753100" cy="1187451"/>
          </a:xfrm>
          <a:solidFill>
            <a:srgbClr val="F2C68E"/>
          </a:solidFill>
        </p:grpSpPr>
        <p:sp>
          <p:nvSpPr>
            <p:cNvPr id="1049874" name="ïṩļîḑê"/>
            <p:cNvSpPr/>
            <p:nvPr/>
          </p:nvSpPr>
          <p:spPr bwMode="auto">
            <a:xfrm>
              <a:off x="10319003" y="4805953"/>
              <a:ext cx="600075" cy="771525"/>
            </a:xfrm>
            <a:custGeom>
              <a:avLst/>
              <a:gdLst>
                <a:gd name="T0" fmla="*/ 210 w 325"/>
                <a:gd name="T1" fmla="*/ 140 h 418"/>
                <a:gd name="T2" fmla="*/ 237 w 325"/>
                <a:gd name="T3" fmla="*/ 155 h 418"/>
                <a:gd name="T4" fmla="*/ 161 w 325"/>
                <a:gd name="T5" fmla="*/ 179 h 418"/>
                <a:gd name="T6" fmla="*/ 187 w 325"/>
                <a:gd name="T7" fmla="*/ 68 h 418"/>
                <a:gd name="T8" fmla="*/ 230 w 325"/>
                <a:gd name="T9" fmla="*/ 40 h 418"/>
                <a:gd name="T10" fmla="*/ 199 w 325"/>
                <a:gd name="T11" fmla="*/ 85 h 418"/>
                <a:gd name="T12" fmla="*/ 99 w 325"/>
                <a:gd name="T13" fmla="*/ 132 h 418"/>
                <a:gd name="T14" fmla="*/ 132 w 325"/>
                <a:gd name="T15" fmla="*/ 83 h 418"/>
                <a:gd name="T16" fmla="*/ 174 w 325"/>
                <a:gd name="T17" fmla="*/ 116 h 418"/>
                <a:gd name="T18" fmla="*/ 59 w 325"/>
                <a:gd name="T19" fmla="*/ 198 h 418"/>
                <a:gd name="T20" fmla="*/ 16 w 325"/>
                <a:gd name="T21" fmla="*/ 224 h 418"/>
                <a:gd name="T22" fmla="*/ 17 w 325"/>
                <a:gd name="T23" fmla="*/ 314 h 418"/>
                <a:gd name="T24" fmla="*/ 55 w 325"/>
                <a:gd name="T25" fmla="*/ 244 h 418"/>
                <a:gd name="T26" fmla="*/ 131 w 325"/>
                <a:gd name="T27" fmla="*/ 194 h 418"/>
                <a:gd name="T28" fmla="*/ 111 w 325"/>
                <a:gd name="T29" fmla="*/ 251 h 418"/>
                <a:gd name="T30" fmla="*/ 148 w 325"/>
                <a:gd name="T31" fmla="*/ 246 h 418"/>
                <a:gd name="T32" fmla="*/ 184 w 325"/>
                <a:gd name="T33" fmla="*/ 243 h 418"/>
                <a:gd name="T34" fmla="*/ 131 w 325"/>
                <a:gd name="T35" fmla="*/ 281 h 418"/>
                <a:gd name="T36" fmla="*/ 76 w 325"/>
                <a:gd name="T37" fmla="*/ 299 h 418"/>
                <a:gd name="T38" fmla="*/ 134 w 325"/>
                <a:gd name="T39" fmla="*/ 334 h 418"/>
                <a:gd name="T40" fmla="*/ 203 w 325"/>
                <a:gd name="T41" fmla="*/ 298 h 418"/>
                <a:gd name="T42" fmla="*/ 206 w 325"/>
                <a:gd name="T43" fmla="*/ 350 h 418"/>
                <a:gd name="T44" fmla="*/ 165 w 325"/>
                <a:gd name="T45" fmla="*/ 378 h 418"/>
                <a:gd name="T46" fmla="*/ 144 w 325"/>
                <a:gd name="T47" fmla="*/ 410 h 418"/>
                <a:gd name="T48" fmla="*/ 228 w 325"/>
                <a:gd name="T49" fmla="*/ 408 h 418"/>
                <a:gd name="T50" fmla="*/ 239 w 325"/>
                <a:gd name="T51" fmla="*/ 307 h 418"/>
                <a:gd name="T52" fmla="*/ 273 w 325"/>
                <a:gd name="T53" fmla="*/ 283 h 418"/>
                <a:gd name="T54" fmla="*/ 271 w 325"/>
                <a:gd name="T55" fmla="*/ 239 h 418"/>
                <a:gd name="T56" fmla="*/ 233 w 325"/>
                <a:gd name="T57" fmla="*/ 226 h 418"/>
                <a:gd name="T58" fmla="*/ 261 w 325"/>
                <a:gd name="T59" fmla="*/ 181 h 418"/>
                <a:gd name="T60" fmla="*/ 316 w 325"/>
                <a:gd name="T61" fmla="*/ 167 h 418"/>
                <a:gd name="T62" fmla="*/ 297 w 325"/>
                <a:gd name="T63" fmla="*/ 119 h 418"/>
                <a:gd name="T64" fmla="*/ 251 w 325"/>
                <a:gd name="T65" fmla="*/ 93 h 418"/>
                <a:gd name="T66" fmla="*/ 276 w 325"/>
                <a:gd name="T67" fmla="*/ 34 h 418"/>
                <a:gd name="T68" fmla="*/ 217 w 325"/>
                <a:gd name="T69" fmla="*/ 11 h 418"/>
                <a:gd name="T70" fmla="*/ 164 w 325"/>
                <a:gd name="T71" fmla="*/ 29 h 418"/>
                <a:gd name="T72" fmla="*/ 136 w 325"/>
                <a:gd name="T73" fmla="*/ 43 h 418"/>
                <a:gd name="T74" fmla="*/ 113 w 325"/>
                <a:gd name="T75" fmla="*/ 21 h 418"/>
                <a:gd name="T76" fmla="*/ 78 w 325"/>
                <a:gd name="T77" fmla="*/ 52 h 4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325" h="418">
                  <a:moveTo>
                    <a:pt x="161" y="179"/>
                  </a:moveTo>
                  <a:cubicBezTo>
                    <a:pt x="160" y="178"/>
                    <a:pt x="188" y="143"/>
                    <a:pt x="210" y="140"/>
                  </a:cubicBezTo>
                  <a:cubicBezTo>
                    <a:pt x="232" y="137"/>
                    <a:pt x="226" y="133"/>
                    <a:pt x="238" y="138"/>
                  </a:cubicBezTo>
                  <a:cubicBezTo>
                    <a:pt x="250" y="144"/>
                    <a:pt x="252" y="148"/>
                    <a:pt x="237" y="155"/>
                  </a:cubicBezTo>
                  <a:cubicBezTo>
                    <a:pt x="222" y="162"/>
                    <a:pt x="215" y="168"/>
                    <a:pt x="196" y="171"/>
                  </a:cubicBezTo>
                  <a:cubicBezTo>
                    <a:pt x="177" y="175"/>
                    <a:pt x="163" y="181"/>
                    <a:pt x="161" y="179"/>
                  </a:cubicBezTo>
                  <a:close/>
                  <a:moveTo>
                    <a:pt x="199" y="85"/>
                  </a:moveTo>
                  <a:cubicBezTo>
                    <a:pt x="197" y="87"/>
                    <a:pt x="186" y="79"/>
                    <a:pt x="187" y="68"/>
                  </a:cubicBezTo>
                  <a:cubicBezTo>
                    <a:pt x="188" y="57"/>
                    <a:pt x="197" y="38"/>
                    <a:pt x="211" y="34"/>
                  </a:cubicBezTo>
                  <a:cubicBezTo>
                    <a:pt x="225" y="30"/>
                    <a:pt x="230" y="30"/>
                    <a:pt x="230" y="40"/>
                  </a:cubicBezTo>
                  <a:cubicBezTo>
                    <a:pt x="229" y="51"/>
                    <a:pt x="229" y="62"/>
                    <a:pt x="219" y="71"/>
                  </a:cubicBezTo>
                  <a:cubicBezTo>
                    <a:pt x="210" y="80"/>
                    <a:pt x="201" y="84"/>
                    <a:pt x="199" y="85"/>
                  </a:cubicBezTo>
                  <a:close/>
                  <a:moveTo>
                    <a:pt x="79" y="112"/>
                  </a:moveTo>
                  <a:cubicBezTo>
                    <a:pt x="79" y="113"/>
                    <a:pt x="87" y="125"/>
                    <a:pt x="99" y="132"/>
                  </a:cubicBezTo>
                  <a:cubicBezTo>
                    <a:pt x="112" y="138"/>
                    <a:pt x="119" y="135"/>
                    <a:pt x="129" y="127"/>
                  </a:cubicBezTo>
                  <a:cubicBezTo>
                    <a:pt x="139" y="118"/>
                    <a:pt x="130" y="95"/>
                    <a:pt x="132" y="83"/>
                  </a:cubicBezTo>
                  <a:cubicBezTo>
                    <a:pt x="135" y="70"/>
                    <a:pt x="136" y="73"/>
                    <a:pt x="146" y="75"/>
                  </a:cubicBezTo>
                  <a:cubicBezTo>
                    <a:pt x="156" y="76"/>
                    <a:pt x="173" y="108"/>
                    <a:pt x="174" y="116"/>
                  </a:cubicBezTo>
                  <a:cubicBezTo>
                    <a:pt x="174" y="123"/>
                    <a:pt x="170" y="123"/>
                    <a:pt x="128" y="142"/>
                  </a:cubicBezTo>
                  <a:cubicBezTo>
                    <a:pt x="86" y="161"/>
                    <a:pt x="67" y="195"/>
                    <a:pt x="59" y="198"/>
                  </a:cubicBezTo>
                  <a:cubicBezTo>
                    <a:pt x="52" y="202"/>
                    <a:pt x="55" y="191"/>
                    <a:pt x="40" y="188"/>
                  </a:cubicBezTo>
                  <a:cubicBezTo>
                    <a:pt x="26" y="186"/>
                    <a:pt x="23" y="211"/>
                    <a:pt x="16" y="224"/>
                  </a:cubicBezTo>
                  <a:cubicBezTo>
                    <a:pt x="8" y="238"/>
                    <a:pt x="5" y="266"/>
                    <a:pt x="5" y="277"/>
                  </a:cubicBezTo>
                  <a:cubicBezTo>
                    <a:pt x="5" y="288"/>
                    <a:pt x="0" y="301"/>
                    <a:pt x="17" y="314"/>
                  </a:cubicBezTo>
                  <a:cubicBezTo>
                    <a:pt x="33" y="326"/>
                    <a:pt x="49" y="311"/>
                    <a:pt x="53" y="304"/>
                  </a:cubicBezTo>
                  <a:cubicBezTo>
                    <a:pt x="57" y="298"/>
                    <a:pt x="53" y="269"/>
                    <a:pt x="55" y="244"/>
                  </a:cubicBezTo>
                  <a:cubicBezTo>
                    <a:pt x="57" y="220"/>
                    <a:pt x="89" y="204"/>
                    <a:pt x="100" y="197"/>
                  </a:cubicBezTo>
                  <a:cubicBezTo>
                    <a:pt x="115" y="189"/>
                    <a:pt x="129" y="190"/>
                    <a:pt x="131" y="194"/>
                  </a:cubicBezTo>
                  <a:cubicBezTo>
                    <a:pt x="134" y="197"/>
                    <a:pt x="119" y="214"/>
                    <a:pt x="112" y="219"/>
                  </a:cubicBezTo>
                  <a:cubicBezTo>
                    <a:pt x="105" y="224"/>
                    <a:pt x="110" y="244"/>
                    <a:pt x="111" y="251"/>
                  </a:cubicBezTo>
                  <a:cubicBezTo>
                    <a:pt x="113" y="257"/>
                    <a:pt x="111" y="260"/>
                    <a:pt x="125" y="265"/>
                  </a:cubicBezTo>
                  <a:cubicBezTo>
                    <a:pt x="142" y="271"/>
                    <a:pt x="139" y="257"/>
                    <a:pt x="148" y="246"/>
                  </a:cubicBezTo>
                  <a:cubicBezTo>
                    <a:pt x="157" y="236"/>
                    <a:pt x="163" y="224"/>
                    <a:pt x="170" y="224"/>
                  </a:cubicBezTo>
                  <a:cubicBezTo>
                    <a:pt x="177" y="224"/>
                    <a:pt x="180" y="238"/>
                    <a:pt x="184" y="243"/>
                  </a:cubicBezTo>
                  <a:cubicBezTo>
                    <a:pt x="187" y="248"/>
                    <a:pt x="189" y="257"/>
                    <a:pt x="177" y="263"/>
                  </a:cubicBezTo>
                  <a:cubicBezTo>
                    <a:pt x="165" y="269"/>
                    <a:pt x="131" y="281"/>
                    <a:pt x="131" y="281"/>
                  </a:cubicBezTo>
                  <a:cubicBezTo>
                    <a:pt x="131" y="281"/>
                    <a:pt x="112" y="284"/>
                    <a:pt x="101" y="287"/>
                  </a:cubicBezTo>
                  <a:cubicBezTo>
                    <a:pt x="90" y="289"/>
                    <a:pt x="78" y="285"/>
                    <a:pt x="76" y="299"/>
                  </a:cubicBezTo>
                  <a:cubicBezTo>
                    <a:pt x="73" y="312"/>
                    <a:pt x="78" y="305"/>
                    <a:pt x="86" y="319"/>
                  </a:cubicBezTo>
                  <a:cubicBezTo>
                    <a:pt x="94" y="333"/>
                    <a:pt x="119" y="337"/>
                    <a:pt x="134" y="334"/>
                  </a:cubicBezTo>
                  <a:cubicBezTo>
                    <a:pt x="149" y="332"/>
                    <a:pt x="157" y="324"/>
                    <a:pt x="168" y="316"/>
                  </a:cubicBezTo>
                  <a:cubicBezTo>
                    <a:pt x="178" y="308"/>
                    <a:pt x="194" y="298"/>
                    <a:pt x="203" y="298"/>
                  </a:cubicBezTo>
                  <a:cubicBezTo>
                    <a:pt x="211" y="299"/>
                    <a:pt x="211" y="311"/>
                    <a:pt x="211" y="325"/>
                  </a:cubicBezTo>
                  <a:cubicBezTo>
                    <a:pt x="211" y="339"/>
                    <a:pt x="210" y="337"/>
                    <a:pt x="206" y="350"/>
                  </a:cubicBezTo>
                  <a:cubicBezTo>
                    <a:pt x="202" y="364"/>
                    <a:pt x="199" y="368"/>
                    <a:pt x="194" y="372"/>
                  </a:cubicBezTo>
                  <a:cubicBezTo>
                    <a:pt x="189" y="377"/>
                    <a:pt x="184" y="376"/>
                    <a:pt x="165" y="378"/>
                  </a:cubicBezTo>
                  <a:cubicBezTo>
                    <a:pt x="145" y="380"/>
                    <a:pt x="131" y="393"/>
                    <a:pt x="129" y="400"/>
                  </a:cubicBezTo>
                  <a:cubicBezTo>
                    <a:pt x="128" y="407"/>
                    <a:pt x="135" y="405"/>
                    <a:pt x="144" y="410"/>
                  </a:cubicBezTo>
                  <a:cubicBezTo>
                    <a:pt x="152" y="414"/>
                    <a:pt x="163" y="416"/>
                    <a:pt x="185" y="417"/>
                  </a:cubicBezTo>
                  <a:cubicBezTo>
                    <a:pt x="208" y="418"/>
                    <a:pt x="219" y="417"/>
                    <a:pt x="228" y="408"/>
                  </a:cubicBezTo>
                  <a:cubicBezTo>
                    <a:pt x="238" y="400"/>
                    <a:pt x="240" y="373"/>
                    <a:pt x="241" y="354"/>
                  </a:cubicBezTo>
                  <a:cubicBezTo>
                    <a:pt x="243" y="335"/>
                    <a:pt x="239" y="315"/>
                    <a:pt x="239" y="307"/>
                  </a:cubicBezTo>
                  <a:cubicBezTo>
                    <a:pt x="239" y="299"/>
                    <a:pt x="239" y="297"/>
                    <a:pt x="244" y="288"/>
                  </a:cubicBezTo>
                  <a:cubicBezTo>
                    <a:pt x="249" y="280"/>
                    <a:pt x="257" y="284"/>
                    <a:pt x="273" y="283"/>
                  </a:cubicBezTo>
                  <a:cubicBezTo>
                    <a:pt x="288" y="281"/>
                    <a:pt x="286" y="270"/>
                    <a:pt x="287" y="261"/>
                  </a:cubicBezTo>
                  <a:cubicBezTo>
                    <a:pt x="288" y="251"/>
                    <a:pt x="281" y="247"/>
                    <a:pt x="271" y="239"/>
                  </a:cubicBezTo>
                  <a:cubicBezTo>
                    <a:pt x="260" y="231"/>
                    <a:pt x="250" y="236"/>
                    <a:pt x="240" y="236"/>
                  </a:cubicBezTo>
                  <a:cubicBezTo>
                    <a:pt x="230" y="236"/>
                    <a:pt x="233" y="234"/>
                    <a:pt x="233" y="226"/>
                  </a:cubicBezTo>
                  <a:cubicBezTo>
                    <a:pt x="233" y="219"/>
                    <a:pt x="238" y="215"/>
                    <a:pt x="239" y="207"/>
                  </a:cubicBezTo>
                  <a:cubicBezTo>
                    <a:pt x="241" y="200"/>
                    <a:pt x="251" y="192"/>
                    <a:pt x="261" y="181"/>
                  </a:cubicBezTo>
                  <a:cubicBezTo>
                    <a:pt x="270" y="170"/>
                    <a:pt x="276" y="175"/>
                    <a:pt x="289" y="176"/>
                  </a:cubicBezTo>
                  <a:cubicBezTo>
                    <a:pt x="302" y="176"/>
                    <a:pt x="307" y="176"/>
                    <a:pt x="316" y="167"/>
                  </a:cubicBezTo>
                  <a:cubicBezTo>
                    <a:pt x="325" y="157"/>
                    <a:pt x="318" y="138"/>
                    <a:pt x="316" y="132"/>
                  </a:cubicBezTo>
                  <a:cubicBezTo>
                    <a:pt x="315" y="125"/>
                    <a:pt x="309" y="129"/>
                    <a:pt x="297" y="119"/>
                  </a:cubicBezTo>
                  <a:cubicBezTo>
                    <a:pt x="285" y="108"/>
                    <a:pt x="274" y="111"/>
                    <a:pt x="261" y="111"/>
                  </a:cubicBezTo>
                  <a:cubicBezTo>
                    <a:pt x="248" y="111"/>
                    <a:pt x="244" y="100"/>
                    <a:pt x="251" y="93"/>
                  </a:cubicBezTo>
                  <a:cubicBezTo>
                    <a:pt x="259" y="87"/>
                    <a:pt x="265" y="77"/>
                    <a:pt x="272" y="66"/>
                  </a:cubicBezTo>
                  <a:cubicBezTo>
                    <a:pt x="278" y="55"/>
                    <a:pt x="276" y="45"/>
                    <a:pt x="276" y="34"/>
                  </a:cubicBezTo>
                  <a:cubicBezTo>
                    <a:pt x="275" y="24"/>
                    <a:pt x="264" y="20"/>
                    <a:pt x="252" y="10"/>
                  </a:cubicBezTo>
                  <a:cubicBezTo>
                    <a:pt x="240" y="0"/>
                    <a:pt x="225" y="8"/>
                    <a:pt x="217" y="11"/>
                  </a:cubicBezTo>
                  <a:cubicBezTo>
                    <a:pt x="208" y="14"/>
                    <a:pt x="196" y="20"/>
                    <a:pt x="187" y="25"/>
                  </a:cubicBezTo>
                  <a:cubicBezTo>
                    <a:pt x="178" y="30"/>
                    <a:pt x="172" y="30"/>
                    <a:pt x="164" y="29"/>
                  </a:cubicBezTo>
                  <a:cubicBezTo>
                    <a:pt x="157" y="29"/>
                    <a:pt x="150" y="29"/>
                    <a:pt x="147" y="29"/>
                  </a:cubicBezTo>
                  <a:cubicBezTo>
                    <a:pt x="144" y="29"/>
                    <a:pt x="141" y="35"/>
                    <a:pt x="136" y="43"/>
                  </a:cubicBezTo>
                  <a:cubicBezTo>
                    <a:pt x="131" y="51"/>
                    <a:pt x="126" y="47"/>
                    <a:pt x="124" y="43"/>
                  </a:cubicBezTo>
                  <a:cubicBezTo>
                    <a:pt x="121" y="38"/>
                    <a:pt x="116" y="28"/>
                    <a:pt x="113" y="21"/>
                  </a:cubicBezTo>
                  <a:cubicBezTo>
                    <a:pt x="110" y="15"/>
                    <a:pt x="97" y="18"/>
                    <a:pt x="91" y="21"/>
                  </a:cubicBezTo>
                  <a:cubicBezTo>
                    <a:pt x="84" y="25"/>
                    <a:pt x="80" y="41"/>
                    <a:pt x="78" y="52"/>
                  </a:cubicBezTo>
                  <a:cubicBezTo>
                    <a:pt x="75" y="63"/>
                    <a:pt x="78" y="111"/>
                    <a:pt x="79" y="11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1049875" name="îşḷïḍe"/>
            <p:cNvSpPr/>
            <p:nvPr/>
          </p:nvSpPr>
          <p:spPr bwMode="auto">
            <a:xfrm>
              <a:off x="9461753" y="4939303"/>
              <a:ext cx="388938" cy="534988"/>
            </a:xfrm>
            <a:custGeom>
              <a:avLst/>
              <a:gdLst>
                <a:gd name="T0" fmla="*/ 4 w 211"/>
                <a:gd name="T1" fmla="*/ 137 h 290"/>
                <a:gd name="T2" fmla="*/ 41 w 211"/>
                <a:gd name="T3" fmla="*/ 117 h 290"/>
                <a:gd name="T4" fmla="*/ 75 w 211"/>
                <a:gd name="T5" fmla="*/ 83 h 290"/>
                <a:gd name="T6" fmla="*/ 82 w 211"/>
                <a:gd name="T7" fmla="*/ 29 h 290"/>
                <a:gd name="T8" fmla="*/ 94 w 211"/>
                <a:gd name="T9" fmla="*/ 6 h 290"/>
                <a:gd name="T10" fmla="*/ 126 w 211"/>
                <a:gd name="T11" fmla="*/ 27 h 290"/>
                <a:gd name="T12" fmla="*/ 145 w 211"/>
                <a:gd name="T13" fmla="*/ 65 h 290"/>
                <a:gd name="T14" fmla="*/ 170 w 211"/>
                <a:gd name="T15" fmla="*/ 93 h 290"/>
                <a:gd name="T16" fmla="*/ 164 w 211"/>
                <a:gd name="T17" fmla="*/ 119 h 290"/>
                <a:gd name="T18" fmla="*/ 127 w 211"/>
                <a:gd name="T19" fmla="*/ 151 h 290"/>
                <a:gd name="T20" fmla="*/ 123 w 211"/>
                <a:gd name="T21" fmla="*/ 165 h 290"/>
                <a:gd name="T22" fmla="*/ 181 w 211"/>
                <a:gd name="T23" fmla="*/ 187 h 290"/>
                <a:gd name="T24" fmla="*/ 210 w 211"/>
                <a:gd name="T25" fmla="*/ 231 h 290"/>
                <a:gd name="T26" fmla="*/ 202 w 211"/>
                <a:gd name="T27" fmla="*/ 281 h 290"/>
                <a:gd name="T28" fmla="*/ 185 w 211"/>
                <a:gd name="T29" fmla="*/ 289 h 290"/>
                <a:gd name="T30" fmla="*/ 162 w 211"/>
                <a:gd name="T31" fmla="*/ 267 h 290"/>
                <a:gd name="T32" fmla="*/ 158 w 211"/>
                <a:gd name="T33" fmla="*/ 217 h 290"/>
                <a:gd name="T34" fmla="*/ 134 w 211"/>
                <a:gd name="T35" fmla="*/ 188 h 290"/>
                <a:gd name="T36" fmla="*/ 117 w 211"/>
                <a:gd name="T37" fmla="*/ 183 h 290"/>
                <a:gd name="T38" fmla="*/ 105 w 211"/>
                <a:gd name="T39" fmla="*/ 191 h 290"/>
                <a:gd name="T40" fmla="*/ 95 w 211"/>
                <a:gd name="T41" fmla="*/ 225 h 290"/>
                <a:gd name="T42" fmla="*/ 92 w 211"/>
                <a:gd name="T43" fmla="*/ 251 h 290"/>
                <a:gd name="T44" fmla="*/ 58 w 211"/>
                <a:gd name="T45" fmla="*/ 261 h 290"/>
                <a:gd name="T46" fmla="*/ 37 w 211"/>
                <a:gd name="T47" fmla="*/ 235 h 290"/>
                <a:gd name="T48" fmla="*/ 39 w 211"/>
                <a:gd name="T49" fmla="*/ 205 h 290"/>
                <a:gd name="T50" fmla="*/ 45 w 211"/>
                <a:gd name="T51" fmla="*/ 177 h 290"/>
                <a:gd name="T52" fmla="*/ 18 w 211"/>
                <a:gd name="T53" fmla="*/ 155 h 290"/>
                <a:gd name="T54" fmla="*/ 0 w 211"/>
                <a:gd name="T55" fmla="*/ 147 h 290"/>
                <a:gd name="T56" fmla="*/ 4 w 211"/>
                <a:gd name="T57" fmla="*/ 137 h 2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211" h="290">
                  <a:moveTo>
                    <a:pt x="4" y="137"/>
                  </a:moveTo>
                  <a:cubicBezTo>
                    <a:pt x="4" y="137"/>
                    <a:pt x="32" y="120"/>
                    <a:pt x="41" y="117"/>
                  </a:cubicBezTo>
                  <a:cubicBezTo>
                    <a:pt x="50" y="115"/>
                    <a:pt x="69" y="103"/>
                    <a:pt x="75" y="83"/>
                  </a:cubicBezTo>
                  <a:cubicBezTo>
                    <a:pt x="81" y="63"/>
                    <a:pt x="82" y="39"/>
                    <a:pt x="82" y="29"/>
                  </a:cubicBezTo>
                  <a:cubicBezTo>
                    <a:pt x="82" y="19"/>
                    <a:pt x="76" y="0"/>
                    <a:pt x="94" y="6"/>
                  </a:cubicBezTo>
                  <a:cubicBezTo>
                    <a:pt x="112" y="12"/>
                    <a:pt x="124" y="15"/>
                    <a:pt x="126" y="27"/>
                  </a:cubicBezTo>
                  <a:cubicBezTo>
                    <a:pt x="129" y="39"/>
                    <a:pt x="131" y="55"/>
                    <a:pt x="145" y="65"/>
                  </a:cubicBezTo>
                  <a:cubicBezTo>
                    <a:pt x="159" y="75"/>
                    <a:pt x="168" y="83"/>
                    <a:pt x="170" y="93"/>
                  </a:cubicBezTo>
                  <a:cubicBezTo>
                    <a:pt x="172" y="103"/>
                    <a:pt x="172" y="114"/>
                    <a:pt x="164" y="119"/>
                  </a:cubicBezTo>
                  <a:cubicBezTo>
                    <a:pt x="157" y="123"/>
                    <a:pt x="132" y="147"/>
                    <a:pt x="127" y="151"/>
                  </a:cubicBezTo>
                  <a:cubicBezTo>
                    <a:pt x="121" y="154"/>
                    <a:pt x="119" y="165"/>
                    <a:pt x="123" y="165"/>
                  </a:cubicBezTo>
                  <a:cubicBezTo>
                    <a:pt x="127" y="165"/>
                    <a:pt x="163" y="172"/>
                    <a:pt x="181" y="187"/>
                  </a:cubicBezTo>
                  <a:cubicBezTo>
                    <a:pt x="198" y="202"/>
                    <a:pt x="209" y="216"/>
                    <a:pt x="210" y="231"/>
                  </a:cubicBezTo>
                  <a:cubicBezTo>
                    <a:pt x="211" y="247"/>
                    <a:pt x="210" y="273"/>
                    <a:pt x="202" y="281"/>
                  </a:cubicBezTo>
                  <a:cubicBezTo>
                    <a:pt x="194" y="288"/>
                    <a:pt x="192" y="290"/>
                    <a:pt x="185" y="289"/>
                  </a:cubicBezTo>
                  <a:cubicBezTo>
                    <a:pt x="178" y="288"/>
                    <a:pt x="164" y="279"/>
                    <a:pt x="162" y="267"/>
                  </a:cubicBezTo>
                  <a:cubicBezTo>
                    <a:pt x="160" y="255"/>
                    <a:pt x="164" y="239"/>
                    <a:pt x="158" y="217"/>
                  </a:cubicBezTo>
                  <a:cubicBezTo>
                    <a:pt x="153" y="196"/>
                    <a:pt x="139" y="191"/>
                    <a:pt x="134" y="188"/>
                  </a:cubicBezTo>
                  <a:cubicBezTo>
                    <a:pt x="129" y="186"/>
                    <a:pt x="117" y="183"/>
                    <a:pt x="117" y="183"/>
                  </a:cubicBezTo>
                  <a:cubicBezTo>
                    <a:pt x="117" y="183"/>
                    <a:pt x="108" y="182"/>
                    <a:pt x="105" y="191"/>
                  </a:cubicBezTo>
                  <a:cubicBezTo>
                    <a:pt x="102" y="199"/>
                    <a:pt x="96" y="215"/>
                    <a:pt x="95" y="225"/>
                  </a:cubicBezTo>
                  <a:cubicBezTo>
                    <a:pt x="94" y="235"/>
                    <a:pt x="96" y="247"/>
                    <a:pt x="92" y="251"/>
                  </a:cubicBezTo>
                  <a:cubicBezTo>
                    <a:pt x="87" y="256"/>
                    <a:pt x="77" y="267"/>
                    <a:pt x="58" y="261"/>
                  </a:cubicBezTo>
                  <a:cubicBezTo>
                    <a:pt x="39" y="255"/>
                    <a:pt x="41" y="238"/>
                    <a:pt x="37" y="235"/>
                  </a:cubicBezTo>
                  <a:cubicBezTo>
                    <a:pt x="33" y="231"/>
                    <a:pt x="39" y="211"/>
                    <a:pt x="39" y="205"/>
                  </a:cubicBezTo>
                  <a:cubicBezTo>
                    <a:pt x="39" y="200"/>
                    <a:pt x="47" y="182"/>
                    <a:pt x="45" y="177"/>
                  </a:cubicBezTo>
                  <a:cubicBezTo>
                    <a:pt x="44" y="173"/>
                    <a:pt x="25" y="153"/>
                    <a:pt x="18" y="155"/>
                  </a:cubicBezTo>
                  <a:cubicBezTo>
                    <a:pt x="11" y="157"/>
                    <a:pt x="1" y="155"/>
                    <a:pt x="0" y="147"/>
                  </a:cubicBezTo>
                  <a:cubicBezTo>
                    <a:pt x="0" y="140"/>
                    <a:pt x="4" y="137"/>
                    <a:pt x="4" y="13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1049876" name="îṧļíďe"/>
            <p:cNvSpPr/>
            <p:nvPr/>
          </p:nvSpPr>
          <p:spPr bwMode="auto">
            <a:xfrm>
              <a:off x="8326691" y="4823415"/>
              <a:ext cx="746125" cy="695325"/>
            </a:xfrm>
            <a:custGeom>
              <a:avLst/>
              <a:gdLst>
                <a:gd name="T0" fmla="*/ 159 w 405"/>
                <a:gd name="T1" fmla="*/ 229 h 377"/>
                <a:gd name="T2" fmla="*/ 218 w 405"/>
                <a:gd name="T3" fmla="*/ 183 h 377"/>
                <a:gd name="T4" fmla="*/ 234 w 405"/>
                <a:gd name="T5" fmla="*/ 247 h 377"/>
                <a:gd name="T6" fmla="*/ 260 w 405"/>
                <a:gd name="T7" fmla="*/ 269 h 377"/>
                <a:gd name="T8" fmla="*/ 209 w 405"/>
                <a:gd name="T9" fmla="*/ 247 h 377"/>
                <a:gd name="T10" fmla="*/ 108 w 405"/>
                <a:gd name="T11" fmla="*/ 215 h 377"/>
                <a:gd name="T12" fmla="*/ 73 w 405"/>
                <a:gd name="T13" fmla="*/ 283 h 377"/>
                <a:gd name="T14" fmla="*/ 43 w 405"/>
                <a:gd name="T15" fmla="*/ 350 h 377"/>
                <a:gd name="T16" fmla="*/ 91 w 405"/>
                <a:gd name="T17" fmla="*/ 347 h 377"/>
                <a:gd name="T18" fmla="*/ 118 w 405"/>
                <a:gd name="T19" fmla="*/ 372 h 377"/>
                <a:gd name="T20" fmla="*/ 136 w 405"/>
                <a:gd name="T21" fmla="*/ 328 h 377"/>
                <a:gd name="T22" fmla="*/ 147 w 405"/>
                <a:gd name="T23" fmla="*/ 265 h 377"/>
                <a:gd name="T24" fmla="*/ 242 w 405"/>
                <a:gd name="T25" fmla="*/ 306 h 377"/>
                <a:gd name="T26" fmla="*/ 186 w 405"/>
                <a:gd name="T27" fmla="*/ 337 h 377"/>
                <a:gd name="T28" fmla="*/ 172 w 405"/>
                <a:gd name="T29" fmla="*/ 367 h 377"/>
                <a:gd name="T30" fmla="*/ 272 w 405"/>
                <a:gd name="T31" fmla="*/ 328 h 377"/>
                <a:gd name="T32" fmla="*/ 352 w 405"/>
                <a:gd name="T33" fmla="*/ 373 h 377"/>
                <a:gd name="T34" fmla="*/ 389 w 405"/>
                <a:gd name="T35" fmla="*/ 333 h 377"/>
                <a:gd name="T36" fmla="*/ 292 w 405"/>
                <a:gd name="T37" fmla="*/ 299 h 377"/>
                <a:gd name="T38" fmla="*/ 291 w 405"/>
                <a:gd name="T39" fmla="*/ 217 h 377"/>
                <a:gd name="T40" fmla="*/ 261 w 405"/>
                <a:gd name="T41" fmla="*/ 173 h 377"/>
                <a:gd name="T42" fmla="*/ 297 w 405"/>
                <a:gd name="T43" fmla="*/ 107 h 377"/>
                <a:gd name="T44" fmla="*/ 283 w 405"/>
                <a:gd name="T45" fmla="*/ 43 h 377"/>
                <a:gd name="T46" fmla="*/ 241 w 405"/>
                <a:gd name="T47" fmla="*/ 1 h 377"/>
                <a:gd name="T48" fmla="*/ 241 w 405"/>
                <a:gd name="T49" fmla="*/ 35 h 377"/>
                <a:gd name="T50" fmla="*/ 245 w 405"/>
                <a:gd name="T51" fmla="*/ 97 h 377"/>
                <a:gd name="T52" fmla="*/ 194 w 405"/>
                <a:gd name="T53" fmla="*/ 129 h 377"/>
                <a:gd name="T54" fmla="*/ 161 w 405"/>
                <a:gd name="T55" fmla="*/ 121 h 377"/>
                <a:gd name="T56" fmla="*/ 150 w 405"/>
                <a:gd name="T57" fmla="*/ 33 h 377"/>
                <a:gd name="T58" fmla="*/ 122 w 405"/>
                <a:gd name="T59" fmla="*/ 56 h 377"/>
                <a:gd name="T60" fmla="*/ 121 w 405"/>
                <a:gd name="T61" fmla="*/ 133 h 377"/>
                <a:gd name="T62" fmla="*/ 30 w 405"/>
                <a:gd name="T63" fmla="*/ 180 h 377"/>
                <a:gd name="T64" fmla="*/ 22 w 405"/>
                <a:gd name="T65" fmla="*/ 219 h 3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05" h="377">
                  <a:moveTo>
                    <a:pt x="174" y="243"/>
                  </a:moveTo>
                  <a:cubicBezTo>
                    <a:pt x="172" y="243"/>
                    <a:pt x="154" y="236"/>
                    <a:pt x="159" y="229"/>
                  </a:cubicBezTo>
                  <a:cubicBezTo>
                    <a:pt x="163" y="221"/>
                    <a:pt x="190" y="187"/>
                    <a:pt x="199" y="183"/>
                  </a:cubicBezTo>
                  <a:cubicBezTo>
                    <a:pt x="208" y="178"/>
                    <a:pt x="215" y="172"/>
                    <a:pt x="218" y="183"/>
                  </a:cubicBezTo>
                  <a:cubicBezTo>
                    <a:pt x="221" y="193"/>
                    <a:pt x="215" y="230"/>
                    <a:pt x="220" y="236"/>
                  </a:cubicBezTo>
                  <a:cubicBezTo>
                    <a:pt x="225" y="241"/>
                    <a:pt x="227" y="248"/>
                    <a:pt x="234" y="247"/>
                  </a:cubicBezTo>
                  <a:cubicBezTo>
                    <a:pt x="241" y="246"/>
                    <a:pt x="256" y="238"/>
                    <a:pt x="260" y="245"/>
                  </a:cubicBezTo>
                  <a:cubicBezTo>
                    <a:pt x="263" y="252"/>
                    <a:pt x="268" y="259"/>
                    <a:pt x="260" y="269"/>
                  </a:cubicBezTo>
                  <a:cubicBezTo>
                    <a:pt x="253" y="278"/>
                    <a:pt x="247" y="281"/>
                    <a:pt x="239" y="274"/>
                  </a:cubicBezTo>
                  <a:cubicBezTo>
                    <a:pt x="230" y="267"/>
                    <a:pt x="221" y="250"/>
                    <a:pt x="209" y="247"/>
                  </a:cubicBezTo>
                  <a:cubicBezTo>
                    <a:pt x="198" y="245"/>
                    <a:pt x="176" y="243"/>
                    <a:pt x="174" y="243"/>
                  </a:cubicBezTo>
                  <a:close/>
                  <a:moveTo>
                    <a:pt x="108" y="215"/>
                  </a:moveTo>
                  <a:cubicBezTo>
                    <a:pt x="109" y="216"/>
                    <a:pt x="102" y="238"/>
                    <a:pt x="93" y="254"/>
                  </a:cubicBezTo>
                  <a:cubicBezTo>
                    <a:pt x="84" y="271"/>
                    <a:pt x="81" y="271"/>
                    <a:pt x="73" y="283"/>
                  </a:cubicBezTo>
                  <a:cubicBezTo>
                    <a:pt x="65" y="295"/>
                    <a:pt x="45" y="309"/>
                    <a:pt x="44" y="316"/>
                  </a:cubicBezTo>
                  <a:cubicBezTo>
                    <a:pt x="43" y="323"/>
                    <a:pt x="41" y="343"/>
                    <a:pt x="43" y="350"/>
                  </a:cubicBezTo>
                  <a:cubicBezTo>
                    <a:pt x="44" y="357"/>
                    <a:pt x="61" y="358"/>
                    <a:pt x="69" y="357"/>
                  </a:cubicBezTo>
                  <a:cubicBezTo>
                    <a:pt x="77" y="355"/>
                    <a:pt x="84" y="347"/>
                    <a:pt x="91" y="347"/>
                  </a:cubicBezTo>
                  <a:cubicBezTo>
                    <a:pt x="98" y="347"/>
                    <a:pt x="96" y="355"/>
                    <a:pt x="97" y="361"/>
                  </a:cubicBezTo>
                  <a:cubicBezTo>
                    <a:pt x="97" y="366"/>
                    <a:pt x="101" y="368"/>
                    <a:pt x="118" y="372"/>
                  </a:cubicBezTo>
                  <a:cubicBezTo>
                    <a:pt x="136" y="377"/>
                    <a:pt x="140" y="364"/>
                    <a:pt x="144" y="352"/>
                  </a:cubicBezTo>
                  <a:cubicBezTo>
                    <a:pt x="148" y="339"/>
                    <a:pt x="140" y="339"/>
                    <a:pt x="136" y="328"/>
                  </a:cubicBezTo>
                  <a:cubicBezTo>
                    <a:pt x="133" y="316"/>
                    <a:pt x="136" y="302"/>
                    <a:pt x="136" y="292"/>
                  </a:cubicBezTo>
                  <a:cubicBezTo>
                    <a:pt x="135" y="281"/>
                    <a:pt x="141" y="272"/>
                    <a:pt x="147" y="265"/>
                  </a:cubicBezTo>
                  <a:cubicBezTo>
                    <a:pt x="153" y="258"/>
                    <a:pt x="160" y="248"/>
                    <a:pt x="186" y="258"/>
                  </a:cubicBezTo>
                  <a:cubicBezTo>
                    <a:pt x="212" y="267"/>
                    <a:pt x="239" y="298"/>
                    <a:pt x="242" y="306"/>
                  </a:cubicBezTo>
                  <a:cubicBezTo>
                    <a:pt x="245" y="313"/>
                    <a:pt x="232" y="318"/>
                    <a:pt x="227" y="325"/>
                  </a:cubicBezTo>
                  <a:cubicBezTo>
                    <a:pt x="222" y="332"/>
                    <a:pt x="196" y="338"/>
                    <a:pt x="186" y="337"/>
                  </a:cubicBezTo>
                  <a:cubicBezTo>
                    <a:pt x="175" y="336"/>
                    <a:pt x="172" y="344"/>
                    <a:pt x="167" y="348"/>
                  </a:cubicBezTo>
                  <a:cubicBezTo>
                    <a:pt x="162" y="351"/>
                    <a:pt x="167" y="361"/>
                    <a:pt x="172" y="367"/>
                  </a:cubicBezTo>
                  <a:cubicBezTo>
                    <a:pt x="177" y="373"/>
                    <a:pt x="211" y="373"/>
                    <a:pt x="224" y="364"/>
                  </a:cubicBezTo>
                  <a:cubicBezTo>
                    <a:pt x="237" y="354"/>
                    <a:pt x="272" y="328"/>
                    <a:pt x="272" y="328"/>
                  </a:cubicBezTo>
                  <a:cubicBezTo>
                    <a:pt x="272" y="328"/>
                    <a:pt x="285" y="340"/>
                    <a:pt x="293" y="348"/>
                  </a:cubicBezTo>
                  <a:cubicBezTo>
                    <a:pt x="301" y="357"/>
                    <a:pt x="319" y="369"/>
                    <a:pt x="352" y="373"/>
                  </a:cubicBezTo>
                  <a:cubicBezTo>
                    <a:pt x="385" y="377"/>
                    <a:pt x="398" y="356"/>
                    <a:pt x="401" y="352"/>
                  </a:cubicBezTo>
                  <a:cubicBezTo>
                    <a:pt x="405" y="348"/>
                    <a:pt x="399" y="342"/>
                    <a:pt x="389" y="333"/>
                  </a:cubicBezTo>
                  <a:cubicBezTo>
                    <a:pt x="379" y="323"/>
                    <a:pt x="353" y="312"/>
                    <a:pt x="337" y="313"/>
                  </a:cubicBezTo>
                  <a:cubicBezTo>
                    <a:pt x="321" y="315"/>
                    <a:pt x="303" y="305"/>
                    <a:pt x="292" y="299"/>
                  </a:cubicBezTo>
                  <a:cubicBezTo>
                    <a:pt x="282" y="293"/>
                    <a:pt x="287" y="293"/>
                    <a:pt x="291" y="277"/>
                  </a:cubicBezTo>
                  <a:cubicBezTo>
                    <a:pt x="295" y="261"/>
                    <a:pt x="294" y="231"/>
                    <a:pt x="291" y="217"/>
                  </a:cubicBezTo>
                  <a:cubicBezTo>
                    <a:pt x="287" y="204"/>
                    <a:pt x="269" y="200"/>
                    <a:pt x="264" y="192"/>
                  </a:cubicBezTo>
                  <a:cubicBezTo>
                    <a:pt x="258" y="184"/>
                    <a:pt x="251" y="180"/>
                    <a:pt x="261" y="173"/>
                  </a:cubicBezTo>
                  <a:cubicBezTo>
                    <a:pt x="272" y="166"/>
                    <a:pt x="282" y="146"/>
                    <a:pt x="290" y="135"/>
                  </a:cubicBezTo>
                  <a:cubicBezTo>
                    <a:pt x="298" y="123"/>
                    <a:pt x="305" y="117"/>
                    <a:pt x="297" y="107"/>
                  </a:cubicBezTo>
                  <a:cubicBezTo>
                    <a:pt x="289" y="97"/>
                    <a:pt x="283" y="94"/>
                    <a:pt x="281" y="86"/>
                  </a:cubicBezTo>
                  <a:cubicBezTo>
                    <a:pt x="280" y="79"/>
                    <a:pt x="283" y="57"/>
                    <a:pt x="283" y="43"/>
                  </a:cubicBezTo>
                  <a:cubicBezTo>
                    <a:pt x="283" y="29"/>
                    <a:pt x="285" y="30"/>
                    <a:pt x="272" y="15"/>
                  </a:cubicBezTo>
                  <a:cubicBezTo>
                    <a:pt x="260" y="0"/>
                    <a:pt x="248" y="2"/>
                    <a:pt x="241" y="1"/>
                  </a:cubicBezTo>
                  <a:cubicBezTo>
                    <a:pt x="235" y="0"/>
                    <a:pt x="231" y="21"/>
                    <a:pt x="233" y="26"/>
                  </a:cubicBezTo>
                  <a:cubicBezTo>
                    <a:pt x="235" y="31"/>
                    <a:pt x="239" y="31"/>
                    <a:pt x="241" y="35"/>
                  </a:cubicBezTo>
                  <a:cubicBezTo>
                    <a:pt x="242" y="39"/>
                    <a:pt x="239" y="36"/>
                    <a:pt x="243" y="53"/>
                  </a:cubicBezTo>
                  <a:cubicBezTo>
                    <a:pt x="247" y="70"/>
                    <a:pt x="245" y="91"/>
                    <a:pt x="245" y="97"/>
                  </a:cubicBezTo>
                  <a:cubicBezTo>
                    <a:pt x="245" y="103"/>
                    <a:pt x="240" y="107"/>
                    <a:pt x="234" y="114"/>
                  </a:cubicBezTo>
                  <a:cubicBezTo>
                    <a:pt x="228" y="121"/>
                    <a:pt x="206" y="123"/>
                    <a:pt x="194" y="129"/>
                  </a:cubicBezTo>
                  <a:cubicBezTo>
                    <a:pt x="181" y="135"/>
                    <a:pt x="179" y="146"/>
                    <a:pt x="170" y="149"/>
                  </a:cubicBezTo>
                  <a:cubicBezTo>
                    <a:pt x="161" y="151"/>
                    <a:pt x="157" y="138"/>
                    <a:pt x="161" y="121"/>
                  </a:cubicBezTo>
                  <a:cubicBezTo>
                    <a:pt x="164" y="109"/>
                    <a:pt x="168" y="79"/>
                    <a:pt x="168" y="64"/>
                  </a:cubicBezTo>
                  <a:cubicBezTo>
                    <a:pt x="167" y="54"/>
                    <a:pt x="158" y="40"/>
                    <a:pt x="150" y="33"/>
                  </a:cubicBezTo>
                  <a:cubicBezTo>
                    <a:pt x="142" y="25"/>
                    <a:pt x="136" y="30"/>
                    <a:pt x="131" y="32"/>
                  </a:cubicBezTo>
                  <a:cubicBezTo>
                    <a:pt x="126" y="35"/>
                    <a:pt x="120" y="43"/>
                    <a:pt x="122" y="56"/>
                  </a:cubicBezTo>
                  <a:cubicBezTo>
                    <a:pt x="124" y="70"/>
                    <a:pt x="127" y="72"/>
                    <a:pt x="127" y="82"/>
                  </a:cubicBezTo>
                  <a:cubicBezTo>
                    <a:pt x="128" y="92"/>
                    <a:pt x="124" y="113"/>
                    <a:pt x="121" y="133"/>
                  </a:cubicBezTo>
                  <a:cubicBezTo>
                    <a:pt x="117" y="152"/>
                    <a:pt x="104" y="151"/>
                    <a:pt x="90" y="158"/>
                  </a:cubicBezTo>
                  <a:cubicBezTo>
                    <a:pt x="76" y="165"/>
                    <a:pt x="48" y="175"/>
                    <a:pt x="30" y="180"/>
                  </a:cubicBezTo>
                  <a:cubicBezTo>
                    <a:pt x="13" y="184"/>
                    <a:pt x="0" y="191"/>
                    <a:pt x="0" y="200"/>
                  </a:cubicBezTo>
                  <a:cubicBezTo>
                    <a:pt x="0" y="209"/>
                    <a:pt x="9" y="210"/>
                    <a:pt x="22" y="219"/>
                  </a:cubicBezTo>
                  <a:cubicBezTo>
                    <a:pt x="35" y="228"/>
                    <a:pt x="107" y="215"/>
                    <a:pt x="108" y="21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1049877" name="íŝļïḓè"/>
            <p:cNvSpPr/>
            <p:nvPr/>
          </p:nvSpPr>
          <p:spPr bwMode="auto">
            <a:xfrm>
              <a:off x="6220078" y="4756740"/>
              <a:ext cx="627063" cy="793750"/>
            </a:xfrm>
            <a:custGeom>
              <a:avLst/>
              <a:gdLst>
                <a:gd name="T0" fmla="*/ 194 w 340"/>
                <a:gd name="T1" fmla="*/ 225 h 430"/>
                <a:gd name="T2" fmla="*/ 189 w 340"/>
                <a:gd name="T3" fmla="*/ 204 h 430"/>
                <a:gd name="T4" fmla="*/ 222 w 340"/>
                <a:gd name="T5" fmla="*/ 196 h 430"/>
                <a:gd name="T6" fmla="*/ 234 w 340"/>
                <a:gd name="T7" fmla="*/ 215 h 430"/>
                <a:gd name="T8" fmla="*/ 217 w 340"/>
                <a:gd name="T9" fmla="*/ 231 h 430"/>
                <a:gd name="T10" fmla="*/ 194 w 340"/>
                <a:gd name="T11" fmla="*/ 225 h 430"/>
                <a:gd name="T12" fmla="*/ 33 w 340"/>
                <a:gd name="T13" fmla="*/ 228 h 430"/>
                <a:gd name="T14" fmla="*/ 67 w 340"/>
                <a:gd name="T15" fmla="*/ 224 h 430"/>
                <a:gd name="T16" fmla="*/ 105 w 340"/>
                <a:gd name="T17" fmla="*/ 194 h 430"/>
                <a:gd name="T18" fmla="*/ 164 w 340"/>
                <a:gd name="T19" fmla="*/ 151 h 430"/>
                <a:gd name="T20" fmla="*/ 170 w 340"/>
                <a:gd name="T21" fmla="*/ 163 h 430"/>
                <a:gd name="T22" fmla="*/ 144 w 340"/>
                <a:gd name="T23" fmla="*/ 203 h 430"/>
                <a:gd name="T24" fmla="*/ 142 w 340"/>
                <a:gd name="T25" fmla="*/ 250 h 430"/>
                <a:gd name="T26" fmla="*/ 166 w 340"/>
                <a:gd name="T27" fmla="*/ 278 h 430"/>
                <a:gd name="T28" fmla="*/ 170 w 340"/>
                <a:gd name="T29" fmla="*/ 300 h 430"/>
                <a:gd name="T30" fmla="*/ 132 w 340"/>
                <a:gd name="T31" fmla="*/ 347 h 430"/>
                <a:gd name="T32" fmla="*/ 133 w 340"/>
                <a:gd name="T33" fmla="*/ 397 h 430"/>
                <a:gd name="T34" fmla="*/ 181 w 340"/>
                <a:gd name="T35" fmla="*/ 410 h 430"/>
                <a:gd name="T36" fmla="*/ 184 w 340"/>
                <a:gd name="T37" fmla="*/ 375 h 430"/>
                <a:gd name="T38" fmla="*/ 198 w 340"/>
                <a:gd name="T39" fmla="*/ 374 h 430"/>
                <a:gd name="T40" fmla="*/ 215 w 340"/>
                <a:gd name="T41" fmla="*/ 416 h 430"/>
                <a:gd name="T42" fmla="*/ 240 w 340"/>
                <a:gd name="T43" fmla="*/ 406 h 430"/>
                <a:gd name="T44" fmla="*/ 230 w 340"/>
                <a:gd name="T45" fmla="*/ 341 h 430"/>
                <a:gd name="T46" fmla="*/ 250 w 340"/>
                <a:gd name="T47" fmla="*/ 322 h 430"/>
                <a:gd name="T48" fmla="*/ 268 w 340"/>
                <a:gd name="T49" fmla="*/ 373 h 430"/>
                <a:gd name="T50" fmla="*/ 316 w 340"/>
                <a:gd name="T51" fmla="*/ 385 h 430"/>
                <a:gd name="T52" fmla="*/ 295 w 340"/>
                <a:gd name="T53" fmla="*/ 310 h 430"/>
                <a:gd name="T54" fmla="*/ 263 w 340"/>
                <a:gd name="T55" fmla="*/ 288 h 430"/>
                <a:gd name="T56" fmla="*/ 264 w 340"/>
                <a:gd name="T57" fmla="*/ 259 h 430"/>
                <a:gd name="T58" fmla="*/ 265 w 340"/>
                <a:gd name="T59" fmla="*/ 233 h 430"/>
                <a:gd name="T60" fmla="*/ 300 w 340"/>
                <a:gd name="T61" fmla="*/ 199 h 430"/>
                <a:gd name="T62" fmla="*/ 275 w 340"/>
                <a:gd name="T63" fmla="*/ 161 h 430"/>
                <a:gd name="T64" fmla="*/ 217 w 340"/>
                <a:gd name="T65" fmla="*/ 159 h 430"/>
                <a:gd name="T66" fmla="*/ 270 w 340"/>
                <a:gd name="T67" fmla="*/ 132 h 430"/>
                <a:gd name="T68" fmla="*/ 316 w 340"/>
                <a:gd name="T69" fmla="*/ 126 h 430"/>
                <a:gd name="T70" fmla="*/ 332 w 340"/>
                <a:gd name="T71" fmla="*/ 110 h 430"/>
                <a:gd name="T72" fmla="*/ 321 w 340"/>
                <a:gd name="T73" fmla="*/ 75 h 430"/>
                <a:gd name="T74" fmla="*/ 256 w 340"/>
                <a:gd name="T75" fmla="*/ 74 h 430"/>
                <a:gd name="T76" fmla="*/ 240 w 340"/>
                <a:gd name="T77" fmla="*/ 51 h 430"/>
                <a:gd name="T78" fmla="*/ 212 w 340"/>
                <a:gd name="T79" fmla="*/ 9 h 430"/>
                <a:gd name="T80" fmla="*/ 190 w 340"/>
                <a:gd name="T81" fmla="*/ 6 h 430"/>
                <a:gd name="T82" fmla="*/ 174 w 340"/>
                <a:gd name="T83" fmla="*/ 34 h 430"/>
                <a:gd name="T84" fmla="*/ 183 w 340"/>
                <a:gd name="T85" fmla="*/ 70 h 430"/>
                <a:gd name="T86" fmla="*/ 172 w 340"/>
                <a:gd name="T87" fmla="*/ 98 h 430"/>
                <a:gd name="T88" fmla="*/ 65 w 340"/>
                <a:gd name="T89" fmla="*/ 161 h 430"/>
                <a:gd name="T90" fmla="*/ 21 w 340"/>
                <a:gd name="T91" fmla="*/ 171 h 430"/>
                <a:gd name="T92" fmla="*/ 10 w 340"/>
                <a:gd name="T93" fmla="*/ 198 h 430"/>
                <a:gd name="T94" fmla="*/ 33 w 340"/>
                <a:gd name="T95" fmla="*/ 228 h 4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340" h="430">
                  <a:moveTo>
                    <a:pt x="194" y="225"/>
                  </a:moveTo>
                  <a:cubicBezTo>
                    <a:pt x="194" y="225"/>
                    <a:pt x="178" y="212"/>
                    <a:pt x="189" y="204"/>
                  </a:cubicBezTo>
                  <a:cubicBezTo>
                    <a:pt x="201" y="196"/>
                    <a:pt x="211" y="188"/>
                    <a:pt x="222" y="196"/>
                  </a:cubicBezTo>
                  <a:cubicBezTo>
                    <a:pt x="234" y="203"/>
                    <a:pt x="238" y="207"/>
                    <a:pt x="234" y="215"/>
                  </a:cubicBezTo>
                  <a:cubicBezTo>
                    <a:pt x="230" y="222"/>
                    <a:pt x="228" y="229"/>
                    <a:pt x="217" y="231"/>
                  </a:cubicBezTo>
                  <a:cubicBezTo>
                    <a:pt x="204" y="230"/>
                    <a:pt x="194" y="225"/>
                    <a:pt x="194" y="225"/>
                  </a:cubicBezTo>
                  <a:close/>
                  <a:moveTo>
                    <a:pt x="33" y="228"/>
                  </a:moveTo>
                  <a:cubicBezTo>
                    <a:pt x="40" y="229"/>
                    <a:pt x="52" y="231"/>
                    <a:pt x="67" y="224"/>
                  </a:cubicBezTo>
                  <a:cubicBezTo>
                    <a:pt x="82" y="216"/>
                    <a:pt x="91" y="208"/>
                    <a:pt x="105" y="194"/>
                  </a:cubicBezTo>
                  <a:cubicBezTo>
                    <a:pt x="119" y="180"/>
                    <a:pt x="153" y="155"/>
                    <a:pt x="164" y="151"/>
                  </a:cubicBezTo>
                  <a:cubicBezTo>
                    <a:pt x="176" y="146"/>
                    <a:pt x="176" y="155"/>
                    <a:pt x="170" y="163"/>
                  </a:cubicBezTo>
                  <a:cubicBezTo>
                    <a:pt x="164" y="171"/>
                    <a:pt x="150" y="188"/>
                    <a:pt x="144" y="203"/>
                  </a:cubicBezTo>
                  <a:cubicBezTo>
                    <a:pt x="139" y="218"/>
                    <a:pt x="134" y="224"/>
                    <a:pt x="142" y="250"/>
                  </a:cubicBezTo>
                  <a:cubicBezTo>
                    <a:pt x="149" y="275"/>
                    <a:pt x="160" y="275"/>
                    <a:pt x="166" y="278"/>
                  </a:cubicBezTo>
                  <a:cubicBezTo>
                    <a:pt x="172" y="281"/>
                    <a:pt x="176" y="301"/>
                    <a:pt x="170" y="300"/>
                  </a:cubicBezTo>
                  <a:cubicBezTo>
                    <a:pt x="164" y="299"/>
                    <a:pt x="136" y="327"/>
                    <a:pt x="132" y="347"/>
                  </a:cubicBezTo>
                  <a:cubicBezTo>
                    <a:pt x="127" y="366"/>
                    <a:pt x="123" y="375"/>
                    <a:pt x="133" y="397"/>
                  </a:cubicBezTo>
                  <a:cubicBezTo>
                    <a:pt x="144" y="419"/>
                    <a:pt x="174" y="413"/>
                    <a:pt x="181" y="410"/>
                  </a:cubicBezTo>
                  <a:cubicBezTo>
                    <a:pt x="189" y="407"/>
                    <a:pt x="185" y="395"/>
                    <a:pt x="184" y="375"/>
                  </a:cubicBezTo>
                  <a:cubicBezTo>
                    <a:pt x="182" y="355"/>
                    <a:pt x="192" y="364"/>
                    <a:pt x="198" y="374"/>
                  </a:cubicBezTo>
                  <a:cubicBezTo>
                    <a:pt x="204" y="384"/>
                    <a:pt x="203" y="402"/>
                    <a:pt x="215" y="416"/>
                  </a:cubicBezTo>
                  <a:cubicBezTo>
                    <a:pt x="226" y="430"/>
                    <a:pt x="235" y="419"/>
                    <a:pt x="240" y="406"/>
                  </a:cubicBezTo>
                  <a:cubicBezTo>
                    <a:pt x="245" y="393"/>
                    <a:pt x="232" y="357"/>
                    <a:pt x="230" y="341"/>
                  </a:cubicBezTo>
                  <a:cubicBezTo>
                    <a:pt x="229" y="326"/>
                    <a:pt x="238" y="322"/>
                    <a:pt x="250" y="322"/>
                  </a:cubicBezTo>
                  <a:cubicBezTo>
                    <a:pt x="262" y="322"/>
                    <a:pt x="248" y="347"/>
                    <a:pt x="268" y="373"/>
                  </a:cubicBezTo>
                  <a:cubicBezTo>
                    <a:pt x="287" y="399"/>
                    <a:pt x="292" y="396"/>
                    <a:pt x="316" y="385"/>
                  </a:cubicBezTo>
                  <a:cubicBezTo>
                    <a:pt x="340" y="375"/>
                    <a:pt x="311" y="327"/>
                    <a:pt x="295" y="310"/>
                  </a:cubicBezTo>
                  <a:cubicBezTo>
                    <a:pt x="279" y="294"/>
                    <a:pt x="263" y="294"/>
                    <a:pt x="263" y="288"/>
                  </a:cubicBezTo>
                  <a:cubicBezTo>
                    <a:pt x="263" y="282"/>
                    <a:pt x="266" y="267"/>
                    <a:pt x="264" y="259"/>
                  </a:cubicBezTo>
                  <a:cubicBezTo>
                    <a:pt x="262" y="251"/>
                    <a:pt x="258" y="239"/>
                    <a:pt x="265" y="233"/>
                  </a:cubicBezTo>
                  <a:cubicBezTo>
                    <a:pt x="273" y="226"/>
                    <a:pt x="301" y="222"/>
                    <a:pt x="300" y="199"/>
                  </a:cubicBezTo>
                  <a:cubicBezTo>
                    <a:pt x="299" y="177"/>
                    <a:pt x="294" y="175"/>
                    <a:pt x="275" y="161"/>
                  </a:cubicBezTo>
                  <a:cubicBezTo>
                    <a:pt x="257" y="148"/>
                    <a:pt x="216" y="168"/>
                    <a:pt x="217" y="159"/>
                  </a:cubicBezTo>
                  <a:cubicBezTo>
                    <a:pt x="218" y="150"/>
                    <a:pt x="250" y="138"/>
                    <a:pt x="270" y="132"/>
                  </a:cubicBezTo>
                  <a:cubicBezTo>
                    <a:pt x="290" y="125"/>
                    <a:pt x="306" y="126"/>
                    <a:pt x="316" y="126"/>
                  </a:cubicBezTo>
                  <a:cubicBezTo>
                    <a:pt x="326" y="126"/>
                    <a:pt x="326" y="118"/>
                    <a:pt x="332" y="110"/>
                  </a:cubicBezTo>
                  <a:cubicBezTo>
                    <a:pt x="337" y="102"/>
                    <a:pt x="334" y="88"/>
                    <a:pt x="321" y="75"/>
                  </a:cubicBezTo>
                  <a:cubicBezTo>
                    <a:pt x="308" y="61"/>
                    <a:pt x="263" y="74"/>
                    <a:pt x="256" y="74"/>
                  </a:cubicBezTo>
                  <a:cubicBezTo>
                    <a:pt x="250" y="74"/>
                    <a:pt x="250" y="63"/>
                    <a:pt x="240" y="51"/>
                  </a:cubicBezTo>
                  <a:cubicBezTo>
                    <a:pt x="229" y="38"/>
                    <a:pt x="220" y="18"/>
                    <a:pt x="212" y="9"/>
                  </a:cubicBezTo>
                  <a:cubicBezTo>
                    <a:pt x="205" y="0"/>
                    <a:pt x="203" y="8"/>
                    <a:pt x="190" y="6"/>
                  </a:cubicBezTo>
                  <a:cubicBezTo>
                    <a:pt x="176" y="3"/>
                    <a:pt x="165" y="15"/>
                    <a:pt x="174" y="34"/>
                  </a:cubicBezTo>
                  <a:cubicBezTo>
                    <a:pt x="183" y="53"/>
                    <a:pt x="183" y="56"/>
                    <a:pt x="183" y="70"/>
                  </a:cubicBezTo>
                  <a:cubicBezTo>
                    <a:pt x="183" y="84"/>
                    <a:pt x="197" y="88"/>
                    <a:pt x="172" y="98"/>
                  </a:cubicBezTo>
                  <a:cubicBezTo>
                    <a:pt x="147" y="108"/>
                    <a:pt x="75" y="152"/>
                    <a:pt x="65" y="161"/>
                  </a:cubicBezTo>
                  <a:cubicBezTo>
                    <a:pt x="55" y="170"/>
                    <a:pt x="26" y="169"/>
                    <a:pt x="21" y="171"/>
                  </a:cubicBezTo>
                  <a:cubicBezTo>
                    <a:pt x="15" y="173"/>
                    <a:pt x="0" y="170"/>
                    <a:pt x="10" y="198"/>
                  </a:cubicBezTo>
                  <a:cubicBezTo>
                    <a:pt x="24" y="238"/>
                    <a:pt x="26" y="227"/>
                    <a:pt x="33" y="22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1049878" name="ïs1îḋè"/>
            <p:cNvSpPr/>
            <p:nvPr/>
          </p:nvSpPr>
          <p:spPr bwMode="auto">
            <a:xfrm>
              <a:off x="7263066" y="4780553"/>
              <a:ext cx="674688" cy="863600"/>
            </a:xfrm>
            <a:custGeom>
              <a:avLst/>
              <a:gdLst>
                <a:gd name="T0" fmla="*/ 258 w 366"/>
                <a:gd name="T1" fmla="*/ 136 h 468"/>
                <a:gd name="T2" fmla="*/ 270 w 366"/>
                <a:gd name="T3" fmla="*/ 115 h 468"/>
                <a:gd name="T4" fmla="*/ 287 w 366"/>
                <a:gd name="T5" fmla="*/ 153 h 468"/>
                <a:gd name="T6" fmla="*/ 200 w 366"/>
                <a:gd name="T7" fmla="*/ 103 h 468"/>
                <a:gd name="T8" fmla="*/ 227 w 366"/>
                <a:gd name="T9" fmla="*/ 122 h 468"/>
                <a:gd name="T10" fmla="*/ 225 w 366"/>
                <a:gd name="T11" fmla="*/ 167 h 468"/>
                <a:gd name="T12" fmla="*/ 215 w 366"/>
                <a:gd name="T13" fmla="*/ 201 h 468"/>
                <a:gd name="T14" fmla="*/ 197 w 366"/>
                <a:gd name="T15" fmla="*/ 167 h 468"/>
                <a:gd name="T16" fmla="*/ 204 w 366"/>
                <a:gd name="T17" fmla="*/ 133 h 468"/>
                <a:gd name="T18" fmla="*/ 200 w 366"/>
                <a:gd name="T19" fmla="*/ 103 h 468"/>
                <a:gd name="T20" fmla="*/ 271 w 366"/>
                <a:gd name="T21" fmla="*/ 175 h 468"/>
                <a:gd name="T22" fmla="*/ 286 w 366"/>
                <a:gd name="T23" fmla="*/ 190 h 468"/>
                <a:gd name="T24" fmla="*/ 146 w 366"/>
                <a:gd name="T25" fmla="*/ 109 h 468"/>
                <a:gd name="T26" fmla="*/ 87 w 366"/>
                <a:gd name="T27" fmla="*/ 173 h 468"/>
                <a:gd name="T28" fmla="*/ 7 w 366"/>
                <a:gd name="T29" fmla="*/ 236 h 468"/>
                <a:gd name="T30" fmla="*/ 111 w 366"/>
                <a:gd name="T31" fmla="*/ 239 h 468"/>
                <a:gd name="T32" fmla="*/ 108 w 366"/>
                <a:gd name="T33" fmla="*/ 279 h 468"/>
                <a:gd name="T34" fmla="*/ 110 w 366"/>
                <a:gd name="T35" fmla="*/ 332 h 468"/>
                <a:gd name="T36" fmla="*/ 139 w 366"/>
                <a:gd name="T37" fmla="*/ 316 h 468"/>
                <a:gd name="T38" fmla="*/ 159 w 366"/>
                <a:gd name="T39" fmla="*/ 326 h 468"/>
                <a:gd name="T40" fmla="*/ 189 w 366"/>
                <a:gd name="T41" fmla="*/ 330 h 468"/>
                <a:gd name="T42" fmla="*/ 217 w 366"/>
                <a:gd name="T43" fmla="*/ 281 h 468"/>
                <a:gd name="T44" fmla="*/ 284 w 366"/>
                <a:gd name="T45" fmla="*/ 237 h 468"/>
                <a:gd name="T46" fmla="*/ 287 w 366"/>
                <a:gd name="T47" fmla="*/ 396 h 468"/>
                <a:gd name="T48" fmla="*/ 284 w 366"/>
                <a:gd name="T49" fmla="*/ 461 h 468"/>
                <a:gd name="T50" fmla="*/ 319 w 366"/>
                <a:gd name="T51" fmla="*/ 393 h 468"/>
                <a:gd name="T52" fmla="*/ 327 w 366"/>
                <a:gd name="T53" fmla="*/ 227 h 468"/>
                <a:gd name="T54" fmla="*/ 363 w 366"/>
                <a:gd name="T55" fmla="*/ 202 h 468"/>
                <a:gd name="T56" fmla="*/ 324 w 366"/>
                <a:gd name="T57" fmla="*/ 162 h 468"/>
                <a:gd name="T58" fmla="*/ 330 w 366"/>
                <a:gd name="T59" fmla="*/ 85 h 468"/>
                <a:gd name="T60" fmla="*/ 324 w 366"/>
                <a:gd name="T61" fmla="*/ 23 h 468"/>
                <a:gd name="T62" fmla="*/ 275 w 366"/>
                <a:gd name="T63" fmla="*/ 29 h 468"/>
                <a:gd name="T64" fmla="*/ 286 w 366"/>
                <a:gd name="T65" fmla="*/ 69 h 468"/>
                <a:gd name="T66" fmla="*/ 253 w 366"/>
                <a:gd name="T67" fmla="*/ 65 h 468"/>
                <a:gd name="T68" fmla="*/ 212 w 366"/>
                <a:gd name="T69" fmla="*/ 52 h 468"/>
                <a:gd name="T70" fmla="*/ 115 w 366"/>
                <a:gd name="T71" fmla="*/ 68 h 468"/>
                <a:gd name="T72" fmla="*/ 30 w 366"/>
                <a:gd name="T73" fmla="*/ 163 h 468"/>
                <a:gd name="T74" fmla="*/ 96 w 366"/>
                <a:gd name="T75" fmla="*/ 132 h 4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366" h="468">
                  <a:moveTo>
                    <a:pt x="270" y="152"/>
                  </a:moveTo>
                  <a:cubicBezTo>
                    <a:pt x="270" y="152"/>
                    <a:pt x="273" y="146"/>
                    <a:pt x="258" y="136"/>
                  </a:cubicBezTo>
                  <a:cubicBezTo>
                    <a:pt x="242" y="126"/>
                    <a:pt x="247" y="126"/>
                    <a:pt x="254" y="122"/>
                  </a:cubicBezTo>
                  <a:cubicBezTo>
                    <a:pt x="261" y="119"/>
                    <a:pt x="262" y="114"/>
                    <a:pt x="270" y="115"/>
                  </a:cubicBezTo>
                  <a:cubicBezTo>
                    <a:pt x="279" y="116"/>
                    <a:pt x="285" y="112"/>
                    <a:pt x="287" y="120"/>
                  </a:cubicBezTo>
                  <a:cubicBezTo>
                    <a:pt x="289" y="128"/>
                    <a:pt x="291" y="151"/>
                    <a:pt x="287" y="153"/>
                  </a:cubicBezTo>
                  <a:cubicBezTo>
                    <a:pt x="284" y="155"/>
                    <a:pt x="271" y="153"/>
                    <a:pt x="270" y="152"/>
                  </a:cubicBezTo>
                  <a:close/>
                  <a:moveTo>
                    <a:pt x="200" y="103"/>
                  </a:moveTo>
                  <a:cubicBezTo>
                    <a:pt x="200" y="99"/>
                    <a:pt x="207" y="96"/>
                    <a:pt x="216" y="102"/>
                  </a:cubicBezTo>
                  <a:cubicBezTo>
                    <a:pt x="225" y="108"/>
                    <a:pt x="228" y="113"/>
                    <a:pt x="227" y="122"/>
                  </a:cubicBezTo>
                  <a:cubicBezTo>
                    <a:pt x="225" y="131"/>
                    <a:pt x="222" y="135"/>
                    <a:pt x="223" y="145"/>
                  </a:cubicBezTo>
                  <a:cubicBezTo>
                    <a:pt x="223" y="156"/>
                    <a:pt x="217" y="162"/>
                    <a:pt x="225" y="167"/>
                  </a:cubicBezTo>
                  <a:cubicBezTo>
                    <a:pt x="232" y="173"/>
                    <a:pt x="235" y="171"/>
                    <a:pt x="233" y="185"/>
                  </a:cubicBezTo>
                  <a:cubicBezTo>
                    <a:pt x="231" y="202"/>
                    <a:pt x="214" y="210"/>
                    <a:pt x="215" y="201"/>
                  </a:cubicBezTo>
                  <a:cubicBezTo>
                    <a:pt x="215" y="192"/>
                    <a:pt x="220" y="185"/>
                    <a:pt x="213" y="176"/>
                  </a:cubicBezTo>
                  <a:cubicBezTo>
                    <a:pt x="205" y="167"/>
                    <a:pt x="204" y="178"/>
                    <a:pt x="197" y="167"/>
                  </a:cubicBezTo>
                  <a:cubicBezTo>
                    <a:pt x="191" y="155"/>
                    <a:pt x="195" y="154"/>
                    <a:pt x="199" y="152"/>
                  </a:cubicBezTo>
                  <a:cubicBezTo>
                    <a:pt x="204" y="149"/>
                    <a:pt x="209" y="147"/>
                    <a:pt x="204" y="133"/>
                  </a:cubicBezTo>
                  <a:cubicBezTo>
                    <a:pt x="199" y="119"/>
                    <a:pt x="198" y="127"/>
                    <a:pt x="197" y="119"/>
                  </a:cubicBezTo>
                  <a:cubicBezTo>
                    <a:pt x="196" y="112"/>
                    <a:pt x="200" y="107"/>
                    <a:pt x="200" y="103"/>
                  </a:cubicBezTo>
                  <a:close/>
                  <a:moveTo>
                    <a:pt x="246" y="206"/>
                  </a:moveTo>
                  <a:cubicBezTo>
                    <a:pt x="243" y="205"/>
                    <a:pt x="264" y="181"/>
                    <a:pt x="271" y="175"/>
                  </a:cubicBezTo>
                  <a:cubicBezTo>
                    <a:pt x="277" y="170"/>
                    <a:pt x="289" y="166"/>
                    <a:pt x="288" y="173"/>
                  </a:cubicBezTo>
                  <a:cubicBezTo>
                    <a:pt x="287" y="180"/>
                    <a:pt x="291" y="185"/>
                    <a:pt x="286" y="190"/>
                  </a:cubicBezTo>
                  <a:cubicBezTo>
                    <a:pt x="282" y="195"/>
                    <a:pt x="250" y="207"/>
                    <a:pt x="246" y="206"/>
                  </a:cubicBezTo>
                  <a:close/>
                  <a:moveTo>
                    <a:pt x="146" y="109"/>
                  </a:moveTo>
                  <a:cubicBezTo>
                    <a:pt x="146" y="114"/>
                    <a:pt x="141" y="124"/>
                    <a:pt x="134" y="134"/>
                  </a:cubicBezTo>
                  <a:cubicBezTo>
                    <a:pt x="127" y="144"/>
                    <a:pt x="103" y="162"/>
                    <a:pt x="87" y="173"/>
                  </a:cubicBezTo>
                  <a:cubicBezTo>
                    <a:pt x="70" y="183"/>
                    <a:pt x="23" y="206"/>
                    <a:pt x="16" y="212"/>
                  </a:cubicBezTo>
                  <a:cubicBezTo>
                    <a:pt x="10" y="218"/>
                    <a:pt x="0" y="213"/>
                    <a:pt x="7" y="236"/>
                  </a:cubicBezTo>
                  <a:cubicBezTo>
                    <a:pt x="13" y="258"/>
                    <a:pt x="24" y="253"/>
                    <a:pt x="55" y="252"/>
                  </a:cubicBezTo>
                  <a:cubicBezTo>
                    <a:pt x="85" y="250"/>
                    <a:pt x="106" y="237"/>
                    <a:pt x="111" y="239"/>
                  </a:cubicBezTo>
                  <a:cubicBezTo>
                    <a:pt x="116" y="242"/>
                    <a:pt x="119" y="251"/>
                    <a:pt x="119" y="259"/>
                  </a:cubicBezTo>
                  <a:cubicBezTo>
                    <a:pt x="120" y="266"/>
                    <a:pt x="116" y="270"/>
                    <a:pt x="108" y="279"/>
                  </a:cubicBezTo>
                  <a:cubicBezTo>
                    <a:pt x="100" y="288"/>
                    <a:pt x="100" y="303"/>
                    <a:pt x="100" y="311"/>
                  </a:cubicBezTo>
                  <a:cubicBezTo>
                    <a:pt x="101" y="318"/>
                    <a:pt x="104" y="325"/>
                    <a:pt x="110" y="332"/>
                  </a:cubicBezTo>
                  <a:cubicBezTo>
                    <a:pt x="117" y="338"/>
                    <a:pt x="119" y="333"/>
                    <a:pt x="127" y="333"/>
                  </a:cubicBezTo>
                  <a:cubicBezTo>
                    <a:pt x="134" y="332"/>
                    <a:pt x="138" y="323"/>
                    <a:pt x="139" y="316"/>
                  </a:cubicBezTo>
                  <a:cubicBezTo>
                    <a:pt x="140" y="308"/>
                    <a:pt x="148" y="313"/>
                    <a:pt x="155" y="314"/>
                  </a:cubicBezTo>
                  <a:cubicBezTo>
                    <a:pt x="161" y="316"/>
                    <a:pt x="158" y="318"/>
                    <a:pt x="159" y="326"/>
                  </a:cubicBezTo>
                  <a:cubicBezTo>
                    <a:pt x="159" y="334"/>
                    <a:pt x="159" y="336"/>
                    <a:pt x="168" y="339"/>
                  </a:cubicBezTo>
                  <a:cubicBezTo>
                    <a:pt x="177" y="343"/>
                    <a:pt x="178" y="342"/>
                    <a:pt x="189" y="330"/>
                  </a:cubicBezTo>
                  <a:cubicBezTo>
                    <a:pt x="199" y="319"/>
                    <a:pt x="187" y="291"/>
                    <a:pt x="193" y="292"/>
                  </a:cubicBezTo>
                  <a:cubicBezTo>
                    <a:pt x="198" y="293"/>
                    <a:pt x="209" y="289"/>
                    <a:pt x="217" y="281"/>
                  </a:cubicBezTo>
                  <a:cubicBezTo>
                    <a:pt x="225" y="273"/>
                    <a:pt x="232" y="272"/>
                    <a:pt x="243" y="263"/>
                  </a:cubicBezTo>
                  <a:cubicBezTo>
                    <a:pt x="253" y="254"/>
                    <a:pt x="278" y="233"/>
                    <a:pt x="284" y="237"/>
                  </a:cubicBezTo>
                  <a:cubicBezTo>
                    <a:pt x="290" y="240"/>
                    <a:pt x="285" y="282"/>
                    <a:pt x="286" y="321"/>
                  </a:cubicBezTo>
                  <a:cubicBezTo>
                    <a:pt x="288" y="361"/>
                    <a:pt x="286" y="379"/>
                    <a:pt x="287" y="396"/>
                  </a:cubicBezTo>
                  <a:cubicBezTo>
                    <a:pt x="289" y="413"/>
                    <a:pt x="278" y="425"/>
                    <a:pt x="278" y="434"/>
                  </a:cubicBezTo>
                  <a:cubicBezTo>
                    <a:pt x="277" y="443"/>
                    <a:pt x="278" y="454"/>
                    <a:pt x="284" y="461"/>
                  </a:cubicBezTo>
                  <a:cubicBezTo>
                    <a:pt x="291" y="468"/>
                    <a:pt x="296" y="458"/>
                    <a:pt x="305" y="449"/>
                  </a:cubicBezTo>
                  <a:cubicBezTo>
                    <a:pt x="314" y="440"/>
                    <a:pt x="315" y="424"/>
                    <a:pt x="319" y="393"/>
                  </a:cubicBezTo>
                  <a:cubicBezTo>
                    <a:pt x="323" y="362"/>
                    <a:pt x="318" y="269"/>
                    <a:pt x="320" y="252"/>
                  </a:cubicBezTo>
                  <a:cubicBezTo>
                    <a:pt x="321" y="236"/>
                    <a:pt x="323" y="232"/>
                    <a:pt x="327" y="227"/>
                  </a:cubicBezTo>
                  <a:cubicBezTo>
                    <a:pt x="332" y="222"/>
                    <a:pt x="332" y="212"/>
                    <a:pt x="340" y="211"/>
                  </a:cubicBezTo>
                  <a:cubicBezTo>
                    <a:pt x="349" y="210"/>
                    <a:pt x="360" y="212"/>
                    <a:pt x="363" y="202"/>
                  </a:cubicBezTo>
                  <a:cubicBezTo>
                    <a:pt x="366" y="192"/>
                    <a:pt x="364" y="182"/>
                    <a:pt x="358" y="177"/>
                  </a:cubicBezTo>
                  <a:cubicBezTo>
                    <a:pt x="352" y="172"/>
                    <a:pt x="326" y="167"/>
                    <a:pt x="324" y="162"/>
                  </a:cubicBezTo>
                  <a:cubicBezTo>
                    <a:pt x="322" y="158"/>
                    <a:pt x="323" y="119"/>
                    <a:pt x="322" y="108"/>
                  </a:cubicBezTo>
                  <a:cubicBezTo>
                    <a:pt x="322" y="96"/>
                    <a:pt x="324" y="98"/>
                    <a:pt x="330" y="85"/>
                  </a:cubicBezTo>
                  <a:cubicBezTo>
                    <a:pt x="336" y="73"/>
                    <a:pt x="333" y="65"/>
                    <a:pt x="334" y="48"/>
                  </a:cubicBezTo>
                  <a:cubicBezTo>
                    <a:pt x="334" y="32"/>
                    <a:pt x="334" y="33"/>
                    <a:pt x="324" y="23"/>
                  </a:cubicBezTo>
                  <a:cubicBezTo>
                    <a:pt x="315" y="14"/>
                    <a:pt x="306" y="6"/>
                    <a:pt x="292" y="3"/>
                  </a:cubicBezTo>
                  <a:cubicBezTo>
                    <a:pt x="278" y="0"/>
                    <a:pt x="274" y="12"/>
                    <a:pt x="275" y="29"/>
                  </a:cubicBezTo>
                  <a:cubicBezTo>
                    <a:pt x="275" y="47"/>
                    <a:pt x="278" y="37"/>
                    <a:pt x="282" y="43"/>
                  </a:cubicBezTo>
                  <a:cubicBezTo>
                    <a:pt x="286" y="49"/>
                    <a:pt x="285" y="62"/>
                    <a:pt x="286" y="69"/>
                  </a:cubicBezTo>
                  <a:cubicBezTo>
                    <a:pt x="287" y="76"/>
                    <a:pt x="283" y="77"/>
                    <a:pt x="274" y="77"/>
                  </a:cubicBezTo>
                  <a:cubicBezTo>
                    <a:pt x="265" y="78"/>
                    <a:pt x="268" y="69"/>
                    <a:pt x="253" y="65"/>
                  </a:cubicBezTo>
                  <a:cubicBezTo>
                    <a:pt x="238" y="60"/>
                    <a:pt x="225" y="74"/>
                    <a:pt x="218" y="72"/>
                  </a:cubicBezTo>
                  <a:cubicBezTo>
                    <a:pt x="212" y="71"/>
                    <a:pt x="215" y="68"/>
                    <a:pt x="212" y="52"/>
                  </a:cubicBezTo>
                  <a:cubicBezTo>
                    <a:pt x="209" y="36"/>
                    <a:pt x="191" y="26"/>
                    <a:pt x="177" y="26"/>
                  </a:cubicBezTo>
                  <a:cubicBezTo>
                    <a:pt x="164" y="26"/>
                    <a:pt x="135" y="52"/>
                    <a:pt x="115" y="68"/>
                  </a:cubicBezTo>
                  <a:cubicBezTo>
                    <a:pt x="96" y="84"/>
                    <a:pt x="55" y="129"/>
                    <a:pt x="47" y="139"/>
                  </a:cubicBezTo>
                  <a:cubicBezTo>
                    <a:pt x="39" y="149"/>
                    <a:pt x="30" y="156"/>
                    <a:pt x="30" y="163"/>
                  </a:cubicBezTo>
                  <a:cubicBezTo>
                    <a:pt x="30" y="170"/>
                    <a:pt x="28" y="170"/>
                    <a:pt x="39" y="172"/>
                  </a:cubicBezTo>
                  <a:cubicBezTo>
                    <a:pt x="49" y="174"/>
                    <a:pt x="64" y="154"/>
                    <a:pt x="96" y="132"/>
                  </a:cubicBezTo>
                  <a:cubicBezTo>
                    <a:pt x="128" y="110"/>
                    <a:pt x="147" y="103"/>
                    <a:pt x="146" y="10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1049879" name="îš1ïdè"/>
            <p:cNvSpPr/>
            <p:nvPr/>
          </p:nvSpPr>
          <p:spPr bwMode="auto">
            <a:xfrm>
              <a:off x="5180266" y="4845640"/>
              <a:ext cx="635000" cy="660400"/>
            </a:xfrm>
            <a:custGeom>
              <a:avLst/>
              <a:gdLst>
                <a:gd name="T0" fmla="*/ 5 w 344"/>
                <a:gd name="T1" fmla="*/ 147 h 358"/>
                <a:gd name="T2" fmla="*/ 38 w 344"/>
                <a:gd name="T3" fmla="*/ 142 h 358"/>
                <a:gd name="T4" fmla="*/ 53 w 344"/>
                <a:gd name="T5" fmla="*/ 125 h 358"/>
                <a:gd name="T6" fmla="*/ 43 w 344"/>
                <a:gd name="T7" fmla="*/ 70 h 358"/>
                <a:gd name="T8" fmla="*/ 48 w 344"/>
                <a:gd name="T9" fmla="*/ 43 h 358"/>
                <a:gd name="T10" fmla="*/ 76 w 344"/>
                <a:gd name="T11" fmla="*/ 45 h 358"/>
                <a:gd name="T12" fmla="*/ 122 w 344"/>
                <a:gd name="T13" fmla="*/ 89 h 358"/>
                <a:gd name="T14" fmla="*/ 122 w 344"/>
                <a:gd name="T15" fmla="*/ 185 h 358"/>
                <a:gd name="T16" fmla="*/ 141 w 344"/>
                <a:gd name="T17" fmla="*/ 192 h 358"/>
                <a:gd name="T18" fmla="*/ 231 w 344"/>
                <a:gd name="T19" fmla="*/ 135 h 358"/>
                <a:gd name="T20" fmla="*/ 241 w 344"/>
                <a:gd name="T21" fmla="*/ 87 h 358"/>
                <a:gd name="T22" fmla="*/ 234 w 344"/>
                <a:gd name="T23" fmla="*/ 48 h 358"/>
                <a:gd name="T24" fmla="*/ 263 w 344"/>
                <a:gd name="T25" fmla="*/ 17 h 358"/>
                <a:gd name="T26" fmla="*/ 298 w 344"/>
                <a:gd name="T27" fmla="*/ 76 h 358"/>
                <a:gd name="T28" fmla="*/ 292 w 344"/>
                <a:gd name="T29" fmla="*/ 111 h 358"/>
                <a:gd name="T30" fmla="*/ 317 w 344"/>
                <a:gd name="T31" fmla="*/ 138 h 358"/>
                <a:gd name="T32" fmla="*/ 292 w 344"/>
                <a:gd name="T33" fmla="*/ 181 h 358"/>
                <a:gd name="T34" fmla="*/ 270 w 344"/>
                <a:gd name="T35" fmla="*/ 217 h 358"/>
                <a:gd name="T36" fmla="*/ 276 w 344"/>
                <a:gd name="T37" fmla="*/ 252 h 358"/>
                <a:gd name="T38" fmla="*/ 334 w 344"/>
                <a:gd name="T39" fmla="*/ 270 h 358"/>
                <a:gd name="T40" fmla="*/ 333 w 344"/>
                <a:gd name="T41" fmla="*/ 304 h 358"/>
                <a:gd name="T42" fmla="*/ 226 w 344"/>
                <a:gd name="T43" fmla="*/ 338 h 358"/>
                <a:gd name="T44" fmla="*/ 166 w 344"/>
                <a:gd name="T45" fmla="*/ 352 h 358"/>
                <a:gd name="T46" fmla="*/ 191 w 344"/>
                <a:gd name="T47" fmla="*/ 319 h 358"/>
                <a:gd name="T48" fmla="*/ 228 w 344"/>
                <a:gd name="T49" fmla="*/ 287 h 358"/>
                <a:gd name="T50" fmla="*/ 231 w 344"/>
                <a:gd name="T51" fmla="*/ 223 h 358"/>
                <a:gd name="T52" fmla="*/ 194 w 344"/>
                <a:gd name="T53" fmla="*/ 194 h 358"/>
                <a:gd name="T54" fmla="*/ 152 w 344"/>
                <a:gd name="T55" fmla="*/ 228 h 358"/>
                <a:gd name="T56" fmla="*/ 55 w 344"/>
                <a:gd name="T57" fmla="*/ 337 h 358"/>
                <a:gd name="T58" fmla="*/ 21 w 344"/>
                <a:gd name="T59" fmla="*/ 316 h 358"/>
                <a:gd name="T60" fmla="*/ 30 w 344"/>
                <a:gd name="T61" fmla="*/ 260 h 358"/>
                <a:gd name="T62" fmla="*/ 53 w 344"/>
                <a:gd name="T63" fmla="*/ 228 h 358"/>
                <a:gd name="T64" fmla="*/ 37 w 344"/>
                <a:gd name="T65" fmla="*/ 201 h 358"/>
                <a:gd name="T66" fmla="*/ 1 w 344"/>
                <a:gd name="T67" fmla="*/ 170 h 358"/>
                <a:gd name="T68" fmla="*/ 5 w 344"/>
                <a:gd name="T69" fmla="*/ 147 h 3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344" h="358">
                  <a:moveTo>
                    <a:pt x="5" y="147"/>
                  </a:moveTo>
                  <a:cubicBezTo>
                    <a:pt x="6" y="143"/>
                    <a:pt x="22" y="140"/>
                    <a:pt x="38" y="142"/>
                  </a:cubicBezTo>
                  <a:cubicBezTo>
                    <a:pt x="54" y="144"/>
                    <a:pt x="53" y="137"/>
                    <a:pt x="53" y="125"/>
                  </a:cubicBezTo>
                  <a:cubicBezTo>
                    <a:pt x="53" y="112"/>
                    <a:pt x="60" y="89"/>
                    <a:pt x="43" y="70"/>
                  </a:cubicBezTo>
                  <a:cubicBezTo>
                    <a:pt x="25" y="52"/>
                    <a:pt x="48" y="43"/>
                    <a:pt x="48" y="43"/>
                  </a:cubicBezTo>
                  <a:cubicBezTo>
                    <a:pt x="48" y="43"/>
                    <a:pt x="55" y="32"/>
                    <a:pt x="76" y="45"/>
                  </a:cubicBezTo>
                  <a:cubicBezTo>
                    <a:pt x="97" y="58"/>
                    <a:pt x="115" y="74"/>
                    <a:pt x="122" y="89"/>
                  </a:cubicBezTo>
                  <a:cubicBezTo>
                    <a:pt x="129" y="104"/>
                    <a:pt x="118" y="174"/>
                    <a:pt x="122" y="185"/>
                  </a:cubicBezTo>
                  <a:cubicBezTo>
                    <a:pt x="125" y="195"/>
                    <a:pt x="130" y="200"/>
                    <a:pt x="141" y="192"/>
                  </a:cubicBezTo>
                  <a:cubicBezTo>
                    <a:pt x="153" y="183"/>
                    <a:pt x="214" y="138"/>
                    <a:pt x="231" y="135"/>
                  </a:cubicBezTo>
                  <a:cubicBezTo>
                    <a:pt x="249" y="132"/>
                    <a:pt x="241" y="103"/>
                    <a:pt x="241" y="87"/>
                  </a:cubicBezTo>
                  <a:cubicBezTo>
                    <a:pt x="242" y="70"/>
                    <a:pt x="234" y="59"/>
                    <a:pt x="234" y="48"/>
                  </a:cubicBezTo>
                  <a:cubicBezTo>
                    <a:pt x="234" y="36"/>
                    <a:pt x="247" y="0"/>
                    <a:pt x="263" y="17"/>
                  </a:cubicBezTo>
                  <a:cubicBezTo>
                    <a:pt x="279" y="35"/>
                    <a:pt x="303" y="58"/>
                    <a:pt x="298" y="76"/>
                  </a:cubicBezTo>
                  <a:cubicBezTo>
                    <a:pt x="294" y="95"/>
                    <a:pt x="283" y="92"/>
                    <a:pt x="292" y="111"/>
                  </a:cubicBezTo>
                  <a:cubicBezTo>
                    <a:pt x="301" y="129"/>
                    <a:pt x="320" y="117"/>
                    <a:pt x="317" y="138"/>
                  </a:cubicBezTo>
                  <a:cubicBezTo>
                    <a:pt x="315" y="160"/>
                    <a:pt x="321" y="149"/>
                    <a:pt x="292" y="181"/>
                  </a:cubicBezTo>
                  <a:cubicBezTo>
                    <a:pt x="268" y="209"/>
                    <a:pt x="270" y="208"/>
                    <a:pt x="270" y="217"/>
                  </a:cubicBezTo>
                  <a:cubicBezTo>
                    <a:pt x="270" y="226"/>
                    <a:pt x="266" y="249"/>
                    <a:pt x="276" y="252"/>
                  </a:cubicBezTo>
                  <a:cubicBezTo>
                    <a:pt x="287" y="254"/>
                    <a:pt x="325" y="250"/>
                    <a:pt x="334" y="270"/>
                  </a:cubicBezTo>
                  <a:cubicBezTo>
                    <a:pt x="344" y="290"/>
                    <a:pt x="344" y="295"/>
                    <a:pt x="333" y="304"/>
                  </a:cubicBezTo>
                  <a:cubicBezTo>
                    <a:pt x="321" y="312"/>
                    <a:pt x="288" y="320"/>
                    <a:pt x="226" y="338"/>
                  </a:cubicBezTo>
                  <a:cubicBezTo>
                    <a:pt x="180" y="351"/>
                    <a:pt x="168" y="358"/>
                    <a:pt x="166" y="352"/>
                  </a:cubicBezTo>
                  <a:cubicBezTo>
                    <a:pt x="164" y="346"/>
                    <a:pt x="175" y="331"/>
                    <a:pt x="191" y="319"/>
                  </a:cubicBezTo>
                  <a:cubicBezTo>
                    <a:pt x="207" y="307"/>
                    <a:pt x="224" y="304"/>
                    <a:pt x="228" y="287"/>
                  </a:cubicBezTo>
                  <a:cubicBezTo>
                    <a:pt x="232" y="270"/>
                    <a:pt x="235" y="234"/>
                    <a:pt x="231" y="223"/>
                  </a:cubicBezTo>
                  <a:cubicBezTo>
                    <a:pt x="227" y="212"/>
                    <a:pt x="213" y="188"/>
                    <a:pt x="194" y="194"/>
                  </a:cubicBezTo>
                  <a:cubicBezTo>
                    <a:pt x="176" y="200"/>
                    <a:pt x="166" y="210"/>
                    <a:pt x="152" y="228"/>
                  </a:cubicBezTo>
                  <a:cubicBezTo>
                    <a:pt x="138" y="247"/>
                    <a:pt x="66" y="336"/>
                    <a:pt x="55" y="337"/>
                  </a:cubicBezTo>
                  <a:cubicBezTo>
                    <a:pt x="45" y="338"/>
                    <a:pt x="22" y="340"/>
                    <a:pt x="21" y="316"/>
                  </a:cubicBezTo>
                  <a:cubicBezTo>
                    <a:pt x="20" y="292"/>
                    <a:pt x="16" y="285"/>
                    <a:pt x="30" y="260"/>
                  </a:cubicBezTo>
                  <a:cubicBezTo>
                    <a:pt x="44" y="234"/>
                    <a:pt x="53" y="241"/>
                    <a:pt x="53" y="228"/>
                  </a:cubicBezTo>
                  <a:cubicBezTo>
                    <a:pt x="53" y="216"/>
                    <a:pt x="47" y="207"/>
                    <a:pt x="37" y="201"/>
                  </a:cubicBezTo>
                  <a:cubicBezTo>
                    <a:pt x="27" y="195"/>
                    <a:pt x="2" y="182"/>
                    <a:pt x="1" y="170"/>
                  </a:cubicBezTo>
                  <a:cubicBezTo>
                    <a:pt x="0" y="157"/>
                    <a:pt x="4" y="150"/>
                    <a:pt x="5" y="14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1049880" name="ï$líḋé"/>
            <p:cNvSpPr/>
            <p:nvPr/>
          </p:nvSpPr>
          <p:spPr bwMode="auto">
            <a:xfrm>
              <a:off x="5596191" y="5675903"/>
              <a:ext cx="25400" cy="30163"/>
            </a:xfrm>
            <a:prstGeom prst="rect">
              <a:avLst/>
            </a:pr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1049881" name="işḷíḓè"/>
            <p:cNvSpPr/>
            <p:nvPr/>
          </p:nvSpPr>
          <p:spPr bwMode="auto">
            <a:xfrm>
              <a:off x="5596191" y="5733053"/>
              <a:ext cx="25400" cy="149225"/>
            </a:xfrm>
            <a:prstGeom prst="rect">
              <a:avLst/>
            </a:pr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1049882" name="ïSḷîḋé"/>
            <p:cNvSpPr/>
            <p:nvPr/>
          </p:nvSpPr>
          <p:spPr bwMode="auto">
            <a:xfrm>
              <a:off x="5645403" y="5733053"/>
              <a:ext cx="136525" cy="149225"/>
            </a:xfrm>
            <a:custGeom>
              <a:avLst/>
              <a:gdLst>
                <a:gd name="T0" fmla="*/ 42 w 74"/>
                <a:gd name="T1" fmla="*/ 50 h 81"/>
                <a:gd name="T2" fmla="*/ 37 w 74"/>
                <a:gd name="T3" fmla="*/ 65 h 81"/>
                <a:gd name="T4" fmla="*/ 32 w 74"/>
                <a:gd name="T5" fmla="*/ 49 h 81"/>
                <a:gd name="T6" fmla="*/ 14 w 74"/>
                <a:gd name="T7" fmla="*/ 0 h 81"/>
                <a:gd name="T8" fmla="*/ 0 w 74"/>
                <a:gd name="T9" fmla="*/ 0 h 81"/>
                <a:gd name="T10" fmla="*/ 31 w 74"/>
                <a:gd name="T11" fmla="*/ 81 h 81"/>
                <a:gd name="T12" fmla="*/ 44 w 74"/>
                <a:gd name="T13" fmla="*/ 81 h 81"/>
                <a:gd name="T14" fmla="*/ 74 w 74"/>
                <a:gd name="T15" fmla="*/ 0 h 81"/>
                <a:gd name="T16" fmla="*/ 60 w 74"/>
                <a:gd name="T17" fmla="*/ 0 h 81"/>
                <a:gd name="T18" fmla="*/ 42 w 74"/>
                <a:gd name="T19" fmla="*/ 50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4" h="81">
                  <a:moveTo>
                    <a:pt x="42" y="50"/>
                  </a:moveTo>
                  <a:cubicBezTo>
                    <a:pt x="40" y="56"/>
                    <a:pt x="38" y="61"/>
                    <a:pt x="37" y="65"/>
                  </a:cubicBezTo>
                  <a:cubicBezTo>
                    <a:pt x="35" y="59"/>
                    <a:pt x="34" y="54"/>
                    <a:pt x="32" y="49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44" y="81"/>
                    <a:pt x="44" y="81"/>
                    <a:pt x="44" y="81"/>
                  </a:cubicBezTo>
                  <a:cubicBezTo>
                    <a:pt x="74" y="0"/>
                    <a:pt x="74" y="0"/>
                    <a:pt x="74" y="0"/>
                  </a:cubicBezTo>
                  <a:cubicBezTo>
                    <a:pt x="60" y="0"/>
                    <a:pt x="60" y="0"/>
                    <a:pt x="60" y="0"/>
                  </a:cubicBezTo>
                  <a:lnTo>
                    <a:pt x="42" y="5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1049883" name="išḷiḓé"/>
            <p:cNvSpPr/>
            <p:nvPr/>
          </p:nvSpPr>
          <p:spPr bwMode="auto">
            <a:xfrm>
              <a:off x="5796216" y="5729878"/>
              <a:ext cx="138113" cy="157163"/>
            </a:xfrm>
            <a:custGeom>
              <a:avLst/>
              <a:gdLst>
                <a:gd name="T0" fmla="*/ 38 w 75"/>
                <a:gd name="T1" fmla="*/ 0 h 85"/>
                <a:gd name="T2" fmla="*/ 10 w 75"/>
                <a:gd name="T3" fmla="*/ 12 h 85"/>
                <a:gd name="T4" fmla="*/ 0 w 75"/>
                <a:gd name="T5" fmla="*/ 43 h 85"/>
                <a:gd name="T6" fmla="*/ 10 w 75"/>
                <a:gd name="T7" fmla="*/ 74 h 85"/>
                <a:gd name="T8" fmla="*/ 39 w 75"/>
                <a:gd name="T9" fmla="*/ 85 h 85"/>
                <a:gd name="T10" fmla="*/ 62 w 75"/>
                <a:gd name="T11" fmla="*/ 78 h 85"/>
                <a:gd name="T12" fmla="*/ 74 w 75"/>
                <a:gd name="T13" fmla="*/ 59 h 85"/>
                <a:gd name="T14" fmla="*/ 60 w 75"/>
                <a:gd name="T15" fmla="*/ 57 h 85"/>
                <a:gd name="T16" fmla="*/ 52 w 75"/>
                <a:gd name="T17" fmla="*/ 70 h 85"/>
                <a:gd name="T18" fmla="*/ 39 w 75"/>
                <a:gd name="T19" fmla="*/ 74 h 85"/>
                <a:gd name="T20" fmla="*/ 22 w 75"/>
                <a:gd name="T21" fmla="*/ 67 h 85"/>
                <a:gd name="T22" fmla="*/ 14 w 75"/>
                <a:gd name="T23" fmla="*/ 46 h 85"/>
                <a:gd name="T24" fmla="*/ 75 w 75"/>
                <a:gd name="T25" fmla="*/ 46 h 85"/>
                <a:gd name="T26" fmla="*/ 75 w 75"/>
                <a:gd name="T27" fmla="*/ 43 h 85"/>
                <a:gd name="T28" fmla="*/ 64 w 75"/>
                <a:gd name="T29" fmla="*/ 11 h 85"/>
                <a:gd name="T30" fmla="*/ 38 w 75"/>
                <a:gd name="T31" fmla="*/ 0 h 85"/>
                <a:gd name="T32" fmla="*/ 15 w 75"/>
                <a:gd name="T33" fmla="*/ 35 h 85"/>
                <a:gd name="T34" fmla="*/ 22 w 75"/>
                <a:gd name="T35" fmla="*/ 18 h 85"/>
                <a:gd name="T36" fmla="*/ 38 w 75"/>
                <a:gd name="T37" fmla="*/ 12 h 85"/>
                <a:gd name="T38" fmla="*/ 55 w 75"/>
                <a:gd name="T39" fmla="*/ 20 h 85"/>
                <a:gd name="T40" fmla="*/ 60 w 75"/>
                <a:gd name="T41" fmla="*/ 35 h 85"/>
                <a:gd name="T42" fmla="*/ 15 w 75"/>
                <a:gd name="T43" fmla="*/ 35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75" h="85">
                  <a:moveTo>
                    <a:pt x="38" y="0"/>
                  </a:moveTo>
                  <a:cubicBezTo>
                    <a:pt x="27" y="0"/>
                    <a:pt x="17" y="4"/>
                    <a:pt x="10" y="12"/>
                  </a:cubicBezTo>
                  <a:cubicBezTo>
                    <a:pt x="3" y="19"/>
                    <a:pt x="0" y="30"/>
                    <a:pt x="0" y="43"/>
                  </a:cubicBezTo>
                  <a:cubicBezTo>
                    <a:pt x="0" y="57"/>
                    <a:pt x="3" y="67"/>
                    <a:pt x="10" y="74"/>
                  </a:cubicBezTo>
                  <a:cubicBezTo>
                    <a:pt x="17" y="81"/>
                    <a:pt x="27" y="85"/>
                    <a:pt x="39" y="85"/>
                  </a:cubicBezTo>
                  <a:cubicBezTo>
                    <a:pt x="48" y="85"/>
                    <a:pt x="56" y="83"/>
                    <a:pt x="62" y="78"/>
                  </a:cubicBezTo>
                  <a:cubicBezTo>
                    <a:pt x="68" y="74"/>
                    <a:pt x="72" y="67"/>
                    <a:pt x="74" y="59"/>
                  </a:cubicBezTo>
                  <a:cubicBezTo>
                    <a:pt x="60" y="57"/>
                    <a:pt x="60" y="57"/>
                    <a:pt x="60" y="57"/>
                  </a:cubicBezTo>
                  <a:cubicBezTo>
                    <a:pt x="58" y="63"/>
                    <a:pt x="55" y="67"/>
                    <a:pt x="52" y="70"/>
                  </a:cubicBezTo>
                  <a:cubicBezTo>
                    <a:pt x="48" y="73"/>
                    <a:pt x="44" y="74"/>
                    <a:pt x="39" y="74"/>
                  </a:cubicBezTo>
                  <a:cubicBezTo>
                    <a:pt x="32" y="74"/>
                    <a:pt x="26" y="71"/>
                    <a:pt x="22" y="67"/>
                  </a:cubicBezTo>
                  <a:cubicBezTo>
                    <a:pt x="17" y="62"/>
                    <a:pt x="15" y="55"/>
                    <a:pt x="14" y="46"/>
                  </a:cubicBezTo>
                  <a:cubicBezTo>
                    <a:pt x="75" y="46"/>
                    <a:pt x="75" y="46"/>
                    <a:pt x="75" y="46"/>
                  </a:cubicBezTo>
                  <a:cubicBezTo>
                    <a:pt x="75" y="45"/>
                    <a:pt x="75" y="43"/>
                    <a:pt x="75" y="43"/>
                  </a:cubicBezTo>
                  <a:cubicBezTo>
                    <a:pt x="75" y="29"/>
                    <a:pt x="71" y="19"/>
                    <a:pt x="64" y="11"/>
                  </a:cubicBezTo>
                  <a:cubicBezTo>
                    <a:pt x="58" y="4"/>
                    <a:pt x="49" y="0"/>
                    <a:pt x="38" y="0"/>
                  </a:cubicBezTo>
                  <a:close/>
                  <a:moveTo>
                    <a:pt x="15" y="35"/>
                  </a:moveTo>
                  <a:cubicBezTo>
                    <a:pt x="15" y="28"/>
                    <a:pt x="18" y="22"/>
                    <a:pt x="22" y="18"/>
                  </a:cubicBezTo>
                  <a:cubicBezTo>
                    <a:pt x="26" y="14"/>
                    <a:pt x="32" y="12"/>
                    <a:pt x="38" y="12"/>
                  </a:cubicBezTo>
                  <a:cubicBezTo>
                    <a:pt x="45" y="12"/>
                    <a:pt x="51" y="14"/>
                    <a:pt x="55" y="20"/>
                  </a:cubicBezTo>
                  <a:cubicBezTo>
                    <a:pt x="58" y="23"/>
                    <a:pt x="60" y="28"/>
                    <a:pt x="60" y="35"/>
                  </a:cubicBezTo>
                  <a:lnTo>
                    <a:pt x="15" y="35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1049884" name="iṩľidè"/>
            <p:cNvSpPr/>
            <p:nvPr/>
          </p:nvSpPr>
          <p:spPr bwMode="auto">
            <a:xfrm>
              <a:off x="5964491" y="5729878"/>
              <a:ext cx="82550" cy="152400"/>
            </a:xfrm>
            <a:custGeom>
              <a:avLst/>
              <a:gdLst>
                <a:gd name="T0" fmla="*/ 22 w 45"/>
                <a:gd name="T1" fmla="*/ 3 h 83"/>
                <a:gd name="T2" fmla="*/ 13 w 45"/>
                <a:gd name="T3" fmla="*/ 14 h 83"/>
                <a:gd name="T4" fmla="*/ 13 w 45"/>
                <a:gd name="T5" fmla="*/ 2 h 83"/>
                <a:gd name="T6" fmla="*/ 0 w 45"/>
                <a:gd name="T7" fmla="*/ 2 h 83"/>
                <a:gd name="T8" fmla="*/ 0 w 45"/>
                <a:gd name="T9" fmla="*/ 83 h 83"/>
                <a:gd name="T10" fmla="*/ 14 w 45"/>
                <a:gd name="T11" fmla="*/ 83 h 83"/>
                <a:gd name="T12" fmla="*/ 14 w 45"/>
                <a:gd name="T13" fmla="*/ 41 h 83"/>
                <a:gd name="T14" fmla="*/ 17 w 45"/>
                <a:gd name="T15" fmla="*/ 25 h 83"/>
                <a:gd name="T16" fmla="*/ 22 w 45"/>
                <a:gd name="T17" fmla="*/ 17 h 83"/>
                <a:gd name="T18" fmla="*/ 30 w 45"/>
                <a:gd name="T19" fmla="*/ 14 h 83"/>
                <a:gd name="T20" fmla="*/ 40 w 45"/>
                <a:gd name="T21" fmla="*/ 17 h 83"/>
                <a:gd name="T22" fmla="*/ 45 w 45"/>
                <a:gd name="T23" fmla="*/ 5 h 83"/>
                <a:gd name="T24" fmla="*/ 30 w 45"/>
                <a:gd name="T25" fmla="*/ 0 h 83"/>
                <a:gd name="T26" fmla="*/ 22 w 45"/>
                <a:gd name="T27" fmla="*/ 3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5" h="83">
                  <a:moveTo>
                    <a:pt x="22" y="3"/>
                  </a:moveTo>
                  <a:cubicBezTo>
                    <a:pt x="19" y="5"/>
                    <a:pt x="16" y="9"/>
                    <a:pt x="13" y="14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83"/>
                    <a:pt x="0" y="83"/>
                    <a:pt x="0" y="83"/>
                  </a:cubicBezTo>
                  <a:cubicBezTo>
                    <a:pt x="14" y="83"/>
                    <a:pt x="14" y="83"/>
                    <a:pt x="14" y="83"/>
                  </a:cubicBezTo>
                  <a:cubicBezTo>
                    <a:pt x="14" y="41"/>
                    <a:pt x="14" y="41"/>
                    <a:pt x="14" y="41"/>
                  </a:cubicBezTo>
                  <a:cubicBezTo>
                    <a:pt x="14" y="35"/>
                    <a:pt x="15" y="30"/>
                    <a:pt x="17" y="25"/>
                  </a:cubicBezTo>
                  <a:cubicBezTo>
                    <a:pt x="18" y="21"/>
                    <a:pt x="19" y="19"/>
                    <a:pt x="22" y="17"/>
                  </a:cubicBezTo>
                  <a:cubicBezTo>
                    <a:pt x="24" y="15"/>
                    <a:pt x="27" y="14"/>
                    <a:pt x="30" y="14"/>
                  </a:cubicBezTo>
                  <a:cubicBezTo>
                    <a:pt x="33" y="14"/>
                    <a:pt x="37" y="15"/>
                    <a:pt x="40" y="17"/>
                  </a:cubicBezTo>
                  <a:cubicBezTo>
                    <a:pt x="45" y="5"/>
                    <a:pt x="45" y="5"/>
                    <a:pt x="45" y="5"/>
                  </a:cubicBezTo>
                  <a:cubicBezTo>
                    <a:pt x="40" y="2"/>
                    <a:pt x="35" y="0"/>
                    <a:pt x="30" y="0"/>
                  </a:cubicBezTo>
                  <a:cubicBezTo>
                    <a:pt x="27" y="0"/>
                    <a:pt x="24" y="1"/>
                    <a:pt x="22" y="3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1049885" name="îṡļiḑe"/>
            <p:cNvSpPr/>
            <p:nvPr/>
          </p:nvSpPr>
          <p:spPr bwMode="auto">
            <a:xfrm>
              <a:off x="6050216" y="5729878"/>
              <a:ext cx="125413" cy="157163"/>
            </a:xfrm>
            <a:custGeom>
              <a:avLst/>
              <a:gdLst>
                <a:gd name="T0" fmla="*/ 55 w 68"/>
                <a:gd name="T1" fmla="*/ 40 h 85"/>
                <a:gd name="T2" fmla="*/ 35 w 68"/>
                <a:gd name="T3" fmla="*/ 34 h 85"/>
                <a:gd name="T4" fmla="*/ 23 w 68"/>
                <a:gd name="T5" fmla="*/ 31 h 85"/>
                <a:gd name="T6" fmla="*/ 18 w 68"/>
                <a:gd name="T7" fmla="*/ 27 h 85"/>
                <a:gd name="T8" fmla="*/ 16 w 68"/>
                <a:gd name="T9" fmla="*/ 22 h 85"/>
                <a:gd name="T10" fmla="*/ 20 w 68"/>
                <a:gd name="T11" fmla="*/ 15 h 85"/>
                <a:gd name="T12" fmla="*/ 34 w 68"/>
                <a:gd name="T13" fmla="*/ 12 h 85"/>
                <a:gd name="T14" fmla="*/ 46 w 68"/>
                <a:gd name="T15" fmla="*/ 15 h 85"/>
                <a:gd name="T16" fmla="*/ 51 w 68"/>
                <a:gd name="T17" fmla="*/ 25 h 85"/>
                <a:gd name="T18" fmla="*/ 65 w 68"/>
                <a:gd name="T19" fmla="*/ 23 h 85"/>
                <a:gd name="T20" fmla="*/ 60 w 68"/>
                <a:gd name="T21" fmla="*/ 10 h 85"/>
                <a:gd name="T22" fmla="*/ 49 w 68"/>
                <a:gd name="T23" fmla="*/ 3 h 85"/>
                <a:gd name="T24" fmla="*/ 33 w 68"/>
                <a:gd name="T25" fmla="*/ 0 h 85"/>
                <a:gd name="T26" fmla="*/ 21 w 68"/>
                <a:gd name="T27" fmla="*/ 2 h 85"/>
                <a:gd name="T28" fmla="*/ 12 w 68"/>
                <a:gd name="T29" fmla="*/ 6 h 85"/>
                <a:gd name="T30" fmla="*/ 5 w 68"/>
                <a:gd name="T31" fmla="*/ 14 h 85"/>
                <a:gd name="T32" fmla="*/ 3 w 68"/>
                <a:gd name="T33" fmla="*/ 24 h 85"/>
                <a:gd name="T34" fmla="*/ 6 w 68"/>
                <a:gd name="T35" fmla="*/ 35 h 85"/>
                <a:gd name="T36" fmla="*/ 15 w 68"/>
                <a:gd name="T37" fmla="*/ 42 h 85"/>
                <a:gd name="T38" fmla="*/ 36 w 68"/>
                <a:gd name="T39" fmla="*/ 49 h 85"/>
                <a:gd name="T40" fmla="*/ 50 w 68"/>
                <a:gd name="T41" fmla="*/ 54 h 85"/>
                <a:gd name="T42" fmla="*/ 54 w 68"/>
                <a:gd name="T43" fmla="*/ 61 h 85"/>
                <a:gd name="T44" fmla="*/ 49 w 68"/>
                <a:gd name="T45" fmla="*/ 70 h 85"/>
                <a:gd name="T46" fmla="*/ 35 w 68"/>
                <a:gd name="T47" fmla="*/ 74 h 85"/>
                <a:gd name="T48" fmla="*/ 20 w 68"/>
                <a:gd name="T49" fmla="*/ 69 h 85"/>
                <a:gd name="T50" fmla="*/ 14 w 68"/>
                <a:gd name="T51" fmla="*/ 57 h 85"/>
                <a:gd name="T52" fmla="*/ 0 w 68"/>
                <a:gd name="T53" fmla="*/ 59 h 85"/>
                <a:gd name="T54" fmla="*/ 11 w 68"/>
                <a:gd name="T55" fmla="*/ 79 h 85"/>
                <a:gd name="T56" fmla="*/ 35 w 68"/>
                <a:gd name="T57" fmla="*/ 85 h 85"/>
                <a:gd name="T58" fmla="*/ 52 w 68"/>
                <a:gd name="T59" fmla="*/ 82 h 85"/>
                <a:gd name="T60" fmla="*/ 64 w 68"/>
                <a:gd name="T61" fmla="*/ 72 h 85"/>
                <a:gd name="T62" fmla="*/ 68 w 68"/>
                <a:gd name="T63" fmla="*/ 59 h 85"/>
                <a:gd name="T64" fmla="*/ 65 w 68"/>
                <a:gd name="T65" fmla="*/ 48 h 85"/>
                <a:gd name="T66" fmla="*/ 55 w 68"/>
                <a:gd name="T67" fmla="*/ 40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68" h="85">
                  <a:moveTo>
                    <a:pt x="55" y="40"/>
                  </a:moveTo>
                  <a:cubicBezTo>
                    <a:pt x="52" y="39"/>
                    <a:pt x="45" y="37"/>
                    <a:pt x="35" y="34"/>
                  </a:cubicBezTo>
                  <a:cubicBezTo>
                    <a:pt x="28" y="32"/>
                    <a:pt x="24" y="31"/>
                    <a:pt x="23" y="31"/>
                  </a:cubicBezTo>
                  <a:cubicBezTo>
                    <a:pt x="20" y="30"/>
                    <a:pt x="19" y="28"/>
                    <a:pt x="18" y="27"/>
                  </a:cubicBezTo>
                  <a:cubicBezTo>
                    <a:pt x="16" y="25"/>
                    <a:pt x="16" y="24"/>
                    <a:pt x="16" y="22"/>
                  </a:cubicBezTo>
                  <a:cubicBezTo>
                    <a:pt x="16" y="19"/>
                    <a:pt x="17" y="17"/>
                    <a:pt x="20" y="15"/>
                  </a:cubicBezTo>
                  <a:cubicBezTo>
                    <a:pt x="23" y="13"/>
                    <a:pt x="27" y="12"/>
                    <a:pt x="34" y="12"/>
                  </a:cubicBezTo>
                  <a:cubicBezTo>
                    <a:pt x="39" y="12"/>
                    <a:pt x="43" y="13"/>
                    <a:pt x="46" y="15"/>
                  </a:cubicBezTo>
                  <a:cubicBezTo>
                    <a:pt x="49" y="17"/>
                    <a:pt x="51" y="21"/>
                    <a:pt x="51" y="25"/>
                  </a:cubicBezTo>
                  <a:cubicBezTo>
                    <a:pt x="65" y="23"/>
                    <a:pt x="65" y="23"/>
                    <a:pt x="65" y="23"/>
                  </a:cubicBezTo>
                  <a:cubicBezTo>
                    <a:pt x="64" y="18"/>
                    <a:pt x="62" y="14"/>
                    <a:pt x="60" y="10"/>
                  </a:cubicBezTo>
                  <a:cubicBezTo>
                    <a:pt x="58" y="7"/>
                    <a:pt x="54" y="5"/>
                    <a:pt x="49" y="3"/>
                  </a:cubicBezTo>
                  <a:cubicBezTo>
                    <a:pt x="44" y="1"/>
                    <a:pt x="39" y="0"/>
                    <a:pt x="33" y="0"/>
                  </a:cubicBezTo>
                  <a:cubicBezTo>
                    <a:pt x="28" y="0"/>
                    <a:pt x="24" y="1"/>
                    <a:pt x="21" y="2"/>
                  </a:cubicBezTo>
                  <a:cubicBezTo>
                    <a:pt x="17" y="3"/>
                    <a:pt x="14" y="4"/>
                    <a:pt x="12" y="6"/>
                  </a:cubicBezTo>
                  <a:cubicBezTo>
                    <a:pt x="9" y="8"/>
                    <a:pt x="7" y="10"/>
                    <a:pt x="5" y="14"/>
                  </a:cubicBezTo>
                  <a:cubicBezTo>
                    <a:pt x="3" y="17"/>
                    <a:pt x="3" y="20"/>
                    <a:pt x="3" y="24"/>
                  </a:cubicBezTo>
                  <a:cubicBezTo>
                    <a:pt x="3" y="28"/>
                    <a:pt x="4" y="31"/>
                    <a:pt x="6" y="35"/>
                  </a:cubicBezTo>
                  <a:cubicBezTo>
                    <a:pt x="8" y="38"/>
                    <a:pt x="11" y="40"/>
                    <a:pt x="15" y="42"/>
                  </a:cubicBezTo>
                  <a:cubicBezTo>
                    <a:pt x="18" y="44"/>
                    <a:pt x="25" y="46"/>
                    <a:pt x="36" y="49"/>
                  </a:cubicBezTo>
                  <a:cubicBezTo>
                    <a:pt x="43" y="51"/>
                    <a:pt x="48" y="52"/>
                    <a:pt x="50" y="54"/>
                  </a:cubicBezTo>
                  <a:cubicBezTo>
                    <a:pt x="52" y="55"/>
                    <a:pt x="54" y="58"/>
                    <a:pt x="54" y="61"/>
                  </a:cubicBezTo>
                  <a:cubicBezTo>
                    <a:pt x="54" y="64"/>
                    <a:pt x="52" y="67"/>
                    <a:pt x="49" y="70"/>
                  </a:cubicBezTo>
                  <a:cubicBezTo>
                    <a:pt x="46" y="73"/>
                    <a:pt x="41" y="74"/>
                    <a:pt x="35" y="74"/>
                  </a:cubicBezTo>
                  <a:cubicBezTo>
                    <a:pt x="29" y="74"/>
                    <a:pt x="24" y="72"/>
                    <a:pt x="20" y="69"/>
                  </a:cubicBezTo>
                  <a:cubicBezTo>
                    <a:pt x="17" y="67"/>
                    <a:pt x="15" y="62"/>
                    <a:pt x="14" y="57"/>
                  </a:cubicBezTo>
                  <a:cubicBezTo>
                    <a:pt x="0" y="59"/>
                    <a:pt x="0" y="59"/>
                    <a:pt x="0" y="59"/>
                  </a:cubicBezTo>
                  <a:cubicBezTo>
                    <a:pt x="2" y="68"/>
                    <a:pt x="5" y="74"/>
                    <a:pt x="11" y="79"/>
                  </a:cubicBezTo>
                  <a:cubicBezTo>
                    <a:pt x="16" y="83"/>
                    <a:pt x="24" y="85"/>
                    <a:pt x="35" y="85"/>
                  </a:cubicBezTo>
                  <a:cubicBezTo>
                    <a:pt x="41" y="85"/>
                    <a:pt x="47" y="84"/>
                    <a:pt x="52" y="82"/>
                  </a:cubicBezTo>
                  <a:cubicBezTo>
                    <a:pt x="57" y="80"/>
                    <a:pt x="61" y="76"/>
                    <a:pt x="64" y="72"/>
                  </a:cubicBezTo>
                  <a:cubicBezTo>
                    <a:pt x="66" y="68"/>
                    <a:pt x="68" y="64"/>
                    <a:pt x="68" y="59"/>
                  </a:cubicBezTo>
                  <a:cubicBezTo>
                    <a:pt x="68" y="55"/>
                    <a:pt x="67" y="51"/>
                    <a:pt x="65" y="48"/>
                  </a:cubicBezTo>
                  <a:cubicBezTo>
                    <a:pt x="62" y="45"/>
                    <a:pt x="59" y="42"/>
                    <a:pt x="55" y="4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1049886" name="ïśļíḓe"/>
            <p:cNvSpPr/>
            <p:nvPr/>
          </p:nvSpPr>
          <p:spPr bwMode="auto">
            <a:xfrm>
              <a:off x="6205791" y="5675903"/>
              <a:ext cx="25400" cy="30163"/>
            </a:xfrm>
            <a:prstGeom prst="rect">
              <a:avLst/>
            </a:pr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1049887" name="îṡľîdè"/>
            <p:cNvSpPr/>
            <p:nvPr/>
          </p:nvSpPr>
          <p:spPr bwMode="auto">
            <a:xfrm>
              <a:off x="6205791" y="5733053"/>
              <a:ext cx="25400" cy="149225"/>
            </a:xfrm>
            <a:prstGeom prst="rect">
              <a:avLst/>
            </a:pr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1049888" name="îś1iḋê"/>
            <p:cNvSpPr/>
            <p:nvPr/>
          </p:nvSpPr>
          <p:spPr bwMode="auto">
            <a:xfrm>
              <a:off x="6255003" y="5680665"/>
              <a:ext cx="74613" cy="203200"/>
            </a:xfrm>
            <a:custGeom>
              <a:avLst/>
              <a:gdLst>
                <a:gd name="T0" fmla="*/ 32 w 40"/>
                <a:gd name="T1" fmla="*/ 98 h 110"/>
                <a:gd name="T2" fmla="*/ 27 w 40"/>
                <a:gd name="T3" fmla="*/ 97 h 110"/>
                <a:gd name="T4" fmla="*/ 25 w 40"/>
                <a:gd name="T5" fmla="*/ 94 h 110"/>
                <a:gd name="T6" fmla="*/ 24 w 40"/>
                <a:gd name="T7" fmla="*/ 86 h 110"/>
                <a:gd name="T8" fmla="*/ 24 w 40"/>
                <a:gd name="T9" fmla="*/ 39 h 110"/>
                <a:gd name="T10" fmla="*/ 38 w 40"/>
                <a:gd name="T11" fmla="*/ 39 h 110"/>
                <a:gd name="T12" fmla="*/ 38 w 40"/>
                <a:gd name="T13" fmla="*/ 28 h 110"/>
                <a:gd name="T14" fmla="*/ 24 w 40"/>
                <a:gd name="T15" fmla="*/ 28 h 110"/>
                <a:gd name="T16" fmla="*/ 24 w 40"/>
                <a:gd name="T17" fmla="*/ 0 h 110"/>
                <a:gd name="T18" fmla="*/ 11 w 40"/>
                <a:gd name="T19" fmla="*/ 8 h 110"/>
                <a:gd name="T20" fmla="*/ 11 w 40"/>
                <a:gd name="T21" fmla="*/ 28 h 110"/>
                <a:gd name="T22" fmla="*/ 0 w 40"/>
                <a:gd name="T23" fmla="*/ 28 h 110"/>
                <a:gd name="T24" fmla="*/ 0 w 40"/>
                <a:gd name="T25" fmla="*/ 39 h 110"/>
                <a:gd name="T26" fmla="*/ 11 w 40"/>
                <a:gd name="T27" fmla="*/ 39 h 110"/>
                <a:gd name="T28" fmla="*/ 11 w 40"/>
                <a:gd name="T29" fmla="*/ 86 h 110"/>
                <a:gd name="T30" fmla="*/ 12 w 40"/>
                <a:gd name="T31" fmla="*/ 102 h 110"/>
                <a:gd name="T32" fmla="*/ 18 w 40"/>
                <a:gd name="T33" fmla="*/ 108 h 110"/>
                <a:gd name="T34" fmla="*/ 30 w 40"/>
                <a:gd name="T35" fmla="*/ 110 h 110"/>
                <a:gd name="T36" fmla="*/ 40 w 40"/>
                <a:gd name="T37" fmla="*/ 109 h 110"/>
                <a:gd name="T38" fmla="*/ 38 w 40"/>
                <a:gd name="T39" fmla="*/ 97 h 110"/>
                <a:gd name="T40" fmla="*/ 32 w 40"/>
                <a:gd name="T41" fmla="*/ 98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0" h="110">
                  <a:moveTo>
                    <a:pt x="32" y="98"/>
                  </a:moveTo>
                  <a:cubicBezTo>
                    <a:pt x="30" y="98"/>
                    <a:pt x="28" y="97"/>
                    <a:pt x="27" y="97"/>
                  </a:cubicBezTo>
                  <a:cubicBezTo>
                    <a:pt x="26" y="96"/>
                    <a:pt x="25" y="95"/>
                    <a:pt x="25" y="94"/>
                  </a:cubicBezTo>
                  <a:cubicBezTo>
                    <a:pt x="24" y="93"/>
                    <a:pt x="24" y="90"/>
                    <a:pt x="24" y="86"/>
                  </a:cubicBezTo>
                  <a:cubicBezTo>
                    <a:pt x="24" y="39"/>
                    <a:pt x="24" y="39"/>
                    <a:pt x="24" y="39"/>
                  </a:cubicBezTo>
                  <a:cubicBezTo>
                    <a:pt x="38" y="39"/>
                    <a:pt x="38" y="39"/>
                    <a:pt x="38" y="39"/>
                  </a:cubicBezTo>
                  <a:cubicBezTo>
                    <a:pt x="38" y="28"/>
                    <a:pt x="38" y="28"/>
                    <a:pt x="38" y="28"/>
                  </a:cubicBezTo>
                  <a:cubicBezTo>
                    <a:pt x="24" y="28"/>
                    <a:pt x="24" y="28"/>
                    <a:pt x="24" y="28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11" y="8"/>
                    <a:pt x="11" y="8"/>
                    <a:pt x="11" y="8"/>
                  </a:cubicBezTo>
                  <a:cubicBezTo>
                    <a:pt x="11" y="28"/>
                    <a:pt x="11" y="28"/>
                    <a:pt x="11" y="28"/>
                  </a:cubicBezTo>
                  <a:cubicBezTo>
                    <a:pt x="0" y="28"/>
                    <a:pt x="0" y="28"/>
                    <a:pt x="0" y="28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11" y="39"/>
                    <a:pt x="11" y="39"/>
                    <a:pt x="11" y="39"/>
                  </a:cubicBezTo>
                  <a:cubicBezTo>
                    <a:pt x="11" y="86"/>
                    <a:pt x="11" y="86"/>
                    <a:pt x="11" y="86"/>
                  </a:cubicBezTo>
                  <a:cubicBezTo>
                    <a:pt x="11" y="94"/>
                    <a:pt x="11" y="99"/>
                    <a:pt x="12" y="102"/>
                  </a:cubicBezTo>
                  <a:cubicBezTo>
                    <a:pt x="13" y="104"/>
                    <a:pt x="15" y="106"/>
                    <a:pt x="18" y="108"/>
                  </a:cubicBezTo>
                  <a:cubicBezTo>
                    <a:pt x="21" y="110"/>
                    <a:pt x="25" y="110"/>
                    <a:pt x="30" y="110"/>
                  </a:cubicBezTo>
                  <a:cubicBezTo>
                    <a:pt x="33" y="110"/>
                    <a:pt x="36" y="110"/>
                    <a:pt x="40" y="109"/>
                  </a:cubicBezTo>
                  <a:cubicBezTo>
                    <a:pt x="38" y="97"/>
                    <a:pt x="38" y="97"/>
                    <a:pt x="38" y="97"/>
                  </a:cubicBezTo>
                  <a:cubicBezTo>
                    <a:pt x="36" y="97"/>
                    <a:pt x="34" y="98"/>
                    <a:pt x="32" y="9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1049889" name="išľîḋê"/>
            <p:cNvSpPr/>
            <p:nvPr/>
          </p:nvSpPr>
          <p:spPr bwMode="auto">
            <a:xfrm>
              <a:off x="6335966" y="5733053"/>
              <a:ext cx="136525" cy="211138"/>
            </a:xfrm>
            <a:custGeom>
              <a:avLst/>
              <a:gdLst>
                <a:gd name="T0" fmla="*/ 43 w 74"/>
                <a:gd name="T1" fmla="*/ 47 h 114"/>
                <a:gd name="T2" fmla="*/ 37 w 74"/>
                <a:gd name="T3" fmla="*/ 66 h 114"/>
                <a:gd name="T4" fmla="*/ 32 w 74"/>
                <a:gd name="T5" fmla="*/ 47 h 114"/>
                <a:gd name="T6" fmla="*/ 15 w 74"/>
                <a:gd name="T7" fmla="*/ 0 h 114"/>
                <a:gd name="T8" fmla="*/ 0 w 74"/>
                <a:gd name="T9" fmla="*/ 0 h 114"/>
                <a:gd name="T10" fmla="*/ 31 w 74"/>
                <a:gd name="T11" fmla="*/ 81 h 114"/>
                <a:gd name="T12" fmla="*/ 29 w 74"/>
                <a:gd name="T13" fmla="*/ 85 h 114"/>
                <a:gd name="T14" fmla="*/ 25 w 74"/>
                <a:gd name="T15" fmla="*/ 95 h 114"/>
                <a:gd name="T16" fmla="*/ 21 w 74"/>
                <a:gd name="T17" fmla="*/ 99 h 114"/>
                <a:gd name="T18" fmla="*/ 13 w 74"/>
                <a:gd name="T19" fmla="*/ 101 h 114"/>
                <a:gd name="T20" fmla="*/ 5 w 74"/>
                <a:gd name="T21" fmla="*/ 100 h 114"/>
                <a:gd name="T22" fmla="*/ 7 w 74"/>
                <a:gd name="T23" fmla="*/ 113 h 114"/>
                <a:gd name="T24" fmla="*/ 16 w 74"/>
                <a:gd name="T25" fmla="*/ 114 h 114"/>
                <a:gd name="T26" fmla="*/ 27 w 74"/>
                <a:gd name="T27" fmla="*/ 111 h 114"/>
                <a:gd name="T28" fmla="*/ 36 w 74"/>
                <a:gd name="T29" fmla="*/ 101 h 114"/>
                <a:gd name="T30" fmla="*/ 43 w 74"/>
                <a:gd name="T31" fmla="*/ 83 h 114"/>
                <a:gd name="T32" fmla="*/ 74 w 74"/>
                <a:gd name="T33" fmla="*/ 0 h 114"/>
                <a:gd name="T34" fmla="*/ 60 w 74"/>
                <a:gd name="T35" fmla="*/ 0 h 114"/>
                <a:gd name="T36" fmla="*/ 43 w 74"/>
                <a:gd name="T37" fmla="*/ 47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74" h="114">
                  <a:moveTo>
                    <a:pt x="43" y="47"/>
                  </a:moveTo>
                  <a:cubicBezTo>
                    <a:pt x="41" y="53"/>
                    <a:pt x="39" y="60"/>
                    <a:pt x="37" y="66"/>
                  </a:cubicBezTo>
                  <a:cubicBezTo>
                    <a:pt x="36" y="59"/>
                    <a:pt x="34" y="53"/>
                    <a:pt x="32" y="47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0" y="83"/>
                    <a:pt x="30" y="84"/>
                    <a:pt x="29" y="85"/>
                  </a:cubicBezTo>
                  <a:cubicBezTo>
                    <a:pt x="27" y="90"/>
                    <a:pt x="26" y="94"/>
                    <a:pt x="25" y="95"/>
                  </a:cubicBezTo>
                  <a:cubicBezTo>
                    <a:pt x="24" y="97"/>
                    <a:pt x="22" y="98"/>
                    <a:pt x="21" y="99"/>
                  </a:cubicBezTo>
                  <a:cubicBezTo>
                    <a:pt x="19" y="100"/>
                    <a:pt x="16" y="101"/>
                    <a:pt x="13" y="101"/>
                  </a:cubicBezTo>
                  <a:cubicBezTo>
                    <a:pt x="11" y="101"/>
                    <a:pt x="8" y="101"/>
                    <a:pt x="5" y="100"/>
                  </a:cubicBezTo>
                  <a:cubicBezTo>
                    <a:pt x="7" y="113"/>
                    <a:pt x="7" y="113"/>
                    <a:pt x="7" y="113"/>
                  </a:cubicBezTo>
                  <a:cubicBezTo>
                    <a:pt x="10" y="114"/>
                    <a:pt x="13" y="114"/>
                    <a:pt x="16" y="114"/>
                  </a:cubicBezTo>
                  <a:cubicBezTo>
                    <a:pt x="20" y="114"/>
                    <a:pt x="24" y="113"/>
                    <a:pt x="27" y="111"/>
                  </a:cubicBezTo>
                  <a:cubicBezTo>
                    <a:pt x="30" y="109"/>
                    <a:pt x="33" y="106"/>
                    <a:pt x="36" y="101"/>
                  </a:cubicBezTo>
                  <a:cubicBezTo>
                    <a:pt x="37" y="98"/>
                    <a:pt x="40" y="92"/>
                    <a:pt x="43" y="83"/>
                  </a:cubicBezTo>
                  <a:cubicBezTo>
                    <a:pt x="74" y="0"/>
                    <a:pt x="74" y="0"/>
                    <a:pt x="74" y="0"/>
                  </a:cubicBezTo>
                  <a:cubicBezTo>
                    <a:pt x="60" y="0"/>
                    <a:pt x="60" y="0"/>
                    <a:pt x="60" y="0"/>
                  </a:cubicBezTo>
                  <a:lnTo>
                    <a:pt x="43" y="47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1049890" name="íSḷiḑè"/>
            <p:cNvSpPr/>
            <p:nvPr/>
          </p:nvSpPr>
          <p:spPr bwMode="auto">
            <a:xfrm>
              <a:off x="6564566" y="5729878"/>
              <a:ext cx="142875" cy="157163"/>
            </a:xfrm>
            <a:custGeom>
              <a:avLst/>
              <a:gdLst>
                <a:gd name="T0" fmla="*/ 38 w 77"/>
                <a:gd name="T1" fmla="*/ 0 h 85"/>
                <a:gd name="T2" fmla="*/ 13 w 77"/>
                <a:gd name="T3" fmla="*/ 9 h 85"/>
                <a:gd name="T4" fmla="*/ 0 w 77"/>
                <a:gd name="T5" fmla="*/ 43 h 85"/>
                <a:gd name="T6" fmla="*/ 11 w 77"/>
                <a:gd name="T7" fmla="*/ 74 h 85"/>
                <a:gd name="T8" fmla="*/ 38 w 77"/>
                <a:gd name="T9" fmla="*/ 85 h 85"/>
                <a:gd name="T10" fmla="*/ 58 w 77"/>
                <a:gd name="T11" fmla="*/ 80 h 85"/>
                <a:gd name="T12" fmla="*/ 72 w 77"/>
                <a:gd name="T13" fmla="*/ 66 h 85"/>
                <a:gd name="T14" fmla="*/ 77 w 77"/>
                <a:gd name="T15" fmla="*/ 42 h 85"/>
                <a:gd name="T16" fmla="*/ 66 w 77"/>
                <a:gd name="T17" fmla="*/ 11 h 85"/>
                <a:gd name="T18" fmla="*/ 38 w 77"/>
                <a:gd name="T19" fmla="*/ 0 h 85"/>
                <a:gd name="T20" fmla="*/ 56 w 77"/>
                <a:gd name="T21" fmla="*/ 66 h 85"/>
                <a:gd name="T22" fmla="*/ 38 w 77"/>
                <a:gd name="T23" fmla="*/ 74 h 85"/>
                <a:gd name="T24" fmla="*/ 21 w 77"/>
                <a:gd name="T25" fmla="*/ 66 h 85"/>
                <a:gd name="T26" fmla="*/ 15 w 77"/>
                <a:gd name="T27" fmla="*/ 43 h 85"/>
                <a:gd name="T28" fmla="*/ 21 w 77"/>
                <a:gd name="T29" fmla="*/ 19 h 85"/>
                <a:gd name="T30" fmla="*/ 38 w 77"/>
                <a:gd name="T31" fmla="*/ 12 h 85"/>
                <a:gd name="T32" fmla="*/ 56 w 77"/>
                <a:gd name="T33" fmla="*/ 19 h 85"/>
                <a:gd name="T34" fmla="*/ 62 w 77"/>
                <a:gd name="T35" fmla="*/ 42 h 85"/>
                <a:gd name="T36" fmla="*/ 56 w 77"/>
                <a:gd name="T37" fmla="*/ 66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77" h="85">
                  <a:moveTo>
                    <a:pt x="38" y="0"/>
                  </a:moveTo>
                  <a:cubicBezTo>
                    <a:pt x="28" y="0"/>
                    <a:pt x="20" y="3"/>
                    <a:pt x="13" y="9"/>
                  </a:cubicBezTo>
                  <a:cubicBezTo>
                    <a:pt x="5" y="16"/>
                    <a:pt x="0" y="28"/>
                    <a:pt x="0" y="43"/>
                  </a:cubicBezTo>
                  <a:cubicBezTo>
                    <a:pt x="0" y="56"/>
                    <a:pt x="4" y="67"/>
                    <a:pt x="11" y="74"/>
                  </a:cubicBezTo>
                  <a:cubicBezTo>
                    <a:pt x="18" y="82"/>
                    <a:pt x="27" y="85"/>
                    <a:pt x="38" y="85"/>
                  </a:cubicBezTo>
                  <a:cubicBezTo>
                    <a:pt x="46" y="85"/>
                    <a:pt x="52" y="84"/>
                    <a:pt x="58" y="80"/>
                  </a:cubicBezTo>
                  <a:cubicBezTo>
                    <a:pt x="64" y="77"/>
                    <a:pt x="69" y="72"/>
                    <a:pt x="72" y="66"/>
                  </a:cubicBezTo>
                  <a:cubicBezTo>
                    <a:pt x="75" y="60"/>
                    <a:pt x="77" y="52"/>
                    <a:pt x="77" y="42"/>
                  </a:cubicBezTo>
                  <a:cubicBezTo>
                    <a:pt x="77" y="29"/>
                    <a:pt x="73" y="19"/>
                    <a:pt x="66" y="11"/>
                  </a:cubicBezTo>
                  <a:cubicBezTo>
                    <a:pt x="59" y="4"/>
                    <a:pt x="50" y="0"/>
                    <a:pt x="38" y="0"/>
                  </a:cubicBezTo>
                  <a:close/>
                  <a:moveTo>
                    <a:pt x="56" y="66"/>
                  </a:moveTo>
                  <a:cubicBezTo>
                    <a:pt x="51" y="71"/>
                    <a:pt x="45" y="74"/>
                    <a:pt x="38" y="74"/>
                  </a:cubicBezTo>
                  <a:cubicBezTo>
                    <a:pt x="32" y="74"/>
                    <a:pt x="26" y="71"/>
                    <a:pt x="21" y="66"/>
                  </a:cubicBezTo>
                  <a:cubicBezTo>
                    <a:pt x="17" y="61"/>
                    <a:pt x="15" y="53"/>
                    <a:pt x="15" y="43"/>
                  </a:cubicBezTo>
                  <a:cubicBezTo>
                    <a:pt x="15" y="32"/>
                    <a:pt x="17" y="24"/>
                    <a:pt x="21" y="19"/>
                  </a:cubicBezTo>
                  <a:cubicBezTo>
                    <a:pt x="26" y="14"/>
                    <a:pt x="32" y="12"/>
                    <a:pt x="38" y="12"/>
                  </a:cubicBezTo>
                  <a:cubicBezTo>
                    <a:pt x="45" y="12"/>
                    <a:pt x="51" y="14"/>
                    <a:pt x="56" y="19"/>
                  </a:cubicBezTo>
                  <a:cubicBezTo>
                    <a:pt x="60" y="25"/>
                    <a:pt x="62" y="32"/>
                    <a:pt x="62" y="42"/>
                  </a:cubicBezTo>
                  <a:cubicBezTo>
                    <a:pt x="62" y="53"/>
                    <a:pt x="60" y="61"/>
                    <a:pt x="56" y="66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1049891" name="ïṣľïḑe"/>
            <p:cNvSpPr/>
            <p:nvPr/>
          </p:nvSpPr>
          <p:spPr bwMode="auto">
            <a:xfrm>
              <a:off x="6720141" y="5672728"/>
              <a:ext cx="85725" cy="209550"/>
            </a:xfrm>
            <a:custGeom>
              <a:avLst/>
              <a:gdLst>
                <a:gd name="T0" fmla="*/ 20 w 47"/>
                <a:gd name="T1" fmla="*/ 4 h 114"/>
                <a:gd name="T2" fmla="*/ 13 w 47"/>
                <a:gd name="T3" fmla="*/ 12 h 114"/>
                <a:gd name="T4" fmla="*/ 12 w 47"/>
                <a:gd name="T5" fmla="*/ 24 h 114"/>
                <a:gd name="T6" fmla="*/ 12 w 47"/>
                <a:gd name="T7" fmla="*/ 33 h 114"/>
                <a:gd name="T8" fmla="*/ 0 w 47"/>
                <a:gd name="T9" fmla="*/ 33 h 114"/>
                <a:gd name="T10" fmla="*/ 0 w 47"/>
                <a:gd name="T11" fmla="*/ 44 h 114"/>
                <a:gd name="T12" fmla="*/ 12 w 47"/>
                <a:gd name="T13" fmla="*/ 44 h 114"/>
                <a:gd name="T14" fmla="*/ 12 w 47"/>
                <a:gd name="T15" fmla="*/ 114 h 114"/>
                <a:gd name="T16" fmla="*/ 26 w 47"/>
                <a:gd name="T17" fmla="*/ 114 h 114"/>
                <a:gd name="T18" fmla="*/ 26 w 47"/>
                <a:gd name="T19" fmla="*/ 44 h 114"/>
                <a:gd name="T20" fmla="*/ 41 w 47"/>
                <a:gd name="T21" fmla="*/ 44 h 114"/>
                <a:gd name="T22" fmla="*/ 41 w 47"/>
                <a:gd name="T23" fmla="*/ 33 h 114"/>
                <a:gd name="T24" fmla="*/ 26 w 47"/>
                <a:gd name="T25" fmla="*/ 33 h 114"/>
                <a:gd name="T26" fmla="*/ 26 w 47"/>
                <a:gd name="T27" fmla="*/ 26 h 114"/>
                <a:gd name="T28" fmla="*/ 28 w 47"/>
                <a:gd name="T29" fmla="*/ 16 h 114"/>
                <a:gd name="T30" fmla="*/ 37 w 47"/>
                <a:gd name="T31" fmla="*/ 13 h 114"/>
                <a:gd name="T32" fmla="*/ 45 w 47"/>
                <a:gd name="T33" fmla="*/ 14 h 114"/>
                <a:gd name="T34" fmla="*/ 47 w 47"/>
                <a:gd name="T35" fmla="*/ 2 h 114"/>
                <a:gd name="T36" fmla="*/ 34 w 47"/>
                <a:gd name="T37" fmla="*/ 0 h 114"/>
                <a:gd name="T38" fmla="*/ 20 w 47"/>
                <a:gd name="T39" fmla="*/ 4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47" h="114">
                  <a:moveTo>
                    <a:pt x="20" y="4"/>
                  </a:moveTo>
                  <a:cubicBezTo>
                    <a:pt x="17" y="6"/>
                    <a:pt x="15" y="9"/>
                    <a:pt x="13" y="12"/>
                  </a:cubicBezTo>
                  <a:cubicBezTo>
                    <a:pt x="12" y="15"/>
                    <a:pt x="12" y="19"/>
                    <a:pt x="12" y="24"/>
                  </a:cubicBezTo>
                  <a:cubicBezTo>
                    <a:pt x="12" y="33"/>
                    <a:pt x="12" y="33"/>
                    <a:pt x="12" y="33"/>
                  </a:cubicBezTo>
                  <a:cubicBezTo>
                    <a:pt x="0" y="33"/>
                    <a:pt x="0" y="33"/>
                    <a:pt x="0" y="33"/>
                  </a:cubicBezTo>
                  <a:cubicBezTo>
                    <a:pt x="0" y="44"/>
                    <a:pt x="0" y="44"/>
                    <a:pt x="0" y="44"/>
                  </a:cubicBezTo>
                  <a:cubicBezTo>
                    <a:pt x="12" y="44"/>
                    <a:pt x="12" y="44"/>
                    <a:pt x="12" y="44"/>
                  </a:cubicBezTo>
                  <a:cubicBezTo>
                    <a:pt x="12" y="114"/>
                    <a:pt x="12" y="114"/>
                    <a:pt x="12" y="114"/>
                  </a:cubicBezTo>
                  <a:cubicBezTo>
                    <a:pt x="26" y="114"/>
                    <a:pt x="26" y="114"/>
                    <a:pt x="26" y="114"/>
                  </a:cubicBezTo>
                  <a:cubicBezTo>
                    <a:pt x="26" y="44"/>
                    <a:pt x="26" y="44"/>
                    <a:pt x="26" y="44"/>
                  </a:cubicBezTo>
                  <a:cubicBezTo>
                    <a:pt x="41" y="44"/>
                    <a:pt x="41" y="44"/>
                    <a:pt x="41" y="44"/>
                  </a:cubicBezTo>
                  <a:cubicBezTo>
                    <a:pt x="41" y="33"/>
                    <a:pt x="41" y="33"/>
                    <a:pt x="41" y="33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26" y="26"/>
                    <a:pt x="26" y="26"/>
                    <a:pt x="26" y="26"/>
                  </a:cubicBezTo>
                  <a:cubicBezTo>
                    <a:pt x="26" y="21"/>
                    <a:pt x="27" y="17"/>
                    <a:pt x="28" y="16"/>
                  </a:cubicBezTo>
                  <a:cubicBezTo>
                    <a:pt x="30" y="14"/>
                    <a:pt x="33" y="13"/>
                    <a:pt x="37" y="13"/>
                  </a:cubicBezTo>
                  <a:cubicBezTo>
                    <a:pt x="40" y="13"/>
                    <a:pt x="42" y="13"/>
                    <a:pt x="45" y="14"/>
                  </a:cubicBezTo>
                  <a:cubicBezTo>
                    <a:pt x="47" y="2"/>
                    <a:pt x="47" y="2"/>
                    <a:pt x="47" y="2"/>
                  </a:cubicBezTo>
                  <a:cubicBezTo>
                    <a:pt x="43" y="1"/>
                    <a:pt x="38" y="0"/>
                    <a:pt x="34" y="0"/>
                  </a:cubicBezTo>
                  <a:cubicBezTo>
                    <a:pt x="28" y="0"/>
                    <a:pt x="24" y="1"/>
                    <a:pt x="20" y="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1049892" name="ïš1îḍè"/>
            <p:cNvSpPr/>
            <p:nvPr/>
          </p:nvSpPr>
          <p:spPr bwMode="auto">
            <a:xfrm>
              <a:off x="6890003" y="5672728"/>
              <a:ext cx="165100" cy="214313"/>
            </a:xfrm>
            <a:custGeom>
              <a:avLst/>
              <a:gdLst>
                <a:gd name="T0" fmla="*/ 71 w 90"/>
                <a:gd name="T1" fmla="*/ 55 h 116"/>
                <a:gd name="T2" fmla="*/ 46 w 90"/>
                <a:gd name="T3" fmla="*/ 48 h 116"/>
                <a:gd name="T4" fmla="*/ 23 w 90"/>
                <a:gd name="T5" fmla="*/ 40 h 116"/>
                <a:gd name="T6" fmla="*/ 19 w 90"/>
                <a:gd name="T7" fmla="*/ 30 h 116"/>
                <a:gd name="T8" fmla="*/ 25 w 90"/>
                <a:gd name="T9" fmla="*/ 18 h 116"/>
                <a:gd name="T10" fmla="*/ 45 w 90"/>
                <a:gd name="T11" fmla="*/ 13 h 116"/>
                <a:gd name="T12" fmla="*/ 64 w 90"/>
                <a:gd name="T13" fmla="*/ 19 h 116"/>
                <a:gd name="T14" fmla="*/ 72 w 90"/>
                <a:gd name="T15" fmla="*/ 35 h 116"/>
                <a:gd name="T16" fmla="*/ 86 w 90"/>
                <a:gd name="T17" fmla="*/ 34 h 116"/>
                <a:gd name="T18" fmla="*/ 81 w 90"/>
                <a:gd name="T19" fmla="*/ 16 h 116"/>
                <a:gd name="T20" fmla="*/ 66 w 90"/>
                <a:gd name="T21" fmla="*/ 4 h 116"/>
                <a:gd name="T22" fmla="*/ 44 w 90"/>
                <a:gd name="T23" fmla="*/ 0 h 116"/>
                <a:gd name="T24" fmla="*/ 24 w 90"/>
                <a:gd name="T25" fmla="*/ 4 h 116"/>
                <a:gd name="T26" fmla="*/ 10 w 90"/>
                <a:gd name="T27" fmla="*/ 15 h 116"/>
                <a:gd name="T28" fmla="*/ 5 w 90"/>
                <a:gd name="T29" fmla="*/ 31 h 116"/>
                <a:gd name="T30" fmla="*/ 9 w 90"/>
                <a:gd name="T31" fmla="*/ 45 h 116"/>
                <a:gd name="T32" fmla="*/ 21 w 90"/>
                <a:gd name="T33" fmla="*/ 56 h 116"/>
                <a:gd name="T34" fmla="*/ 42 w 90"/>
                <a:gd name="T35" fmla="*/ 63 h 116"/>
                <a:gd name="T36" fmla="*/ 62 w 90"/>
                <a:gd name="T37" fmla="*/ 68 h 116"/>
                <a:gd name="T38" fmla="*/ 72 w 90"/>
                <a:gd name="T39" fmla="*/ 75 h 116"/>
                <a:gd name="T40" fmla="*/ 75 w 90"/>
                <a:gd name="T41" fmla="*/ 84 h 116"/>
                <a:gd name="T42" fmla="*/ 72 w 90"/>
                <a:gd name="T43" fmla="*/ 93 h 116"/>
                <a:gd name="T44" fmla="*/ 63 w 90"/>
                <a:gd name="T45" fmla="*/ 100 h 116"/>
                <a:gd name="T46" fmla="*/ 48 w 90"/>
                <a:gd name="T47" fmla="*/ 103 h 116"/>
                <a:gd name="T48" fmla="*/ 30 w 90"/>
                <a:gd name="T49" fmla="*/ 100 h 116"/>
                <a:gd name="T50" fmla="*/ 19 w 90"/>
                <a:gd name="T51" fmla="*/ 91 h 116"/>
                <a:gd name="T52" fmla="*/ 14 w 90"/>
                <a:gd name="T53" fmla="*/ 77 h 116"/>
                <a:gd name="T54" fmla="*/ 0 w 90"/>
                <a:gd name="T55" fmla="*/ 78 h 116"/>
                <a:gd name="T56" fmla="*/ 7 w 90"/>
                <a:gd name="T57" fmla="*/ 98 h 116"/>
                <a:gd name="T58" fmla="*/ 23 w 90"/>
                <a:gd name="T59" fmla="*/ 112 h 116"/>
                <a:gd name="T60" fmla="*/ 48 w 90"/>
                <a:gd name="T61" fmla="*/ 116 h 116"/>
                <a:gd name="T62" fmla="*/ 70 w 90"/>
                <a:gd name="T63" fmla="*/ 112 h 116"/>
                <a:gd name="T64" fmla="*/ 85 w 90"/>
                <a:gd name="T65" fmla="*/ 100 h 116"/>
                <a:gd name="T66" fmla="*/ 90 w 90"/>
                <a:gd name="T67" fmla="*/ 83 h 116"/>
                <a:gd name="T68" fmla="*/ 85 w 90"/>
                <a:gd name="T69" fmla="*/ 67 h 116"/>
                <a:gd name="T70" fmla="*/ 71 w 90"/>
                <a:gd name="T71" fmla="*/ 55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90" h="116">
                  <a:moveTo>
                    <a:pt x="71" y="55"/>
                  </a:moveTo>
                  <a:cubicBezTo>
                    <a:pt x="66" y="53"/>
                    <a:pt x="58" y="51"/>
                    <a:pt x="46" y="48"/>
                  </a:cubicBezTo>
                  <a:cubicBezTo>
                    <a:pt x="34" y="45"/>
                    <a:pt x="26" y="43"/>
                    <a:pt x="23" y="40"/>
                  </a:cubicBezTo>
                  <a:cubicBezTo>
                    <a:pt x="21" y="38"/>
                    <a:pt x="19" y="34"/>
                    <a:pt x="19" y="30"/>
                  </a:cubicBezTo>
                  <a:cubicBezTo>
                    <a:pt x="19" y="26"/>
                    <a:pt x="21" y="22"/>
                    <a:pt x="25" y="18"/>
                  </a:cubicBezTo>
                  <a:cubicBezTo>
                    <a:pt x="29" y="15"/>
                    <a:pt x="36" y="13"/>
                    <a:pt x="45" y="13"/>
                  </a:cubicBezTo>
                  <a:cubicBezTo>
                    <a:pt x="53" y="13"/>
                    <a:pt x="60" y="15"/>
                    <a:pt x="64" y="19"/>
                  </a:cubicBezTo>
                  <a:cubicBezTo>
                    <a:pt x="69" y="22"/>
                    <a:pt x="71" y="28"/>
                    <a:pt x="72" y="35"/>
                  </a:cubicBezTo>
                  <a:cubicBezTo>
                    <a:pt x="86" y="34"/>
                    <a:pt x="86" y="34"/>
                    <a:pt x="86" y="34"/>
                  </a:cubicBezTo>
                  <a:cubicBezTo>
                    <a:pt x="86" y="27"/>
                    <a:pt x="84" y="21"/>
                    <a:pt x="81" y="16"/>
                  </a:cubicBezTo>
                  <a:cubicBezTo>
                    <a:pt x="77" y="11"/>
                    <a:pt x="73" y="7"/>
                    <a:pt x="66" y="4"/>
                  </a:cubicBezTo>
                  <a:cubicBezTo>
                    <a:pt x="60" y="2"/>
                    <a:pt x="53" y="0"/>
                    <a:pt x="44" y="0"/>
                  </a:cubicBezTo>
                  <a:cubicBezTo>
                    <a:pt x="37" y="0"/>
                    <a:pt x="30" y="1"/>
                    <a:pt x="24" y="4"/>
                  </a:cubicBezTo>
                  <a:cubicBezTo>
                    <a:pt x="17" y="7"/>
                    <a:pt x="13" y="10"/>
                    <a:pt x="10" y="15"/>
                  </a:cubicBezTo>
                  <a:cubicBezTo>
                    <a:pt x="6" y="20"/>
                    <a:pt x="5" y="25"/>
                    <a:pt x="5" y="31"/>
                  </a:cubicBezTo>
                  <a:cubicBezTo>
                    <a:pt x="5" y="36"/>
                    <a:pt x="6" y="41"/>
                    <a:pt x="9" y="45"/>
                  </a:cubicBezTo>
                  <a:cubicBezTo>
                    <a:pt x="11" y="49"/>
                    <a:pt x="15" y="53"/>
                    <a:pt x="21" y="56"/>
                  </a:cubicBezTo>
                  <a:cubicBezTo>
                    <a:pt x="25" y="58"/>
                    <a:pt x="32" y="60"/>
                    <a:pt x="42" y="63"/>
                  </a:cubicBezTo>
                  <a:cubicBezTo>
                    <a:pt x="53" y="65"/>
                    <a:pt x="59" y="67"/>
                    <a:pt x="62" y="68"/>
                  </a:cubicBezTo>
                  <a:cubicBezTo>
                    <a:pt x="67" y="70"/>
                    <a:pt x="70" y="72"/>
                    <a:pt x="72" y="75"/>
                  </a:cubicBezTo>
                  <a:cubicBezTo>
                    <a:pt x="74" y="77"/>
                    <a:pt x="75" y="80"/>
                    <a:pt x="75" y="84"/>
                  </a:cubicBezTo>
                  <a:cubicBezTo>
                    <a:pt x="75" y="87"/>
                    <a:pt x="74" y="91"/>
                    <a:pt x="72" y="93"/>
                  </a:cubicBezTo>
                  <a:cubicBezTo>
                    <a:pt x="70" y="96"/>
                    <a:pt x="67" y="99"/>
                    <a:pt x="63" y="100"/>
                  </a:cubicBezTo>
                  <a:cubicBezTo>
                    <a:pt x="58" y="102"/>
                    <a:pt x="53" y="103"/>
                    <a:pt x="48" y="103"/>
                  </a:cubicBezTo>
                  <a:cubicBezTo>
                    <a:pt x="41" y="103"/>
                    <a:pt x="35" y="102"/>
                    <a:pt x="30" y="100"/>
                  </a:cubicBezTo>
                  <a:cubicBezTo>
                    <a:pt x="25" y="97"/>
                    <a:pt x="22" y="94"/>
                    <a:pt x="19" y="91"/>
                  </a:cubicBezTo>
                  <a:cubicBezTo>
                    <a:pt x="17" y="87"/>
                    <a:pt x="15" y="83"/>
                    <a:pt x="14" y="77"/>
                  </a:cubicBezTo>
                  <a:cubicBezTo>
                    <a:pt x="0" y="78"/>
                    <a:pt x="0" y="78"/>
                    <a:pt x="0" y="78"/>
                  </a:cubicBezTo>
                  <a:cubicBezTo>
                    <a:pt x="1" y="86"/>
                    <a:pt x="3" y="93"/>
                    <a:pt x="7" y="98"/>
                  </a:cubicBezTo>
                  <a:cubicBezTo>
                    <a:pt x="11" y="104"/>
                    <a:pt x="16" y="109"/>
                    <a:pt x="23" y="112"/>
                  </a:cubicBezTo>
                  <a:cubicBezTo>
                    <a:pt x="30" y="115"/>
                    <a:pt x="38" y="116"/>
                    <a:pt x="48" y="116"/>
                  </a:cubicBezTo>
                  <a:cubicBezTo>
                    <a:pt x="56" y="116"/>
                    <a:pt x="64" y="115"/>
                    <a:pt x="70" y="112"/>
                  </a:cubicBezTo>
                  <a:cubicBezTo>
                    <a:pt x="76" y="109"/>
                    <a:pt x="81" y="105"/>
                    <a:pt x="85" y="100"/>
                  </a:cubicBezTo>
                  <a:cubicBezTo>
                    <a:pt x="88" y="94"/>
                    <a:pt x="90" y="89"/>
                    <a:pt x="90" y="83"/>
                  </a:cubicBezTo>
                  <a:cubicBezTo>
                    <a:pt x="90" y="77"/>
                    <a:pt x="88" y="71"/>
                    <a:pt x="85" y="67"/>
                  </a:cubicBezTo>
                  <a:cubicBezTo>
                    <a:pt x="82" y="62"/>
                    <a:pt x="77" y="58"/>
                    <a:pt x="71" y="5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1049893" name="iṥľïḍê"/>
            <p:cNvSpPr/>
            <p:nvPr/>
          </p:nvSpPr>
          <p:spPr bwMode="auto">
            <a:xfrm>
              <a:off x="7080503" y="5729878"/>
              <a:ext cx="131763" cy="157163"/>
            </a:xfrm>
            <a:custGeom>
              <a:avLst/>
              <a:gdLst>
                <a:gd name="T0" fmla="*/ 50 w 71"/>
                <a:gd name="T1" fmla="*/ 69 h 85"/>
                <a:gd name="T2" fmla="*/ 37 w 71"/>
                <a:gd name="T3" fmla="*/ 74 h 85"/>
                <a:gd name="T4" fmla="*/ 21 w 71"/>
                <a:gd name="T5" fmla="*/ 66 h 85"/>
                <a:gd name="T6" fmla="*/ 14 w 71"/>
                <a:gd name="T7" fmla="*/ 43 h 85"/>
                <a:gd name="T8" fmla="*/ 21 w 71"/>
                <a:gd name="T9" fmla="*/ 19 h 85"/>
                <a:gd name="T10" fmla="*/ 38 w 71"/>
                <a:gd name="T11" fmla="*/ 12 h 85"/>
                <a:gd name="T12" fmla="*/ 49 w 71"/>
                <a:gd name="T13" fmla="*/ 16 h 85"/>
                <a:gd name="T14" fmla="*/ 56 w 71"/>
                <a:gd name="T15" fmla="*/ 28 h 85"/>
                <a:gd name="T16" fmla="*/ 70 w 71"/>
                <a:gd name="T17" fmla="*/ 26 h 85"/>
                <a:gd name="T18" fmla="*/ 59 w 71"/>
                <a:gd name="T19" fmla="*/ 7 h 85"/>
                <a:gd name="T20" fmla="*/ 37 w 71"/>
                <a:gd name="T21" fmla="*/ 0 h 85"/>
                <a:gd name="T22" fmla="*/ 18 w 71"/>
                <a:gd name="T23" fmla="*/ 5 h 85"/>
                <a:gd name="T24" fmla="*/ 4 w 71"/>
                <a:gd name="T25" fmla="*/ 20 h 85"/>
                <a:gd name="T26" fmla="*/ 0 w 71"/>
                <a:gd name="T27" fmla="*/ 43 h 85"/>
                <a:gd name="T28" fmla="*/ 10 w 71"/>
                <a:gd name="T29" fmla="*/ 74 h 85"/>
                <a:gd name="T30" fmla="*/ 37 w 71"/>
                <a:gd name="T31" fmla="*/ 85 h 85"/>
                <a:gd name="T32" fmla="*/ 60 w 71"/>
                <a:gd name="T33" fmla="*/ 77 h 85"/>
                <a:gd name="T34" fmla="*/ 71 w 71"/>
                <a:gd name="T35" fmla="*/ 55 h 85"/>
                <a:gd name="T36" fmla="*/ 57 w 71"/>
                <a:gd name="T37" fmla="*/ 54 h 85"/>
                <a:gd name="T38" fmla="*/ 50 w 71"/>
                <a:gd name="T39" fmla="*/ 69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71" h="85">
                  <a:moveTo>
                    <a:pt x="50" y="69"/>
                  </a:moveTo>
                  <a:cubicBezTo>
                    <a:pt x="47" y="72"/>
                    <a:pt x="42" y="74"/>
                    <a:pt x="37" y="74"/>
                  </a:cubicBezTo>
                  <a:cubicBezTo>
                    <a:pt x="30" y="74"/>
                    <a:pt x="25" y="71"/>
                    <a:pt x="21" y="66"/>
                  </a:cubicBezTo>
                  <a:cubicBezTo>
                    <a:pt x="16" y="61"/>
                    <a:pt x="14" y="54"/>
                    <a:pt x="14" y="43"/>
                  </a:cubicBezTo>
                  <a:cubicBezTo>
                    <a:pt x="14" y="32"/>
                    <a:pt x="16" y="24"/>
                    <a:pt x="21" y="19"/>
                  </a:cubicBezTo>
                  <a:cubicBezTo>
                    <a:pt x="25" y="14"/>
                    <a:pt x="31" y="12"/>
                    <a:pt x="38" y="12"/>
                  </a:cubicBezTo>
                  <a:cubicBezTo>
                    <a:pt x="42" y="12"/>
                    <a:pt x="46" y="13"/>
                    <a:pt x="49" y="16"/>
                  </a:cubicBezTo>
                  <a:cubicBezTo>
                    <a:pt x="53" y="18"/>
                    <a:pt x="55" y="23"/>
                    <a:pt x="56" y="28"/>
                  </a:cubicBezTo>
                  <a:cubicBezTo>
                    <a:pt x="70" y="26"/>
                    <a:pt x="70" y="26"/>
                    <a:pt x="70" y="26"/>
                  </a:cubicBezTo>
                  <a:cubicBezTo>
                    <a:pt x="68" y="18"/>
                    <a:pt x="64" y="11"/>
                    <a:pt x="59" y="7"/>
                  </a:cubicBezTo>
                  <a:cubicBezTo>
                    <a:pt x="53" y="2"/>
                    <a:pt x="46" y="0"/>
                    <a:pt x="37" y="0"/>
                  </a:cubicBezTo>
                  <a:cubicBezTo>
                    <a:pt x="30" y="0"/>
                    <a:pt x="24" y="2"/>
                    <a:pt x="18" y="5"/>
                  </a:cubicBezTo>
                  <a:cubicBezTo>
                    <a:pt x="12" y="8"/>
                    <a:pt x="7" y="13"/>
                    <a:pt x="4" y="20"/>
                  </a:cubicBezTo>
                  <a:cubicBezTo>
                    <a:pt x="2" y="27"/>
                    <a:pt x="0" y="34"/>
                    <a:pt x="0" y="43"/>
                  </a:cubicBezTo>
                  <a:cubicBezTo>
                    <a:pt x="0" y="57"/>
                    <a:pt x="3" y="67"/>
                    <a:pt x="10" y="74"/>
                  </a:cubicBezTo>
                  <a:cubicBezTo>
                    <a:pt x="17" y="82"/>
                    <a:pt x="26" y="85"/>
                    <a:pt x="37" y="85"/>
                  </a:cubicBezTo>
                  <a:cubicBezTo>
                    <a:pt x="46" y="85"/>
                    <a:pt x="53" y="83"/>
                    <a:pt x="60" y="77"/>
                  </a:cubicBezTo>
                  <a:cubicBezTo>
                    <a:pt x="66" y="72"/>
                    <a:pt x="69" y="65"/>
                    <a:pt x="71" y="55"/>
                  </a:cubicBezTo>
                  <a:cubicBezTo>
                    <a:pt x="57" y="54"/>
                    <a:pt x="57" y="54"/>
                    <a:pt x="57" y="54"/>
                  </a:cubicBezTo>
                  <a:cubicBezTo>
                    <a:pt x="56" y="60"/>
                    <a:pt x="54" y="66"/>
                    <a:pt x="50" y="6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1049894" name="íṥ1ïdê"/>
            <p:cNvSpPr/>
            <p:nvPr/>
          </p:nvSpPr>
          <p:spPr bwMode="auto">
            <a:xfrm>
              <a:off x="7234491" y="5675903"/>
              <a:ext cx="25400" cy="30163"/>
            </a:xfrm>
            <a:prstGeom prst="rect">
              <a:avLst/>
            </a:pr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1049895" name="îṡ1îďé"/>
            <p:cNvSpPr/>
            <p:nvPr/>
          </p:nvSpPr>
          <p:spPr bwMode="auto">
            <a:xfrm>
              <a:off x="7234491" y="5733053"/>
              <a:ext cx="25400" cy="149225"/>
            </a:xfrm>
            <a:prstGeom prst="rect">
              <a:avLst/>
            </a:pr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1049896" name="íṩḷïḑé"/>
            <p:cNvSpPr/>
            <p:nvPr/>
          </p:nvSpPr>
          <p:spPr bwMode="auto">
            <a:xfrm>
              <a:off x="7290053" y="5729878"/>
              <a:ext cx="138113" cy="157163"/>
            </a:xfrm>
            <a:custGeom>
              <a:avLst/>
              <a:gdLst>
                <a:gd name="T0" fmla="*/ 38 w 75"/>
                <a:gd name="T1" fmla="*/ 0 h 85"/>
                <a:gd name="T2" fmla="*/ 10 w 75"/>
                <a:gd name="T3" fmla="*/ 12 h 85"/>
                <a:gd name="T4" fmla="*/ 0 w 75"/>
                <a:gd name="T5" fmla="*/ 43 h 85"/>
                <a:gd name="T6" fmla="*/ 10 w 75"/>
                <a:gd name="T7" fmla="*/ 74 h 85"/>
                <a:gd name="T8" fmla="*/ 39 w 75"/>
                <a:gd name="T9" fmla="*/ 85 h 85"/>
                <a:gd name="T10" fmla="*/ 62 w 75"/>
                <a:gd name="T11" fmla="*/ 78 h 85"/>
                <a:gd name="T12" fmla="*/ 74 w 75"/>
                <a:gd name="T13" fmla="*/ 59 h 85"/>
                <a:gd name="T14" fmla="*/ 60 w 75"/>
                <a:gd name="T15" fmla="*/ 57 h 85"/>
                <a:gd name="T16" fmla="*/ 52 w 75"/>
                <a:gd name="T17" fmla="*/ 70 h 85"/>
                <a:gd name="T18" fmla="*/ 39 w 75"/>
                <a:gd name="T19" fmla="*/ 74 h 85"/>
                <a:gd name="T20" fmla="*/ 22 w 75"/>
                <a:gd name="T21" fmla="*/ 67 h 85"/>
                <a:gd name="T22" fmla="*/ 14 w 75"/>
                <a:gd name="T23" fmla="*/ 46 h 85"/>
                <a:gd name="T24" fmla="*/ 75 w 75"/>
                <a:gd name="T25" fmla="*/ 46 h 85"/>
                <a:gd name="T26" fmla="*/ 75 w 75"/>
                <a:gd name="T27" fmla="*/ 43 h 85"/>
                <a:gd name="T28" fmla="*/ 65 w 75"/>
                <a:gd name="T29" fmla="*/ 11 h 85"/>
                <a:gd name="T30" fmla="*/ 38 w 75"/>
                <a:gd name="T31" fmla="*/ 0 h 85"/>
                <a:gd name="T32" fmla="*/ 15 w 75"/>
                <a:gd name="T33" fmla="*/ 35 h 85"/>
                <a:gd name="T34" fmla="*/ 22 w 75"/>
                <a:gd name="T35" fmla="*/ 18 h 85"/>
                <a:gd name="T36" fmla="*/ 38 w 75"/>
                <a:gd name="T37" fmla="*/ 12 h 85"/>
                <a:gd name="T38" fmla="*/ 55 w 75"/>
                <a:gd name="T39" fmla="*/ 20 h 85"/>
                <a:gd name="T40" fmla="*/ 60 w 75"/>
                <a:gd name="T41" fmla="*/ 35 h 85"/>
                <a:gd name="T42" fmla="*/ 15 w 75"/>
                <a:gd name="T43" fmla="*/ 35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75" h="85">
                  <a:moveTo>
                    <a:pt x="38" y="0"/>
                  </a:moveTo>
                  <a:cubicBezTo>
                    <a:pt x="27" y="0"/>
                    <a:pt x="18" y="4"/>
                    <a:pt x="10" y="12"/>
                  </a:cubicBezTo>
                  <a:cubicBezTo>
                    <a:pt x="3" y="19"/>
                    <a:pt x="0" y="30"/>
                    <a:pt x="0" y="43"/>
                  </a:cubicBezTo>
                  <a:cubicBezTo>
                    <a:pt x="0" y="57"/>
                    <a:pt x="3" y="67"/>
                    <a:pt x="10" y="74"/>
                  </a:cubicBezTo>
                  <a:cubicBezTo>
                    <a:pt x="17" y="81"/>
                    <a:pt x="27" y="85"/>
                    <a:pt x="39" y="85"/>
                  </a:cubicBezTo>
                  <a:cubicBezTo>
                    <a:pt x="48" y="85"/>
                    <a:pt x="56" y="83"/>
                    <a:pt x="62" y="78"/>
                  </a:cubicBezTo>
                  <a:cubicBezTo>
                    <a:pt x="68" y="74"/>
                    <a:pt x="72" y="67"/>
                    <a:pt x="74" y="59"/>
                  </a:cubicBezTo>
                  <a:cubicBezTo>
                    <a:pt x="60" y="57"/>
                    <a:pt x="60" y="57"/>
                    <a:pt x="60" y="57"/>
                  </a:cubicBezTo>
                  <a:cubicBezTo>
                    <a:pt x="58" y="63"/>
                    <a:pt x="55" y="67"/>
                    <a:pt x="52" y="70"/>
                  </a:cubicBezTo>
                  <a:cubicBezTo>
                    <a:pt x="48" y="73"/>
                    <a:pt x="44" y="74"/>
                    <a:pt x="39" y="74"/>
                  </a:cubicBezTo>
                  <a:cubicBezTo>
                    <a:pt x="32" y="74"/>
                    <a:pt x="26" y="71"/>
                    <a:pt x="22" y="67"/>
                  </a:cubicBezTo>
                  <a:cubicBezTo>
                    <a:pt x="17" y="62"/>
                    <a:pt x="15" y="55"/>
                    <a:pt x="14" y="46"/>
                  </a:cubicBezTo>
                  <a:cubicBezTo>
                    <a:pt x="75" y="46"/>
                    <a:pt x="75" y="46"/>
                    <a:pt x="75" y="46"/>
                  </a:cubicBezTo>
                  <a:cubicBezTo>
                    <a:pt x="75" y="45"/>
                    <a:pt x="75" y="43"/>
                    <a:pt x="75" y="43"/>
                  </a:cubicBezTo>
                  <a:cubicBezTo>
                    <a:pt x="75" y="29"/>
                    <a:pt x="71" y="19"/>
                    <a:pt x="65" y="11"/>
                  </a:cubicBezTo>
                  <a:cubicBezTo>
                    <a:pt x="58" y="4"/>
                    <a:pt x="49" y="0"/>
                    <a:pt x="38" y="0"/>
                  </a:cubicBezTo>
                  <a:close/>
                  <a:moveTo>
                    <a:pt x="15" y="35"/>
                  </a:moveTo>
                  <a:cubicBezTo>
                    <a:pt x="15" y="28"/>
                    <a:pt x="18" y="22"/>
                    <a:pt x="22" y="18"/>
                  </a:cubicBezTo>
                  <a:cubicBezTo>
                    <a:pt x="26" y="14"/>
                    <a:pt x="32" y="12"/>
                    <a:pt x="38" y="12"/>
                  </a:cubicBezTo>
                  <a:cubicBezTo>
                    <a:pt x="45" y="12"/>
                    <a:pt x="51" y="14"/>
                    <a:pt x="55" y="20"/>
                  </a:cubicBezTo>
                  <a:cubicBezTo>
                    <a:pt x="58" y="23"/>
                    <a:pt x="60" y="28"/>
                    <a:pt x="60" y="35"/>
                  </a:cubicBezTo>
                  <a:lnTo>
                    <a:pt x="15" y="35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1049897" name="ïşḷiḋè"/>
            <p:cNvSpPr/>
            <p:nvPr/>
          </p:nvSpPr>
          <p:spPr bwMode="auto">
            <a:xfrm>
              <a:off x="7458328" y="5729878"/>
              <a:ext cx="122238" cy="152400"/>
            </a:xfrm>
            <a:custGeom>
              <a:avLst/>
              <a:gdLst>
                <a:gd name="T0" fmla="*/ 61 w 66"/>
                <a:gd name="T1" fmla="*/ 10 h 83"/>
                <a:gd name="T2" fmla="*/ 51 w 66"/>
                <a:gd name="T3" fmla="*/ 3 h 83"/>
                <a:gd name="T4" fmla="*/ 38 w 66"/>
                <a:gd name="T5" fmla="*/ 0 h 83"/>
                <a:gd name="T6" fmla="*/ 12 w 66"/>
                <a:gd name="T7" fmla="*/ 14 h 83"/>
                <a:gd name="T8" fmla="*/ 12 w 66"/>
                <a:gd name="T9" fmla="*/ 2 h 83"/>
                <a:gd name="T10" fmla="*/ 0 w 66"/>
                <a:gd name="T11" fmla="*/ 2 h 83"/>
                <a:gd name="T12" fmla="*/ 0 w 66"/>
                <a:gd name="T13" fmla="*/ 83 h 83"/>
                <a:gd name="T14" fmla="*/ 13 w 66"/>
                <a:gd name="T15" fmla="*/ 83 h 83"/>
                <a:gd name="T16" fmla="*/ 13 w 66"/>
                <a:gd name="T17" fmla="*/ 39 h 83"/>
                <a:gd name="T18" fmla="*/ 20 w 66"/>
                <a:gd name="T19" fmla="*/ 18 h 83"/>
                <a:gd name="T20" fmla="*/ 35 w 66"/>
                <a:gd name="T21" fmla="*/ 12 h 83"/>
                <a:gd name="T22" fmla="*/ 45 w 66"/>
                <a:gd name="T23" fmla="*/ 15 h 83"/>
                <a:gd name="T24" fmla="*/ 50 w 66"/>
                <a:gd name="T25" fmla="*/ 21 h 83"/>
                <a:gd name="T26" fmla="*/ 52 w 66"/>
                <a:gd name="T27" fmla="*/ 34 h 83"/>
                <a:gd name="T28" fmla="*/ 52 w 66"/>
                <a:gd name="T29" fmla="*/ 83 h 83"/>
                <a:gd name="T30" fmla="*/ 66 w 66"/>
                <a:gd name="T31" fmla="*/ 83 h 83"/>
                <a:gd name="T32" fmla="*/ 66 w 66"/>
                <a:gd name="T33" fmla="*/ 33 h 83"/>
                <a:gd name="T34" fmla="*/ 65 w 66"/>
                <a:gd name="T35" fmla="*/ 20 h 83"/>
                <a:gd name="T36" fmla="*/ 61 w 66"/>
                <a:gd name="T37" fmla="*/ 10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6" h="83">
                  <a:moveTo>
                    <a:pt x="61" y="10"/>
                  </a:moveTo>
                  <a:cubicBezTo>
                    <a:pt x="59" y="7"/>
                    <a:pt x="56" y="5"/>
                    <a:pt x="51" y="3"/>
                  </a:cubicBezTo>
                  <a:cubicBezTo>
                    <a:pt x="47" y="1"/>
                    <a:pt x="43" y="0"/>
                    <a:pt x="38" y="0"/>
                  </a:cubicBezTo>
                  <a:cubicBezTo>
                    <a:pt x="27" y="0"/>
                    <a:pt x="18" y="5"/>
                    <a:pt x="12" y="14"/>
                  </a:cubicBezTo>
                  <a:cubicBezTo>
                    <a:pt x="12" y="2"/>
                    <a:pt x="12" y="2"/>
                    <a:pt x="12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83"/>
                    <a:pt x="0" y="83"/>
                    <a:pt x="0" y="83"/>
                  </a:cubicBezTo>
                  <a:cubicBezTo>
                    <a:pt x="13" y="83"/>
                    <a:pt x="13" y="83"/>
                    <a:pt x="13" y="83"/>
                  </a:cubicBezTo>
                  <a:cubicBezTo>
                    <a:pt x="13" y="39"/>
                    <a:pt x="13" y="39"/>
                    <a:pt x="13" y="39"/>
                  </a:cubicBezTo>
                  <a:cubicBezTo>
                    <a:pt x="13" y="29"/>
                    <a:pt x="16" y="21"/>
                    <a:pt x="20" y="18"/>
                  </a:cubicBezTo>
                  <a:cubicBezTo>
                    <a:pt x="24" y="14"/>
                    <a:pt x="29" y="12"/>
                    <a:pt x="35" y="12"/>
                  </a:cubicBezTo>
                  <a:cubicBezTo>
                    <a:pt x="39" y="12"/>
                    <a:pt x="42" y="13"/>
                    <a:pt x="45" y="15"/>
                  </a:cubicBezTo>
                  <a:cubicBezTo>
                    <a:pt x="47" y="16"/>
                    <a:pt x="49" y="19"/>
                    <a:pt x="50" y="21"/>
                  </a:cubicBezTo>
                  <a:cubicBezTo>
                    <a:pt x="51" y="24"/>
                    <a:pt x="52" y="28"/>
                    <a:pt x="52" y="34"/>
                  </a:cubicBezTo>
                  <a:cubicBezTo>
                    <a:pt x="52" y="83"/>
                    <a:pt x="52" y="83"/>
                    <a:pt x="52" y="83"/>
                  </a:cubicBezTo>
                  <a:cubicBezTo>
                    <a:pt x="66" y="83"/>
                    <a:pt x="66" y="83"/>
                    <a:pt x="66" y="83"/>
                  </a:cubicBezTo>
                  <a:cubicBezTo>
                    <a:pt x="66" y="33"/>
                    <a:pt x="66" y="33"/>
                    <a:pt x="66" y="33"/>
                  </a:cubicBezTo>
                  <a:cubicBezTo>
                    <a:pt x="66" y="27"/>
                    <a:pt x="65" y="23"/>
                    <a:pt x="65" y="20"/>
                  </a:cubicBezTo>
                  <a:cubicBezTo>
                    <a:pt x="64" y="16"/>
                    <a:pt x="63" y="13"/>
                    <a:pt x="61" y="1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1049898" name="îṩľiḍé"/>
            <p:cNvSpPr/>
            <p:nvPr/>
          </p:nvSpPr>
          <p:spPr bwMode="auto">
            <a:xfrm>
              <a:off x="7612316" y="5729878"/>
              <a:ext cx="128588" cy="157163"/>
            </a:xfrm>
            <a:custGeom>
              <a:avLst/>
              <a:gdLst>
                <a:gd name="T0" fmla="*/ 50 w 70"/>
                <a:gd name="T1" fmla="*/ 69 h 85"/>
                <a:gd name="T2" fmla="*/ 36 w 70"/>
                <a:gd name="T3" fmla="*/ 74 h 85"/>
                <a:gd name="T4" fmla="*/ 20 w 70"/>
                <a:gd name="T5" fmla="*/ 66 h 85"/>
                <a:gd name="T6" fmla="*/ 14 w 70"/>
                <a:gd name="T7" fmla="*/ 43 h 85"/>
                <a:gd name="T8" fmla="*/ 20 w 70"/>
                <a:gd name="T9" fmla="*/ 19 h 85"/>
                <a:gd name="T10" fmla="*/ 37 w 70"/>
                <a:gd name="T11" fmla="*/ 12 h 85"/>
                <a:gd name="T12" fmla="*/ 49 w 70"/>
                <a:gd name="T13" fmla="*/ 16 h 85"/>
                <a:gd name="T14" fmla="*/ 56 w 70"/>
                <a:gd name="T15" fmla="*/ 28 h 85"/>
                <a:gd name="T16" fmla="*/ 69 w 70"/>
                <a:gd name="T17" fmla="*/ 26 h 85"/>
                <a:gd name="T18" fmla="*/ 58 w 70"/>
                <a:gd name="T19" fmla="*/ 7 h 85"/>
                <a:gd name="T20" fmla="*/ 37 w 70"/>
                <a:gd name="T21" fmla="*/ 0 h 85"/>
                <a:gd name="T22" fmla="*/ 17 w 70"/>
                <a:gd name="T23" fmla="*/ 5 h 85"/>
                <a:gd name="T24" fmla="*/ 4 w 70"/>
                <a:gd name="T25" fmla="*/ 20 h 85"/>
                <a:gd name="T26" fmla="*/ 0 w 70"/>
                <a:gd name="T27" fmla="*/ 43 h 85"/>
                <a:gd name="T28" fmla="*/ 10 w 70"/>
                <a:gd name="T29" fmla="*/ 74 h 85"/>
                <a:gd name="T30" fmla="*/ 37 w 70"/>
                <a:gd name="T31" fmla="*/ 85 h 85"/>
                <a:gd name="T32" fmla="*/ 59 w 70"/>
                <a:gd name="T33" fmla="*/ 77 h 85"/>
                <a:gd name="T34" fmla="*/ 70 w 70"/>
                <a:gd name="T35" fmla="*/ 55 h 85"/>
                <a:gd name="T36" fmla="*/ 57 w 70"/>
                <a:gd name="T37" fmla="*/ 54 h 85"/>
                <a:gd name="T38" fmla="*/ 50 w 70"/>
                <a:gd name="T39" fmla="*/ 69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70" h="85">
                  <a:moveTo>
                    <a:pt x="50" y="69"/>
                  </a:moveTo>
                  <a:cubicBezTo>
                    <a:pt x="46" y="72"/>
                    <a:pt x="42" y="74"/>
                    <a:pt x="36" y="74"/>
                  </a:cubicBezTo>
                  <a:cubicBezTo>
                    <a:pt x="30" y="74"/>
                    <a:pt x="24" y="71"/>
                    <a:pt x="20" y="66"/>
                  </a:cubicBezTo>
                  <a:cubicBezTo>
                    <a:pt x="16" y="61"/>
                    <a:pt x="14" y="54"/>
                    <a:pt x="14" y="43"/>
                  </a:cubicBezTo>
                  <a:cubicBezTo>
                    <a:pt x="14" y="32"/>
                    <a:pt x="16" y="24"/>
                    <a:pt x="20" y="19"/>
                  </a:cubicBezTo>
                  <a:cubicBezTo>
                    <a:pt x="25" y="14"/>
                    <a:pt x="30" y="12"/>
                    <a:pt x="37" y="12"/>
                  </a:cubicBezTo>
                  <a:cubicBezTo>
                    <a:pt x="42" y="12"/>
                    <a:pt x="46" y="13"/>
                    <a:pt x="49" y="16"/>
                  </a:cubicBezTo>
                  <a:cubicBezTo>
                    <a:pt x="52" y="18"/>
                    <a:pt x="54" y="23"/>
                    <a:pt x="56" y="28"/>
                  </a:cubicBezTo>
                  <a:cubicBezTo>
                    <a:pt x="69" y="26"/>
                    <a:pt x="69" y="26"/>
                    <a:pt x="69" y="26"/>
                  </a:cubicBezTo>
                  <a:cubicBezTo>
                    <a:pt x="68" y="18"/>
                    <a:pt x="64" y="11"/>
                    <a:pt x="58" y="7"/>
                  </a:cubicBezTo>
                  <a:cubicBezTo>
                    <a:pt x="53" y="2"/>
                    <a:pt x="46" y="0"/>
                    <a:pt x="37" y="0"/>
                  </a:cubicBezTo>
                  <a:cubicBezTo>
                    <a:pt x="30" y="0"/>
                    <a:pt x="23" y="2"/>
                    <a:pt x="17" y="5"/>
                  </a:cubicBezTo>
                  <a:cubicBezTo>
                    <a:pt x="11" y="8"/>
                    <a:pt x="7" y="13"/>
                    <a:pt x="4" y="20"/>
                  </a:cubicBezTo>
                  <a:cubicBezTo>
                    <a:pt x="1" y="27"/>
                    <a:pt x="0" y="34"/>
                    <a:pt x="0" y="43"/>
                  </a:cubicBezTo>
                  <a:cubicBezTo>
                    <a:pt x="0" y="57"/>
                    <a:pt x="3" y="67"/>
                    <a:pt x="10" y="74"/>
                  </a:cubicBezTo>
                  <a:cubicBezTo>
                    <a:pt x="17" y="82"/>
                    <a:pt x="26" y="85"/>
                    <a:pt x="37" y="85"/>
                  </a:cubicBezTo>
                  <a:cubicBezTo>
                    <a:pt x="45" y="85"/>
                    <a:pt x="53" y="83"/>
                    <a:pt x="59" y="77"/>
                  </a:cubicBezTo>
                  <a:cubicBezTo>
                    <a:pt x="65" y="72"/>
                    <a:pt x="69" y="65"/>
                    <a:pt x="70" y="55"/>
                  </a:cubicBezTo>
                  <a:cubicBezTo>
                    <a:pt x="57" y="54"/>
                    <a:pt x="57" y="54"/>
                    <a:pt x="57" y="54"/>
                  </a:cubicBezTo>
                  <a:cubicBezTo>
                    <a:pt x="56" y="60"/>
                    <a:pt x="54" y="66"/>
                    <a:pt x="50" y="6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1049899" name="íṡḷïďe"/>
            <p:cNvSpPr/>
            <p:nvPr/>
          </p:nvSpPr>
          <p:spPr bwMode="auto">
            <a:xfrm>
              <a:off x="7755191" y="5729878"/>
              <a:ext cx="138113" cy="157163"/>
            </a:xfrm>
            <a:custGeom>
              <a:avLst/>
              <a:gdLst>
                <a:gd name="T0" fmla="*/ 38 w 75"/>
                <a:gd name="T1" fmla="*/ 0 h 85"/>
                <a:gd name="T2" fmla="*/ 10 w 75"/>
                <a:gd name="T3" fmla="*/ 12 h 85"/>
                <a:gd name="T4" fmla="*/ 0 w 75"/>
                <a:gd name="T5" fmla="*/ 43 h 85"/>
                <a:gd name="T6" fmla="*/ 10 w 75"/>
                <a:gd name="T7" fmla="*/ 74 h 85"/>
                <a:gd name="T8" fmla="*/ 38 w 75"/>
                <a:gd name="T9" fmla="*/ 85 h 85"/>
                <a:gd name="T10" fmla="*/ 62 w 75"/>
                <a:gd name="T11" fmla="*/ 78 h 85"/>
                <a:gd name="T12" fmla="*/ 74 w 75"/>
                <a:gd name="T13" fmla="*/ 59 h 85"/>
                <a:gd name="T14" fmla="*/ 60 w 75"/>
                <a:gd name="T15" fmla="*/ 57 h 85"/>
                <a:gd name="T16" fmla="*/ 51 w 75"/>
                <a:gd name="T17" fmla="*/ 70 h 85"/>
                <a:gd name="T18" fmla="*/ 38 w 75"/>
                <a:gd name="T19" fmla="*/ 74 h 85"/>
                <a:gd name="T20" fmla="*/ 21 w 75"/>
                <a:gd name="T21" fmla="*/ 67 h 85"/>
                <a:gd name="T22" fmla="*/ 14 w 75"/>
                <a:gd name="T23" fmla="*/ 46 h 85"/>
                <a:gd name="T24" fmla="*/ 75 w 75"/>
                <a:gd name="T25" fmla="*/ 46 h 85"/>
                <a:gd name="T26" fmla="*/ 75 w 75"/>
                <a:gd name="T27" fmla="*/ 43 h 85"/>
                <a:gd name="T28" fmla="*/ 64 w 75"/>
                <a:gd name="T29" fmla="*/ 11 h 85"/>
                <a:gd name="T30" fmla="*/ 38 w 75"/>
                <a:gd name="T31" fmla="*/ 0 h 85"/>
                <a:gd name="T32" fmla="*/ 15 w 75"/>
                <a:gd name="T33" fmla="*/ 35 h 85"/>
                <a:gd name="T34" fmla="*/ 22 w 75"/>
                <a:gd name="T35" fmla="*/ 18 h 85"/>
                <a:gd name="T36" fmla="*/ 38 w 75"/>
                <a:gd name="T37" fmla="*/ 12 h 85"/>
                <a:gd name="T38" fmla="*/ 55 w 75"/>
                <a:gd name="T39" fmla="*/ 20 h 85"/>
                <a:gd name="T40" fmla="*/ 60 w 75"/>
                <a:gd name="T41" fmla="*/ 35 h 85"/>
                <a:gd name="T42" fmla="*/ 15 w 75"/>
                <a:gd name="T43" fmla="*/ 35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75" h="85">
                  <a:moveTo>
                    <a:pt x="38" y="0"/>
                  </a:moveTo>
                  <a:cubicBezTo>
                    <a:pt x="26" y="0"/>
                    <a:pt x="17" y="4"/>
                    <a:pt x="10" y="12"/>
                  </a:cubicBezTo>
                  <a:cubicBezTo>
                    <a:pt x="3" y="19"/>
                    <a:pt x="0" y="30"/>
                    <a:pt x="0" y="43"/>
                  </a:cubicBezTo>
                  <a:cubicBezTo>
                    <a:pt x="0" y="57"/>
                    <a:pt x="3" y="67"/>
                    <a:pt x="10" y="74"/>
                  </a:cubicBezTo>
                  <a:cubicBezTo>
                    <a:pt x="17" y="81"/>
                    <a:pt x="26" y="85"/>
                    <a:pt x="38" y="85"/>
                  </a:cubicBezTo>
                  <a:cubicBezTo>
                    <a:pt x="48" y="85"/>
                    <a:pt x="56" y="83"/>
                    <a:pt x="62" y="78"/>
                  </a:cubicBezTo>
                  <a:cubicBezTo>
                    <a:pt x="68" y="74"/>
                    <a:pt x="72" y="67"/>
                    <a:pt x="74" y="59"/>
                  </a:cubicBezTo>
                  <a:cubicBezTo>
                    <a:pt x="60" y="57"/>
                    <a:pt x="60" y="57"/>
                    <a:pt x="60" y="57"/>
                  </a:cubicBezTo>
                  <a:cubicBezTo>
                    <a:pt x="58" y="63"/>
                    <a:pt x="55" y="67"/>
                    <a:pt x="51" y="70"/>
                  </a:cubicBezTo>
                  <a:cubicBezTo>
                    <a:pt x="48" y="73"/>
                    <a:pt x="43" y="74"/>
                    <a:pt x="38" y="74"/>
                  </a:cubicBezTo>
                  <a:cubicBezTo>
                    <a:pt x="32" y="74"/>
                    <a:pt x="26" y="71"/>
                    <a:pt x="21" y="67"/>
                  </a:cubicBezTo>
                  <a:cubicBezTo>
                    <a:pt x="17" y="62"/>
                    <a:pt x="14" y="55"/>
                    <a:pt x="14" y="46"/>
                  </a:cubicBezTo>
                  <a:cubicBezTo>
                    <a:pt x="75" y="46"/>
                    <a:pt x="75" y="46"/>
                    <a:pt x="75" y="46"/>
                  </a:cubicBezTo>
                  <a:cubicBezTo>
                    <a:pt x="75" y="45"/>
                    <a:pt x="75" y="43"/>
                    <a:pt x="75" y="43"/>
                  </a:cubicBezTo>
                  <a:cubicBezTo>
                    <a:pt x="75" y="29"/>
                    <a:pt x="71" y="19"/>
                    <a:pt x="64" y="11"/>
                  </a:cubicBezTo>
                  <a:cubicBezTo>
                    <a:pt x="57" y="4"/>
                    <a:pt x="48" y="0"/>
                    <a:pt x="38" y="0"/>
                  </a:cubicBezTo>
                  <a:close/>
                  <a:moveTo>
                    <a:pt x="15" y="35"/>
                  </a:moveTo>
                  <a:cubicBezTo>
                    <a:pt x="15" y="28"/>
                    <a:pt x="17" y="22"/>
                    <a:pt x="22" y="18"/>
                  </a:cubicBezTo>
                  <a:cubicBezTo>
                    <a:pt x="26" y="14"/>
                    <a:pt x="31" y="12"/>
                    <a:pt x="38" y="12"/>
                  </a:cubicBezTo>
                  <a:cubicBezTo>
                    <a:pt x="45" y="12"/>
                    <a:pt x="50" y="14"/>
                    <a:pt x="55" y="20"/>
                  </a:cubicBezTo>
                  <a:cubicBezTo>
                    <a:pt x="58" y="23"/>
                    <a:pt x="59" y="28"/>
                    <a:pt x="60" y="35"/>
                  </a:cubicBezTo>
                  <a:lnTo>
                    <a:pt x="15" y="35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1049900" name="í$ľîde"/>
            <p:cNvSpPr/>
            <p:nvPr/>
          </p:nvSpPr>
          <p:spPr bwMode="auto">
            <a:xfrm>
              <a:off x="7994903" y="5729878"/>
              <a:ext cx="138113" cy="157163"/>
            </a:xfrm>
            <a:custGeom>
              <a:avLst/>
              <a:gdLst>
                <a:gd name="T0" fmla="*/ 71 w 75"/>
                <a:gd name="T1" fmla="*/ 49 h 85"/>
                <a:gd name="T2" fmla="*/ 71 w 75"/>
                <a:gd name="T3" fmla="*/ 31 h 85"/>
                <a:gd name="T4" fmla="*/ 70 w 75"/>
                <a:gd name="T5" fmla="*/ 18 h 85"/>
                <a:gd name="T6" fmla="*/ 66 w 75"/>
                <a:gd name="T7" fmla="*/ 9 h 85"/>
                <a:gd name="T8" fmla="*/ 56 w 75"/>
                <a:gd name="T9" fmla="*/ 3 h 85"/>
                <a:gd name="T10" fmla="*/ 39 w 75"/>
                <a:gd name="T11" fmla="*/ 0 h 85"/>
                <a:gd name="T12" fmla="*/ 21 w 75"/>
                <a:gd name="T13" fmla="*/ 3 h 85"/>
                <a:gd name="T14" fmla="*/ 9 w 75"/>
                <a:gd name="T15" fmla="*/ 11 h 85"/>
                <a:gd name="T16" fmla="*/ 3 w 75"/>
                <a:gd name="T17" fmla="*/ 25 h 85"/>
                <a:gd name="T18" fmla="*/ 16 w 75"/>
                <a:gd name="T19" fmla="*/ 27 h 85"/>
                <a:gd name="T20" fmla="*/ 23 w 75"/>
                <a:gd name="T21" fmla="*/ 15 h 85"/>
                <a:gd name="T22" fmla="*/ 37 w 75"/>
                <a:gd name="T23" fmla="*/ 12 h 85"/>
                <a:gd name="T24" fmla="*/ 53 w 75"/>
                <a:gd name="T25" fmla="*/ 16 h 85"/>
                <a:gd name="T26" fmla="*/ 57 w 75"/>
                <a:gd name="T27" fmla="*/ 28 h 85"/>
                <a:gd name="T28" fmla="*/ 57 w 75"/>
                <a:gd name="T29" fmla="*/ 32 h 85"/>
                <a:gd name="T30" fmla="*/ 32 w 75"/>
                <a:gd name="T31" fmla="*/ 36 h 85"/>
                <a:gd name="T32" fmla="*/ 20 w 75"/>
                <a:gd name="T33" fmla="*/ 39 h 85"/>
                <a:gd name="T34" fmla="*/ 10 w 75"/>
                <a:gd name="T35" fmla="*/ 43 h 85"/>
                <a:gd name="T36" fmla="*/ 3 w 75"/>
                <a:gd name="T37" fmla="*/ 51 h 85"/>
                <a:gd name="T38" fmla="*/ 0 w 75"/>
                <a:gd name="T39" fmla="*/ 62 h 85"/>
                <a:gd name="T40" fmla="*/ 7 w 75"/>
                <a:gd name="T41" fmla="*/ 79 h 85"/>
                <a:gd name="T42" fmla="*/ 28 w 75"/>
                <a:gd name="T43" fmla="*/ 85 h 85"/>
                <a:gd name="T44" fmla="*/ 43 w 75"/>
                <a:gd name="T45" fmla="*/ 82 h 85"/>
                <a:gd name="T46" fmla="*/ 58 w 75"/>
                <a:gd name="T47" fmla="*/ 73 h 85"/>
                <a:gd name="T48" fmla="*/ 61 w 75"/>
                <a:gd name="T49" fmla="*/ 83 h 85"/>
                <a:gd name="T50" fmla="*/ 75 w 75"/>
                <a:gd name="T51" fmla="*/ 83 h 85"/>
                <a:gd name="T52" fmla="*/ 72 w 75"/>
                <a:gd name="T53" fmla="*/ 74 h 85"/>
                <a:gd name="T54" fmla="*/ 71 w 75"/>
                <a:gd name="T55" fmla="*/ 49 h 85"/>
                <a:gd name="T56" fmla="*/ 57 w 75"/>
                <a:gd name="T57" fmla="*/ 48 h 85"/>
                <a:gd name="T58" fmla="*/ 55 w 75"/>
                <a:gd name="T59" fmla="*/ 61 h 85"/>
                <a:gd name="T60" fmla="*/ 46 w 75"/>
                <a:gd name="T61" fmla="*/ 71 h 85"/>
                <a:gd name="T62" fmla="*/ 31 w 75"/>
                <a:gd name="T63" fmla="*/ 74 h 85"/>
                <a:gd name="T64" fmla="*/ 19 w 75"/>
                <a:gd name="T65" fmla="*/ 71 h 85"/>
                <a:gd name="T66" fmla="*/ 15 w 75"/>
                <a:gd name="T67" fmla="*/ 62 h 85"/>
                <a:gd name="T68" fmla="*/ 17 w 75"/>
                <a:gd name="T69" fmla="*/ 55 h 85"/>
                <a:gd name="T70" fmla="*/ 22 w 75"/>
                <a:gd name="T71" fmla="*/ 50 h 85"/>
                <a:gd name="T72" fmla="*/ 34 w 75"/>
                <a:gd name="T73" fmla="*/ 48 h 85"/>
                <a:gd name="T74" fmla="*/ 57 w 75"/>
                <a:gd name="T75" fmla="*/ 43 h 85"/>
                <a:gd name="T76" fmla="*/ 57 w 75"/>
                <a:gd name="T77" fmla="*/ 48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75" h="85">
                  <a:moveTo>
                    <a:pt x="71" y="49"/>
                  </a:moveTo>
                  <a:cubicBezTo>
                    <a:pt x="71" y="31"/>
                    <a:pt x="71" y="31"/>
                    <a:pt x="71" y="31"/>
                  </a:cubicBezTo>
                  <a:cubicBezTo>
                    <a:pt x="71" y="25"/>
                    <a:pt x="71" y="21"/>
                    <a:pt x="70" y="18"/>
                  </a:cubicBezTo>
                  <a:cubicBezTo>
                    <a:pt x="69" y="14"/>
                    <a:pt x="68" y="11"/>
                    <a:pt x="66" y="9"/>
                  </a:cubicBezTo>
                  <a:cubicBezTo>
                    <a:pt x="64" y="6"/>
                    <a:pt x="61" y="4"/>
                    <a:pt x="56" y="3"/>
                  </a:cubicBezTo>
                  <a:cubicBezTo>
                    <a:pt x="52" y="1"/>
                    <a:pt x="46" y="0"/>
                    <a:pt x="39" y="0"/>
                  </a:cubicBezTo>
                  <a:cubicBezTo>
                    <a:pt x="32" y="0"/>
                    <a:pt x="26" y="1"/>
                    <a:pt x="21" y="3"/>
                  </a:cubicBezTo>
                  <a:cubicBezTo>
                    <a:pt x="16" y="5"/>
                    <a:pt x="12" y="8"/>
                    <a:pt x="9" y="11"/>
                  </a:cubicBezTo>
                  <a:cubicBezTo>
                    <a:pt x="6" y="15"/>
                    <a:pt x="4" y="19"/>
                    <a:pt x="3" y="25"/>
                  </a:cubicBezTo>
                  <a:cubicBezTo>
                    <a:pt x="16" y="27"/>
                    <a:pt x="16" y="27"/>
                    <a:pt x="16" y="27"/>
                  </a:cubicBezTo>
                  <a:cubicBezTo>
                    <a:pt x="18" y="21"/>
                    <a:pt x="20" y="17"/>
                    <a:pt x="23" y="15"/>
                  </a:cubicBezTo>
                  <a:cubicBezTo>
                    <a:pt x="26" y="13"/>
                    <a:pt x="31" y="12"/>
                    <a:pt x="37" y="12"/>
                  </a:cubicBezTo>
                  <a:cubicBezTo>
                    <a:pt x="44" y="12"/>
                    <a:pt x="50" y="13"/>
                    <a:pt x="53" y="16"/>
                  </a:cubicBezTo>
                  <a:cubicBezTo>
                    <a:pt x="56" y="19"/>
                    <a:pt x="57" y="23"/>
                    <a:pt x="57" y="28"/>
                  </a:cubicBezTo>
                  <a:cubicBezTo>
                    <a:pt x="57" y="29"/>
                    <a:pt x="57" y="30"/>
                    <a:pt x="57" y="32"/>
                  </a:cubicBezTo>
                  <a:cubicBezTo>
                    <a:pt x="52" y="34"/>
                    <a:pt x="43" y="35"/>
                    <a:pt x="32" y="36"/>
                  </a:cubicBezTo>
                  <a:cubicBezTo>
                    <a:pt x="27" y="37"/>
                    <a:pt x="23" y="38"/>
                    <a:pt x="20" y="39"/>
                  </a:cubicBezTo>
                  <a:cubicBezTo>
                    <a:pt x="16" y="40"/>
                    <a:pt x="13" y="41"/>
                    <a:pt x="10" y="43"/>
                  </a:cubicBezTo>
                  <a:cubicBezTo>
                    <a:pt x="7" y="45"/>
                    <a:pt x="5" y="48"/>
                    <a:pt x="3" y="51"/>
                  </a:cubicBezTo>
                  <a:cubicBezTo>
                    <a:pt x="1" y="54"/>
                    <a:pt x="0" y="58"/>
                    <a:pt x="0" y="62"/>
                  </a:cubicBezTo>
                  <a:cubicBezTo>
                    <a:pt x="0" y="69"/>
                    <a:pt x="3" y="74"/>
                    <a:pt x="7" y="79"/>
                  </a:cubicBezTo>
                  <a:cubicBezTo>
                    <a:pt x="12" y="83"/>
                    <a:pt x="19" y="85"/>
                    <a:pt x="28" y="85"/>
                  </a:cubicBezTo>
                  <a:cubicBezTo>
                    <a:pt x="33" y="85"/>
                    <a:pt x="39" y="84"/>
                    <a:pt x="43" y="82"/>
                  </a:cubicBezTo>
                  <a:cubicBezTo>
                    <a:pt x="48" y="81"/>
                    <a:pt x="53" y="78"/>
                    <a:pt x="58" y="73"/>
                  </a:cubicBezTo>
                  <a:cubicBezTo>
                    <a:pt x="58" y="77"/>
                    <a:pt x="59" y="80"/>
                    <a:pt x="61" y="83"/>
                  </a:cubicBezTo>
                  <a:cubicBezTo>
                    <a:pt x="75" y="83"/>
                    <a:pt x="75" y="83"/>
                    <a:pt x="75" y="83"/>
                  </a:cubicBezTo>
                  <a:cubicBezTo>
                    <a:pt x="73" y="80"/>
                    <a:pt x="72" y="77"/>
                    <a:pt x="72" y="74"/>
                  </a:cubicBezTo>
                  <a:cubicBezTo>
                    <a:pt x="71" y="70"/>
                    <a:pt x="71" y="62"/>
                    <a:pt x="71" y="49"/>
                  </a:cubicBezTo>
                  <a:close/>
                  <a:moveTo>
                    <a:pt x="57" y="48"/>
                  </a:moveTo>
                  <a:cubicBezTo>
                    <a:pt x="57" y="54"/>
                    <a:pt x="56" y="58"/>
                    <a:pt x="55" y="61"/>
                  </a:cubicBezTo>
                  <a:cubicBezTo>
                    <a:pt x="53" y="65"/>
                    <a:pt x="50" y="69"/>
                    <a:pt x="46" y="71"/>
                  </a:cubicBezTo>
                  <a:cubicBezTo>
                    <a:pt x="41" y="73"/>
                    <a:pt x="37" y="74"/>
                    <a:pt x="31" y="74"/>
                  </a:cubicBezTo>
                  <a:cubicBezTo>
                    <a:pt x="26" y="74"/>
                    <a:pt x="22" y="73"/>
                    <a:pt x="19" y="71"/>
                  </a:cubicBezTo>
                  <a:cubicBezTo>
                    <a:pt x="16" y="68"/>
                    <a:pt x="15" y="65"/>
                    <a:pt x="15" y="62"/>
                  </a:cubicBezTo>
                  <a:cubicBezTo>
                    <a:pt x="15" y="59"/>
                    <a:pt x="16" y="57"/>
                    <a:pt x="17" y="55"/>
                  </a:cubicBezTo>
                  <a:cubicBezTo>
                    <a:pt x="18" y="53"/>
                    <a:pt x="20" y="52"/>
                    <a:pt x="22" y="50"/>
                  </a:cubicBezTo>
                  <a:cubicBezTo>
                    <a:pt x="25" y="49"/>
                    <a:pt x="29" y="49"/>
                    <a:pt x="34" y="48"/>
                  </a:cubicBezTo>
                  <a:cubicBezTo>
                    <a:pt x="44" y="46"/>
                    <a:pt x="52" y="45"/>
                    <a:pt x="57" y="43"/>
                  </a:cubicBezTo>
                  <a:lnTo>
                    <a:pt x="57" y="4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1049901" name="ï$ḻíḋê"/>
            <p:cNvSpPr/>
            <p:nvPr/>
          </p:nvSpPr>
          <p:spPr bwMode="auto">
            <a:xfrm>
              <a:off x="8164766" y="5729878"/>
              <a:ext cx="122238" cy="152400"/>
            </a:xfrm>
            <a:custGeom>
              <a:avLst/>
              <a:gdLst>
                <a:gd name="T0" fmla="*/ 61 w 66"/>
                <a:gd name="T1" fmla="*/ 10 h 83"/>
                <a:gd name="T2" fmla="*/ 52 w 66"/>
                <a:gd name="T3" fmla="*/ 3 h 83"/>
                <a:gd name="T4" fmla="*/ 38 w 66"/>
                <a:gd name="T5" fmla="*/ 0 h 83"/>
                <a:gd name="T6" fmla="*/ 13 w 66"/>
                <a:gd name="T7" fmla="*/ 14 h 83"/>
                <a:gd name="T8" fmla="*/ 13 w 66"/>
                <a:gd name="T9" fmla="*/ 2 h 83"/>
                <a:gd name="T10" fmla="*/ 0 w 66"/>
                <a:gd name="T11" fmla="*/ 2 h 83"/>
                <a:gd name="T12" fmla="*/ 0 w 66"/>
                <a:gd name="T13" fmla="*/ 83 h 83"/>
                <a:gd name="T14" fmla="*/ 14 w 66"/>
                <a:gd name="T15" fmla="*/ 83 h 83"/>
                <a:gd name="T16" fmla="*/ 14 w 66"/>
                <a:gd name="T17" fmla="*/ 39 h 83"/>
                <a:gd name="T18" fmla="*/ 20 w 66"/>
                <a:gd name="T19" fmla="*/ 18 h 83"/>
                <a:gd name="T20" fmla="*/ 36 w 66"/>
                <a:gd name="T21" fmla="*/ 12 h 83"/>
                <a:gd name="T22" fmla="*/ 45 w 66"/>
                <a:gd name="T23" fmla="*/ 15 h 83"/>
                <a:gd name="T24" fmla="*/ 51 w 66"/>
                <a:gd name="T25" fmla="*/ 21 h 83"/>
                <a:gd name="T26" fmla="*/ 52 w 66"/>
                <a:gd name="T27" fmla="*/ 34 h 83"/>
                <a:gd name="T28" fmla="*/ 52 w 66"/>
                <a:gd name="T29" fmla="*/ 83 h 83"/>
                <a:gd name="T30" fmla="*/ 66 w 66"/>
                <a:gd name="T31" fmla="*/ 83 h 83"/>
                <a:gd name="T32" fmla="*/ 66 w 66"/>
                <a:gd name="T33" fmla="*/ 33 h 83"/>
                <a:gd name="T34" fmla="*/ 65 w 66"/>
                <a:gd name="T35" fmla="*/ 20 h 83"/>
                <a:gd name="T36" fmla="*/ 61 w 66"/>
                <a:gd name="T37" fmla="*/ 10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6" h="83">
                  <a:moveTo>
                    <a:pt x="61" y="10"/>
                  </a:moveTo>
                  <a:cubicBezTo>
                    <a:pt x="59" y="7"/>
                    <a:pt x="56" y="5"/>
                    <a:pt x="52" y="3"/>
                  </a:cubicBezTo>
                  <a:cubicBezTo>
                    <a:pt x="48" y="1"/>
                    <a:pt x="43" y="0"/>
                    <a:pt x="38" y="0"/>
                  </a:cubicBezTo>
                  <a:cubicBezTo>
                    <a:pt x="27" y="0"/>
                    <a:pt x="19" y="5"/>
                    <a:pt x="13" y="14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83"/>
                    <a:pt x="0" y="83"/>
                    <a:pt x="0" y="83"/>
                  </a:cubicBezTo>
                  <a:cubicBezTo>
                    <a:pt x="14" y="83"/>
                    <a:pt x="14" y="83"/>
                    <a:pt x="14" y="83"/>
                  </a:cubicBezTo>
                  <a:cubicBezTo>
                    <a:pt x="14" y="39"/>
                    <a:pt x="14" y="39"/>
                    <a:pt x="14" y="39"/>
                  </a:cubicBezTo>
                  <a:cubicBezTo>
                    <a:pt x="14" y="29"/>
                    <a:pt x="16" y="21"/>
                    <a:pt x="20" y="18"/>
                  </a:cubicBezTo>
                  <a:cubicBezTo>
                    <a:pt x="25" y="14"/>
                    <a:pt x="30" y="12"/>
                    <a:pt x="36" y="12"/>
                  </a:cubicBezTo>
                  <a:cubicBezTo>
                    <a:pt x="39" y="12"/>
                    <a:pt x="42" y="13"/>
                    <a:pt x="45" y="15"/>
                  </a:cubicBezTo>
                  <a:cubicBezTo>
                    <a:pt x="48" y="16"/>
                    <a:pt x="50" y="19"/>
                    <a:pt x="51" y="21"/>
                  </a:cubicBezTo>
                  <a:cubicBezTo>
                    <a:pt x="52" y="24"/>
                    <a:pt x="52" y="28"/>
                    <a:pt x="52" y="34"/>
                  </a:cubicBezTo>
                  <a:cubicBezTo>
                    <a:pt x="52" y="83"/>
                    <a:pt x="52" y="83"/>
                    <a:pt x="52" y="83"/>
                  </a:cubicBezTo>
                  <a:cubicBezTo>
                    <a:pt x="66" y="83"/>
                    <a:pt x="66" y="83"/>
                    <a:pt x="66" y="83"/>
                  </a:cubicBezTo>
                  <a:cubicBezTo>
                    <a:pt x="66" y="33"/>
                    <a:pt x="66" y="33"/>
                    <a:pt x="66" y="33"/>
                  </a:cubicBezTo>
                  <a:cubicBezTo>
                    <a:pt x="66" y="27"/>
                    <a:pt x="66" y="23"/>
                    <a:pt x="65" y="20"/>
                  </a:cubicBezTo>
                  <a:cubicBezTo>
                    <a:pt x="65" y="16"/>
                    <a:pt x="63" y="13"/>
                    <a:pt x="61" y="1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1049902" name="îśḻïďè"/>
            <p:cNvSpPr/>
            <p:nvPr/>
          </p:nvSpPr>
          <p:spPr bwMode="auto">
            <a:xfrm>
              <a:off x="8315578" y="5675903"/>
              <a:ext cx="131763" cy="211138"/>
            </a:xfrm>
            <a:custGeom>
              <a:avLst/>
              <a:gdLst>
                <a:gd name="T0" fmla="*/ 57 w 71"/>
                <a:gd name="T1" fmla="*/ 40 h 114"/>
                <a:gd name="T2" fmla="*/ 48 w 71"/>
                <a:gd name="T3" fmla="*/ 32 h 114"/>
                <a:gd name="T4" fmla="*/ 35 w 71"/>
                <a:gd name="T5" fmla="*/ 29 h 114"/>
                <a:gd name="T6" fmla="*/ 17 w 71"/>
                <a:gd name="T7" fmla="*/ 35 h 114"/>
                <a:gd name="T8" fmla="*/ 4 w 71"/>
                <a:gd name="T9" fmla="*/ 50 h 114"/>
                <a:gd name="T10" fmla="*/ 0 w 71"/>
                <a:gd name="T11" fmla="*/ 72 h 114"/>
                <a:gd name="T12" fmla="*/ 5 w 71"/>
                <a:gd name="T13" fmla="*/ 94 h 114"/>
                <a:gd name="T14" fmla="*/ 17 w 71"/>
                <a:gd name="T15" fmla="*/ 109 h 114"/>
                <a:gd name="T16" fmla="*/ 35 w 71"/>
                <a:gd name="T17" fmla="*/ 114 h 114"/>
                <a:gd name="T18" fmla="*/ 58 w 71"/>
                <a:gd name="T19" fmla="*/ 102 h 114"/>
                <a:gd name="T20" fmla="*/ 58 w 71"/>
                <a:gd name="T21" fmla="*/ 112 h 114"/>
                <a:gd name="T22" fmla="*/ 71 w 71"/>
                <a:gd name="T23" fmla="*/ 112 h 114"/>
                <a:gd name="T24" fmla="*/ 71 w 71"/>
                <a:gd name="T25" fmla="*/ 0 h 114"/>
                <a:gd name="T26" fmla="*/ 57 w 71"/>
                <a:gd name="T27" fmla="*/ 0 h 114"/>
                <a:gd name="T28" fmla="*/ 57 w 71"/>
                <a:gd name="T29" fmla="*/ 40 h 114"/>
                <a:gd name="T30" fmla="*/ 52 w 71"/>
                <a:gd name="T31" fmla="*/ 95 h 114"/>
                <a:gd name="T32" fmla="*/ 37 w 71"/>
                <a:gd name="T33" fmla="*/ 103 h 114"/>
                <a:gd name="T34" fmla="*/ 21 w 71"/>
                <a:gd name="T35" fmla="*/ 95 h 114"/>
                <a:gd name="T36" fmla="*/ 15 w 71"/>
                <a:gd name="T37" fmla="*/ 72 h 114"/>
                <a:gd name="T38" fmla="*/ 21 w 71"/>
                <a:gd name="T39" fmla="*/ 48 h 114"/>
                <a:gd name="T40" fmla="*/ 36 w 71"/>
                <a:gd name="T41" fmla="*/ 41 h 114"/>
                <a:gd name="T42" fmla="*/ 52 w 71"/>
                <a:gd name="T43" fmla="*/ 48 h 114"/>
                <a:gd name="T44" fmla="*/ 58 w 71"/>
                <a:gd name="T45" fmla="*/ 73 h 114"/>
                <a:gd name="T46" fmla="*/ 52 w 71"/>
                <a:gd name="T47" fmla="*/ 95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71" h="114">
                  <a:moveTo>
                    <a:pt x="57" y="40"/>
                  </a:moveTo>
                  <a:cubicBezTo>
                    <a:pt x="55" y="37"/>
                    <a:pt x="52" y="34"/>
                    <a:pt x="48" y="32"/>
                  </a:cubicBezTo>
                  <a:cubicBezTo>
                    <a:pt x="44" y="30"/>
                    <a:pt x="40" y="29"/>
                    <a:pt x="35" y="29"/>
                  </a:cubicBezTo>
                  <a:cubicBezTo>
                    <a:pt x="28" y="29"/>
                    <a:pt x="22" y="31"/>
                    <a:pt x="17" y="35"/>
                  </a:cubicBezTo>
                  <a:cubicBezTo>
                    <a:pt x="11" y="38"/>
                    <a:pt x="7" y="43"/>
                    <a:pt x="4" y="50"/>
                  </a:cubicBezTo>
                  <a:cubicBezTo>
                    <a:pt x="2" y="56"/>
                    <a:pt x="0" y="64"/>
                    <a:pt x="0" y="72"/>
                  </a:cubicBezTo>
                  <a:cubicBezTo>
                    <a:pt x="0" y="80"/>
                    <a:pt x="2" y="87"/>
                    <a:pt x="5" y="94"/>
                  </a:cubicBezTo>
                  <a:cubicBezTo>
                    <a:pt x="8" y="100"/>
                    <a:pt x="12" y="105"/>
                    <a:pt x="17" y="109"/>
                  </a:cubicBezTo>
                  <a:cubicBezTo>
                    <a:pt x="23" y="112"/>
                    <a:pt x="29" y="114"/>
                    <a:pt x="35" y="114"/>
                  </a:cubicBezTo>
                  <a:cubicBezTo>
                    <a:pt x="45" y="114"/>
                    <a:pt x="53" y="110"/>
                    <a:pt x="58" y="102"/>
                  </a:cubicBezTo>
                  <a:cubicBezTo>
                    <a:pt x="58" y="112"/>
                    <a:pt x="58" y="112"/>
                    <a:pt x="58" y="112"/>
                  </a:cubicBezTo>
                  <a:cubicBezTo>
                    <a:pt x="71" y="112"/>
                    <a:pt x="71" y="112"/>
                    <a:pt x="71" y="112"/>
                  </a:cubicBezTo>
                  <a:cubicBezTo>
                    <a:pt x="71" y="0"/>
                    <a:pt x="71" y="0"/>
                    <a:pt x="71" y="0"/>
                  </a:cubicBezTo>
                  <a:cubicBezTo>
                    <a:pt x="57" y="0"/>
                    <a:pt x="57" y="0"/>
                    <a:pt x="57" y="0"/>
                  </a:cubicBezTo>
                  <a:lnTo>
                    <a:pt x="57" y="40"/>
                  </a:lnTo>
                  <a:close/>
                  <a:moveTo>
                    <a:pt x="52" y="95"/>
                  </a:moveTo>
                  <a:cubicBezTo>
                    <a:pt x="48" y="100"/>
                    <a:pt x="43" y="103"/>
                    <a:pt x="37" y="103"/>
                  </a:cubicBezTo>
                  <a:cubicBezTo>
                    <a:pt x="31" y="103"/>
                    <a:pt x="25" y="100"/>
                    <a:pt x="21" y="95"/>
                  </a:cubicBezTo>
                  <a:cubicBezTo>
                    <a:pt x="17" y="90"/>
                    <a:pt x="15" y="82"/>
                    <a:pt x="15" y="72"/>
                  </a:cubicBezTo>
                  <a:cubicBezTo>
                    <a:pt x="15" y="61"/>
                    <a:pt x="17" y="53"/>
                    <a:pt x="21" y="48"/>
                  </a:cubicBezTo>
                  <a:cubicBezTo>
                    <a:pt x="25" y="43"/>
                    <a:pt x="30" y="41"/>
                    <a:pt x="36" y="41"/>
                  </a:cubicBezTo>
                  <a:cubicBezTo>
                    <a:pt x="42" y="41"/>
                    <a:pt x="48" y="43"/>
                    <a:pt x="52" y="48"/>
                  </a:cubicBezTo>
                  <a:cubicBezTo>
                    <a:pt x="56" y="54"/>
                    <a:pt x="58" y="62"/>
                    <a:pt x="58" y="73"/>
                  </a:cubicBezTo>
                  <a:cubicBezTo>
                    <a:pt x="58" y="83"/>
                    <a:pt x="56" y="91"/>
                    <a:pt x="52" y="9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1049903" name="iṡľîdé"/>
            <p:cNvSpPr/>
            <p:nvPr/>
          </p:nvSpPr>
          <p:spPr bwMode="auto">
            <a:xfrm>
              <a:off x="8550528" y="5675903"/>
              <a:ext cx="163513" cy="206375"/>
            </a:xfrm>
            <a:custGeom>
              <a:avLst/>
              <a:gdLst>
                <a:gd name="T0" fmla="*/ 103 w 103"/>
                <a:gd name="T1" fmla="*/ 0 h 130"/>
                <a:gd name="T2" fmla="*/ 0 w 103"/>
                <a:gd name="T3" fmla="*/ 0 h 130"/>
                <a:gd name="T4" fmla="*/ 0 w 103"/>
                <a:gd name="T5" fmla="*/ 15 h 130"/>
                <a:gd name="T6" fmla="*/ 43 w 103"/>
                <a:gd name="T7" fmla="*/ 15 h 130"/>
                <a:gd name="T8" fmla="*/ 43 w 103"/>
                <a:gd name="T9" fmla="*/ 130 h 130"/>
                <a:gd name="T10" fmla="*/ 59 w 103"/>
                <a:gd name="T11" fmla="*/ 130 h 130"/>
                <a:gd name="T12" fmla="*/ 59 w 103"/>
                <a:gd name="T13" fmla="*/ 15 h 130"/>
                <a:gd name="T14" fmla="*/ 103 w 103"/>
                <a:gd name="T15" fmla="*/ 15 h 130"/>
                <a:gd name="T16" fmla="*/ 103 w 103"/>
                <a:gd name="T17" fmla="*/ 0 h 1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3" h="130">
                  <a:moveTo>
                    <a:pt x="103" y="0"/>
                  </a:moveTo>
                  <a:lnTo>
                    <a:pt x="0" y="0"/>
                  </a:lnTo>
                  <a:lnTo>
                    <a:pt x="0" y="15"/>
                  </a:lnTo>
                  <a:lnTo>
                    <a:pt x="43" y="15"/>
                  </a:lnTo>
                  <a:lnTo>
                    <a:pt x="43" y="130"/>
                  </a:lnTo>
                  <a:lnTo>
                    <a:pt x="59" y="130"/>
                  </a:lnTo>
                  <a:lnTo>
                    <a:pt x="59" y="15"/>
                  </a:lnTo>
                  <a:lnTo>
                    <a:pt x="103" y="15"/>
                  </a:lnTo>
                  <a:lnTo>
                    <a:pt x="103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1049904" name="íṥḻíḋé"/>
            <p:cNvSpPr/>
            <p:nvPr/>
          </p:nvSpPr>
          <p:spPr bwMode="auto">
            <a:xfrm>
              <a:off x="8698166" y="5729878"/>
              <a:ext cx="138113" cy="157163"/>
            </a:xfrm>
            <a:custGeom>
              <a:avLst/>
              <a:gdLst>
                <a:gd name="T0" fmla="*/ 38 w 75"/>
                <a:gd name="T1" fmla="*/ 0 h 85"/>
                <a:gd name="T2" fmla="*/ 11 w 75"/>
                <a:gd name="T3" fmla="*/ 12 h 85"/>
                <a:gd name="T4" fmla="*/ 0 w 75"/>
                <a:gd name="T5" fmla="*/ 43 h 85"/>
                <a:gd name="T6" fmla="*/ 10 w 75"/>
                <a:gd name="T7" fmla="*/ 74 h 85"/>
                <a:gd name="T8" fmla="*/ 39 w 75"/>
                <a:gd name="T9" fmla="*/ 85 h 85"/>
                <a:gd name="T10" fmla="*/ 62 w 75"/>
                <a:gd name="T11" fmla="*/ 78 h 85"/>
                <a:gd name="T12" fmla="*/ 74 w 75"/>
                <a:gd name="T13" fmla="*/ 59 h 85"/>
                <a:gd name="T14" fmla="*/ 60 w 75"/>
                <a:gd name="T15" fmla="*/ 57 h 85"/>
                <a:gd name="T16" fmla="*/ 52 w 75"/>
                <a:gd name="T17" fmla="*/ 70 h 85"/>
                <a:gd name="T18" fmla="*/ 39 w 75"/>
                <a:gd name="T19" fmla="*/ 74 h 85"/>
                <a:gd name="T20" fmla="*/ 22 w 75"/>
                <a:gd name="T21" fmla="*/ 67 h 85"/>
                <a:gd name="T22" fmla="*/ 14 w 75"/>
                <a:gd name="T23" fmla="*/ 46 h 85"/>
                <a:gd name="T24" fmla="*/ 75 w 75"/>
                <a:gd name="T25" fmla="*/ 46 h 85"/>
                <a:gd name="T26" fmla="*/ 75 w 75"/>
                <a:gd name="T27" fmla="*/ 43 h 85"/>
                <a:gd name="T28" fmla="*/ 65 w 75"/>
                <a:gd name="T29" fmla="*/ 11 h 85"/>
                <a:gd name="T30" fmla="*/ 38 w 75"/>
                <a:gd name="T31" fmla="*/ 0 h 85"/>
                <a:gd name="T32" fmla="*/ 15 w 75"/>
                <a:gd name="T33" fmla="*/ 35 h 85"/>
                <a:gd name="T34" fmla="*/ 22 w 75"/>
                <a:gd name="T35" fmla="*/ 18 h 85"/>
                <a:gd name="T36" fmla="*/ 38 w 75"/>
                <a:gd name="T37" fmla="*/ 12 h 85"/>
                <a:gd name="T38" fmla="*/ 55 w 75"/>
                <a:gd name="T39" fmla="*/ 20 h 85"/>
                <a:gd name="T40" fmla="*/ 60 w 75"/>
                <a:gd name="T41" fmla="*/ 35 h 85"/>
                <a:gd name="T42" fmla="*/ 15 w 75"/>
                <a:gd name="T43" fmla="*/ 35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75" h="85">
                  <a:moveTo>
                    <a:pt x="38" y="0"/>
                  </a:moveTo>
                  <a:cubicBezTo>
                    <a:pt x="27" y="0"/>
                    <a:pt x="18" y="4"/>
                    <a:pt x="11" y="12"/>
                  </a:cubicBezTo>
                  <a:cubicBezTo>
                    <a:pt x="4" y="19"/>
                    <a:pt x="0" y="30"/>
                    <a:pt x="0" y="43"/>
                  </a:cubicBezTo>
                  <a:cubicBezTo>
                    <a:pt x="0" y="57"/>
                    <a:pt x="3" y="67"/>
                    <a:pt x="10" y="74"/>
                  </a:cubicBezTo>
                  <a:cubicBezTo>
                    <a:pt x="17" y="81"/>
                    <a:pt x="27" y="85"/>
                    <a:pt x="39" y="85"/>
                  </a:cubicBezTo>
                  <a:cubicBezTo>
                    <a:pt x="48" y="85"/>
                    <a:pt x="56" y="83"/>
                    <a:pt x="62" y="78"/>
                  </a:cubicBezTo>
                  <a:cubicBezTo>
                    <a:pt x="68" y="74"/>
                    <a:pt x="72" y="67"/>
                    <a:pt x="74" y="59"/>
                  </a:cubicBezTo>
                  <a:cubicBezTo>
                    <a:pt x="60" y="57"/>
                    <a:pt x="60" y="57"/>
                    <a:pt x="60" y="57"/>
                  </a:cubicBezTo>
                  <a:cubicBezTo>
                    <a:pt x="58" y="63"/>
                    <a:pt x="55" y="67"/>
                    <a:pt x="52" y="70"/>
                  </a:cubicBezTo>
                  <a:cubicBezTo>
                    <a:pt x="48" y="73"/>
                    <a:pt x="44" y="74"/>
                    <a:pt x="39" y="74"/>
                  </a:cubicBezTo>
                  <a:cubicBezTo>
                    <a:pt x="32" y="74"/>
                    <a:pt x="26" y="71"/>
                    <a:pt x="22" y="67"/>
                  </a:cubicBezTo>
                  <a:cubicBezTo>
                    <a:pt x="17" y="62"/>
                    <a:pt x="15" y="55"/>
                    <a:pt x="14" y="46"/>
                  </a:cubicBezTo>
                  <a:cubicBezTo>
                    <a:pt x="75" y="46"/>
                    <a:pt x="75" y="46"/>
                    <a:pt x="75" y="46"/>
                  </a:cubicBezTo>
                  <a:cubicBezTo>
                    <a:pt x="75" y="45"/>
                    <a:pt x="75" y="43"/>
                    <a:pt x="75" y="43"/>
                  </a:cubicBezTo>
                  <a:cubicBezTo>
                    <a:pt x="75" y="29"/>
                    <a:pt x="72" y="19"/>
                    <a:pt x="65" y="11"/>
                  </a:cubicBezTo>
                  <a:cubicBezTo>
                    <a:pt x="58" y="4"/>
                    <a:pt x="49" y="0"/>
                    <a:pt x="38" y="0"/>
                  </a:cubicBezTo>
                  <a:close/>
                  <a:moveTo>
                    <a:pt x="15" y="35"/>
                  </a:moveTo>
                  <a:cubicBezTo>
                    <a:pt x="15" y="28"/>
                    <a:pt x="18" y="22"/>
                    <a:pt x="22" y="18"/>
                  </a:cubicBezTo>
                  <a:cubicBezTo>
                    <a:pt x="26" y="14"/>
                    <a:pt x="32" y="12"/>
                    <a:pt x="38" y="12"/>
                  </a:cubicBezTo>
                  <a:cubicBezTo>
                    <a:pt x="45" y="12"/>
                    <a:pt x="51" y="14"/>
                    <a:pt x="55" y="20"/>
                  </a:cubicBezTo>
                  <a:cubicBezTo>
                    <a:pt x="58" y="23"/>
                    <a:pt x="60" y="28"/>
                    <a:pt x="60" y="35"/>
                  </a:cubicBezTo>
                  <a:lnTo>
                    <a:pt x="15" y="35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1049905" name="ïṡļïḍè"/>
            <p:cNvSpPr/>
            <p:nvPr/>
          </p:nvSpPr>
          <p:spPr bwMode="auto">
            <a:xfrm>
              <a:off x="8860091" y="5729878"/>
              <a:ext cx="128588" cy="157163"/>
            </a:xfrm>
            <a:custGeom>
              <a:avLst/>
              <a:gdLst>
                <a:gd name="T0" fmla="*/ 50 w 70"/>
                <a:gd name="T1" fmla="*/ 69 h 85"/>
                <a:gd name="T2" fmla="*/ 36 w 70"/>
                <a:gd name="T3" fmla="*/ 74 h 85"/>
                <a:gd name="T4" fmla="*/ 20 w 70"/>
                <a:gd name="T5" fmla="*/ 66 h 85"/>
                <a:gd name="T6" fmla="*/ 14 w 70"/>
                <a:gd name="T7" fmla="*/ 43 h 85"/>
                <a:gd name="T8" fmla="*/ 20 w 70"/>
                <a:gd name="T9" fmla="*/ 19 h 85"/>
                <a:gd name="T10" fmla="*/ 37 w 70"/>
                <a:gd name="T11" fmla="*/ 12 h 85"/>
                <a:gd name="T12" fmla="*/ 49 w 70"/>
                <a:gd name="T13" fmla="*/ 16 h 85"/>
                <a:gd name="T14" fmla="*/ 56 w 70"/>
                <a:gd name="T15" fmla="*/ 28 h 85"/>
                <a:gd name="T16" fmla="*/ 69 w 70"/>
                <a:gd name="T17" fmla="*/ 26 h 85"/>
                <a:gd name="T18" fmla="*/ 58 w 70"/>
                <a:gd name="T19" fmla="*/ 7 h 85"/>
                <a:gd name="T20" fmla="*/ 37 w 70"/>
                <a:gd name="T21" fmla="*/ 0 h 85"/>
                <a:gd name="T22" fmla="*/ 17 w 70"/>
                <a:gd name="T23" fmla="*/ 5 h 85"/>
                <a:gd name="T24" fmla="*/ 4 w 70"/>
                <a:gd name="T25" fmla="*/ 20 h 85"/>
                <a:gd name="T26" fmla="*/ 0 w 70"/>
                <a:gd name="T27" fmla="*/ 43 h 85"/>
                <a:gd name="T28" fmla="*/ 10 w 70"/>
                <a:gd name="T29" fmla="*/ 74 h 85"/>
                <a:gd name="T30" fmla="*/ 37 w 70"/>
                <a:gd name="T31" fmla="*/ 85 h 85"/>
                <a:gd name="T32" fmla="*/ 59 w 70"/>
                <a:gd name="T33" fmla="*/ 77 h 85"/>
                <a:gd name="T34" fmla="*/ 70 w 70"/>
                <a:gd name="T35" fmla="*/ 55 h 85"/>
                <a:gd name="T36" fmla="*/ 57 w 70"/>
                <a:gd name="T37" fmla="*/ 54 h 85"/>
                <a:gd name="T38" fmla="*/ 50 w 70"/>
                <a:gd name="T39" fmla="*/ 69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70" h="85">
                  <a:moveTo>
                    <a:pt x="50" y="69"/>
                  </a:moveTo>
                  <a:cubicBezTo>
                    <a:pt x="46" y="72"/>
                    <a:pt x="42" y="74"/>
                    <a:pt x="36" y="74"/>
                  </a:cubicBezTo>
                  <a:cubicBezTo>
                    <a:pt x="30" y="74"/>
                    <a:pt x="24" y="71"/>
                    <a:pt x="20" y="66"/>
                  </a:cubicBezTo>
                  <a:cubicBezTo>
                    <a:pt x="16" y="61"/>
                    <a:pt x="14" y="54"/>
                    <a:pt x="14" y="43"/>
                  </a:cubicBezTo>
                  <a:cubicBezTo>
                    <a:pt x="14" y="32"/>
                    <a:pt x="16" y="24"/>
                    <a:pt x="20" y="19"/>
                  </a:cubicBezTo>
                  <a:cubicBezTo>
                    <a:pt x="25" y="14"/>
                    <a:pt x="30" y="12"/>
                    <a:pt x="37" y="12"/>
                  </a:cubicBezTo>
                  <a:cubicBezTo>
                    <a:pt x="42" y="12"/>
                    <a:pt x="46" y="13"/>
                    <a:pt x="49" y="16"/>
                  </a:cubicBezTo>
                  <a:cubicBezTo>
                    <a:pt x="52" y="18"/>
                    <a:pt x="54" y="23"/>
                    <a:pt x="56" y="28"/>
                  </a:cubicBezTo>
                  <a:cubicBezTo>
                    <a:pt x="69" y="26"/>
                    <a:pt x="69" y="26"/>
                    <a:pt x="69" y="26"/>
                  </a:cubicBezTo>
                  <a:cubicBezTo>
                    <a:pt x="67" y="18"/>
                    <a:pt x="64" y="11"/>
                    <a:pt x="58" y="7"/>
                  </a:cubicBezTo>
                  <a:cubicBezTo>
                    <a:pt x="53" y="2"/>
                    <a:pt x="45" y="0"/>
                    <a:pt x="37" y="0"/>
                  </a:cubicBezTo>
                  <a:cubicBezTo>
                    <a:pt x="30" y="0"/>
                    <a:pt x="23" y="2"/>
                    <a:pt x="17" y="5"/>
                  </a:cubicBezTo>
                  <a:cubicBezTo>
                    <a:pt x="11" y="8"/>
                    <a:pt x="7" y="13"/>
                    <a:pt x="4" y="20"/>
                  </a:cubicBezTo>
                  <a:cubicBezTo>
                    <a:pt x="1" y="27"/>
                    <a:pt x="0" y="34"/>
                    <a:pt x="0" y="43"/>
                  </a:cubicBezTo>
                  <a:cubicBezTo>
                    <a:pt x="0" y="57"/>
                    <a:pt x="3" y="67"/>
                    <a:pt x="10" y="74"/>
                  </a:cubicBezTo>
                  <a:cubicBezTo>
                    <a:pt x="16" y="82"/>
                    <a:pt x="25" y="85"/>
                    <a:pt x="37" y="85"/>
                  </a:cubicBezTo>
                  <a:cubicBezTo>
                    <a:pt x="45" y="85"/>
                    <a:pt x="53" y="83"/>
                    <a:pt x="59" y="77"/>
                  </a:cubicBezTo>
                  <a:cubicBezTo>
                    <a:pt x="65" y="72"/>
                    <a:pt x="69" y="65"/>
                    <a:pt x="70" y="55"/>
                  </a:cubicBezTo>
                  <a:cubicBezTo>
                    <a:pt x="57" y="54"/>
                    <a:pt x="57" y="54"/>
                    <a:pt x="57" y="54"/>
                  </a:cubicBezTo>
                  <a:cubicBezTo>
                    <a:pt x="56" y="60"/>
                    <a:pt x="54" y="66"/>
                    <a:pt x="50" y="6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1049906" name="iṩḷídê"/>
            <p:cNvSpPr/>
            <p:nvPr/>
          </p:nvSpPr>
          <p:spPr bwMode="auto">
            <a:xfrm>
              <a:off x="9010903" y="5675903"/>
              <a:ext cx="122238" cy="206375"/>
            </a:xfrm>
            <a:custGeom>
              <a:avLst/>
              <a:gdLst>
                <a:gd name="T0" fmla="*/ 54 w 66"/>
                <a:gd name="T1" fmla="*/ 33 h 112"/>
                <a:gd name="T2" fmla="*/ 38 w 66"/>
                <a:gd name="T3" fmla="*/ 29 h 112"/>
                <a:gd name="T4" fmla="*/ 14 w 66"/>
                <a:gd name="T5" fmla="*/ 40 h 112"/>
                <a:gd name="T6" fmla="*/ 14 w 66"/>
                <a:gd name="T7" fmla="*/ 0 h 112"/>
                <a:gd name="T8" fmla="*/ 0 w 66"/>
                <a:gd name="T9" fmla="*/ 0 h 112"/>
                <a:gd name="T10" fmla="*/ 0 w 66"/>
                <a:gd name="T11" fmla="*/ 112 h 112"/>
                <a:gd name="T12" fmla="*/ 14 w 66"/>
                <a:gd name="T13" fmla="*/ 112 h 112"/>
                <a:gd name="T14" fmla="*/ 14 w 66"/>
                <a:gd name="T15" fmla="*/ 68 h 112"/>
                <a:gd name="T16" fmla="*/ 16 w 66"/>
                <a:gd name="T17" fmla="*/ 53 h 112"/>
                <a:gd name="T18" fmla="*/ 24 w 66"/>
                <a:gd name="T19" fmla="*/ 44 h 112"/>
                <a:gd name="T20" fmla="*/ 35 w 66"/>
                <a:gd name="T21" fmla="*/ 41 h 112"/>
                <a:gd name="T22" fmla="*/ 48 w 66"/>
                <a:gd name="T23" fmla="*/ 46 h 112"/>
                <a:gd name="T24" fmla="*/ 53 w 66"/>
                <a:gd name="T25" fmla="*/ 61 h 112"/>
                <a:gd name="T26" fmla="*/ 53 w 66"/>
                <a:gd name="T27" fmla="*/ 112 h 112"/>
                <a:gd name="T28" fmla="*/ 66 w 66"/>
                <a:gd name="T29" fmla="*/ 112 h 112"/>
                <a:gd name="T30" fmla="*/ 66 w 66"/>
                <a:gd name="T31" fmla="*/ 61 h 112"/>
                <a:gd name="T32" fmla="*/ 63 w 66"/>
                <a:gd name="T33" fmla="*/ 43 h 112"/>
                <a:gd name="T34" fmla="*/ 54 w 66"/>
                <a:gd name="T35" fmla="*/ 33 h 1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66" h="112">
                  <a:moveTo>
                    <a:pt x="54" y="33"/>
                  </a:moveTo>
                  <a:cubicBezTo>
                    <a:pt x="50" y="30"/>
                    <a:pt x="44" y="29"/>
                    <a:pt x="38" y="29"/>
                  </a:cubicBezTo>
                  <a:cubicBezTo>
                    <a:pt x="28" y="29"/>
                    <a:pt x="20" y="33"/>
                    <a:pt x="14" y="40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12"/>
                    <a:pt x="0" y="112"/>
                    <a:pt x="0" y="112"/>
                  </a:cubicBezTo>
                  <a:cubicBezTo>
                    <a:pt x="14" y="112"/>
                    <a:pt x="14" y="112"/>
                    <a:pt x="14" y="112"/>
                  </a:cubicBezTo>
                  <a:cubicBezTo>
                    <a:pt x="14" y="68"/>
                    <a:pt x="14" y="68"/>
                    <a:pt x="14" y="68"/>
                  </a:cubicBezTo>
                  <a:cubicBezTo>
                    <a:pt x="14" y="61"/>
                    <a:pt x="15" y="56"/>
                    <a:pt x="16" y="53"/>
                  </a:cubicBezTo>
                  <a:cubicBezTo>
                    <a:pt x="18" y="49"/>
                    <a:pt x="20" y="46"/>
                    <a:pt x="24" y="44"/>
                  </a:cubicBezTo>
                  <a:cubicBezTo>
                    <a:pt x="28" y="42"/>
                    <a:pt x="31" y="41"/>
                    <a:pt x="35" y="41"/>
                  </a:cubicBezTo>
                  <a:cubicBezTo>
                    <a:pt x="41" y="41"/>
                    <a:pt x="45" y="43"/>
                    <a:pt x="48" y="46"/>
                  </a:cubicBezTo>
                  <a:cubicBezTo>
                    <a:pt x="51" y="49"/>
                    <a:pt x="53" y="54"/>
                    <a:pt x="53" y="61"/>
                  </a:cubicBezTo>
                  <a:cubicBezTo>
                    <a:pt x="53" y="112"/>
                    <a:pt x="53" y="112"/>
                    <a:pt x="53" y="112"/>
                  </a:cubicBezTo>
                  <a:cubicBezTo>
                    <a:pt x="66" y="112"/>
                    <a:pt x="66" y="112"/>
                    <a:pt x="66" y="112"/>
                  </a:cubicBezTo>
                  <a:cubicBezTo>
                    <a:pt x="66" y="61"/>
                    <a:pt x="66" y="61"/>
                    <a:pt x="66" y="61"/>
                  </a:cubicBezTo>
                  <a:cubicBezTo>
                    <a:pt x="66" y="53"/>
                    <a:pt x="65" y="47"/>
                    <a:pt x="63" y="43"/>
                  </a:cubicBezTo>
                  <a:cubicBezTo>
                    <a:pt x="62" y="38"/>
                    <a:pt x="58" y="35"/>
                    <a:pt x="54" y="33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1049907" name="íslîḍe"/>
            <p:cNvSpPr/>
            <p:nvPr/>
          </p:nvSpPr>
          <p:spPr bwMode="auto">
            <a:xfrm>
              <a:off x="9171241" y="5729878"/>
              <a:ext cx="122238" cy="152400"/>
            </a:xfrm>
            <a:custGeom>
              <a:avLst/>
              <a:gdLst>
                <a:gd name="T0" fmla="*/ 61 w 66"/>
                <a:gd name="T1" fmla="*/ 10 h 83"/>
                <a:gd name="T2" fmla="*/ 52 w 66"/>
                <a:gd name="T3" fmla="*/ 3 h 83"/>
                <a:gd name="T4" fmla="*/ 39 w 66"/>
                <a:gd name="T5" fmla="*/ 0 h 83"/>
                <a:gd name="T6" fmla="*/ 13 w 66"/>
                <a:gd name="T7" fmla="*/ 14 h 83"/>
                <a:gd name="T8" fmla="*/ 13 w 66"/>
                <a:gd name="T9" fmla="*/ 2 h 83"/>
                <a:gd name="T10" fmla="*/ 0 w 66"/>
                <a:gd name="T11" fmla="*/ 2 h 83"/>
                <a:gd name="T12" fmla="*/ 0 w 66"/>
                <a:gd name="T13" fmla="*/ 83 h 83"/>
                <a:gd name="T14" fmla="*/ 14 w 66"/>
                <a:gd name="T15" fmla="*/ 83 h 83"/>
                <a:gd name="T16" fmla="*/ 14 w 66"/>
                <a:gd name="T17" fmla="*/ 39 h 83"/>
                <a:gd name="T18" fmla="*/ 20 w 66"/>
                <a:gd name="T19" fmla="*/ 18 h 83"/>
                <a:gd name="T20" fmla="*/ 36 w 66"/>
                <a:gd name="T21" fmla="*/ 12 h 83"/>
                <a:gd name="T22" fmla="*/ 45 w 66"/>
                <a:gd name="T23" fmla="*/ 15 h 83"/>
                <a:gd name="T24" fmla="*/ 51 w 66"/>
                <a:gd name="T25" fmla="*/ 21 h 83"/>
                <a:gd name="T26" fmla="*/ 53 w 66"/>
                <a:gd name="T27" fmla="*/ 34 h 83"/>
                <a:gd name="T28" fmla="*/ 53 w 66"/>
                <a:gd name="T29" fmla="*/ 83 h 83"/>
                <a:gd name="T30" fmla="*/ 66 w 66"/>
                <a:gd name="T31" fmla="*/ 83 h 83"/>
                <a:gd name="T32" fmla="*/ 66 w 66"/>
                <a:gd name="T33" fmla="*/ 33 h 83"/>
                <a:gd name="T34" fmla="*/ 66 w 66"/>
                <a:gd name="T35" fmla="*/ 20 h 83"/>
                <a:gd name="T36" fmla="*/ 61 w 66"/>
                <a:gd name="T37" fmla="*/ 10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6" h="83">
                  <a:moveTo>
                    <a:pt x="61" y="10"/>
                  </a:moveTo>
                  <a:cubicBezTo>
                    <a:pt x="59" y="7"/>
                    <a:pt x="56" y="5"/>
                    <a:pt x="52" y="3"/>
                  </a:cubicBezTo>
                  <a:cubicBezTo>
                    <a:pt x="48" y="1"/>
                    <a:pt x="43" y="0"/>
                    <a:pt x="39" y="0"/>
                  </a:cubicBezTo>
                  <a:cubicBezTo>
                    <a:pt x="27" y="0"/>
                    <a:pt x="19" y="5"/>
                    <a:pt x="13" y="14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83"/>
                    <a:pt x="0" y="83"/>
                    <a:pt x="0" y="83"/>
                  </a:cubicBezTo>
                  <a:cubicBezTo>
                    <a:pt x="14" y="83"/>
                    <a:pt x="14" y="83"/>
                    <a:pt x="14" y="83"/>
                  </a:cubicBezTo>
                  <a:cubicBezTo>
                    <a:pt x="14" y="39"/>
                    <a:pt x="14" y="39"/>
                    <a:pt x="14" y="39"/>
                  </a:cubicBezTo>
                  <a:cubicBezTo>
                    <a:pt x="14" y="29"/>
                    <a:pt x="16" y="21"/>
                    <a:pt x="20" y="18"/>
                  </a:cubicBezTo>
                  <a:cubicBezTo>
                    <a:pt x="25" y="14"/>
                    <a:pt x="30" y="12"/>
                    <a:pt x="36" y="12"/>
                  </a:cubicBezTo>
                  <a:cubicBezTo>
                    <a:pt x="39" y="12"/>
                    <a:pt x="43" y="13"/>
                    <a:pt x="45" y="15"/>
                  </a:cubicBezTo>
                  <a:cubicBezTo>
                    <a:pt x="48" y="16"/>
                    <a:pt x="50" y="19"/>
                    <a:pt x="51" y="21"/>
                  </a:cubicBezTo>
                  <a:cubicBezTo>
                    <a:pt x="52" y="24"/>
                    <a:pt x="53" y="28"/>
                    <a:pt x="53" y="34"/>
                  </a:cubicBezTo>
                  <a:cubicBezTo>
                    <a:pt x="53" y="83"/>
                    <a:pt x="53" y="83"/>
                    <a:pt x="53" y="83"/>
                  </a:cubicBezTo>
                  <a:cubicBezTo>
                    <a:pt x="66" y="83"/>
                    <a:pt x="66" y="83"/>
                    <a:pt x="66" y="83"/>
                  </a:cubicBezTo>
                  <a:cubicBezTo>
                    <a:pt x="66" y="33"/>
                    <a:pt x="66" y="33"/>
                    <a:pt x="66" y="33"/>
                  </a:cubicBezTo>
                  <a:cubicBezTo>
                    <a:pt x="66" y="27"/>
                    <a:pt x="66" y="23"/>
                    <a:pt x="66" y="20"/>
                  </a:cubicBezTo>
                  <a:cubicBezTo>
                    <a:pt x="65" y="16"/>
                    <a:pt x="63" y="13"/>
                    <a:pt x="61" y="1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1049908" name="ïṣľíḓè"/>
            <p:cNvSpPr/>
            <p:nvPr/>
          </p:nvSpPr>
          <p:spPr bwMode="auto">
            <a:xfrm>
              <a:off x="9322053" y="5729878"/>
              <a:ext cx="142875" cy="157163"/>
            </a:xfrm>
            <a:custGeom>
              <a:avLst/>
              <a:gdLst>
                <a:gd name="T0" fmla="*/ 38 w 77"/>
                <a:gd name="T1" fmla="*/ 0 h 85"/>
                <a:gd name="T2" fmla="*/ 13 w 77"/>
                <a:gd name="T3" fmla="*/ 9 h 85"/>
                <a:gd name="T4" fmla="*/ 0 w 77"/>
                <a:gd name="T5" fmla="*/ 43 h 85"/>
                <a:gd name="T6" fmla="*/ 11 w 77"/>
                <a:gd name="T7" fmla="*/ 74 h 85"/>
                <a:gd name="T8" fmla="*/ 38 w 77"/>
                <a:gd name="T9" fmla="*/ 85 h 85"/>
                <a:gd name="T10" fmla="*/ 58 w 77"/>
                <a:gd name="T11" fmla="*/ 80 h 85"/>
                <a:gd name="T12" fmla="*/ 72 w 77"/>
                <a:gd name="T13" fmla="*/ 66 h 85"/>
                <a:gd name="T14" fmla="*/ 77 w 77"/>
                <a:gd name="T15" fmla="*/ 42 h 85"/>
                <a:gd name="T16" fmla="*/ 66 w 77"/>
                <a:gd name="T17" fmla="*/ 11 h 85"/>
                <a:gd name="T18" fmla="*/ 38 w 77"/>
                <a:gd name="T19" fmla="*/ 0 h 85"/>
                <a:gd name="T20" fmla="*/ 56 w 77"/>
                <a:gd name="T21" fmla="*/ 66 h 85"/>
                <a:gd name="T22" fmla="*/ 38 w 77"/>
                <a:gd name="T23" fmla="*/ 74 h 85"/>
                <a:gd name="T24" fmla="*/ 21 w 77"/>
                <a:gd name="T25" fmla="*/ 66 h 85"/>
                <a:gd name="T26" fmla="*/ 15 w 77"/>
                <a:gd name="T27" fmla="*/ 43 h 85"/>
                <a:gd name="T28" fmla="*/ 21 w 77"/>
                <a:gd name="T29" fmla="*/ 19 h 85"/>
                <a:gd name="T30" fmla="*/ 38 w 77"/>
                <a:gd name="T31" fmla="*/ 12 h 85"/>
                <a:gd name="T32" fmla="*/ 56 w 77"/>
                <a:gd name="T33" fmla="*/ 19 h 85"/>
                <a:gd name="T34" fmla="*/ 62 w 77"/>
                <a:gd name="T35" fmla="*/ 42 h 85"/>
                <a:gd name="T36" fmla="*/ 56 w 77"/>
                <a:gd name="T37" fmla="*/ 66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77" h="85">
                  <a:moveTo>
                    <a:pt x="38" y="0"/>
                  </a:moveTo>
                  <a:cubicBezTo>
                    <a:pt x="28" y="0"/>
                    <a:pt x="20" y="3"/>
                    <a:pt x="13" y="9"/>
                  </a:cubicBezTo>
                  <a:cubicBezTo>
                    <a:pt x="5" y="16"/>
                    <a:pt x="0" y="28"/>
                    <a:pt x="0" y="43"/>
                  </a:cubicBezTo>
                  <a:cubicBezTo>
                    <a:pt x="0" y="56"/>
                    <a:pt x="4" y="67"/>
                    <a:pt x="11" y="74"/>
                  </a:cubicBezTo>
                  <a:cubicBezTo>
                    <a:pt x="18" y="82"/>
                    <a:pt x="27" y="85"/>
                    <a:pt x="38" y="85"/>
                  </a:cubicBezTo>
                  <a:cubicBezTo>
                    <a:pt x="46" y="85"/>
                    <a:pt x="52" y="84"/>
                    <a:pt x="58" y="80"/>
                  </a:cubicBezTo>
                  <a:cubicBezTo>
                    <a:pt x="64" y="77"/>
                    <a:pt x="69" y="72"/>
                    <a:pt x="72" y="66"/>
                  </a:cubicBezTo>
                  <a:cubicBezTo>
                    <a:pt x="75" y="60"/>
                    <a:pt x="77" y="52"/>
                    <a:pt x="77" y="42"/>
                  </a:cubicBezTo>
                  <a:cubicBezTo>
                    <a:pt x="77" y="29"/>
                    <a:pt x="73" y="19"/>
                    <a:pt x="66" y="11"/>
                  </a:cubicBezTo>
                  <a:cubicBezTo>
                    <a:pt x="59" y="4"/>
                    <a:pt x="50" y="0"/>
                    <a:pt x="38" y="0"/>
                  </a:cubicBezTo>
                  <a:close/>
                  <a:moveTo>
                    <a:pt x="56" y="66"/>
                  </a:moveTo>
                  <a:cubicBezTo>
                    <a:pt x="51" y="71"/>
                    <a:pt x="45" y="74"/>
                    <a:pt x="38" y="74"/>
                  </a:cubicBezTo>
                  <a:cubicBezTo>
                    <a:pt x="32" y="74"/>
                    <a:pt x="26" y="71"/>
                    <a:pt x="21" y="66"/>
                  </a:cubicBezTo>
                  <a:cubicBezTo>
                    <a:pt x="17" y="61"/>
                    <a:pt x="15" y="53"/>
                    <a:pt x="15" y="43"/>
                  </a:cubicBezTo>
                  <a:cubicBezTo>
                    <a:pt x="15" y="32"/>
                    <a:pt x="17" y="24"/>
                    <a:pt x="21" y="19"/>
                  </a:cubicBezTo>
                  <a:cubicBezTo>
                    <a:pt x="26" y="14"/>
                    <a:pt x="32" y="12"/>
                    <a:pt x="38" y="12"/>
                  </a:cubicBezTo>
                  <a:cubicBezTo>
                    <a:pt x="45" y="12"/>
                    <a:pt x="51" y="14"/>
                    <a:pt x="56" y="19"/>
                  </a:cubicBezTo>
                  <a:cubicBezTo>
                    <a:pt x="60" y="25"/>
                    <a:pt x="62" y="32"/>
                    <a:pt x="62" y="42"/>
                  </a:cubicBezTo>
                  <a:cubicBezTo>
                    <a:pt x="62" y="53"/>
                    <a:pt x="60" y="61"/>
                    <a:pt x="56" y="66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1049909" name="îš1ïḋé"/>
            <p:cNvSpPr/>
            <p:nvPr/>
          </p:nvSpPr>
          <p:spPr bwMode="auto">
            <a:xfrm>
              <a:off x="9491916" y="5675903"/>
              <a:ext cx="25400" cy="206375"/>
            </a:xfrm>
            <a:prstGeom prst="rect">
              <a:avLst/>
            </a:pr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1049910" name="íŝḻíḍê"/>
            <p:cNvSpPr/>
            <p:nvPr/>
          </p:nvSpPr>
          <p:spPr bwMode="auto">
            <a:xfrm>
              <a:off x="9547478" y="5729878"/>
              <a:ext cx="141288" cy="157163"/>
            </a:xfrm>
            <a:custGeom>
              <a:avLst/>
              <a:gdLst>
                <a:gd name="T0" fmla="*/ 38 w 77"/>
                <a:gd name="T1" fmla="*/ 0 h 85"/>
                <a:gd name="T2" fmla="*/ 13 w 77"/>
                <a:gd name="T3" fmla="*/ 9 h 85"/>
                <a:gd name="T4" fmla="*/ 0 w 77"/>
                <a:gd name="T5" fmla="*/ 43 h 85"/>
                <a:gd name="T6" fmla="*/ 11 w 77"/>
                <a:gd name="T7" fmla="*/ 74 h 85"/>
                <a:gd name="T8" fmla="*/ 38 w 77"/>
                <a:gd name="T9" fmla="*/ 85 h 85"/>
                <a:gd name="T10" fmla="*/ 58 w 77"/>
                <a:gd name="T11" fmla="*/ 80 h 85"/>
                <a:gd name="T12" fmla="*/ 72 w 77"/>
                <a:gd name="T13" fmla="*/ 66 h 85"/>
                <a:gd name="T14" fmla="*/ 77 w 77"/>
                <a:gd name="T15" fmla="*/ 42 h 85"/>
                <a:gd name="T16" fmla="*/ 66 w 77"/>
                <a:gd name="T17" fmla="*/ 11 h 85"/>
                <a:gd name="T18" fmla="*/ 38 w 77"/>
                <a:gd name="T19" fmla="*/ 0 h 85"/>
                <a:gd name="T20" fmla="*/ 56 w 77"/>
                <a:gd name="T21" fmla="*/ 66 h 85"/>
                <a:gd name="T22" fmla="*/ 38 w 77"/>
                <a:gd name="T23" fmla="*/ 74 h 85"/>
                <a:gd name="T24" fmla="*/ 21 w 77"/>
                <a:gd name="T25" fmla="*/ 66 h 85"/>
                <a:gd name="T26" fmla="*/ 15 w 77"/>
                <a:gd name="T27" fmla="*/ 43 h 85"/>
                <a:gd name="T28" fmla="*/ 21 w 77"/>
                <a:gd name="T29" fmla="*/ 19 h 85"/>
                <a:gd name="T30" fmla="*/ 38 w 77"/>
                <a:gd name="T31" fmla="*/ 12 h 85"/>
                <a:gd name="T32" fmla="*/ 56 w 77"/>
                <a:gd name="T33" fmla="*/ 19 h 85"/>
                <a:gd name="T34" fmla="*/ 62 w 77"/>
                <a:gd name="T35" fmla="*/ 42 h 85"/>
                <a:gd name="T36" fmla="*/ 56 w 77"/>
                <a:gd name="T37" fmla="*/ 66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77" h="85">
                  <a:moveTo>
                    <a:pt x="38" y="0"/>
                  </a:moveTo>
                  <a:cubicBezTo>
                    <a:pt x="28" y="0"/>
                    <a:pt x="20" y="3"/>
                    <a:pt x="13" y="9"/>
                  </a:cubicBezTo>
                  <a:cubicBezTo>
                    <a:pt x="5" y="16"/>
                    <a:pt x="0" y="28"/>
                    <a:pt x="0" y="43"/>
                  </a:cubicBezTo>
                  <a:cubicBezTo>
                    <a:pt x="0" y="56"/>
                    <a:pt x="4" y="67"/>
                    <a:pt x="11" y="74"/>
                  </a:cubicBezTo>
                  <a:cubicBezTo>
                    <a:pt x="18" y="82"/>
                    <a:pt x="27" y="85"/>
                    <a:pt x="38" y="85"/>
                  </a:cubicBezTo>
                  <a:cubicBezTo>
                    <a:pt x="46" y="85"/>
                    <a:pt x="52" y="84"/>
                    <a:pt x="58" y="80"/>
                  </a:cubicBezTo>
                  <a:cubicBezTo>
                    <a:pt x="64" y="77"/>
                    <a:pt x="69" y="72"/>
                    <a:pt x="72" y="66"/>
                  </a:cubicBezTo>
                  <a:cubicBezTo>
                    <a:pt x="75" y="60"/>
                    <a:pt x="77" y="52"/>
                    <a:pt x="77" y="42"/>
                  </a:cubicBezTo>
                  <a:cubicBezTo>
                    <a:pt x="77" y="29"/>
                    <a:pt x="73" y="19"/>
                    <a:pt x="66" y="11"/>
                  </a:cubicBezTo>
                  <a:cubicBezTo>
                    <a:pt x="59" y="4"/>
                    <a:pt x="50" y="0"/>
                    <a:pt x="38" y="0"/>
                  </a:cubicBezTo>
                  <a:close/>
                  <a:moveTo>
                    <a:pt x="56" y="66"/>
                  </a:moveTo>
                  <a:cubicBezTo>
                    <a:pt x="51" y="71"/>
                    <a:pt x="45" y="74"/>
                    <a:pt x="38" y="74"/>
                  </a:cubicBezTo>
                  <a:cubicBezTo>
                    <a:pt x="32" y="74"/>
                    <a:pt x="26" y="71"/>
                    <a:pt x="21" y="66"/>
                  </a:cubicBezTo>
                  <a:cubicBezTo>
                    <a:pt x="17" y="61"/>
                    <a:pt x="15" y="53"/>
                    <a:pt x="15" y="43"/>
                  </a:cubicBezTo>
                  <a:cubicBezTo>
                    <a:pt x="15" y="32"/>
                    <a:pt x="17" y="24"/>
                    <a:pt x="21" y="19"/>
                  </a:cubicBezTo>
                  <a:cubicBezTo>
                    <a:pt x="26" y="14"/>
                    <a:pt x="32" y="12"/>
                    <a:pt x="38" y="12"/>
                  </a:cubicBezTo>
                  <a:cubicBezTo>
                    <a:pt x="45" y="12"/>
                    <a:pt x="51" y="14"/>
                    <a:pt x="56" y="19"/>
                  </a:cubicBezTo>
                  <a:cubicBezTo>
                    <a:pt x="60" y="25"/>
                    <a:pt x="62" y="32"/>
                    <a:pt x="62" y="42"/>
                  </a:cubicBezTo>
                  <a:cubicBezTo>
                    <a:pt x="62" y="53"/>
                    <a:pt x="60" y="61"/>
                    <a:pt x="56" y="66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1049911" name="íṧḷíḓé"/>
            <p:cNvSpPr/>
            <p:nvPr/>
          </p:nvSpPr>
          <p:spPr bwMode="auto">
            <a:xfrm>
              <a:off x="9707816" y="5729878"/>
              <a:ext cx="131763" cy="214313"/>
            </a:xfrm>
            <a:custGeom>
              <a:avLst/>
              <a:gdLst>
                <a:gd name="T0" fmla="*/ 59 w 72"/>
                <a:gd name="T1" fmla="*/ 12 h 116"/>
                <a:gd name="T2" fmla="*/ 36 w 72"/>
                <a:gd name="T3" fmla="*/ 0 h 116"/>
                <a:gd name="T4" fmla="*/ 17 w 72"/>
                <a:gd name="T5" fmla="*/ 6 h 116"/>
                <a:gd name="T6" fmla="*/ 5 w 72"/>
                <a:gd name="T7" fmla="*/ 21 h 116"/>
                <a:gd name="T8" fmla="*/ 0 w 72"/>
                <a:gd name="T9" fmla="*/ 42 h 116"/>
                <a:gd name="T10" fmla="*/ 10 w 72"/>
                <a:gd name="T11" fmla="*/ 71 h 116"/>
                <a:gd name="T12" fmla="*/ 36 w 72"/>
                <a:gd name="T13" fmla="*/ 83 h 116"/>
                <a:gd name="T14" fmla="*/ 58 w 72"/>
                <a:gd name="T15" fmla="*/ 73 h 116"/>
                <a:gd name="T16" fmla="*/ 57 w 72"/>
                <a:gd name="T17" fmla="*/ 90 h 116"/>
                <a:gd name="T18" fmla="*/ 50 w 72"/>
                <a:gd name="T19" fmla="*/ 101 h 116"/>
                <a:gd name="T20" fmla="*/ 35 w 72"/>
                <a:gd name="T21" fmla="*/ 105 h 116"/>
                <a:gd name="T22" fmla="*/ 21 w 72"/>
                <a:gd name="T23" fmla="*/ 101 h 116"/>
                <a:gd name="T24" fmla="*/ 17 w 72"/>
                <a:gd name="T25" fmla="*/ 92 h 116"/>
                <a:gd name="T26" fmla="*/ 3 w 72"/>
                <a:gd name="T27" fmla="*/ 90 h 116"/>
                <a:gd name="T28" fmla="*/ 12 w 72"/>
                <a:gd name="T29" fmla="*/ 110 h 116"/>
                <a:gd name="T30" fmla="*/ 35 w 72"/>
                <a:gd name="T31" fmla="*/ 116 h 116"/>
                <a:gd name="T32" fmla="*/ 56 w 72"/>
                <a:gd name="T33" fmla="*/ 112 h 116"/>
                <a:gd name="T34" fmla="*/ 68 w 72"/>
                <a:gd name="T35" fmla="*/ 99 h 116"/>
                <a:gd name="T36" fmla="*/ 72 w 72"/>
                <a:gd name="T37" fmla="*/ 72 h 116"/>
                <a:gd name="T38" fmla="*/ 72 w 72"/>
                <a:gd name="T39" fmla="*/ 2 h 116"/>
                <a:gd name="T40" fmla="*/ 59 w 72"/>
                <a:gd name="T41" fmla="*/ 2 h 116"/>
                <a:gd name="T42" fmla="*/ 59 w 72"/>
                <a:gd name="T43" fmla="*/ 12 h 116"/>
                <a:gd name="T44" fmla="*/ 53 w 72"/>
                <a:gd name="T45" fmla="*/ 65 h 116"/>
                <a:gd name="T46" fmla="*/ 37 w 72"/>
                <a:gd name="T47" fmla="*/ 72 h 116"/>
                <a:gd name="T48" fmla="*/ 21 w 72"/>
                <a:gd name="T49" fmla="*/ 65 h 116"/>
                <a:gd name="T50" fmla="*/ 15 w 72"/>
                <a:gd name="T51" fmla="*/ 41 h 116"/>
                <a:gd name="T52" fmla="*/ 21 w 72"/>
                <a:gd name="T53" fmla="*/ 19 h 116"/>
                <a:gd name="T54" fmla="*/ 37 w 72"/>
                <a:gd name="T55" fmla="*/ 12 h 116"/>
                <a:gd name="T56" fmla="*/ 53 w 72"/>
                <a:gd name="T57" fmla="*/ 19 h 116"/>
                <a:gd name="T58" fmla="*/ 59 w 72"/>
                <a:gd name="T59" fmla="*/ 42 h 116"/>
                <a:gd name="T60" fmla="*/ 53 w 72"/>
                <a:gd name="T61" fmla="*/ 65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72" h="116">
                  <a:moveTo>
                    <a:pt x="59" y="12"/>
                  </a:moveTo>
                  <a:cubicBezTo>
                    <a:pt x="53" y="4"/>
                    <a:pt x="45" y="0"/>
                    <a:pt x="36" y="0"/>
                  </a:cubicBezTo>
                  <a:cubicBezTo>
                    <a:pt x="28" y="0"/>
                    <a:pt x="22" y="2"/>
                    <a:pt x="17" y="6"/>
                  </a:cubicBezTo>
                  <a:cubicBezTo>
                    <a:pt x="11" y="9"/>
                    <a:pt x="7" y="14"/>
                    <a:pt x="5" y="21"/>
                  </a:cubicBezTo>
                  <a:cubicBezTo>
                    <a:pt x="2" y="27"/>
                    <a:pt x="0" y="34"/>
                    <a:pt x="0" y="42"/>
                  </a:cubicBezTo>
                  <a:cubicBezTo>
                    <a:pt x="0" y="53"/>
                    <a:pt x="3" y="63"/>
                    <a:pt x="10" y="71"/>
                  </a:cubicBezTo>
                  <a:cubicBezTo>
                    <a:pt x="16" y="79"/>
                    <a:pt x="24" y="83"/>
                    <a:pt x="36" y="83"/>
                  </a:cubicBezTo>
                  <a:cubicBezTo>
                    <a:pt x="45" y="83"/>
                    <a:pt x="52" y="80"/>
                    <a:pt x="58" y="73"/>
                  </a:cubicBezTo>
                  <a:cubicBezTo>
                    <a:pt x="58" y="82"/>
                    <a:pt x="58" y="88"/>
                    <a:pt x="57" y="90"/>
                  </a:cubicBezTo>
                  <a:cubicBezTo>
                    <a:pt x="56" y="95"/>
                    <a:pt x="53" y="99"/>
                    <a:pt x="50" y="101"/>
                  </a:cubicBezTo>
                  <a:cubicBezTo>
                    <a:pt x="47" y="104"/>
                    <a:pt x="42" y="105"/>
                    <a:pt x="35" y="105"/>
                  </a:cubicBezTo>
                  <a:cubicBezTo>
                    <a:pt x="29" y="105"/>
                    <a:pt x="25" y="104"/>
                    <a:pt x="21" y="101"/>
                  </a:cubicBezTo>
                  <a:cubicBezTo>
                    <a:pt x="19" y="99"/>
                    <a:pt x="17" y="96"/>
                    <a:pt x="17" y="92"/>
                  </a:cubicBezTo>
                  <a:cubicBezTo>
                    <a:pt x="3" y="90"/>
                    <a:pt x="3" y="90"/>
                    <a:pt x="3" y="90"/>
                  </a:cubicBezTo>
                  <a:cubicBezTo>
                    <a:pt x="3" y="99"/>
                    <a:pt x="6" y="105"/>
                    <a:pt x="12" y="110"/>
                  </a:cubicBezTo>
                  <a:cubicBezTo>
                    <a:pt x="18" y="114"/>
                    <a:pt x="26" y="116"/>
                    <a:pt x="35" y="116"/>
                  </a:cubicBezTo>
                  <a:cubicBezTo>
                    <a:pt x="43" y="116"/>
                    <a:pt x="50" y="115"/>
                    <a:pt x="56" y="112"/>
                  </a:cubicBezTo>
                  <a:cubicBezTo>
                    <a:pt x="62" y="109"/>
                    <a:pt x="66" y="104"/>
                    <a:pt x="68" y="99"/>
                  </a:cubicBezTo>
                  <a:cubicBezTo>
                    <a:pt x="71" y="94"/>
                    <a:pt x="72" y="85"/>
                    <a:pt x="72" y="72"/>
                  </a:cubicBezTo>
                  <a:cubicBezTo>
                    <a:pt x="72" y="2"/>
                    <a:pt x="72" y="2"/>
                    <a:pt x="72" y="2"/>
                  </a:cubicBezTo>
                  <a:cubicBezTo>
                    <a:pt x="59" y="2"/>
                    <a:pt x="59" y="2"/>
                    <a:pt x="59" y="2"/>
                  </a:cubicBezTo>
                  <a:lnTo>
                    <a:pt x="59" y="12"/>
                  </a:lnTo>
                  <a:close/>
                  <a:moveTo>
                    <a:pt x="53" y="65"/>
                  </a:moveTo>
                  <a:cubicBezTo>
                    <a:pt x="48" y="69"/>
                    <a:pt x="43" y="72"/>
                    <a:pt x="37" y="72"/>
                  </a:cubicBezTo>
                  <a:cubicBezTo>
                    <a:pt x="30" y="72"/>
                    <a:pt x="25" y="69"/>
                    <a:pt x="21" y="65"/>
                  </a:cubicBezTo>
                  <a:cubicBezTo>
                    <a:pt x="17" y="60"/>
                    <a:pt x="15" y="52"/>
                    <a:pt x="15" y="41"/>
                  </a:cubicBezTo>
                  <a:cubicBezTo>
                    <a:pt x="15" y="31"/>
                    <a:pt x="17" y="24"/>
                    <a:pt x="21" y="19"/>
                  </a:cubicBezTo>
                  <a:cubicBezTo>
                    <a:pt x="25" y="14"/>
                    <a:pt x="30" y="12"/>
                    <a:pt x="37" y="12"/>
                  </a:cubicBezTo>
                  <a:cubicBezTo>
                    <a:pt x="43" y="12"/>
                    <a:pt x="48" y="14"/>
                    <a:pt x="53" y="19"/>
                  </a:cubicBezTo>
                  <a:cubicBezTo>
                    <a:pt x="57" y="24"/>
                    <a:pt x="59" y="32"/>
                    <a:pt x="59" y="42"/>
                  </a:cubicBezTo>
                  <a:cubicBezTo>
                    <a:pt x="59" y="52"/>
                    <a:pt x="57" y="60"/>
                    <a:pt x="53" y="6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1049912" name="îŝlíde"/>
            <p:cNvSpPr/>
            <p:nvPr/>
          </p:nvSpPr>
          <p:spPr bwMode="auto">
            <a:xfrm>
              <a:off x="9864978" y="5733053"/>
              <a:ext cx="138113" cy="211138"/>
            </a:xfrm>
            <a:custGeom>
              <a:avLst/>
              <a:gdLst>
                <a:gd name="T0" fmla="*/ 43 w 75"/>
                <a:gd name="T1" fmla="*/ 47 h 114"/>
                <a:gd name="T2" fmla="*/ 38 w 75"/>
                <a:gd name="T3" fmla="*/ 66 h 114"/>
                <a:gd name="T4" fmla="*/ 32 w 75"/>
                <a:gd name="T5" fmla="*/ 47 h 114"/>
                <a:gd name="T6" fmla="*/ 15 w 75"/>
                <a:gd name="T7" fmla="*/ 0 h 114"/>
                <a:gd name="T8" fmla="*/ 0 w 75"/>
                <a:gd name="T9" fmla="*/ 0 h 114"/>
                <a:gd name="T10" fmla="*/ 31 w 75"/>
                <a:gd name="T11" fmla="*/ 81 h 114"/>
                <a:gd name="T12" fmla="*/ 30 w 75"/>
                <a:gd name="T13" fmla="*/ 85 h 114"/>
                <a:gd name="T14" fmla="*/ 25 w 75"/>
                <a:gd name="T15" fmla="*/ 95 h 114"/>
                <a:gd name="T16" fmla="*/ 21 w 75"/>
                <a:gd name="T17" fmla="*/ 99 h 114"/>
                <a:gd name="T18" fmla="*/ 14 w 75"/>
                <a:gd name="T19" fmla="*/ 101 h 114"/>
                <a:gd name="T20" fmla="*/ 6 w 75"/>
                <a:gd name="T21" fmla="*/ 100 h 114"/>
                <a:gd name="T22" fmla="*/ 7 w 75"/>
                <a:gd name="T23" fmla="*/ 113 h 114"/>
                <a:gd name="T24" fmla="*/ 16 w 75"/>
                <a:gd name="T25" fmla="*/ 114 h 114"/>
                <a:gd name="T26" fmla="*/ 27 w 75"/>
                <a:gd name="T27" fmla="*/ 111 h 114"/>
                <a:gd name="T28" fmla="*/ 36 w 75"/>
                <a:gd name="T29" fmla="*/ 101 h 114"/>
                <a:gd name="T30" fmla="*/ 44 w 75"/>
                <a:gd name="T31" fmla="*/ 83 h 114"/>
                <a:gd name="T32" fmla="*/ 75 w 75"/>
                <a:gd name="T33" fmla="*/ 0 h 114"/>
                <a:gd name="T34" fmla="*/ 61 w 75"/>
                <a:gd name="T35" fmla="*/ 0 h 114"/>
                <a:gd name="T36" fmla="*/ 43 w 75"/>
                <a:gd name="T37" fmla="*/ 47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75" h="114">
                  <a:moveTo>
                    <a:pt x="43" y="47"/>
                  </a:moveTo>
                  <a:cubicBezTo>
                    <a:pt x="41" y="53"/>
                    <a:pt x="39" y="60"/>
                    <a:pt x="38" y="66"/>
                  </a:cubicBezTo>
                  <a:cubicBezTo>
                    <a:pt x="36" y="59"/>
                    <a:pt x="34" y="53"/>
                    <a:pt x="32" y="47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0" y="83"/>
                    <a:pt x="30" y="84"/>
                    <a:pt x="30" y="85"/>
                  </a:cubicBezTo>
                  <a:cubicBezTo>
                    <a:pt x="28" y="90"/>
                    <a:pt x="26" y="94"/>
                    <a:pt x="25" y="95"/>
                  </a:cubicBezTo>
                  <a:cubicBezTo>
                    <a:pt x="24" y="97"/>
                    <a:pt x="23" y="98"/>
                    <a:pt x="21" y="99"/>
                  </a:cubicBezTo>
                  <a:cubicBezTo>
                    <a:pt x="19" y="100"/>
                    <a:pt x="17" y="101"/>
                    <a:pt x="14" y="101"/>
                  </a:cubicBezTo>
                  <a:cubicBezTo>
                    <a:pt x="11" y="101"/>
                    <a:pt x="9" y="101"/>
                    <a:pt x="6" y="100"/>
                  </a:cubicBezTo>
                  <a:cubicBezTo>
                    <a:pt x="7" y="113"/>
                    <a:pt x="7" y="113"/>
                    <a:pt x="7" y="113"/>
                  </a:cubicBezTo>
                  <a:cubicBezTo>
                    <a:pt x="11" y="114"/>
                    <a:pt x="13" y="114"/>
                    <a:pt x="16" y="114"/>
                  </a:cubicBezTo>
                  <a:cubicBezTo>
                    <a:pt x="21" y="114"/>
                    <a:pt x="24" y="113"/>
                    <a:pt x="27" y="111"/>
                  </a:cubicBezTo>
                  <a:cubicBezTo>
                    <a:pt x="31" y="109"/>
                    <a:pt x="33" y="106"/>
                    <a:pt x="36" y="101"/>
                  </a:cubicBezTo>
                  <a:cubicBezTo>
                    <a:pt x="38" y="98"/>
                    <a:pt x="40" y="92"/>
                    <a:pt x="44" y="83"/>
                  </a:cubicBezTo>
                  <a:cubicBezTo>
                    <a:pt x="75" y="0"/>
                    <a:pt x="75" y="0"/>
                    <a:pt x="75" y="0"/>
                  </a:cubicBezTo>
                  <a:cubicBezTo>
                    <a:pt x="61" y="0"/>
                    <a:pt x="61" y="0"/>
                    <a:pt x="61" y="0"/>
                  </a:cubicBezTo>
                  <a:lnTo>
                    <a:pt x="43" y="47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1049913" name="íṧ1ïḍé"/>
            <p:cNvSpPr/>
            <p:nvPr/>
          </p:nvSpPr>
          <p:spPr bwMode="auto">
            <a:xfrm>
              <a:off x="10106278" y="5675903"/>
              <a:ext cx="155575" cy="206375"/>
            </a:xfrm>
            <a:custGeom>
              <a:avLst/>
              <a:gdLst>
                <a:gd name="T0" fmla="*/ 64 w 85"/>
                <a:gd name="T1" fmla="*/ 53 h 112"/>
                <a:gd name="T2" fmla="*/ 75 w 85"/>
                <a:gd name="T3" fmla="*/ 42 h 112"/>
                <a:gd name="T4" fmla="*/ 79 w 85"/>
                <a:gd name="T5" fmla="*/ 29 h 112"/>
                <a:gd name="T6" fmla="*/ 75 w 85"/>
                <a:gd name="T7" fmla="*/ 14 h 112"/>
                <a:gd name="T8" fmla="*/ 63 w 85"/>
                <a:gd name="T9" fmla="*/ 4 h 112"/>
                <a:gd name="T10" fmla="*/ 42 w 85"/>
                <a:gd name="T11" fmla="*/ 0 h 112"/>
                <a:gd name="T12" fmla="*/ 0 w 85"/>
                <a:gd name="T13" fmla="*/ 0 h 112"/>
                <a:gd name="T14" fmla="*/ 0 w 85"/>
                <a:gd name="T15" fmla="*/ 112 h 112"/>
                <a:gd name="T16" fmla="*/ 43 w 85"/>
                <a:gd name="T17" fmla="*/ 112 h 112"/>
                <a:gd name="T18" fmla="*/ 61 w 85"/>
                <a:gd name="T19" fmla="*/ 110 h 112"/>
                <a:gd name="T20" fmla="*/ 73 w 85"/>
                <a:gd name="T21" fmla="*/ 105 h 112"/>
                <a:gd name="T22" fmla="*/ 81 w 85"/>
                <a:gd name="T23" fmla="*/ 94 h 112"/>
                <a:gd name="T24" fmla="*/ 85 w 85"/>
                <a:gd name="T25" fmla="*/ 80 h 112"/>
                <a:gd name="T26" fmla="*/ 79 w 85"/>
                <a:gd name="T27" fmla="*/ 63 h 112"/>
                <a:gd name="T28" fmla="*/ 64 w 85"/>
                <a:gd name="T29" fmla="*/ 53 h 112"/>
                <a:gd name="T30" fmla="*/ 15 w 85"/>
                <a:gd name="T31" fmla="*/ 13 h 112"/>
                <a:gd name="T32" fmla="*/ 37 w 85"/>
                <a:gd name="T33" fmla="*/ 13 h 112"/>
                <a:gd name="T34" fmla="*/ 54 w 85"/>
                <a:gd name="T35" fmla="*/ 15 h 112"/>
                <a:gd name="T36" fmla="*/ 62 w 85"/>
                <a:gd name="T37" fmla="*/ 21 h 112"/>
                <a:gd name="T38" fmla="*/ 65 w 85"/>
                <a:gd name="T39" fmla="*/ 31 h 112"/>
                <a:gd name="T40" fmla="*/ 62 w 85"/>
                <a:gd name="T41" fmla="*/ 40 h 112"/>
                <a:gd name="T42" fmla="*/ 53 w 85"/>
                <a:gd name="T43" fmla="*/ 46 h 112"/>
                <a:gd name="T44" fmla="*/ 39 w 85"/>
                <a:gd name="T45" fmla="*/ 47 h 112"/>
                <a:gd name="T46" fmla="*/ 15 w 85"/>
                <a:gd name="T47" fmla="*/ 47 h 112"/>
                <a:gd name="T48" fmla="*/ 15 w 85"/>
                <a:gd name="T49" fmla="*/ 13 h 112"/>
                <a:gd name="T50" fmla="*/ 67 w 85"/>
                <a:gd name="T51" fmla="*/ 89 h 112"/>
                <a:gd name="T52" fmla="*/ 61 w 85"/>
                <a:gd name="T53" fmla="*/ 95 h 112"/>
                <a:gd name="T54" fmla="*/ 53 w 85"/>
                <a:gd name="T55" fmla="*/ 99 h 112"/>
                <a:gd name="T56" fmla="*/ 43 w 85"/>
                <a:gd name="T57" fmla="*/ 99 h 112"/>
                <a:gd name="T58" fmla="*/ 15 w 85"/>
                <a:gd name="T59" fmla="*/ 99 h 112"/>
                <a:gd name="T60" fmla="*/ 15 w 85"/>
                <a:gd name="T61" fmla="*/ 61 h 112"/>
                <a:gd name="T62" fmla="*/ 41 w 85"/>
                <a:gd name="T63" fmla="*/ 61 h 112"/>
                <a:gd name="T64" fmla="*/ 57 w 85"/>
                <a:gd name="T65" fmla="*/ 62 h 112"/>
                <a:gd name="T66" fmla="*/ 66 w 85"/>
                <a:gd name="T67" fmla="*/ 69 h 112"/>
                <a:gd name="T68" fmla="*/ 69 w 85"/>
                <a:gd name="T69" fmla="*/ 80 h 112"/>
                <a:gd name="T70" fmla="*/ 67 w 85"/>
                <a:gd name="T71" fmla="*/ 89 h 1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85" h="112">
                  <a:moveTo>
                    <a:pt x="64" y="53"/>
                  </a:moveTo>
                  <a:cubicBezTo>
                    <a:pt x="69" y="50"/>
                    <a:pt x="73" y="47"/>
                    <a:pt x="75" y="42"/>
                  </a:cubicBezTo>
                  <a:cubicBezTo>
                    <a:pt x="78" y="38"/>
                    <a:pt x="79" y="34"/>
                    <a:pt x="79" y="29"/>
                  </a:cubicBezTo>
                  <a:cubicBezTo>
                    <a:pt x="79" y="24"/>
                    <a:pt x="78" y="19"/>
                    <a:pt x="75" y="14"/>
                  </a:cubicBezTo>
                  <a:cubicBezTo>
                    <a:pt x="72" y="9"/>
                    <a:pt x="68" y="6"/>
                    <a:pt x="63" y="4"/>
                  </a:cubicBezTo>
                  <a:cubicBezTo>
                    <a:pt x="57" y="1"/>
                    <a:pt x="51" y="0"/>
                    <a:pt x="42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12"/>
                    <a:pt x="0" y="112"/>
                    <a:pt x="0" y="112"/>
                  </a:cubicBezTo>
                  <a:cubicBezTo>
                    <a:pt x="43" y="112"/>
                    <a:pt x="43" y="112"/>
                    <a:pt x="43" y="112"/>
                  </a:cubicBezTo>
                  <a:cubicBezTo>
                    <a:pt x="50" y="112"/>
                    <a:pt x="56" y="112"/>
                    <a:pt x="61" y="110"/>
                  </a:cubicBezTo>
                  <a:cubicBezTo>
                    <a:pt x="66" y="109"/>
                    <a:pt x="70" y="107"/>
                    <a:pt x="73" y="105"/>
                  </a:cubicBezTo>
                  <a:cubicBezTo>
                    <a:pt x="76" y="102"/>
                    <a:pt x="79" y="99"/>
                    <a:pt x="81" y="94"/>
                  </a:cubicBezTo>
                  <a:cubicBezTo>
                    <a:pt x="84" y="90"/>
                    <a:pt x="85" y="85"/>
                    <a:pt x="85" y="80"/>
                  </a:cubicBezTo>
                  <a:cubicBezTo>
                    <a:pt x="85" y="73"/>
                    <a:pt x="83" y="68"/>
                    <a:pt x="79" y="63"/>
                  </a:cubicBezTo>
                  <a:cubicBezTo>
                    <a:pt x="76" y="58"/>
                    <a:pt x="70" y="55"/>
                    <a:pt x="64" y="53"/>
                  </a:cubicBezTo>
                  <a:close/>
                  <a:moveTo>
                    <a:pt x="15" y="13"/>
                  </a:moveTo>
                  <a:cubicBezTo>
                    <a:pt x="37" y="13"/>
                    <a:pt x="37" y="13"/>
                    <a:pt x="37" y="13"/>
                  </a:cubicBezTo>
                  <a:cubicBezTo>
                    <a:pt x="45" y="13"/>
                    <a:pt x="51" y="14"/>
                    <a:pt x="54" y="15"/>
                  </a:cubicBezTo>
                  <a:cubicBezTo>
                    <a:pt x="58" y="16"/>
                    <a:pt x="60" y="18"/>
                    <a:pt x="62" y="21"/>
                  </a:cubicBezTo>
                  <a:cubicBezTo>
                    <a:pt x="64" y="24"/>
                    <a:pt x="65" y="27"/>
                    <a:pt x="65" y="31"/>
                  </a:cubicBezTo>
                  <a:cubicBezTo>
                    <a:pt x="65" y="35"/>
                    <a:pt x="64" y="38"/>
                    <a:pt x="62" y="40"/>
                  </a:cubicBezTo>
                  <a:cubicBezTo>
                    <a:pt x="60" y="43"/>
                    <a:pt x="57" y="45"/>
                    <a:pt x="53" y="46"/>
                  </a:cubicBezTo>
                  <a:cubicBezTo>
                    <a:pt x="50" y="47"/>
                    <a:pt x="46" y="47"/>
                    <a:pt x="39" y="47"/>
                  </a:cubicBezTo>
                  <a:cubicBezTo>
                    <a:pt x="15" y="47"/>
                    <a:pt x="15" y="47"/>
                    <a:pt x="15" y="47"/>
                  </a:cubicBezTo>
                  <a:lnTo>
                    <a:pt x="15" y="13"/>
                  </a:lnTo>
                  <a:close/>
                  <a:moveTo>
                    <a:pt x="67" y="89"/>
                  </a:moveTo>
                  <a:cubicBezTo>
                    <a:pt x="66" y="92"/>
                    <a:pt x="64" y="94"/>
                    <a:pt x="61" y="95"/>
                  </a:cubicBezTo>
                  <a:cubicBezTo>
                    <a:pt x="59" y="97"/>
                    <a:pt x="56" y="98"/>
                    <a:pt x="53" y="99"/>
                  </a:cubicBezTo>
                  <a:cubicBezTo>
                    <a:pt x="51" y="99"/>
                    <a:pt x="48" y="99"/>
                    <a:pt x="43" y="99"/>
                  </a:cubicBezTo>
                  <a:cubicBezTo>
                    <a:pt x="15" y="99"/>
                    <a:pt x="15" y="99"/>
                    <a:pt x="15" y="99"/>
                  </a:cubicBezTo>
                  <a:cubicBezTo>
                    <a:pt x="15" y="61"/>
                    <a:pt x="15" y="61"/>
                    <a:pt x="15" y="61"/>
                  </a:cubicBezTo>
                  <a:cubicBezTo>
                    <a:pt x="41" y="61"/>
                    <a:pt x="41" y="61"/>
                    <a:pt x="41" y="61"/>
                  </a:cubicBezTo>
                  <a:cubicBezTo>
                    <a:pt x="48" y="61"/>
                    <a:pt x="53" y="61"/>
                    <a:pt x="57" y="62"/>
                  </a:cubicBezTo>
                  <a:cubicBezTo>
                    <a:pt x="61" y="64"/>
                    <a:pt x="64" y="66"/>
                    <a:pt x="66" y="69"/>
                  </a:cubicBezTo>
                  <a:cubicBezTo>
                    <a:pt x="68" y="72"/>
                    <a:pt x="69" y="76"/>
                    <a:pt x="69" y="80"/>
                  </a:cubicBezTo>
                  <a:cubicBezTo>
                    <a:pt x="69" y="83"/>
                    <a:pt x="69" y="87"/>
                    <a:pt x="67" y="8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1049914" name="iŝļidé"/>
            <p:cNvSpPr/>
            <p:nvPr/>
          </p:nvSpPr>
          <p:spPr bwMode="auto">
            <a:xfrm>
              <a:off x="10288841" y="5729878"/>
              <a:ext cx="138113" cy="157163"/>
            </a:xfrm>
            <a:custGeom>
              <a:avLst/>
              <a:gdLst>
                <a:gd name="T0" fmla="*/ 38 w 75"/>
                <a:gd name="T1" fmla="*/ 0 h 85"/>
                <a:gd name="T2" fmla="*/ 10 w 75"/>
                <a:gd name="T3" fmla="*/ 12 h 85"/>
                <a:gd name="T4" fmla="*/ 0 w 75"/>
                <a:gd name="T5" fmla="*/ 43 h 85"/>
                <a:gd name="T6" fmla="*/ 10 w 75"/>
                <a:gd name="T7" fmla="*/ 74 h 85"/>
                <a:gd name="T8" fmla="*/ 38 w 75"/>
                <a:gd name="T9" fmla="*/ 85 h 85"/>
                <a:gd name="T10" fmla="*/ 62 w 75"/>
                <a:gd name="T11" fmla="*/ 78 h 85"/>
                <a:gd name="T12" fmla="*/ 74 w 75"/>
                <a:gd name="T13" fmla="*/ 59 h 85"/>
                <a:gd name="T14" fmla="*/ 60 w 75"/>
                <a:gd name="T15" fmla="*/ 57 h 85"/>
                <a:gd name="T16" fmla="*/ 51 w 75"/>
                <a:gd name="T17" fmla="*/ 70 h 85"/>
                <a:gd name="T18" fmla="*/ 39 w 75"/>
                <a:gd name="T19" fmla="*/ 74 h 85"/>
                <a:gd name="T20" fmla="*/ 22 w 75"/>
                <a:gd name="T21" fmla="*/ 67 h 85"/>
                <a:gd name="T22" fmla="*/ 14 w 75"/>
                <a:gd name="T23" fmla="*/ 46 h 85"/>
                <a:gd name="T24" fmla="*/ 75 w 75"/>
                <a:gd name="T25" fmla="*/ 46 h 85"/>
                <a:gd name="T26" fmla="*/ 75 w 75"/>
                <a:gd name="T27" fmla="*/ 43 h 85"/>
                <a:gd name="T28" fmla="*/ 64 w 75"/>
                <a:gd name="T29" fmla="*/ 11 h 85"/>
                <a:gd name="T30" fmla="*/ 38 w 75"/>
                <a:gd name="T31" fmla="*/ 0 h 85"/>
                <a:gd name="T32" fmla="*/ 15 w 75"/>
                <a:gd name="T33" fmla="*/ 35 h 85"/>
                <a:gd name="T34" fmla="*/ 22 w 75"/>
                <a:gd name="T35" fmla="*/ 18 h 85"/>
                <a:gd name="T36" fmla="*/ 38 w 75"/>
                <a:gd name="T37" fmla="*/ 12 h 85"/>
                <a:gd name="T38" fmla="*/ 55 w 75"/>
                <a:gd name="T39" fmla="*/ 20 h 85"/>
                <a:gd name="T40" fmla="*/ 60 w 75"/>
                <a:gd name="T41" fmla="*/ 35 h 85"/>
                <a:gd name="T42" fmla="*/ 15 w 75"/>
                <a:gd name="T43" fmla="*/ 35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75" h="85">
                  <a:moveTo>
                    <a:pt x="38" y="0"/>
                  </a:moveTo>
                  <a:cubicBezTo>
                    <a:pt x="26" y="0"/>
                    <a:pt x="17" y="4"/>
                    <a:pt x="10" y="12"/>
                  </a:cubicBezTo>
                  <a:cubicBezTo>
                    <a:pt x="3" y="19"/>
                    <a:pt x="0" y="30"/>
                    <a:pt x="0" y="43"/>
                  </a:cubicBezTo>
                  <a:cubicBezTo>
                    <a:pt x="0" y="57"/>
                    <a:pt x="3" y="67"/>
                    <a:pt x="10" y="74"/>
                  </a:cubicBezTo>
                  <a:cubicBezTo>
                    <a:pt x="17" y="81"/>
                    <a:pt x="27" y="85"/>
                    <a:pt x="38" y="85"/>
                  </a:cubicBezTo>
                  <a:cubicBezTo>
                    <a:pt x="48" y="85"/>
                    <a:pt x="56" y="83"/>
                    <a:pt x="62" y="78"/>
                  </a:cubicBezTo>
                  <a:cubicBezTo>
                    <a:pt x="68" y="74"/>
                    <a:pt x="72" y="67"/>
                    <a:pt x="74" y="59"/>
                  </a:cubicBezTo>
                  <a:cubicBezTo>
                    <a:pt x="60" y="57"/>
                    <a:pt x="60" y="57"/>
                    <a:pt x="60" y="57"/>
                  </a:cubicBezTo>
                  <a:cubicBezTo>
                    <a:pt x="58" y="63"/>
                    <a:pt x="55" y="67"/>
                    <a:pt x="51" y="70"/>
                  </a:cubicBezTo>
                  <a:cubicBezTo>
                    <a:pt x="48" y="73"/>
                    <a:pt x="44" y="74"/>
                    <a:pt x="39" y="74"/>
                  </a:cubicBezTo>
                  <a:cubicBezTo>
                    <a:pt x="32" y="74"/>
                    <a:pt x="26" y="71"/>
                    <a:pt x="22" y="67"/>
                  </a:cubicBezTo>
                  <a:cubicBezTo>
                    <a:pt x="17" y="62"/>
                    <a:pt x="14" y="55"/>
                    <a:pt x="14" y="46"/>
                  </a:cubicBezTo>
                  <a:cubicBezTo>
                    <a:pt x="75" y="46"/>
                    <a:pt x="75" y="46"/>
                    <a:pt x="75" y="46"/>
                  </a:cubicBezTo>
                  <a:cubicBezTo>
                    <a:pt x="75" y="45"/>
                    <a:pt x="75" y="43"/>
                    <a:pt x="75" y="43"/>
                  </a:cubicBezTo>
                  <a:cubicBezTo>
                    <a:pt x="75" y="29"/>
                    <a:pt x="71" y="19"/>
                    <a:pt x="64" y="11"/>
                  </a:cubicBezTo>
                  <a:cubicBezTo>
                    <a:pt x="57" y="4"/>
                    <a:pt x="49" y="0"/>
                    <a:pt x="38" y="0"/>
                  </a:cubicBezTo>
                  <a:close/>
                  <a:moveTo>
                    <a:pt x="15" y="35"/>
                  </a:moveTo>
                  <a:cubicBezTo>
                    <a:pt x="15" y="28"/>
                    <a:pt x="18" y="22"/>
                    <a:pt x="22" y="18"/>
                  </a:cubicBezTo>
                  <a:cubicBezTo>
                    <a:pt x="26" y="14"/>
                    <a:pt x="32" y="12"/>
                    <a:pt x="38" y="12"/>
                  </a:cubicBezTo>
                  <a:cubicBezTo>
                    <a:pt x="45" y="12"/>
                    <a:pt x="51" y="14"/>
                    <a:pt x="55" y="20"/>
                  </a:cubicBezTo>
                  <a:cubicBezTo>
                    <a:pt x="58" y="23"/>
                    <a:pt x="60" y="28"/>
                    <a:pt x="60" y="35"/>
                  </a:cubicBezTo>
                  <a:lnTo>
                    <a:pt x="15" y="35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1049915" name="í$lidè"/>
            <p:cNvSpPr/>
            <p:nvPr/>
          </p:nvSpPr>
          <p:spPr bwMode="auto">
            <a:xfrm>
              <a:off x="10457116" y="5675903"/>
              <a:ext cx="25400" cy="30163"/>
            </a:xfrm>
            <a:prstGeom prst="rect">
              <a:avLst/>
            </a:pr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1049916" name="iSļiḋé"/>
            <p:cNvSpPr/>
            <p:nvPr/>
          </p:nvSpPr>
          <p:spPr bwMode="auto">
            <a:xfrm>
              <a:off x="10457116" y="5733053"/>
              <a:ext cx="25400" cy="149225"/>
            </a:xfrm>
            <a:prstGeom prst="rect">
              <a:avLst/>
            </a:pr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1049917" name="íṩḷïḑe"/>
            <p:cNvSpPr/>
            <p:nvPr/>
          </p:nvSpPr>
          <p:spPr bwMode="auto">
            <a:xfrm>
              <a:off x="10520616" y="5675903"/>
              <a:ext cx="25400" cy="30163"/>
            </a:xfrm>
            <a:prstGeom prst="rect">
              <a:avLst/>
            </a:pr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1049918" name="i$ḷïḍè"/>
            <p:cNvSpPr/>
            <p:nvPr/>
          </p:nvSpPr>
          <p:spPr bwMode="auto">
            <a:xfrm>
              <a:off x="10488866" y="5733053"/>
              <a:ext cx="57150" cy="211138"/>
            </a:xfrm>
            <a:custGeom>
              <a:avLst/>
              <a:gdLst>
                <a:gd name="T0" fmla="*/ 17 w 31"/>
                <a:gd name="T1" fmla="*/ 85 h 114"/>
                <a:gd name="T2" fmla="*/ 15 w 31"/>
                <a:gd name="T3" fmla="*/ 99 h 114"/>
                <a:gd name="T4" fmla="*/ 9 w 31"/>
                <a:gd name="T5" fmla="*/ 102 h 114"/>
                <a:gd name="T6" fmla="*/ 2 w 31"/>
                <a:gd name="T7" fmla="*/ 101 h 114"/>
                <a:gd name="T8" fmla="*/ 0 w 31"/>
                <a:gd name="T9" fmla="*/ 113 h 114"/>
                <a:gd name="T10" fmla="*/ 11 w 31"/>
                <a:gd name="T11" fmla="*/ 114 h 114"/>
                <a:gd name="T12" fmla="*/ 27 w 31"/>
                <a:gd name="T13" fmla="*/ 107 h 114"/>
                <a:gd name="T14" fmla="*/ 31 w 31"/>
                <a:gd name="T15" fmla="*/ 86 h 114"/>
                <a:gd name="T16" fmla="*/ 31 w 31"/>
                <a:gd name="T17" fmla="*/ 0 h 114"/>
                <a:gd name="T18" fmla="*/ 17 w 31"/>
                <a:gd name="T19" fmla="*/ 0 h 114"/>
                <a:gd name="T20" fmla="*/ 17 w 31"/>
                <a:gd name="T21" fmla="*/ 85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1" h="114">
                  <a:moveTo>
                    <a:pt x="17" y="85"/>
                  </a:moveTo>
                  <a:cubicBezTo>
                    <a:pt x="17" y="93"/>
                    <a:pt x="17" y="98"/>
                    <a:pt x="15" y="99"/>
                  </a:cubicBezTo>
                  <a:cubicBezTo>
                    <a:pt x="14" y="101"/>
                    <a:pt x="12" y="102"/>
                    <a:pt x="9" y="102"/>
                  </a:cubicBezTo>
                  <a:cubicBezTo>
                    <a:pt x="7" y="102"/>
                    <a:pt x="5" y="102"/>
                    <a:pt x="2" y="101"/>
                  </a:cubicBezTo>
                  <a:cubicBezTo>
                    <a:pt x="0" y="113"/>
                    <a:pt x="0" y="113"/>
                    <a:pt x="0" y="113"/>
                  </a:cubicBezTo>
                  <a:cubicBezTo>
                    <a:pt x="3" y="114"/>
                    <a:pt x="7" y="114"/>
                    <a:pt x="11" y="114"/>
                  </a:cubicBezTo>
                  <a:cubicBezTo>
                    <a:pt x="18" y="114"/>
                    <a:pt x="24" y="112"/>
                    <a:pt x="27" y="107"/>
                  </a:cubicBezTo>
                  <a:cubicBezTo>
                    <a:pt x="30" y="103"/>
                    <a:pt x="31" y="96"/>
                    <a:pt x="31" y="86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17" y="0"/>
                    <a:pt x="17" y="0"/>
                    <a:pt x="17" y="0"/>
                  </a:cubicBezTo>
                  <a:lnTo>
                    <a:pt x="17" y="85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1049919" name="íṩliḋé"/>
            <p:cNvSpPr/>
            <p:nvPr/>
          </p:nvSpPr>
          <p:spPr bwMode="auto">
            <a:xfrm>
              <a:off x="10585703" y="5675903"/>
              <a:ext cx="25400" cy="30163"/>
            </a:xfrm>
            <a:prstGeom prst="rect">
              <a:avLst/>
            </a:pr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1049920" name="ísḷiďé"/>
            <p:cNvSpPr/>
            <p:nvPr/>
          </p:nvSpPr>
          <p:spPr bwMode="auto">
            <a:xfrm>
              <a:off x="10585703" y="5733053"/>
              <a:ext cx="25400" cy="149225"/>
            </a:xfrm>
            <a:prstGeom prst="rect">
              <a:avLst/>
            </a:pr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1049921" name="íṩļïḍe"/>
            <p:cNvSpPr/>
            <p:nvPr/>
          </p:nvSpPr>
          <p:spPr bwMode="auto">
            <a:xfrm>
              <a:off x="10649203" y="5729878"/>
              <a:ext cx="122238" cy="152400"/>
            </a:xfrm>
            <a:custGeom>
              <a:avLst/>
              <a:gdLst>
                <a:gd name="T0" fmla="*/ 65 w 66"/>
                <a:gd name="T1" fmla="*/ 20 h 83"/>
                <a:gd name="T2" fmla="*/ 61 w 66"/>
                <a:gd name="T3" fmla="*/ 10 h 83"/>
                <a:gd name="T4" fmla="*/ 52 w 66"/>
                <a:gd name="T5" fmla="*/ 3 h 83"/>
                <a:gd name="T6" fmla="*/ 38 w 66"/>
                <a:gd name="T7" fmla="*/ 0 h 83"/>
                <a:gd name="T8" fmla="*/ 12 w 66"/>
                <a:gd name="T9" fmla="*/ 14 h 83"/>
                <a:gd name="T10" fmla="*/ 12 w 66"/>
                <a:gd name="T11" fmla="*/ 2 h 83"/>
                <a:gd name="T12" fmla="*/ 0 w 66"/>
                <a:gd name="T13" fmla="*/ 2 h 83"/>
                <a:gd name="T14" fmla="*/ 0 w 66"/>
                <a:gd name="T15" fmla="*/ 83 h 83"/>
                <a:gd name="T16" fmla="*/ 14 w 66"/>
                <a:gd name="T17" fmla="*/ 83 h 83"/>
                <a:gd name="T18" fmla="*/ 14 w 66"/>
                <a:gd name="T19" fmla="*/ 39 h 83"/>
                <a:gd name="T20" fmla="*/ 20 w 66"/>
                <a:gd name="T21" fmla="*/ 18 h 83"/>
                <a:gd name="T22" fmla="*/ 35 w 66"/>
                <a:gd name="T23" fmla="*/ 12 h 83"/>
                <a:gd name="T24" fmla="*/ 45 w 66"/>
                <a:gd name="T25" fmla="*/ 15 h 83"/>
                <a:gd name="T26" fmla="*/ 51 w 66"/>
                <a:gd name="T27" fmla="*/ 21 h 83"/>
                <a:gd name="T28" fmla="*/ 52 w 66"/>
                <a:gd name="T29" fmla="*/ 34 h 83"/>
                <a:gd name="T30" fmla="*/ 52 w 66"/>
                <a:gd name="T31" fmla="*/ 83 h 83"/>
                <a:gd name="T32" fmla="*/ 66 w 66"/>
                <a:gd name="T33" fmla="*/ 83 h 83"/>
                <a:gd name="T34" fmla="*/ 66 w 66"/>
                <a:gd name="T35" fmla="*/ 33 h 83"/>
                <a:gd name="T36" fmla="*/ 65 w 66"/>
                <a:gd name="T37" fmla="*/ 20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6" h="83">
                  <a:moveTo>
                    <a:pt x="65" y="20"/>
                  </a:moveTo>
                  <a:cubicBezTo>
                    <a:pt x="64" y="16"/>
                    <a:pt x="63" y="13"/>
                    <a:pt x="61" y="10"/>
                  </a:cubicBezTo>
                  <a:cubicBezTo>
                    <a:pt x="59" y="7"/>
                    <a:pt x="56" y="5"/>
                    <a:pt x="52" y="3"/>
                  </a:cubicBezTo>
                  <a:cubicBezTo>
                    <a:pt x="48" y="1"/>
                    <a:pt x="43" y="0"/>
                    <a:pt x="38" y="0"/>
                  </a:cubicBezTo>
                  <a:cubicBezTo>
                    <a:pt x="27" y="0"/>
                    <a:pt x="18" y="5"/>
                    <a:pt x="12" y="14"/>
                  </a:cubicBezTo>
                  <a:cubicBezTo>
                    <a:pt x="12" y="2"/>
                    <a:pt x="12" y="2"/>
                    <a:pt x="12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83"/>
                    <a:pt x="0" y="83"/>
                    <a:pt x="0" y="83"/>
                  </a:cubicBezTo>
                  <a:cubicBezTo>
                    <a:pt x="14" y="83"/>
                    <a:pt x="14" y="83"/>
                    <a:pt x="14" y="83"/>
                  </a:cubicBezTo>
                  <a:cubicBezTo>
                    <a:pt x="14" y="39"/>
                    <a:pt x="14" y="39"/>
                    <a:pt x="14" y="39"/>
                  </a:cubicBezTo>
                  <a:cubicBezTo>
                    <a:pt x="14" y="29"/>
                    <a:pt x="16" y="21"/>
                    <a:pt x="20" y="18"/>
                  </a:cubicBezTo>
                  <a:cubicBezTo>
                    <a:pt x="24" y="14"/>
                    <a:pt x="29" y="12"/>
                    <a:pt x="35" y="12"/>
                  </a:cubicBezTo>
                  <a:cubicBezTo>
                    <a:pt x="39" y="12"/>
                    <a:pt x="42" y="13"/>
                    <a:pt x="45" y="15"/>
                  </a:cubicBezTo>
                  <a:cubicBezTo>
                    <a:pt x="48" y="16"/>
                    <a:pt x="50" y="19"/>
                    <a:pt x="51" y="21"/>
                  </a:cubicBezTo>
                  <a:cubicBezTo>
                    <a:pt x="52" y="24"/>
                    <a:pt x="52" y="28"/>
                    <a:pt x="52" y="34"/>
                  </a:cubicBezTo>
                  <a:cubicBezTo>
                    <a:pt x="52" y="83"/>
                    <a:pt x="52" y="83"/>
                    <a:pt x="52" y="83"/>
                  </a:cubicBezTo>
                  <a:cubicBezTo>
                    <a:pt x="66" y="83"/>
                    <a:pt x="66" y="83"/>
                    <a:pt x="66" y="83"/>
                  </a:cubicBezTo>
                  <a:cubicBezTo>
                    <a:pt x="66" y="33"/>
                    <a:pt x="66" y="33"/>
                    <a:pt x="66" y="33"/>
                  </a:cubicBezTo>
                  <a:cubicBezTo>
                    <a:pt x="66" y="27"/>
                    <a:pt x="66" y="23"/>
                    <a:pt x="65" y="2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1049922" name="í$ľíḍê"/>
            <p:cNvSpPr/>
            <p:nvPr/>
          </p:nvSpPr>
          <p:spPr bwMode="auto">
            <a:xfrm>
              <a:off x="10800016" y="5729878"/>
              <a:ext cx="133350" cy="214313"/>
            </a:xfrm>
            <a:custGeom>
              <a:avLst/>
              <a:gdLst>
                <a:gd name="T0" fmla="*/ 59 w 72"/>
                <a:gd name="T1" fmla="*/ 2 h 116"/>
                <a:gd name="T2" fmla="*/ 59 w 72"/>
                <a:gd name="T3" fmla="*/ 12 h 116"/>
                <a:gd name="T4" fmla="*/ 35 w 72"/>
                <a:gd name="T5" fmla="*/ 0 h 116"/>
                <a:gd name="T6" fmla="*/ 16 w 72"/>
                <a:gd name="T7" fmla="*/ 6 h 116"/>
                <a:gd name="T8" fmla="*/ 4 w 72"/>
                <a:gd name="T9" fmla="*/ 21 h 116"/>
                <a:gd name="T10" fmla="*/ 0 w 72"/>
                <a:gd name="T11" fmla="*/ 42 h 116"/>
                <a:gd name="T12" fmla="*/ 9 w 72"/>
                <a:gd name="T13" fmla="*/ 71 h 116"/>
                <a:gd name="T14" fmla="*/ 35 w 72"/>
                <a:gd name="T15" fmla="*/ 83 h 116"/>
                <a:gd name="T16" fmla="*/ 58 w 72"/>
                <a:gd name="T17" fmla="*/ 73 h 116"/>
                <a:gd name="T18" fmla="*/ 57 w 72"/>
                <a:gd name="T19" fmla="*/ 90 h 116"/>
                <a:gd name="T20" fmla="*/ 49 w 72"/>
                <a:gd name="T21" fmla="*/ 101 h 116"/>
                <a:gd name="T22" fmla="*/ 35 w 72"/>
                <a:gd name="T23" fmla="*/ 105 h 116"/>
                <a:gd name="T24" fmla="*/ 21 w 72"/>
                <a:gd name="T25" fmla="*/ 101 h 116"/>
                <a:gd name="T26" fmla="*/ 16 w 72"/>
                <a:gd name="T27" fmla="*/ 92 h 116"/>
                <a:gd name="T28" fmla="*/ 3 w 72"/>
                <a:gd name="T29" fmla="*/ 90 h 116"/>
                <a:gd name="T30" fmla="*/ 11 w 72"/>
                <a:gd name="T31" fmla="*/ 110 h 116"/>
                <a:gd name="T32" fmla="*/ 35 w 72"/>
                <a:gd name="T33" fmla="*/ 116 h 116"/>
                <a:gd name="T34" fmla="*/ 55 w 72"/>
                <a:gd name="T35" fmla="*/ 112 h 116"/>
                <a:gd name="T36" fmla="*/ 68 w 72"/>
                <a:gd name="T37" fmla="*/ 99 h 116"/>
                <a:gd name="T38" fmla="*/ 72 w 72"/>
                <a:gd name="T39" fmla="*/ 72 h 116"/>
                <a:gd name="T40" fmla="*/ 72 w 72"/>
                <a:gd name="T41" fmla="*/ 2 h 116"/>
                <a:gd name="T42" fmla="*/ 59 w 72"/>
                <a:gd name="T43" fmla="*/ 2 h 116"/>
                <a:gd name="T44" fmla="*/ 52 w 72"/>
                <a:gd name="T45" fmla="*/ 65 h 116"/>
                <a:gd name="T46" fmla="*/ 36 w 72"/>
                <a:gd name="T47" fmla="*/ 72 h 116"/>
                <a:gd name="T48" fmla="*/ 20 w 72"/>
                <a:gd name="T49" fmla="*/ 65 h 116"/>
                <a:gd name="T50" fmla="*/ 14 w 72"/>
                <a:gd name="T51" fmla="*/ 41 h 116"/>
                <a:gd name="T52" fmla="*/ 20 w 72"/>
                <a:gd name="T53" fmla="*/ 19 h 116"/>
                <a:gd name="T54" fmla="*/ 36 w 72"/>
                <a:gd name="T55" fmla="*/ 12 h 116"/>
                <a:gd name="T56" fmla="*/ 52 w 72"/>
                <a:gd name="T57" fmla="*/ 19 h 116"/>
                <a:gd name="T58" fmla="*/ 59 w 72"/>
                <a:gd name="T59" fmla="*/ 42 h 116"/>
                <a:gd name="T60" fmla="*/ 52 w 72"/>
                <a:gd name="T61" fmla="*/ 65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72" h="116">
                  <a:moveTo>
                    <a:pt x="59" y="2"/>
                  </a:moveTo>
                  <a:cubicBezTo>
                    <a:pt x="59" y="12"/>
                    <a:pt x="59" y="12"/>
                    <a:pt x="59" y="12"/>
                  </a:cubicBezTo>
                  <a:cubicBezTo>
                    <a:pt x="53" y="4"/>
                    <a:pt x="45" y="0"/>
                    <a:pt x="35" y="0"/>
                  </a:cubicBezTo>
                  <a:cubicBezTo>
                    <a:pt x="28" y="0"/>
                    <a:pt x="22" y="2"/>
                    <a:pt x="16" y="6"/>
                  </a:cubicBezTo>
                  <a:cubicBezTo>
                    <a:pt x="11" y="9"/>
                    <a:pt x="7" y="14"/>
                    <a:pt x="4" y="21"/>
                  </a:cubicBezTo>
                  <a:cubicBezTo>
                    <a:pt x="1" y="27"/>
                    <a:pt x="0" y="34"/>
                    <a:pt x="0" y="42"/>
                  </a:cubicBezTo>
                  <a:cubicBezTo>
                    <a:pt x="0" y="53"/>
                    <a:pt x="3" y="63"/>
                    <a:pt x="9" y="71"/>
                  </a:cubicBezTo>
                  <a:cubicBezTo>
                    <a:pt x="15" y="79"/>
                    <a:pt x="24" y="83"/>
                    <a:pt x="35" y="83"/>
                  </a:cubicBezTo>
                  <a:cubicBezTo>
                    <a:pt x="44" y="83"/>
                    <a:pt x="51" y="80"/>
                    <a:pt x="58" y="73"/>
                  </a:cubicBezTo>
                  <a:cubicBezTo>
                    <a:pt x="58" y="82"/>
                    <a:pt x="57" y="88"/>
                    <a:pt x="57" y="90"/>
                  </a:cubicBezTo>
                  <a:cubicBezTo>
                    <a:pt x="55" y="95"/>
                    <a:pt x="53" y="99"/>
                    <a:pt x="49" y="101"/>
                  </a:cubicBezTo>
                  <a:cubicBezTo>
                    <a:pt x="46" y="104"/>
                    <a:pt x="41" y="105"/>
                    <a:pt x="35" y="105"/>
                  </a:cubicBezTo>
                  <a:cubicBezTo>
                    <a:pt x="29" y="105"/>
                    <a:pt x="24" y="104"/>
                    <a:pt x="21" y="101"/>
                  </a:cubicBezTo>
                  <a:cubicBezTo>
                    <a:pt x="18" y="99"/>
                    <a:pt x="17" y="96"/>
                    <a:pt x="16" y="92"/>
                  </a:cubicBezTo>
                  <a:cubicBezTo>
                    <a:pt x="3" y="90"/>
                    <a:pt x="3" y="90"/>
                    <a:pt x="3" y="90"/>
                  </a:cubicBezTo>
                  <a:cubicBezTo>
                    <a:pt x="2" y="99"/>
                    <a:pt x="5" y="105"/>
                    <a:pt x="11" y="110"/>
                  </a:cubicBezTo>
                  <a:cubicBezTo>
                    <a:pt x="17" y="114"/>
                    <a:pt x="25" y="116"/>
                    <a:pt x="35" y="116"/>
                  </a:cubicBezTo>
                  <a:cubicBezTo>
                    <a:pt x="43" y="116"/>
                    <a:pt x="50" y="115"/>
                    <a:pt x="55" y="112"/>
                  </a:cubicBezTo>
                  <a:cubicBezTo>
                    <a:pt x="61" y="109"/>
                    <a:pt x="65" y="104"/>
                    <a:pt x="68" y="99"/>
                  </a:cubicBezTo>
                  <a:cubicBezTo>
                    <a:pt x="70" y="94"/>
                    <a:pt x="72" y="85"/>
                    <a:pt x="72" y="72"/>
                  </a:cubicBezTo>
                  <a:cubicBezTo>
                    <a:pt x="72" y="2"/>
                    <a:pt x="72" y="2"/>
                    <a:pt x="72" y="2"/>
                  </a:cubicBezTo>
                  <a:lnTo>
                    <a:pt x="59" y="2"/>
                  </a:lnTo>
                  <a:close/>
                  <a:moveTo>
                    <a:pt x="52" y="65"/>
                  </a:moveTo>
                  <a:cubicBezTo>
                    <a:pt x="48" y="69"/>
                    <a:pt x="43" y="72"/>
                    <a:pt x="36" y="72"/>
                  </a:cubicBezTo>
                  <a:cubicBezTo>
                    <a:pt x="30" y="72"/>
                    <a:pt x="25" y="69"/>
                    <a:pt x="20" y="65"/>
                  </a:cubicBezTo>
                  <a:cubicBezTo>
                    <a:pt x="16" y="60"/>
                    <a:pt x="14" y="52"/>
                    <a:pt x="14" y="41"/>
                  </a:cubicBezTo>
                  <a:cubicBezTo>
                    <a:pt x="14" y="31"/>
                    <a:pt x="16" y="24"/>
                    <a:pt x="20" y="19"/>
                  </a:cubicBezTo>
                  <a:cubicBezTo>
                    <a:pt x="25" y="14"/>
                    <a:pt x="30" y="12"/>
                    <a:pt x="36" y="12"/>
                  </a:cubicBezTo>
                  <a:cubicBezTo>
                    <a:pt x="42" y="12"/>
                    <a:pt x="48" y="14"/>
                    <a:pt x="52" y="19"/>
                  </a:cubicBezTo>
                  <a:cubicBezTo>
                    <a:pt x="56" y="24"/>
                    <a:pt x="59" y="32"/>
                    <a:pt x="59" y="42"/>
                  </a:cubicBezTo>
                  <a:cubicBezTo>
                    <a:pt x="59" y="52"/>
                    <a:pt x="57" y="60"/>
                    <a:pt x="52" y="6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1049923" name="î$1ïḍè"/>
            <p:cNvSpPr/>
            <p:nvPr/>
          </p:nvSpPr>
          <p:spPr bwMode="auto">
            <a:xfrm>
              <a:off x="5231066" y="5675903"/>
              <a:ext cx="161925" cy="211138"/>
            </a:xfrm>
            <a:custGeom>
              <a:avLst/>
              <a:gdLst>
                <a:gd name="T0" fmla="*/ 73 w 88"/>
                <a:gd name="T1" fmla="*/ 65 h 114"/>
                <a:gd name="T2" fmla="*/ 66 w 88"/>
                <a:gd name="T3" fmla="*/ 93 h 114"/>
                <a:gd name="T4" fmla="*/ 43 w 88"/>
                <a:gd name="T5" fmla="*/ 101 h 114"/>
                <a:gd name="T6" fmla="*/ 27 w 88"/>
                <a:gd name="T7" fmla="*/ 97 h 114"/>
                <a:gd name="T8" fmla="*/ 17 w 88"/>
                <a:gd name="T9" fmla="*/ 86 h 114"/>
                <a:gd name="T10" fmla="*/ 15 w 88"/>
                <a:gd name="T11" fmla="*/ 65 h 114"/>
                <a:gd name="T12" fmla="*/ 15 w 88"/>
                <a:gd name="T13" fmla="*/ 0 h 114"/>
                <a:gd name="T14" fmla="*/ 0 w 88"/>
                <a:gd name="T15" fmla="*/ 0 h 114"/>
                <a:gd name="T16" fmla="*/ 0 w 88"/>
                <a:gd name="T17" fmla="*/ 65 h 114"/>
                <a:gd name="T18" fmla="*/ 4 w 88"/>
                <a:gd name="T19" fmla="*/ 93 h 114"/>
                <a:gd name="T20" fmla="*/ 18 w 88"/>
                <a:gd name="T21" fmla="*/ 109 h 114"/>
                <a:gd name="T22" fmla="*/ 44 w 88"/>
                <a:gd name="T23" fmla="*/ 114 h 114"/>
                <a:gd name="T24" fmla="*/ 70 w 88"/>
                <a:gd name="T25" fmla="*/ 108 h 114"/>
                <a:gd name="T26" fmla="*/ 84 w 88"/>
                <a:gd name="T27" fmla="*/ 92 h 114"/>
                <a:gd name="T28" fmla="*/ 88 w 88"/>
                <a:gd name="T29" fmla="*/ 65 h 114"/>
                <a:gd name="T30" fmla="*/ 88 w 88"/>
                <a:gd name="T31" fmla="*/ 0 h 114"/>
                <a:gd name="T32" fmla="*/ 73 w 88"/>
                <a:gd name="T33" fmla="*/ 0 h 114"/>
                <a:gd name="T34" fmla="*/ 73 w 88"/>
                <a:gd name="T35" fmla="*/ 65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88" h="114">
                  <a:moveTo>
                    <a:pt x="73" y="65"/>
                  </a:moveTo>
                  <a:cubicBezTo>
                    <a:pt x="73" y="79"/>
                    <a:pt x="71" y="88"/>
                    <a:pt x="66" y="93"/>
                  </a:cubicBezTo>
                  <a:cubicBezTo>
                    <a:pt x="62" y="98"/>
                    <a:pt x="54" y="101"/>
                    <a:pt x="43" y="101"/>
                  </a:cubicBezTo>
                  <a:cubicBezTo>
                    <a:pt x="37" y="101"/>
                    <a:pt x="31" y="100"/>
                    <a:pt x="27" y="97"/>
                  </a:cubicBezTo>
                  <a:cubicBezTo>
                    <a:pt x="22" y="95"/>
                    <a:pt x="19" y="91"/>
                    <a:pt x="17" y="86"/>
                  </a:cubicBezTo>
                  <a:cubicBezTo>
                    <a:pt x="16" y="82"/>
                    <a:pt x="15" y="75"/>
                    <a:pt x="15" y="65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65"/>
                    <a:pt x="0" y="65"/>
                    <a:pt x="0" y="65"/>
                  </a:cubicBezTo>
                  <a:cubicBezTo>
                    <a:pt x="0" y="77"/>
                    <a:pt x="1" y="86"/>
                    <a:pt x="4" y="93"/>
                  </a:cubicBezTo>
                  <a:cubicBezTo>
                    <a:pt x="7" y="100"/>
                    <a:pt x="12" y="105"/>
                    <a:pt x="18" y="109"/>
                  </a:cubicBezTo>
                  <a:cubicBezTo>
                    <a:pt x="25" y="112"/>
                    <a:pt x="34" y="114"/>
                    <a:pt x="44" y="114"/>
                  </a:cubicBezTo>
                  <a:cubicBezTo>
                    <a:pt x="55" y="114"/>
                    <a:pt x="64" y="112"/>
                    <a:pt x="70" y="108"/>
                  </a:cubicBezTo>
                  <a:cubicBezTo>
                    <a:pt x="77" y="104"/>
                    <a:pt x="82" y="98"/>
                    <a:pt x="84" y="92"/>
                  </a:cubicBezTo>
                  <a:cubicBezTo>
                    <a:pt x="87" y="85"/>
                    <a:pt x="88" y="76"/>
                    <a:pt x="88" y="65"/>
                  </a:cubicBezTo>
                  <a:cubicBezTo>
                    <a:pt x="88" y="0"/>
                    <a:pt x="88" y="0"/>
                    <a:pt x="88" y="0"/>
                  </a:cubicBezTo>
                  <a:cubicBezTo>
                    <a:pt x="73" y="0"/>
                    <a:pt x="73" y="0"/>
                    <a:pt x="73" y="0"/>
                  </a:cubicBezTo>
                  <a:lnTo>
                    <a:pt x="73" y="65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1049924" name="ïṡļîḑê"/>
            <p:cNvSpPr/>
            <p:nvPr/>
          </p:nvSpPr>
          <p:spPr bwMode="auto">
            <a:xfrm>
              <a:off x="5435853" y="5729878"/>
              <a:ext cx="120650" cy="152400"/>
            </a:xfrm>
            <a:custGeom>
              <a:avLst/>
              <a:gdLst>
                <a:gd name="T0" fmla="*/ 61 w 66"/>
                <a:gd name="T1" fmla="*/ 10 h 83"/>
                <a:gd name="T2" fmla="*/ 52 w 66"/>
                <a:gd name="T3" fmla="*/ 3 h 83"/>
                <a:gd name="T4" fmla="*/ 38 w 66"/>
                <a:gd name="T5" fmla="*/ 0 h 83"/>
                <a:gd name="T6" fmla="*/ 12 w 66"/>
                <a:gd name="T7" fmla="*/ 14 h 83"/>
                <a:gd name="T8" fmla="*/ 12 w 66"/>
                <a:gd name="T9" fmla="*/ 2 h 83"/>
                <a:gd name="T10" fmla="*/ 0 w 66"/>
                <a:gd name="T11" fmla="*/ 2 h 83"/>
                <a:gd name="T12" fmla="*/ 0 w 66"/>
                <a:gd name="T13" fmla="*/ 83 h 83"/>
                <a:gd name="T14" fmla="*/ 14 w 66"/>
                <a:gd name="T15" fmla="*/ 83 h 83"/>
                <a:gd name="T16" fmla="*/ 14 w 66"/>
                <a:gd name="T17" fmla="*/ 39 h 83"/>
                <a:gd name="T18" fmla="*/ 20 w 66"/>
                <a:gd name="T19" fmla="*/ 18 h 83"/>
                <a:gd name="T20" fmla="*/ 35 w 66"/>
                <a:gd name="T21" fmla="*/ 12 h 83"/>
                <a:gd name="T22" fmla="*/ 45 w 66"/>
                <a:gd name="T23" fmla="*/ 15 h 83"/>
                <a:gd name="T24" fmla="*/ 51 w 66"/>
                <a:gd name="T25" fmla="*/ 21 h 83"/>
                <a:gd name="T26" fmla="*/ 52 w 66"/>
                <a:gd name="T27" fmla="*/ 34 h 83"/>
                <a:gd name="T28" fmla="*/ 52 w 66"/>
                <a:gd name="T29" fmla="*/ 83 h 83"/>
                <a:gd name="T30" fmla="*/ 66 w 66"/>
                <a:gd name="T31" fmla="*/ 83 h 83"/>
                <a:gd name="T32" fmla="*/ 66 w 66"/>
                <a:gd name="T33" fmla="*/ 33 h 83"/>
                <a:gd name="T34" fmla="*/ 65 w 66"/>
                <a:gd name="T35" fmla="*/ 20 h 83"/>
                <a:gd name="T36" fmla="*/ 61 w 66"/>
                <a:gd name="T37" fmla="*/ 10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6" h="83">
                  <a:moveTo>
                    <a:pt x="61" y="10"/>
                  </a:moveTo>
                  <a:cubicBezTo>
                    <a:pt x="59" y="7"/>
                    <a:pt x="56" y="5"/>
                    <a:pt x="52" y="3"/>
                  </a:cubicBezTo>
                  <a:cubicBezTo>
                    <a:pt x="48" y="1"/>
                    <a:pt x="43" y="0"/>
                    <a:pt x="38" y="0"/>
                  </a:cubicBezTo>
                  <a:cubicBezTo>
                    <a:pt x="27" y="0"/>
                    <a:pt x="18" y="5"/>
                    <a:pt x="12" y="14"/>
                  </a:cubicBezTo>
                  <a:cubicBezTo>
                    <a:pt x="12" y="2"/>
                    <a:pt x="12" y="2"/>
                    <a:pt x="12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83"/>
                    <a:pt x="0" y="83"/>
                    <a:pt x="0" y="83"/>
                  </a:cubicBezTo>
                  <a:cubicBezTo>
                    <a:pt x="14" y="83"/>
                    <a:pt x="14" y="83"/>
                    <a:pt x="14" y="83"/>
                  </a:cubicBezTo>
                  <a:cubicBezTo>
                    <a:pt x="14" y="39"/>
                    <a:pt x="14" y="39"/>
                    <a:pt x="14" y="39"/>
                  </a:cubicBezTo>
                  <a:cubicBezTo>
                    <a:pt x="14" y="29"/>
                    <a:pt x="16" y="21"/>
                    <a:pt x="20" y="18"/>
                  </a:cubicBezTo>
                  <a:cubicBezTo>
                    <a:pt x="25" y="14"/>
                    <a:pt x="30" y="12"/>
                    <a:pt x="35" y="12"/>
                  </a:cubicBezTo>
                  <a:cubicBezTo>
                    <a:pt x="39" y="12"/>
                    <a:pt x="42" y="13"/>
                    <a:pt x="45" y="15"/>
                  </a:cubicBezTo>
                  <a:cubicBezTo>
                    <a:pt x="48" y="16"/>
                    <a:pt x="50" y="19"/>
                    <a:pt x="51" y="21"/>
                  </a:cubicBezTo>
                  <a:cubicBezTo>
                    <a:pt x="52" y="24"/>
                    <a:pt x="52" y="28"/>
                    <a:pt x="52" y="34"/>
                  </a:cubicBezTo>
                  <a:cubicBezTo>
                    <a:pt x="52" y="83"/>
                    <a:pt x="52" y="83"/>
                    <a:pt x="52" y="83"/>
                  </a:cubicBezTo>
                  <a:cubicBezTo>
                    <a:pt x="66" y="83"/>
                    <a:pt x="66" y="83"/>
                    <a:pt x="66" y="83"/>
                  </a:cubicBezTo>
                  <a:cubicBezTo>
                    <a:pt x="66" y="33"/>
                    <a:pt x="66" y="33"/>
                    <a:pt x="66" y="33"/>
                  </a:cubicBezTo>
                  <a:cubicBezTo>
                    <a:pt x="66" y="27"/>
                    <a:pt x="66" y="23"/>
                    <a:pt x="65" y="20"/>
                  </a:cubicBezTo>
                  <a:cubicBezTo>
                    <a:pt x="65" y="16"/>
                    <a:pt x="63" y="13"/>
                    <a:pt x="61" y="1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 sz="1350"/>
            </a:p>
          </p:txBody>
        </p:sp>
      </p:grpSp>
      <p:sp>
        <p:nvSpPr>
          <p:cNvPr id="1049925" name="文本框 117"/>
          <p:cNvSpPr txBox="1"/>
          <p:nvPr userDrawn="1"/>
        </p:nvSpPr>
        <p:spPr>
          <a:xfrm>
            <a:off x="4107180" y="6441440"/>
            <a:ext cx="929640" cy="2527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zh-CN" altLang="en-US" sz="1050" spc="300" dirty="0">
                <a:gradFill>
                  <a:gsLst>
                    <a:gs pos="0">
                      <a:srgbClr val="A22B17">
                        <a:lumMod val="90000"/>
                        <a:lumOff val="10000"/>
                      </a:srgbClr>
                    </a:gs>
                    <a:gs pos="100000">
                      <a:srgbClr val="A22B17">
                        <a:alpha val="92000"/>
                        <a:lumMod val="75000"/>
                        <a:lumOff val="25000"/>
                      </a:srgbClr>
                    </a:gs>
                  </a:gsLst>
                  <a:lin ang="0" scaled="1"/>
                </a:gradFill>
                <a:latin typeface="优设标题黑" panose="00000500000000000000" pitchFamily="2" charset="-122"/>
                <a:ea typeface="优设标题黑" panose="00000500000000000000" pitchFamily="2" charset="-122"/>
              </a:rPr>
              <a:t>求实鼎新</a:t>
            </a:r>
            <a:endParaRPr lang="zh-CN" altLang="en-US" sz="1050" spc="300" dirty="0">
              <a:gradFill>
                <a:gsLst>
                  <a:gs pos="0">
                    <a:srgbClr val="A22B17">
                      <a:lumMod val="90000"/>
                      <a:lumOff val="10000"/>
                    </a:srgbClr>
                  </a:gs>
                  <a:gs pos="100000">
                    <a:srgbClr val="A22B17">
                      <a:alpha val="92000"/>
                      <a:lumMod val="75000"/>
                      <a:lumOff val="25000"/>
                    </a:srgbClr>
                  </a:gs>
                </a:gsLst>
                <a:lin ang="0" scaled="1"/>
              </a:gradFill>
              <a:latin typeface="优设标题黑" panose="00000500000000000000" pitchFamily="2" charset="-122"/>
              <a:ea typeface="优设标题黑" panose="00000500000000000000" pitchFamily="2" charset="-122"/>
            </a:endParaRPr>
          </a:p>
        </p:txBody>
      </p:sp>
    </p:spTree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97202" name="PA-图片 14"/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 rotWithShape="1">
          <a:blip r:embed="rId3"/>
          <a:srcRect/>
          <a:stretch>
            <a:fillRect/>
          </a:stretch>
        </p:blipFill>
        <p:spPr>
          <a:xfrm>
            <a:off x="0" y="1526"/>
            <a:ext cx="9144000" cy="3425951"/>
          </a:xfrm>
          <a:custGeom>
            <a:avLst/>
            <a:gdLst>
              <a:gd name="connsiteX0" fmla="*/ 0 w 12192000"/>
              <a:gd name="connsiteY0" fmla="*/ 0 h 3429001"/>
              <a:gd name="connsiteX1" fmla="*/ 12192000 w 12192000"/>
              <a:gd name="connsiteY1" fmla="*/ 0 h 3429001"/>
              <a:gd name="connsiteX2" fmla="*/ 12192000 w 12192000"/>
              <a:gd name="connsiteY2" fmla="*/ 2925589 h 3429001"/>
              <a:gd name="connsiteX3" fmla="*/ 12119571 w 12192000"/>
              <a:gd name="connsiteY3" fmla="*/ 2939984 h 3429001"/>
              <a:gd name="connsiteX4" fmla="*/ 6096001 w 12192000"/>
              <a:gd name="connsiteY4" fmla="*/ 3429001 h 3429001"/>
              <a:gd name="connsiteX5" fmla="*/ 72430 w 12192000"/>
              <a:gd name="connsiteY5" fmla="*/ 2939984 h 3429001"/>
              <a:gd name="connsiteX6" fmla="*/ 0 w 12192000"/>
              <a:gd name="connsiteY6" fmla="*/ 2925589 h 3429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3429001">
                <a:moveTo>
                  <a:pt x="0" y="0"/>
                </a:moveTo>
                <a:lnTo>
                  <a:pt x="12192000" y="0"/>
                </a:lnTo>
                <a:lnTo>
                  <a:pt x="12192000" y="2925589"/>
                </a:lnTo>
                <a:lnTo>
                  <a:pt x="12119571" y="2939984"/>
                </a:lnTo>
                <a:cubicBezTo>
                  <a:pt x="10400109" y="3248724"/>
                  <a:pt x="8327268" y="3429001"/>
                  <a:pt x="6096001" y="3429001"/>
                </a:cubicBezTo>
                <a:cubicBezTo>
                  <a:pt x="3864735" y="3429001"/>
                  <a:pt x="1791894" y="3248724"/>
                  <a:pt x="72430" y="2939984"/>
                </a:cubicBezTo>
                <a:lnTo>
                  <a:pt x="0" y="2925589"/>
                </a:lnTo>
                <a:close/>
              </a:path>
            </a:pathLst>
          </a:custGeom>
        </p:spPr>
      </p:pic>
      <p:sp>
        <p:nvSpPr>
          <p:cNvPr id="1049387" name="PA-椭圆 7"/>
          <p:cNvSpPr/>
          <p:nvPr userDrawn="1">
            <p:custDataLst>
              <p:tags r:id="rId4"/>
            </p:custDataLst>
          </p:nvPr>
        </p:nvSpPr>
        <p:spPr>
          <a:xfrm>
            <a:off x="-3508130" y="-2297723"/>
            <a:ext cx="16160261" cy="5726723"/>
          </a:xfrm>
          <a:prstGeom prst="ellipse">
            <a:avLst/>
          </a:prstGeom>
          <a:gradFill flip="none" rotWithShape="1">
            <a:gsLst>
              <a:gs pos="0">
                <a:srgbClr val="A22B17">
                  <a:lumMod val="94000"/>
                  <a:lumOff val="6000"/>
                </a:srgbClr>
              </a:gs>
              <a:gs pos="100000">
                <a:srgbClr val="A22B17">
                  <a:alpha val="72000"/>
                  <a:lumMod val="85000"/>
                  <a:lumOff val="15000"/>
                </a:srgb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zh-CN" altLang="en-US" sz="1350" dirty="0"/>
          </a:p>
        </p:txBody>
      </p:sp>
      <p:grpSp>
        <p:nvGrpSpPr>
          <p:cNvPr id="191" name="组合 118"/>
          <p:cNvGrpSpPr/>
          <p:nvPr userDrawn="1"/>
        </p:nvGrpSpPr>
        <p:grpSpPr>
          <a:xfrm>
            <a:off x="4331279" y="636936"/>
            <a:ext cx="481443" cy="642498"/>
            <a:chOff x="5775038" y="636936"/>
            <a:chExt cx="641924" cy="642498"/>
          </a:xfrm>
        </p:grpSpPr>
        <p:grpSp>
          <p:nvGrpSpPr>
            <p:cNvPr id="192" name="组合 119"/>
            <p:cNvGrpSpPr/>
            <p:nvPr/>
          </p:nvGrpSpPr>
          <p:grpSpPr>
            <a:xfrm>
              <a:off x="5775038" y="636936"/>
              <a:ext cx="641924" cy="642498"/>
              <a:chOff x="1560409" y="2069897"/>
              <a:chExt cx="1776413" cy="1778000"/>
            </a:xfrm>
          </p:grpSpPr>
          <p:sp>
            <p:nvSpPr>
              <p:cNvPr id="1049388" name="îS1îḋé"/>
              <p:cNvSpPr/>
              <p:nvPr/>
            </p:nvSpPr>
            <p:spPr bwMode="auto">
              <a:xfrm>
                <a:off x="1560409" y="2069897"/>
                <a:ext cx="1776413" cy="1778000"/>
              </a:xfrm>
              <a:prstGeom prst="ellipse">
                <a:avLst/>
              </a:prstGeom>
              <a:noFill/>
              <a:ln w="15875" cap="flat">
                <a:solidFill>
                  <a:srgbClr val="F2C68E"/>
                </a:solidFill>
                <a:prstDash val="solid"/>
                <a:miter lim="800000"/>
              </a:ln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1049389" name="îṣḷïďé"/>
              <p:cNvSpPr/>
              <p:nvPr/>
            </p:nvSpPr>
            <p:spPr bwMode="auto">
              <a:xfrm>
                <a:off x="1779484" y="2288972"/>
                <a:ext cx="1336675" cy="1338263"/>
              </a:xfrm>
              <a:prstGeom prst="ellipse">
                <a:avLst/>
              </a:prstGeom>
              <a:noFill/>
              <a:ln w="9525" cap="flat">
                <a:solidFill>
                  <a:srgbClr val="F2C68E"/>
                </a:solidFill>
                <a:prstDash val="solid"/>
                <a:miter lim="800000"/>
              </a:ln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</p:grpSp>
        <p:grpSp>
          <p:nvGrpSpPr>
            <p:cNvPr id="193" name="组合 120"/>
            <p:cNvGrpSpPr/>
            <p:nvPr/>
          </p:nvGrpSpPr>
          <p:grpSpPr>
            <a:xfrm>
              <a:off x="5804581" y="657875"/>
              <a:ext cx="582837" cy="600621"/>
              <a:chOff x="1641372" y="4491628"/>
              <a:chExt cx="1612900" cy="1662113"/>
            </a:xfrm>
            <a:solidFill>
              <a:srgbClr val="F2C68E"/>
            </a:solidFill>
          </p:grpSpPr>
          <p:sp>
            <p:nvSpPr>
              <p:cNvPr id="1049390" name="ïś1íďê"/>
              <p:cNvSpPr/>
              <p:nvPr/>
            </p:nvSpPr>
            <p:spPr bwMode="auto">
              <a:xfrm>
                <a:off x="2889147" y="4701178"/>
                <a:ext cx="153988" cy="138113"/>
              </a:xfrm>
              <a:custGeom>
                <a:avLst/>
                <a:gdLst>
                  <a:gd name="T0" fmla="*/ 62 w 83"/>
                  <a:gd name="T1" fmla="*/ 8 h 75"/>
                  <a:gd name="T2" fmla="*/ 53 w 83"/>
                  <a:gd name="T3" fmla="*/ 10 h 75"/>
                  <a:gd name="T4" fmla="*/ 57 w 83"/>
                  <a:gd name="T5" fmla="*/ 0 h 75"/>
                  <a:gd name="T6" fmla="*/ 44 w 83"/>
                  <a:gd name="T7" fmla="*/ 21 h 75"/>
                  <a:gd name="T8" fmla="*/ 58 w 83"/>
                  <a:gd name="T9" fmla="*/ 11 h 75"/>
                  <a:gd name="T10" fmla="*/ 54 w 83"/>
                  <a:gd name="T11" fmla="*/ 18 h 75"/>
                  <a:gd name="T12" fmla="*/ 28 w 83"/>
                  <a:gd name="T13" fmla="*/ 18 h 75"/>
                  <a:gd name="T14" fmla="*/ 19 w 83"/>
                  <a:gd name="T15" fmla="*/ 17 h 75"/>
                  <a:gd name="T16" fmla="*/ 25 w 83"/>
                  <a:gd name="T17" fmla="*/ 12 h 75"/>
                  <a:gd name="T18" fmla="*/ 1 w 83"/>
                  <a:gd name="T19" fmla="*/ 30 h 75"/>
                  <a:gd name="T20" fmla="*/ 13 w 83"/>
                  <a:gd name="T21" fmla="*/ 24 h 75"/>
                  <a:gd name="T22" fmla="*/ 36 w 83"/>
                  <a:gd name="T23" fmla="*/ 28 h 75"/>
                  <a:gd name="T24" fmla="*/ 22 w 83"/>
                  <a:gd name="T25" fmla="*/ 35 h 75"/>
                  <a:gd name="T26" fmla="*/ 45 w 83"/>
                  <a:gd name="T27" fmla="*/ 41 h 75"/>
                  <a:gd name="T28" fmla="*/ 42 w 83"/>
                  <a:gd name="T29" fmla="*/ 41 h 75"/>
                  <a:gd name="T30" fmla="*/ 35 w 83"/>
                  <a:gd name="T31" fmla="*/ 40 h 75"/>
                  <a:gd name="T32" fmla="*/ 37 w 83"/>
                  <a:gd name="T33" fmla="*/ 45 h 75"/>
                  <a:gd name="T34" fmla="*/ 12 w 83"/>
                  <a:gd name="T35" fmla="*/ 34 h 75"/>
                  <a:gd name="T36" fmla="*/ 9 w 83"/>
                  <a:gd name="T37" fmla="*/ 35 h 75"/>
                  <a:gd name="T38" fmla="*/ 20 w 83"/>
                  <a:gd name="T39" fmla="*/ 64 h 75"/>
                  <a:gd name="T40" fmla="*/ 0 w 83"/>
                  <a:gd name="T41" fmla="*/ 57 h 75"/>
                  <a:gd name="T42" fmla="*/ 35 w 83"/>
                  <a:gd name="T43" fmla="*/ 58 h 75"/>
                  <a:gd name="T44" fmla="*/ 46 w 83"/>
                  <a:gd name="T45" fmla="*/ 57 h 75"/>
                  <a:gd name="T46" fmla="*/ 42 w 83"/>
                  <a:gd name="T47" fmla="*/ 48 h 75"/>
                  <a:gd name="T48" fmla="*/ 62 w 83"/>
                  <a:gd name="T49" fmla="*/ 57 h 75"/>
                  <a:gd name="T50" fmla="*/ 61 w 83"/>
                  <a:gd name="T51" fmla="*/ 35 h 75"/>
                  <a:gd name="T52" fmla="*/ 62 w 83"/>
                  <a:gd name="T53" fmla="*/ 34 h 75"/>
                  <a:gd name="T54" fmla="*/ 66 w 83"/>
                  <a:gd name="T55" fmla="*/ 16 h 75"/>
                  <a:gd name="T56" fmla="*/ 63 w 83"/>
                  <a:gd name="T57" fmla="*/ 44 h 75"/>
                  <a:gd name="T58" fmla="*/ 54 w 83"/>
                  <a:gd name="T59" fmla="*/ 32 h 75"/>
                  <a:gd name="T60" fmla="*/ 60 w 83"/>
                  <a:gd name="T61" fmla="*/ 27 h 75"/>
                  <a:gd name="T62" fmla="*/ 67 w 83"/>
                  <a:gd name="T63" fmla="*/ 18 h 75"/>
                  <a:gd name="T64" fmla="*/ 77 w 83"/>
                  <a:gd name="T65" fmla="*/ 23 h 75"/>
                  <a:gd name="T66" fmla="*/ 60 w 83"/>
                  <a:gd name="T67" fmla="*/ 27 h 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83" h="75">
                    <a:moveTo>
                      <a:pt x="66" y="16"/>
                    </a:moveTo>
                    <a:cubicBezTo>
                      <a:pt x="65" y="13"/>
                      <a:pt x="63" y="11"/>
                      <a:pt x="62" y="8"/>
                    </a:cubicBezTo>
                    <a:cubicBezTo>
                      <a:pt x="59" y="9"/>
                      <a:pt x="57" y="9"/>
                      <a:pt x="54" y="10"/>
                    </a:cubicBezTo>
                    <a:cubicBezTo>
                      <a:pt x="54" y="10"/>
                      <a:pt x="53" y="10"/>
                      <a:pt x="53" y="10"/>
                    </a:cubicBezTo>
                    <a:cubicBezTo>
                      <a:pt x="54" y="7"/>
                      <a:pt x="57" y="6"/>
                      <a:pt x="59" y="3"/>
                    </a:cubicBezTo>
                    <a:cubicBezTo>
                      <a:pt x="58" y="2"/>
                      <a:pt x="58" y="1"/>
                      <a:pt x="57" y="0"/>
                    </a:cubicBezTo>
                    <a:cubicBezTo>
                      <a:pt x="48" y="1"/>
                      <a:pt x="37" y="9"/>
                      <a:pt x="42" y="19"/>
                    </a:cubicBezTo>
                    <a:cubicBezTo>
                      <a:pt x="42" y="19"/>
                      <a:pt x="43" y="20"/>
                      <a:pt x="44" y="21"/>
                    </a:cubicBezTo>
                    <a:cubicBezTo>
                      <a:pt x="47" y="19"/>
                      <a:pt x="48" y="15"/>
                      <a:pt x="51" y="14"/>
                    </a:cubicBezTo>
                    <a:cubicBezTo>
                      <a:pt x="53" y="13"/>
                      <a:pt x="55" y="13"/>
                      <a:pt x="58" y="11"/>
                    </a:cubicBezTo>
                    <a:cubicBezTo>
                      <a:pt x="58" y="11"/>
                      <a:pt x="59" y="11"/>
                      <a:pt x="59" y="11"/>
                    </a:cubicBezTo>
                    <a:cubicBezTo>
                      <a:pt x="57" y="14"/>
                      <a:pt x="56" y="16"/>
                      <a:pt x="54" y="18"/>
                    </a:cubicBezTo>
                    <a:cubicBezTo>
                      <a:pt x="54" y="21"/>
                      <a:pt x="55" y="24"/>
                      <a:pt x="54" y="27"/>
                    </a:cubicBezTo>
                    <a:cubicBezTo>
                      <a:pt x="54" y="27"/>
                      <a:pt x="30" y="18"/>
                      <a:pt x="28" y="18"/>
                    </a:cubicBezTo>
                    <a:cubicBezTo>
                      <a:pt x="25" y="17"/>
                      <a:pt x="22" y="17"/>
                      <a:pt x="20" y="17"/>
                    </a:cubicBezTo>
                    <a:cubicBezTo>
                      <a:pt x="19" y="17"/>
                      <a:pt x="19" y="17"/>
                      <a:pt x="19" y="17"/>
                    </a:cubicBezTo>
                    <a:cubicBezTo>
                      <a:pt x="22" y="15"/>
                      <a:pt x="23" y="15"/>
                      <a:pt x="25" y="13"/>
                    </a:cubicBezTo>
                    <a:cubicBezTo>
                      <a:pt x="25" y="12"/>
                      <a:pt x="25" y="12"/>
                      <a:pt x="25" y="12"/>
                    </a:cubicBezTo>
                    <a:cubicBezTo>
                      <a:pt x="18" y="12"/>
                      <a:pt x="11" y="16"/>
                      <a:pt x="4" y="18"/>
                    </a:cubicBezTo>
                    <a:cubicBezTo>
                      <a:pt x="0" y="22"/>
                      <a:pt x="0" y="25"/>
                      <a:pt x="1" y="30"/>
                    </a:cubicBezTo>
                    <a:cubicBezTo>
                      <a:pt x="3" y="31"/>
                      <a:pt x="3" y="31"/>
                      <a:pt x="3" y="31"/>
                    </a:cubicBezTo>
                    <a:cubicBezTo>
                      <a:pt x="6" y="29"/>
                      <a:pt x="9" y="26"/>
                      <a:pt x="13" y="24"/>
                    </a:cubicBezTo>
                    <a:cubicBezTo>
                      <a:pt x="19" y="20"/>
                      <a:pt x="30" y="22"/>
                      <a:pt x="37" y="27"/>
                    </a:cubicBezTo>
                    <a:cubicBezTo>
                      <a:pt x="37" y="28"/>
                      <a:pt x="36" y="28"/>
                      <a:pt x="36" y="28"/>
                    </a:cubicBezTo>
                    <a:cubicBezTo>
                      <a:pt x="31" y="29"/>
                      <a:pt x="28" y="28"/>
                      <a:pt x="22" y="32"/>
                    </a:cubicBezTo>
                    <a:cubicBezTo>
                      <a:pt x="22" y="33"/>
                      <a:pt x="22" y="34"/>
                      <a:pt x="22" y="35"/>
                    </a:cubicBezTo>
                    <a:cubicBezTo>
                      <a:pt x="22" y="37"/>
                      <a:pt x="22" y="37"/>
                      <a:pt x="24" y="39"/>
                    </a:cubicBezTo>
                    <a:cubicBezTo>
                      <a:pt x="31" y="37"/>
                      <a:pt x="37" y="36"/>
                      <a:pt x="45" y="41"/>
                    </a:cubicBezTo>
                    <a:cubicBezTo>
                      <a:pt x="44" y="41"/>
                      <a:pt x="44" y="41"/>
                      <a:pt x="44" y="41"/>
                    </a:cubicBezTo>
                    <a:cubicBezTo>
                      <a:pt x="43" y="41"/>
                      <a:pt x="42" y="41"/>
                      <a:pt x="42" y="41"/>
                    </a:cubicBezTo>
                    <a:cubicBezTo>
                      <a:pt x="41" y="40"/>
                      <a:pt x="40" y="39"/>
                      <a:pt x="39" y="39"/>
                    </a:cubicBezTo>
                    <a:cubicBezTo>
                      <a:pt x="37" y="41"/>
                      <a:pt x="37" y="41"/>
                      <a:pt x="35" y="40"/>
                    </a:cubicBezTo>
                    <a:cubicBezTo>
                      <a:pt x="35" y="40"/>
                      <a:pt x="34" y="41"/>
                      <a:pt x="34" y="41"/>
                    </a:cubicBezTo>
                    <a:cubicBezTo>
                      <a:pt x="35" y="43"/>
                      <a:pt x="35" y="43"/>
                      <a:pt x="37" y="45"/>
                    </a:cubicBezTo>
                    <a:cubicBezTo>
                      <a:pt x="36" y="46"/>
                      <a:pt x="36" y="47"/>
                      <a:pt x="35" y="48"/>
                    </a:cubicBezTo>
                    <a:cubicBezTo>
                      <a:pt x="27" y="44"/>
                      <a:pt x="20" y="40"/>
                      <a:pt x="12" y="34"/>
                    </a:cubicBezTo>
                    <a:cubicBezTo>
                      <a:pt x="11" y="34"/>
                      <a:pt x="11" y="34"/>
                      <a:pt x="10" y="34"/>
                    </a:cubicBezTo>
                    <a:cubicBezTo>
                      <a:pt x="9" y="34"/>
                      <a:pt x="9" y="35"/>
                      <a:pt x="9" y="35"/>
                    </a:cubicBezTo>
                    <a:cubicBezTo>
                      <a:pt x="11" y="55"/>
                      <a:pt x="20" y="44"/>
                      <a:pt x="31" y="54"/>
                    </a:cubicBezTo>
                    <a:cubicBezTo>
                      <a:pt x="27" y="58"/>
                      <a:pt x="23" y="61"/>
                      <a:pt x="20" y="64"/>
                    </a:cubicBezTo>
                    <a:cubicBezTo>
                      <a:pt x="15" y="63"/>
                      <a:pt x="6" y="55"/>
                      <a:pt x="1" y="56"/>
                    </a:cubicBezTo>
                    <a:cubicBezTo>
                      <a:pt x="1" y="56"/>
                      <a:pt x="1" y="56"/>
                      <a:pt x="0" y="57"/>
                    </a:cubicBezTo>
                    <a:cubicBezTo>
                      <a:pt x="2" y="62"/>
                      <a:pt x="7" y="67"/>
                      <a:pt x="9" y="72"/>
                    </a:cubicBezTo>
                    <a:cubicBezTo>
                      <a:pt x="17" y="75"/>
                      <a:pt x="26" y="66"/>
                      <a:pt x="35" y="58"/>
                    </a:cubicBezTo>
                    <a:cubicBezTo>
                      <a:pt x="37" y="60"/>
                      <a:pt x="39" y="63"/>
                      <a:pt x="42" y="65"/>
                    </a:cubicBezTo>
                    <a:cubicBezTo>
                      <a:pt x="46" y="63"/>
                      <a:pt x="46" y="60"/>
                      <a:pt x="46" y="57"/>
                    </a:cubicBezTo>
                    <a:cubicBezTo>
                      <a:pt x="45" y="54"/>
                      <a:pt x="43" y="53"/>
                      <a:pt x="40" y="50"/>
                    </a:cubicBezTo>
                    <a:cubicBezTo>
                      <a:pt x="41" y="49"/>
                      <a:pt x="42" y="48"/>
                      <a:pt x="42" y="48"/>
                    </a:cubicBezTo>
                    <a:cubicBezTo>
                      <a:pt x="46" y="48"/>
                      <a:pt x="49" y="48"/>
                      <a:pt x="53" y="46"/>
                    </a:cubicBezTo>
                    <a:cubicBezTo>
                      <a:pt x="56" y="49"/>
                      <a:pt x="59" y="53"/>
                      <a:pt x="62" y="57"/>
                    </a:cubicBezTo>
                    <a:cubicBezTo>
                      <a:pt x="65" y="56"/>
                      <a:pt x="68" y="55"/>
                      <a:pt x="70" y="52"/>
                    </a:cubicBezTo>
                    <a:cubicBezTo>
                      <a:pt x="72" y="47"/>
                      <a:pt x="66" y="40"/>
                      <a:pt x="61" y="35"/>
                    </a:cubicBezTo>
                    <a:cubicBezTo>
                      <a:pt x="61" y="35"/>
                      <a:pt x="61" y="35"/>
                      <a:pt x="61" y="35"/>
                    </a:cubicBezTo>
                    <a:cubicBezTo>
                      <a:pt x="62" y="34"/>
                      <a:pt x="62" y="34"/>
                      <a:pt x="62" y="34"/>
                    </a:cubicBezTo>
                    <a:cubicBezTo>
                      <a:pt x="69" y="34"/>
                      <a:pt x="72" y="37"/>
                      <a:pt x="79" y="32"/>
                    </a:cubicBezTo>
                    <a:cubicBezTo>
                      <a:pt x="83" y="17"/>
                      <a:pt x="74" y="21"/>
                      <a:pt x="66" y="16"/>
                    </a:cubicBezTo>
                    <a:close/>
                    <a:moveTo>
                      <a:pt x="63" y="44"/>
                    </a:moveTo>
                    <a:cubicBezTo>
                      <a:pt x="63" y="44"/>
                      <a:pt x="63" y="44"/>
                      <a:pt x="63" y="44"/>
                    </a:cubicBezTo>
                    <a:cubicBezTo>
                      <a:pt x="55" y="42"/>
                      <a:pt x="46" y="34"/>
                      <a:pt x="38" y="32"/>
                    </a:cubicBezTo>
                    <a:cubicBezTo>
                      <a:pt x="43" y="28"/>
                      <a:pt x="48" y="31"/>
                      <a:pt x="54" y="32"/>
                    </a:cubicBezTo>
                    <a:cubicBezTo>
                      <a:pt x="57" y="36"/>
                      <a:pt x="60" y="40"/>
                      <a:pt x="63" y="44"/>
                    </a:cubicBezTo>
                    <a:close/>
                    <a:moveTo>
                      <a:pt x="60" y="27"/>
                    </a:moveTo>
                    <a:cubicBezTo>
                      <a:pt x="60" y="27"/>
                      <a:pt x="60" y="26"/>
                      <a:pt x="59" y="26"/>
                    </a:cubicBezTo>
                    <a:cubicBezTo>
                      <a:pt x="61" y="23"/>
                      <a:pt x="63" y="20"/>
                      <a:pt x="67" y="18"/>
                    </a:cubicBezTo>
                    <a:cubicBezTo>
                      <a:pt x="69" y="19"/>
                      <a:pt x="71" y="19"/>
                      <a:pt x="74" y="20"/>
                    </a:cubicBezTo>
                    <a:cubicBezTo>
                      <a:pt x="75" y="21"/>
                      <a:pt x="76" y="22"/>
                      <a:pt x="77" y="23"/>
                    </a:cubicBezTo>
                    <a:cubicBezTo>
                      <a:pt x="77" y="24"/>
                      <a:pt x="77" y="24"/>
                      <a:pt x="77" y="25"/>
                    </a:cubicBezTo>
                    <a:cubicBezTo>
                      <a:pt x="72" y="29"/>
                      <a:pt x="66" y="27"/>
                      <a:pt x="60" y="27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1049391" name="ïṩḻîḓé"/>
              <p:cNvSpPr/>
              <p:nvPr/>
            </p:nvSpPr>
            <p:spPr bwMode="auto">
              <a:xfrm>
                <a:off x="2728809" y="4582115"/>
                <a:ext cx="101600" cy="147638"/>
              </a:xfrm>
              <a:custGeom>
                <a:avLst/>
                <a:gdLst>
                  <a:gd name="T0" fmla="*/ 47 w 55"/>
                  <a:gd name="T1" fmla="*/ 0 h 80"/>
                  <a:gd name="T2" fmla="*/ 49 w 55"/>
                  <a:gd name="T3" fmla="*/ 20 h 80"/>
                  <a:gd name="T4" fmla="*/ 51 w 55"/>
                  <a:gd name="T5" fmla="*/ 34 h 80"/>
                  <a:gd name="T6" fmla="*/ 28 w 55"/>
                  <a:gd name="T7" fmla="*/ 38 h 80"/>
                  <a:gd name="T8" fmla="*/ 41 w 55"/>
                  <a:gd name="T9" fmla="*/ 68 h 80"/>
                  <a:gd name="T10" fmla="*/ 25 w 55"/>
                  <a:gd name="T11" fmla="*/ 74 h 80"/>
                  <a:gd name="T12" fmla="*/ 26 w 55"/>
                  <a:gd name="T13" fmla="*/ 39 h 80"/>
                  <a:gd name="T14" fmla="*/ 23 w 55"/>
                  <a:gd name="T15" fmla="*/ 40 h 80"/>
                  <a:gd name="T16" fmla="*/ 7 w 55"/>
                  <a:gd name="T17" fmla="*/ 54 h 80"/>
                  <a:gd name="T18" fmla="*/ 0 w 55"/>
                  <a:gd name="T19" fmla="*/ 43 h 80"/>
                  <a:gd name="T20" fmla="*/ 14 w 55"/>
                  <a:gd name="T21" fmla="*/ 28 h 80"/>
                  <a:gd name="T22" fmla="*/ 6 w 55"/>
                  <a:gd name="T23" fmla="*/ 15 h 80"/>
                  <a:gd name="T24" fmla="*/ 7 w 55"/>
                  <a:gd name="T25" fmla="*/ 15 h 80"/>
                  <a:gd name="T26" fmla="*/ 26 w 55"/>
                  <a:gd name="T27" fmla="*/ 18 h 80"/>
                  <a:gd name="T28" fmla="*/ 47 w 55"/>
                  <a:gd name="T29" fmla="*/ 0 h 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55" h="80">
                    <a:moveTo>
                      <a:pt x="47" y="0"/>
                    </a:moveTo>
                    <a:cubicBezTo>
                      <a:pt x="55" y="7"/>
                      <a:pt x="49" y="11"/>
                      <a:pt x="49" y="20"/>
                    </a:cubicBezTo>
                    <a:cubicBezTo>
                      <a:pt x="49" y="25"/>
                      <a:pt x="55" y="25"/>
                      <a:pt x="51" y="34"/>
                    </a:cubicBezTo>
                    <a:cubicBezTo>
                      <a:pt x="44" y="37"/>
                      <a:pt x="34" y="32"/>
                      <a:pt x="28" y="38"/>
                    </a:cubicBezTo>
                    <a:cubicBezTo>
                      <a:pt x="38" y="44"/>
                      <a:pt x="45" y="59"/>
                      <a:pt x="41" y="68"/>
                    </a:cubicBezTo>
                    <a:cubicBezTo>
                      <a:pt x="39" y="74"/>
                      <a:pt x="28" y="80"/>
                      <a:pt x="25" y="74"/>
                    </a:cubicBezTo>
                    <a:cubicBezTo>
                      <a:pt x="19" y="62"/>
                      <a:pt x="39" y="55"/>
                      <a:pt x="26" y="39"/>
                    </a:cubicBezTo>
                    <a:cubicBezTo>
                      <a:pt x="25" y="39"/>
                      <a:pt x="25" y="39"/>
                      <a:pt x="23" y="40"/>
                    </a:cubicBezTo>
                    <a:cubicBezTo>
                      <a:pt x="17" y="44"/>
                      <a:pt x="14" y="52"/>
                      <a:pt x="7" y="54"/>
                    </a:cubicBezTo>
                    <a:cubicBezTo>
                      <a:pt x="2" y="51"/>
                      <a:pt x="2" y="48"/>
                      <a:pt x="0" y="43"/>
                    </a:cubicBezTo>
                    <a:cubicBezTo>
                      <a:pt x="3" y="39"/>
                      <a:pt x="14" y="30"/>
                      <a:pt x="14" y="28"/>
                    </a:cubicBezTo>
                    <a:cubicBezTo>
                      <a:pt x="14" y="25"/>
                      <a:pt x="7" y="19"/>
                      <a:pt x="6" y="15"/>
                    </a:cubicBezTo>
                    <a:cubicBezTo>
                      <a:pt x="6" y="15"/>
                      <a:pt x="7" y="15"/>
                      <a:pt x="7" y="15"/>
                    </a:cubicBezTo>
                    <a:cubicBezTo>
                      <a:pt x="13" y="15"/>
                      <a:pt x="20" y="18"/>
                      <a:pt x="26" y="18"/>
                    </a:cubicBezTo>
                    <a:cubicBezTo>
                      <a:pt x="34" y="17"/>
                      <a:pt x="41" y="5"/>
                      <a:pt x="47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1049392" name="išḷïḓe"/>
              <p:cNvSpPr/>
              <p:nvPr/>
            </p:nvSpPr>
            <p:spPr bwMode="auto">
              <a:xfrm>
                <a:off x="2490684" y="4510678"/>
                <a:ext cx="144463" cy="160338"/>
              </a:xfrm>
              <a:custGeom>
                <a:avLst/>
                <a:gdLst>
                  <a:gd name="T0" fmla="*/ 55 w 78"/>
                  <a:gd name="T1" fmla="*/ 64 h 87"/>
                  <a:gd name="T2" fmla="*/ 62 w 78"/>
                  <a:gd name="T3" fmla="*/ 50 h 87"/>
                  <a:gd name="T4" fmla="*/ 54 w 78"/>
                  <a:gd name="T5" fmla="*/ 43 h 87"/>
                  <a:gd name="T6" fmla="*/ 69 w 78"/>
                  <a:gd name="T7" fmla="*/ 29 h 87"/>
                  <a:gd name="T8" fmla="*/ 67 w 78"/>
                  <a:gd name="T9" fmla="*/ 21 h 87"/>
                  <a:gd name="T10" fmla="*/ 70 w 78"/>
                  <a:gd name="T11" fmla="*/ 11 h 87"/>
                  <a:gd name="T12" fmla="*/ 69 w 78"/>
                  <a:gd name="T13" fmla="*/ 3 h 87"/>
                  <a:gd name="T14" fmla="*/ 64 w 78"/>
                  <a:gd name="T15" fmla="*/ 0 h 87"/>
                  <a:gd name="T16" fmla="*/ 63 w 78"/>
                  <a:gd name="T17" fmla="*/ 0 h 87"/>
                  <a:gd name="T18" fmla="*/ 63 w 78"/>
                  <a:gd name="T19" fmla="*/ 12 h 87"/>
                  <a:gd name="T20" fmla="*/ 42 w 78"/>
                  <a:gd name="T21" fmla="*/ 25 h 87"/>
                  <a:gd name="T22" fmla="*/ 42 w 78"/>
                  <a:gd name="T23" fmla="*/ 33 h 87"/>
                  <a:gd name="T24" fmla="*/ 33 w 78"/>
                  <a:gd name="T25" fmla="*/ 36 h 87"/>
                  <a:gd name="T26" fmla="*/ 39 w 78"/>
                  <a:gd name="T27" fmla="*/ 33 h 87"/>
                  <a:gd name="T28" fmla="*/ 39 w 78"/>
                  <a:gd name="T29" fmla="*/ 23 h 87"/>
                  <a:gd name="T30" fmla="*/ 36 w 78"/>
                  <a:gd name="T31" fmla="*/ 0 h 87"/>
                  <a:gd name="T32" fmla="*/ 36 w 78"/>
                  <a:gd name="T33" fmla="*/ 0 h 87"/>
                  <a:gd name="T34" fmla="*/ 36 w 78"/>
                  <a:gd name="T35" fmla="*/ 8 h 87"/>
                  <a:gd name="T36" fmla="*/ 30 w 78"/>
                  <a:gd name="T37" fmla="*/ 24 h 87"/>
                  <a:gd name="T38" fmla="*/ 1 w 78"/>
                  <a:gd name="T39" fmla="*/ 29 h 87"/>
                  <a:gd name="T40" fmla="*/ 0 w 78"/>
                  <a:gd name="T41" fmla="*/ 31 h 87"/>
                  <a:gd name="T42" fmla="*/ 18 w 78"/>
                  <a:gd name="T43" fmla="*/ 39 h 87"/>
                  <a:gd name="T44" fmla="*/ 25 w 78"/>
                  <a:gd name="T45" fmla="*/ 36 h 87"/>
                  <a:gd name="T46" fmla="*/ 25 w 78"/>
                  <a:gd name="T47" fmla="*/ 36 h 87"/>
                  <a:gd name="T48" fmla="*/ 3 w 78"/>
                  <a:gd name="T49" fmla="*/ 62 h 87"/>
                  <a:gd name="T50" fmla="*/ 5 w 78"/>
                  <a:gd name="T51" fmla="*/ 67 h 87"/>
                  <a:gd name="T52" fmla="*/ 12 w 78"/>
                  <a:gd name="T53" fmla="*/ 66 h 87"/>
                  <a:gd name="T54" fmla="*/ 22 w 78"/>
                  <a:gd name="T55" fmla="*/ 74 h 87"/>
                  <a:gd name="T56" fmla="*/ 25 w 78"/>
                  <a:gd name="T57" fmla="*/ 61 h 87"/>
                  <a:gd name="T58" fmla="*/ 30 w 78"/>
                  <a:gd name="T59" fmla="*/ 49 h 87"/>
                  <a:gd name="T60" fmla="*/ 48 w 78"/>
                  <a:gd name="T61" fmla="*/ 63 h 87"/>
                  <a:gd name="T62" fmla="*/ 24 w 78"/>
                  <a:gd name="T63" fmla="*/ 71 h 87"/>
                  <a:gd name="T64" fmla="*/ 48 w 78"/>
                  <a:gd name="T65" fmla="*/ 71 h 87"/>
                  <a:gd name="T66" fmla="*/ 51 w 78"/>
                  <a:gd name="T67" fmla="*/ 69 h 87"/>
                  <a:gd name="T68" fmla="*/ 77 w 78"/>
                  <a:gd name="T69" fmla="*/ 87 h 87"/>
                  <a:gd name="T70" fmla="*/ 78 w 78"/>
                  <a:gd name="T71" fmla="*/ 86 h 87"/>
                  <a:gd name="T72" fmla="*/ 55 w 78"/>
                  <a:gd name="T73" fmla="*/ 64 h 87"/>
                  <a:gd name="T74" fmla="*/ 15 w 78"/>
                  <a:gd name="T75" fmla="*/ 64 h 87"/>
                  <a:gd name="T76" fmla="*/ 15 w 78"/>
                  <a:gd name="T77" fmla="*/ 65 h 87"/>
                  <a:gd name="T78" fmla="*/ 11 w 78"/>
                  <a:gd name="T79" fmla="*/ 63 h 87"/>
                  <a:gd name="T80" fmla="*/ 12 w 78"/>
                  <a:gd name="T81" fmla="*/ 60 h 87"/>
                  <a:gd name="T82" fmla="*/ 15 w 78"/>
                  <a:gd name="T83" fmla="*/ 57 h 87"/>
                  <a:gd name="T84" fmla="*/ 17 w 78"/>
                  <a:gd name="T85" fmla="*/ 58 h 87"/>
                  <a:gd name="T86" fmla="*/ 15 w 78"/>
                  <a:gd name="T87" fmla="*/ 64 h 87"/>
                  <a:gd name="T88" fmla="*/ 32 w 78"/>
                  <a:gd name="T89" fmla="*/ 46 h 87"/>
                  <a:gd name="T90" fmla="*/ 44 w 78"/>
                  <a:gd name="T91" fmla="*/ 34 h 87"/>
                  <a:gd name="T92" fmla="*/ 52 w 78"/>
                  <a:gd name="T93" fmla="*/ 35 h 87"/>
                  <a:gd name="T94" fmla="*/ 46 w 78"/>
                  <a:gd name="T95" fmla="*/ 50 h 87"/>
                  <a:gd name="T96" fmla="*/ 48 w 78"/>
                  <a:gd name="T97" fmla="*/ 52 h 87"/>
                  <a:gd name="T98" fmla="*/ 56 w 78"/>
                  <a:gd name="T99" fmla="*/ 50 h 87"/>
                  <a:gd name="T100" fmla="*/ 52 w 78"/>
                  <a:gd name="T101" fmla="*/ 61 h 87"/>
                  <a:gd name="T102" fmla="*/ 32 w 78"/>
                  <a:gd name="T103" fmla="*/ 46 h 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78" h="87">
                    <a:moveTo>
                      <a:pt x="55" y="64"/>
                    </a:moveTo>
                    <a:cubicBezTo>
                      <a:pt x="58" y="60"/>
                      <a:pt x="60" y="55"/>
                      <a:pt x="62" y="50"/>
                    </a:cubicBezTo>
                    <a:cubicBezTo>
                      <a:pt x="61" y="47"/>
                      <a:pt x="58" y="44"/>
                      <a:pt x="54" y="43"/>
                    </a:cubicBezTo>
                    <a:cubicBezTo>
                      <a:pt x="57" y="36"/>
                      <a:pt x="64" y="33"/>
                      <a:pt x="69" y="29"/>
                    </a:cubicBezTo>
                    <a:cubicBezTo>
                      <a:pt x="69" y="25"/>
                      <a:pt x="67" y="24"/>
                      <a:pt x="67" y="21"/>
                    </a:cubicBezTo>
                    <a:cubicBezTo>
                      <a:pt x="68" y="18"/>
                      <a:pt x="69" y="15"/>
                      <a:pt x="70" y="11"/>
                    </a:cubicBezTo>
                    <a:cubicBezTo>
                      <a:pt x="70" y="9"/>
                      <a:pt x="69" y="6"/>
                      <a:pt x="69" y="3"/>
                    </a:cubicBezTo>
                    <a:cubicBezTo>
                      <a:pt x="68" y="2"/>
                      <a:pt x="67" y="1"/>
                      <a:pt x="64" y="0"/>
                    </a:cubicBezTo>
                    <a:cubicBezTo>
                      <a:pt x="64" y="0"/>
                      <a:pt x="63" y="0"/>
                      <a:pt x="63" y="0"/>
                    </a:cubicBezTo>
                    <a:cubicBezTo>
                      <a:pt x="61" y="5"/>
                      <a:pt x="63" y="8"/>
                      <a:pt x="63" y="12"/>
                    </a:cubicBezTo>
                    <a:cubicBezTo>
                      <a:pt x="63" y="24"/>
                      <a:pt x="52" y="26"/>
                      <a:pt x="42" y="25"/>
                    </a:cubicBezTo>
                    <a:cubicBezTo>
                      <a:pt x="41" y="28"/>
                      <a:pt x="41" y="31"/>
                      <a:pt x="42" y="33"/>
                    </a:cubicBezTo>
                    <a:cubicBezTo>
                      <a:pt x="39" y="34"/>
                      <a:pt x="36" y="35"/>
                      <a:pt x="33" y="36"/>
                    </a:cubicBezTo>
                    <a:cubicBezTo>
                      <a:pt x="34" y="32"/>
                      <a:pt x="36" y="32"/>
                      <a:pt x="39" y="33"/>
                    </a:cubicBezTo>
                    <a:cubicBezTo>
                      <a:pt x="41" y="29"/>
                      <a:pt x="38" y="27"/>
                      <a:pt x="39" y="23"/>
                    </a:cubicBezTo>
                    <a:cubicBezTo>
                      <a:pt x="39" y="14"/>
                      <a:pt x="53" y="6"/>
                      <a:pt x="36" y="0"/>
                    </a:cubicBezTo>
                    <a:cubicBezTo>
                      <a:pt x="36" y="0"/>
                      <a:pt x="36" y="0"/>
                      <a:pt x="36" y="0"/>
                    </a:cubicBezTo>
                    <a:cubicBezTo>
                      <a:pt x="35" y="3"/>
                      <a:pt x="36" y="5"/>
                      <a:pt x="36" y="8"/>
                    </a:cubicBezTo>
                    <a:cubicBezTo>
                      <a:pt x="34" y="14"/>
                      <a:pt x="32" y="19"/>
                      <a:pt x="30" y="24"/>
                    </a:cubicBezTo>
                    <a:cubicBezTo>
                      <a:pt x="22" y="26"/>
                      <a:pt x="9" y="26"/>
                      <a:pt x="1" y="29"/>
                    </a:cubicBezTo>
                    <a:cubicBezTo>
                      <a:pt x="1" y="30"/>
                      <a:pt x="1" y="30"/>
                      <a:pt x="0" y="31"/>
                    </a:cubicBezTo>
                    <a:cubicBezTo>
                      <a:pt x="1" y="35"/>
                      <a:pt x="12" y="39"/>
                      <a:pt x="18" y="39"/>
                    </a:cubicBezTo>
                    <a:cubicBezTo>
                      <a:pt x="20" y="38"/>
                      <a:pt x="22" y="37"/>
                      <a:pt x="25" y="36"/>
                    </a:cubicBezTo>
                    <a:cubicBezTo>
                      <a:pt x="25" y="36"/>
                      <a:pt x="25" y="36"/>
                      <a:pt x="25" y="36"/>
                    </a:cubicBezTo>
                    <a:cubicBezTo>
                      <a:pt x="21" y="52"/>
                      <a:pt x="9" y="50"/>
                      <a:pt x="3" y="62"/>
                    </a:cubicBezTo>
                    <a:cubicBezTo>
                      <a:pt x="4" y="63"/>
                      <a:pt x="4" y="65"/>
                      <a:pt x="5" y="67"/>
                    </a:cubicBezTo>
                    <a:cubicBezTo>
                      <a:pt x="7" y="67"/>
                      <a:pt x="10" y="67"/>
                      <a:pt x="12" y="66"/>
                    </a:cubicBezTo>
                    <a:cubicBezTo>
                      <a:pt x="17" y="68"/>
                      <a:pt x="17" y="72"/>
                      <a:pt x="22" y="74"/>
                    </a:cubicBezTo>
                    <a:cubicBezTo>
                      <a:pt x="25" y="71"/>
                      <a:pt x="24" y="66"/>
                      <a:pt x="25" y="61"/>
                    </a:cubicBezTo>
                    <a:cubicBezTo>
                      <a:pt x="25" y="56"/>
                      <a:pt x="28" y="52"/>
                      <a:pt x="30" y="49"/>
                    </a:cubicBezTo>
                    <a:cubicBezTo>
                      <a:pt x="40" y="53"/>
                      <a:pt x="42" y="58"/>
                      <a:pt x="48" y="63"/>
                    </a:cubicBezTo>
                    <a:cubicBezTo>
                      <a:pt x="44" y="74"/>
                      <a:pt x="29" y="63"/>
                      <a:pt x="24" y="71"/>
                    </a:cubicBezTo>
                    <a:cubicBezTo>
                      <a:pt x="39" y="78"/>
                      <a:pt x="36" y="74"/>
                      <a:pt x="48" y="71"/>
                    </a:cubicBezTo>
                    <a:cubicBezTo>
                      <a:pt x="49" y="70"/>
                      <a:pt x="50" y="70"/>
                      <a:pt x="51" y="69"/>
                    </a:cubicBezTo>
                    <a:cubicBezTo>
                      <a:pt x="58" y="79"/>
                      <a:pt x="58" y="87"/>
                      <a:pt x="77" y="87"/>
                    </a:cubicBezTo>
                    <a:cubicBezTo>
                      <a:pt x="77" y="87"/>
                      <a:pt x="78" y="86"/>
                      <a:pt x="78" y="86"/>
                    </a:cubicBezTo>
                    <a:cubicBezTo>
                      <a:pt x="74" y="76"/>
                      <a:pt x="60" y="73"/>
                      <a:pt x="55" y="64"/>
                    </a:cubicBezTo>
                    <a:close/>
                    <a:moveTo>
                      <a:pt x="15" y="64"/>
                    </a:moveTo>
                    <a:cubicBezTo>
                      <a:pt x="15" y="65"/>
                      <a:pt x="15" y="65"/>
                      <a:pt x="15" y="65"/>
                    </a:cubicBezTo>
                    <a:cubicBezTo>
                      <a:pt x="14" y="64"/>
                      <a:pt x="13" y="64"/>
                      <a:pt x="11" y="63"/>
                    </a:cubicBezTo>
                    <a:cubicBezTo>
                      <a:pt x="11" y="62"/>
                      <a:pt x="12" y="61"/>
                      <a:pt x="12" y="60"/>
                    </a:cubicBezTo>
                    <a:cubicBezTo>
                      <a:pt x="13" y="59"/>
                      <a:pt x="14" y="58"/>
                      <a:pt x="15" y="57"/>
                    </a:cubicBezTo>
                    <a:cubicBezTo>
                      <a:pt x="16" y="57"/>
                      <a:pt x="16" y="58"/>
                      <a:pt x="17" y="58"/>
                    </a:cubicBezTo>
                    <a:cubicBezTo>
                      <a:pt x="16" y="60"/>
                      <a:pt x="16" y="62"/>
                      <a:pt x="15" y="64"/>
                    </a:cubicBezTo>
                    <a:close/>
                    <a:moveTo>
                      <a:pt x="32" y="46"/>
                    </a:moveTo>
                    <a:cubicBezTo>
                      <a:pt x="35" y="43"/>
                      <a:pt x="44" y="37"/>
                      <a:pt x="44" y="34"/>
                    </a:cubicBezTo>
                    <a:cubicBezTo>
                      <a:pt x="47" y="34"/>
                      <a:pt x="49" y="35"/>
                      <a:pt x="52" y="35"/>
                    </a:cubicBezTo>
                    <a:cubicBezTo>
                      <a:pt x="50" y="40"/>
                      <a:pt x="45" y="44"/>
                      <a:pt x="46" y="50"/>
                    </a:cubicBezTo>
                    <a:cubicBezTo>
                      <a:pt x="46" y="51"/>
                      <a:pt x="47" y="51"/>
                      <a:pt x="48" y="52"/>
                    </a:cubicBezTo>
                    <a:cubicBezTo>
                      <a:pt x="50" y="51"/>
                      <a:pt x="53" y="49"/>
                      <a:pt x="56" y="50"/>
                    </a:cubicBezTo>
                    <a:cubicBezTo>
                      <a:pt x="55" y="54"/>
                      <a:pt x="53" y="57"/>
                      <a:pt x="52" y="61"/>
                    </a:cubicBezTo>
                    <a:cubicBezTo>
                      <a:pt x="45" y="56"/>
                      <a:pt x="44" y="49"/>
                      <a:pt x="32" y="46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1049393" name="ï$ľíḍe"/>
              <p:cNvSpPr/>
              <p:nvPr/>
            </p:nvSpPr>
            <p:spPr bwMode="auto">
              <a:xfrm>
                <a:off x="2255734" y="4491628"/>
                <a:ext cx="136525" cy="174625"/>
              </a:xfrm>
              <a:custGeom>
                <a:avLst/>
                <a:gdLst>
                  <a:gd name="T0" fmla="*/ 74 w 74"/>
                  <a:gd name="T1" fmla="*/ 41 h 94"/>
                  <a:gd name="T2" fmla="*/ 64 w 74"/>
                  <a:gd name="T3" fmla="*/ 35 h 94"/>
                  <a:gd name="T4" fmla="*/ 51 w 74"/>
                  <a:gd name="T5" fmla="*/ 5 h 94"/>
                  <a:gd name="T6" fmla="*/ 58 w 74"/>
                  <a:gd name="T7" fmla="*/ 39 h 94"/>
                  <a:gd name="T8" fmla="*/ 47 w 74"/>
                  <a:gd name="T9" fmla="*/ 47 h 94"/>
                  <a:gd name="T10" fmla="*/ 55 w 74"/>
                  <a:gd name="T11" fmla="*/ 34 h 94"/>
                  <a:gd name="T12" fmla="*/ 47 w 74"/>
                  <a:gd name="T13" fmla="*/ 29 h 94"/>
                  <a:gd name="T14" fmla="*/ 54 w 74"/>
                  <a:gd name="T15" fmla="*/ 22 h 94"/>
                  <a:gd name="T16" fmla="*/ 54 w 74"/>
                  <a:gd name="T17" fmla="*/ 20 h 94"/>
                  <a:gd name="T18" fmla="*/ 54 w 74"/>
                  <a:gd name="T19" fmla="*/ 19 h 94"/>
                  <a:gd name="T20" fmla="*/ 41 w 74"/>
                  <a:gd name="T21" fmla="*/ 19 h 94"/>
                  <a:gd name="T22" fmla="*/ 44 w 74"/>
                  <a:gd name="T23" fmla="*/ 22 h 94"/>
                  <a:gd name="T24" fmla="*/ 44 w 74"/>
                  <a:gd name="T25" fmla="*/ 32 h 94"/>
                  <a:gd name="T26" fmla="*/ 48 w 74"/>
                  <a:gd name="T27" fmla="*/ 37 h 94"/>
                  <a:gd name="T28" fmla="*/ 40 w 74"/>
                  <a:gd name="T29" fmla="*/ 58 h 94"/>
                  <a:gd name="T30" fmla="*/ 44 w 74"/>
                  <a:gd name="T31" fmla="*/ 61 h 94"/>
                  <a:gd name="T32" fmla="*/ 59 w 74"/>
                  <a:gd name="T33" fmla="*/ 46 h 94"/>
                  <a:gd name="T34" fmla="*/ 59 w 74"/>
                  <a:gd name="T35" fmla="*/ 46 h 94"/>
                  <a:gd name="T36" fmla="*/ 66 w 74"/>
                  <a:gd name="T37" fmla="*/ 93 h 94"/>
                  <a:gd name="T38" fmla="*/ 68 w 74"/>
                  <a:gd name="T39" fmla="*/ 93 h 94"/>
                  <a:gd name="T40" fmla="*/ 65 w 74"/>
                  <a:gd name="T41" fmla="*/ 42 h 94"/>
                  <a:gd name="T42" fmla="*/ 73 w 74"/>
                  <a:gd name="T43" fmla="*/ 41 h 94"/>
                  <a:gd name="T44" fmla="*/ 74 w 74"/>
                  <a:gd name="T45" fmla="*/ 41 h 94"/>
                  <a:gd name="T46" fmla="*/ 43 w 74"/>
                  <a:gd name="T47" fmla="*/ 42 h 94"/>
                  <a:gd name="T48" fmla="*/ 35 w 74"/>
                  <a:gd name="T49" fmla="*/ 48 h 94"/>
                  <a:gd name="T50" fmla="*/ 39 w 74"/>
                  <a:gd name="T51" fmla="*/ 38 h 94"/>
                  <a:gd name="T52" fmla="*/ 37 w 74"/>
                  <a:gd name="T53" fmla="*/ 29 h 94"/>
                  <a:gd name="T54" fmla="*/ 40 w 74"/>
                  <a:gd name="T55" fmla="*/ 27 h 94"/>
                  <a:gd name="T56" fmla="*/ 34 w 74"/>
                  <a:gd name="T57" fmla="*/ 16 h 94"/>
                  <a:gd name="T58" fmla="*/ 32 w 74"/>
                  <a:gd name="T59" fmla="*/ 15 h 94"/>
                  <a:gd name="T60" fmla="*/ 4 w 74"/>
                  <a:gd name="T61" fmla="*/ 46 h 94"/>
                  <a:gd name="T62" fmla="*/ 30 w 74"/>
                  <a:gd name="T63" fmla="*/ 29 h 94"/>
                  <a:gd name="T64" fmla="*/ 8 w 74"/>
                  <a:gd name="T65" fmla="*/ 52 h 94"/>
                  <a:gd name="T66" fmla="*/ 0 w 74"/>
                  <a:gd name="T67" fmla="*/ 56 h 94"/>
                  <a:gd name="T68" fmla="*/ 3 w 74"/>
                  <a:gd name="T69" fmla="*/ 61 h 94"/>
                  <a:gd name="T70" fmla="*/ 23 w 74"/>
                  <a:gd name="T71" fmla="*/ 54 h 94"/>
                  <a:gd name="T72" fmla="*/ 25 w 74"/>
                  <a:gd name="T73" fmla="*/ 53 h 94"/>
                  <a:gd name="T74" fmla="*/ 25 w 74"/>
                  <a:gd name="T75" fmla="*/ 53 h 94"/>
                  <a:gd name="T76" fmla="*/ 20 w 74"/>
                  <a:gd name="T77" fmla="*/ 72 h 94"/>
                  <a:gd name="T78" fmla="*/ 25 w 74"/>
                  <a:gd name="T79" fmla="*/ 76 h 94"/>
                  <a:gd name="T80" fmla="*/ 26 w 74"/>
                  <a:gd name="T81" fmla="*/ 76 h 94"/>
                  <a:gd name="T82" fmla="*/ 30 w 74"/>
                  <a:gd name="T83" fmla="*/ 67 h 94"/>
                  <a:gd name="T84" fmla="*/ 31 w 74"/>
                  <a:gd name="T85" fmla="*/ 66 h 94"/>
                  <a:gd name="T86" fmla="*/ 32 w 74"/>
                  <a:gd name="T87" fmla="*/ 75 h 94"/>
                  <a:gd name="T88" fmla="*/ 35 w 74"/>
                  <a:gd name="T89" fmla="*/ 76 h 94"/>
                  <a:gd name="T90" fmla="*/ 38 w 74"/>
                  <a:gd name="T91" fmla="*/ 76 h 94"/>
                  <a:gd name="T92" fmla="*/ 35 w 74"/>
                  <a:gd name="T93" fmla="*/ 61 h 94"/>
                  <a:gd name="T94" fmla="*/ 43 w 74"/>
                  <a:gd name="T95" fmla="*/ 42 h 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74" h="94">
                    <a:moveTo>
                      <a:pt x="74" y="41"/>
                    </a:moveTo>
                    <a:cubicBezTo>
                      <a:pt x="73" y="36"/>
                      <a:pt x="70" y="34"/>
                      <a:pt x="64" y="35"/>
                    </a:cubicBezTo>
                    <a:cubicBezTo>
                      <a:pt x="63" y="24"/>
                      <a:pt x="67" y="0"/>
                      <a:pt x="51" y="5"/>
                    </a:cubicBezTo>
                    <a:cubicBezTo>
                      <a:pt x="50" y="9"/>
                      <a:pt x="61" y="31"/>
                      <a:pt x="58" y="39"/>
                    </a:cubicBezTo>
                    <a:cubicBezTo>
                      <a:pt x="58" y="39"/>
                      <a:pt x="47" y="47"/>
                      <a:pt x="47" y="47"/>
                    </a:cubicBezTo>
                    <a:cubicBezTo>
                      <a:pt x="48" y="41"/>
                      <a:pt x="53" y="39"/>
                      <a:pt x="55" y="34"/>
                    </a:cubicBezTo>
                    <a:cubicBezTo>
                      <a:pt x="56" y="30"/>
                      <a:pt x="49" y="31"/>
                      <a:pt x="47" y="29"/>
                    </a:cubicBezTo>
                    <a:cubicBezTo>
                      <a:pt x="48" y="26"/>
                      <a:pt x="51" y="23"/>
                      <a:pt x="54" y="22"/>
                    </a:cubicBezTo>
                    <a:cubicBezTo>
                      <a:pt x="54" y="21"/>
                      <a:pt x="54" y="21"/>
                      <a:pt x="54" y="20"/>
                    </a:cubicBezTo>
                    <a:cubicBezTo>
                      <a:pt x="54" y="20"/>
                      <a:pt x="54" y="19"/>
                      <a:pt x="54" y="19"/>
                    </a:cubicBezTo>
                    <a:cubicBezTo>
                      <a:pt x="50" y="17"/>
                      <a:pt x="45" y="17"/>
                      <a:pt x="41" y="19"/>
                    </a:cubicBezTo>
                    <a:cubicBezTo>
                      <a:pt x="41" y="22"/>
                      <a:pt x="42" y="22"/>
                      <a:pt x="44" y="22"/>
                    </a:cubicBezTo>
                    <a:cubicBezTo>
                      <a:pt x="44" y="26"/>
                      <a:pt x="44" y="29"/>
                      <a:pt x="44" y="32"/>
                    </a:cubicBezTo>
                    <a:cubicBezTo>
                      <a:pt x="45" y="34"/>
                      <a:pt x="47" y="35"/>
                      <a:pt x="48" y="37"/>
                    </a:cubicBezTo>
                    <a:cubicBezTo>
                      <a:pt x="46" y="41"/>
                      <a:pt x="35" y="51"/>
                      <a:pt x="40" y="58"/>
                    </a:cubicBezTo>
                    <a:cubicBezTo>
                      <a:pt x="41" y="60"/>
                      <a:pt x="42" y="60"/>
                      <a:pt x="44" y="61"/>
                    </a:cubicBezTo>
                    <a:cubicBezTo>
                      <a:pt x="49" y="55"/>
                      <a:pt x="51" y="50"/>
                      <a:pt x="59" y="46"/>
                    </a:cubicBezTo>
                    <a:cubicBezTo>
                      <a:pt x="59" y="46"/>
                      <a:pt x="59" y="46"/>
                      <a:pt x="59" y="46"/>
                    </a:cubicBezTo>
                    <a:cubicBezTo>
                      <a:pt x="61" y="60"/>
                      <a:pt x="59" y="83"/>
                      <a:pt x="66" y="93"/>
                    </a:cubicBezTo>
                    <a:cubicBezTo>
                      <a:pt x="67" y="94"/>
                      <a:pt x="67" y="93"/>
                      <a:pt x="68" y="93"/>
                    </a:cubicBezTo>
                    <a:cubicBezTo>
                      <a:pt x="68" y="78"/>
                      <a:pt x="67" y="60"/>
                      <a:pt x="65" y="42"/>
                    </a:cubicBezTo>
                    <a:cubicBezTo>
                      <a:pt x="68" y="42"/>
                      <a:pt x="72" y="42"/>
                      <a:pt x="73" y="41"/>
                    </a:cubicBezTo>
                    <a:cubicBezTo>
                      <a:pt x="74" y="41"/>
                      <a:pt x="74" y="41"/>
                      <a:pt x="74" y="41"/>
                    </a:cubicBezTo>
                    <a:close/>
                    <a:moveTo>
                      <a:pt x="43" y="42"/>
                    </a:moveTo>
                    <a:cubicBezTo>
                      <a:pt x="39" y="44"/>
                      <a:pt x="38" y="46"/>
                      <a:pt x="35" y="48"/>
                    </a:cubicBezTo>
                    <a:cubicBezTo>
                      <a:pt x="35" y="42"/>
                      <a:pt x="39" y="42"/>
                      <a:pt x="39" y="38"/>
                    </a:cubicBezTo>
                    <a:cubicBezTo>
                      <a:pt x="40" y="35"/>
                      <a:pt x="37" y="33"/>
                      <a:pt x="37" y="29"/>
                    </a:cubicBezTo>
                    <a:cubicBezTo>
                      <a:pt x="38" y="28"/>
                      <a:pt x="39" y="28"/>
                      <a:pt x="40" y="27"/>
                    </a:cubicBezTo>
                    <a:cubicBezTo>
                      <a:pt x="41" y="24"/>
                      <a:pt x="36" y="16"/>
                      <a:pt x="34" y="16"/>
                    </a:cubicBezTo>
                    <a:cubicBezTo>
                      <a:pt x="33" y="16"/>
                      <a:pt x="32" y="15"/>
                      <a:pt x="32" y="15"/>
                    </a:cubicBezTo>
                    <a:cubicBezTo>
                      <a:pt x="22" y="28"/>
                      <a:pt x="10" y="30"/>
                      <a:pt x="4" y="46"/>
                    </a:cubicBezTo>
                    <a:cubicBezTo>
                      <a:pt x="13" y="41"/>
                      <a:pt x="17" y="31"/>
                      <a:pt x="30" y="29"/>
                    </a:cubicBezTo>
                    <a:cubicBezTo>
                      <a:pt x="29" y="39"/>
                      <a:pt x="16" y="48"/>
                      <a:pt x="8" y="52"/>
                    </a:cubicBezTo>
                    <a:cubicBezTo>
                      <a:pt x="4" y="54"/>
                      <a:pt x="2" y="52"/>
                      <a:pt x="0" y="56"/>
                    </a:cubicBezTo>
                    <a:cubicBezTo>
                      <a:pt x="0" y="59"/>
                      <a:pt x="1" y="60"/>
                      <a:pt x="3" y="61"/>
                    </a:cubicBezTo>
                    <a:cubicBezTo>
                      <a:pt x="10" y="63"/>
                      <a:pt x="22" y="58"/>
                      <a:pt x="23" y="54"/>
                    </a:cubicBezTo>
                    <a:cubicBezTo>
                      <a:pt x="24" y="54"/>
                      <a:pt x="24" y="53"/>
                      <a:pt x="25" y="53"/>
                    </a:cubicBezTo>
                    <a:cubicBezTo>
                      <a:pt x="25" y="53"/>
                      <a:pt x="25" y="53"/>
                      <a:pt x="25" y="53"/>
                    </a:cubicBezTo>
                    <a:cubicBezTo>
                      <a:pt x="23" y="59"/>
                      <a:pt x="22" y="66"/>
                      <a:pt x="20" y="72"/>
                    </a:cubicBezTo>
                    <a:cubicBezTo>
                      <a:pt x="21" y="74"/>
                      <a:pt x="23" y="75"/>
                      <a:pt x="25" y="76"/>
                    </a:cubicBezTo>
                    <a:cubicBezTo>
                      <a:pt x="25" y="76"/>
                      <a:pt x="26" y="76"/>
                      <a:pt x="26" y="76"/>
                    </a:cubicBezTo>
                    <a:cubicBezTo>
                      <a:pt x="28" y="73"/>
                      <a:pt x="29" y="70"/>
                      <a:pt x="30" y="67"/>
                    </a:cubicBezTo>
                    <a:cubicBezTo>
                      <a:pt x="31" y="67"/>
                      <a:pt x="31" y="67"/>
                      <a:pt x="31" y="66"/>
                    </a:cubicBezTo>
                    <a:cubicBezTo>
                      <a:pt x="32" y="69"/>
                      <a:pt x="32" y="72"/>
                      <a:pt x="32" y="75"/>
                    </a:cubicBezTo>
                    <a:cubicBezTo>
                      <a:pt x="33" y="75"/>
                      <a:pt x="34" y="76"/>
                      <a:pt x="35" y="76"/>
                    </a:cubicBezTo>
                    <a:cubicBezTo>
                      <a:pt x="36" y="76"/>
                      <a:pt x="37" y="76"/>
                      <a:pt x="38" y="76"/>
                    </a:cubicBezTo>
                    <a:cubicBezTo>
                      <a:pt x="37" y="71"/>
                      <a:pt x="36" y="66"/>
                      <a:pt x="35" y="61"/>
                    </a:cubicBezTo>
                    <a:cubicBezTo>
                      <a:pt x="38" y="54"/>
                      <a:pt x="40" y="48"/>
                      <a:pt x="43" y="42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1049394" name="î$ḻîḑe"/>
              <p:cNvSpPr/>
              <p:nvPr/>
            </p:nvSpPr>
            <p:spPr bwMode="auto">
              <a:xfrm>
                <a:off x="2055709" y="4566240"/>
                <a:ext cx="136525" cy="150813"/>
              </a:xfrm>
              <a:custGeom>
                <a:avLst/>
                <a:gdLst>
                  <a:gd name="T0" fmla="*/ 55 w 74"/>
                  <a:gd name="T1" fmla="*/ 53 h 82"/>
                  <a:gd name="T2" fmla="*/ 54 w 74"/>
                  <a:gd name="T3" fmla="*/ 51 h 82"/>
                  <a:gd name="T4" fmla="*/ 57 w 74"/>
                  <a:gd name="T5" fmla="*/ 49 h 82"/>
                  <a:gd name="T6" fmla="*/ 56 w 74"/>
                  <a:gd name="T7" fmla="*/ 45 h 82"/>
                  <a:gd name="T8" fmla="*/ 52 w 74"/>
                  <a:gd name="T9" fmla="*/ 45 h 82"/>
                  <a:gd name="T10" fmla="*/ 51 w 74"/>
                  <a:gd name="T11" fmla="*/ 44 h 82"/>
                  <a:gd name="T12" fmla="*/ 60 w 74"/>
                  <a:gd name="T13" fmla="*/ 32 h 82"/>
                  <a:gd name="T14" fmla="*/ 60 w 74"/>
                  <a:gd name="T15" fmla="*/ 30 h 82"/>
                  <a:gd name="T16" fmla="*/ 34 w 74"/>
                  <a:gd name="T17" fmla="*/ 38 h 82"/>
                  <a:gd name="T18" fmla="*/ 33 w 74"/>
                  <a:gd name="T19" fmla="*/ 38 h 82"/>
                  <a:gd name="T20" fmla="*/ 60 w 74"/>
                  <a:gd name="T21" fmla="*/ 16 h 82"/>
                  <a:gd name="T22" fmla="*/ 61 w 74"/>
                  <a:gd name="T23" fmla="*/ 10 h 82"/>
                  <a:gd name="T24" fmla="*/ 42 w 74"/>
                  <a:gd name="T25" fmla="*/ 11 h 82"/>
                  <a:gd name="T26" fmla="*/ 27 w 74"/>
                  <a:gd name="T27" fmla="*/ 0 h 82"/>
                  <a:gd name="T28" fmla="*/ 24 w 74"/>
                  <a:gd name="T29" fmla="*/ 0 h 82"/>
                  <a:gd name="T30" fmla="*/ 29 w 74"/>
                  <a:gd name="T31" fmla="*/ 21 h 82"/>
                  <a:gd name="T32" fmla="*/ 11 w 74"/>
                  <a:gd name="T33" fmla="*/ 39 h 82"/>
                  <a:gd name="T34" fmla="*/ 1 w 74"/>
                  <a:gd name="T35" fmla="*/ 44 h 82"/>
                  <a:gd name="T36" fmla="*/ 0 w 74"/>
                  <a:gd name="T37" fmla="*/ 47 h 82"/>
                  <a:gd name="T38" fmla="*/ 35 w 74"/>
                  <a:gd name="T39" fmla="*/ 26 h 82"/>
                  <a:gd name="T40" fmla="*/ 35 w 74"/>
                  <a:gd name="T41" fmla="*/ 26 h 82"/>
                  <a:gd name="T42" fmla="*/ 30 w 74"/>
                  <a:gd name="T43" fmla="*/ 48 h 82"/>
                  <a:gd name="T44" fmla="*/ 40 w 74"/>
                  <a:gd name="T45" fmla="*/ 57 h 82"/>
                  <a:gd name="T46" fmla="*/ 35 w 74"/>
                  <a:gd name="T47" fmla="*/ 78 h 82"/>
                  <a:gd name="T48" fmla="*/ 45 w 74"/>
                  <a:gd name="T49" fmla="*/ 82 h 82"/>
                  <a:gd name="T50" fmla="*/ 47 w 74"/>
                  <a:gd name="T51" fmla="*/ 80 h 82"/>
                  <a:gd name="T52" fmla="*/ 46 w 74"/>
                  <a:gd name="T53" fmla="*/ 67 h 82"/>
                  <a:gd name="T54" fmla="*/ 47 w 74"/>
                  <a:gd name="T55" fmla="*/ 66 h 82"/>
                  <a:gd name="T56" fmla="*/ 50 w 74"/>
                  <a:gd name="T57" fmla="*/ 73 h 82"/>
                  <a:gd name="T58" fmla="*/ 58 w 74"/>
                  <a:gd name="T59" fmla="*/ 79 h 82"/>
                  <a:gd name="T60" fmla="*/ 59 w 74"/>
                  <a:gd name="T61" fmla="*/ 79 h 82"/>
                  <a:gd name="T62" fmla="*/ 53 w 74"/>
                  <a:gd name="T63" fmla="*/ 57 h 82"/>
                  <a:gd name="T64" fmla="*/ 56 w 74"/>
                  <a:gd name="T65" fmla="*/ 55 h 82"/>
                  <a:gd name="T66" fmla="*/ 56 w 74"/>
                  <a:gd name="T67" fmla="*/ 55 h 82"/>
                  <a:gd name="T68" fmla="*/ 69 w 74"/>
                  <a:gd name="T69" fmla="*/ 69 h 82"/>
                  <a:gd name="T70" fmla="*/ 74 w 74"/>
                  <a:gd name="T71" fmla="*/ 64 h 82"/>
                  <a:gd name="T72" fmla="*/ 55 w 74"/>
                  <a:gd name="T73" fmla="*/ 53 h 82"/>
                  <a:gd name="T74" fmla="*/ 40 w 74"/>
                  <a:gd name="T75" fmla="*/ 46 h 82"/>
                  <a:gd name="T76" fmla="*/ 39 w 74"/>
                  <a:gd name="T77" fmla="*/ 46 h 82"/>
                  <a:gd name="T78" fmla="*/ 38 w 74"/>
                  <a:gd name="T79" fmla="*/ 46 h 82"/>
                  <a:gd name="T80" fmla="*/ 37 w 74"/>
                  <a:gd name="T81" fmla="*/ 44 h 82"/>
                  <a:gd name="T82" fmla="*/ 44 w 74"/>
                  <a:gd name="T83" fmla="*/ 36 h 82"/>
                  <a:gd name="T84" fmla="*/ 46 w 74"/>
                  <a:gd name="T85" fmla="*/ 35 h 82"/>
                  <a:gd name="T86" fmla="*/ 46 w 74"/>
                  <a:gd name="T87" fmla="*/ 35 h 82"/>
                  <a:gd name="T88" fmla="*/ 40 w 74"/>
                  <a:gd name="T89" fmla="*/ 46 h 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74" h="82">
                    <a:moveTo>
                      <a:pt x="55" y="53"/>
                    </a:moveTo>
                    <a:cubicBezTo>
                      <a:pt x="55" y="53"/>
                      <a:pt x="54" y="52"/>
                      <a:pt x="54" y="51"/>
                    </a:cubicBezTo>
                    <a:cubicBezTo>
                      <a:pt x="55" y="51"/>
                      <a:pt x="56" y="50"/>
                      <a:pt x="57" y="49"/>
                    </a:cubicBezTo>
                    <a:cubicBezTo>
                      <a:pt x="57" y="48"/>
                      <a:pt x="56" y="47"/>
                      <a:pt x="56" y="45"/>
                    </a:cubicBezTo>
                    <a:cubicBezTo>
                      <a:pt x="54" y="45"/>
                      <a:pt x="53" y="45"/>
                      <a:pt x="52" y="45"/>
                    </a:cubicBezTo>
                    <a:cubicBezTo>
                      <a:pt x="51" y="45"/>
                      <a:pt x="51" y="44"/>
                      <a:pt x="51" y="44"/>
                    </a:cubicBezTo>
                    <a:cubicBezTo>
                      <a:pt x="53" y="40"/>
                      <a:pt x="59" y="36"/>
                      <a:pt x="60" y="32"/>
                    </a:cubicBezTo>
                    <a:cubicBezTo>
                      <a:pt x="60" y="31"/>
                      <a:pt x="60" y="31"/>
                      <a:pt x="60" y="30"/>
                    </a:cubicBezTo>
                    <a:cubicBezTo>
                      <a:pt x="50" y="21"/>
                      <a:pt x="41" y="31"/>
                      <a:pt x="34" y="38"/>
                    </a:cubicBezTo>
                    <a:cubicBezTo>
                      <a:pt x="33" y="38"/>
                      <a:pt x="33" y="38"/>
                      <a:pt x="33" y="38"/>
                    </a:cubicBezTo>
                    <a:cubicBezTo>
                      <a:pt x="34" y="30"/>
                      <a:pt x="48" y="16"/>
                      <a:pt x="60" y="16"/>
                    </a:cubicBezTo>
                    <a:cubicBezTo>
                      <a:pt x="61" y="14"/>
                      <a:pt x="61" y="12"/>
                      <a:pt x="61" y="10"/>
                    </a:cubicBezTo>
                    <a:cubicBezTo>
                      <a:pt x="50" y="3"/>
                      <a:pt x="52" y="11"/>
                      <a:pt x="42" y="11"/>
                    </a:cubicBezTo>
                    <a:cubicBezTo>
                      <a:pt x="38" y="10"/>
                      <a:pt x="32" y="1"/>
                      <a:pt x="27" y="0"/>
                    </a:cubicBezTo>
                    <a:cubicBezTo>
                      <a:pt x="26" y="0"/>
                      <a:pt x="25" y="0"/>
                      <a:pt x="24" y="0"/>
                    </a:cubicBezTo>
                    <a:cubicBezTo>
                      <a:pt x="21" y="5"/>
                      <a:pt x="30" y="14"/>
                      <a:pt x="29" y="21"/>
                    </a:cubicBezTo>
                    <a:cubicBezTo>
                      <a:pt x="19" y="27"/>
                      <a:pt x="17" y="33"/>
                      <a:pt x="11" y="39"/>
                    </a:cubicBezTo>
                    <a:cubicBezTo>
                      <a:pt x="8" y="42"/>
                      <a:pt x="4" y="42"/>
                      <a:pt x="1" y="44"/>
                    </a:cubicBezTo>
                    <a:cubicBezTo>
                      <a:pt x="1" y="45"/>
                      <a:pt x="0" y="46"/>
                      <a:pt x="0" y="47"/>
                    </a:cubicBezTo>
                    <a:cubicBezTo>
                      <a:pt x="11" y="69"/>
                      <a:pt x="23" y="30"/>
                      <a:pt x="35" y="26"/>
                    </a:cubicBezTo>
                    <a:cubicBezTo>
                      <a:pt x="35" y="26"/>
                      <a:pt x="35" y="26"/>
                      <a:pt x="35" y="26"/>
                    </a:cubicBezTo>
                    <a:cubicBezTo>
                      <a:pt x="33" y="33"/>
                      <a:pt x="28" y="39"/>
                      <a:pt x="30" y="48"/>
                    </a:cubicBezTo>
                    <a:cubicBezTo>
                      <a:pt x="30" y="51"/>
                      <a:pt x="37" y="56"/>
                      <a:pt x="40" y="57"/>
                    </a:cubicBezTo>
                    <a:cubicBezTo>
                      <a:pt x="37" y="64"/>
                      <a:pt x="32" y="69"/>
                      <a:pt x="35" y="78"/>
                    </a:cubicBezTo>
                    <a:cubicBezTo>
                      <a:pt x="39" y="79"/>
                      <a:pt x="42" y="80"/>
                      <a:pt x="45" y="82"/>
                    </a:cubicBezTo>
                    <a:cubicBezTo>
                      <a:pt x="46" y="81"/>
                      <a:pt x="46" y="81"/>
                      <a:pt x="47" y="80"/>
                    </a:cubicBezTo>
                    <a:cubicBezTo>
                      <a:pt x="49" y="77"/>
                      <a:pt x="45" y="70"/>
                      <a:pt x="46" y="67"/>
                    </a:cubicBezTo>
                    <a:cubicBezTo>
                      <a:pt x="46" y="66"/>
                      <a:pt x="46" y="66"/>
                      <a:pt x="47" y="66"/>
                    </a:cubicBezTo>
                    <a:cubicBezTo>
                      <a:pt x="48" y="67"/>
                      <a:pt x="49" y="71"/>
                      <a:pt x="50" y="73"/>
                    </a:cubicBezTo>
                    <a:cubicBezTo>
                      <a:pt x="52" y="76"/>
                      <a:pt x="55" y="77"/>
                      <a:pt x="58" y="79"/>
                    </a:cubicBezTo>
                    <a:cubicBezTo>
                      <a:pt x="58" y="79"/>
                      <a:pt x="58" y="79"/>
                      <a:pt x="59" y="79"/>
                    </a:cubicBezTo>
                    <a:cubicBezTo>
                      <a:pt x="60" y="72"/>
                      <a:pt x="53" y="64"/>
                      <a:pt x="53" y="57"/>
                    </a:cubicBezTo>
                    <a:cubicBezTo>
                      <a:pt x="54" y="56"/>
                      <a:pt x="55" y="56"/>
                      <a:pt x="56" y="55"/>
                    </a:cubicBezTo>
                    <a:cubicBezTo>
                      <a:pt x="56" y="55"/>
                      <a:pt x="56" y="55"/>
                      <a:pt x="56" y="55"/>
                    </a:cubicBezTo>
                    <a:cubicBezTo>
                      <a:pt x="63" y="60"/>
                      <a:pt x="59" y="67"/>
                      <a:pt x="69" y="69"/>
                    </a:cubicBezTo>
                    <a:cubicBezTo>
                      <a:pt x="71" y="67"/>
                      <a:pt x="72" y="66"/>
                      <a:pt x="74" y="64"/>
                    </a:cubicBezTo>
                    <a:cubicBezTo>
                      <a:pt x="71" y="56"/>
                      <a:pt x="63" y="51"/>
                      <a:pt x="55" y="53"/>
                    </a:cubicBezTo>
                    <a:close/>
                    <a:moveTo>
                      <a:pt x="40" y="46"/>
                    </a:moveTo>
                    <a:cubicBezTo>
                      <a:pt x="40" y="46"/>
                      <a:pt x="39" y="46"/>
                      <a:pt x="39" y="46"/>
                    </a:cubicBezTo>
                    <a:cubicBezTo>
                      <a:pt x="38" y="46"/>
                      <a:pt x="38" y="46"/>
                      <a:pt x="38" y="46"/>
                    </a:cubicBezTo>
                    <a:cubicBezTo>
                      <a:pt x="38" y="45"/>
                      <a:pt x="37" y="45"/>
                      <a:pt x="37" y="44"/>
                    </a:cubicBezTo>
                    <a:cubicBezTo>
                      <a:pt x="39" y="41"/>
                      <a:pt x="42" y="39"/>
                      <a:pt x="44" y="36"/>
                    </a:cubicBezTo>
                    <a:cubicBezTo>
                      <a:pt x="45" y="36"/>
                      <a:pt x="45" y="35"/>
                      <a:pt x="46" y="35"/>
                    </a:cubicBezTo>
                    <a:cubicBezTo>
                      <a:pt x="46" y="35"/>
                      <a:pt x="46" y="35"/>
                      <a:pt x="46" y="35"/>
                    </a:cubicBezTo>
                    <a:cubicBezTo>
                      <a:pt x="44" y="39"/>
                      <a:pt x="42" y="42"/>
                      <a:pt x="40" y="46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1049395" name="ïşḻíḍe"/>
              <p:cNvSpPr/>
              <p:nvPr/>
            </p:nvSpPr>
            <p:spPr bwMode="auto">
              <a:xfrm>
                <a:off x="1882672" y="4669428"/>
                <a:ext cx="160338" cy="169863"/>
              </a:xfrm>
              <a:custGeom>
                <a:avLst/>
                <a:gdLst>
                  <a:gd name="T0" fmla="*/ 29 w 87"/>
                  <a:gd name="T1" fmla="*/ 8 h 92"/>
                  <a:gd name="T2" fmla="*/ 52 w 87"/>
                  <a:gd name="T3" fmla="*/ 17 h 92"/>
                  <a:gd name="T4" fmla="*/ 61 w 87"/>
                  <a:gd name="T5" fmla="*/ 16 h 92"/>
                  <a:gd name="T6" fmla="*/ 62 w 87"/>
                  <a:gd name="T7" fmla="*/ 17 h 92"/>
                  <a:gd name="T8" fmla="*/ 69 w 87"/>
                  <a:gd name="T9" fmla="*/ 42 h 92"/>
                  <a:gd name="T10" fmla="*/ 86 w 87"/>
                  <a:gd name="T11" fmla="*/ 35 h 92"/>
                  <a:gd name="T12" fmla="*/ 87 w 87"/>
                  <a:gd name="T13" fmla="*/ 39 h 92"/>
                  <a:gd name="T14" fmla="*/ 76 w 87"/>
                  <a:gd name="T15" fmla="*/ 55 h 92"/>
                  <a:gd name="T16" fmla="*/ 67 w 87"/>
                  <a:gd name="T17" fmla="*/ 76 h 92"/>
                  <a:gd name="T18" fmla="*/ 65 w 87"/>
                  <a:gd name="T19" fmla="*/ 74 h 92"/>
                  <a:gd name="T20" fmla="*/ 69 w 87"/>
                  <a:gd name="T21" fmla="*/ 53 h 92"/>
                  <a:gd name="T22" fmla="*/ 55 w 87"/>
                  <a:gd name="T23" fmla="*/ 40 h 92"/>
                  <a:gd name="T24" fmla="*/ 45 w 87"/>
                  <a:gd name="T25" fmla="*/ 44 h 92"/>
                  <a:gd name="T26" fmla="*/ 46 w 87"/>
                  <a:gd name="T27" fmla="*/ 89 h 92"/>
                  <a:gd name="T28" fmla="*/ 38 w 87"/>
                  <a:gd name="T29" fmla="*/ 92 h 92"/>
                  <a:gd name="T30" fmla="*/ 27 w 87"/>
                  <a:gd name="T31" fmla="*/ 68 h 92"/>
                  <a:gd name="T32" fmla="*/ 14 w 87"/>
                  <a:gd name="T33" fmla="*/ 70 h 92"/>
                  <a:gd name="T34" fmla="*/ 12 w 87"/>
                  <a:gd name="T35" fmla="*/ 65 h 92"/>
                  <a:gd name="T36" fmla="*/ 18 w 87"/>
                  <a:gd name="T37" fmla="*/ 58 h 92"/>
                  <a:gd name="T38" fmla="*/ 0 w 87"/>
                  <a:gd name="T39" fmla="*/ 42 h 92"/>
                  <a:gd name="T40" fmla="*/ 0 w 87"/>
                  <a:gd name="T41" fmla="*/ 42 h 92"/>
                  <a:gd name="T42" fmla="*/ 21 w 87"/>
                  <a:gd name="T43" fmla="*/ 39 h 92"/>
                  <a:gd name="T44" fmla="*/ 27 w 87"/>
                  <a:gd name="T45" fmla="*/ 48 h 92"/>
                  <a:gd name="T46" fmla="*/ 34 w 87"/>
                  <a:gd name="T47" fmla="*/ 52 h 92"/>
                  <a:gd name="T48" fmla="*/ 36 w 87"/>
                  <a:gd name="T49" fmla="*/ 62 h 92"/>
                  <a:gd name="T50" fmla="*/ 39 w 87"/>
                  <a:gd name="T51" fmla="*/ 44 h 92"/>
                  <a:gd name="T52" fmla="*/ 46 w 87"/>
                  <a:gd name="T53" fmla="*/ 28 h 92"/>
                  <a:gd name="T54" fmla="*/ 29 w 87"/>
                  <a:gd name="T55" fmla="*/ 8 h 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87" h="92">
                    <a:moveTo>
                      <a:pt x="29" y="8"/>
                    </a:moveTo>
                    <a:cubicBezTo>
                      <a:pt x="42" y="0"/>
                      <a:pt x="43" y="12"/>
                      <a:pt x="52" y="17"/>
                    </a:cubicBezTo>
                    <a:cubicBezTo>
                      <a:pt x="55" y="15"/>
                      <a:pt x="58" y="15"/>
                      <a:pt x="61" y="16"/>
                    </a:cubicBezTo>
                    <a:cubicBezTo>
                      <a:pt x="61" y="16"/>
                      <a:pt x="62" y="17"/>
                      <a:pt x="62" y="17"/>
                    </a:cubicBezTo>
                    <a:cubicBezTo>
                      <a:pt x="62" y="26"/>
                      <a:pt x="58" y="33"/>
                      <a:pt x="69" y="42"/>
                    </a:cubicBezTo>
                    <a:cubicBezTo>
                      <a:pt x="75" y="35"/>
                      <a:pt x="80" y="33"/>
                      <a:pt x="86" y="35"/>
                    </a:cubicBezTo>
                    <a:cubicBezTo>
                      <a:pt x="87" y="36"/>
                      <a:pt x="87" y="38"/>
                      <a:pt x="87" y="39"/>
                    </a:cubicBezTo>
                    <a:cubicBezTo>
                      <a:pt x="83" y="45"/>
                      <a:pt x="80" y="50"/>
                      <a:pt x="76" y="55"/>
                    </a:cubicBezTo>
                    <a:cubicBezTo>
                      <a:pt x="71" y="62"/>
                      <a:pt x="71" y="70"/>
                      <a:pt x="67" y="76"/>
                    </a:cubicBezTo>
                    <a:cubicBezTo>
                      <a:pt x="66" y="75"/>
                      <a:pt x="66" y="75"/>
                      <a:pt x="65" y="74"/>
                    </a:cubicBezTo>
                    <a:cubicBezTo>
                      <a:pt x="63" y="66"/>
                      <a:pt x="67" y="60"/>
                      <a:pt x="69" y="53"/>
                    </a:cubicBezTo>
                    <a:cubicBezTo>
                      <a:pt x="64" y="51"/>
                      <a:pt x="60" y="46"/>
                      <a:pt x="55" y="40"/>
                    </a:cubicBezTo>
                    <a:cubicBezTo>
                      <a:pt x="52" y="42"/>
                      <a:pt x="49" y="41"/>
                      <a:pt x="45" y="44"/>
                    </a:cubicBezTo>
                    <a:cubicBezTo>
                      <a:pt x="40" y="59"/>
                      <a:pt x="48" y="75"/>
                      <a:pt x="46" y="89"/>
                    </a:cubicBezTo>
                    <a:cubicBezTo>
                      <a:pt x="43" y="92"/>
                      <a:pt x="41" y="91"/>
                      <a:pt x="38" y="92"/>
                    </a:cubicBezTo>
                    <a:cubicBezTo>
                      <a:pt x="31" y="83"/>
                      <a:pt x="33" y="76"/>
                      <a:pt x="27" y="68"/>
                    </a:cubicBezTo>
                    <a:cubicBezTo>
                      <a:pt x="23" y="71"/>
                      <a:pt x="18" y="71"/>
                      <a:pt x="14" y="70"/>
                    </a:cubicBezTo>
                    <a:cubicBezTo>
                      <a:pt x="12" y="68"/>
                      <a:pt x="12" y="67"/>
                      <a:pt x="12" y="65"/>
                    </a:cubicBezTo>
                    <a:cubicBezTo>
                      <a:pt x="14" y="63"/>
                      <a:pt x="16" y="60"/>
                      <a:pt x="18" y="58"/>
                    </a:cubicBezTo>
                    <a:cubicBezTo>
                      <a:pt x="13" y="49"/>
                      <a:pt x="3" y="48"/>
                      <a:pt x="0" y="42"/>
                    </a:cubicBezTo>
                    <a:cubicBezTo>
                      <a:pt x="0" y="42"/>
                      <a:pt x="0" y="42"/>
                      <a:pt x="0" y="42"/>
                    </a:cubicBezTo>
                    <a:cubicBezTo>
                      <a:pt x="6" y="39"/>
                      <a:pt x="15" y="35"/>
                      <a:pt x="21" y="39"/>
                    </a:cubicBezTo>
                    <a:cubicBezTo>
                      <a:pt x="23" y="42"/>
                      <a:pt x="25" y="45"/>
                      <a:pt x="27" y="48"/>
                    </a:cubicBezTo>
                    <a:cubicBezTo>
                      <a:pt x="29" y="50"/>
                      <a:pt x="31" y="51"/>
                      <a:pt x="34" y="52"/>
                    </a:cubicBezTo>
                    <a:cubicBezTo>
                      <a:pt x="34" y="55"/>
                      <a:pt x="35" y="58"/>
                      <a:pt x="36" y="62"/>
                    </a:cubicBezTo>
                    <a:cubicBezTo>
                      <a:pt x="39" y="56"/>
                      <a:pt x="38" y="50"/>
                      <a:pt x="39" y="44"/>
                    </a:cubicBezTo>
                    <a:cubicBezTo>
                      <a:pt x="42" y="39"/>
                      <a:pt x="44" y="34"/>
                      <a:pt x="46" y="28"/>
                    </a:cubicBezTo>
                    <a:cubicBezTo>
                      <a:pt x="42" y="22"/>
                      <a:pt x="31" y="15"/>
                      <a:pt x="29" y="8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1049396" name="íṩľíḑè"/>
              <p:cNvSpPr/>
              <p:nvPr/>
            </p:nvSpPr>
            <p:spPr bwMode="auto">
              <a:xfrm>
                <a:off x="2243034" y="6066428"/>
                <a:ext cx="22225" cy="25400"/>
              </a:xfrm>
              <a:custGeom>
                <a:avLst/>
                <a:gdLst>
                  <a:gd name="T0" fmla="*/ 0 w 14"/>
                  <a:gd name="T1" fmla="*/ 12 h 16"/>
                  <a:gd name="T2" fmla="*/ 2 w 14"/>
                  <a:gd name="T3" fmla="*/ 0 h 16"/>
                  <a:gd name="T4" fmla="*/ 14 w 14"/>
                  <a:gd name="T5" fmla="*/ 4 h 16"/>
                  <a:gd name="T6" fmla="*/ 11 w 14"/>
                  <a:gd name="T7" fmla="*/ 16 h 16"/>
                  <a:gd name="T8" fmla="*/ 0 w 14"/>
                  <a:gd name="T9" fmla="*/ 12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4" h="16">
                    <a:moveTo>
                      <a:pt x="0" y="12"/>
                    </a:moveTo>
                    <a:lnTo>
                      <a:pt x="2" y="0"/>
                    </a:lnTo>
                    <a:lnTo>
                      <a:pt x="14" y="4"/>
                    </a:lnTo>
                    <a:lnTo>
                      <a:pt x="11" y="16"/>
                    </a:lnTo>
                    <a:lnTo>
                      <a:pt x="0" y="12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1049397" name="îṣḷïḓê"/>
              <p:cNvSpPr/>
              <p:nvPr/>
            </p:nvSpPr>
            <p:spPr bwMode="auto">
              <a:xfrm>
                <a:off x="2292247" y="6042615"/>
                <a:ext cx="49213" cy="100013"/>
              </a:xfrm>
              <a:custGeom>
                <a:avLst/>
                <a:gdLst>
                  <a:gd name="T0" fmla="*/ 17 w 27"/>
                  <a:gd name="T1" fmla="*/ 54 h 54"/>
                  <a:gd name="T2" fmla="*/ 7 w 27"/>
                  <a:gd name="T3" fmla="*/ 52 h 54"/>
                  <a:gd name="T4" fmla="*/ 14 w 27"/>
                  <a:gd name="T5" fmla="*/ 15 h 54"/>
                  <a:gd name="T6" fmla="*/ 0 w 27"/>
                  <a:gd name="T7" fmla="*/ 20 h 54"/>
                  <a:gd name="T8" fmla="*/ 1 w 27"/>
                  <a:gd name="T9" fmla="*/ 11 h 54"/>
                  <a:gd name="T10" fmla="*/ 11 w 27"/>
                  <a:gd name="T11" fmla="*/ 7 h 54"/>
                  <a:gd name="T12" fmla="*/ 18 w 27"/>
                  <a:gd name="T13" fmla="*/ 0 h 54"/>
                  <a:gd name="T14" fmla="*/ 27 w 27"/>
                  <a:gd name="T15" fmla="*/ 2 h 54"/>
                  <a:gd name="T16" fmla="*/ 17 w 27"/>
                  <a:gd name="T17" fmla="*/ 54 h 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7" h="54">
                    <a:moveTo>
                      <a:pt x="17" y="54"/>
                    </a:moveTo>
                    <a:cubicBezTo>
                      <a:pt x="7" y="52"/>
                      <a:pt x="7" y="52"/>
                      <a:pt x="7" y="52"/>
                    </a:cubicBezTo>
                    <a:cubicBezTo>
                      <a:pt x="14" y="15"/>
                      <a:pt x="14" y="15"/>
                      <a:pt x="14" y="15"/>
                    </a:cubicBezTo>
                    <a:cubicBezTo>
                      <a:pt x="10" y="17"/>
                      <a:pt x="5" y="19"/>
                      <a:pt x="0" y="20"/>
                    </a:cubicBezTo>
                    <a:cubicBezTo>
                      <a:pt x="1" y="11"/>
                      <a:pt x="1" y="11"/>
                      <a:pt x="1" y="11"/>
                    </a:cubicBezTo>
                    <a:cubicBezTo>
                      <a:pt x="4" y="10"/>
                      <a:pt x="7" y="9"/>
                      <a:pt x="11" y="7"/>
                    </a:cubicBezTo>
                    <a:cubicBezTo>
                      <a:pt x="14" y="6"/>
                      <a:pt x="17" y="3"/>
                      <a:pt x="18" y="0"/>
                    </a:cubicBezTo>
                    <a:cubicBezTo>
                      <a:pt x="27" y="2"/>
                      <a:pt x="27" y="2"/>
                      <a:pt x="27" y="2"/>
                    </a:cubicBezTo>
                    <a:lnTo>
                      <a:pt x="17" y="54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1049398" name="i$ḻîḓé"/>
              <p:cNvSpPr/>
              <p:nvPr/>
            </p:nvSpPr>
            <p:spPr bwMode="auto">
              <a:xfrm>
                <a:off x="2363684" y="6052140"/>
                <a:ext cx="66675" cy="100013"/>
              </a:xfrm>
              <a:custGeom>
                <a:avLst/>
                <a:gdLst>
                  <a:gd name="T0" fmla="*/ 0 w 36"/>
                  <a:gd name="T1" fmla="*/ 40 h 54"/>
                  <a:gd name="T2" fmla="*/ 10 w 36"/>
                  <a:gd name="T3" fmla="*/ 39 h 54"/>
                  <a:gd name="T4" fmla="*/ 11 w 36"/>
                  <a:gd name="T5" fmla="*/ 44 h 54"/>
                  <a:gd name="T6" fmla="*/ 15 w 36"/>
                  <a:gd name="T7" fmla="*/ 46 h 54"/>
                  <a:gd name="T8" fmla="*/ 21 w 36"/>
                  <a:gd name="T9" fmla="*/ 43 h 54"/>
                  <a:gd name="T10" fmla="*/ 24 w 36"/>
                  <a:gd name="T11" fmla="*/ 31 h 54"/>
                  <a:gd name="T12" fmla="*/ 15 w 36"/>
                  <a:gd name="T13" fmla="*/ 35 h 54"/>
                  <a:gd name="T14" fmla="*/ 4 w 36"/>
                  <a:gd name="T15" fmla="*/ 30 h 54"/>
                  <a:gd name="T16" fmla="*/ 0 w 36"/>
                  <a:gd name="T17" fmla="*/ 17 h 54"/>
                  <a:gd name="T18" fmla="*/ 6 w 36"/>
                  <a:gd name="T19" fmla="*/ 4 h 54"/>
                  <a:gd name="T20" fmla="*/ 19 w 36"/>
                  <a:gd name="T21" fmla="*/ 0 h 54"/>
                  <a:gd name="T22" fmla="*/ 31 w 36"/>
                  <a:gd name="T23" fmla="*/ 7 h 54"/>
                  <a:gd name="T24" fmla="*/ 35 w 36"/>
                  <a:gd name="T25" fmla="*/ 28 h 54"/>
                  <a:gd name="T26" fmla="*/ 28 w 36"/>
                  <a:gd name="T27" fmla="*/ 49 h 54"/>
                  <a:gd name="T28" fmla="*/ 14 w 36"/>
                  <a:gd name="T29" fmla="*/ 54 h 54"/>
                  <a:gd name="T30" fmla="*/ 4 w 36"/>
                  <a:gd name="T31" fmla="*/ 50 h 54"/>
                  <a:gd name="T32" fmla="*/ 0 w 36"/>
                  <a:gd name="T33" fmla="*/ 40 h 54"/>
                  <a:gd name="T34" fmla="*/ 24 w 36"/>
                  <a:gd name="T35" fmla="*/ 19 h 54"/>
                  <a:gd name="T36" fmla="*/ 23 w 36"/>
                  <a:gd name="T37" fmla="*/ 11 h 54"/>
                  <a:gd name="T38" fmla="*/ 18 w 36"/>
                  <a:gd name="T39" fmla="*/ 8 h 54"/>
                  <a:gd name="T40" fmla="*/ 13 w 36"/>
                  <a:gd name="T41" fmla="*/ 10 h 54"/>
                  <a:gd name="T42" fmla="*/ 10 w 36"/>
                  <a:gd name="T43" fmla="*/ 17 h 54"/>
                  <a:gd name="T44" fmla="*/ 12 w 36"/>
                  <a:gd name="T45" fmla="*/ 25 h 54"/>
                  <a:gd name="T46" fmla="*/ 17 w 36"/>
                  <a:gd name="T47" fmla="*/ 28 h 54"/>
                  <a:gd name="T48" fmla="*/ 22 w 36"/>
                  <a:gd name="T49" fmla="*/ 26 h 54"/>
                  <a:gd name="T50" fmla="*/ 24 w 36"/>
                  <a:gd name="T51" fmla="*/ 19 h 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6" h="54">
                    <a:moveTo>
                      <a:pt x="0" y="40"/>
                    </a:moveTo>
                    <a:cubicBezTo>
                      <a:pt x="10" y="39"/>
                      <a:pt x="10" y="39"/>
                      <a:pt x="10" y="39"/>
                    </a:cubicBezTo>
                    <a:cubicBezTo>
                      <a:pt x="10" y="41"/>
                      <a:pt x="10" y="43"/>
                      <a:pt x="11" y="44"/>
                    </a:cubicBezTo>
                    <a:cubicBezTo>
                      <a:pt x="12" y="45"/>
                      <a:pt x="14" y="46"/>
                      <a:pt x="15" y="46"/>
                    </a:cubicBezTo>
                    <a:cubicBezTo>
                      <a:pt x="17" y="46"/>
                      <a:pt x="19" y="45"/>
                      <a:pt x="21" y="43"/>
                    </a:cubicBezTo>
                    <a:cubicBezTo>
                      <a:pt x="22" y="41"/>
                      <a:pt x="24" y="37"/>
                      <a:pt x="24" y="31"/>
                    </a:cubicBezTo>
                    <a:cubicBezTo>
                      <a:pt x="22" y="34"/>
                      <a:pt x="18" y="35"/>
                      <a:pt x="15" y="35"/>
                    </a:cubicBezTo>
                    <a:cubicBezTo>
                      <a:pt x="10" y="35"/>
                      <a:pt x="7" y="33"/>
                      <a:pt x="4" y="30"/>
                    </a:cubicBezTo>
                    <a:cubicBezTo>
                      <a:pt x="1" y="26"/>
                      <a:pt x="0" y="22"/>
                      <a:pt x="0" y="17"/>
                    </a:cubicBezTo>
                    <a:cubicBezTo>
                      <a:pt x="1" y="11"/>
                      <a:pt x="3" y="7"/>
                      <a:pt x="6" y="4"/>
                    </a:cubicBezTo>
                    <a:cubicBezTo>
                      <a:pt x="10" y="1"/>
                      <a:pt x="14" y="0"/>
                      <a:pt x="19" y="0"/>
                    </a:cubicBezTo>
                    <a:cubicBezTo>
                      <a:pt x="24" y="0"/>
                      <a:pt x="28" y="3"/>
                      <a:pt x="31" y="7"/>
                    </a:cubicBezTo>
                    <a:cubicBezTo>
                      <a:pt x="35" y="12"/>
                      <a:pt x="36" y="19"/>
                      <a:pt x="35" y="28"/>
                    </a:cubicBezTo>
                    <a:cubicBezTo>
                      <a:pt x="34" y="38"/>
                      <a:pt x="32" y="44"/>
                      <a:pt x="28" y="49"/>
                    </a:cubicBezTo>
                    <a:cubicBezTo>
                      <a:pt x="24" y="53"/>
                      <a:pt x="20" y="54"/>
                      <a:pt x="14" y="54"/>
                    </a:cubicBezTo>
                    <a:cubicBezTo>
                      <a:pt x="10" y="54"/>
                      <a:pt x="7" y="52"/>
                      <a:pt x="4" y="50"/>
                    </a:cubicBezTo>
                    <a:cubicBezTo>
                      <a:pt x="2" y="48"/>
                      <a:pt x="0" y="44"/>
                      <a:pt x="0" y="40"/>
                    </a:cubicBezTo>
                    <a:close/>
                    <a:moveTo>
                      <a:pt x="24" y="19"/>
                    </a:moveTo>
                    <a:cubicBezTo>
                      <a:pt x="25" y="16"/>
                      <a:pt x="24" y="13"/>
                      <a:pt x="23" y="11"/>
                    </a:cubicBezTo>
                    <a:cubicBezTo>
                      <a:pt x="21" y="10"/>
                      <a:pt x="20" y="9"/>
                      <a:pt x="18" y="8"/>
                    </a:cubicBezTo>
                    <a:cubicBezTo>
                      <a:pt x="16" y="8"/>
                      <a:pt x="14" y="9"/>
                      <a:pt x="13" y="10"/>
                    </a:cubicBezTo>
                    <a:cubicBezTo>
                      <a:pt x="11" y="12"/>
                      <a:pt x="11" y="14"/>
                      <a:pt x="10" y="17"/>
                    </a:cubicBezTo>
                    <a:cubicBezTo>
                      <a:pt x="10" y="21"/>
                      <a:pt x="11" y="23"/>
                      <a:pt x="12" y="25"/>
                    </a:cubicBezTo>
                    <a:cubicBezTo>
                      <a:pt x="13" y="27"/>
                      <a:pt x="15" y="28"/>
                      <a:pt x="17" y="28"/>
                    </a:cubicBezTo>
                    <a:cubicBezTo>
                      <a:pt x="19" y="28"/>
                      <a:pt x="20" y="27"/>
                      <a:pt x="22" y="26"/>
                    </a:cubicBezTo>
                    <a:cubicBezTo>
                      <a:pt x="23" y="24"/>
                      <a:pt x="24" y="22"/>
                      <a:pt x="24" y="1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1049399" name="îṧľîḋé"/>
              <p:cNvSpPr/>
              <p:nvPr/>
            </p:nvSpPr>
            <p:spPr bwMode="auto">
              <a:xfrm>
                <a:off x="2446234" y="6053728"/>
                <a:ext cx="66675" cy="100013"/>
              </a:xfrm>
              <a:custGeom>
                <a:avLst/>
                <a:gdLst>
                  <a:gd name="T0" fmla="*/ 0 w 36"/>
                  <a:gd name="T1" fmla="*/ 40 h 54"/>
                  <a:gd name="T2" fmla="*/ 10 w 36"/>
                  <a:gd name="T3" fmla="*/ 39 h 54"/>
                  <a:gd name="T4" fmla="*/ 13 w 36"/>
                  <a:gd name="T5" fmla="*/ 44 h 54"/>
                  <a:gd name="T6" fmla="*/ 18 w 36"/>
                  <a:gd name="T7" fmla="*/ 46 h 54"/>
                  <a:gd name="T8" fmla="*/ 23 w 36"/>
                  <a:gd name="T9" fmla="*/ 43 h 54"/>
                  <a:gd name="T10" fmla="*/ 25 w 36"/>
                  <a:gd name="T11" fmla="*/ 35 h 54"/>
                  <a:gd name="T12" fmla="*/ 23 w 36"/>
                  <a:gd name="T13" fmla="*/ 28 h 54"/>
                  <a:gd name="T14" fmla="*/ 17 w 36"/>
                  <a:gd name="T15" fmla="*/ 26 h 54"/>
                  <a:gd name="T16" fmla="*/ 9 w 36"/>
                  <a:gd name="T17" fmla="*/ 30 h 54"/>
                  <a:gd name="T18" fmla="*/ 1 w 36"/>
                  <a:gd name="T19" fmla="*/ 29 h 54"/>
                  <a:gd name="T20" fmla="*/ 5 w 36"/>
                  <a:gd name="T21" fmla="*/ 1 h 54"/>
                  <a:gd name="T22" fmla="*/ 32 w 36"/>
                  <a:gd name="T23" fmla="*/ 0 h 54"/>
                  <a:gd name="T24" fmla="*/ 32 w 36"/>
                  <a:gd name="T25" fmla="*/ 10 h 54"/>
                  <a:gd name="T26" fmla="*/ 13 w 36"/>
                  <a:gd name="T27" fmla="*/ 10 h 54"/>
                  <a:gd name="T28" fmla="*/ 12 w 36"/>
                  <a:gd name="T29" fmla="*/ 19 h 54"/>
                  <a:gd name="T30" fmla="*/ 19 w 36"/>
                  <a:gd name="T31" fmla="*/ 17 h 54"/>
                  <a:gd name="T32" fmla="*/ 30 w 36"/>
                  <a:gd name="T33" fmla="*/ 22 h 54"/>
                  <a:gd name="T34" fmla="*/ 36 w 36"/>
                  <a:gd name="T35" fmla="*/ 34 h 54"/>
                  <a:gd name="T36" fmla="*/ 32 w 36"/>
                  <a:gd name="T37" fmla="*/ 46 h 54"/>
                  <a:gd name="T38" fmla="*/ 18 w 36"/>
                  <a:gd name="T39" fmla="*/ 54 h 54"/>
                  <a:gd name="T40" fmla="*/ 6 w 36"/>
                  <a:gd name="T41" fmla="*/ 50 h 54"/>
                  <a:gd name="T42" fmla="*/ 0 w 36"/>
                  <a:gd name="T43" fmla="*/ 40 h 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36" h="54">
                    <a:moveTo>
                      <a:pt x="0" y="40"/>
                    </a:moveTo>
                    <a:cubicBezTo>
                      <a:pt x="10" y="39"/>
                      <a:pt x="10" y="39"/>
                      <a:pt x="10" y="39"/>
                    </a:cubicBezTo>
                    <a:cubicBezTo>
                      <a:pt x="11" y="41"/>
                      <a:pt x="11" y="43"/>
                      <a:pt x="13" y="44"/>
                    </a:cubicBezTo>
                    <a:cubicBezTo>
                      <a:pt x="14" y="45"/>
                      <a:pt x="16" y="46"/>
                      <a:pt x="18" y="46"/>
                    </a:cubicBezTo>
                    <a:cubicBezTo>
                      <a:pt x="20" y="46"/>
                      <a:pt x="22" y="45"/>
                      <a:pt x="23" y="43"/>
                    </a:cubicBezTo>
                    <a:cubicBezTo>
                      <a:pt x="25" y="41"/>
                      <a:pt x="25" y="38"/>
                      <a:pt x="25" y="35"/>
                    </a:cubicBezTo>
                    <a:cubicBezTo>
                      <a:pt x="25" y="32"/>
                      <a:pt x="24" y="29"/>
                      <a:pt x="23" y="28"/>
                    </a:cubicBezTo>
                    <a:cubicBezTo>
                      <a:pt x="21" y="26"/>
                      <a:pt x="19" y="25"/>
                      <a:pt x="17" y="26"/>
                    </a:cubicBezTo>
                    <a:cubicBezTo>
                      <a:pt x="14" y="26"/>
                      <a:pt x="11" y="27"/>
                      <a:pt x="9" y="30"/>
                    </a:cubicBezTo>
                    <a:cubicBezTo>
                      <a:pt x="1" y="29"/>
                      <a:pt x="1" y="29"/>
                      <a:pt x="1" y="29"/>
                    </a:cubicBezTo>
                    <a:cubicBezTo>
                      <a:pt x="5" y="1"/>
                      <a:pt x="5" y="1"/>
                      <a:pt x="5" y="1"/>
                    </a:cubicBezTo>
                    <a:cubicBezTo>
                      <a:pt x="32" y="0"/>
                      <a:pt x="32" y="0"/>
                      <a:pt x="32" y="0"/>
                    </a:cubicBezTo>
                    <a:cubicBezTo>
                      <a:pt x="32" y="10"/>
                      <a:pt x="32" y="10"/>
                      <a:pt x="32" y="10"/>
                    </a:cubicBezTo>
                    <a:cubicBezTo>
                      <a:pt x="13" y="10"/>
                      <a:pt x="13" y="10"/>
                      <a:pt x="13" y="10"/>
                    </a:cubicBezTo>
                    <a:cubicBezTo>
                      <a:pt x="12" y="19"/>
                      <a:pt x="12" y="19"/>
                      <a:pt x="12" y="19"/>
                    </a:cubicBezTo>
                    <a:cubicBezTo>
                      <a:pt x="14" y="18"/>
                      <a:pt x="16" y="17"/>
                      <a:pt x="19" y="17"/>
                    </a:cubicBezTo>
                    <a:cubicBezTo>
                      <a:pt x="23" y="17"/>
                      <a:pt x="27" y="19"/>
                      <a:pt x="30" y="22"/>
                    </a:cubicBezTo>
                    <a:cubicBezTo>
                      <a:pt x="34" y="25"/>
                      <a:pt x="35" y="29"/>
                      <a:pt x="36" y="34"/>
                    </a:cubicBezTo>
                    <a:cubicBezTo>
                      <a:pt x="36" y="39"/>
                      <a:pt x="35" y="43"/>
                      <a:pt x="32" y="46"/>
                    </a:cubicBezTo>
                    <a:cubicBezTo>
                      <a:pt x="29" y="51"/>
                      <a:pt x="24" y="54"/>
                      <a:pt x="18" y="54"/>
                    </a:cubicBezTo>
                    <a:cubicBezTo>
                      <a:pt x="13" y="54"/>
                      <a:pt x="9" y="53"/>
                      <a:pt x="6" y="50"/>
                    </a:cubicBezTo>
                    <a:cubicBezTo>
                      <a:pt x="3" y="48"/>
                      <a:pt x="1" y="44"/>
                      <a:pt x="0" y="4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1049400" name="i$ḻïḑê"/>
              <p:cNvSpPr/>
              <p:nvPr/>
            </p:nvSpPr>
            <p:spPr bwMode="auto">
              <a:xfrm>
                <a:off x="2522434" y="6045790"/>
                <a:ext cx="74613" cy="103188"/>
              </a:xfrm>
              <a:custGeom>
                <a:avLst/>
                <a:gdLst>
                  <a:gd name="T0" fmla="*/ 39 w 40"/>
                  <a:gd name="T1" fmla="*/ 42 h 56"/>
                  <a:gd name="T2" fmla="*/ 40 w 40"/>
                  <a:gd name="T3" fmla="*/ 51 h 56"/>
                  <a:gd name="T4" fmla="*/ 5 w 40"/>
                  <a:gd name="T5" fmla="*/ 56 h 56"/>
                  <a:gd name="T6" fmla="*/ 7 w 40"/>
                  <a:gd name="T7" fmla="*/ 46 h 56"/>
                  <a:gd name="T8" fmla="*/ 16 w 40"/>
                  <a:gd name="T9" fmla="*/ 32 h 56"/>
                  <a:gd name="T10" fmla="*/ 23 w 40"/>
                  <a:gd name="T11" fmla="*/ 22 h 56"/>
                  <a:gd name="T12" fmla="*/ 24 w 40"/>
                  <a:gd name="T13" fmla="*/ 15 h 56"/>
                  <a:gd name="T14" fmla="*/ 22 w 40"/>
                  <a:gd name="T15" fmla="*/ 10 h 56"/>
                  <a:gd name="T16" fmla="*/ 17 w 40"/>
                  <a:gd name="T17" fmla="*/ 9 h 56"/>
                  <a:gd name="T18" fmla="*/ 12 w 40"/>
                  <a:gd name="T19" fmla="*/ 12 h 56"/>
                  <a:gd name="T20" fmla="*/ 11 w 40"/>
                  <a:gd name="T21" fmla="*/ 19 h 56"/>
                  <a:gd name="T22" fmla="*/ 1 w 40"/>
                  <a:gd name="T23" fmla="*/ 19 h 56"/>
                  <a:gd name="T24" fmla="*/ 4 w 40"/>
                  <a:gd name="T25" fmla="*/ 6 h 56"/>
                  <a:gd name="T26" fmla="*/ 16 w 40"/>
                  <a:gd name="T27" fmla="*/ 1 h 56"/>
                  <a:gd name="T28" fmla="*/ 28 w 40"/>
                  <a:gd name="T29" fmla="*/ 3 h 56"/>
                  <a:gd name="T30" fmla="*/ 34 w 40"/>
                  <a:gd name="T31" fmla="*/ 13 h 56"/>
                  <a:gd name="T32" fmla="*/ 34 w 40"/>
                  <a:gd name="T33" fmla="*/ 20 h 56"/>
                  <a:gd name="T34" fmla="*/ 31 w 40"/>
                  <a:gd name="T35" fmla="*/ 27 h 56"/>
                  <a:gd name="T36" fmla="*/ 26 w 40"/>
                  <a:gd name="T37" fmla="*/ 35 h 56"/>
                  <a:gd name="T38" fmla="*/ 20 w 40"/>
                  <a:gd name="T39" fmla="*/ 42 h 56"/>
                  <a:gd name="T40" fmla="*/ 19 w 40"/>
                  <a:gd name="T41" fmla="*/ 45 h 56"/>
                  <a:gd name="T42" fmla="*/ 39 w 40"/>
                  <a:gd name="T43" fmla="*/ 42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40" h="56">
                    <a:moveTo>
                      <a:pt x="39" y="42"/>
                    </a:moveTo>
                    <a:cubicBezTo>
                      <a:pt x="40" y="51"/>
                      <a:pt x="40" y="51"/>
                      <a:pt x="40" y="51"/>
                    </a:cubicBezTo>
                    <a:cubicBezTo>
                      <a:pt x="5" y="56"/>
                      <a:pt x="5" y="56"/>
                      <a:pt x="5" y="56"/>
                    </a:cubicBezTo>
                    <a:cubicBezTo>
                      <a:pt x="5" y="53"/>
                      <a:pt x="5" y="49"/>
                      <a:pt x="7" y="46"/>
                    </a:cubicBezTo>
                    <a:cubicBezTo>
                      <a:pt x="8" y="42"/>
                      <a:pt x="11" y="38"/>
                      <a:pt x="16" y="32"/>
                    </a:cubicBezTo>
                    <a:cubicBezTo>
                      <a:pt x="20" y="27"/>
                      <a:pt x="22" y="23"/>
                      <a:pt x="23" y="22"/>
                    </a:cubicBezTo>
                    <a:cubicBezTo>
                      <a:pt x="24" y="19"/>
                      <a:pt x="25" y="17"/>
                      <a:pt x="24" y="15"/>
                    </a:cubicBezTo>
                    <a:cubicBezTo>
                      <a:pt x="24" y="13"/>
                      <a:pt x="23" y="11"/>
                      <a:pt x="22" y="10"/>
                    </a:cubicBezTo>
                    <a:cubicBezTo>
                      <a:pt x="21" y="9"/>
                      <a:pt x="19" y="9"/>
                      <a:pt x="17" y="9"/>
                    </a:cubicBezTo>
                    <a:cubicBezTo>
                      <a:pt x="15" y="10"/>
                      <a:pt x="13" y="11"/>
                      <a:pt x="12" y="12"/>
                    </a:cubicBezTo>
                    <a:cubicBezTo>
                      <a:pt x="11" y="13"/>
                      <a:pt x="10" y="16"/>
                      <a:pt x="11" y="19"/>
                    </a:cubicBezTo>
                    <a:cubicBezTo>
                      <a:pt x="1" y="19"/>
                      <a:pt x="1" y="19"/>
                      <a:pt x="1" y="19"/>
                    </a:cubicBezTo>
                    <a:cubicBezTo>
                      <a:pt x="0" y="13"/>
                      <a:pt x="2" y="9"/>
                      <a:pt x="4" y="6"/>
                    </a:cubicBezTo>
                    <a:cubicBezTo>
                      <a:pt x="7" y="3"/>
                      <a:pt x="11" y="2"/>
                      <a:pt x="16" y="1"/>
                    </a:cubicBezTo>
                    <a:cubicBezTo>
                      <a:pt x="21" y="0"/>
                      <a:pt x="25" y="1"/>
                      <a:pt x="28" y="3"/>
                    </a:cubicBezTo>
                    <a:cubicBezTo>
                      <a:pt x="32" y="6"/>
                      <a:pt x="34" y="9"/>
                      <a:pt x="34" y="13"/>
                    </a:cubicBezTo>
                    <a:cubicBezTo>
                      <a:pt x="35" y="15"/>
                      <a:pt x="35" y="18"/>
                      <a:pt x="34" y="20"/>
                    </a:cubicBezTo>
                    <a:cubicBezTo>
                      <a:pt x="34" y="22"/>
                      <a:pt x="33" y="25"/>
                      <a:pt x="31" y="27"/>
                    </a:cubicBezTo>
                    <a:cubicBezTo>
                      <a:pt x="30" y="29"/>
                      <a:pt x="28" y="32"/>
                      <a:pt x="26" y="35"/>
                    </a:cubicBezTo>
                    <a:cubicBezTo>
                      <a:pt x="23" y="38"/>
                      <a:pt x="21" y="41"/>
                      <a:pt x="20" y="42"/>
                    </a:cubicBezTo>
                    <a:cubicBezTo>
                      <a:pt x="20" y="43"/>
                      <a:pt x="19" y="44"/>
                      <a:pt x="19" y="45"/>
                    </a:cubicBezTo>
                    <a:lnTo>
                      <a:pt x="39" y="42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1049401" name="íṧlíḍe"/>
              <p:cNvSpPr/>
              <p:nvPr/>
            </p:nvSpPr>
            <p:spPr bwMode="auto">
              <a:xfrm>
                <a:off x="2611334" y="6072778"/>
                <a:ext cx="22225" cy="23813"/>
              </a:xfrm>
              <a:custGeom>
                <a:avLst/>
                <a:gdLst>
                  <a:gd name="T0" fmla="*/ 3 w 14"/>
                  <a:gd name="T1" fmla="*/ 15 h 15"/>
                  <a:gd name="T2" fmla="*/ 0 w 14"/>
                  <a:gd name="T3" fmla="*/ 3 h 15"/>
                  <a:gd name="T4" fmla="*/ 11 w 14"/>
                  <a:gd name="T5" fmla="*/ 0 h 15"/>
                  <a:gd name="T6" fmla="*/ 14 w 14"/>
                  <a:gd name="T7" fmla="*/ 12 h 15"/>
                  <a:gd name="T8" fmla="*/ 3 w 14"/>
                  <a:gd name="T9" fmla="*/ 15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4" h="15">
                    <a:moveTo>
                      <a:pt x="3" y="15"/>
                    </a:moveTo>
                    <a:lnTo>
                      <a:pt x="0" y="3"/>
                    </a:lnTo>
                    <a:lnTo>
                      <a:pt x="11" y="0"/>
                    </a:lnTo>
                    <a:lnTo>
                      <a:pt x="14" y="12"/>
                    </a:lnTo>
                    <a:lnTo>
                      <a:pt x="3" y="15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1049402" name="îŝľîḓê"/>
              <p:cNvSpPr/>
              <p:nvPr/>
            </p:nvSpPr>
            <p:spPr bwMode="auto">
              <a:xfrm>
                <a:off x="2108097" y="5261565"/>
                <a:ext cx="141288" cy="257175"/>
              </a:xfrm>
              <a:custGeom>
                <a:avLst/>
                <a:gdLst>
                  <a:gd name="T0" fmla="*/ 12 w 77"/>
                  <a:gd name="T1" fmla="*/ 25 h 139"/>
                  <a:gd name="T2" fmla="*/ 9 w 77"/>
                  <a:gd name="T3" fmla="*/ 21 h 139"/>
                  <a:gd name="T4" fmla="*/ 12 w 77"/>
                  <a:gd name="T5" fmla="*/ 17 h 139"/>
                  <a:gd name="T6" fmla="*/ 39 w 77"/>
                  <a:gd name="T7" fmla="*/ 21 h 139"/>
                  <a:gd name="T8" fmla="*/ 46 w 77"/>
                  <a:gd name="T9" fmla="*/ 36 h 139"/>
                  <a:gd name="T10" fmla="*/ 46 w 77"/>
                  <a:gd name="T11" fmla="*/ 39 h 139"/>
                  <a:gd name="T12" fmla="*/ 61 w 77"/>
                  <a:gd name="T13" fmla="*/ 33 h 139"/>
                  <a:gd name="T14" fmla="*/ 57 w 77"/>
                  <a:gd name="T15" fmla="*/ 16 h 139"/>
                  <a:gd name="T16" fmla="*/ 35 w 77"/>
                  <a:gd name="T17" fmla="*/ 9 h 139"/>
                  <a:gd name="T18" fmla="*/ 27 w 77"/>
                  <a:gd name="T19" fmla="*/ 3 h 139"/>
                  <a:gd name="T20" fmla="*/ 32 w 77"/>
                  <a:gd name="T21" fmla="*/ 0 h 139"/>
                  <a:gd name="T22" fmla="*/ 61 w 77"/>
                  <a:gd name="T23" fmla="*/ 9 h 139"/>
                  <a:gd name="T24" fmla="*/ 72 w 77"/>
                  <a:gd name="T25" fmla="*/ 30 h 139"/>
                  <a:gd name="T26" fmla="*/ 48 w 77"/>
                  <a:gd name="T27" fmla="*/ 45 h 139"/>
                  <a:gd name="T28" fmla="*/ 45 w 77"/>
                  <a:gd name="T29" fmla="*/ 46 h 139"/>
                  <a:gd name="T30" fmla="*/ 45 w 77"/>
                  <a:gd name="T31" fmla="*/ 54 h 139"/>
                  <a:gd name="T32" fmla="*/ 59 w 77"/>
                  <a:gd name="T33" fmla="*/ 61 h 139"/>
                  <a:gd name="T34" fmla="*/ 77 w 77"/>
                  <a:gd name="T35" fmla="*/ 80 h 139"/>
                  <a:gd name="T36" fmla="*/ 75 w 77"/>
                  <a:gd name="T37" fmla="*/ 84 h 139"/>
                  <a:gd name="T38" fmla="*/ 71 w 77"/>
                  <a:gd name="T39" fmla="*/ 83 h 139"/>
                  <a:gd name="T40" fmla="*/ 59 w 77"/>
                  <a:gd name="T41" fmla="*/ 70 h 139"/>
                  <a:gd name="T42" fmla="*/ 45 w 77"/>
                  <a:gd name="T43" fmla="*/ 63 h 139"/>
                  <a:gd name="T44" fmla="*/ 45 w 77"/>
                  <a:gd name="T45" fmla="*/ 77 h 139"/>
                  <a:gd name="T46" fmla="*/ 53 w 77"/>
                  <a:gd name="T47" fmla="*/ 83 h 139"/>
                  <a:gd name="T48" fmla="*/ 66 w 77"/>
                  <a:gd name="T49" fmla="*/ 102 h 139"/>
                  <a:gd name="T50" fmla="*/ 72 w 77"/>
                  <a:gd name="T51" fmla="*/ 121 h 139"/>
                  <a:gd name="T52" fmla="*/ 70 w 77"/>
                  <a:gd name="T53" fmla="*/ 124 h 139"/>
                  <a:gd name="T54" fmla="*/ 67 w 77"/>
                  <a:gd name="T55" fmla="*/ 122 h 139"/>
                  <a:gd name="T56" fmla="*/ 64 w 77"/>
                  <a:gd name="T57" fmla="*/ 115 h 139"/>
                  <a:gd name="T58" fmla="*/ 55 w 77"/>
                  <a:gd name="T59" fmla="*/ 97 h 139"/>
                  <a:gd name="T60" fmla="*/ 45 w 77"/>
                  <a:gd name="T61" fmla="*/ 87 h 139"/>
                  <a:gd name="T62" fmla="*/ 45 w 77"/>
                  <a:gd name="T63" fmla="*/ 102 h 139"/>
                  <a:gd name="T64" fmla="*/ 44 w 77"/>
                  <a:gd name="T65" fmla="*/ 136 h 139"/>
                  <a:gd name="T66" fmla="*/ 41 w 77"/>
                  <a:gd name="T67" fmla="*/ 139 h 139"/>
                  <a:gd name="T68" fmla="*/ 38 w 77"/>
                  <a:gd name="T69" fmla="*/ 137 h 139"/>
                  <a:gd name="T70" fmla="*/ 37 w 77"/>
                  <a:gd name="T71" fmla="*/ 103 h 139"/>
                  <a:gd name="T72" fmla="*/ 37 w 77"/>
                  <a:gd name="T73" fmla="*/ 86 h 139"/>
                  <a:gd name="T74" fmla="*/ 28 w 77"/>
                  <a:gd name="T75" fmla="*/ 92 h 139"/>
                  <a:gd name="T76" fmla="*/ 19 w 77"/>
                  <a:gd name="T77" fmla="*/ 109 h 139"/>
                  <a:gd name="T78" fmla="*/ 12 w 77"/>
                  <a:gd name="T79" fmla="*/ 121 h 139"/>
                  <a:gd name="T80" fmla="*/ 8 w 77"/>
                  <a:gd name="T81" fmla="*/ 122 h 139"/>
                  <a:gd name="T82" fmla="*/ 7 w 77"/>
                  <a:gd name="T83" fmla="*/ 120 h 139"/>
                  <a:gd name="T84" fmla="*/ 8 w 77"/>
                  <a:gd name="T85" fmla="*/ 117 h 139"/>
                  <a:gd name="T86" fmla="*/ 11 w 77"/>
                  <a:gd name="T87" fmla="*/ 106 h 139"/>
                  <a:gd name="T88" fmla="*/ 22 w 77"/>
                  <a:gd name="T89" fmla="*/ 86 h 139"/>
                  <a:gd name="T90" fmla="*/ 37 w 77"/>
                  <a:gd name="T91" fmla="*/ 76 h 139"/>
                  <a:gd name="T92" fmla="*/ 37 w 77"/>
                  <a:gd name="T93" fmla="*/ 68 h 139"/>
                  <a:gd name="T94" fmla="*/ 37 w 77"/>
                  <a:gd name="T95" fmla="*/ 63 h 139"/>
                  <a:gd name="T96" fmla="*/ 24 w 77"/>
                  <a:gd name="T97" fmla="*/ 69 h 139"/>
                  <a:gd name="T98" fmla="*/ 16 w 77"/>
                  <a:gd name="T99" fmla="*/ 77 h 139"/>
                  <a:gd name="T100" fmla="*/ 9 w 77"/>
                  <a:gd name="T101" fmla="*/ 85 h 139"/>
                  <a:gd name="T102" fmla="*/ 6 w 77"/>
                  <a:gd name="T103" fmla="*/ 86 h 139"/>
                  <a:gd name="T104" fmla="*/ 5 w 77"/>
                  <a:gd name="T105" fmla="*/ 82 h 139"/>
                  <a:gd name="T106" fmla="*/ 22 w 77"/>
                  <a:gd name="T107" fmla="*/ 60 h 139"/>
                  <a:gd name="T108" fmla="*/ 37 w 77"/>
                  <a:gd name="T109" fmla="*/ 54 h 139"/>
                  <a:gd name="T110" fmla="*/ 37 w 77"/>
                  <a:gd name="T111" fmla="*/ 47 h 139"/>
                  <a:gd name="T112" fmla="*/ 3 w 77"/>
                  <a:gd name="T113" fmla="*/ 45 h 139"/>
                  <a:gd name="T114" fmla="*/ 0 w 77"/>
                  <a:gd name="T115" fmla="*/ 40 h 139"/>
                  <a:gd name="T116" fmla="*/ 5 w 77"/>
                  <a:gd name="T117" fmla="*/ 38 h 139"/>
                  <a:gd name="T118" fmla="*/ 37 w 77"/>
                  <a:gd name="T119" fmla="*/ 39 h 139"/>
                  <a:gd name="T120" fmla="*/ 37 w 77"/>
                  <a:gd name="T121" fmla="*/ 39 h 139"/>
                  <a:gd name="T122" fmla="*/ 33 w 77"/>
                  <a:gd name="T123" fmla="*/ 28 h 139"/>
                  <a:gd name="T124" fmla="*/ 12 w 77"/>
                  <a:gd name="T125" fmla="*/ 25 h 1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77" h="139">
                    <a:moveTo>
                      <a:pt x="12" y="25"/>
                    </a:moveTo>
                    <a:cubicBezTo>
                      <a:pt x="10" y="25"/>
                      <a:pt x="9" y="24"/>
                      <a:pt x="9" y="21"/>
                    </a:cubicBezTo>
                    <a:cubicBezTo>
                      <a:pt x="9" y="18"/>
                      <a:pt x="10" y="17"/>
                      <a:pt x="12" y="17"/>
                    </a:cubicBezTo>
                    <a:cubicBezTo>
                      <a:pt x="24" y="17"/>
                      <a:pt x="33" y="18"/>
                      <a:pt x="39" y="21"/>
                    </a:cubicBezTo>
                    <a:cubicBezTo>
                      <a:pt x="45" y="24"/>
                      <a:pt x="47" y="28"/>
                      <a:pt x="46" y="36"/>
                    </a:cubicBezTo>
                    <a:cubicBezTo>
                      <a:pt x="46" y="37"/>
                      <a:pt x="46" y="38"/>
                      <a:pt x="46" y="39"/>
                    </a:cubicBezTo>
                    <a:cubicBezTo>
                      <a:pt x="53" y="38"/>
                      <a:pt x="58" y="35"/>
                      <a:pt x="61" y="33"/>
                    </a:cubicBezTo>
                    <a:cubicBezTo>
                      <a:pt x="65" y="27"/>
                      <a:pt x="64" y="22"/>
                      <a:pt x="57" y="16"/>
                    </a:cubicBezTo>
                    <a:cubicBezTo>
                      <a:pt x="52" y="12"/>
                      <a:pt x="44" y="9"/>
                      <a:pt x="35" y="9"/>
                    </a:cubicBezTo>
                    <a:cubicBezTo>
                      <a:pt x="30" y="8"/>
                      <a:pt x="28" y="6"/>
                      <a:pt x="27" y="3"/>
                    </a:cubicBezTo>
                    <a:cubicBezTo>
                      <a:pt x="27" y="1"/>
                      <a:pt x="29" y="0"/>
                      <a:pt x="32" y="0"/>
                    </a:cubicBezTo>
                    <a:cubicBezTo>
                      <a:pt x="44" y="0"/>
                      <a:pt x="53" y="3"/>
                      <a:pt x="61" y="9"/>
                    </a:cubicBezTo>
                    <a:cubicBezTo>
                      <a:pt x="69" y="16"/>
                      <a:pt x="73" y="23"/>
                      <a:pt x="72" y="30"/>
                    </a:cubicBezTo>
                    <a:cubicBezTo>
                      <a:pt x="68" y="37"/>
                      <a:pt x="60" y="43"/>
                      <a:pt x="48" y="45"/>
                    </a:cubicBezTo>
                    <a:cubicBezTo>
                      <a:pt x="47" y="46"/>
                      <a:pt x="46" y="46"/>
                      <a:pt x="45" y="46"/>
                    </a:cubicBezTo>
                    <a:cubicBezTo>
                      <a:pt x="45" y="48"/>
                      <a:pt x="45" y="51"/>
                      <a:pt x="45" y="54"/>
                    </a:cubicBezTo>
                    <a:cubicBezTo>
                      <a:pt x="49" y="54"/>
                      <a:pt x="54" y="57"/>
                      <a:pt x="59" y="61"/>
                    </a:cubicBezTo>
                    <a:cubicBezTo>
                      <a:pt x="66" y="66"/>
                      <a:pt x="72" y="72"/>
                      <a:pt x="77" y="80"/>
                    </a:cubicBezTo>
                    <a:cubicBezTo>
                      <a:pt x="77" y="82"/>
                      <a:pt x="77" y="83"/>
                      <a:pt x="75" y="84"/>
                    </a:cubicBezTo>
                    <a:cubicBezTo>
                      <a:pt x="74" y="85"/>
                      <a:pt x="72" y="85"/>
                      <a:pt x="71" y="83"/>
                    </a:cubicBezTo>
                    <a:cubicBezTo>
                      <a:pt x="69" y="80"/>
                      <a:pt x="65" y="76"/>
                      <a:pt x="59" y="70"/>
                    </a:cubicBezTo>
                    <a:cubicBezTo>
                      <a:pt x="54" y="66"/>
                      <a:pt x="49" y="64"/>
                      <a:pt x="45" y="63"/>
                    </a:cubicBezTo>
                    <a:cubicBezTo>
                      <a:pt x="45" y="77"/>
                      <a:pt x="45" y="77"/>
                      <a:pt x="45" y="77"/>
                    </a:cubicBezTo>
                    <a:cubicBezTo>
                      <a:pt x="48" y="78"/>
                      <a:pt x="51" y="80"/>
                      <a:pt x="53" y="83"/>
                    </a:cubicBezTo>
                    <a:cubicBezTo>
                      <a:pt x="59" y="88"/>
                      <a:pt x="63" y="94"/>
                      <a:pt x="66" y="102"/>
                    </a:cubicBezTo>
                    <a:cubicBezTo>
                      <a:pt x="71" y="109"/>
                      <a:pt x="73" y="116"/>
                      <a:pt x="72" y="121"/>
                    </a:cubicBezTo>
                    <a:cubicBezTo>
                      <a:pt x="72" y="122"/>
                      <a:pt x="72" y="123"/>
                      <a:pt x="70" y="124"/>
                    </a:cubicBezTo>
                    <a:cubicBezTo>
                      <a:pt x="69" y="124"/>
                      <a:pt x="68" y="124"/>
                      <a:pt x="67" y="122"/>
                    </a:cubicBezTo>
                    <a:cubicBezTo>
                      <a:pt x="67" y="121"/>
                      <a:pt x="66" y="118"/>
                      <a:pt x="64" y="115"/>
                    </a:cubicBezTo>
                    <a:cubicBezTo>
                      <a:pt x="60" y="107"/>
                      <a:pt x="57" y="102"/>
                      <a:pt x="55" y="97"/>
                    </a:cubicBezTo>
                    <a:cubicBezTo>
                      <a:pt x="51" y="91"/>
                      <a:pt x="48" y="88"/>
                      <a:pt x="45" y="87"/>
                    </a:cubicBezTo>
                    <a:cubicBezTo>
                      <a:pt x="45" y="102"/>
                      <a:pt x="45" y="102"/>
                      <a:pt x="45" y="102"/>
                    </a:cubicBezTo>
                    <a:cubicBezTo>
                      <a:pt x="45" y="117"/>
                      <a:pt x="45" y="128"/>
                      <a:pt x="44" y="136"/>
                    </a:cubicBezTo>
                    <a:cubicBezTo>
                      <a:pt x="43" y="137"/>
                      <a:pt x="42" y="138"/>
                      <a:pt x="41" y="139"/>
                    </a:cubicBezTo>
                    <a:cubicBezTo>
                      <a:pt x="40" y="139"/>
                      <a:pt x="39" y="139"/>
                      <a:pt x="38" y="137"/>
                    </a:cubicBezTo>
                    <a:cubicBezTo>
                      <a:pt x="37" y="135"/>
                      <a:pt x="37" y="123"/>
                      <a:pt x="37" y="103"/>
                    </a:cubicBezTo>
                    <a:cubicBezTo>
                      <a:pt x="37" y="97"/>
                      <a:pt x="37" y="92"/>
                      <a:pt x="37" y="86"/>
                    </a:cubicBezTo>
                    <a:cubicBezTo>
                      <a:pt x="34" y="87"/>
                      <a:pt x="31" y="89"/>
                      <a:pt x="28" y="92"/>
                    </a:cubicBezTo>
                    <a:cubicBezTo>
                      <a:pt x="24" y="98"/>
                      <a:pt x="21" y="103"/>
                      <a:pt x="19" y="109"/>
                    </a:cubicBezTo>
                    <a:cubicBezTo>
                      <a:pt x="17" y="113"/>
                      <a:pt x="15" y="117"/>
                      <a:pt x="12" y="121"/>
                    </a:cubicBezTo>
                    <a:cubicBezTo>
                      <a:pt x="11" y="122"/>
                      <a:pt x="9" y="122"/>
                      <a:pt x="8" y="122"/>
                    </a:cubicBezTo>
                    <a:cubicBezTo>
                      <a:pt x="7" y="122"/>
                      <a:pt x="7" y="121"/>
                      <a:pt x="7" y="120"/>
                    </a:cubicBezTo>
                    <a:cubicBezTo>
                      <a:pt x="7" y="119"/>
                      <a:pt x="7" y="118"/>
                      <a:pt x="8" y="117"/>
                    </a:cubicBezTo>
                    <a:cubicBezTo>
                      <a:pt x="9" y="112"/>
                      <a:pt x="10" y="108"/>
                      <a:pt x="11" y="106"/>
                    </a:cubicBezTo>
                    <a:cubicBezTo>
                      <a:pt x="13" y="101"/>
                      <a:pt x="17" y="94"/>
                      <a:pt x="22" y="86"/>
                    </a:cubicBezTo>
                    <a:cubicBezTo>
                      <a:pt x="27" y="80"/>
                      <a:pt x="32" y="77"/>
                      <a:pt x="37" y="76"/>
                    </a:cubicBezTo>
                    <a:cubicBezTo>
                      <a:pt x="37" y="68"/>
                      <a:pt x="37" y="68"/>
                      <a:pt x="37" y="68"/>
                    </a:cubicBezTo>
                    <a:cubicBezTo>
                      <a:pt x="37" y="63"/>
                      <a:pt x="37" y="63"/>
                      <a:pt x="37" y="63"/>
                    </a:cubicBezTo>
                    <a:cubicBezTo>
                      <a:pt x="33" y="64"/>
                      <a:pt x="29" y="66"/>
                      <a:pt x="24" y="69"/>
                    </a:cubicBezTo>
                    <a:cubicBezTo>
                      <a:pt x="23" y="70"/>
                      <a:pt x="20" y="72"/>
                      <a:pt x="16" y="77"/>
                    </a:cubicBezTo>
                    <a:cubicBezTo>
                      <a:pt x="13" y="81"/>
                      <a:pt x="11" y="83"/>
                      <a:pt x="9" y="85"/>
                    </a:cubicBezTo>
                    <a:cubicBezTo>
                      <a:pt x="8" y="86"/>
                      <a:pt x="7" y="87"/>
                      <a:pt x="6" y="86"/>
                    </a:cubicBezTo>
                    <a:cubicBezTo>
                      <a:pt x="5" y="86"/>
                      <a:pt x="5" y="84"/>
                      <a:pt x="5" y="82"/>
                    </a:cubicBezTo>
                    <a:cubicBezTo>
                      <a:pt x="10" y="73"/>
                      <a:pt x="15" y="65"/>
                      <a:pt x="22" y="60"/>
                    </a:cubicBezTo>
                    <a:cubicBezTo>
                      <a:pt x="27" y="56"/>
                      <a:pt x="32" y="54"/>
                      <a:pt x="37" y="54"/>
                    </a:cubicBezTo>
                    <a:cubicBezTo>
                      <a:pt x="37" y="47"/>
                      <a:pt x="37" y="47"/>
                      <a:pt x="37" y="47"/>
                    </a:cubicBezTo>
                    <a:cubicBezTo>
                      <a:pt x="22" y="49"/>
                      <a:pt x="10" y="48"/>
                      <a:pt x="3" y="45"/>
                    </a:cubicBezTo>
                    <a:cubicBezTo>
                      <a:pt x="1" y="44"/>
                      <a:pt x="0" y="42"/>
                      <a:pt x="0" y="40"/>
                    </a:cubicBezTo>
                    <a:cubicBezTo>
                      <a:pt x="1" y="38"/>
                      <a:pt x="3" y="38"/>
                      <a:pt x="5" y="38"/>
                    </a:cubicBezTo>
                    <a:cubicBezTo>
                      <a:pt x="12" y="40"/>
                      <a:pt x="22" y="40"/>
                      <a:pt x="37" y="39"/>
                    </a:cubicBezTo>
                    <a:cubicBezTo>
                      <a:pt x="37" y="39"/>
                      <a:pt x="37" y="39"/>
                      <a:pt x="37" y="39"/>
                    </a:cubicBezTo>
                    <a:cubicBezTo>
                      <a:pt x="38" y="32"/>
                      <a:pt x="36" y="29"/>
                      <a:pt x="33" y="28"/>
                    </a:cubicBezTo>
                    <a:cubicBezTo>
                      <a:pt x="26" y="25"/>
                      <a:pt x="19" y="24"/>
                      <a:pt x="12" y="25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1049403" name="íṣlíḑe"/>
              <p:cNvSpPr/>
              <p:nvPr/>
            </p:nvSpPr>
            <p:spPr bwMode="auto">
              <a:xfrm>
                <a:off x="2273197" y="5255215"/>
                <a:ext cx="163513" cy="263525"/>
              </a:xfrm>
              <a:custGeom>
                <a:avLst/>
                <a:gdLst>
                  <a:gd name="T0" fmla="*/ 47 w 88"/>
                  <a:gd name="T1" fmla="*/ 8 h 143"/>
                  <a:gd name="T2" fmla="*/ 74 w 88"/>
                  <a:gd name="T3" fmla="*/ 14 h 143"/>
                  <a:gd name="T4" fmla="*/ 82 w 88"/>
                  <a:gd name="T5" fmla="*/ 26 h 143"/>
                  <a:gd name="T6" fmla="*/ 79 w 88"/>
                  <a:gd name="T7" fmla="*/ 75 h 143"/>
                  <a:gd name="T8" fmla="*/ 86 w 88"/>
                  <a:gd name="T9" fmla="*/ 136 h 143"/>
                  <a:gd name="T10" fmla="*/ 73 w 88"/>
                  <a:gd name="T11" fmla="*/ 45 h 143"/>
                  <a:gd name="T12" fmla="*/ 67 w 88"/>
                  <a:gd name="T13" fmla="*/ 44 h 143"/>
                  <a:gd name="T14" fmla="*/ 54 w 88"/>
                  <a:gd name="T15" fmla="*/ 58 h 143"/>
                  <a:gd name="T16" fmla="*/ 22 w 88"/>
                  <a:gd name="T17" fmla="*/ 54 h 143"/>
                  <a:gd name="T18" fmla="*/ 15 w 88"/>
                  <a:gd name="T19" fmla="*/ 45 h 143"/>
                  <a:gd name="T20" fmla="*/ 11 w 88"/>
                  <a:gd name="T21" fmla="*/ 91 h 143"/>
                  <a:gd name="T22" fmla="*/ 9 w 88"/>
                  <a:gd name="T23" fmla="*/ 118 h 143"/>
                  <a:gd name="T24" fmla="*/ 2 w 88"/>
                  <a:gd name="T25" fmla="*/ 139 h 143"/>
                  <a:gd name="T26" fmla="*/ 6 w 88"/>
                  <a:gd name="T27" fmla="*/ 80 h 143"/>
                  <a:gd name="T28" fmla="*/ 2 w 88"/>
                  <a:gd name="T29" fmla="*/ 26 h 143"/>
                  <a:gd name="T30" fmla="*/ 32 w 88"/>
                  <a:gd name="T31" fmla="*/ 10 h 143"/>
                  <a:gd name="T32" fmla="*/ 39 w 88"/>
                  <a:gd name="T33" fmla="*/ 0 h 143"/>
                  <a:gd name="T34" fmla="*/ 24 w 88"/>
                  <a:gd name="T35" fmla="*/ 23 h 143"/>
                  <a:gd name="T36" fmla="*/ 66 w 88"/>
                  <a:gd name="T37" fmla="*/ 29 h 143"/>
                  <a:gd name="T38" fmla="*/ 67 w 88"/>
                  <a:gd name="T39" fmla="*/ 37 h 143"/>
                  <a:gd name="T40" fmla="*/ 73 w 88"/>
                  <a:gd name="T41" fmla="*/ 34 h 143"/>
                  <a:gd name="T42" fmla="*/ 66 w 88"/>
                  <a:gd name="T43" fmla="*/ 20 h 143"/>
                  <a:gd name="T44" fmla="*/ 13 w 88"/>
                  <a:gd name="T45" fmla="*/ 21 h 143"/>
                  <a:gd name="T46" fmla="*/ 12 w 88"/>
                  <a:gd name="T47" fmla="*/ 32 h 143"/>
                  <a:gd name="T48" fmla="*/ 17 w 88"/>
                  <a:gd name="T49" fmla="*/ 38 h 143"/>
                  <a:gd name="T50" fmla="*/ 24 w 88"/>
                  <a:gd name="T51" fmla="*/ 23 h 143"/>
                  <a:gd name="T52" fmla="*/ 61 w 88"/>
                  <a:gd name="T53" fmla="*/ 64 h 143"/>
                  <a:gd name="T54" fmla="*/ 66 w 88"/>
                  <a:gd name="T55" fmla="*/ 96 h 143"/>
                  <a:gd name="T56" fmla="*/ 61 w 88"/>
                  <a:gd name="T57" fmla="*/ 136 h 143"/>
                  <a:gd name="T58" fmla="*/ 59 w 88"/>
                  <a:gd name="T59" fmla="*/ 143 h 143"/>
                  <a:gd name="T60" fmla="*/ 46 w 88"/>
                  <a:gd name="T61" fmla="*/ 105 h 143"/>
                  <a:gd name="T62" fmla="*/ 30 w 88"/>
                  <a:gd name="T63" fmla="*/ 140 h 143"/>
                  <a:gd name="T64" fmla="*/ 26 w 88"/>
                  <a:gd name="T65" fmla="*/ 137 h 143"/>
                  <a:gd name="T66" fmla="*/ 32 w 88"/>
                  <a:gd name="T67" fmla="*/ 121 h 143"/>
                  <a:gd name="T68" fmla="*/ 35 w 88"/>
                  <a:gd name="T69" fmla="*/ 105 h 143"/>
                  <a:gd name="T70" fmla="*/ 18 w 88"/>
                  <a:gd name="T71" fmla="*/ 75 h 143"/>
                  <a:gd name="T72" fmla="*/ 24 w 88"/>
                  <a:gd name="T73" fmla="*/ 35 h 143"/>
                  <a:gd name="T74" fmla="*/ 39 w 88"/>
                  <a:gd name="T75" fmla="*/ 37 h 143"/>
                  <a:gd name="T76" fmla="*/ 34 w 88"/>
                  <a:gd name="T77" fmla="*/ 29 h 143"/>
                  <a:gd name="T78" fmla="*/ 24 w 88"/>
                  <a:gd name="T79" fmla="*/ 35 h 143"/>
                  <a:gd name="T80" fmla="*/ 62 w 88"/>
                  <a:gd name="T81" fmla="*/ 84 h 143"/>
                  <a:gd name="T82" fmla="*/ 43 w 88"/>
                  <a:gd name="T83" fmla="*/ 81 h 143"/>
                  <a:gd name="T84" fmla="*/ 25 w 88"/>
                  <a:gd name="T85" fmla="*/ 87 h 143"/>
                  <a:gd name="T86" fmla="*/ 26 w 88"/>
                  <a:gd name="T87" fmla="*/ 48 h 143"/>
                  <a:gd name="T88" fmla="*/ 38 w 88"/>
                  <a:gd name="T89" fmla="*/ 52 h 143"/>
                  <a:gd name="T90" fmla="*/ 25 w 88"/>
                  <a:gd name="T91" fmla="*/ 44 h 143"/>
                  <a:gd name="T92" fmla="*/ 32 w 88"/>
                  <a:gd name="T93" fmla="*/ 69 h 143"/>
                  <a:gd name="T94" fmla="*/ 41 w 88"/>
                  <a:gd name="T95" fmla="*/ 75 h 143"/>
                  <a:gd name="T96" fmla="*/ 57 w 88"/>
                  <a:gd name="T97" fmla="*/ 70 h 143"/>
                  <a:gd name="T98" fmla="*/ 56 w 88"/>
                  <a:gd name="T99" fmla="*/ 98 h 143"/>
                  <a:gd name="T100" fmla="*/ 54 w 88"/>
                  <a:gd name="T101" fmla="*/ 93 h 143"/>
                  <a:gd name="T102" fmla="*/ 36 w 88"/>
                  <a:gd name="T103" fmla="*/ 93 h 143"/>
                  <a:gd name="T104" fmla="*/ 32 w 88"/>
                  <a:gd name="T105" fmla="*/ 98 h 143"/>
                  <a:gd name="T106" fmla="*/ 56 w 88"/>
                  <a:gd name="T107" fmla="*/ 29 h 143"/>
                  <a:gd name="T108" fmla="*/ 46 w 88"/>
                  <a:gd name="T109" fmla="*/ 29 h 143"/>
                  <a:gd name="T110" fmla="*/ 60 w 88"/>
                  <a:gd name="T111" fmla="*/ 37 h 143"/>
                  <a:gd name="T112" fmla="*/ 56 w 88"/>
                  <a:gd name="T113" fmla="*/ 29 h 143"/>
                  <a:gd name="T114" fmla="*/ 60 w 88"/>
                  <a:gd name="T115" fmla="*/ 43 h 143"/>
                  <a:gd name="T116" fmla="*/ 46 w 88"/>
                  <a:gd name="T117" fmla="*/ 52 h 143"/>
                  <a:gd name="T118" fmla="*/ 59 w 88"/>
                  <a:gd name="T119" fmla="*/ 48 h 1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88" h="143">
                    <a:moveTo>
                      <a:pt x="43" y="2"/>
                    </a:moveTo>
                    <a:cubicBezTo>
                      <a:pt x="45" y="3"/>
                      <a:pt x="47" y="6"/>
                      <a:pt x="47" y="8"/>
                    </a:cubicBezTo>
                    <a:cubicBezTo>
                      <a:pt x="47" y="9"/>
                      <a:pt x="48" y="10"/>
                      <a:pt x="49" y="10"/>
                    </a:cubicBezTo>
                    <a:cubicBezTo>
                      <a:pt x="57" y="10"/>
                      <a:pt x="66" y="12"/>
                      <a:pt x="74" y="14"/>
                    </a:cubicBezTo>
                    <a:cubicBezTo>
                      <a:pt x="78" y="16"/>
                      <a:pt x="81" y="18"/>
                      <a:pt x="81" y="19"/>
                    </a:cubicBezTo>
                    <a:cubicBezTo>
                      <a:pt x="82" y="21"/>
                      <a:pt x="82" y="24"/>
                      <a:pt x="82" y="26"/>
                    </a:cubicBezTo>
                    <a:cubicBezTo>
                      <a:pt x="82" y="27"/>
                      <a:pt x="82" y="27"/>
                      <a:pt x="82" y="28"/>
                    </a:cubicBezTo>
                    <a:cubicBezTo>
                      <a:pt x="79" y="39"/>
                      <a:pt x="78" y="55"/>
                      <a:pt x="79" y="75"/>
                    </a:cubicBezTo>
                    <a:cubicBezTo>
                      <a:pt x="80" y="87"/>
                      <a:pt x="83" y="106"/>
                      <a:pt x="87" y="131"/>
                    </a:cubicBezTo>
                    <a:cubicBezTo>
                      <a:pt x="88" y="134"/>
                      <a:pt x="87" y="135"/>
                      <a:pt x="86" y="136"/>
                    </a:cubicBezTo>
                    <a:cubicBezTo>
                      <a:pt x="84" y="137"/>
                      <a:pt x="82" y="136"/>
                      <a:pt x="82" y="133"/>
                    </a:cubicBezTo>
                    <a:cubicBezTo>
                      <a:pt x="74" y="106"/>
                      <a:pt x="71" y="76"/>
                      <a:pt x="73" y="45"/>
                    </a:cubicBezTo>
                    <a:cubicBezTo>
                      <a:pt x="72" y="45"/>
                      <a:pt x="71" y="44"/>
                      <a:pt x="70" y="44"/>
                    </a:cubicBezTo>
                    <a:cubicBezTo>
                      <a:pt x="69" y="44"/>
                      <a:pt x="68" y="44"/>
                      <a:pt x="67" y="44"/>
                    </a:cubicBezTo>
                    <a:cubicBezTo>
                      <a:pt x="67" y="48"/>
                      <a:pt x="66" y="51"/>
                      <a:pt x="64" y="54"/>
                    </a:cubicBezTo>
                    <a:cubicBezTo>
                      <a:pt x="62" y="57"/>
                      <a:pt x="59" y="59"/>
                      <a:pt x="54" y="58"/>
                    </a:cubicBezTo>
                    <a:cubicBezTo>
                      <a:pt x="47" y="58"/>
                      <a:pt x="39" y="58"/>
                      <a:pt x="32" y="58"/>
                    </a:cubicBezTo>
                    <a:cubicBezTo>
                      <a:pt x="28" y="59"/>
                      <a:pt x="25" y="58"/>
                      <a:pt x="22" y="54"/>
                    </a:cubicBezTo>
                    <a:cubicBezTo>
                      <a:pt x="20" y="51"/>
                      <a:pt x="19" y="48"/>
                      <a:pt x="18" y="45"/>
                    </a:cubicBezTo>
                    <a:cubicBezTo>
                      <a:pt x="17" y="45"/>
                      <a:pt x="16" y="45"/>
                      <a:pt x="15" y="45"/>
                    </a:cubicBezTo>
                    <a:cubicBezTo>
                      <a:pt x="14" y="45"/>
                      <a:pt x="13" y="45"/>
                      <a:pt x="13" y="45"/>
                    </a:cubicBezTo>
                    <a:cubicBezTo>
                      <a:pt x="13" y="60"/>
                      <a:pt x="13" y="75"/>
                      <a:pt x="11" y="91"/>
                    </a:cubicBezTo>
                    <a:cubicBezTo>
                      <a:pt x="11" y="95"/>
                      <a:pt x="11" y="102"/>
                      <a:pt x="10" y="111"/>
                    </a:cubicBezTo>
                    <a:cubicBezTo>
                      <a:pt x="10" y="108"/>
                      <a:pt x="10" y="111"/>
                      <a:pt x="9" y="118"/>
                    </a:cubicBezTo>
                    <a:cubicBezTo>
                      <a:pt x="9" y="124"/>
                      <a:pt x="8" y="130"/>
                      <a:pt x="6" y="134"/>
                    </a:cubicBezTo>
                    <a:cubicBezTo>
                      <a:pt x="5" y="138"/>
                      <a:pt x="3" y="139"/>
                      <a:pt x="2" y="139"/>
                    </a:cubicBezTo>
                    <a:cubicBezTo>
                      <a:pt x="0" y="139"/>
                      <a:pt x="0" y="137"/>
                      <a:pt x="0" y="133"/>
                    </a:cubicBezTo>
                    <a:cubicBezTo>
                      <a:pt x="3" y="112"/>
                      <a:pt x="5" y="94"/>
                      <a:pt x="6" y="80"/>
                    </a:cubicBezTo>
                    <a:cubicBezTo>
                      <a:pt x="8" y="64"/>
                      <a:pt x="7" y="51"/>
                      <a:pt x="6" y="38"/>
                    </a:cubicBezTo>
                    <a:cubicBezTo>
                      <a:pt x="5" y="34"/>
                      <a:pt x="4" y="30"/>
                      <a:pt x="2" y="26"/>
                    </a:cubicBezTo>
                    <a:cubicBezTo>
                      <a:pt x="0" y="21"/>
                      <a:pt x="1" y="17"/>
                      <a:pt x="6" y="16"/>
                    </a:cubicBezTo>
                    <a:cubicBezTo>
                      <a:pt x="14" y="12"/>
                      <a:pt x="23" y="11"/>
                      <a:pt x="32" y="10"/>
                    </a:cubicBezTo>
                    <a:cubicBezTo>
                      <a:pt x="36" y="9"/>
                      <a:pt x="38" y="7"/>
                      <a:pt x="38" y="4"/>
                    </a:cubicBezTo>
                    <a:cubicBezTo>
                      <a:pt x="38" y="2"/>
                      <a:pt x="38" y="1"/>
                      <a:pt x="39" y="0"/>
                    </a:cubicBezTo>
                    <a:cubicBezTo>
                      <a:pt x="41" y="0"/>
                      <a:pt x="42" y="0"/>
                      <a:pt x="43" y="2"/>
                    </a:cubicBezTo>
                    <a:close/>
                    <a:moveTo>
                      <a:pt x="24" y="23"/>
                    </a:moveTo>
                    <a:cubicBezTo>
                      <a:pt x="33" y="22"/>
                      <a:pt x="44" y="22"/>
                      <a:pt x="58" y="23"/>
                    </a:cubicBezTo>
                    <a:cubicBezTo>
                      <a:pt x="63" y="24"/>
                      <a:pt x="66" y="26"/>
                      <a:pt x="66" y="29"/>
                    </a:cubicBezTo>
                    <a:cubicBezTo>
                      <a:pt x="66" y="30"/>
                      <a:pt x="66" y="30"/>
                      <a:pt x="67" y="31"/>
                    </a:cubicBezTo>
                    <a:cubicBezTo>
                      <a:pt x="67" y="33"/>
                      <a:pt x="67" y="35"/>
                      <a:pt x="67" y="37"/>
                    </a:cubicBezTo>
                    <a:cubicBezTo>
                      <a:pt x="69" y="38"/>
                      <a:pt x="71" y="38"/>
                      <a:pt x="73" y="38"/>
                    </a:cubicBezTo>
                    <a:cubicBezTo>
                      <a:pt x="73" y="37"/>
                      <a:pt x="73" y="36"/>
                      <a:pt x="73" y="34"/>
                    </a:cubicBezTo>
                    <a:cubicBezTo>
                      <a:pt x="73" y="32"/>
                      <a:pt x="73" y="30"/>
                      <a:pt x="74" y="29"/>
                    </a:cubicBezTo>
                    <a:cubicBezTo>
                      <a:pt x="75" y="25"/>
                      <a:pt x="72" y="21"/>
                      <a:pt x="66" y="20"/>
                    </a:cubicBezTo>
                    <a:cubicBezTo>
                      <a:pt x="58" y="17"/>
                      <a:pt x="50" y="16"/>
                      <a:pt x="40" y="16"/>
                    </a:cubicBezTo>
                    <a:cubicBezTo>
                      <a:pt x="29" y="16"/>
                      <a:pt x="20" y="18"/>
                      <a:pt x="13" y="21"/>
                    </a:cubicBezTo>
                    <a:cubicBezTo>
                      <a:pt x="11" y="22"/>
                      <a:pt x="11" y="24"/>
                      <a:pt x="11" y="26"/>
                    </a:cubicBezTo>
                    <a:cubicBezTo>
                      <a:pt x="11" y="28"/>
                      <a:pt x="12" y="30"/>
                      <a:pt x="12" y="32"/>
                    </a:cubicBezTo>
                    <a:cubicBezTo>
                      <a:pt x="12" y="35"/>
                      <a:pt x="12" y="37"/>
                      <a:pt x="12" y="38"/>
                    </a:cubicBezTo>
                    <a:cubicBezTo>
                      <a:pt x="14" y="38"/>
                      <a:pt x="15" y="38"/>
                      <a:pt x="17" y="38"/>
                    </a:cubicBezTo>
                    <a:cubicBezTo>
                      <a:pt x="17" y="35"/>
                      <a:pt x="17" y="32"/>
                      <a:pt x="17" y="30"/>
                    </a:cubicBezTo>
                    <a:cubicBezTo>
                      <a:pt x="18" y="26"/>
                      <a:pt x="20" y="24"/>
                      <a:pt x="24" y="23"/>
                    </a:cubicBezTo>
                    <a:close/>
                    <a:moveTo>
                      <a:pt x="28" y="64"/>
                    </a:moveTo>
                    <a:cubicBezTo>
                      <a:pt x="39" y="62"/>
                      <a:pt x="50" y="62"/>
                      <a:pt x="61" y="64"/>
                    </a:cubicBezTo>
                    <a:cubicBezTo>
                      <a:pt x="65" y="65"/>
                      <a:pt x="67" y="67"/>
                      <a:pt x="67" y="71"/>
                    </a:cubicBezTo>
                    <a:cubicBezTo>
                      <a:pt x="69" y="79"/>
                      <a:pt x="68" y="88"/>
                      <a:pt x="66" y="96"/>
                    </a:cubicBezTo>
                    <a:cubicBezTo>
                      <a:pt x="65" y="102"/>
                      <a:pt x="61" y="105"/>
                      <a:pt x="54" y="105"/>
                    </a:cubicBezTo>
                    <a:cubicBezTo>
                      <a:pt x="55" y="115"/>
                      <a:pt x="57" y="125"/>
                      <a:pt x="61" y="136"/>
                    </a:cubicBezTo>
                    <a:cubicBezTo>
                      <a:pt x="63" y="138"/>
                      <a:pt x="63" y="140"/>
                      <a:pt x="61" y="142"/>
                    </a:cubicBezTo>
                    <a:cubicBezTo>
                      <a:pt x="60" y="142"/>
                      <a:pt x="59" y="143"/>
                      <a:pt x="59" y="143"/>
                    </a:cubicBezTo>
                    <a:cubicBezTo>
                      <a:pt x="58" y="143"/>
                      <a:pt x="57" y="142"/>
                      <a:pt x="57" y="141"/>
                    </a:cubicBezTo>
                    <a:cubicBezTo>
                      <a:pt x="52" y="131"/>
                      <a:pt x="48" y="120"/>
                      <a:pt x="46" y="105"/>
                    </a:cubicBezTo>
                    <a:cubicBezTo>
                      <a:pt x="41" y="105"/>
                      <a:pt x="41" y="105"/>
                      <a:pt x="41" y="105"/>
                    </a:cubicBezTo>
                    <a:cubicBezTo>
                      <a:pt x="40" y="120"/>
                      <a:pt x="37" y="131"/>
                      <a:pt x="30" y="140"/>
                    </a:cubicBezTo>
                    <a:cubicBezTo>
                      <a:pt x="29" y="141"/>
                      <a:pt x="27" y="142"/>
                      <a:pt x="26" y="142"/>
                    </a:cubicBezTo>
                    <a:cubicBezTo>
                      <a:pt x="25" y="141"/>
                      <a:pt x="25" y="139"/>
                      <a:pt x="26" y="137"/>
                    </a:cubicBezTo>
                    <a:cubicBezTo>
                      <a:pt x="26" y="137"/>
                      <a:pt x="26" y="135"/>
                      <a:pt x="28" y="132"/>
                    </a:cubicBezTo>
                    <a:cubicBezTo>
                      <a:pt x="30" y="127"/>
                      <a:pt x="32" y="123"/>
                      <a:pt x="32" y="121"/>
                    </a:cubicBezTo>
                    <a:cubicBezTo>
                      <a:pt x="33" y="118"/>
                      <a:pt x="34" y="113"/>
                      <a:pt x="35" y="107"/>
                    </a:cubicBezTo>
                    <a:cubicBezTo>
                      <a:pt x="35" y="106"/>
                      <a:pt x="35" y="106"/>
                      <a:pt x="35" y="105"/>
                    </a:cubicBezTo>
                    <a:cubicBezTo>
                      <a:pt x="29" y="105"/>
                      <a:pt x="25" y="103"/>
                      <a:pt x="22" y="98"/>
                    </a:cubicBezTo>
                    <a:cubicBezTo>
                      <a:pt x="19" y="93"/>
                      <a:pt x="17" y="85"/>
                      <a:pt x="18" y="75"/>
                    </a:cubicBezTo>
                    <a:cubicBezTo>
                      <a:pt x="19" y="68"/>
                      <a:pt x="22" y="65"/>
                      <a:pt x="28" y="64"/>
                    </a:cubicBezTo>
                    <a:close/>
                    <a:moveTo>
                      <a:pt x="24" y="35"/>
                    </a:moveTo>
                    <a:cubicBezTo>
                      <a:pt x="24" y="36"/>
                      <a:pt x="24" y="36"/>
                      <a:pt x="24" y="37"/>
                    </a:cubicBezTo>
                    <a:cubicBezTo>
                      <a:pt x="29" y="37"/>
                      <a:pt x="34" y="37"/>
                      <a:pt x="39" y="37"/>
                    </a:cubicBezTo>
                    <a:cubicBezTo>
                      <a:pt x="39" y="34"/>
                      <a:pt x="38" y="31"/>
                      <a:pt x="38" y="29"/>
                    </a:cubicBezTo>
                    <a:cubicBezTo>
                      <a:pt x="37" y="29"/>
                      <a:pt x="36" y="29"/>
                      <a:pt x="34" y="29"/>
                    </a:cubicBezTo>
                    <a:cubicBezTo>
                      <a:pt x="31" y="29"/>
                      <a:pt x="30" y="29"/>
                      <a:pt x="28" y="29"/>
                    </a:cubicBezTo>
                    <a:cubicBezTo>
                      <a:pt x="25" y="31"/>
                      <a:pt x="24" y="32"/>
                      <a:pt x="24" y="35"/>
                    </a:cubicBezTo>
                    <a:close/>
                    <a:moveTo>
                      <a:pt x="61" y="87"/>
                    </a:moveTo>
                    <a:cubicBezTo>
                      <a:pt x="61" y="86"/>
                      <a:pt x="62" y="85"/>
                      <a:pt x="62" y="84"/>
                    </a:cubicBezTo>
                    <a:cubicBezTo>
                      <a:pt x="62" y="83"/>
                      <a:pt x="62" y="82"/>
                      <a:pt x="62" y="82"/>
                    </a:cubicBezTo>
                    <a:cubicBezTo>
                      <a:pt x="56" y="81"/>
                      <a:pt x="50" y="80"/>
                      <a:pt x="43" y="81"/>
                    </a:cubicBezTo>
                    <a:cubicBezTo>
                      <a:pt x="37" y="81"/>
                      <a:pt x="31" y="82"/>
                      <a:pt x="24" y="83"/>
                    </a:cubicBezTo>
                    <a:cubicBezTo>
                      <a:pt x="25" y="87"/>
                      <a:pt x="25" y="87"/>
                      <a:pt x="25" y="87"/>
                    </a:cubicBezTo>
                    <a:cubicBezTo>
                      <a:pt x="35" y="86"/>
                      <a:pt x="48" y="86"/>
                      <a:pt x="61" y="87"/>
                    </a:cubicBezTo>
                    <a:close/>
                    <a:moveTo>
                      <a:pt x="26" y="48"/>
                    </a:moveTo>
                    <a:cubicBezTo>
                      <a:pt x="28" y="51"/>
                      <a:pt x="30" y="52"/>
                      <a:pt x="35" y="52"/>
                    </a:cubicBezTo>
                    <a:cubicBezTo>
                      <a:pt x="38" y="52"/>
                      <a:pt x="38" y="52"/>
                      <a:pt x="38" y="52"/>
                    </a:cubicBezTo>
                    <a:cubicBezTo>
                      <a:pt x="38" y="49"/>
                      <a:pt x="39" y="46"/>
                      <a:pt x="39" y="44"/>
                    </a:cubicBezTo>
                    <a:cubicBezTo>
                      <a:pt x="34" y="44"/>
                      <a:pt x="30" y="44"/>
                      <a:pt x="25" y="44"/>
                    </a:cubicBezTo>
                    <a:cubicBezTo>
                      <a:pt x="25" y="46"/>
                      <a:pt x="25" y="47"/>
                      <a:pt x="26" y="48"/>
                    </a:cubicBezTo>
                    <a:close/>
                    <a:moveTo>
                      <a:pt x="32" y="69"/>
                    </a:moveTo>
                    <a:cubicBezTo>
                      <a:pt x="28" y="70"/>
                      <a:pt x="25" y="72"/>
                      <a:pt x="25" y="76"/>
                    </a:cubicBezTo>
                    <a:cubicBezTo>
                      <a:pt x="30" y="75"/>
                      <a:pt x="35" y="75"/>
                      <a:pt x="41" y="75"/>
                    </a:cubicBezTo>
                    <a:cubicBezTo>
                      <a:pt x="46" y="74"/>
                      <a:pt x="53" y="74"/>
                      <a:pt x="61" y="75"/>
                    </a:cubicBezTo>
                    <a:cubicBezTo>
                      <a:pt x="61" y="72"/>
                      <a:pt x="59" y="71"/>
                      <a:pt x="57" y="70"/>
                    </a:cubicBezTo>
                    <a:cubicBezTo>
                      <a:pt x="49" y="68"/>
                      <a:pt x="40" y="68"/>
                      <a:pt x="32" y="69"/>
                    </a:cubicBezTo>
                    <a:close/>
                    <a:moveTo>
                      <a:pt x="56" y="98"/>
                    </a:moveTo>
                    <a:cubicBezTo>
                      <a:pt x="59" y="97"/>
                      <a:pt x="60" y="96"/>
                      <a:pt x="61" y="93"/>
                    </a:cubicBezTo>
                    <a:cubicBezTo>
                      <a:pt x="60" y="93"/>
                      <a:pt x="57" y="93"/>
                      <a:pt x="54" y="93"/>
                    </a:cubicBezTo>
                    <a:cubicBezTo>
                      <a:pt x="48" y="92"/>
                      <a:pt x="44" y="92"/>
                      <a:pt x="41" y="92"/>
                    </a:cubicBezTo>
                    <a:cubicBezTo>
                      <a:pt x="40" y="92"/>
                      <a:pt x="38" y="92"/>
                      <a:pt x="36" y="93"/>
                    </a:cubicBezTo>
                    <a:cubicBezTo>
                      <a:pt x="31" y="93"/>
                      <a:pt x="28" y="94"/>
                      <a:pt x="26" y="94"/>
                    </a:cubicBezTo>
                    <a:cubicBezTo>
                      <a:pt x="27" y="96"/>
                      <a:pt x="29" y="98"/>
                      <a:pt x="32" y="98"/>
                    </a:cubicBezTo>
                    <a:cubicBezTo>
                      <a:pt x="39" y="99"/>
                      <a:pt x="47" y="99"/>
                      <a:pt x="56" y="98"/>
                    </a:cubicBezTo>
                    <a:close/>
                    <a:moveTo>
                      <a:pt x="56" y="29"/>
                    </a:moveTo>
                    <a:cubicBezTo>
                      <a:pt x="55" y="29"/>
                      <a:pt x="53" y="29"/>
                      <a:pt x="51" y="29"/>
                    </a:cubicBezTo>
                    <a:cubicBezTo>
                      <a:pt x="49" y="29"/>
                      <a:pt x="47" y="29"/>
                      <a:pt x="46" y="29"/>
                    </a:cubicBezTo>
                    <a:cubicBezTo>
                      <a:pt x="46" y="31"/>
                      <a:pt x="46" y="34"/>
                      <a:pt x="46" y="37"/>
                    </a:cubicBezTo>
                    <a:cubicBezTo>
                      <a:pt x="50" y="37"/>
                      <a:pt x="55" y="37"/>
                      <a:pt x="60" y="37"/>
                    </a:cubicBezTo>
                    <a:cubicBezTo>
                      <a:pt x="60" y="35"/>
                      <a:pt x="60" y="35"/>
                      <a:pt x="60" y="35"/>
                    </a:cubicBezTo>
                    <a:cubicBezTo>
                      <a:pt x="60" y="32"/>
                      <a:pt x="58" y="30"/>
                      <a:pt x="56" y="29"/>
                    </a:cubicBezTo>
                    <a:close/>
                    <a:moveTo>
                      <a:pt x="59" y="48"/>
                    </a:moveTo>
                    <a:cubicBezTo>
                      <a:pt x="59" y="47"/>
                      <a:pt x="59" y="45"/>
                      <a:pt x="60" y="43"/>
                    </a:cubicBezTo>
                    <a:cubicBezTo>
                      <a:pt x="55" y="43"/>
                      <a:pt x="51" y="43"/>
                      <a:pt x="46" y="43"/>
                    </a:cubicBezTo>
                    <a:cubicBezTo>
                      <a:pt x="46" y="52"/>
                      <a:pt x="46" y="52"/>
                      <a:pt x="46" y="52"/>
                    </a:cubicBezTo>
                    <a:cubicBezTo>
                      <a:pt x="48" y="52"/>
                      <a:pt x="51" y="52"/>
                      <a:pt x="54" y="52"/>
                    </a:cubicBezTo>
                    <a:cubicBezTo>
                      <a:pt x="57" y="51"/>
                      <a:pt x="59" y="49"/>
                      <a:pt x="59" y="48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1049404" name="îSḻide"/>
              <p:cNvSpPr/>
              <p:nvPr/>
            </p:nvSpPr>
            <p:spPr bwMode="auto">
              <a:xfrm>
                <a:off x="2449409" y="5256803"/>
                <a:ext cx="139700" cy="265113"/>
              </a:xfrm>
              <a:custGeom>
                <a:avLst/>
                <a:gdLst>
                  <a:gd name="T0" fmla="*/ 56 w 76"/>
                  <a:gd name="T1" fmla="*/ 3 h 144"/>
                  <a:gd name="T2" fmla="*/ 61 w 76"/>
                  <a:gd name="T3" fmla="*/ 45 h 144"/>
                  <a:gd name="T4" fmla="*/ 50 w 76"/>
                  <a:gd name="T5" fmla="*/ 74 h 144"/>
                  <a:gd name="T6" fmla="*/ 68 w 76"/>
                  <a:gd name="T7" fmla="*/ 65 h 144"/>
                  <a:gd name="T8" fmla="*/ 70 w 76"/>
                  <a:gd name="T9" fmla="*/ 31 h 144"/>
                  <a:gd name="T10" fmla="*/ 74 w 76"/>
                  <a:gd name="T11" fmla="*/ 31 h 144"/>
                  <a:gd name="T12" fmla="*/ 74 w 76"/>
                  <a:gd name="T13" fmla="*/ 64 h 144"/>
                  <a:gd name="T14" fmla="*/ 50 w 76"/>
                  <a:gd name="T15" fmla="*/ 81 h 144"/>
                  <a:gd name="T16" fmla="*/ 69 w 76"/>
                  <a:gd name="T17" fmla="*/ 103 h 144"/>
                  <a:gd name="T18" fmla="*/ 74 w 76"/>
                  <a:gd name="T19" fmla="*/ 140 h 144"/>
                  <a:gd name="T20" fmla="*/ 63 w 76"/>
                  <a:gd name="T21" fmla="*/ 105 h 144"/>
                  <a:gd name="T22" fmla="*/ 52 w 76"/>
                  <a:gd name="T23" fmla="*/ 138 h 144"/>
                  <a:gd name="T24" fmla="*/ 46 w 76"/>
                  <a:gd name="T25" fmla="*/ 139 h 144"/>
                  <a:gd name="T26" fmla="*/ 42 w 76"/>
                  <a:gd name="T27" fmla="*/ 57 h 144"/>
                  <a:gd name="T28" fmla="*/ 35 w 76"/>
                  <a:gd name="T29" fmla="*/ 132 h 144"/>
                  <a:gd name="T30" fmla="*/ 27 w 76"/>
                  <a:gd name="T31" fmla="*/ 136 h 144"/>
                  <a:gd name="T32" fmla="*/ 29 w 76"/>
                  <a:gd name="T33" fmla="*/ 95 h 144"/>
                  <a:gd name="T34" fmla="*/ 5 w 76"/>
                  <a:gd name="T35" fmla="*/ 135 h 144"/>
                  <a:gd name="T36" fmla="*/ 0 w 76"/>
                  <a:gd name="T37" fmla="*/ 135 h 144"/>
                  <a:gd name="T38" fmla="*/ 30 w 76"/>
                  <a:gd name="T39" fmla="*/ 86 h 144"/>
                  <a:gd name="T40" fmla="*/ 26 w 76"/>
                  <a:gd name="T41" fmla="*/ 80 h 144"/>
                  <a:gd name="T42" fmla="*/ 5 w 76"/>
                  <a:gd name="T43" fmla="*/ 66 h 144"/>
                  <a:gd name="T44" fmla="*/ 3 w 76"/>
                  <a:gd name="T45" fmla="*/ 29 h 144"/>
                  <a:gd name="T46" fmla="*/ 9 w 76"/>
                  <a:gd name="T47" fmla="*/ 59 h 144"/>
                  <a:gd name="T48" fmla="*/ 31 w 76"/>
                  <a:gd name="T49" fmla="*/ 74 h 144"/>
                  <a:gd name="T50" fmla="*/ 32 w 76"/>
                  <a:gd name="T51" fmla="*/ 57 h 144"/>
                  <a:gd name="T52" fmla="*/ 16 w 76"/>
                  <a:gd name="T53" fmla="*/ 14 h 144"/>
                  <a:gd name="T54" fmla="*/ 22 w 76"/>
                  <a:gd name="T55" fmla="*/ 19 h 144"/>
                  <a:gd name="T56" fmla="*/ 57 w 76"/>
                  <a:gd name="T57" fmla="*/ 19 h 144"/>
                  <a:gd name="T58" fmla="*/ 50 w 76"/>
                  <a:gd name="T59" fmla="*/ 9 h 144"/>
                  <a:gd name="T60" fmla="*/ 22 w 76"/>
                  <a:gd name="T61" fmla="*/ 19 h 144"/>
                  <a:gd name="T62" fmla="*/ 23 w 76"/>
                  <a:gd name="T63" fmla="*/ 31 h 144"/>
                  <a:gd name="T64" fmla="*/ 57 w 76"/>
                  <a:gd name="T65" fmla="*/ 34 h 144"/>
                  <a:gd name="T66" fmla="*/ 22 w 76"/>
                  <a:gd name="T67" fmla="*/ 27 h 144"/>
                  <a:gd name="T68" fmla="*/ 48 w 76"/>
                  <a:gd name="T69" fmla="*/ 50 h 144"/>
                  <a:gd name="T70" fmla="*/ 57 w 76"/>
                  <a:gd name="T71" fmla="*/ 41 h 144"/>
                  <a:gd name="T72" fmla="*/ 25 w 76"/>
                  <a:gd name="T73" fmla="*/ 44 h 1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76" h="144">
                    <a:moveTo>
                      <a:pt x="27" y="2"/>
                    </a:moveTo>
                    <a:cubicBezTo>
                      <a:pt x="37" y="0"/>
                      <a:pt x="47" y="0"/>
                      <a:pt x="56" y="3"/>
                    </a:cubicBezTo>
                    <a:cubicBezTo>
                      <a:pt x="60" y="3"/>
                      <a:pt x="62" y="7"/>
                      <a:pt x="63" y="15"/>
                    </a:cubicBezTo>
                    <a:cubicBezTo>
                      <a:pt x="65" y="25"/>
                      <a:pt x="64" y="35"/>
                      <a:pt x="61" y="45"/>
                    </a:cubicBezTo>
                    <a:cubicBezTo>
                      <a:pt x="60" y="53"/>
                      <a:pt x="55" y="56"/>
                      <a:pt x="49" y="57"/>
                    </a:cubicBezTo>
                    <a:cubicBezTo>
                      <a:pt x="49" y="62"/>
                      <a:pt x="50" y="68"/>
                      <a:pt x="50" y="74"/>
                    </a:cubicBezTo>
                    <a:cubicBezTo>
                      <a:pt x="53" y="74"/>
                      <a:pt x="56" y="74"/>
                      <a:pt x="58" y="74"/>
                    </a:cubicBezTo>
                    <a:cubicBezTo>
                      <a:pt x="62" y="75"/>
                      <a:pt x="66" y="72"/>
                      <a:pt x="68" y="65"/>
                    </a:cubicBezTo>
                    <a:cubicBezTo>
                      <a:pt x="69" y="62"/>
                      <a:pt x="70" y="53"/>
                      <a:pt x="70" y="39"/>
                    </a:cubicBezTo>
                    <a:cubicBezTo>
                      <a:pt x="70" y="35"/>
                      <a:pt x="70" y="32"/>
                      <a:pt x="70" y="31"/>
                    </a:cubicBezTo>
                    <a:cubicBezTo>
                      <a:pt x="71" y="31"/>
                      <a:pt x="71" y="30"/>
                      <a:pt x="72" y="30"/>
                    </a:cubicBezTo>
                    <a:cubicBezTo>
                      <a:pt x="73" y="30"/>
                      <a:pt x="74" y="30"/>
                      <a:pt x="74" y="31"/>
                    </a:cubicBezTo>
                    <a:cubicBezTo>
                      <a:pt x="75" y="33"/>
                      <a:pt x="76" y="36"/>
                      <a:pt x="76" y="41"/>
                    </a:cubicBezTo>
                    <a:cubicBezTo>
                      <a:pt x="76" y="49"/>
                      <a:pt x="75" y="56"/>
                      <a:pt x="74" y="64"/>
                    </a:cubicBezTo>
                    <a:cubicBezTo>
                      <a:pt x="72" y="75"/>
                      <a:pt x="67" y="81"/>
                      <a:pt x="58" y="81"/>
                    </a:cubicBezTo>
                    <a:cubicBezTo>
                      <a:pt x="50" y="81"/>
                      <a:pt x="50" y="81"/>
                      <a:pt x="50" y="81"/>
                    </a:cubicBezTo>
                    <a:cubicBezTo>
                      <a:pt x="50" y="87"/>
                      <a:pt x="50" y="87"/>
                      <a:pt x="50" y="87"/>
                    </a:cubicBezTo>
                    <a:cubicBezTo>
                      <a:pt x="60" y="87"/>
                      <a:pt x="66" y="92"/>
                      <a:pt x="69" y="103"/>
                    </a:cubicBezTo>
                    <a:cubicBezTo>
                      <a:pt x="72" y="112"/>
                      <a:pt x="74" y="122"/>
                      <a:pt x="76" y="134"/>
                    </a:cubicBezTo>
                    <a:cubicBezTo>
                      <a:pt x="76" y="138"/>
                      <a:pt x="75" y="140"/>
                      <a:pt x="74" y="140"/>
                    </a:cubicBezTo>
                    <a:cubicBezTo>
                      <a:pt x="72" y="141"/>
                      <a:pt x="71" y="139"/>
                      <a:pt x="70" y="136"/>
                    </a:cubicBezTo>
                    <a:cubicBezTo>
                      <a:pt x="68" y="126"/>
                      <a:pt x="66" y="116"/>
                      <a:pt x="63" y="105"/>
                    </a:cubicBezTo>
                    <a:cubicBezTo>
                      <a:pt x="61" y="98"/>
                      <a:pt x="57" y="95"/>
                      <a:pt x="50" y="95"/>
                    </a:cubicBezTo>
                    <a:cubicBezTo>
                      <a:pt x="50" y="109"/>
                      <a:pt x="51" y="123"/>
                      <a:pt x="52" y="138"/>
                    </a:cubicBezTo>
                    <a:cubicBezTo>
                      <a:pt x="52" y="141"/>
                      <a:pt x="51" y="143"/>
                      <a:pt x="49" y="144"/>
                    </a:cubicBezTo>
                    <a:cubicBezTo>
                      <a:pt x="47" y="144"/>
                      <a:pt x="46" y="142"/>
                      <a:pt x="46" y="139"/>
                    </a:cubicBezTo>
                    <a:cubicBezTo>
                      <a:pt x="44" y="134"/>
                      <a:pt x="43" y="118"/>
                      <a:pt x="43" y="92"/>
                    </a:cubicBezTo>
                    <a:cubicBezTo>
                      <a:pt x="43" y="76"/>
                      <a:pt x="43" y="64"/>
                      <a:pt x="42" y="57"/>
                    </a:cubicBezTo>
                    <a:cubicBezTo>
                      <a:pt x="38" y="57"/>
                      <a:pt x="38" y="57"/>
                      <a:pt x="38" y="57"/>
                    </a:cubicBezTo>
                    <a:cubicBezTo>
                      <a:pt x="36" y="88"/>
                      <a:pt x="35" y="113"/>
                      <a:pt x="35" y="132"/>
                    </a:cubicBezTo>
                    <a:cubicBezTo>
                      <a:pt x="35" y="138"/>
                      <a:pt x="33" y="142"/>
                      <a:pt x="31" y="142"/>
                    </a:cubicBezTo>
                    <a:cubicBezTo>
                      <a:pt x="29" y="142"/>
                      <a:pt x="27" y="140"/>
                      <a:pt x="27" y="136"/>
                    </a:cubicBezTo>
                    <a:cubicBezTo>
                      <a:pt x="27" y="136"/>
                      <a:pt x="27" y="134"/>
                      <a:pt x="27" y="132"/>
                    </a:cubicBezTo>
                    <a:cubicBezTo>
                      <a:pt x="28" y="118"/>
                      <a:pt x="29" y="105"/>
                      <a:pt x="29" y="95"/>
                    </a:cubicBezTo>
                    <a:cubicBezTo>
                      <a:pt x="19" y="95"/>
                      <a:pt x="14" y="98"/>
                      <a:pt x="13" y="105"/>
                    </a:cubicBezTo>
                    <a:cubicBezTo>
                      <a:pt x="10" y="114"/>
                      <a:pt x="7" y="124"/>
                      <a:pt x="5" y="135"/>
                    </a:cubicBezTo>
                    <a:cubicBezTo>
                      <a:pt x="4" y="137"/>
                      <a:pt x="3" y="139"/>
                      <a:pt x="2" y="139"/>
                    </a:cubicBezTo>
                    <a:cubicBezTo>
                      <a:pt x="1" y="140"/>
                      <a:pt x="0" y="138"/>
                      <a:pt x="0" y="135"/>
                    </a:cubicBezTo>
                    <a:cubicBezTo>
                      <a:pt x="0" y="125"/>
                      <a:pt x="2" y="115"/>
                      <a:pt x="7" y="104"/>
                    </a:cubicBezTo>
                    <a:cubicBezTo>
                      <a:pt x="11" y="92"/>
                      <a:pt x="18" y="86"/>
                      <a:pt x="30" y="86"/>
                    </a:cubicBezTo>
                    <a:cubicBezTo>
                      <a:pt x="30" y="85"/>
                      <a:pt x="30" y="83"/>
                      <a:pt x="31" y="80"/>
                    </a:cubicBezTo>
                    <a:cubicBezTo>
                      <a:pt x="29" y="81"/>
                      <a:pt x="28" y="81"/>
                      <a:pt x="26" y="80"/>
                    </a:cubicBezTo>
                    <a:cubicBezTo>
                      <a:pt x="24" y="80"/>
                      <a:pt x="23" y="80"/>
                      <a:pt x="22" y="80"/>
                    </a:cubicBezTo>
                    <a:cubicBezTo>
                      <a:pt x="14" y="81"/>
                      <a:pt x="8" y="76"/>
                      <a:pt x="5" y="66"/>
                    </a:cubicBezTo>
                    <a:cubicBezTo>
                      <a:pt x="2" y="59"/>
                      <a:pt x="0" y="49"/>
                      <a:pt x="0" y="37"/>
                    </a:cubicBezTo>
                    <a:cubicBezTo>
                      <a:pt x="0" y="32"/>
                      <a:pt x="1" y="29"/>
                      <a:pt x="3" y="29"/>
                    </a:cubicBezTo>
                    <a:cubicBezTo>
                      <a:pt x="6" y="31"/>
                      <a:pt x="8" y="35"/>
                      <a:pt x="8" y="39"/>
                    </a:cubicBezTo>
                    <a:cubicBezTo>
                      <a:pt x="7" y="45"/>
                      <a:pt x="7" y="52"/>
                      <a:pt x="9" y="59"/>
                    </a:cubicBezTo>
                    <a:cubicBezTo>
                      <a:pt x="10" y="68"/>
                      <a:pt x="16" y="73"/>
                      <a:pt x="24" y="74"/>
                    </a:cubicBezTo>
                    <a:cubicBezTo>
                      <a:pt x="26" y="74"/>
                      <a:pt x="29" y="74"/>
                      <a:pt x="31" y="74"/>
                    </a:cubicBezTo>
                    <a:cubicBezTo>
                      <a:pt x="31" y="72"/>
                      <a:pt x="31" y="69"/>
                      <a:pt x="31" y="65"/>
                    </a:cubicBezTo>
                    <a:cubicBezTo>
                      <a:pt x="31" y="61"/>
                      <a:pt x="32" y="58"/>
                      <a:pt x="32" y="57"/>
                    </a:cubicBezTo>
                    <a:cubicBezTo>
                      <a:pt x="25" y="56"/>
                      <a:pt x="20" y="53"/>
                      <a:pt x="19" y="48"/>
                    </a:cubicBezTo>
                    <a:cubicBezTo>
                      <a:pt x="15" y="36"/>
                      <a:pt x="14" y="25"/>
                      <a:pt x="16" y="14"/>
                    </a:cubicBezTo>
                    <a:cubicBezTo>
                      <a:pt x="17" y="6"/>
                      <a:pt x="21" y="2"/>
                      <a:pt x="27" y="2"/>
                    </a:cubicBezTo>
                    <a:close/>
                    <a:moveTo>
                      <a:pt x="22" y="19"/>
                    </a:moveTo>
                    <a:cubicBezTo>
                      <a:pt x="22" y="20"/>
                      <a:pt x="22" y="20"/>
                      <a:pt x="22" y="20"/>
                    </a:cubicBezTo>
                    <a:cubicBezTo>
                      <a:pt x="30" y="20"/>
                      <a:pt x="42" y="19"/>
                      <a:pt x="57" y="19"/>
                    </a:cubicBezTo>
                    <a:cubicBezTo>
                      <a:pt x="57" y="18"/>
                      <a:pt x="57" y="17"/>
                      <a:pt x="57" y="16"/>
                    </a:cubicBezTo>
                    <a:cubicBezTo>
                      <a:pt x="56" y="13"/>
                      <a:pt x="54" y="10"/>
                      <a:pt x="50" y="9"/>
                    </a:cubicBezTo>
                    <a:cubicBezTo>
                      <a:pt x="44" y="8"/>
                      <a:pt x="37" y="7"/>
                      <a:pt x="31" y="9"/>
                    </a:cubicBezTo>
                    <a:cubicBezTo>
                      <a:pt x="25" y="11"/>
                      <a:pt x="22" y="14"/>
                      <a:pt x="22" y="19"/>
                    </a:cubicBezTo>
                    <a:close/>
                    <a:moveTo>
                      <a:pt x="22" y="27"/>
                    </a:moveTo>
                    <a:cubicBezTo>
                      <a:pt x="22" y="28"/>
                      <a:pt x="22" y="29"/>
                      <a:pt x="23" y="31"/>
                    </a:cubicBezTo>
                    <a:cubicBezTo>
                      <a:pt x="23" y="32"/>
                      <a:pt x="23" y="33"/>
                      <a:pt x="23" y="34"/>
                    </a:cubicBezTo>
                    <a:cubicBezTo>
                      <a:pt x="57" y="34"/>
                      <a:pt x="57" y="34"/>
                      <a:pt x="57" y="34"/>
                    </a:cubicBezTo>
                    <a:cubicBezTo>
                      <a:pt x="57" y="27"/>
                      <a:pt x="57" y="27"/>
                      <a:pt x="57" y="27"/>
                    </a:cubicBezTo>
                    <a:cubicBezTo>
                      <a:pt x="45" y="26"/>
                      <a:pt x="33" y="26"/>
                      <a:pt x="22" y="27"/>
                    </a:cubicBezTo>
                    <a:close/>
                    <a:moveTo>
                      <a:pt x="35" y="50"/>
                    </a:moveTo>
                    <a:cubicBezTo>
                      <a:pt x="48" y="50"/>
                      <a:pt x="48" y="50"/>
                      <a:pt x="48" y="50"/>
                    </a:cubicBezTo>
                    <a:cubicBezTo>
                      <a:pt x="53" y="50"/>
                      <a:pt x="55" y="47"/>
                      <a:pt x="57" y="42"/>
                    </a:cubicBezTo>
                    <a:cubicBezTo>
                      <a:pt x="57" y="41"/>
                      <a:pt x="57" y="41"/>
                      <a:pt x="57" y="41"/>
                    </a:cubicBezTo>
                    <a:cubicBezTo>
                      <a:pt x="43" y="41"/>
                      <a:pt x="32" y="41"/>
                      <a:pt x="24" y="42"/>
                    </a:cubicBezTo>
                    <a:cubicBezTo>
                      <a:pt x="24" y="43"/>
                      <a:pt x="24" y="43"/>
                      <a:pt x="25" y="44"/>
                    </a:cubicBezTo>
                    <a:cubicBezTo>
                      <a:pt x="27" y="48"/>
                      <a:pt x="30" y="50"/>
                      <a:pt x="35" y="5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1049405" name="iṣlîḋè"/>
              <p:cNvSpPr/>
              <p:nvPr/>
            </p:nvSpPr>
            <p:spPr bwMode="auto">
              <a:xfrm>
                <a:off x="2604984" y="5259978"/>
                <a:ext cx="177800" cy="255588"/>
              </a:xfrm>
              <a:custGeom>
                <a:avLst/>
                <a:gdLst>
                  <a:gd name="T0" fmla="*/ 5 w 96"/>
                  <a:gd name="T1" fmla="*/ 37 h 138"/>
                  <a:gd name="T2" fmla="*/ 24 w 96"/>
                  <a:gd name="T3" fmla="*/ 49 h 138"/>
                  <a:gd name="T4" fmla="*/ 7 w 96"/>
                  <a:gd name="T5" fmla="*/ 26 h 138"/>
                  <a:gd name="T6" fmla="*/ 0 w 96"/>
                  <a:gd name="T7" fmla="*/ 22 h 138"/>
                  <a:gd name="T8" fmla="*/ 44 w 96"/>
                  <a:gd name="T9" fmla="*/ 19 h 138"/>
                  <a:gd name="T10" fmla="*/ 40 w 96"/>
                  <a:gd name="T11" fmla="*/ 26 h 138"/>
                  <a:gd name="T12" fmla="*/ 29 w 96"/>
                  <a:gd name="T13" fmla="*/ 49 h 138"/>
                  <a:gd name="T14" fmla="*/ 42 w 96"/>
                  <a:gd name="T15" fmla="*/ 39 h 138"/>
                  <a:gd name="T16" fmla="*/ 36 w 96"/>
                  <a:gd name="T17" fmla="*/ 64 h 138"/>
                  <a:gd name="T18" fmla="*/ 44 w 96"/>
                  <a:gd name="T19" fmla="*/ 70 h 138"/>
                  <a:gd name="T20" fmla="*/ 30 w 96"/>
                  <a:gd name="T21" fmla="*/ 78 h 138"/>
                  <a:gd name="T22" fmla="*/ 48 w 96"/>
                  <a:gd name="T23" fmla="*/ 111 h 138"/>
                  <a:gd name="T24" fmla="*/ 42 w 96"/>
                  <a:gd name="T25" fmla="*/ 124 h 138"/>
                  <a:gd name="T26" fmla="*/ 33 w 96"/>
                  <a:gd name="T27" fmla="*/ 93 h 138"/>
                  <a:gd name="T28" fmla="*/ 30 w 96"/>
                  <a:gd name="T29" fmla="*/ 116 h 138"/>
                  <a:gd name="T30" fmla="*/ 24 w 96"/>
                  <a:gd name="T31" fmla="*/ 133 h 138"/>
                  <a:gd name="T32" fmla="*/ 20 w 96"/>
                  <a:gd name="T33" fmla="*/ 93 h 138"/>
                  <a:gd name="T34" fmla="*/ 11 w 96"/>
                  <a:gd name="T35" fmla="*/ 122 h 138"/>
                  <a:gd name="T36" fmla="*/ 8 w 96"/>
                  <a:gd name="T37" fmla="*/ 102 h 138"/>
                  <a:gd name="T38" fmla="*/ 24 w 96"/>
                  <a:gd name="T39" fmla="*/ 81 h 138"/>
                  <a:gd name="T40" fmla="*/ 3 w 96"/>
                  <a:gd name="T41" fmla="*/ 77 h 138"/>
                  <a:gd name="T42" fmla="*/ 14 w 96"/>
                  <a:gd name="T43" fmla="*/ 70 h 138"/>
                  <a:gd name="T44" fmla="*/ 20 w 96"/>
                  <a:gd name="T45" fmla="*/ 65 h 138"/>
                  <a:gd name="T46" fmla="*/ 2 w 96"/>
                  <a:gd name="T47" fmla="*/ 37 h 138"/>
                  <a:gd name="T48" fmla="*/ 40 w 96"/>
                  <a:gd name="T49" fmla="*/ 3 h 138"/>
                  <a:gd name="T50" fmla="*/ 14 w 96"/>
                  <a:gd name="T51" fmla="*/ 11 h 138"/>
                  <a:gd name="T52" fmla="*/ 5 w 96"/>
                  <a:gd name="T53" fmla="*/ 6 h 138"/>
                  <a:gd name="T54" fmla="*/ 33 w 96"/>
                  <a:gd name="T55" fmla="*/ 26 h 138"/>
                  <a:gd name="T56" fmla="*/ 27 w 96"/>
                  <a:gd name="T57" fmla="*/ 45 h 138"/>
                  <a:gd name="T58" fmla="*/ 54 w 96"/>
                  <a:gd name="T59" fmla="*/ 2 h 138"/>
                  <a:gd name="T60" fmla="*/ 58 w 96"/>
                  <a:gd name="T61" fmla="*/ 10 h 138"/>
                  <a:gd name="T62" fmla="*/ 88 w 96"/>
                  <a:gd name="T63" fmla="*/ 22 h 138"/>
                  <a:gd name="T64" fmla="*/ 74 w 96"/>
                  <a:gd name="T65" fmla="*/ 37 h 138"/>
                  <a:gd name="T66" fmla="*/ 62 w 96"/>
                  <a:gd name="T67" fmla="*/ 66 h 138"/>
                  <a:gd name="T68" fmla="*/ 53 w 96"/>
                  <a:gd name="T69" fmla="*/ 136 h 138"/>
                  <a:gd name="T70" fmla="*/ 48 w 96"/>
                  <a:gd name="T71" fmla="*/ 130 h 138"/>
                  <a:gd name="T72" fmla="*/ 55 w 96"/>
                  <a:gd name="T73" fmla="*/ 48 h 138"/>
                  <a:gd name="T74" fmla="*/ 76 w 96"/>
                  <a:gd name="T75" fmla="*/ 31 h 138"/>
                  <a:gd name="T76" fmla="*/ 65 w 96"/>
                  <a:gd name="T77" fmla="*/ 18 h 138"/>
                  <a:gd name="T78" fmla="*/ 52 w 96"/>
                  <a:gd name="T79" fmla="*/ 13 h 138"/>
                  <a:gd name="T80" fmla="*/ 94 w 96"/>
                  <a:gd name="T81" fmla="*/ 74 h 138"/>
                  <a:gd name="T82" fmla="*/ 76 w 96"/>
                  <a:gd name="T83" fmla="*/ 54 h 138"/>
                  <a:gd name="T84" fmla="*/ 83 w 96"/>
                  <a:gd name="T85" fmla="*/ 119 h 138"/>
                  <a:gd name="T86" fmla="*/ 88 w 96"/>
                  <a:gd name="T87" fmla="*/ 133 h 138"/>
                  <a:gd name="T88" fmla="*/ 70 w 96"/>
                  <a:gd name="T89" fmla="*/ 93 h 138"/>
                  <a:gd name="T90" fmla="*/ 70 w 96"/>
                  <a:gd name="T91" fmla="*/ 42 h 138"/>
                  <a:gd name="T92" fmla="*/ 95 w 96"/>
                  <a:gd name="T93" fmla="*/ 70 h 1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96" h="138">
                    <a:moveTo>
                      <a:pt x="2" y="37"/>
                    </a:moveTo>
                    <a:cubicBezTo>
                      <a:pt x="2" y="36"/>
                      <a:pt x="2" y="35"/>
                      <a:pt x="3" y="35"/>
                    </a:cubicBezTo>
                    <a:cubicBezTo>
                      <a:pt x="4" y="35"/>
                      <a:pt x="5" y="36"/>
                      <a:pt x="5" y="37"/>
                    </a:cubicBezTo>
                    <a:cubicBezTo>
                      <a:pt x="9" y="49"/>
                      <a:pt x="14" y="56"/>
                      <a:pt x="21" y="59"/>
                    </a:cubicBezTo>
                    <a:cubicBezTo>
                      <a:pt x="21" y="59"/>
                      <a:pt x="22" y="60"/>
                      <a:pt x="24" y="60"/>
                    </a:cubicBezTo>
                    <a:cubicBezTo>
                      <a:pt x="24" y="56"/>
                      <a:pt x="24" y="53"/>
                      <a:pt x="24" y="49"/>
                    </a:cubicBezTo>
                    <a:cubicBezTo>
                      <a:pt x="21" y="48"/>
                      <a:pt x="18" y="46"/>
                      <a:pt x="16" y="42"/>
                    </a:cubicBezTo>
                    <a:cubicBezTo>
                      <a:pt x="13" y="38"/>
                      <a:pt x="12" y="33"/>
                      <a:pt x="12" y="26"/>
                    </a:cubicBezTo>
                    <a:cubicBezTo>
                      <a:pt x="9" y="26"/>
                      <a:pt x="8" y="26"/>
                      <a:pt x="7" y="26"/>
                    </a:cubicBezTo>
                    <a:cubicBezTo>
                      <a:pt x="4" y="27"/>
                      <a:pt x="2" y="27"/>
                      <a:pt x="1" y="25"/>
                    </a:cubicBezTo>
                    <a:cubicBezTo>
                      <a:pt x="0" y="24"/>
                      <a:pt x="0" y="23"/>
                      <a:pt x="0" y="22"/>
                    </a:cubicBezTo>
                    <a:cubicBezTo>
                      <a:pt x="0" y="22"/>
                      <a:pt x="0" y="22"/>
                      <a:pt x="0" y="22"/>
                    </a:cubicBezTo>
                    <a:cubicBezTo>
                      <a:pt x="1" y="19"/>
                      <a:pt x="2" y="18"/>
                      <a:pt x="4" y="19"/>
                    </a:cubicBezTo>
                    <a:cubicBezTo>
                      <a:pt x="6" y="19"/>
                      <a:pt x="8" y="19"/>
                      <a:pt x="11" y="19"/>
                    </a:cubicBezTo>
                    <a:cubicBezTo>
                      <a:pt x="44" y="19"/>
                      <a:pt x="44" y="19"/>
                      <a:pt x="44" y="19"/>
                    </a:cubicBezTo>
                    <a:cubicBezTo>
                      <a:pt x="46" y="19"/>
                      <a:pt x="48" y="20"/>
                      <a:pt x="48" y="23"/>
                    </a:cubicBezTo>
                    <a:cubicBezTo>
                      <a:pt x="47" y="25"/>
                      <a:pt x="45" y="26"/>
                      <a:pt x="42" y="26"/>
                    </a:cubicBezTo>
                    <a:cubicBezTo>
                      <a:pt x="42" y="26"/>
                      <a:pt x="41" y="26"/>
                      <a:pt x="40" y="26"/>
                    </a:cubicBezTo>
                    <a:cubicBezTo>
                      <a:pt x="40" y="26"/>
                      <a:pt x="40" y="26"/>
                      <a:pt x="40" y="26"/>
                    </a:cubicBezTo>
                    <a:cubicBezTo>
                      <a:pt x="39" y="34"/>
                      <a:pt x="38" y="39"/>
                      <a:pt x="37" y="42"/>
                    </a:cubicBezTo>
                    <a:cubicBezTo>
                      <a:pt x="34" y="46"/>
                      <a:pt x="32" y="49"/>
                      <a:pt x="29" y="49"/>
                    </a:cubicBezTo>
                    <a:cubicBezTo>
                      <a:pt x="30" y="53"/>
                      <a:pt x="30" y="56"/>
                      <a:pt x="30" y="60"/>
                    </a:cubicBezTo>
                    <a:cubicBezTo>
                      <a:pt x="31" y="60"/>
                      <a:pt x="32" y="59"/>
                      <a:pt x="33" y="58"/>
                    </a:cubicBezTo>
                    <a:cubicBezTo>
                      <a:pt x="39" y="56"/>
                      <a:pt x="42" y="49"/>
                      <a:pt x="42" y="39"/>
                    </a:cubicBezTo>
                    <a:cubicBezTo>
                      <a:pt x="43" y="37"/>
                      <a:pt x="44" y="36"/>
                      <a:pt x="46" y="36"/>
                    </a:cubicBezTo>
                    <a:cubicBezTo>
                      <a:pt x="47" y="36"/>
                      <a:pt x="48" y="37"/>
                      <a:pt x="48" y="39"/>
                    </a:cubicBezTo>
                    <a:cubicBezTo>
                      <a:pt x="49" y="49"/>
                      <a:pt x="45" y="57"/>
                      <a:pt x="36" y="64"/>
                    </a:cubicBezTo>
                    <a:cubicBezTo>
                      <a:pt x="34" y="65"/>
                      <a:pt x="32" y="66"/>
                      <a:pt x="30" y="66"/>
                    </a:cubicBezTo>
                    <a:cubicBezTo>
                      <a:pt x="30" y="70"/>
                      <a:pt x="30" y="70"/>
                      <a:pt x="30" y="70"/>
                    </a:cubicBezTo>
                    <a:cubicBezTo>
                      <a:pt x="44" y="70"/>
                      <a:pt x="44" y="70"/>
                      <a:pt x="44" y="70"/>
                    </a:cubicBezTo>
                    <a:cubicBezTo>
                      <a:pt x="47" y="70"/>
                      <a:pt x="49" y="71"/>
                      <a:pt x="49" y="73"/>
                    </a:cubicBezTo>
                    <a:cubicBezTo>
                      <a:pt x="49" y="76"/>
                      <a:pt x="47" y="77"/>
                      <a:pt x="43" y="77"/>
                    </a:cubicBezTo>
                    <a:cubicBezTo>
                      <a:pt x="37" y="77"/>
                      <a:pt x="33" y="77"/>
                      <a:pt x="30" y="78"/>
                    </a:cubicBezTo>
                    <a:cubicBezTo>
                      <a:pt x="30" y="80"/>
                      <a:pt x="30" y="82"/>
                      <a:pt x="30" y="84"/>
                    </a:cubicBezTo>
                    <a:cubicBezTo>
                      <a:pt x="34" y="84"/>
                      <a:pt x="37" y="87"/>
                      <a:pt x="40" y="91"/>
                    </a:cubicBezTo>
                    <a:cubicBezTo>
                      <a:pt x="44" y="96"/>
                      <a:pt x="46" y="103"/>
                      <a:pt x="48" y="111"/>
                    </a:cubicBezTo>
                    <a:cubicBezTo>
                      <a:pt x="49" y="116"/>
                      <a:pt x="49" y="120"/>
                      <a:pt x="48" y="124"/>
                    </a:cubicBezTo>
                    <a:cubicBezTo>
                      <a:pt x="47" y="125"/>
                      <a:pt x="46" y="125"/>
                      <a:pt x="45" y="125"/>
                    </a:cubicBezTo>
                    <a:cubicBezTo>
                      <a:pt x="44" y="125"/>
                      <a:pt x="43" y="125"/>
                      <a:pt x="42" y="124"/>
                    </a:cubicBezTo>
                    <a:cubicBezTo>
                      <a:pt x="42" y="123"/>
                      <a:pt x="42" y="121"/>
                      <a:pt x="42" y="118"/>
                    </a:cubicBezTo>
                    <a:cubicBezTo>
                      <a:pt x="41" y="116"/>
                      <a:pt x="41" y="114"/>
                      <a:pt x="41" y="113"/>
                    </a:cubicBezTo>
                    <a:cubicBezTo>
                      <a:pt x="40" y="104"/>
                      <a:pt x="37" y="97"/>
                      <a:pt x="33" y="93"/>
                    </a:cubicBezTo>
                    <a:cubicBezTo>
                      <a:pt x="33" y="92"/>
                      <a:pt x="32" y="91"/>
                      <a:pt x="30" y="91"/>
                    </a:cubicBezTo>
                    <a:cubicBezTo>
                      <a:pt x="31" y="97"/>
                      <a:pt x="31" y="101"/>
                      <a:pt x="31" y="105"/>
                    </a:cubicBezTo>
                    <a:cubicBezTo>
                      <a:pt x="31" y="107"/>
                      <a:pt x="31" y="111"/>
                      <a:pt x="30" y="116"/>
                    </a:cubicBezTo>
                    <a:cubicBezTo>
                      <a:pt x="30" y="124"/>
                      <a:pt x="30" y="129"/>
                      <a:pt x="29" y="133"/>
                    </a:cubicBezTo>
                    <a:cubicBezTo>
                      <a:pt x="29" y="136"/>
                      <a:pt x="28" y="137"/>
                      <a:pt x="27" y="137"/>
                    </a:cubicBezTo>
                    <a:cubicBezTo>
                      <a:pt x="26" y="137"/>
                      <a:pt x="25" y="136"/>
                      <a:pt x="24" y="133"/>
                    </a:cubicBezTo>
                    <a:cubicBezTo>
                      <a:pt x="24" y="120"/>
                      <a:pt x="24" y="111"/>
                      <a:pt x="24" y="105"/>
                    </a:cubicBezTo>
                    <a:cubicBezTo>
                      <a:pt x="24" y="100"/>
                      <a:pt x="24" y="95"/>
                      <a:pt x="24" y="90"/>
                    </a:cubicBezTo>
                    <a:cubicBezTo>
                      <a:pt x="22" y="91"/>
                      <a:pt x="21" y="92"/>
                      <a:pt x="20" y="93"/>
                    </a:cubicBezTo>
                    <a:cubicBezTo>
                      <a:pt x="18" y="94"/>
                      <a:pt x="16" y="98"/>
                      <a:pt x="14" y="102"/>
                    </a:cubicBezTo>
                    <a:cubicBezTo>
                      <a:pt x="13" y="104"/>
                      <a:pt x="13" y="104"/>
                      <a:pt x="13" y="104"/>
                    </a:cubicBezTo>
                    <a:cubicBezTo>
                      <a:pt x="12" y="108"/>
                      <a:pt x="11" y="114"/>
                      <a:pt x="11" y="122"/>
                    </a:cubicBezTo>
                    <a:cubicBezTo>
                      <a:pt x="10" y="124"/>
                      <a:pt x="9" y="125"/>
                      <a:pt x="7" y="125"/>
                    </a:cubicBezTo>
                    <a:cubicBezTo>
                      <a:pt x="6" y="125"/>
                      <a:pt x="5" y="124"/>
                      <a:pt x="5" y="122"/>
                    </a:cubicBezTo>
                    <a:cubicBezTo>
                      <a:pt x="6" y="115"/>
                      <a:pt x="7" y="108"/>
                      <a:pt x="8" y="102"/>
                    </a:cubicBezTo>
                    <a:cubicBezTo>
                      <a:pt x="9" y="97"/>
                      <a:pt x="11" y="92"/>
                      <a:pt x="14" y="89"/>
                    </a:cubicBezTo>
                    <a:cubicBezTo>
                      <a:pt x="17" y="86"/>
                      <a:pt x="20" y="84"/>
                      <a:pt x="24" y="84"/>
                    </a:cubicBezTo>
                    <a:cubicBezTo>
                      <a:pt x="24" y="81"/>
                      <a:pt x="24" y="81"/>
                      <a:pt x="24" y="81"/>
                    </a:cubicBezTo>
                    <a:cubicBezTo>
                      <a:pt x="24" y="80"/>
                      <a:pt x="24" y="79"/>
                      <a:pt x="24" y="78"/>
                    </a:cubicBezTo>
                    <a:cubicBezTo>
                      <a:pt x="14" y="78"/>
                      <a:pt x="9" y="78"/>
                      <a:pt x="9" y="78"/>
                    </a:cubicBezTo>
                    <a:cubicBezTo>
                      <a:pt x="6" y="79"/>
                      <a:pt x="4" y="79"/>
                      <a:pt x="3" y="77"/>
                    </a:cubicBezTo>
                    <a:cubicBezTo>
                      <a:pt x="2" y="76"/>
                      <a:pt x="2" y="74"/>
                      <a:pt x="3" y="72"/>
                    </a:cubicBezTo>
                    <a:cubicBezTo>
                      <a:pt x="3" y="70"/>
                      <a:pt x="4" y="70"/>
                      <a:pt x="7" y="70"/>
                    </a:cubicBezTo>
                    <a:cubicBezTo>
                      <a:pt x="8" y="70"/>
                      <a:pt x="10" y="70"/>
                      <a:pt x="14" y="70"/>
                    </a:cubicBezTo>
                    <a:cubicBezTo>
                      <a:pt x="24" y="70"/>
                      <a:pt x="24" y="70"/>
                      <a:pt x="24" y="70"/>
                    </a:cubicBezTo>
                    <a:cubicBezTo>
                      <a:pt x="24" y="66"/>
                      <a:pt x="24" y="66"/>
                      <a:pt x="24" y="66"/>
                    </a:cubicBezTo>
                    <a:cubicBezTo>
                      <a:pt x="22" y="66"/>
                      <a:pt x="21" y="66"/>
                      <a:pt x="20" y="65"/>
                    </a:cubicBezTo>
                    <a:cubicBezTo>
                      <a:pt x="12" y="62"/>
                      <a:pt x="6" y="56"/>
                      <a:pt x="2" y="46"/>
                    </a:cubicBezTo>
                    <a:cubicBezTo>
                      <a:pt x="2" y="46"/>
                      <a:pt x="2" y="43"/>
                      <a:pt x="2" y="40"/>
                    </a:cubicBezTo>
                    <a:cubicBezTo>
                      <a:pt x="2" y="39"/>
                      <a:pt x="2" y="38"/>
                      <a:pt x="2" y="37"/>
                    </a:cubicBezTo>
                    <a:close/>
                    <a:moveTo>
                      <a:pt x="9" y="3"/>
                    </a:moveTo>
                    <a:cubicBezTo>
                      <a:pt x="11" y="3"/>
                      <a:pt x="15" y="3"/>
                      <a:pt x="19" y="3"/>
                    </a:cubicBezTo>
                    <a:cubicBezTo>
                      <a:pt x="40" y="3"/>
                      <a:pt x="40" y="3"/>
                      <a:pt x="40" y="3"/>
                    </a:cubicBezTo>
                    <a:cubicBezTo>
                      <a:pt x="43" y="3"/>
                      <a:pt x="44" y="5"/>
                      <a:pt x="44" y="7"/>
                    </a:cubicBezTo>
                    <a:cubicBezTo>
                      <a:pt x="44" y="9"/>
                      <a:pt x="42" y="10"/>
                      <a:pt x="39" y="10"/>
                    </a:cubicBezTo>
                    <a:cubicBezTo>
                      <a:pt x="34" y="10"/>
                      <a:pt x="25" y="10"/>
                      <a:pt x="14" y="11"/>
                    </a:cubicBezTo>
                    <a:cubicBezTo>
                      <a:pt x="13" y="11"/>
                      <a:pt x="12" y="11"/>
                      <a:pt x="11" y="11"/>
                    </a:cubicBezTo>
                    <a:cubicBezTo>
                      <a:pt x="7" y="11"/>
                      <a:pt x="5" y="11"/>
                      <a:pt x="5" y="9"/>
                    </a:cubicBezTo>
                    <a:cubicBezTo>
                      <a:pt x="5" y="9"/>
                      <a:pt x="4" y="8"/>
                      <a:pt x="5" y="6"/>
                    </a:cubicBezTo>
                    <a:cubicBezTo>
                      <a:pt x="5" y="5"/>
                      <a:pt x="5" y="5"/>
                      <a:pt x="5" y="5"/>
                    </a:cubicBezTo>
                    <a:cubicBezTo>
                      <a:pt x="5" y="3"/>
                      <a:pt x="6" y="3"/>
                      <a:pt x="9" y="3"/>
                    </a:cubicBezTo>
                    <a:close/>
                    <a:moveTo>
                      <a:pt x="33" y="26"/>
                    </a:moveTo>
                    <a:cubicBezTo>
                      <a:pt x="28" y="26"/>
                      <a:pt x="23" y="26"/>
                      <a:pt x="17" y="26"/>
                    </a:cubicBezTo>
                    <a:cubicBezTo>
                      <a:pt x="18" y="32"/>
                      <a:pt x="20" y="38"/>
                      <a:pt x="24" y="42"/>
                    </a:cubicBezTo>
                    <a:cubicBezTo>
                      <a:pt x="25" y="44"/>
                      <a:pt x="26" y="45"/>
                      <a:pt x="27" y="45"/>
                    </a:cubicBezTo>
                    <a:cubicBezTo>
                      <a:pt x="28" y="45"/>
                      <a:pt x="29" y="44"/>
                      <a:pt x="29" y="42"/>
                    </a:cubicBezTo>
                    <a:cubicBezTo>
                      <a:pt x="32" y="38"/>
                      <a:pt x="33" y="33"/>
                      <a:pt x="33" y="26"/>
                    </a:cubicBezTo>
                    <a:close/>
                    <a:moveTo>
                      <a:pt x="54" y="2"/>
                    </a:moveTo>
                    <a:cubicBezTo>
                      <a:pt x="55" y="0"/>
                      <a:pt x="57" y="0"/>
                      <a:pt x="58" y="1"/>
                    </a:cubicBezTo>
                    <a:cubicBezTo>
                      <a:pt x="59" y="2"/>
                      <a:pt x="60" y="4"/>
                      <a:pt x="59" y="6"/>
                    </a:cubicBezTo>
                    <a:cubicBezTo>
                      <a:pt x="57" y="8"/>
                      <a:pt x="57" y="9"/>
                      <a:pt x="58" y="10"/>
                    </a:cubicBezTo>
                    <a:cubicBezTo>
                      <a:pt x="59" y="11"/>
                      <a:pt x="61" y="12"/>
                      <a:pt x="63" y="11"/>
                    </a:cubicBezTo>
                    <a:cubicBezTo>
                      <a:pt x="67" y="9"/>
                      <a:pt x="73" y="9"/>
                      <a:pt x="80" y="11"/>
                    </a:cubicBezTo>
                    <a:cubicBezTo>
                      <a:pt x="84" y="13"/>
                      <a:pt x="87" y="16"/>
                      <a:pt x="88" y="22"/>
                    </a:cubicBezTo>
                    <a:cubicBezTo>
                      <a:pt x="89" y="27"/>
                      <a:pt x="88" y="32"/>
                      <a:pt x="85" y="35"/>
                    </a:cubicBezTo>
                    <a:cubicBezTo>
                      <a:pt x="84" y="38"/>
                      <a:pt x="81" y="39"/>
                      <a:pt x="75" y="37"/>
                    </a:cubicBezTo>
                    <a:cubicBezTo>
                      <a:pt x="75" y="37"/>
                      <a:pt x="74" y="37"/>
                      <a:pt x="74" y="37"/>
                    </a:cubicBezTo>
                    <a:cubicBezTo>
                      <a:pt x="69" y="37"/>
                      <a:pt x="66" y="37"/>
                      <a:pt x="63" y="38"/>
                    </a:cubicBezTo>
                    <a:cubicBezTo>
                      <a:pt x="62" y="38"/>
                      <a:pt x="61" y="40"/>
                      <a:pt x="61" y="43"/>
                    </a:cubicBezTo>
                    <a:cubicBezTo>
                      <a:pt x="62" y="48"/>
                      <a:pt x="62" y="56"/>
                      <a:pt x="62" y="66"/>
                    </a:cubicBezTo>
                    <a:cubicBezTo>
                      <a:pt x="62" y="70"/>
                      <a:pt x="61" y="76"/>
                      <a:pt x="61" y="84"/>
                    </a:cubicBezTo>
                    <a:cubicBezTo>
                      <a:pt x="59" y="99"/>
                      <a:pt x="58" y="110"/>
                      <a:pt x="57" y="116"/>
                    </a:cubicBezTo>
                    <a:cubicBezTo>
                      <a:pt x="57" y="122"/>
                      <a:pt x="55" y="128"/>
                      <a:pt x="53" y="136"/>
                    </a:cubicBezTo>
                    <a:cubicBezTo>
                      <a:pt x="52" y="137"/>
                      <a:pt x="51" y="138"/>
                      <a:pt x="50" y="138"/>
                    </a:cubicBezTo>
                    <a:cubicBezTo>
                      <a:pt x="48" y="138"/>
                      <a:pt x="48" y="137"/>
                      <a:pt x="48" y="136"/>
                    </a:cubicBezTo>
                    <a:cubicBezTo>
                      <a:pt x="48" y="135"/>
                      <a:pt x="48" y="133"/>
                      <a:pt x="48" y="130"/>
                    </a:cubicBezTo>
                    <a:cubicBezTo>
                      <a:pt x="49" y="127"/>
                      <a:pt x="49" y="126"/>
                      <a:pt x="49" y="125"/>
                    </a:cubicBezTo>
                    <a:cubicBezTo>
                      <a:pt x="53" y="104"/>
                      <a:pt x="55" y="85"/>
                      <a:pt x="55" y="68"/>
                    </a:cubicBezTo>
                    <a:cubicBezTo>
                      <a:pt x="56" y="60"/>
                      <a:pt x="56" y="54"/>
                      <a:pt x="55" y="48"/>
                    </a:cubicBezTo>
                    <a:cubicBezTo>
                      <a:pt x="54" y="45"/>
                      <a:pt x="53" y="42"/>
                      <a:pt x="52" y="40"/>
                    </a:cubicBezTo>
                    <a:cubicBezTo>
                      <a:pt x="50" y="38"/>
                      <a:pt x="51" y="36"/>
                      <a:pt x="54" y="34"/>
                    </a:cubicBezTo>
                    <a:cubicBezTo>
                      <a:pt x="58" y="30"/>
                      <a:pt x="66" y="29"/>
                      <a:pt x="76" y="31"/>
                    </a:cubicBezTo>
                    <a:cubicBezTo>
                      <a:pt x="81" y="32"/>
                      <a:pt x="83" y="30"/>
                      <a:pt x="83" y="25"/>
                    </a:cubicBezTo>
                    <a:cubicBezTo>
                      <a:pt x="83" y="21"/>
                      <a:pt x="81" y="18"/>
                      <a:pt x="77" y="18"/>
                    </a:cubicBezTo>
                    <a:cubicBezTo>
                      <a:pt x="70" y="17"/>
                      <a:pt x="66" y="17"/>
                      <a:pt x="65" y="18"/>
                    </a:cubicBezTo>
                    <a:cubicBezTo>
                      <a:pt x="63" y="19"/>
                      <a:pt x="60" y="19"/>
                      <a:pt x="57" y="19"/>
                    </a:cubicBezTo>
                    <a:cubicBezTo>
                      <a:pt x="57" y="18"/>
                      <a:pt x="55" y="17"/>
                      <a:pt x="53" y="15"/>
                    </a:cubicBezTo>
                    <a:cubicBezTo>
                      <a:pt x="53" y="14"/>
                      <a:pt x="52" y="14"/>
                      <a:pt x="52" y="13"/>
                    </a:cubicBezTo>
                    <a:cubicBezTo>
                      <a:pt x="50" y="10"/>
                      <a:pt x="51" y="6"/>
                      <a:pt x="54" y="2"/>
                    </a:cubicBezTo>
                    <a:close/>
                    <a:moveTo>
                      <a:pt x="95" y="70"/>
                    </a:moveTo>
                    <a:cubicBezTo>
                      <a:pt x="96" y="72"/>
                      <a:pt x="95" y="73"/>
                      <a:pt x="94" y="74"/>
                    </a:cubicBezTo>
                    <a:cubicBezTo>
                      <a:pt x="92" y="74"/>
                      <a:pt x="91" y="74"/>
                      <a:pt x="90" y="72"/>
                    </a:cubicBezTo>
                    <a:cubicBezTo>
                      <a:pt x="88" y="67"/>
                      <a:pt x="84" y="62"/>
                      <a:pt x="78" y="56"/>
                    </a:cubicBezTo>
                    <a:cubicBezTo>
                      <a:pt x="77" y="55"/>
                      <a:pt x="76" y="54"/>
                      <a:pt x="76" y="54"/>
                    </a:cubicBezTo>
                    <a:cubicBezTo>
                      <a:pt x="75" y="56"/>
                      <a:pt x="75" y="56"/>
                      <a:pt x="75" y="56"/>
                    </a:cubicBezTo>
                    <a:cubicBezTo>
                      <a:pt x="75" y="61"/>
                      <a:pt x="75" y="73"/>
                      <a:pt x="77" y="93"/>
                    </a:cubicBezTo>
                    <a:cubicBezTo>
                      <a:pt x="78" y="99"/>
                      <a:pt x="80" y="107"/>
                      <a:pt x="83" y="119"/>
                    </a:cubicBezTo>
                    <a:cubicBezTo>
                      <a:pt x="84" y="122"/>
                      <a:pt x="85" y="124"/>
                      <a:pt x="85" y="124"/>
                    </a:cubicBezTo>
                    <a:cubicBezTo>
                      <a:pt x="86" y="126"/>
                      <a:pt x="86" y="128"/>
                      <a:pt x="87" y="131"/>
                    </a:cubicBezTo>
                    <a:cubicBezTo>
                      <a:pt x="88" y="132"/>
                      <a:pt x="88" y="133"/>
                      <a:pt x="88" y="133"/>
                    </a:cubicBezTo>
                    <a:cubicBezTo>
                      <a:pt x="88" y="135"/>
                      <a:pt x="88" y="136"/>
                      <a:pt x="86" y="136"/>
                    </a:cubicBezTo>
                    <a:cubicBezTo>
                      <a:pt x="84" y="136"/>
                      <a:pt x="83" y="135"/>
                      <a:pt x="82" y="133"/>
                    </a:cubicBezTo>
                    <a:cubicBezTo>
                      <a:pt x="77" y="123"/>
                      <a:pt x="73" y="110"/>
                      <a:pt x="70" y="93"/>
                    </a:cubicBezTo>
                    <a:cubicBezTo>
                      <a:pt x="69" y="79"/>
                      <a:pt x="68" y="68"/>
                      <a:pt x="68" y="58"/>
                    </a:cubicBezTo>
                    <a:cubicBezTo>
                      <a:pt x="68" y="51"/>
                      <a:pt x="68" y="46"/>
                      <a:pt x="68" y="44"/>
                    </a:cubicBezTo>
                    <a:cubicBezTo>
                      <a:pt x="68" y="43"/>
                      <a:pt x="69" y="42"/>
                      <a:pt x="70" y="42"/>
                    </a:cubicBezTo>
                    <a:cubicBezTo>
                      <a:pt x="71" y="41"/>
                      <a:pt x="71" y="41"/>
                      <a:pt x="72" y="42"/>
                    </a:cubicBezTo>
                    <a:cubicBezTo>
                      <a:pt x="76" y="45"/>
                      <a:pt x="78" y="48"/>
                      <a:pt x="80" y="49"/>
                    </a:cubicBezTo>
                    <a:cubicBezTo>
                      <a:pt x="86" y="54"/>
                      <a:pt x="91" y="61"/>
                      <a:pt x="95" y="7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1049406" name="íṣ1ïḑe"/>
              <p:cNvSpPr/>
              <p:nvPr/>
            </p:nvSpPr>
            <p:spPr bwMode="auto">
              <a:xfrm>
                <a:off x="1750909" y="4905965"/>
                <a:ext cx="93663" cy="87313"/>
              </a:xfrm>
              <a:custGeom>
                <a:avLst/>
                <a:gdLst>
                  <a:gd name="T0" fmla="*/ 51 w 51"/>
                  <a:gd name="T1" fmla="*/ 17 h 47"/>
                  <a:gd name="T2" fmla="*/ 46 w 51"/>
                  <a:gd name="T3" fmla="*/ 25 h 47"/>
                  <a:gd name="T4" fmla="*/ 26 w 51"/>
                  <a:gd name="T5" fmla="*/ 13 h 47"/>
                  <a:gd name="T6" fmla="*/ 20 w 51"/>
                  <a:gd name="T7" fmla="*/ 9 h 47"/>
                  <a:gd name="T8" fmla="*/ 14 w 51"/>
                  <a:gd name="T9" fmla="*/ 9 h 47"/>
                  <a:gd name="T10" fmla="*/ 10 w 51"/>
                  <a:gd name="T11" fmla="*/ 13 h 47"/>
                  <a:gd name="T12" fmla="*/ 8 w 51"/>
                  <a:gd name="T13" fmla="*/ 19 h 47"/>
                  <a:gd name="T14" fmla="*/ 10 w 51"/>
                  <a:gd name="T15" fmla="*/ 23 h 47"/>
                  <a:gd name="T16" fmla="*/ 17 w 51"/>
                  <a:gd name="T17" fmla="*/ 27 h 47"/>
                  <a:gd name="T18" fmla="*/ 37 w 51"/>
                  <a:gd name="T19" fmla="*/ 40 h 47"/>
                  <a:gd name="T20" fmla="*/ 33 w 51"/>
                  <a:gd name="T21" fmla="*/ 47 h 47"/>
                  <a:gd name="T22" fmla="*/ 13 w 51"/>
                  <a:gd name="T23" fmla="*/ 35 h 47"/>
                  <a:gd name="T24" fmla="*/ 4 w 51"/>
                  <a:gd name="T25" fmla="*/ 29 h 47"/>
                  <a:gd name="T26" fmla="*/ 1 w 51"/>
                  <a:gd name="T27" fmla="*/ 24 h 47"/>
                  <a:gd name="T28" fmla="*/ 0 w 51"/>
                  <a:gd name="T29" fmla="*/ 18 h 47"/>
                  <a:gd name="T30" fmla="*/ 3 w 51"/>
                  <a:gd name="T31" fmla="*/ 10 h 47"/>
                  <a:gd name="T32" fmla="*/ 10 w 51"/>
                  <a:gd name="T33" fmla="*/ 2 h 47"/>
                  <a:gd name="T34" fmla="*/ 15 w 51"/>
                  <a:gd name="T35" fmla="*/ 0 h 47"/>
                  <a:gd name="T36" fmla="*/ 21 w 51"/>
                  <a:gd name="T37" fmla="*/ 0 h 47"/>
                  <a:gd name="T38" fmla="*/ 31 w 51"/>
                  <a:gd name="T39" fmla="*/ 5 h 47"/>
                  <a:gd name="T40" fmla="*/ 51 w 51"/>
                  <a:gd name="T41" fmla="*/ 17 h 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51" h="47">
                    <a:moveTo>
                      <a:pt x="51" y="17"/>
                    </a:moveTo>
                    <a:cubicBezTo>
                      <a:pt x="46" y="25"/>
                      <a:pt x="46" y="25"/>
                      <a:pt x="46" y="25"/>
                    </a:cubicBezTo>
                    <a:cubicBezTo>
                      <a:pt x="26" y="13"/>
                      <a:pt x="26" y="13"/>
                      <a:pt x="26" y="13"/>
                    </a:cubicBezTo>
                    <a:cubicBezTo>
                      <a:pt x="23" y="11"/>
                      <a:pt x="21" y="10"/>
                      <a:pt x="20" y="9"/>
                    </a:cubicBezTo>
                    <a:cubicBezTo>
                      <a:pt x="18" y="9"/>
                      <a:pt x="16" y="9"/>
                      <a:pt x="14" y="9"/>
                    </a:cubicBezTo>
                    <a:cubicBezTo>
                      <a:pt x="13" y="10"/>
                      <a:pt x="11" y="11"/>
                      <a:pt x="10" y="13"/>
                    </a:cubicBezTo>
                    <a:cubicBezTo>
                      <a:pt x="9" y="16"/>
                      <a:pt x="8" y="17"/>
                      <a:pt x="8" y="19"/>
                    </a:cubicBezTo>
                    <a:cubicBezTo>
                      <a:pt x="9" y="21"/>
                      <a:pt x="9" y="22"/>
                      <a:pt x="10" y="23"/>
                    </a:cubicBezTo>
                    <a:cubicBezTo>
                      <a:pt x="12" y="24"/>
                      <a:pt x="14" y="25"/>
                      <a:pt x="17" y="27"/>
                    </a:cubicBezTo>
                    <a:cubicBezTo>
                      <a:pt x="37" y="40"/>
                      <a:pt x="37" y="40"/>
                      <a:pt x="37" y="40"/>
                    </a:cubicBezTo>
                    <a:cubicBezTo>
                      <a:pt x="33" y="47"/>
                      <a:pt x="33" y="47"/>
                      <a:pt x="33" y="47"/>
                    </a:cubicBezTo>
                    <a:cubicBezTo>
                      <a:pt x="13" y="35"/>
                      <a:pt x="13" y="35"/>
                      <a:pt x="13" y="35"/>
                    </a:cubicBezTo>
                    <a:cubicBezTo>
                      <a:pt x="9" y="33"/>
                      <a:pt x="6" y="31"/>
                      <a:pt x="4" y="29"/>
                    </a:cubicBezTo>
                    <a:cubicBezTo>
                      <a:pt x="2" y="28"/>
                      <a:pt x="1" y="26"/>
                      <a:pt x="1" y="24"/>
                    </a:cubicBezTo>
                    <a:cubicBezTo>
                      <a:pt x="0" y="22"/>
                      <a:pt x="0" y="20"/>
                      <a:pt x="0" y="18"/>
                    </a:cubicBezTo>
                    <a:cubicBezTo>
                      <a:pt x="0" y="15"/>
                      <a:pt x="2" y="13"/>
                      <a:pt x="3" y="10"/>
                    </a:cubicBezTo>
                    <a:cubicBezTo>
                      <a:pt x="6" y="6"/>
                      <a:pt x="8" y="4"/>
                      <a:pt x="10" y="2"/>
                    </a:cubicBezTo>
                    <a:cubicBezTo>
                      <a:pt x="11" y="1"/>
                      <a:pt x="13" y="0"/>
                      <a:pt x="15" y="0"/>
                    </a:cubicBezTo>
                    <a:cubicBezTo>
                      <a:pt x="17" y="0"/>
                      <a:pt x="19" y="0"/>
                      <a:pt x="21" y="0"/>
                    </a:cubicBezTo>
                    <a:cubicBezTo>
                      <a:pt x="23" y="1"/>
                      <a:pt x="27" y="3"/>
                      <a:pt x="31" y="5"/>
                    </a:cubicBezTo>
                    <a:lnTo>
                      <a:pt x="51" y="17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1049407" name="íṧḷîde"/>
              <p:cNvSpPr/>
              <p:nvPr/>
            </p:nvSpPr>
            <p:spPr bwMode="auto">
              <a:xfrm>
                <a:off x="1704872" y="4971053"/>
                <a:ext cx="100013" cy="92075"/>
              </a:xfrm>
              <a:custGeom>
                <a:avLst/>
                <a:gdLst>
                  <a:gd name="T0" fmla="*/ 17 w 63"/>
                  <a:gd name="T1" fmla="*/ 0 h 58"/>
                  <a:gd name="T2" fmla="*/ 63 w 63"/>
                  <a:gd name="T3" fmla="*/ 21 h 58"/>
                  <a:gd name="T4" fmla="*/ 59 w 63"/>
                  <a:gd name="T5" fmla="*/ 30 h 58"/>
                  <a:gd name="T6" fmla="*/ 19 w 63"/>
                  <a:gd name="T7" fmla="*/ 35 h 58"/>
                  <a:gd name="T8" fmla="*/ 50 w 63"/>
                  <a:gd name="T9" fmla="*/ 50 h 58"/>
                  <a:gd name="T10" fmla="*/ 46 w 63"/>
                  <a:gd name="T11" fmla="*/ 58 h 58"/>
                  <a:gd name="T12" fmla="*/ 0 w 63"/>
                  <a:gd name="T13" fmla="*/ 37 h 58"/>
                  <a:gd name="T14" fmla="*/ 4 w 63"/>
                  <a:gd name="T15" fmla="*/ 26 h 58"/>
                  <a:gd name="T16" fmla="*/ 43 w 63"/>
                  <a:gd name="T17" fmla="*/ 22 h 58"/>
                  <a:gd name="T18" fmla="*/ 12 w 63"/>
                  <a:gd name="T19" fmla="*/ 8 h 58"/>
                  <a:gd name="T20" fmla="*/ 17 w 63"/>
                  <a:gd name="T21" fmla="*/ 0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63" h="58">
                    <a:moveTo>
                      <a:pt x="17" y="0"/>
                    </a:moveTo>
                    <a:lnTo>
                      <a:pt x="63" y="21"/>
                    </a:lnTo>
                    <a:lnTo>
                      <a:pt x="59" y="30"/>
                    </a:lnTo>
                    <a:lnTo>
                      <a:pt x="19" y="35"/>
                    </a:lnTo>
                    <a:lnTo>
                      <a:pt x="50" y="50"/>
                    </a:lnTo>
                    <a:lnTo>
                      <a:pt x="46" y="58"/>
                    </a:lnTo>
                    <a:lnTo>
                      <a:pt x="0" y="37"/>
                    </a:lnTo>
                    <a:lnTo>
                      <a:pt x="4" y="26"/>
                    </a:lnTo>
                    <a:lnTo>
                      <a:pt x="43" y="22"/>
                    </a:lnTo>
                    <a:lnTo>
                      <a:pt x="12" y="8"/>
                    </a:lnTo>
                    <a:lnTo>
                      <a:pt x="17" y="0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1049408" name="íS1îḍé"/>
              <p:cNvSpPr/>
              <p:nvPr/>
            </p:nvSpPr>
            <p:spPr bwMode="auto">
              <a:xfrm>
                <a:off x="1690584" y="5045665"/>
                <a:ext cx="84138" cy="44450"/>
              </a:xfrm>
              <a:custGeom>
                <a:avLst/>
                <a:gdLst>
                  <a:gd name="T0" fmla="*/ 5 w 53"/>
                  <a:gd name="T1" fmla="*/ 0 h 28"/>
                  <a:gd name="T2" fmla="*/ 53 w 53"/>
                  <a:gd name="T3" fmla="*/ 19 h 28"/>
                  <a:gd name="T4" fmla="*/ 49 w 53"/>
                  <a:gd name="T5" fmla="*/ 28 h 28"/>
                  <a:gd name="T6" fmla="*/ 0 w 53"/>
                  <a:gd name="T7" fmla="*/ 10 h 28"/>
                  <a:gd name="T8" fmla="*/ 5 w 53"/>
                  <a:gd name="T9" fmla="*/ 0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3" h="28">
                    <a:moveTo>
                      <a:pt x="5" y="0"/>
                    </a:moveTo>
                    <a:lnTo>
                      <a:pt x="53" y="19"/>
                    </a:lnTo>
                    <a:lnTo>
                      <a:pt x="49" y="28"/>
                    </a:lnTo>
                    <a:lnTo>
                      <a:pt x="0" y="10"/>
                    </a:lnTo>
                    <a:lnTo>
                      <a:pt x="5" y="0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1049409" name="íṧļïḋè"/>
              <p:cNvSpPr/>
              <p:nvPr/>
            </p:nvSpPr>
            <p:spPr bwMode="auto">
              <a:xfrm>
                <a:off x="1674709" y="5091703"/>
                <a:ext cx="92075" cy="73025"/>
              </a:xfrm>
              <a:custGeom>
                <a:avLst/>
                <a:gdLst>
                  <a:gd name="T0" fmla="*/ 4 w 58"/>
                  <a:gd name="T1" fmla="*/ 3 h 46"/>
                  <a:gd name="T2" fmla="*/ 58 w 58"/>
                  <a:gd name="T3" fmla="*/ 0 h 46"/>
                  <a:gd name="T4" fmla="*/ 55 w 58"/>
                  <a:gd name="T5" fmla="*/ 11 h 46"/>
                  <a:gd name="T6" fmla="*/ 14 w 58"/>
                  <a:gd name="T7" fmla="*/ 13 h 46"/>
                  <a:gd name="T8" fmla="*/ 46 w 58"/>
                  <a:gd name="T9" fmla="*/ 35 h 46"/>
                  <a:gd name="T10" fmla="*/ 44 w 58"/>
                  <a:gd name="T11" fmla="*/ 46 h 46"/>
                  <a:gd name="T12" fmla="*/ 0 w 58"/>
                  <a:gd name="T13" fmla="*/ 14 h 46"/>
                  <a:gd name="T14" fmla="*/ 4 w 58"/>
                  <a:gd name="T15" fmla="*/ 3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58" h="46">
                    <a:moveTo>
                      <a:pt x="4" y="3"/>
                    </a:moveTo>
                    <a:lnTo>
                      <a:pt x="58" y="0"/>
                    </a:lnTo>
                    <a:lnTo>
                      <a:pt x="55" y="11"/>
                    </a:lnTo>
                    <a:lnTo>
                      <a:pt x="14" y="13"/>
                    </a:lnTo>
                    <a:lnTo>
                      <a:pt x="46" y="35"/>
                    </a:lnTo>
                    <a:lnTo>
                      <a:pt x="44" y="46"/>
                    </a:lnTo>
                    <a:lnTo>
                      <a:pt x="0" y="14"/>
                    </a:lnTo>
                    <a:lnTo>
                      <a:pt x="4" y="3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1049410" name="ïṡḷiḋé"/>
              <p:cNvSpPr/>
              <p:nvPr/>
            </p:nvSpPr>
            <p:spPr bwMode="auto">
              <a:xfrm>
                <a:off x="1652484" y="5153615"/>
                <a:ext cx="90488" cy="73025"/>
              </a:xfrm>
              <a:custGeom>
                <a:avLst/>
                <a:gdLst>
                  <a:gd name="T0" fmla="*/ 7 w 57"/>
                  <a:gd name="T1" fmla="*/ 0 h 46"/>
                  <a:gd name="T2" fmla="*/ 57 w 57"/>
                  <a:gd name="T3" fmla="*/ 10 h 46"/>
                  <a:gd name="T4" fmla="*/ 50 w 57"/>
                  <a:gd name="T5" fmla="*/ 46 h 46"/>
                  <a:gd name="T6" fmla="*/ 42 w 57"/>
                  <a:gd name="T7" fmla="*/ 45 h 46"/>
                  <a:gd name="T8" fmla="*/ 47 w 57"/>
                  <a:gd name="T9" fmla="*/ 18 h 46"/>
                  <a:gd name="T10" fmla="*/ 36 w 57"/>
                  <a:gd name="T11" fmla="*/ 16 h 46"/>
                  <a:gd name="T12" fmla="*/ 30 w 57"/>
                  <a:gd name="T13" fmla="*/ 40 h 46"/>
                  <a:gd name="T14" fmla="*/ 22 w 57"/>
                  <a:gd name="T15" fmla="*/ 39 h 46"/>
                  <a:gd name="T16" fmla="*/ 27 w 57"/>
                  <a:gd name="T17" fmla="*/ 14 h 46"/>
                  <a:gd name="T18" fmla="*/ 14 w 57"/>
                  <a:gd name="T19" fmla="*/ 11 h 46"/>
                  <a:gd name="T20" fmla="*/ 8 w 57"/>
                  <a:gd name="T21" fmla="*/ 39 h 46"/>
                  <a:gd name="T22" fmla="*/ 0 w 57"/>
                  <a:gd name="T23" fmla="*/ 38 h 46"/>
                  <a:gd name="T24" fmla="*/ 7 w 57"/>
                  <a:gd name="T25" fmla="*/ 0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57" h="46">
                    <a:moveTo>
                      <a:pt x="7" y="0"/>
                    </a:moveTo>
                    <a:lnTo>
                      <a:pt x="57" y="10"/>
                    </a:lnTo>
                    <a:lnTo>
                      <a:pt x="50" y="46"/>
                    </a:lnTo>
                    <a:lnTo>
                      <a:pt x="42" y="45"/>
                    </a:lnTo>
                    <a:lnTo>
                      <a:pt x="47" y="18"/>
                    </a:lnTo>
                    <a:lnTo>
                      <a:pt x="36" y="16"/>
                    </a:lnTo>
                    <a:lnTo>
                      <a:pt x="30" y="40"/>
                    </a:lnTo>
                    <a:lnTo>
                      <a:pt x="22" y="39"/>
                    </a:lnTo>
                    <a:lnTo>
                      <a:pt x="27" y="14"/>
                    </a:lnTo>
                    <a:lnTo>
                      <a:pt x="14" y="11"/>
                    </a:lnTo>
                    <a:lnTo>
                      <a:pt x="8" y="39"/>
                    </a:lnTo>
                    <a:lnTo>
                      <a:pt x="0" y="38"/>
                    </a:lnTo>
                    <a:lnTo>
                      <a:pt x="7" y="0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1049411" name="ïşļiḋe"/>
              <p:cNvSpPr/>
              <p:nvPr/>
            </p:nvSpPr>
            <p:spPr bwMode="auto">
              <a:xfrm>
                <a:off x="1641372" y="5231403"/>
                <a:ext cx="88900" cy="71438"/>
              </a:xfrm>
              <a:custGeom>
                <a:avLst/>
                <a:gdLst>
                  <a:gd name="T0" fmla="*/ 4 w 48"/>
                  <a:gd name="T1" fmla="*/ 0 h 39"/>
                  <a:gd name="T2" fmla="*/ 48 w 48"/>
                  <a:gd name="T3" fmla="*/ 4 h 39"/>
                  <a:gd name="T4" fmla="*/ 46 w 48"/>
                  <a:gd name="T5" fmla="*/ 23 h 39"/>
                  <a:gd name="T6" fmla="*/ 44 w 48"/>
                  <a:gd name="T7" fmla="*/ 33 h 39"/>
                  <a:gd name="T8" fmla="*/ 39 w 48"/>
                  <a:gd name="T9" fmla="*/ 38 h 39"/>
                  <a:gd name="T10" fmla="*/ 32 w 48"/>
                  <a:gd name="T11" fmla="*/ 39 h 39"/>
                  <a:gd name="T12" fmla="*/ 24 w 48"/>
                  <a:gd name="T13" fmla="*/ 35 h 39"/>
                  <a:gd name="T14" fmla="*/ 21 w 48"/>
                  <a:gd name="T15" fmla="*/ 26 h 39"/>
                  <a:gd name="T16" fmla="*/ 17 w 48"/>
                  <a:gd name="T17" fmla="*/ 30 h 39"/>
                  <a:gd name="T18" fmla="*/ 9 w 48"/>
                  <a:gd name="T19" fmla="*/ 35 h 39"/>
                  <a:gd name="T20" fmla="*/ 0 w 48"/>
                  <a:gd name="T21" fmla="*/ 39 h 39"/>
                  <a:gd name="T22" fmla="*/ 1 w 48"/>
                  <a:gd name="T23" fmla="*/ 29 h 39"/>
                  <a:gd name="T24" fmla="*/ 12 w 48"/>
                  <a:gd name="T25" fmla="*/ 23 h 39"/>
                  <a:gd name="T26" fmla="*/ 18 w 48"/>
                  <a:gd name="T27" fmla="*/ 19 h 39"/>
                  <a:gd name="T28" fmla="*/ 20 w 48"/>
                  <a:gd name="T29" fmla="*/ 17 h 39"/>
                  <a:gd name="T30" fmla="*/ 21 w 48"/>
                  <a:gd name="T31" fmla="*/ 12 h 39"/>
                  <a:gd name="T32" fmla="*/ 22 w 48"/>
                  <a:gd name="T33" fmla="*/ 11 h 39"/>
                  <a:gd name="T34" fmla="*/ 3 w 48"/>
                  <a:gd name="T35" fmla="*/ 9 h 39"/>
                  <a:gd name="T36" fmla="*/ 4 w 48"/>
                  <a:gd name="T37" fmla="*/ 0 h 39"/>
                  <a:gd name="T38" fmla="*/ 29 w 48"/>
                  <a:gd name="T39" fmla="*/ 11 h 39"/>
                  <a:gd name="T40" fmla="*/ 28 w 48"/>
                  <a:gd name="T41" fmla="*/ 18 h 39"/>
                  <a:gd name="T42" fmla="*/ 28 w 48"/>
                  <a:gd name="T43" fmla="*/ 26 h 39"/>
                  <a:gd name="T44" fmla="*/ 29 w 48"/>
                  <a:gd name="T45" fmla="*/ 28 h 39"/>
                  <a:gd name="T46" fmla="*/ 32 w 48"/>
                  <a:gd name="T47" fmla="*/ 30 h 39"/>
                  <a:gd name="T48" fmla="*/ 36 w 48"/>
                  <a:gd name="T49" fmla="*/ 29 h 39"/>
                  <a:gd name="T50" fmla="*/ 38 w 48"/>
                  <a:gd name="T51" fmla="*/ 26 h 39"/>
                  <a:gd name="T52" fmla="*/ 39 w 48"/>
                  <a:gd name="T53" fmla="*/ 19 h 39"/>
                  <a:gd name="T54" fmla="*/ 40 w 48"/>
                  <a:gd name="T55" fmla="*/ 12 h 39"/>
                  <a:gd name="T56" fmla="*/ 29 w 48"/>
                  <a:gd name="T57" fmla="*/ 11 h 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48" h="39">
                    <a:moveTo>
                      <a:pt x="4" y="0"/>
                    </a:moveTo>
                    <a:cubicBezTo>
                      <a:pt x="48" y="4"/>
                      <a:pt x="48" y="4"/>
                      <a:pt x="48" y="4"/>
                    </a:cubicBezTo>
                    <a:cubicBezTo>
                      <a:pt x="46" y="23"/>
                      <a:pt x="46" y="23"/>
                      <a:pt x="46" y="23"/>
                    </a:cubicBezTo>
                    <a:cubicBezTo>
                      <a:pt x="46" y="27"/>
                      <a:pt x="45" y="31"/>
                      <a:pt x="44" y="33"/>
                    </a:cubicBezTo>
                    <a:cubicBezTo>
                      <a:pt x="43" y="35"/>
                      <a:pt x="41" y="36"/>
                      <a:pt x="39" y="38"/>
                    </a:cubicBezTo>
                    <a:cubicBezTo>
                      <a:pt x="37" y="39"/>
                      <a:pt x="35" y="39"/>
                      <a:pt x="32" y="39"/>
                    </a:cubicBezTo>
                    <a:cubicBezTo>
                      <a:pt x="29" y="38"/>
                      <a:pt x="26" y="37"/>
                      <a:pt x="24" y="35"/>
                    </a:cubicBezTo>
                    <a:cubicBezTo>
                      <a:pt x="22" y="33"/>
                      <a:pt x="21" y="30"/>
                      <a:pt x="21" y="26"/>
                    </a:cubicBezTo>
                    <a:cubicBezTo>
                      <a:pt x="20" y="28"/>
                      <a:pt x="18" y="29"/>
                      <a:pt x="17" y="30"/>
                    </a:cubicBezTo>
                    <a:cubicBezTo>
                      <a:pt x="16" y="32"/>
                      <a:pt x="13" y="33"/>
                      <a:pt x="9" y="35"/>
                    </a:cubicBezTo>
                    <a:cubicBezTo>
                      <a:pt x="0" y="39"/>
                      <a:pt x="0" y="39"/>
                      <a:pt x="0" y="39"/>
                    </a:cubicBezTo>
                    <a:cubicBezTo>
                      <a:pt x="1" y="29"/>
                      <a:pt x="1" y="29"/>
                      <a:pt x="1" y="29"/>
                    </a:cubicBezTo>
                    <a:cubicBezTo>
                      <a:pt x="12" y="23"/>
                      <a:pt x="12" y="23"/>
                      <a:pt x="12" y="23"/>
                    </a:cubicBezTo>
                    <a:cubicBezTo>
                      <a:pt x="15" y="21"/>
                      <a:pt x="17" y="20"/>
                      <a:pt x="18" y="19"/>
                    </a:cubicBezTo>
                    <a:cubicBezTo>
                      <a:pt x="19" y="18"/>
                      <a:pt x="20" y="18"/>
                      <a:pt x="20" y="17"/>
                    </a:cubicBezTo>
                    <a:cubicBezTo>
                      <a:pt x="21" y="16"/>
                      <a:pt x="21" y="14"/>
                      <a:pt x="21" y="12"/>
                    </a:cubicBezTo>
                    <a:cubicBezTo>
                      <a:pt x="22" y="11"/>
                      <a:pt x="22" y="11"/>
                      <a:pt x="22" y="11"/>
                    </a:cubicBezTo>
                    <a:cubicBezTo>
                      <a:pt x="3" y="9"/>
                      <a:pt x="3" y="9"/>
                      <a:pt x="3" y="9"/>
                    </a:cubicBezTo>
                    <a:lnTo>
                      <a:pt x="4" y="0"/>
                    </a:lnTo>
                    <a:close/>
                    <a:moveTo>
                      <a:pt x="29" y="11"/>
                    </a:moveTo>
                    <a:cubicBezTo>
                      <a:pt x="28" y="18"/>
                      <a:pt x="28" y="18"/>
                      <a:pt x="28" y="18"/>
                    </a:cubicBezTo>
                    <a:cubicBezTo>
                      <a:pt x="28" y="22"/>
                      <a:pt x="27" y="25"/>
                      <a:pt x="28" y="26"/>
                    </a:cubicBezTo>
                    <a:cubicBezTo>
                      <a:pt x="28" y="27"/>
                      <a:pt x="28" y="28"/>
                      <a:pt x="29" y="28"/>
                    </a:cubicBezTo>
                    <a:cubicBezTo>
                      <a:pt x="30" y="29"/>
                      <a:pt x="31" y="30"/>
                      <a:pt x="32" y="30"/>
                    </a:cubicBezTo>
                    <a:cubicBezTo>
                      <a:pt x="34" y="30"/>
                      <a:pt x="35" y="30"/>
                      <a:pt x="36" y="29"/>
                    </a:cubicBezTo>
                    <a:cubicBezTo>
                      <a:pt x="37" y="28"/>
                      <a:pt x="38" y="27"/>
                      <a:pt x="38" y="26"/>
                    </a:cubicBezTo>
                    <a:cubicBezTo>
                      <a:pt x="38" y="25"/>
                      <a:pt x="39" y="23"/>
                      <a:pt x="39" y="19"/>
                    </a:cubicBezTo>
                    <a:cubicBezTo>
                      <a:pt x="40" y="12"/>
                      <a:pt x="40" y="12"/>
                      <a:pt x="40" y="12"/>
                    </a:cubicBezTo>
                    <a:lnTo>
                      <a:pt x="29" y="11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1049412" name="îś1iḓê"/>
              <p:cNvSpPr/>
              <p:nvPr/>
            </p:nvSpPr>
            <p:spPr bwMode="auto">
              <a:xfrm>
                <a:off x="1641372" y="5312365"/>
                <a:ext cx="82550" cy="66675"/>
              </a:xfrm>
              <a:custGeom>
                <a:avLst/>
                <a:gdLst>
                  <a:gd name="T0" fmla="*/ 15 w 45"/>
                  <a:gd name="T1" fmla="*/ 0 h 36"/>
                  <a:gd name="T2" fmla="*/ 16 w 45"/>
                  <a:gd name="T3" fmla="*/ 8 h 36"/>
                  <a:gd name="T4" fmla="*/ 9 w 45"/>
                  <a:gd name="T5" fmla="*/ 12 h 36"/>
                  <a:gd name="T6" fmla="*/ 7 w 45"/>
                  <a:gd name="T7" fmla="*/ 18 h 36"/>
                  <a:gd name="T8" fmla="*/ 9 w 45"/>
                  <a:gd name="T9" fmla="*/ 25 h 36"/>
                  <a:gd name="T10" fmla="*/ 13 w 45"/>
                  <a:gd name="T11" fmla="*/ 27 h 36"/>
                  <a:gd name="T12" fmla="*/ 16 w 45"/>
                  <a:gd name="T13" fmla="*/ 26 h 36"/>
                  <a:gd name="T14" fmla="*/ 18 w 45"/>
                  <a:gd name="T15" fmla="*/ 23 h 36"/>
                  <a:gd name="T16" fmla="*/ 20 w 45"/>
                  <a:gd name="T17" fmla="*/ 15 h 36"/>
                  <a:gd name="T18" fmla="*/ 24 w 45"/>
                  <a:gd name="T19" fmla="*/ 5 h 36"/>
                  <a:gd name="T20" fmla="*/ 33 w 45"/>
                  <a:gd name="T21" fmla="*/ 1 h 36"/>
                  <a:gd name="T22" fmla="*/ 39 w 45"/>
                  <a:gd name="T23" fmla="*/ 3 h 36"/>
                  <a:gd name="T24" fmla="*/ 44 w 45"/>
                  <a:gd name="T25" fmla="*/ 9 h 36"/>
                  <a:gd name="T26" fmla="*/ 45 w 45"/>
                  <a:gd name="T27" fmla="*/ 17 h 36"/>
                  <a:gd name="T28" fmla="*/ 42 w 45"/>
                  <a:gd name="T29" fmla="*/ 30 h 36"/>
                  <a:gd name="T30" fmla="*/ 32 w 45"/>
                  <a:gd name="T31" fmla="*/ 34 h 36"/>
                  <a:gd name="T32" fmla="*/ 31 w 45"/>
                  <a:gd name="T33" fmla="*/ 25 h 36"/>
                  <a:gd name="T34" fmla="*/ 36 w 45"/>
                  <a:gd name="T35" fmla="*/ 23 h 36"/>
                  <a:gd name="T36" fmla="*/ 38 w 45"/>
                  <a:gd name="T37" fmla="*/ 17 h 36"/>
                  <a:gd name="T38" fmla="*/ 36 w 45"/>
                  <a:gd name="T39" fmla="*/ 11 h 36"/>
                  <a:gd name="T40" fmla="*/ 33 w 45"/>
                  <a:gd name="T41" fmla="*/ 10 h 36"/>
                  <a:gd name="T42" fmla="*/ 31 w 45"/>
                  <a:gd name="T43" fmla="*/ 11 h 36"/>
                  <a:gd name="T44" fmla="*/ 28 w 45"/>
                  <a:gd name="T45" fmla="*/ 19 h 36"/>
                  <a:gd name="T46" fmla="*/ 25 w 45"/>
                  <a:gd name="T47" fmla="*/ 29 h 36"/>
                  <a:gd name="T48" fmla="*/ 20 w 45"/>
                  <a:gd name="T49" fmla="*/ 34 h 36"/>
                  <a:gd name="T50" fmla="*/ 13 w 45"/>
                  <a:gd name="T51" fmla="*/ 36 h 36"/>
                  <a:gd name="T52" fmla="*/ 6 w 45"/>
                  <a:gd name="T53" fmla="*/ 33 h 36"/>
                  <a:gd name="T54" fmla="*/ 1 w 45"/>
                  <a:gd name="T55" fmla="*/ 28 h 36"/>
                  <a:gd name="T56" fmla="*/ 0 w 45"/>
                  <a:gd name="T57" fmla="*/ 18 h 36"/>
                  <a:gd name="T58" fmla="*/ 3 w 45"/>
                  <a:gd name="T59" fmla="*/ 5 h 36"/>
                  <a:gd name="T60" fmla="*/ 15 w 45"/>
                  <a:gd name="T61" fmla="*/ 0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45" h="36">
                    <a:moveTo>
                      <a:pt x="15" y="0"/>
                    </a:moveTo>
                    <a:cubicBezTo>
                      <a:pt x="16" y="8"/>
                      <a:pt x="16" y="8"/>
                      <a:pt x="16" y="8"/>
                    </a:cubicBezTo>
                    <a:cubicBezTo>
                      <a:pt x="13" y="9"/>
                      <a:pt x="10" y="10"/>
                      <a:pt x="9" y="12"/>
                    </a:cubicBezTo>
                    <a:cubicBezTo>
                      <a:pt x="8" y="13"/>
                      <a:pt x="7" y="15"/>
                      <a:pt x="7" y="18"/>
                    </a:cubicBezTo>
                    <a:cubicBezTo>
                      <a:pt x="7" y="21"/>
                      <a:pt x="8" y="23"/>
                      <a:pt x="9" y="25"/>
                    </a:cubicBezTo>
                    <a:cubicBezTo>
                      <a:pt x="10" y="26"/>
                      <a:pt x="12" y="27"/>
                      <a:pt x="13" y="27"/>
                    </a:cubicBezTo>
                    <a:cubicBezTo>
                      <a:pt x="14" y="27"/>
                      <a:pt x="15" y="26"/>
                      <a:pt x="16" y="26"/>
                    </a:cubicBezTo>
                    <a:cubicBezTo>
                      <a:pt x="17" y="25"/>
                      <a:pt x="17" y="24"/>
                      <a:pt x="18" y="23"/>
                    </a:cubicBezTo>
                    <a:cubicBezTo>
                      <a:pt x="18" y="22"/>
                      <a:pt x="19" y="19"/>
                      <a:pt x="20" y="15"/>
                    </a:cubicBezTo>
                    <a:cubicBezTo>
                      <a:pt x="21" y="11"/>
                      <a:pt x="22" y="7"/>
                      <a:pt x="24" y="5"/>
                    </a:cubicBezTo>
                    <a:cubicBezTo>
                      <a:pt x="26" y="3"/>
                      <a:pt x="29" y="1"/>
                      <a:pt x="33" y="1"/>
                    </a:cubicBezTo>
                    <a:cubicBezTo>
                      <a:pt x="35" y="1"/>
                      <a:pt x="37" y="2"/>
                      <a:pt x="39" y="3"/>
                    </a:cubicBezTo>
                    <a:cubicBezTo>
                      <a:pt x="41" y="4"/>
                      <a:pt x="43" y="6"/>
                      <a:pt x="44" y="9"/>
                    </a:cubicBezTo>
                    <a:cubicBezTo>
                      <a:pt x="45" y="11"/>
                      <a:pt x="45" y="14"/>
                      <a:pt x="45" y="17"/>
                    </a:cubicBezTo>
                    <a:cubicBezTo>
                      <a:pt x="45" y="23"/>
                      <a:pt x="44" y="27"/>
                      <a:pt x="42" y="30"/>
                    </a:cubicBezTo>
                    <a:cubicBezTo>
                      <a:pt x="39" y="33"/>
                      <a:pt x="36" y="34"/>
                      <a:pt x="32" y="34"/>
                    </a:cubicBezTo>
                    <a:cubicBezTo>
                      <a:pt x="31" y="25"/>
                      <a:pt x="31" y="25"/>
                      <a:pt x="31" y="25"/>
                    </a:cubicBezTo>
                    <a:cubicBezTo>
                      <a:pt x="34" y="25"/>
                      <a:pt x="35" y="24"/>
                      <a:pt x="36" y="23"/>
                    </a:cubicBezTo>
                    <a:cubicBezTo>
                      <a:pt x="37" y="22"/>
                      <a:pt x="38" y="20"/>
                      <a:pt x="38" y="17"/>
                    </a:cubicBezTo>
                    <a:cubicBezTo>
                      <a:pt x="38" y="15"/>
                      <a:pt x="37" y="13"/>
                      <a:pt x="36" y="11"/>
                    </a:cubicBezTo>
                    <a:cubicBezTo>
                      <a:pt x="35" y="10"/>
                      <a:pt x="35" y="10"/>
                      <a:pt x="33" y="10"/>
                    </a:cubicBezTo>
                    <a:cubicBezTo>
                      <a:pt x="32" y="10"/>
                      <a:pt x="31" y="10"/>
                      <a:pt x="31" y="11"/>
                    </a:cubicBezTo>
                    <a:cubicBezTo>
                      <a:pt x="30" y="12"/>
                      <a:pt x="29" y="15"/>
                      <a:pt x="28" y="19"/>
                    </a:cubicBezTo>
                    <a:cubicBezTo>
                      <a:pt x="27" y="24"/>
                      <a:pt x="26" y="27"/>
                      <a:pt x="25" y="29"/>
                    </a:cubicBezTo>
                    <a:cubicBezTo>
                      <a:pt x="24" y="31"/>
                      <a:pt x="22" y="33"/>
                      <a:pt x="20" y="34"/>
                    </a:cubicBezTo>
                    <a:cubicBezTo>
                      <a:pt x="18" y="35"/>
                      <a:pt x="16" y="36"/>
                      <a:pt x="13" y="36"/>
                    </a:cubicBezTo>
                    <a:cubicBezTo>
                      <a:pt x="11" y="36"/>
                      <a:pt x="8" y="35"/>
                      <a:pt x="6" y="33"/>
                    </a:cubicBezTo>
                    <a:cubicBezTo>
                      <a:pt x="4" y="32"/>
                      <a:pt x="2" y="30"/>
                      <a:pt x="1" y="28"/>
                    </a:cubicBezTo>
                    <a:cubicBezTo>
                      <a:pt x="0" y="25"/>
                      <a:pt x="0" y="22"/>
                      <a:pt x="0" y="18"/>
                    </a:cubicBezTo>
                    <a:cubicBezTo>
                      <a:pt x="0" y="12"/>
                      <a:pt x="1" y="8"/>
                      <a:pt x="3" y="5"/>
                    </a:cubicBezTo>
                    <a:cubicBezTo>
                      <a:pt x="6" y="2"/>
                      <a:pt x="10" y="0"/>
                      <a:pt x="15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1049413" name="íş1ïḓe"/>
              <p:cNvSpPr/>
              <p:nvPr/>
            </p:nvSpPr>
            <p:spPr bwMode="auto">
              <a:xfrm>
                <a:off x="1642959" y="5385390"/>
                <a:ext cx="84138" cy="22225"/>
              </a:xfrm>
              <a:custGeom>
                <a:avLst/>
                <a:gdLst>
                  <a:gd name="T0" fmla="*/ 0 w 53"/>
                  <a:gd name="T1" fmla="*/ 5 h 14"/>
                  <a:gd name="T2" fmla="*/ 51 w 53"/>
                  <a:gd name="T3" fmla="*/ 0 h 14"/>
                  <a:gd name="T4" fmla="*/ 53 w 53"/>
                  <a:gd name="T5" fmla="*/ 11 h 14"/>
                  <a:gd name="T6" fmla="*/ 1 w 53"/>
                  <a:gd name="T7" fmla="*/ 14 h 14"/>
                  <a:gd name="T8" fmla="*/ 0 w 53"/>
                  <a:gd name="T9" fmla="*/ 5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3" h="14">
                    <a:moveTo>
                      <a:pt x="0" y="5"/>
                    </a:moveTo>
                    <a:lnTo>
                      <a:pt x="51" y="0"/>
                    </a:lnTo>
                    <a:lnTo>
                      <a:pt x="53" y="11"/>
                    </a:lnTo>
                    <a:lnTo>
                      <a:pt x="1" y="14"/>
                    </a:lnTo>
                    <a:lnTo>
                      <a:pt x="0" y="5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1049414" name="ïṩlîḋè"/>
              <p:cNvSpPr/>
              <p:nvPr/>
            </p:nvSpPr>
            <p:spPr bwMode="auto">
              <a:xfrm>
                <a:off x="1649309" y="5407615"/>
                <a:ext cx="84138" cy="66675"/>
              </a:xfrm>
              <a:custGeom>
                <a:avLst/>
                <a:gdLst>
                  <a:gd name="T0" fmla="*/ 0 w 53"/>
                  <a:gd name="T1" fmla="*/ 22 h 42"/>
                  <a:gd name="T2" fmla="*/ 42 w 53"/>
                  <a:gd name="T3" fmla="*/ 17 h 42"/>
                  <a:gd name="T4" fmla="*/ 39 w 53"/>
                  <a:gd name="T5" fmla="*/ 1 h 42"/>
                  <a:gd name="T6" fmla="*/ 49 w 53"/>
                  <a:gd name="T7" fmla="*/ 0 h 42"/>
                  <a:gd name="T8" fmla="*/ 53 w 53"/>
                  <a:gd name="T9" fmla="*/ 41 h 42"/>
                  <a:gd name="T10" fmla="*/ 45 w 53"/>
                  <a:gd name="T11" fmla="*/ 42 h 42"/>
                  <a:gd name="T12" fmla="*/ 43 w 53"/>
                  <a:gd name="T13" fmla="*/ 27 h 42"/>
                  <a:gd name="T14" fmla="*/ 1 w 53"/>
                  <a:gd name="T15" fmla="*/ 33 h 42"/>
                  <a:gd name="T16" fmla="*/ 0 w 53"/>
                  <a:gd name="T17" fmla="*/ 22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3" h="42">
                    <a:moveTo>
                      <a:pt x="0" y="22"/>
                    </a:moveTo>
                    <a:lnTo>
                      <a:pt x="42" y="17"/>
                    </a:lnTo>
                    <a:lnTo>
                      <a:pt x="39" y="1"/>
                    </a:lnTo>
                    <a:lnTo>
                      <a:pt x="49" y="0"/>
                    </a:lnTo>
                    <a:lnTo>
                      <a:pt x="53" y="41"/>
                    </a:lnTo>
                    <a:lnTo>
                      <a:pt x="45" y="42"/>
                    </a:lnTo>
                    <a:lnTo>
                      <a:pt x="43" y="27"/>
                    </a:lnTo>
                    <a:lnTo>
                      <a:pt x="1" y="33"/>
                    </a:lnTo>
                    <a:lnTo>
                      <a:pt x="0" y="22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1049415" name="ïṣľîďe"/>
              <p:cNvSpPr/>
              <p:nvPr/>
            </p:nvSpPr>
            <p:spPr bwMode="auto">
              <a:xfrm>
                <a:off x="1662009" y="5471115"/>
                <a:ext cx="90488" cy="73025"/>
              </a:xfrm>
              <a:custGeom>
                <a:avLst/>
                <a:gdLst>
                  <a:gd name="T0" fmla="*/ 0 w 57"/>
                  <a:gd name="T1" fmla="*/ 29 h 46"/>
                  <a:gd name="T2" fmla="*/ 21 w 57"/>
                  <a:gd name="T3" fmla="*/ 24 h 46"/>
                  <a:gd name="T4" fmla="*/ 45 w 57"/>
                  <a:gd name="T5" fmla="*/ 0 h 46"/>
                  <a:gd name="T6" fmla="*/ 49 w 57"/>
                  <a:gd name="T7" fmla="*/ 11 h 46"/>
                  <a:gd name="T8" fmla="*/ 31 w 57"/>
                  <a:gd name="T9" fmla="*/ 28 h 46"/>
                  <a:gd name="T10" fmla="*/ 53 w 57"/>
                  <a:gd name="T11" fmla="*/ 35 h 46"/>
                  <a:gd name="T12" fmla="*/ 57 w 57"/>
                  <a:gd name="T13" fmla="*/ 46 h 46"/>
                  <a:gd name="T14" fmla="*/ 23 w 57"/>
                  <a:gd name="T15" fmla="*/ 35 h 46"/>
                  <a:gd name="T16" fmla="*/ 2 w 57"/>
                  <a:gd name="T17" fmla="*/ 39 h 46"/>
                  <a:gd name="T18" fmla="*/ 0 w 57"/>
                  <a:gd name="T19" fmla="*/ 29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57" h="46">
                    <a:moveTo>
                      <a:pt x="0" y="29"/>
                    </a:moveTo>
                    <a:lnTo>
                      <a:pt x="21" y="24"/>
                    </a:lnTo>
                    <a:lnTo>
                      <a:pt x="45" y="0"/>
                    </a:lnTo>
                    <a:lnTo>
                      <a:pt x="49" y="11"/>
                    </a:lnTo>
                    <a:lnTo>
                      <a:pt x="31" y="28"/>
                    </a:lnTo>
                    <a:lnTo>
                      <a:pt x="53" y="35"/>
                    </a:lnTo>
                    <a:lnTo>
                      <a:pt x="57" y="46"/>
                    </a:lnTo>
                    <a:lnTo>
                      <a:pt x="23" y="35"/>
                    </a:lnTo>
                    <a:lnTo>
                      <a:pt x="2" y="39"/>
                    </a:lnTo>
                    <a:lnTo>
                      <a:pt x="0" y="29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1049416" name="íśļiḓe"/>
              <p:cNvSpPr/>
              <p:nvPr/>
            </p:nvSpPr>
            <p:spPr bwMode="auto">
              <a:xfrm>
                <a:off x="1704872" y="5609228"/>
                <a:ext cx="85725" cy="80963"/>
              </a:xfrm>
              <a:custGeom>
                <a:avLst/>
                <a:gdLst>
                  <a:gd name="T0" fmla="*/ 15 w 47"/>
                  <a:gd name="T1" fmla="*/ 2 h 44"/>
                  <a:gd name="T2" fmla="*/ 26 w 47"/>
                  <a:gd name="T3" fmla="*/ 0 h 44"/>
                  <a:gd name="T4" fmla="*/ 33 w 47"/>
                  <a:gd name="T5" fmla="*/ 1 h 44"/>
                  <a:gd name="T6" fmla="*/ 39 w 47"/>
                  <a:gd name="T7" fmla="*/ 4 h 44"/>
                  <a:gd name="T8" fmla="*/ 44 w 47"/>
                  <a:gd name="T9" fmla="*/ 12 h 44"/>
                  <a:gd name="T10" fmla="*/ 45 w 47"/>
                  <a:gd name="T11" fmla="*/ 29 h 44"/>
                  <a:gd name="T12" fmla="*/ 32 w 47"/>
                  <a:gd name="T13" fmla="*/ 41 h 44"/>
                  <a:gd name="T14" fmla="*/ 15 w 47"/>
                  <a:gd name="T15" fmla="*/ 43 h 44"/>
                  <a:gd name="T16" fmla="*/ 3 w 47"/>
                  <a:gd name="T17" fmla="*/ 31 h 44"/>
                  <a:gd name="T18" fmla="*/ 2 w 47"/>
                  <a:gd name="T19" fmla="*/ 14 h 44"/>
                  <a:gd name="T20" fmla="*/ 15 w 47"/>
                  <a:gd name="T21" fmla="*/ 2 h 44"/>
                  <a:gd name="T22" fmla="*/ 19 w 47"/>
                  <a:gd name="T23" fmla="*/ 10 h 44"/>
                  <a:gd name="T24" fmla="*/ 10 w 47"/>
                  <a:gd name="T25" fmla="*/ 18 h 44"/>
                  <a:gd name="T26" fmla="*/ 10 w 47"/>
                  <a:gd name="T27" fmla="*/ 28 h 44"/>
                  <a:gd name="T28" fmla="*/ 17 w 47"/>
                  <a:gd name="T29" fmla="*/ 34 h 44"/>
                  <a:gd name="T30" fmla="*/ 29 w 47"/>
                  <a:gd name="T31" fmla="*/ 33 h 44"/>
                  <a:gd name="T32" fmla="*/ 38 w 47"/>
                  <a:gd name="T33" fmla="*/ 25 h 44"/>
                  <a:gd name="T34" fmla="*/ 37 w 47"/>
                  <a:gd name="T35" fmla="*/ 16 h 44"/>
                  <a:gd name="T36" fmla="*/ 30 w 47"/>
                  <a:gd name="T37" fmla="*/ 9 h 44"/>
                  <a:gd name="T38" fmla="*/ 19 w 47"/>
                  <a:gd name="T39" fmla="*/ 10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47" h="44">
                    <a:moveTo>
                      <a:pt x="15" y="2"/>
                    </a:moveTo>
                    <a:cubicBezTo>
                      <a:pt x="19" y="0"/>
                      <a:pt x="23" y="0"/>
                      <a:pt x="26" y="0"/>
                    </a:cubicBezTo>
                    <a:cubicBezTo>
                      <a:pt x="28" y="0"/>
                      <a:pt x="31" y="0"/>
                      <a:pt x="33" y="1"/>
                    </a:cubicBezTo>
                    <a:cubicBezTo>
                      <a:pt x="35" y="2"/>
                      <a:pt x="37" y="3"/>
                      <a:pt x="39" y="4"/>
                    </a:cubicBezTo>
                    <a:cubicBezTo>
                      <a:pt x="41" y="6"/>
                      <a:pt x="43" y="9"/>
                      <a:pt x="44" y="12"/>
                    </a:cubicBezTo>
                    <a:cubicBezTo>
                      <a:pt x="47" y="18"/>
                      <a:pt x="47" y="24"/>
                      <a:pt x="45" y="29"/>
                    </a:cubicBezTo>
                    <a:cubicBezTo>
                      <a:pt x="43" y="34"/>
                      <a:pt x="39" y="38"/>
                      <a:pt x="32" y="41"/>
                    </a:cubicBezTo>
                    <a:cubicBezTo>
                      <a:pt x="26" y="44"/>
                      <a:pt x="20" y="44"/>
                      <a:pt x="15" y="43"/>
                    </a:cubicBezTo>
                    <a:cubicBezTo>
                      <a:pt x="9" y="41"/>
                      <a:pt x="5" y="37"/>
                      <a:pt x="3" y="31"/>
                    </a:cubicBezTo>
                    <a:cubicBezTo>
                      <a:pt x="0" y="25"/>
                      <a:pt x="0" y="19"/>
                      <a:pt x="2" y="14"/>
                    </a:cubicBezTo>
                    <a:cubicBezTo>
                      <a:pt x="4" y="9"/>
                      <a:pt x="8" y="5"/>
                      <a:pt x="15" y="2"/>
                    </a:cubicBezTo>
                    <a:close/>
                    <a:moveTo>
                      <a:pt x="19" y="10"/>
                    </a:moveTo>
                    <a:cubicBezTo>
                      <a:pt x="14" y="12"/>
                      <a:pt x="11" y="15"/>
                      <a:pt x="10" y="18"/>
                    </a:cubicBezTo>
                    <a:cubicBezTo>
                      <a:pt x="8" y="21"/>
                      <a:pt x="8" y="24"/>
                      <a:pt x="10" y="28"/>
                    </a:cubicBezTo>
                    <a:cubicBezTo>
                      <a:pt x="11" y="31"/>
                      <a:pt x="13" y="33"/>
                      <a:pt x="17" y="34"/>
                    </a:cubicBezTo>
                    <a:cubicBezTo>
                      <a:pt x="20" y="35"/>
                      <a:pt x="24" y="35"/>
                      <a:pt x="29" y="33"/>
                    </a:cubicBezTo>
                    <a:cubicBezTo>
                      <a:pt x="33" y="31"/>
                      <a:pt x="36" y="28"/>
                      <a:pt x="38" y="25"/>
                    </a:cubicBezTo>
                    <a:cubicBezTo>
                      <a:pt x="39" y="22"/>
                      <a:pt x="39" y="19"/>
                      <a:pt x="37" y="16"/>
                    </a:cubicBezTo>
                    <a:cubicBezTo>
                      <a:pt x="36" y="12"/>
                      <a:pt x="34" y="10"/>
                      <a:pt x="30" y="9"/>
                    </a:cubicBezTo>
                    <a:cubicBezTo>
                      <a:pt x="27" y="8"/>
                      <a:pt x="23" y="8"/>
                      <a:pt x="19" y="1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1049417" name="î$ḷïďe"/>
              <p:cNvSpPr/>
              <p:nvPr/>
            </p:nvSpPr>
            <p:spPr bwMode="auto">
              <a:xfrm>
                <a:off x="1733447" y="5675903"/>
                <a:ext cx="98425" cy="66675"/>
              </a:xfrm>
              <a:custGeom>
                <a:avLst/>
                <a:gdLst>
                  <a:gd name="T0" fmla="*/ 0 w 62"/>
                  <a:gd name="T1" fmla="*/ 26 h 42"/>
                  <a:gd name="T2" fmla="*/ 45 w 62"/>
                  <a:gd name="T3" fmla="*/ 0 h 42"/>
                  <a:gd name="T4" fmla="*/ 62 w 62"/>
                  <a:gd name="T5" fmla="*/ 30 h 42"/>
                  <a:gd name="T6" fmla="*/ 55 w 62"/>
                  <a:gd name="T7" fmla="*/ 35 h 42"/>
                  <a:gd name="T8" fmla="*/ 43 w 62"/>
                  <a:gd name="T9" fmla="*/ 14 h 42"/>
                  <a:gd name="T10" fmla="*/ 32 w 62"/>
                  <a:gd name="T11" fmla="*/ 20 h 42"/>
                  <a:gd name="T12" fmla="*/ 43 w 62"/>
                  <a:gd name="T13" fmla="*/ 38 h 42"/>
                  <a:gd name="T14" fmla="*/ 35 w 62"/>
                  <a:gd name="T15" fmla="*/ 42 h 42"/>
                  <a:gd name="T16" fmla="*/ 25 w 62"/>
                  <a:gd name="T17" fmla="*/ 23 h 42"/>
                  <a:gd name="T18" fmla="*/ 6 w 62"/>
                  <a:gd name="T19" fmla="*/ 35 h 42"/>
                  <a:gd name="T20" fmla="*/ 0 w 62"/>
                  <a:gd name="T21" fmla="*/ 26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62" h="42">
                    <a:moveTo>
                      <a:pt x="0" y="26"/>
                    </a:moveTo>
                    <a:lnTo>
                      <a:pt x="45" y="0"/>
                    </a:lnTo>
                    <a:lnTo>
                      <a:pt x="62" y="30"/>
                    </a:lnTo>
                    <a:lnTo>
                      <a:pt x="55" y="35"/>
                    </a:lnTo>
                    <a:lnTo>
                      <a:pt x="43" y="14"/>
                    </a:lnTo>
                    <a:lnTo>
                      <a:pt x="32" y="20"/>
                    </a:lnTo>
                    <a:lnTo>
                      <a:pt x="43" y="38"/>
                    </a:lnTo>
                    <a:lnTo>
                      <a:pt x="35" y="42"/>
                    </a:lnTo>
                    <a:lnTo>
                      <a:pt x="25" y="23"/>
                    </a:lnTo>
                    <a:lnTo>
                      <a:pt x="6" y="35"/>
                    </a:lnTo>
                    <a:lnTo>
                      <a:pt x="0" y="26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1049418" name="îśḻîḍe"/>
              <p:cNvSpPr/>
              <p:nvPr/>
            </p:nvSpPr>
            <p:spPr bwMode="auto">
              <a:xfrm>
                <a:off x="1812822" y="5785440"/>
                <a:ext cx="85725" cy="82550"/>
              </a:xfrm>
              <a:custGeom>
                <a:avLst/>
                <a:gdLst>
                  <a:gd name="T0" fmla="*/ 6 w 46"/>
                  <a:gd name="T1" fmla="*/ 13 h 45"/>
                  <a:gd name="T2" fmla="*/ 12 w 46"/>
                  <a:gd name="T3" fmla="*/ 19 h 45"/>
                  <a:gd name="T4" fmla="*/ 9 w 46"/>
                  <a:gd name="T5" fmla="*/ 26 h 45"/>
                  <a:gd name="T6" fmla="*/ 11 w 46"/>
                  <a:gd name="T7" fmla="*/ 32 h 45"/>
                  <a:gd name="T8" fmla="*/ 17 w 46"/>
                  <a:gd name="T9" fmla="*/ 36 h 45"/>
                  <a:gd name="T10" fmla="*/ 22 w 46"/>
                  <a:gd name="T11" fmla="*/ 35 h 45"/>
                  <a:gd name="T12" fmla="*/ 23 w 46"/>
                  <a:gd name="T13" fmla="*/ 32 h 45"/>
                  <a:gd name="T14" fmla="*/ 22 w 46"/>
                  <a:gd name="T15" fmla="*/ 29 h 45"/>
                  <a:gd name="T16" fmla="*/ 19 w 46"/>
                  <a:gd name="T17" fmla="*/ 22 h 45"/>
                  <a:gd name="T18" fmla="*/ 16 w 46"/>
                  <a:gd name="T19" fmla="*/ 12 h 45"/>
                  <a:gd name="T20" fmla="*/ 21 w 46"/>
                  <a:gd name="T21" fmla="*/ 3 h 45"/>
                  <a:gd name="T22" fmla="*/ 27 w 46"/>
                  <a:gd name="T23" fmla="*/ 0 h 45"/>
                  <a:gd name="T24" fmla="*/ 34 w 46"/>
                  <a:gd name="T25" fmla="*/ 2 h 45"/>
                  <a:gd name="T26" fmla="*/ 40 w 46"/>
                  <a:gd name="T27" fmla="*/ 8 h 45"/>
                  <a:gd name="T28" fmla="*/ 45 w 46"/>
                  <a:gd name="T29" fmla="*/ 19 h 45"/>
                  <a:gd name="T30" fmla="*/ 41 w 46"/>
                  <a:gd name="T31" fmla="*/ 29 h 45"/>
                  <a:gd name="T32" fmla="*/ 35 w 46"/>
                  <a:gd name="T33" fmla="*/ 22 h 45"/>
                  <a:gd name="T34" fmla="*/ 37 w 46"/>
                  <a:gd name="T35" fmla="*/ 17 h 45"/>
                  <a:gd name="T36" fmla="*/ 35 w 46"/>
                  <a:gd name="T37" fmla="*/ 12 h 45"/>
                  <a:gd name="T38" fmla="*/ 30 w 46"/>
                  <a:gd name="T39" fmla="*/ 8 h 45"/>
                  <a:gd name="T40" fmla="*/ 27 w 46"/>
                  <a:gd name="T41" fmla="*/ 9 h 45"/>
                  <a:gd name="T42" fmla="*/ 25 w 46"/>
                  <a:gd name="T43" fmla="*/ 12 h 45"/>
                  <a:gd name="T44" fmla="*/ 28 w 46"/>
                  <a:gd name="T45" fmla="*/ 20 h 45"/>
                  <a:gd name="T46" fmla="*/ 32 w 46"/>
                  <a:gd name="T47" fmla="*/ 29 h 45"/>
                  <a:gd name="T48" fmla="*/ 31 w 46"/>
                  <a:gd name="T49" fmla="*/ 36 h 45"/>
                  <a:gd name="T50" fmla="*/ 27 w 46"/>
                  <a:gd name="T51" fmla="*/ 42 h 45"/>
                  <a:gd name="T52" fmla="*/ 20 w 46"/>
                  <a:gd name="T53" fmla="*/ 45 h 45"/>
                  <a:gd name="T54" fmla="*/ 13 w 46"/>
                  <a:gd name="T55" fmla="*/ 43 h 45"/>
                  <a:gd name="T56" fmla="*/ 6 w 46"/>
                  <a:gd name="T57" fmla="*/ 37 h 45"/>
                  <a:gd name="T58" fmla="*/ 0 w 46"/>
                  <a:gd name="T59" fmla="*/ 24 h 45"/>
                  <a:gd name="T60" fmla="*/ 6 w 46"/>
                  <a:gd name="T61" fmla="*/ 13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46" h="45">
                    <a:moveTo>
                      <a:pt x="6" y="13"/>
                    </a:moveTo>
                    <a:cubicBezTo>
                      <a:pt x="12" y="19"/>
                      <a:pt x="12" y="19"/>
                      <a:pt x="12" y="19"/>
                    </a:cubicBezTo>
                    <a:cubicBezTo>
                      <a:pt x="10" y="21"/>
                      <a:pt x="9" y="24"/>
                      <a:pt x="9" y="26"/>
                    </a:cubicBezTo>
                    <a:cubicBezTo>
                      <a:pt x="9" y="28"/>
                      <a:pt x="10" y="30"/>
                      <a:pt x="11" y="32"/>
                    </a:cubicBezTo>
                    <a:cubicBezTo>
                      <a:pt x="13" y="34"/>
                      <a:pt x="15" y="35"/>
                      <a:pt x="17" y="36"/>
                    </a:cubicBezTo>
                    <a:cubicBezTo>
                      <a:pt x="19" y="36"/>
                      <a:pt x="20" y="36"/>
                      <a:pt x="22" y="35"/>
                    </a:cubicBezTo>
                    <a:cubicBezTo>
                      <a:pt x="22" y="34"/>
                      <a:pt x="23" y="33"/>
                      <a:pt x="23" y="32"/>
                    </a:cubicBezTo>
                    <a:cubicBezTo>
                      <a:pt x="23" y="32"/>
                      <a:pt x="23" y="30"/>
                      <a:pt x="22" y="29"/>
                    </a:cubicBezTo>
                    <a:cubicBezTo>
                      <a:pt x="22" y="28"/>
                      <a:pt x="21" y="26"/>
                      <a:pt x="19" y="22"/>
                    </a:cubicBezTo>
                    <a:cubicBezTo>
                      <a:pt x="17" y="18"/>
                      <a:pt x="16" y="14"/>
                      <a:pt x="16" y="12"/>
                    </a:cubicBezTo>
                    <a:cubicBezTo>
                      <a:pt x="17" y="8"/>
                      <a:pt x="18" y="5"/>
                      <a:pt x="21" y="3"/>
                    </a:cubicBezTo>
                    <a:cubicBezTo>
                      <a:pt x="23" y="1"/>
                      <a:pt x="25" y="1"/>
                      <a:pt x="27" y="0"/>
                    </a:cubicBezTo>
                    <a:cubicBezTo>
                      <a:pt x="29" y="0"/>
                      <a:pt x="31" y="1"/>
                      <a:pt x="34" y="2"/>
                    </a:cubicBezTo>
                    <a:cubicBezTo>
                      <a:pt x="36" y="3"/>
                      <a:pt x="38" y="5"/>
                      <a:pt x="40" y="8"/>
                    </a:cubicBezTo>
                    <a:cubicBezTo>
                      <a:pt x="44" y="12"/>
                      <a:pt x="46" y="16"/>
                      <a:pt x="45" y="19"/>
                    </a:cubicBezTo>
                    <a:cubicBezTo>
                      <a:pt x="45" y="23"/>
                      <a:pt x="44" y="26"/>
                      <a:pt x="41" y="29"/>
                    </a:cubicBezTo>
                    <a:cubicBezTo>
                      <a:pt x="35" y="22"/>
                      <a:pt x="35" y="22"/>
                      <a:pt x="35" y="22"/>
                    </a:cubicBezTo>
                    <a:cubicBezTo>
                      <a:pt x="36" y="21"/>
                      <a:pt x="37" y="19"/>
                      <a:pt x="37" y="17"/>
                    </a:cubicBezTo>
                    <a:cubicBezTo>
                      <a:pt x="37" y="16"/>
                      <a:pt x="36" y="14"/>
                      <a:pt x="35" y="12"/>
                    </a:cubicBezTo>
                    <a:cubicBezTo>
                      <a:pt x="33" y="10"/>
                      <a:pt x="31" y="9"/>
                      <a:pt x="30" y="8"/>
                    </a:cubicBezTo>
                    <a:cubicBezTo>
                      <a:pt x="28" y="8"/>
                      <a:pt x="27" y="8"/>
                      <a:pt x="27" y="9"/>
                    </a:cubicBezTo>
                    <a:cubicBezTo>
                      <a:pt x="26" y="10"/>
                      <a:pt x="25" y="11"/>
                      <a:pt x="25" y="12"/>
                    </a:cubicBezTo>
                    <a:cubicBezTo>
                      <a:pt x="25" y="13"/>
                      <a:pt x="26" y="16"/>
                      <a:pt x="28" y="20"/>
                    </a:cubicBezTo>
                    <a:cubicBezTo>
                      <a:pt x="30" y="24"/>
                      <a:pt x="31" y="27"/>
                      <a:pt x="32" y="29"/>
                    </a:cubicBezTo>
                    <a:cubicBezTo>
                      <a:pt x="32" y="32"/>
                      <a:pt x="32" y="34"/>
                      <a:pt x="31" y="36"/>
                    </a:cubicBezTo>
                    <a:cubicBezTo>
                      <a:pt x="31" y="38"/>
                      <a:pt x="29" y="40"/>
                      <a:pt x="27" y="42"/>
                    </a:cubicBezTo>
                    <a:cubicBezTo>
                      <a:pt x="25" y="43"/>
                      <a:pt x="23" y="44"/>
                      <a:pt x="20" y="45"/>
                    </a:cubicBezTo>
                    <a:cubicBezTo>
                      <a:pt x="18" y="45"/>
                      <a:pt x="15" y="44"/>
                      <a:pt x="13" y="43"/>
                    </a:cubicBezTo>
                    <a:cubicBezTo>
                      <a:pt x="10" y="42"/>
                      <a:pt x="8" y="40"/>
                      <a:pt x="6" y="37"/>
                    </a:cubicBezTo>
                    <a:cubicBezTo>
                      <a:pt x="2" y="32"/>
                      <a:pt x="0" y="28"/>
                      <a:pt x="0" y="24"/>
                    </a:cubicBezTo>
                    <a:cubicBezTo>
                      <a:pt x="1" y="20"/>
                      <a:pt x="2" y="17"/>
                      <a:pt x="6" y="13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1049419" name="í$ļîḋê"/>
              <p:cNvSpPr/>
              <p:nvPr/>
            </p:nvSpPr>
            <p:spPr bwMode="auto">
              <a:xfrm>
                <a:off x="1868384" y="5844178"/>
                <a:ext cx="82550" cy="82550"/>
              </a:xfrm>
              <a:custGeom>
                <a:avLst/>
                <a:gdLst>
                  <a:gd name="T0" fmla="*/ 25 w 45"/>
                  <a:gd name="T1" fmla="*/ 33 h 45"/>
                  <a:gd name="T2" fmla="*/ 29 w 45"/>
                  <a:gd name="T3" fmla="*/ 41 h 45"/>
                  <a:gd name="T4" fmla="*/ 17 w 45"/>
                  <a:gd name="T5" fmla="*/ 44 h 45"/>
                  <a:gd name="T6" fmla="*/ 6 w 45"/>
                  <a:gd name="T7" fmla="*/ 38 h 45"/>
                  <a:gd name="T8" fmla="*/ 0 w 45"/>
                  <a:gd name="T9" fmla="*/ 24 h 45"/>
                  <a:gd name="T10" fmla="*/ 8 w 45"/>
                  <a:gd name="T11" fmla="*/ 8 h 45"/>
                  <a:gd name="T12" fmla="*/ 24 w 45"/>
                  <a:gd name="T13" fmla="*/ 0 h 45"/>
                  <a:gd name="T14" fmla="*/ 39 w 45"/>
                  <a:gd name="T15" fmla="*/ 7 h 45"/>
                  <a:gd name="T16" fmla="*/ 45 w 45"/>
                  <a:gd name="T17" fmla="*/ 19 h 45"/>
                  <a:gd name="T18" fmla="*/ 42 w 45"/>
                  <a:gd name="T19" fmla="*/ 28 h 45"/>
                  <a:gd name="T20" fmla="*/ 34 w 45"/>
                  <a:gd name="T21" fmla="*/ 23 h 45"/>
                  <a:gd name="T22" fmla="*/ 36 w 45"/>
                  <a:gd name="T23" fmla="*/ 17 h 45"/>
                  <a:gd name="T24" fmla="*/ 33 w 45"/>
                  <a:gd name="T25" fmla="*/ 12 h 45"/>
                  <a:gd name="T26" fmla="*/ 25 w 45"/>
                  <a:gd name="T27" fmla="*/ 9 h 45"/>
                  <a:gd name="T28" fmla="*/ 15 w 45"/>
                  <a:gd name="T29" fmla="*/ 14 h 45"/>
                  <a:gd name="T30" fmla="*/ 8 w 45"/>
                  <a:gd name="T31" fmla="*/ 25 h 45"/>
                  <a:gd name="T32" fmla="*/ 11 w 45"/>
                  <a:gd name="T33" fmla="*/ 33 h 45"/>
                  <a:gd name="T34" fmla="*/ 17 w 45"/>
                  <a:gd name="T35" fmla="*/ 36 h 45"/>
                  <a:gd name="T36" fmla="*/ 25 w 45"/>
                  <a:gd name="T37" fmla="*/ 33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45" h="45">
                    <a:moveTo>
                      <a:pt x="25" y="33"/>
                    </a:moveTo>
                    <a:cubicBezTo>
                      <a:pt x="29" y="41"/>
                      <a:pt x="29" y="41"/>
                      <a:pt x="29" y="41"/>
                    </a:cubicBezTo>
                    <a:cubicBezTo>
                      <a:pt x="25" y="44"/>
                      <a:pt x="21" y="45"/>
                      <a:pt x="17" y="44"/>
                    </a:cubicBezTo>
                    <a:cubicBezTo>
                      <a:pt x="13" y="44"/>
                      <a:pt x="9" y="42"/>
                      <a:pt x="6" y="38"/>
                    </a:cubicBezTo>
                    <a:cubicBezTo>
                      <a:pt x="2" y="34"/>
                      <a:pt x="0" y="29"/>
                      <a:pt x="0" y="24"/>
                    </a:cubicBezTo>
                    <a:cubicBezTo>
                      <a:pt x="0" y="19"/>
                      <a:pt x="3" y="13"/>
                      <a:pt x="8" y="8"/>
                    </a:cubicBezTo>
                    <a:cubicBezTo>
                      <a:pt x="13" y="3"/>
                      <a:pt x="18" y="1"/>
                      <a:pt x="24" y="0"/>
                    </a:cubicBezTo>
                    <a:cubicBezTo>
                      <a:pt x="29" y="0"/>
                      <a:pt x="34" y="2"/>
                      <a:pt x="39" y="7"/>
                    </a:cubicBezTo>
                    <a:cubicBezTo>
                      <a:pt x="42" y="10"/>
                      <a:pt x="44" y="15"/>
                      <a:pt x="45" y="19"/>
                    </a:cubicBezTo>
                    <a:cubicBezTo>
                      <a:pt x="45" y="22"/>
                      <a:pt x="44" y="25"/>
                      <a:pt x="42" y="28"/>
                    </a:cubicBezTo>
                    <a:cubicBezTo>
                      <a:pt x="34" y="23"/>
                      <a:pt x="34" y="23"/>
                      <a:pt x="34" y="23"/>
                    </a:cubicBezTo>
                    <a:cubicBezTo>
                      <a:pt x="36" y="21"/>
                      <a:pt x="36" y="19"/>
                      <a:pt x="36" y="17"/>
                    </a:cubicBezTo>
                    <a:cubicBezTo>
                      <a:pt x="36" y="15"/>
                      <a:pt x="35" y="13"/>
                      <a:pt x="33" y="12"/>
                    </a:cubicBezTo>
                    <a:cubicBezTo>
                      <a:pt x="31" y="9"/>
                      <a:pt x="28" y="8"/>
                      <a:pt x="25" y="9"/>
                    </a:cubicBezTo>
                    <a:cubicBezTo>
                      <a:pt x="22" y="9"/>
                      <a:pt x="18" y="11"/>
                      <a:pt x="15" y="14"/>
                    </a:cubicBezTo>
                    <a:cubicBezTo>
                      <a:pt x="11" y="18"/>
                      <a:pt x="9" y="22"/>
                      <a:pt x="8" y="25"/>
                    </a:cubicBezTo>
                    <a:cubicBezTo>
                      <a:pt x="8" y="28"/>
                      <a:pt x="9" y="31"/>
                      <a:pt x="11" y="33"/>
                    </a:cubicBezTo>
                    <a:cubicBezTo>
                      <a:pt x="13" y="35"/>
                      <a:pt x="15" y="36"/>
                      <a:pt x="17" y="36"/>
                    </a:cubicBezTo>
                    <a:cubicBezTo>
                      <a:pt x="20" y="36"/>
                      <a:pt x="22" y="35"/>
                      <a:pt x="25" y="33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1049420" name="íṩḷiḋé"/>
              <p:cNvSpPr/>
              <p:nvPr/>
            </p:nvSpPr>
            <p:spPr bwMode="auto">
              <a:xfrm>
                <a:off x="1916009" y="5887040"/>
                <a:ext cx="65088" cy="71438"/>
              </a:xfrm>
              <a:custGeom>
                <a:avLst/>
                <a:gdLst>
                  <a:gd name="T0" fmla="*/ 0 w 41"/>
                  <a:gd name="T1" fmla="*/ 38 h 45"/>
                  <a:gd name="T2" fmla="*/ 34 w 41"/>
                  <a:gd name="T3" fmla="*/ 0 h 45"/>
                  <a:gd name="T4" fmla="*/ 41 w 41"/>
                  <a:gd name="T5" fmla="*/ 6 h 45"/>
                  <a:gd name="T6" fmla="*/ 8 w 41"/>
                  <a:gd name="T7" fmla="*/ 45 h 45"/>
                  <a:gd name="T8" fmla="*/ 0 w 41"/>
                  <a:gd name="T9" fmla="*/ 38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1" h="45">
                    <a:moveTo>
                      <a:pt x="0" y="38"/>
                    </a:moveTo>
                    <a:lnTo>
                      <a:pt x="34" y="0"/>
                    </a:lnTo>
                    <a:lnTo>
                      <a:pt x="41" y="6"/>
                    </a:lnTo>
                    <a:lnTo>
                      <a:pt x="8" y="45"/>
                    </a:lnTo>
                    <a:lnTo>
                      <a:pt x="0" y="38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1049421" name="îsľïďé"/>
              <p:cNvSpPr/>
              <p:nvPr/>
            </p:nvSpPr>
            <p:spPr bwMode="auto">
              <a:xfrm>
                <a:off x="1941409" y="5904503"/>
                <a:ext cx="96838" cy="101600"/>
              </a:xfrm>
              <a:custGeom>
                <a:avLst/>
                <a:gdLst>
                  <a:gd name="T0" fmla="*/ 0 w 61"/>
                  <a:gd name="T1" fmla="*/ 41 h 64"/>
                  <a:gd name="T2" fmla="*/ 31 w 61"/>
                  <a:gd name="T3" fmla="*/ 0 h 64"/>
                  <a:gd name="T4" fmla="*/ 61 w 61"/>
                  <a:gd name="T5" fmla="*/ 22 h 64"/>
                  <a:gd name="T6" fmla="*/ 56 w 61"/>
                  <a:gd name="T7" fmla="*/ 29 h 64"/>
                  <a:gd name="T8" fmla="*/ 34 w 61"/>
                  <a:gd name="T9" fmla="*/ 13 h 64"/>
                  <a:gd name="T10" fmla="*/ 27 w 61"/>
                  <a:gd name="T11" fmla="*/ 22 h 64"/>
                  <a:gd name="T12" fmla="*/ 47 w 61"/>
                  <a:gd name="T13" fmla="*/ 37 h 64"/>
                  <a:gd name="T14" fmla="*/ 42 w 61"/>
                  <a:gd name="T15" fmla="*/ 44 h 64"/>
                  <a:gd name="T16" fmla="*/ 21 w 61"/>
                  <a:gd name="T17" fmla="*/ 29 h 64"/>
                  <a:gd name="T18" fmla="*/ 13 w 61"/>
                  <a:gd name="T19" fmla="*/ 40 h 64"/>
                  <a:gd name="T20" fmla="*/ 36 w 61"/>
                  <a:gd name="T21" fmla="*/ 57 h 64"/>
                  <a:gd name="T22" fmla="*/ 31 w 61"/>
                  <a:gd name="T23" fmla="*/ 64 h 64"/>
                  <a:gd name="T24" fmla="*/ 0 w 61"/>
                  <a:gd name="T25" fmla="*/ 41 h 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1" h="64">
                    <a:moveTo>
                      <a:pt x="0" y="41"/>
                    </a:moveTo>
                    <a:lnTo>
                      <a:pt x="31" y="0"/>
                    </a:lnTo>
                    <a:lnTo>
                      <a:pt x="61" y="22"/>
                    </a:lnTo>
                    <a:lnTo>
                      <a:pt x="56" y="29"/>
                    </a:lnTo>
                    <a:lnTo>
                      <a:pt x="34" y="13"/>
                    </a:lnTo>
                    <a:lnTo>
                      <a:pt x="27" y="22"/>
                    </a:lnTo>
                    <a:lnTo>
                      <a:pt x="47" y="37"/>
                    </a:lnTo>
                    <a:lnTo>
                      <a:pt x="42" y="44"/>
                    </a:lnTo>
                    <a:lnTo>
                      <a:pt x="21" y="29"/>
                    </a:lnTo>
                    <a:lnTo>
                      <a:pt x="13" y="40"/>
                    </a:lnTo>
                    <a:lnTo>
                      <a:pt x="36" y="57"/>
                    </a:lnTo>
                    <a:lnTo>
                      <a:pt x="31" y="64"/>
                    </a:lnTo>
                    <a:lnTo>
                      <a:pt x="0" y="41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1049422" name="íśliḋé"/>
              <p:cNvSpPr/>
              <p:nvPr/>
            </p:nvSpPr>
            <p:spPr bwMode="auto">
              <a:xfrm>
                <a:off x="2004909" y="5947365"/>
                <a:ext cx="96838" cy="101600"/>
              </a:xfrm>
              <a:custGeom>
                <a:avLst/>
                <a:gdLst>
                  <a:gd name="T0" fmla="*/ 0 w 61"/>
                  <a:gd name="T1" fmla="*/ 43 h 64"/>
                  <a:gd name="T2" fmla="*/ 27 w 61"/>
                  <a:gd name="T3" fmla="*/ 0 h 64"/>
                  <a:gd name="T4" fmla="*/ 35 w 61"/>
                  <a:gd name="T5" fmla="*/ 5 h 64"/>
                  <a:gd name="T6" fmla="*/ 36 w 61"/>
                  <a:gd name="T7" fmla="*/ 45 h 64"/>
                  <a:gd name="T8" fmla="*/ 53 w 61"/>
                  <a:gd name="T9" fmla="*/ 15 h 64"/>
                  <a:gd name="T10" fmla="*/ 61 w 61"/>
                  <a:gd name="T11" fmla="*/ 21 h 64"/>
                  <a:gd name="T12" fmla="*/ 35 w 61"/>
                  <a:gd name="T13" fmla="*/ 64 h 64"/>
                  <a:gd name="T14" fmla="*/ 27 w 61"/>
                  <a:gd name="T15" fmla="*/ 59 h 64"/>
                  <a:gd name="T16" fmla="*/ 25 w 61"/>
                  <a:gd name="T17" fmla="*/ 20 h 64"/>
                  <a:gd name="T18" fmla="*/ 8 w 61"/>
                  <a:gd name="T19" fmla="*/ 49 h 64"/>
                  <a:gd name="T20" fmla="*/ 0 w 61"/>
                  <a:gd name="T21" fmla="*/ 43 h 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61" h="64">
                    <a:moveTo>
                      <a:pt x="0" y="43"/>
                    </a:moveTo>
                    <a:lnTo>
                      <a:pt x="27" y="0"/>
                    </a:lnTo>
                    <a:lnTo>
                      <a:pt x="35" y="5"/>
                    </a:lnTo>
                    <a:lnTo>
                      <a:pt x="36" y="45"/>
                    </a:lnTo>
                    <a:lnTo>
                      <a:pt x="53" y="15"/>
                    </a:lnTo>
                    <a:lnTo>
                      <a:pt x="61" y="21"/>
                    </a:lnTo>
                    <a:lnTo>
                      <a:pt x="35" y="64"/>
                    </a:lnTo>
                    <a:lnTo>
                      <a:pt x="27" y="59"/>
                    </a:lnTo>
                    <a:lnTo>
                      <a:pt x="25" y="20"/>
                    </a:lnTo>
                    <a:lnTo>
                      <a:pt x="8" y="49"/>
                    </a:lnTo>
                    <a:lnTo>
                      <a:pt x="0" y="43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1049423" name="iSļiďê"/>
              <p:cNvSpPr/>
              <p:nvPr/>
            </p:nvSpPr>
            <p:spPr bwMode="auto">
              <a:xfrm>
                <a:off x="2087459" y="5993403"/>
                <a:ext cx="79375" cy="87313"/>
              </a:xfrm>
              <a:custGeom>
                <a:avLst/>
                <a:gdLst>
                  <a:gd name="T0" fmla="*/ 28 w 43"/>
                  <a:gd name="T1" fmla="*/ 33 h 47"/>
                  <a:gd name="T2" fmla="*/ 34 w 43"/>
                  <a:gd name="T3" fmla="*/ 39 h 47"/>
                  <a:gd name="T4" fmla="*/ 24 w 43"/>
                  <a:gd name="T5" fmla="*/ 46 h 47"/>
                  <a:gd name="T6" fmla="*/ 12 w 43"/>
                  <a:gd name="T7" fmla="*/ 44 h 47"/>
                  <a:gd name="T8" fmla="*/ 1 w 43"/>
                  <a:gd name="T9" fmla="*/ 33 h 47"/>
                  <a:gd name="T10" fmla="*/ 3 w 43"/>
                  <a:gd name="T11" fmla="*/ 15 h 47"/>
                  <a:gd name="T12" fmla="*/ 15 w 43"/>
                  <a:gd name="T13" fmla="*/ 2 h 47"/>
                  <a:gd name="T14" fmla="*/ 32 w 43"/>
                  <a:gd name="T15" fmla="*/ 3 h 47"/>
                  <a:gd name="T16" fmla="*/ 41 w 43"/>
                  <a:gd name="T17" fmla="*/ 13 h 47"/>
                  <a:gd name="T18" fmla="*/ 42 w 43"/>
                  <a:gd name="T19" fmla="*/ 22 h 47"/>
                  <a:gd name="T20" fmla="*/ 33 w 43"/>
                  <a:gd name="T21" fmla="*/ 20 h 47"/>
                  <a:gd name="T22" fmla="*/ 33 w 43"/>
                  <a:gd name="T23" fmla="*/ 14 h 47"/>
                  <a:gd name="T24" fmla="*/ 28 w 43"/>
                  <a:gd name="T25" fmla="*/ 10 h 47"/>
                  <a:gd name="T26" fmla="*/ 19 w 43"/>
                  <a:gd name="T27" fmla="*/ 10 h 47"/>
                  <a:gd name="T28" fmla="*/ 12 w 43"/>
                  <a:gd name="T29" fmla="*/ 19 h 47"/>
                  <a:gd name="T30" fmla="*/ 9 w 43"/>
                  <a:gd name="T31" fmla="*/ 31 h 47"/>
                  <a:gd name="T32" fmla="*/ 15 w 43"/>
                  <a:gd name="T33" fmla="*/ 37 h 47"/>
                  <a:gd name="T34" fmla="*/ 22 w 43"/>
                  <a:gd name="T35" fmla="*/ 38 h 47"/>
                  <a:gd name="T36" fmla="*/ 28 w 43"/>
                  <a:gd name="T37" fmla="*/ 33 h 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43" h="47">
                    <a:moveTo>
                      <a:pt x="28" y="33"/>
                    </a:moveTo>
                    <a:cubicBezTo>
                      <a:pt x="34" y="39"/>
                      <a:pt x="34" y="39"/>
                      <a:pt x="34" y="39"/>
                    </a:cubicBezTo>
                    <a:cubicBezTo>
                      <a:pt x="31" y="43"/>
                      <a:pt x="28" y="45"/>
                      <a:pt x="24" y="46"/>
                    </a:cubicBezTo>
                    <a:cubicBezTo>
                      <a:pt x="20" y="47"/>
                      <a:pt x="16" y="46"/>
                      <a:pt x="12" y="44"/>
                    </a:cubicBezTo>
                    <a:cubicBezTo>
                      <a:pt x="7" y="42"/>
                      <a:pt x="3" y="38"/>
                      <a:pt x="1" y="33"/>
                    </a:cubicBezTo>
                    <a:cubicBezTo>
                      <a:pt x="0" y="27"/>
                      <a:pt x="0" y="22"/>
                      <a:pt x="3" y="15"/>
                    </a:cubicBezTo>
                    <a:cubicBezTo>
                      <a:pt x="6" y="9"/>
                      <a:pt x="10" y="4"/>
                      <a:pt x="15" y="2"/>
                    </a:cubicBezTo>
                    <a:cubicBezTo>
                      <a:pt x="21" y="0"/>
                      <a:pt x="26" y="1"/>
                      <a:pt x="32" y="3"/>
                    </a:cubicBezTo>
                    <a:cubicBezTo>
                      <a:pt x="36" y="5"/>
                      <a:pt x="40" y="9"/>
                      <a:pt x="41" y="13"/>
                    </a:cubicBezTo>
                    <a:cubicBezTo>
                      <a:pt x="42" y="16"/>
                      <a:pt x="43" y="19"/>
                      <a:pt x="42" y="22"/>
                    </a:cubicBezTo>
                    <a:cubicBezTo>
                      <a:pt x="33" y="20"/>
                      <a:pt x="33" y="20"/>
                      <a:pt x="33" y="20"/>
                    </a:cubicBezTo>
                    <a:cubicBezTo>
                      <a:pt x="34" y="18"/>
                      <a:pt x="34" y="16"/>
                      <a:pt x="33" y="14"/>
                    </a:cubicBezTo>
                    <a:cubicBezTo>
                      <a:pt x="32" y="12"/>
                      <a:pt x="30" y="11"/>
                      <a:pt x="28" y="10"/>
                    </a:cubicBezTo>
                    <a:cubicBezTo>
                      <a:pt x="25" y="8"/>
                      <a:pt x="22" y="8"/>
                      <a:pt x="19" y="10"/>
                    </a:cubicBezTo>
                    <a:cubicBezTo>
                      <a:pt x="16" y="11"/>
                      <a:pt x="14" y="14"/>
                      <a:pt x="12" y="19"/>
                    </a:cubicBezTo>
                    <a:cubicBezTo>
                      <a:pt x="9" y="24"/>
                      <a:pt x="9" y="28"/>
                      <a:pt x="9" y="31"/>
                    </a:cubicBezTo>
                    <a:cubicBezTo>
                      <a:pt x="10" y="34"/>
                      <a:pt x="12" y="36"/>
                      <a:pt x="15" y="37"/>
                    </a:cubicBezTo>
                    <a:cubicBezTo>
                      <a:pt x="17" y="38"/>
                      <a:pt x="19" y="38"/>
                      <a:pt x="22" y="38"/>
                    </a:cubicBezTo>
                    <a:cubicBezTo>
                      <a:pt x="24" y="37"/>
                      <a:pt x="26" y="35"/>
                      <a:pt x="28" y="33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1049424" name="íSliḋé"/>
              <p:cNvSpPr/>
              <p:nvPr/>
            </p:nvSpPr>
            <p:spPr bwMode="auto">
              <a:xfrm>
                <a:off x="2157309" y="6017215"/>
                <a:ext cx="82550" cy="96838"/>
              </a:xfrm>
              <a:custGeom>
                <a:avLst/>
                <a:gdLst>
                  <a:gd name="T0" fmla="*/ 0 w 52"/>
                  <a:gd name="T1" fmla="*/ 49 h 61"/>
                  <a:gd name="T2" fmla="*/ 16 w 52"/>
                  <a:gd name="T3" fmla="*/ 0 h 61"/>
                  <a:gd name="T4" fmla="*/ 52 w 52"/>
                  <a:gd name="T5" fmla="*/ 13 h 61"/>
                  <a:gd name="T6" fmla="*/ 50 w 52"/>
                  <a:gd name="T7" fmla="*/ 21 h 61"/>
                  <a:gd name="T8" fmla="*/ 23 w 52"/>
                  <a:gd name="T9" fmla="*/ 12 h 61"/>
                  <a:gd name="T10" fmla="*/ 20 w 52"/>
                  <a:gd name="T11" fmla="*/ 22 h 61"/>
                  <a:gd name="T12" fmla="*/ 44 w 52"/>
                  <a:gd name="T13" fmla="*/ 30 h 61"/>
                  <a:gd name="T14" fmla="*/ 41 w 52"/>
                  <a:gd name="T15" fmla="*/ 38 h 61"/>
                  <a:gd name="T16" fmla="*/ 18 w 52"/>
                  <a:gd name="T17" fmla="*/ 30 h 61"/>
                  <a:gd name="T18" fmla="*/ 13 w 52"/>
                  <a:gd name="T19" fmla="*/ 43 h 61"/>
                  <a:gd name="T20" fmla="*/ 40 w 52"/>
                  <a:gd name="T21" fmla="*/ 52 h 61"/>
                  <a:gd name="T22" fmla="*/ 36 w 52"/>
                  <a:gd name="T23" fmla="*/ 61 h 61"/>
                  <a:gd name="T24" fmla="*/ 0 w 52"/>
                  <a:gd name="T25" fmla="*/ 49 h 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52" h="61">
                    <a:moveTo>
                      <a:pt x="0" y="49"/>
                    </a:moveTo>
                    <a:lnTo>
                      <a:pt x="16" y="0"/>
                    </a:lnTo>
                    <a:lnTo>
                      <a:pt x="52" y="13"/>
                    </a:lnTo>
                    <a:lnTo>
                      <a:pt x="50" y="21"/>
                    </a:lnTo>
                    <a:lnTo>
                      <a:pt x="23" y="12"/>
                    </a:lnTo>
                    <a:lnTo>
                      <a:pt x="20" y="22"/>
                    </a:lnTo>
                    <a:lnTo>
                      <a:pt x="44" y="30"/>
                    </a:lnTo>
                    <a:lnTo>
                      <a:pt x="41" y="38"/>
                    </a:lnTo>
                    <a:lnTo>
                      <a:pt x="18" y="30"/>
                    </a:lnTo>
                    <a:lnTo>
                      <a:pt x="13" y="43"/>
                    </a:lnTo>
                    <a:lnTo>
                      <a:pt x="40" y="52"/>
                    </a:lnTo>
                    <a:lnTo>
                      <a:pt x="36" y="61"/>
                    </a:lnTo>
                    <a:lnTo>
                      <a:pt x="0" y="49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1049425" name="îŝ1îḑè"/>
              <p:cNvSpPr/>
              <p:nvPr/>
            </p:nvSpPr>
            <p:spPr bwMode="auto">
              <a:xfrm>
                <a:off x="2663722" y="6026740"/>
                <a:ext cx="77788" cy="92075"/>
              </a:xfrm>
              <a:custGeom>
                <a:avLst/>
                <a:gdLst>
                  <a:gd name="T0" fmla="*/ 49 w 49"/>
                  <a:gd name="T1" fmla="*/ 42 h 58"/>
                  <a:gd name="T2" fmla="*/ 39 w 49"/>
                  <a:gd name="T3" fmla="*/ 45 h 58"/>
                  <a:gd name="T4" fmla="*/ 31 w 49"/>
                  <a:gd name="T5" fmla="*/ 36 h 58"/>
                  <a:gd name="T6" fmla="*/ 11 w 49"/>
                  <a:gd name="T7" fmla="*/ 43 h 58"/>
                  <a:gd name="T8" fmla="*/ 11 w 49"/>
                  <a:gd name="T9" fmla="*/ 55 h 58"/>
                  <a:gd name="T10" fmla="*/ 0 w 49"/>
                  <a:gd name="T11" fmla="*/ 58 h 58"/>
                  <a:gd name="T12" fmla="*/ 3 w 49"/>
                  <a:gd name="T13" fmla="*/ 3 h 58"/>
                  <a:gd name="T14" fmla="*/ 13 w 49"/>
                  <a:gd name="T15" fmla="*/ 0 h 58"/>
                  <a:gd name="T16" fmla="*/ 49 w 49"/>
                  <a:gd name="T17" fmla="*/ 42 h 58"/>
                  <a:gd name="T18" fmla="*/ 25 w 49"/>
                  <a:gd name="T19" fmla="*/ 29 h 58"/>
                  <a:gd name="T20" fmla="*/ 12 w 49"/>
                  <a:gd name="T21" fmla="*/ 14 h 58"/>
                  <a:gd name="T22" fmla="*/ 11 w 49"/>
                  <a:gd name="T23" fmla="*/ 34 h 58"/>
                  <a:gd name="T24" fmla="*/ 25 w 49"/>
                  <a:gd name="T25" fmla="*/ 29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49" h="58">
                    <a:moveTo>
                      <a:pt x="49" y="42"/>
                    </a:moveTo>
                    <a:lnTo>
                      <a:pt x="39" y="45"/>
                    </a:lnTo>
                    <a:lnTo>
                      <a:pt x="31" y="36"/>
                    </a:lnTo>
                    <a:lnTo>
                      <a:pt x="11" y="43"/>
                    </a:lnTo>
                    <a:lnTo>
                      <a:pt x="11" y="55"/>
                    </a:lnTo>
                    <a:lnTo>
                      <a:pt x="0" y="58"/>
                    </a:lnTo>
                    <a:lnTo>
                      <a:pt x="3" y="3"/>
                    </a:lnTo>
                    <a:lnTo>
                      <a:pt x="13" y="0"/>
                    </a:lnTo>
                    <a:lnTo>
                      <a:pt x="49" y="42"/>
                    </a:lnTo>
                    <a:close/>
                    <a:moveTo>
                      <a:pt x="25" y="29"/>
                    </a:moveTo>
                    <a:lnTo>
                      <a:pt x="12" y="14"/>
                    </a:lnTo>
                    <a:lnTo>
                      <a:pt x="11" y="34"/>
                    </a:lnTo>
                    <a:lnTo>
                      <a:pt x="25" y="29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1049426" name="íṩḻiḋê"/>
              <p:cNvSpPr/>
              <p:nvPr/>
            </p:nvSpPr>
            <p:spPr bwMode="auto">
              <a:xfrm>
                <a:off x="2714522" y="5990228"/>
                <a:ext cx="92075" cy="101600"/>
              </a:xfrm>
              <a:custGeom>
                <a:avLst/>
                <a:gdLst>
                  <a:gd name="T0" fmla="*/ 21 w 58"/>
                  <a:gd name="T1" fmla="*/ 64 h 64"/>
                  <a:gd name="T2" fmla="*/ 0 w 58"/>
                  <a:gd name="T3" fmla="*/ 17 h 64"/>
                  <a:gd name="T4" fmla="*/ 9 w 58"/>
                  <a:gd name="T5" fmla="*/ 12 h 64"/>
                  <a:gd name="T6" fmla="*/ 43 w 58"/>
                  <a:gd name="T7" fmla="*/ 36 h 64"/>
                  <a:gd name="T8" fmla="*/ 29 w 58"/>
                  <a:gd name="T9" fmla="*/ 4 h 64"/>
                  <a:gd name="T10" fmla="*/ 37 w 58"/>
                  <a:gd name="T11" fmla="*/ 0 h 64"/>
                  <a:gd name="T12" fmla="*/ 58 w 58"/>
                  <a:gd name="T13" fmla="*/ 46 h 64"/>
                  <a:gd name="T14" fmla="*/ 49 w 58"/>
                  <a:gd name="T15" fmla="*/ 51 h 64"/>
                  <a:gd name="T16" fmla="*/ 16 w 58"/>
                  <a:gd name="T17" fmla="*/ 29 h 64"/>
                  <a:gd name="T18" fmla="*/ 30 w 58"/>
                  <a:gd name="T19" fmla="*/ 59 h 64"/>
                  <a:gd name="T20" fmla="*/ 21 w 58"/>
                  <a:gd name="T21" fmla="*/ 64 h 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58" h="64">
                    <a:moveTo>
                      <a:pt x="21" y="64"/>
                    </a:moveTo>
                    <a:lnTo>
                      <a:pt x="0" y="17"/>
                    </a:lnTo>
                    <a:lnTo>
                      <a:pt x="9" y="12"/>
                    </a:lnTo>
                    <a:lnTo>
                      <a:pt x="43" y="36"/>
                    </a:lnTo>
                    <a:lnTo>
                      <a:pt x="29" y="4"/>
                    </a:lnTo>
                    <a:lnTo>
                      <a:pt x="37" y="0"/>
                    </a:lnTo>
                    <a:lnTo>
                      <a:pt x="58" y="46"/>
                    </a:lnTo>
                    <a:lnTo>
                      <a:pt x="49" y="51"/>
                    </a:lnTo>
                    <a:lnTo>
                      <a:pt x="16" y="29"/>
                    </a:lnTo>
                    <a:lnTo>
                      <a:pt x="30" y="59"/>
                    </a:lnTo>
                    <a:lnTo>
                      <a:pt x="21" y="64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1049427" name="îṧľíḍe"/>
              <p:cNvSpPr/>
              <p:nvPr/>
            </p:nvSpPr>
            <p:spPr bwMode="auto">
              <a:xfrm>
                <a:off x="2781197" y="5963240"/>
                <a:ext cx="85725" cy="95250"/>
              </a:xfrm>
              <a:custGeom>
                <a:avLst/>
                <a:gdLst>
                  <a:gd name="T0" fmla="*/ 0 w 47"/>
                  <a:gd name="T1" fmla="*/ 13 h 51"/>
                  <a:gd name="T2" fmla="*/ 14 w 47"/>
                  <a:gd name="T3" fmla="*/ 4 h 51"/>
                  <a:gd name="T4" fmla="*/ 22 w 47"/>
                  <a:gd name="T5" fmla="*/ 1 h 51"/>
                  <a:gd name="T6" fmla="*/ 29 w 47"/>
                  <a:gd name="T7" fmla="*/ 1 h 51"/>
                  <a:gd name="T8" fmla="*/ 37 w 47"/>
                  <a:gd name="T9" fmla="*/ 5 h 51"/>
                  <a:gd name="T10" fmla="*/ 43 w 47"/>
                  <a:gd name="T11" fmla="*/ 14 h 51"/>
                  <a:gd name="T12" fmla="*/ 47 w 47"/>
                  <a:gd name="T13" fmla="*/ 22 h 51"/>
                  <a:gd name="T14" fmla="*/ 46 w 47"/>
                  <a:gd name="T15" fmla="*/ 31 h 51"/>
                  <a:gd name="T16" fmla="*/ 43 w 47"/>
                  <a:gd name="T17" fmla="*/ 38 h 51"/>
                  <a:gd name="T18" fmla="*/ 36 w 47"/>
                  <a:gd name="T19" fmla="*/ 42 h 51"/>
                  <a:gd name="T20" fmla="*/ 22 w 47"/>
                  <a:gd name="T21" fmla="*/ 51 h 51"/>
                  <a:gd name="T22" fmla="*/ 0 w 47"/>
                  <a:gd name="T23" fmla="*/ 13 h 51"/>
                  <a:gd name="T24" fmla="*/ 11 w 47"/>
                  <a:gd name="T25" fmla="*/ 15 h 51"/>
                  <a:gd name="T26" fmla="*/ 26 w 47"/>
                  <a:gd name="T27" fmla="*/ 40 h 51"/>
                  <a:gd name="T28" fmla="*/ 32 w 47"/>
                  <a:gd name="T29" fmla="*/ 37 h 51"/>
                  <a:gd name="T30" fmla="*/ 36 w 47"/>
                  <a:gd name="T31" fmla="*/ 33 h 51"/>
                  <a:gd name="T32" fmla="*/ 38 w 47"/>
                  <a:gd name="T33" fmla="*/ 30 h 51"/>
                  <a:gd name="T34" fmla="*/ 38 w 47"/>
                  <a:gd name="T35" fmla="*/ 25 h 51"/>
                  <a:gd name="T36" fmla="*/ 35 w 47"/>
                  <a:gd name="T37" fmla="*/ 18 h 51"/>
                  <a:gd name="T38" fmla="*/ 30 w 47"/>
                  <a:gd name="T39" fmla="*/ 11 h 51"/>
                  <a:gd name="T40" fmla="*/ 26 w 47"/>
                  <a:gd name="T41" fmla="*/ 9 h 51"/>
                  <a:gd name="T42" fmla="*/ 21 w 47"/>
                  <a:gd name="T43" fmla="*/ 9 h 51"/>
                  <a:gd name="T44" fmla="*/ 15 w 47"/>
                  <a:gd name="T45" fmla="*/ 13 h 51"/>
                  <a:gd name="T46" fmla="*/ 11 w 47"/>
                  <a:gd name="T47" fmla="*/ 15 h 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47" h="51">
                    <a:moveTo>
                      <a:pt x="0" y="13"/>
                    </a:moveTo>
                    <a:cubicBezTo>
                      <a:pt x="14" y="4"/>
                      <a:pt x="14" y="4"/>
                      <a:pt x="14" y="4"/>
                    </a:cubicBezTo>
                    <a:cubicBezTo>
                      <a:pt x="17" y="3"/>
                      <a:pt x="20" y="1"/>
                      <a:pt x="22" y="1"/>
                    </a:cubicBezTo>
                    <a:cubicBezTo>
                      <a:pt x="24" y="0"/>
                      <a:pt x="27" y="0"/>
                      <a:pt x="29" y="1"/>
                    </a:cubicBezTo>
                    <a:cubicBezTo>
                      <a:pt x="32" y="2"/>
                      <a:pt x="34" y="3"/>
                      <a:pt x="37" y="5"/>
                    </a:cubicBezTo>
                    <a:cubicBezTo>
                      <a:pt x="39" y="7"/>
                      <a:pt x="41" y="10"/>
                      <a:pt x="43" y="14"/>
                    </a:cubicBezTo>
                    <a:cubicBezTo>
                      <a:pt x="45" y="17"/>
                      <a:pt x="46" y="20"/>
                      <a:pt x="47" y="22"/>
                    </a:cubicBezTo>
                    <a:cubicBezTo>
                      <a:pt x="47" y="26"/>
                      <a:pt x="47" y="29"/>
                      <a:pt x="46" y="31"/>
                    </a:cubicBezTo>
                    <a:cubicBezTo>
                      <a:pt x="46" y="34"/>
                      <a:pt x="45" y="36"/>
                      <a:pt x="43" y="38"/>
                    </a:cubicBezTo>
                    <a:cubicBezTo>
                      <a:pt x="41" y="39"/>
                      <a:pt x="39" y="41"/>
                      <a:pt x="36" y="42"/>
                    </a:cubicBezTo>
                    <a:cubicBezTo>
                      <a:pt x="22" y="51"/>
                      <a:pt x="22" y="51"/>
                      <a:pt x="22" y="51"/>
                    </a:cubicBezTo>
                    <a:lnTo>
                      <a:pt x="0" y="13"/>
                    </a:lnTo>
                    <a:close/>
                    <a:moveTo>
                      <a:pt x="11" y="15"/>
                    </a:moveTo>
                    <a:cubicBezTo>
                      <a:pt x="26" y="40"/>
                      <a:pt x="26" y="40"/>
                      <a:pt x="26" y="40"/>
                    </a:cubicBezTo>
                    <a:cubicBezTo>
                      <a:pt x="32" y="37"/>
                      <a:pt x="32" y="37"/>
                      <a:pt x="32" y="37"/>
                    </a:cubicBezTo>
                    <a:cubicBezTo>
                      <a:pt x="34" y="35"/>
                      <a:pt x="35" y="34"/>
                      <a:pt x="36" y="33"/>
                    </a:cubicBezTo>
                    <a:cubicBezTo>
                      <a:pt x="37" y="32"/>
                      <a:pt x="38" y="31"/>
                      <a:pt x="38" y="30"/>
                    </a:cubicBezTo>
                    <a:cubicBezTo>
                      <a:pt x="39" y="29"/>
                      <a:pt x="39" y="27"/>
                      <a:pt x="38" y="25"/>
                    </a:cubicBezTo>
                    <a:cubicBezTo>
                      <a:pt x="38" y="23"/>
                      <a:pt x="37" y="21"/>
                      <a:pt x="35" y="18"/>
                    </a:cubicBezTo>
                    <a:cubicBezTo>
                      <a:pt x="33" y="15"/>
                      <a:pt x="32" y="13"/>
                      <a:pt x="30" y="11"/>
                    </a:cubicBezTo>
                    <a:cubicBezTo>
                      <a:pt x="29" y="10"/>
                      <a:pt x="27" y="9"/>
                      <a:pt x="26" y="9"/>
                    </a:cubicBezTo>
                    <a:cubicBezTo>
                      <a:pt x="25" y="9"/>
                      <a:pt x="23" y="9"/>
                      <a:pt x="21" y="9"/>
                    </a:cubicBezTo>
                    <a:cubicBezTo>
                      <a:pt x="20" y="10"/>
                      <a:pt x="18" y="11"/>
                      <a:pt x="15" y="13"/>
                    </a:cubicBezTo>
                    <a:lnTo>
                      <a:pt x="11" y="15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1049428" name="ïṩḻiḍe"/>
              <p:cNvSpPr/>
              <p:nvPr/>
            </p:nvSpPr>
            <p:spPr bwMode="auto">
              <a:xfrm>
                <a:off x="2876447" y="5888628"/>
                <a:ext cx="80963" cy="88900"/>
              </a:xfrm>
              <a:custGeom>
                <a:avLst/>
                <a:gdLst>
                  <a:gd name="T0" fmla="*/ 43 w 51"/>
                  <a:gd name="T1" fmla="*/ 56 h 56"/>
                  <a:gd name="T2" fmla="*/ 16 w 51"/>
                  <a:gd name="T3" fmla="*/ 22 h 56"/>
                  <a:gd name="T4" fmla="*/ 5 w 51"/>
                  <a:gd name="T5" fmla="*/ 31 h 56"/>
                  <a:gd name="T6" fmla="*/ 0 w 51"/>
                  <a:gd name="T7" fmla="*/ 25 h 56"/>
                  <a:gd name="T8" fmla="*/ 31 w 51"/>
                  <a:gd name="T9" fmla="*/ 0 h 56"/>
                  <a:gd name="T10" fmla="*/ 37 w 51"/>
                  <a:gd name="T11" fmla="*/ 7 h 56"/>
                  <a:gd name="T12" fmla="*/ 24 w 51"/>
                  <a:gd name="T13" fmla="*/ 16 h 56"/>
                  <a:gd name="T14" fmla="*/ 51 w 51"/>
                  <a:gd name="T15" fmla="*/ 49 h 56"/>
                  <a:gd name="T16" fmla="*/ 43 w 51"/>
                  <a:gd name="T17" fmla="*/ 56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1" h="56">
                    <a:moveTo>
                      <a:pt x="43" y="56"/>
                    </a:moveTo>
                    <a:lnTo>
                      <a:pt x="16" y="22"/>
                    </a:lnTo>
                    <a:lnTo>
                      <a:pt x="5" y="31"/>
                    </a:lnTo>
                    <a:lnTo>
                      <a:pt x="0" y="25"/>
                    </a:lnTo>
                    <a:lnTo>
                      <a:pt x="31" y="0"/>
                    </a:lnTo>
                    <a:lnTo>
                      <a:pt x="37" y="7"/>
                    </a:lnTo>
                    <a:lnTo>
                      <a:pt x="24" y="16"/>
                    </a:lnTo>
                    <a:lnTo>
                      <a:pt x="51" y="49"/>
                    </a:lnTo>
                    <a:lnTo>
                      <a:pt x="43" y="56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1049429" name="íśļïḓè"/>
              <p:cNvSpPr/>
              <p:nvPr/>
            </p:nvSpPr>
            <p:spPr bwMode="auto">
              <a:xfrm>
                <a:off x="2925659" y="5845765"/>
                <a:ext cx="101600" cy="100013"/>
              </a:xfrm>
              <a:custGeom>
                <a:avLst/>
                <a:gdLst>
                  <a:gd name="T0" fmla="*/ 36 w 64"/>
                  <a:gd name="T1" fmla="*/ 63 h 63"/>
                  <a:gd name="T2" fmla="*/ 0 w 64"/>
                  <a:gd name="T3" fmla="*/ 26 h 63"/>
                  <a:gd name="T4" fmla="*/ 28 w 64"/>
                  <a:gd name="T5" fmla="*/ 0 h 63"/>
                  <a:gd name="T6" fmla="*/ 34 w 64"/>
                  <a:gd name="T7" fmla="*/ 6 h 63"/>
                  <a:gd name="T8" fmla="*/ 14 w 64"/>
                  <a:gd name="T9" fmla="*/ 26 h 63"/>
                  <a:gd name="T10" fmla="*/ 22 w 64"/>
                  <a:gd name="T11" fmla="*/ 34 h 63"/>
                  <a:gd name="T12" fmla="*/ 41 w 64"/>
                  <a:gd name="T13" fmla="*/ 16 h 63"/>
                  <a:gd name="T14" fmla="*/ 47 w 64"/>
                  <a:gd name="T15" fmla="*/ 22 h 63"/>
                  <a:gd name="T16" fmla="*/ 28 w 64"/>
                  <a:gd name="T17" fmla="*/ 39 h 63"/>
                  <a:gd name="T18" fmla="*/ 38 w 64"/>
                  <a:gd name="T19" fmla="*/ 50 h 63"/>
                  <a:gd name="T20" fmla="*/ 58 w 64"/>
                  <a:gd name="T21" fmla="*/ 30 h 63"/>
                  <a:gd name="T22" fmla="*/ 64 w 64"/>
                  <a:gd name="T23" fmla="*/ 36 h 63"/>
                  <a:gd name="T24" fmla="*/ 36 w 64"/>
                  <a:gd name="T25" fmla="*/ 63 h 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4" h="63">
                    <a:moveTo>
                      <a:pt x="36" y="63"/>
                    </a:moveTo>
                    <a:lnTo>
                      <a:pt x="0" y="26"/>
                    </a:lnTo>
                    <a:lnTo>
                      <a:pt x="28" y="0"/>
                    </a:lnTo>
                    <a:lnTo>
                      <a:pt x="34" y="6"/>
                    </a:lnTo>
                    <a:lnTo>
                      <a:pt x="14" y="26"/>
                    </a:lnTo>
                    <a:lnTo>
                      <a:pt x="22" y="34"/>
                    </a:lnTo>
                    <a:lnTo>
                      <a:pt x="41" y="16"/>
                    </a:lnTo>
                    <a:lnTo>
                      <a:pt x="47" y="22"/>
                    </a:lnTo>
                    <a:lnTo>
                      <a:pt x="28" y="39"/>
                    </a:lnTo>
                    <a:lnTo>
                      <a:pt x="38" y="50"/>
                    </a:lnTo>
                    <a:lnTo>
                      <a:pt x="58" y="30"/>
                    </a:lnTo>
                    <a:lnTo>
                      <a:pt x="64" y="36"/>
                    </a:lnTo>
                    <a:lnTo>
                      <a:pt x="36" y="63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1049430" name="íṩḻîde"/>
              <p:cNvSpPr/>
              <p:nvPr/>
            </p:nvSpPr>
            <p:spPr bwMode="auto">
              <a:xfrm>
                <a:off x="2985984" y="5801315"/>
                <a:ext cx="82550" cy="80963"/>
              </a:xfrm>
              <a:custGeom>
                <a:avLst/>
                <a:gdLst>
                  <a:gd name="T0" fmla="*/ 34 w 45"/>
                  <a:gd name="T1" fmla="*/ 19 h 44"/>
                  <a:gd name="T2" fmla="*/ 41 w 45"/>
                  <a:gd name="T3" fmla="*/ 14 h 44"/>
                  <a:gd name="T4" fmla="*/ 45 w 45"/>
                  <a:gd name="T5" fmla="*/ 26 h 44"/>
                  <a:gd name="T6" fmla="*/ 40 w 45"/>
                  <a:gd name="T7" fmla="*/ 37 h 44"/>
                  <a:gd name="T8" fmla="*/ 26 w 45"/>
                  <a:gd name="T9" fmla="*/ 44 h 44"/>
                  <a:gd name="T10" fmla="*/ 10 w 45"/>
                  <a:gd name="T11" fmla="*/ 38 h 44"/>
                  <a:gd name="T12" fmla="*/ 1 w 45"/>
                  <a:gd name="T13" fmla="*/ 22 h 44"/>
                  <a:gd name="T14" fmla="*/ 6 w 45"/>
                  <a:gd name="T15" fmla="*/ 7 h 44"/>
                  <a:gd name="T16" fmla="*/ 18 w 45"/>
                  <a:gd name="T17" fmla="*/ 0 h 44"/>
                  <a:gd name="T18" fmla="*/ 27 w 45"/>
                  <a:gd name="T19" fmla="*/ 2 h 44"/>
                  <a:gd name="T20" fmla="*/ 23 w 45"/>
                  <a:gd name="T21" fmla="*/ 10 h 44"/>
                  <a:gd name="T22" fmla="*/ 17 w 45"/>
                  <a:gd name="T23" fmla="*/ 9 h 44"/>
                  <a:gd name="T24" fmla="*/ 11 w 45"/>
                  <a:gd name="T25" fmla="*/ 12 h 44"/>
                  <a:gd name="T26" fmla="*/ 9 w 45"/>
                  <a:gd name="T27" fmla="*/ 21 h 44"/>
                  <a:gd name="T28" fmla="*/ 15 w 45"/>
                  <a:gd name="T29" fmla="*/ 30 h 44"/>
                  <a:gd name="T30" fmla="*/ 26 w 45"/>
                  <a:gd name="T31" fmla="*/ 36 h 44"/>
                  <a:gd name="T32" fmla="*/ 34 w 45"/>
                  <a:gd name="T33" fmla="*/ 32 h 44"/>
                  <a:gd name="T34" fmla="*/ 36 w 45"/>
                  <a:gd name="T35" fmla="*/ 26 h 44"/>
                  <a:gd name="T36" fmla="*/ 34 w 45"/>
                  <a:gd name="T37" fmla="*/ 19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45" h="44">
                    <a:moveTo>
                      <a:pt x="34" y="19"/>
                    </a:moveTo>
                    <a:cubicBezTo>
                      <a:pt x="41" y="14"/>
                      <a:pt x="41" y="14"/>
                      <a:pt x="41" y="14"/>
                    </a:cubicBezTo>
                    <a:cubicBezTo>
                      <a:pt x="44" y="18"/>
                      <a:pt x="45" y="22"/>
                      <a:pt x="45" y="26"/>
                    </a:cubicBezTo>
                    <a:cubicBezTo>
                      <a:pt x="45" y="30"/>
                      <a:pt x="43" y="34"/>
                      <a:pt x="40" y="37"/>
                    </a:cubicBezTo>
                    <a:cubicBezTo>
                      <a:pt x="36" y="42"/>
                      <a:pt x="31" y="44"/>
                      <a:pt x="26" y="44"/>
                    </a:cubicBezTo>
                    <a:cubicBezTo>
                      <a:pt x="21" y="44"/>
                      <a:pt x="15" y="42"/>
                      <a:pt x="10" y="38"/>
                    </a:cubicBezTo>
                    <a:cubicBezTo>
                      <a:pt x="4" y="33"/>
                      <a:pt x="1" y="28"/>
                      <a:pt x="1" y="22"/>
                    </a:cubicBezTo>
                    <a:cubicBezTo>
                      <a:pt x="0" y="17"/>
                      <a:pt x="2" y="12"/>
                      <a:pt x="6" y="7"/>
                    </a:cubicBezTo>
                    <a:cubicBezTo>
                      <a:pt x="10" y="3"/>
                      <a:pt x="14" y="1"/>
                      <a:pt x="18" y="0"/>
                    </a:cubicBezTo>
                    <a:cubicBezTo>
                      <a:pt x="21" y="0"/>
                      <a:pt x="24" y="1"/>
                      <a:pt x="27" y="2"/>
                    </a:cubicBezTo>
                    <a:cubicBezTo>
                      <a:pt x="23" y="10"/>
                      <a:pt x="23" y="10"/>
                      <a:pt x="23" y="10"/>
                    </a:cubicBezTo>
                    <a:cubicBezTo>
                      <a:pt x="21" y="9"/>
                      <a:pt x="19" y="9"/>
                      <a:pt x="17" y="9"/>
                    </a:cubicBezTo>
                    <a:cubicBezTo>
                      <a:pt x="15" y="9"/>
                      <a:pt x="13" y="11"/>
                      <a:pt x="11" y="12"/>
                    </a:cubicBezTo>
                    <a:cubicBezTo>
                      <a:pt x="9" y="15"/>
                      <a:pt x="8" y="18"/>
                      <a:pt x="9" y="21"/>
                    </a:cubicBezTo>
                    <a:cubicBezTo>
                      <a:pt x="9" y="24"/>
                      <a:pt x="12" y="27"/>
                      <a:pt x="15" y="30"/>
                    </a:cubicBezTo>
                    <a:cubicBezTo>
                      <a:pt x="20" y="34"/>
                      <a:pt x="23" y="36"/>
                      <a:pt x="26" y="36"/>
                    </a:cubicBezTo>
                    <a:cubicBezTo>
                      <a:pt x="29" y="36"/>
                      <a:pt x="32" y="35"/>
                      <a:pt x="34" y="32"/>
                    </a:cubicBezTo>
                    <a:cubicBezTo>
                      <a:pt x="36" y="31"/>
                      <a:pt x="36" y="29"/>
                      <a:pt x="36" y="26"/>
                    </a:cubicBezTo>
                    <a:cubicBezTo>
                      <a:pt x="36" y="24"/>
                      <a:pt x="35" y="22"/>
                      <a:pt x="34" y="1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1049431" name="îŝḷïḓê"/>
              <p:cNvSpPr/>
              <p:nvPr/>
            </p:nvSpPr>
            <p:spPr bwMode="auto">
              <a:xfrm>
                <a:off x="3022497" y="5733053"/>
                <a:ext cx="103188" cy="101600"/>
              </a:xfrm>
              <a:custGeom>
                <a:avLst/>
                <a:gdLst>
                  <a:gd name="T0" fmla="*/ 42 w 65"/>
                  <a:gd name="T1" fmla="*/ 64 h 64"/>
                  <a:gd name="T2" fmla="*/ 0 w 65"/>
                  <a:gd name="T3" fmla="*/ 34 h 64"/>
                  <a:gd name="T4" fmla="*/ 6 w 65"/>
                  <a:gd name="T5" fmla="*/ 26 h 64"/>
                  <a:gd name="T6" fmla="*/ 22 w 65"/>
                  <a:gd name="T7" fmla="*/ 37 h 64"/>
                  <a:gd name="T8" fmla="*/ 33 w 65"/>
                  <a:gd name="T9" fmla="*/ 21 h 64"/>
                  <a:gd name="T10" fmla="*/ 17 w 65"/>
                  <a:gd name="T11" fmla="*/ 9 h 64"/>
                  <a:gd name="T12" fmla="*/ 23 w 65"/>
                  <a:gd name="T13" fmla="*/ 0 h 64"/>
                  <a:gd name="T14" fmla="*/ 65 w 65"/>
                  <a:gd name="T15" fmla="*/ 30 h 64"/>
                  <a:gd name="T16" fmla="*/ 59 w 65"/>
                  <a:gd name="T17" fmla="*/ 38 h 64"/>
                  <a:gd name="T18" fmla="*/ 40 w 65"/>
                  <a:gd name="T19" fmla="*/ 26 h 64"/>
                  <a:gd name="T20" fmla="*/ 29 w 65"/>
                  <a:gd name="T21" fmla="*/ 42 h 64"/>
                  <a:gd name="T22" fmla="*/ 47 w 65"/>
                  <a:gd name="T23" fmla="*/ 55 h 64"/>
                  <a:gd name="T24" fmla="*/ 42 w 65"/>
                  <a:gd name="T25" fmla="*/ 64 h 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5" h="64">
                    <a:moveTo>
                      <a:pt x="42" y="64"/>
                    </a:moveTo>
                    <a:lnTo>
                      <a:pt x="0" y="34"/>
                    </a:lnTo>
                    <a:lnTo>
                      <a:pt x="6" y="26"/>
                    </a:lnTo>
                    <a:lnTo>
                      <a:pt x="22" y="37"/>
                    </a:lnTo>
                    <a:lnTo>
                      <a:pt x="33" y="21"/>
                    </a:lnTo>
                    <a:lnTo>
                      <a:pt x="17" y="9"/>
                    </a:lnTo>
                    <a:lnTo>
                      <a:pt x="23" y="0"/>
                    </a:lnTo>
                    <a:lnTo>
                      <a:pt x="65" y="30"/>
                    </a:lnTo>
                    <a:lnTo>
                      <a:pt x="59" y="38"/>
                    </a:lnTo>
                    <a:lnTo>
                      <a:pt x="40" y="26"/>
                    </a:lnTo>
                    <a:lnTo>
                      <a:pt x="29" y="42"/>
                    </a:lnTo>
                    <a:lnTo>
                      <a:pt x="47" y="55"/>
                    </a:lnTo>
                    <a:lnTo>
                      <a:pt x="42" y="64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1049432" name="îşḷîḑe"/>
              <p:cNvSpPr/>
              <p:nvPr/>
            </p:nvSpPr>
            <p:spPr bwMode="auto">
              <a:xfrm>
                <a:off x="3062184" y="5672728"/>
                <a:ext cx="103188" cy="95250"/>
              </a:xfrm>
              <a:custGeom>
                <a:avLst/>
                <a:gdLst>
                  <a:gd name="T0" fmla="*/ 44 w 65"/>
                  <a:gd name="T1" fmla="*/ 60 h 60"/>
                  <a:gd name="T2" fmla="*/ 0 w 65"/>
                  <a:gd name="T3" fmla="*/ 34 h 60"/>
                  <a:gd name="T4" fmla="*/ 5 w 65"/>
                  <a:gd name="T5" fmla="*/ 26 h 60"/>
                  <a:gd name="T6" fmla="*/ 46 w 65"/>
                  <a:gd name="T7" fmla="*/ 24 h 60"/>
                  <a:gd name="T8" fmla="*/ 15 w 65"/>
                  <a:gd name="T9" fmla="*/ 8 h 60"/>
                  <a:gd name="T10" fmla="*/ 20 w 65"/>
                  <a:gd name="T11" fmla="*/ 0 h 60"/>
                  <a:gd name="T12" fmla="*/ 65 w 65"/>
                  <a:gd name="T13" fmla="*/ 24 h 60"/>
                  <a:gd name="T14" fmla="*/ 59 w 65"/>
                  <a:gd name="T15" fmla="*/ 33 h 60"/>
                  <a:gd name="T16" fmla="*/ 20 w 65"/>
                  <a:gd name="T17" fmla="*/ 34 h 60"/>
                  <a:gd name="T18" fmla="*/ 49 w 65"/>
                  <a:gd name="T19" fmla="*/ 52 h 60"/>
                  <a:gd name="T20" fmla="*/ 44 w 65"/>
                  <a:gd name="T21" fmla="*/ 60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65" h="60">
                    <a:moveTo>
                      <a:pt x="44" y="60"/>
                    </a:moveTo>
                    <a:lnTo>
                      <a:pt x="0" y="34"/>
                    </a:lnTo>
                    <a:lnTo>
                      <a:pt x="5" y="26"/>
                    </a:lnTo>
                    <a:lnTo>
                      <a:pt x="46" y="24"/>
                    </a:lnTo>
                    <a:lnTo>
                      <a:pt x="15" y="8"/>
                    </a:lnTo>
                    <a:lnTo>
                      <a:pt x="20" y="0"/>
                    </a:lnTo>
                    <a:lnTo>
                      <a:pt x="65" y="24"/>
                    </a:lnTo>
                    <a:lnTo>
                      <a:pt x="59" y="33"/>
                    </a:lnTo>
                    <a:lnTo>
                      <a:pt x="20" y="34"/>
                    </a:lnTo>
                    <a:lnTo>
                      <a:pt x="49" y="52"/>
                    </a:lnTo>
                    <a:lnTo>
                      <a:pt x="44" y="60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1049433" name="îşḷïḋê"/>
              <p:cNvSpPr/>
              <p:nvPr/>
            </p:nvSpPr>
            <p:spPr bwMode="auto">
              <a:xfrm>
                <a:off x="3106634" y="5606053"/>
                <a:ext cx="87313" cy="84138"/>
              </a:xfrm>
              <a:custGeom>
                <a:avLst/>
                <a:gdLst>
                  <a:gd name="T0" fmla="*/ 15 w 47"/>
                  <a:gd name="T1" fmla="*/ 43 h 46"/>
                  <a:gd name="T2" fmla="*/ 5 w 47"/>
                  <a:gd name="T3" fmla="*/ 36 h 46"/>
                  <a:gd name="T4" fmla="*/ 2 w 47"/>
                  <a:gd name="T5" fmla="*/ 30 h 46"/>
                  <a:gd name="T6" fmla="*/ 0 w 47"/>
                  <a:gd name="T7" fmla="*/ 23 h 46"/>
                  <a:gd name="T8" fmla="*/ 2 w 47"/>
                  <a:gd name="T9" fmla="*/ 14 h 46"/>
                  <a:gd name="T10" fmla="*/ 14 w 47"/>
                  <a:gd name="T11" fmla="*/ 2 h 46"/>
                  <a:gd name="T12" fmla="*/ 32 w 47"/>
                  <a:gd name="T13" fmla="*/ 3 h 46"/>
                  <a:gd name="T14" fmla="*/ 45 w 47"/>
                  <a:gd name="T15" fmla="*/ 15 h 46"/>
                  <a:gd name="T16" fmla="*/ 44 w 47"/>
                  <a:gd name="T17" fmla="*/ 32 h 46"/>
                  <a:gd name="T18" fmla="*/ 32 w 47"/>
                  <a:gd name="T19" fmla="*/ 44 h 46"/>
                  <a:gd name="T20" fmla="*/ 15 w 47"/>
                  <a:gd name="T21" fmla="*/ 43 h 46"/>
                  <a:gd name="T22" fmla="*/ 18 w 47"/>
                  <a:gd name="T23" fmla="*/ 34 h 46"/>
                  <a:gd name="T24" fmla="*/ 30 w 47"/>
                  <a:gd name="T25" fmla="*/ 35 h 46"/>
                  <a:gd name="T26" fmla="*/ 37 w 47"/>
                  <a:gd name="T27" fmla="*/ 29 h 46"/>
                  <a:gd name="T28" fmla="*/ 37 w 47"/>
                  <a:gd name="T29" fmla="*/ 19 h 46"/>
                  <a:gd name="T30" fmla="*/ 28 w 47"/>
                  <a:gd name="T31" fmla="*/ 12 h 46"/>
                  <a:gd name="T32" fmla="*/ 16 w 47"/>
                  <a:gd name="T33" fmla="*/ 10 h 46"/>
                  <a:gd name="T34" fmla="*/ 9 w 47"/>
                  <a:gd name="T35" fmla="*/ 17 h 46"/>
                  <a:gd name="T36" fmla="*/ 9 w 47"/>
                  <a:gd name="T37" fmla="*/ 27 h 46"/>
                  <a:gd name="T38" fmla="*/ 18 w 47"/>
                  <a:gd name="T39" fmla="*/ 34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47" h="46">
                    <a:moveTo>
                      <a:pt x="15" y="43"/>
                    </a:moveTo>
                    <a:cubicBezTo>
                      <a:pt x="11" y="41"/>
                      <a:pt x="8" y="39"/>
                      <a:pt x="5" y="36"/>
                    </a:cubicBezTo>
                    <a:cubicBezTo>
                      <a:pt x="4" y="34"/>
                      <a:pt x="2" y="32"/>
                      <a:pt x="2" y="30"/>
                    </a:cubicBezTo>
                    <a:cubicBezTo>
                      <a:pt x="1" y="28"/>
                      <a:pt x="0" y="26"/>
                      <a:pt x="0" y="23"/>
                    </a:cubicBezTo>
                    <a:cubicBezTo>
                      <a:pt x="0" y="20"/>
                      <a:pt x="1" y="17"/>
                      <a:pt x="2" y="14"/>
                    </a:cubicBezTo>
                    <a:cubicBezTo>
                      <a:pt x="5" y="8"/>
                      <a:pt x="9" y="4"/>
                      <a:pt x="14" y="2"/>
                    </a:cubicBezTo>
                    <a:cubicBezTo>
                      <a:pt x="19" y="0"/>
                      <a:pt x="25" y="1"/>
                      <a:pt x="32" y="3"/>
                    </a:cubicBezTo>
                    <a:cubicBezTo>
                      <a:pt x="38" y="6"/>
                      <a:pt x="43" y="10"/>
                      <a:pt x="45" y="15"/>
                    </a:cubicBezTo>
                    <a:cubicBezTo>
                      <a:pt x="47" y="21"/>
                      <a:pt x="47" y="26"/>
                      <a:pt x="44" y="32"/>
                    </a:cubicBezTo>
                    <a:cubicBezTo>
                      <a:pt x="41" y="38"/>
                      <a:pt x="38" y="42"/>
                      <a:pt x="32" y="44"/>
                    </a:cubicBezTo>
                    <a:cubicBezTo>
                      <a:pt x="27" y="46"/>
                      <a:pt x="21" y="45"/>
                      <a:pt x="15" y="43"/>
                    </a:cubicBezTo>
                    <a:close/>
                    <a:moveTo>
                      <a:pt x="18" y="34"/>
                    </a:moveTo>
                    <a:cubicBezTo>
                      <a:pt x="23" y="36"/>
                      <a:pt x="27" y="37"/>
                      <a:pt x="30" y="35"/>
                    </a:cubicBezTo>
                    <a:cubicBezTo>
                      <a:pt x="33" y="34"/>
                      <a:pt x="36" y="32"/>
                      <a:pt x="37" y="29"/>
                    </a:cubicBezTo>
                    <a:cubicBezTo>
                      <a:pt x="39" y="26"/>
                      <a:pt x="39" y="23"/>
                      <a:pt x="37" y="19"/>
                    </a:cubicBezTo>
                    <a:cubicBezTo>
                      <a:pt x="36" y="16"/>
                      <a:pt x="33" y="14"/>
                      <a:pt x="28" y="12"/>
                    </a:cubicBezTo>
                    <a:cubicBezTo>
                      <a:pt x="23" y="10"/>
                      <a:pt x="19" y="9"/>
                      <a:pt x="16" y="10"/>
                    </a:cubicBezTo>
                    <a:cubicBezTo>
                      <a:pt x="13" y="11"/>
                      <a:pt x="11" y="14"/>
                      <a:pt x="9" y="17"/>
                    </a:cubicBezTo>
                    <a:cubicBezTo>
                      <a:pt x="8" y="20"/>
                      <a:pt x="8" y="23"/>
                      <a:pt x="9" y="27"/>
                    </a:cubicBezTo>
                    <a:cubicBezTo>
                      <a:pt x="11" y="30"/>
                      <a:pt x="14" y="32"/>
                      <a:pt x="18" y="3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1049434" name="îṣlïḍè"/>
              <p:cNvSpPr/>
              <p:nvPr/>
            </p:nvSpPr>
            <p:spPr bwMode="auto">
              <a:xfrm>
                <a:off x="3128859" y="5560015"/>
                <a:ext cx="93663" cy="57150"/>
              </a:xfrm>
              <a:custGeom>
                <a:avLst/>
                <a:gdLst>
                  <a:gd name="T0" fmla="*/ 49 w 59"/>
                  <a:gd name="T1" fmla="*/ 36 h 36"/>
                  <a:gd name="T2" fmla="*/ 0 w 59"/>
                  <a:gd name="T3" fmla="*/ 21 h 36"/>
                  <a:gd name="T4" fmla="*/ 4 w 59"/>
                  <a:gd name="T5" fmla="*/ 10 h 36"/>
                  <a:gd name="T6" fmla="*/ 43 w 59"/>
                  <a:gd name="T7" fmla="*/ 24 h 36"/>
                  <a:gd name="T8" fmla="*/ 51 w 59"/>
                  <a:gd name="T9" fmla="*/ 0 h 36"/>
                  <a:gd name="T10" fmla="*/ 59 w 59"/>
                  <a:gd name="T11" fmla="*/ 2 h 36"/>
                  <a:gd name="T12" fmla="*/ 49 w 59"/>
                  <a:gd name="T13" fmla="*/ 36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59" h="36">
                    <a:moveTo>
                      <a:pt x="49" y="36"/>
                    </a:moveTo>
                    <a:lnTo>
                      <a:pt x="0" y="21"/>
                    </a:lnTo>
                    <a:lnTo>
                      <a:pt x="4" y="10"/>
                    </a:lnTo>
                    <a:lnTo>
                      <a:pt x="43" y="24"/>
                    </a:lnTo>
                    <a:lnTo>
                      <a:pt x="51" y="0"/>
                    </a:lnTo>
                    <a:lnTo>
                      <a:pt x="59" y="2"/>
                    </a:lnTo>
                    <a:lnTo>
                      <a:pt x="49" y="36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1049435" name="ïṩḷîḓê"/>
              <p:cNvSpPr/>
              <p:nvPr/>
            </p:nvSpPr>
            <p:spPr bwMode="auto">
              <a:xfrm>
                <a:off x="3152672" y="5469528"/>
                <a:ext cx="85725" cy="80963"/>
              </a:xfrm>
              <a:custGeom>
                <a:avLst/>
                <a:gdLst>
                  <a:gd name="T0" fmla="*/ 18 w 46"/>
                  <a:gd name="T1" fmla="*/ 43 h 44"/>
                  <a:gd name="T2" fmla="*/ 8 w 46"/>
                  <a:gd name="T3" fmla="*/ 38 h 44"/>
                  <a:gd name="T4" fmla="*/ 3 w 46"/>
                  <a:gd name="T5" fmla="*/ 33 h 44"/>
                  <a:gd name="T6" fmla="*/ 0 w 46"/>
                  <a:gd name="T7" fmla="*/ 27 h 44"/>
                  <a:gd name="T8" fmla="*/ 1 w 46"/>
                  <a:gd name="T9" fmla="*/ 17 h 44"/>
                  <a:gd name="T10" fmla="*/ 10 w 46"/>
                  <a:gd name="T11" fmla="*/ 3 h 44"/>
                  <a:gd name="T12" fmla="*/ 28 w 46"/>
                  <a:gd name="T13" fmla="*/ 1 h 44"/>
                  <a:gd name="T14" fmla="*/ 43 w 46"/>
                  <a:gd name="T15" fmla="*/ 11 h 44"/>
                  <a:gd name="T16" fmla="*/ 45 w 46"/>
                  <a:gd name="T17" fmla="*/ 27 h 44"/>
                  <a:gd name="T18" fmla="*/ 36 w 46"/>
                  <a:gd name="T19" fmla="*/ 41 h 44"/>
                  <a:gd name="T20" fmla="*/ 18 w 46"/>
                  <a:gd name="T21" fmla="*/ 43 h 44"/>
                  <a:gd name="T22" fmla="*/ 20 w 46"/>
                  <a:gd name="T23" fmla="*/ 34 h 44"/>
                  <a:gd name="T24" fmla="*/ 32 w 46"/>
                  <a:gd name="T25" fmla="*/ 33 h 44"/>
                  <a:gd name="T26" fmla="*/ 38 w 46"/>
                  <a:gd name="T27" fmla="*/ 25 h 44"/>
                  <a:gd name="T28" fmla="*/ 36 w 46"/>
                  <a:gd name="T29" fmla="*/ 16 h 44"/>
                  <a:gd name="T30" fmla="*/ 25 w 46"/>
                  <a:gd name="T31" fmla="*/ 10 h 44"/>
                  <a:gd name="T32" fmla="*/ 14 w 46"/>
                  <a:gd name="T33" fmla="*/ 11 h 44"/>
                  <a:gd name="T34" fmla="*/ 8 w 46"/>
                  <a:gd name="T35" fmla="*/ 19 h 44"/>
                  <a:gd name="T36" fmla="*/ 10 w 46"/>
                  <a:gd name="T37" fmla="*/ 28 h 44"/>
                  <a:gd name="T38" fmla="*/ 20 w 46"/>
                  <a:gd name="T39" fmla="*/ 34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46" h="44">
                    <a:moveTo>
                      <a:pt x="18" y="43"/>
                    </a:moveTo>
                    <a:cubicBezTo>
                      <a:pt x="14" y="42"/>
                      <a:pt x="10" y="40"/>
                      <a:pt x="8" y="38"/>
                    </a:cubicBezTo>
                    <a:cubicBezTo>
                      <a:pt x="6" y="37"/>
                      <a:pt x="4" y="35"/>
                      <a:pt x="3" y="33"/>
                    </a:cubicBezTo>
                    <a:cubicBezTo>
                      <a:pt x="1" y="31"/>
                      <a:pt x="1" y="29"/>
                      <a:pt x="0" y="27"/>
                    </a:cubicBezTo>
                    <a:cubicBezTo>
                      <a:pt x="0" y="24"/>
                      <a:pt x="0" y="21"/>
                      <a:pt x="1" y="17"/>
                    </a:cubicBezTo>
                    <a:cubicBezTo>
                      <a:pt x="2" y="11"/>
                      <a:pt x="5" y="6"/>
                      <a:pt x="10" y="3"/>
                    </a:cubicBezTo>
                    <a:cubicBezTo>
                      <a:pt x="15" y="0"/>
                      <a:pt x="21" y="0"/>
                      <a:pt x="28" y="1"/>
                    </a:cubicBezTo>
                    <a:cubicBezTo>
                      <a:pt x="34" y="3"/>
                      <a:pt x="39" y="6"/>
                      <a:pt x="43" y="11"/>
                    </a:cubicBezTo>
                    <a:cubicBezTo>
                      <a:pt x="46" y="15"/>
                      <a:pt x="46" y="21"/>
                      <a:pt x="45" y="27"/>
                    </a:cubicBezTo>
                    <a:cubicBezTo>
                      <a:pt x="44" y="33"/>
                      <a:pt x="40" y="38"/>
                      <a:pt x="36" y="41"/>
                    </a:cubicBezTo>
                    <a:cubicBezTo>
                      <a:pt x="31" y="44"/>
                      <a:pt x="25" y="44"/>
                      <a:pt x="18" y="43"/>
                    </a:cubicBezTo>
                    <a:close/>
                    <a:moveTo>
                      <a:pt x="20" y="34"/>
                    </a:moveTo>
                    <a:cubicBezTo>
                      <a:pt x="25" y="35"/>
                      <a:pt x="29" y="35"/>
                      <a:pt x="32" y="33"/>
                    </a:cubicBezTo>
                    <a:cubicBezTo>
                      <a:pt x="35" y="31"/>
                      <a:pt x="37" y="29"/>
                      <a:pt x="38" y="25"/>
                    </a:cubicBezTo>
                    <a:cubicBezTo>
                      <a:pt x="38" y="22"/>
                      <a:pt x="38" y="19"/>
                      <a:pt x="36" y="16"/>
                    </a:cubicBezTo>
                    <a:cubicBezTo>
                      <a:pt x="34" y="13"/>
                      <a:pt x="30" y="11"/>
                      <a:pt x="25" y="10"/>
                    </a:cubicBezTo>
                    <a:cubicBezTo>
                      <a:pt x="20" y="9"/>
                      <a:pt x="16" y="9"/>
                      <a:pt x="14" y="11"/>
                    </a:cubicBezTo>
                    <a:cubicBezTo>
                      <a:pt x="11" y="13"/>
                      <a:pt x="9" y="15"/>
                      <a:pt x="8" y="19"/>
                    </a:cubicBezTo>
                    <a:cubicBezTo>
                      <a:pt x="7" y="22"/>
                      <a:pt x="8" y="25"/>
                      <a:pt x="10" y="28"/>
                    </a:cubicBezTo>
                    <a:cubicBezTo>
                      <a:pt x="12" y="31"/>
                      <a:pt x="15" y="33"/>
                      <a:pt x="20" y="3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1049436" name="ïSļiďé"/>
              <p:cNvSpPr/>
              <p:nvPr/>
            </p:nvSpPr>
            <p:spPr bwMode="auto">
              <a:xfrm>
                <a:off x="3165372" y="5390153"/>
                <a:ext cx="85725" cy="77788"/>
              </a:xfrm>
              <a:custGeom>
                <a:avLst/>
                <a:gdLst>
                  <a:gd name="T0" fmla="*/ 29 w 46"/>
                  <a:gd name="T1" fmla="*/ 21 h 42"/>
                  <a:gd name="T2" fmla="*/ 22 w 46"/>
                  <a:gd name="T3" fmla="*/ 20 h 42"/>
                  <a:gd name="T4" fmla="*/ 24 w 46"/>
                  <a:gd name="T5" fmla="*/ 1 h 42"/>
                  <a:gd name="T6" fmla="*/ 41 w 46"/>
                  <a:gd name="T7" fmla="*/ 3 h 42"/>
                  <a:gd name="T8" fmla="*/ 45 w 46"/>
                  <a:gd name="T9" fmla="*/ 11 h 42"/>
                  <a:gd name="T10" fmla="*/ 46 w 46"/>
                  <a:gd name="T11" fmla="*/ 22 h 42"/>
                  <a:gd name="T12" fmla="*/ 42 w 46"/>
                  <a:gd name="T13" fmla="*/ 34 h 42"/>
                  <a:gd name="T14" fmla="*/ 33 w 46"/>
                  <a:gd name="T15" fmla="*/ 41 h 42"/>
                  <a:gd name="T16" fmla="*/ 21 w 46"/>
                  <a:gd name="T17" fmla="*/ 42 h 42"/>
                  <a:gd name="T18" fmla="*/ 9 w 46"/>
                  <a:gd name="T19" fmla="*/ 38 h 42"/>
                  <a:gd name="T20" fmla="*/ 2 w 46"/>
                  <a:gd name="T21" fmla="*/ 28 h 42"/>
                  <a:gd name="T22" fmla="*/ 1 w 46"/>
                  <a:gd name="T23" fmla="*/ 18 h 42"/>
                  <a:gd name="T24" fmla="*/ 6 w 46"/>
                  <a:gd name="T25" fmla="*/ 5 h 42"/>
                  <a:gd name="T26" fmla="*/ 16 w 46"/>
                  <a:gd name="T27" fmla="*/ 0 h 42"/>
                  <a:gd name="T28" fmla="*/ 16 w 46"/>
                  <a:gd name="T29" fmla="*/ 9 h 42"/>
                  <a:gd name="T30" fmla="*/ 11 w 46"/>
                  <a:gd name="T31" fmla="*/ 12 h 42"/>
                  <a:gd name="T32" fmla="*/ 8 w 46"/>
                  <a:gd name="T33" fmla="*/ 18 h 42"/>
                  <a:gd name="T34" fmla="*/ 11 w 46"/>
                  <a:gd name="T35" fmla="*/ 28 h 42"/>
                  <a:gd name="T36" fmla="*/ 21 w 46"/>
                  <a:gd name="T37" fmla="*/ 33 h 42"/>
                  <a:gd name="T38" fmla="*/ 34 w 46"/>
                  <a:gd name="T39" fmla="*/ 31 h 42"/>
                  <a:gd name="T40" fmla="*/ 38 w 46"/>
                  <a:gd name="T41" fmla="*/ 22 h 42"/>
                  <a:gd name="T42" fmla="*/ 38 w 46"/>
                  <a:gd name="T43" fmla="*/ 16 h 42"/>
                  <a:gd name="T44" fmla="*/ 36 w 46"/>
                  <a:gd name="T45" fmla="*/ 11 h 42"/>
                  <a:gd name="T46" fmla="*/ 30 w 46"/>
                  <a:gd name="T47" fmla="*/ 11 h 42"/>
                  <a:gd name="T48" fmla="*/ 29 w 46"/>
                  <a:gd name="T49" fmla="*/ 21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46" h="42">
                    <a:moveTo>
                      <a:pt x="29" y="21"/>
                    </a:moveTo>
                    <a:cubicBezTo>
                      <a:pt x="22" y="20"/>
                      <a:pt x="22" y="20"/>
                      <a:pt x="22" y="20"/>
                    </a:cubicBezTo>
                    <a:cubicBezTo>
                      <a:pt x="24" y="1"/>
                      <a:pt x="24" y="1"/>
                      <a:pt x="24" y="1"/>
                    </a:cubicBezTo>
                    <a:cubicBezTo>
                      <a:pt x="41" y="3"/>
                      <a:pt x="41" y="3"/>
                      <a:pt x="41" y="3"/>
                    </a:cubicBezTo>
                    <a:cubicBezTo>
                      <a:pt x="43" y="5"/>
                      <a:pt x="44" y="8"/>
                      <a:pt x="45" y="11"/>
                    </a:cubicBezTo>
                    <a:cubicBezTo>
                      <a:pt x="46" y="15"/>
                      <a:pt x="46" y="19"/>
                      <a:pt x="46" y="22"/>
                    </a:cubicBezTo>
                    <a:cubicBezTo>
                      <a:pt x="46" y="27"/>
                      <a:pt x="44" y="31"/>
                      <a:pt x="42" y="34"/>
                    </a:cubicBezTo>
                    <a:cubicBezTo>
                      <a:pt x="39" y="37"/>
                      <a:pt x="36" y="39"/>
                      <a:pt x="33" y="41"/>
                    </a:cubicBezTo>
                    <a:cubicBezTo>
                      <a:pt x="29" y="42"/>
                      <a:pt x="25" y="42"/>
                      <a:pt x="21" y="42"/>
                    </a:cubicBezTo>
                    <a:cubicBezTo>
                      <a:pt x="16" y="41"/>
                      <a:pt x="12" y="40"/>
                      <a:pt x="9" y="38"/>
                    </a:cubicBezTo>
                    <a:cubicBezTo>
                      <a:pt x="6" y="35"/>
                      <a:pt x="3" y="32"/>
                      <a:pt x="2" y="28"/>
                    </a:cubicBezTo>
                    <a:cubicBezTo>
                      <a:pt x="1" y="25"/>
                      <a:pt x="0" y="22"/>
                      <a:pt x="1" y="18"/>
                    </a:cubicBezTo>
                    <a:cubicBezTo>
                      <a:pt x="1" y="12"/>
                      <a:pt x="3" y="8"/>
                      <a:pt x="6" y="5"/>
                    </a:cubicBezTo>
                    <a:cubicBezTo>
                      <a:pt x="8" y="2"/>
                      <a:pt x="12" y="1"/>
                      <a:pt x="16" y="0"/>
                    </a:cubicBezTo>
                    <a:cubicBezTo>
                      <a:pt x="16" y="9"/>
                      <a:pt x="16" y="9"/>
                      <a:pt x="16" y="9"/>
                    </a:cubicBezTo>
                    <a:cubicBezTo>
                      <a:pt x="14" y="10"/>
                      <a:pt x="12" y="11"/>
                      <a:pt x="11" y="12"/>
                    </a:cubicBezTo>
                    <a:cubicBezTo>
                      <a:pt x="10" y="14"/>
                      <a:pt x="9" y="16"/>
                      <a:pt x="8" y="18"/>
                    </a:cubicBezTo>
                    <a:cubicBezTo>
                      <a:pt x="8" y="22"/>
                      <a:pt x="9" y="25"/>
                      <a:pt x="11" y="28"/>
                    </a:cubicBezTo>
                    <a:cubicBezTo>
                      <a:pt x="13" y="31"/>
                      <a:pt x="17" y="32"/>
                      <a:pt x="21" y="33"/>
                    </a:cubicBezTo>
                    <a:cubicBezTo>
                      <a:pt x="27" y="33"/>
                      <a:pt x="31" y="33"/>
                      <a:pt x="34" y="31"/>
                    </a:cubicBezTo>
                    <a:cubicBezTo>
                      <a:pt x="36" y="29"/>
                      <a:pt x="38" y="26"/>
                      <a:pt x="38" y="22"/>
                    </a:cubicBezTo>
                    <a:cubicBezTo>
                      <a:pt x="39" y="20"/>
                      <a:pt x="39" y="18"/>
                      <a:pt x="38" y="16"/>
                    </a:cubicBezTo>
                    <a:cubicBezTo>
                      <a:pt x="37" y="14"/>
                      <a:pt x="37" y="13"/>
                      <a:pt x="36" y="11"/>
                    </a:cubicBezTo>
                    <a:cubicBezTo>
                      <a:pt x="30" y="11"/>
                      <a:pt x="30" y="11"/>
                      <a:pt x="30" y="11"/>
                    </a:cubicBezTo>
                    <a:lnTo>
                      <a:pt x="29" y="21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1049437" name="îSḷiḋè"/>
              <p:cNvSpPr/>
              <p:nvPr/>
            </p:nvSpPr>
            <p:spPr bwMode="auto">
              <a:xfrm>
                <a:off x="3173309" y="5313953"/>
                <a:ext cx="80963" cy="76200"/>
              </a:xfrm>
              <a:custGeom>
                <a:avLst/>
                <a:gdLst>
                  <a:gd name="T0" fmla="*/ 51 w 51"/>
                  <a:gd name="T1" fmla="*/ 30 h 48"/>
                  <a:gd name="T2" fmla="*/ 29 w 51"/>
                  <a:gd name="T3" fmla="*/ 29 h 48"/>
                  <a:gd name="T4" fmla="*/ 0 w 51"/>
                  <a:gd name="T5" fmla="*/ 48 h 48"/>
                  <a:gd name="T6" fmla="*/ 0 w 51"/>
                  <a:gd name="T7" fmla="*/ 36 h 48"/>
                  <a:gd name="T8" fmla="*/ 20 w 51"/>
                  <a:gd name="T9" fmla="*/ 24 h 48"/>
                  <a:gd name="T10" fmla="*/ 0 w 51"/>
                  <a:gd name="T11" fmla="*/ 12 h 48"/>
                  <a:gd name="T12" fmla="*/ 0 w 51"/>
                  <a:gd name="T13" fmla="*/ 0 h 48"/>
                  <a:gd name="T14" fmla="*/ 30 w 51"/>
                  <a:gd name="T15" fmla="*/ 20 h 48"/>
                  <a:gd name="T16" fmla="*/ 51 w 51"/>
                  <a:gd name="T17" fmla="*/ 20 h 48"/>
                  <a:gd name="T18" fmla="*/ 51 w 51"/>
                  <a:gd name="T19" fmla="*/ 30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51" h="48">
                    <a:moveTo>
                      <a:pt x="51" y="30"/>
                    </a:moveTo>
                    <a:lnTo>
                      <a:pt x="29" y="29"/>
                    </a:lnTo>
                    <a:lnTo>
                      <a:pt x="0" y="48"/>
                    </a:lnTo>
                    <a:lnTo>
                      <a:pt x="0" y="36"/>
                    </a:lnTo>
                    <a:lnTo>
                      <a:pt x="20" y="24"/>
                    </a:lnTo>
                    <a:lnTo>
                      <a:pt x="0" y="12"/>
                    </a:lnTo>
                    <a:lnTo>
                      <a:pt x="0" y="0"/>
                    </a:lnTo>
                    <a:lnTo>
                      <a:pt x="30" y="20"/>
                    </a:lnTo>
                    <a:lnTo>
                      <a:pt x="51" y="20"/>
                    </a:lnTo>
                    <a:lnTo>
                      <a:pt x="51" y="30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1049438" name="îṣḷíḋé"/>
              <p:cNvSpPr/>
              <p:nvPr/>
            </p:nvSpPr>
            <p:spPr bwMode="auto">
              <a:xfrm>
                <a:off x="3163784" y="5193303"/>
                <a:ext cx="87313" cy="76200"/>
              </a:xfrm>
              <a:custGeom>
                <a:avLst/>
                <a:gdLst>
                  <a:gd name="T0" fmla="*/ 4 w 47"/>
                  <a:gd name="T1" fmla="*/ 41 h 41"/>
                  <a:gd name="T2" fmla="*/ 1 w 47"/>
                  <a:gd name="T3" fmla="*/ 24 h 41"/>
                  <a:gd name="T4" fmla="*/ 0 w 47"/>
                  <a:gd name="T5" fmla="*/ 16 h 41"/>
                  <a:gd name="T6" fmla="*/ 2 w 47"/>
                  <a:gd name="T7" fmla="*/ 11 h 41"/>
                  <a:gd name="T8" fmla="*/ 5 w 47"/>
                  <a:gd name="T9" fmla="*/ 7 h 41"/>
                  <a:gd name="T10" fmla="*/ 10 w 47"/>
                  <a:gd name="T11" fmla="*/ 5 h 41"/>
                  <a:gd name="T12" fmla="*/ 16 w 47"/>
                  <a:gd name="T13" fmla="*/ 6 h 41"/>
                  <a:gd name="T14" fmla="*/ 20 w 47"/>
                  <a:gd name="T15" fmla="*/ 10 h 41"/>
                  <a:gd name="T16" fmla="*/ 23 w 47"/>
                  <a:gd name="T17" fmla="*/ 3 h 41"/>
                  <a:gd name="T18" fmla="*/ 29 w 47"/>
                  <a:gd name="T19" fmla="*/ 0 h 41"/>
                  <a:gd name="T20" fmla="*/ 35 w 47"/>
                  <a:gd name="T21" fmla="*/ 1 h 41"/>
                  <a:gd name="T22" fmla="*/ 40 w 47"/>
                  <a:gd name="T23" fmla="*/ 4 h 41"/>
                  <a:gd name="T24" fmla="*/ 43 w 47"/>
                  <a:gd name="T25" fmla="*/ 10 h 41"/>
                  <a:gd name="T26" fmla="*/ 45 w 47"/>
                  <a:gd name="T27" fmla="*/ 20 h 41"/>
                  <a:gd name="T28" fmla="*/ 47 w 47"/>
                  <a:gd name="T29" fmla="*/ 35 h 41"/>
                  <a:gd name="T30" fmla="*/ 4 w 47"/>
                  <a:gd name="T31" fmla="*/ 41 h 41"/>
                  <a:gd name="T32" fmla="*/ 10 w 47"/>
                  <a:gd name="T33" fmla="*/ 31 h 41"/>
                  <a:gd name="T34" fmla="*/ 20 w 47"/>
                  <a:gd name="T35" fmla="*/ 30 h 41"/>
                  <a:gd name="T36" fmla="*/ 19 w 47"/>
                  <a:gd name="T37" fmla="*/ 24 h 41"/>
                  <a:gd name="T38" fmla="*/ 18 w 47"/>
                  <a:gd name="T39" fmla="*/ 18 h 41"/>
                  <a:gd name="T40" fmla="*/ 16 w 47"/>
                  <a:gd name="T41" fmla="*/ 15 h 41"/>
                  <a:gd name="T42" fmla="*/ 12 w 47"/>
                  <a:gd name="T43" fmla="*/ 14 h 41"/>
                  <a:gd name="T44" fmla="*/ 9 w 47"/>
                  <a:gd name="T45" fmla="*/ 15 h 41"/>
                  <a:gd name="T46" fmla="*/ 8 w 47"/>
                  <a:gd name="T47" fmla="*/ 19 h 41"/>
                  <a:gd name="T48" fmla="*/ 9 w 47"/>
                  <a:gd name="T49" fmla="*/ 26 h 41"/>
                  <a:gd name="T50" fmla="*/ 10 w 47"/>
                  <a:gd name="T51" fmla="*/ 31 h 41"/>
                  <a:gd name="T52" fmla="*/ 27 w 47"/>
                  <a:gd name="T53" fmla="*/ 29 h 41"/>
                  <a:gd name="T54" fmla="*/ 39 w 47"/>
                  <a:gd name="T55" fmla="*/ 27 h 41"/>
                  <a:gd name="T56" fmla="*/ 37 w 47"/>
                  <a:gd name="T57" fmla="*/ 19 h 41"/>
                  <a:gd name="T58" fmla="*/ 36 w 47"/>
                  <a:gd name="T59" fmla="*/ 13 h 41"/>
                  <a:gd name="T60" fmla="*/ 34 w 47"/>
                  <a:gd name="T61" fmla="*/ 10 h 41"/>
                  <a:gd name="T62" fmla="*/ 30 w 47"/>
                  <a:gd name="T63" fmla="*/ 10 h 41"/>
                  <a:gd name="T64" fmla="*/ 27 w 47"/>
                  <a:gd name="T65" fmla="*/ 11 h 41"/>
                  <a:gd name="T66" fmla="*/ 25 w 47"/>
                  <a:gd name="T67" fmla="*/ 14 h 41"/>
                  <a:gd name="T68" fmla="*/ 26 w 47"/>
                  <a:gd name="T69" fmla="*/ 22 h 41"/>
                  <a:gd name="T70" fmla="*/ 27 w 47"/>
                  <a:gd name="T71" fmla="*/ 29 h 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47" h="41">
                    <a:moveTo>
                      <a:pt x="4" y="41"/>
                    </a:moveTo>
                    <a:cubicBezTo>
                      <a:pt x="1" y="24"/>
                      <a:pt x="1" y="24"/>
                      <a:pt x="1" y="24"/>
                    </a:cubicBezTo>
                    <a:cubicBezTo>
                      <a:pt x="1" y="20"/>
                      <a:pt x="0" y="18"/>
                      <a:pt x="0" y="16"/>
                    </a:cubicBezTo>
                    <a:cubicBezTo>
                      <a:pt x="1" y="14"/>
                      <a:pt x="1" y="13"/>
                      <a:pt x="2" y="11"/>
                    </a:cubicBezTo>
                    <a:cubicBezTo>
                      <a:pt x="2" y="10"/>
                      <a:pt x="3" y="9"/>
                      <a:pt x="5" y="7"/>
                    </a:cubicBezTo>
                    <a:cubicBezTo>
                      <a:pt x="6" y="6"/>
                      <a:pt x="8" y="6"/>
                      <a:pt x="10" y="5"/>
                    </a:cubicBezTo>
                    <a:cubicBezTo>
                      <a:pt x="12" y="5"/>
                      <a:pt x="14" y="5"/>
                      <a:pt x="16" y="6"/>
                    </a:cubicBezTo>
                    <a:cubicBezTo>
                      <a:pt x="17" y="7"/>
                      <a:pt x="19" y="8"/>
                      <a:pt x="20" y="10"/>
                    </a:cubicBezTo>
                    <a:cubicBezTo>
                      <a:pt x="20" y="7"/>
                      <a:pt x="21" y="5"/>
                      <a:pt x="23" y="3"/>
                    </a:cubicBezTo>
                    <a:cubicBezTo>
                      <a:pt x="25" y="2"/>
                      <a:pt x="27" y="1"/>
                      <a:pt x="29" y="0"/>
                    </a:cubicBezTo>
                    <a:cubicBezTo>
                      <a:pt x="31" y="0"/>
                      <a:pt x="33" y="0"/>
                      <a:pt x="35" y="1"/>
                    </a:cubicBezTo>
                    <a:cubicBezTo>
                      <a:pt x="37" y="2"/>
                      <a:pt x="39" y="3"/>
                      <a:pt x="40" y="4"/>
                    </a:cubicBezTo>
                    <a:cubicBezTo>
                      <a:pt x="42" y="5"/>
                      <a:pt x="43" y="7"/>
                      <a:pt x="43" y="10"/>
                    </a:cubicBezTo>
                    <a:cubicBezTo>
                      <a:pt x="44" y="11"/>
                      <a:pt x="44" y="15"/>
                      <a:pt x="45" y="20"/>
                    </a:cubicBezTo>
                    <a:cubicBezTo>
                      <a:pt x="47" y="35"/>
                      <a:pt x="47" y="35"/>
                      <a:pt x="47" y="35"/>
                    </a:cubicBezTo>
                    <a:lnTo>
                      <a:pt x="4" y="41"/>
                    </a:lnTo>
                    <a:close/>
                    <a:moveTo>
                      <a:pt x="10" y="31"/>
                    </a:moveTo>
                    <a:cubicBezTo>
                      <a:pt x="20" y="30"/>
                      <a:pt x="20" y="30"/>
                      <a:pt x="20" y="30"/>
                    </a:cubicBezTo>
                    <a:cubicBezTo>
                      <a:pt x="19" y="24"/>
                      <a:pt x="19" y="24"/>
                      <a:pt x="19" y="24"/>
                    </a:cubicBezTo>
                    <a:cubicBezTo>
                      <a:pt x="18" y="21"/>
                      <a:pt x="18" y="19"/>
                      <a:pt x="18" y="18"/>
                    </a:cubicBezTo>
                    <a:cubicBezTo>
                      <a:pt x="17" y="16"/>
                      <a:pt x="17" y="15"/>
                      <a:pt x="16" y="15"/>
                    </a:cubicBezTo>
                    <a:cubicBezTo>
                      <a:pt x="15" y="14"/>
                      <a:pt x="14" y="14"/>
                      <a:pt x="12" y="14"/>
                    </a:cubicBezTo>
                    <a:cubicBezTo>
                      <a:pt x="11" y="14"/>
                      <a:pt x="10" y="14"/>
                      <a:pt x="9" y="15"/>
                    </a:cubicBezTo>
                    <a:cubicBezTo>
                      <a:pt x="8" y="16"/>
                      <a:pt x="8" y="17"/>
                      <a:pt x="8" y="19"/>
                    </a:cubicBezTo>
                    <a:cubicBezTo>
                      <a:pt x="8" y="20"/>
                      <a:pt x="8" y="22"/>
                      <a:pt x="9" y="26"/>
                    </a:cubicBezTo>
                    <a:lnTo>
                      <a:pt x="10" y="31"/>
                    </a:lnTo>
                    <a:close/>
                    <a:moveTo>
                      <a:pt x="27" y="29"/>
                    </a:moveTo>
                    <a:cubicBezTo>
                      <a:pt x="39" y="27"/>
                      <a:pt x="39" y="27"/>
                      <a:pt x="39" y="27"/>
                    </a:cubicBezTo>
                    <a:cubicBezTo>
                      <a:pt x="37" y="19"/>
                      <a:pt x="37" y="19"/>
                      <a:pt x="37" y="19"/>
                    </a:cubicBezTo>
                    <a:cubicBezTo>
                      <a:pt x="37" y="16"/>
                      <a:pt x="37" y="14"/>
                      <a:pt x="36" y="13"/>
                    </a:cubicBezTo>
                    <a:cubicBezTo>
                      <a:pt x="36" y="12"/>
                      <a:pt x="35" y="11"/>
                      <a:pt x="34" y="10"/>
                    </a:cubicBezTo>
                    <a:cubicBezTo>
                      <a:pt x="33" y="10"/>
                      <a:pt x="32" y="9"/>
                      <a:pt x="30" y="10"/>
                    </a:cubicBezTo>
                    <a:cubicBezTo>
                      <a:pt x="29" y="10"/>
                      <a:pt x="28" y="10"/>
                      <a:pt x="27" y="11"/>
                    </a:cubicBezTo>
                    <a:cubicBezTo>
                      <a:pt x="26" y="12"/>
                      <a:pt x="26" y="13"/>
                      <a:pt x="25" y="14"/>
                    </a:cubicBezTo>
                    <a:cubicBezTo>
                      <a:pt x="25" y="15"/>
                      <a:pt x="25" y="18"/>
                      <a:pt x="26" y="22"/>
                    </a:cubicBezTo>
                    <a:lnTo>
                      <a:pt x="27" y="29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1049439" name="îṩliďè"/>
              <p:cNvSpPr/>
              <p:nvPr/>
            </p:nvSpPr>
            <p:spPr bwMode="auto">
              <a:xfrm>
                <a:off x="3146322" y="5120278"/>
                <a:ext cx="93663" cy="79375"/>
              </a:xfrm>
              <a:custGeom>
                <a:avLst/>
                <a:gdLst>
                  <a:gd name="T0" fmla="*/ 59 w 59"/>
                  <a:gd name="T1" fmla="*/ 37 h 50"/>
                  <a:gd name="T2" fmla="*/ 9 w 59"/>
                  <a:gd name="T3" fmla="*/ 50 h 50"/>
                  <a:gd name="T4" fmla="*/ 0 w 59"/>
                  <a:gd name="T5" fmla="*/ 13 h 50"/>
                  <a:gd name="T6" fmla="*/ 8 w 59"/>
                  <a:gd name="T7" fmla="*/ 10 h 50"/>
                  <a:gd name="T8" fmla="*/ 15 w 59"/>
                  <a:gd name="T9" fmla="*/ 37 h 50"/>
                  <a:gd name="T10" fmla="*/ 25 w 59"/>
                  <a:gd name="T11" fmla="*/ 35 h 50"/>
                  <a:gd name="T12" fmla="*/ 19 w 59"/>
                  <a:gd name="T13" fmla="*/ 9 h 50"/>
                  <a:gd name="T14" fmla="*/ 27 w 59"/>
                  <a:gd name="T15" fmla="*/ 8 h 50"/>
                  <a:gd name="T16" fmla="*/ 34 w 59"/>
                  <a:gd name="T17" fmla="*/ 32 h 50"/>
                  <a:gd name="T18" fmla="*/ 47 w 59"/>
                  <a:gd name="T19" fmla="*/ 29 h 50"/>
                  <a:gd name="T20" fmla="*/ 40 w 59"/>
                  <a:gd name="T21" fmla="*/ 1 h 50"/>
                  <a:gd name="T22" fmla="*/ 49 w 59"/>
                  <a:gd name="T23" fmla="*/ 0 h 50"/>
                  <a:gd name="T24" fmla="*/ 59 w 59"/>
                  <a:gd name="T25" fmla="*/ 37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59" h="50">
                    <a:moveTo>
                      <a:pt x="59" y="37"/>
                    </a:moveTo>
                    <a:lnTo>
                      <a:pt x="9" y="50"/>
                    </a:lnTo>
                    <a:lnTo>
                      <a:pt x="0" y="13"/>
                    </a:lnTo>
                    <a:lnTo>
                      <a:pt x="8" y="10"/>
                    </a:lnTo>
                    <a:lnTo>
                      <a:pt x="15" y="37"/>
                    </a:lnTo>
                    <a:lnTo>
                      <a:pt x="25" y="35"/>
                    </a:lnTo>
                    <a:lnTo>
                      <a:pt x="19" y="9"/>
                    </a:lnTo>
                    <a:lnTo>
                      <a:pt x="27" y="8"/>
                    </a:lnTo>
                    <a:lnTo>
                      <a:pt x="34" y="32"/>
                    </a:lnTo>
                    <a:lnTo>
                      <a:pt x="47" y="29"/>
                    </a:lnTo>
                    <a:lnTo>
                      <a:pt x="40" y="1"/>
                    </a:lnTo>
                    <a:lnTo>
                      <a:pt x="49" y="0"/>
                    </a:lnTo>
                    <a:lnTo>
                      <a:pt x="59" y="37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1049440" name="iṧlíḋè"/>
              <p:cNvSpPr/>
              <p:nvPr/>
            </p:nvSpPr>
            <p:spPr bwMode="auto">
              <a:xfrm>
                <a:off x="3138384" y="5096465"/>
                <a:ext cx="82550" cy="38100"/>
              </a:xfrm>
              <a:custGeom>
                <a:avLst/>
                <a:gdLst>
                  <a:gd name="T0" fmla="*/ 52 w 52"/>
                  <a:gd name="T1" fmla="*/ 9 h 24"/>
                  <a:gd name="T2" fmla="*/ 3 w 52"/>
                  <a:gd name="T3" fmla="*/ 24 h 24"/>
                  <a:gd name="T4" fmla="*/ 0 w 52"/>
                  <a:gd name="T5" fmla="*/ 15 h 24"/>
                  <a:gd name="T6" fmla="*/ 49 w 52"/>
                  <a:gd name="T7" fmla="*/ 0 h 24"/>
                  <a:gd name="T8" fmla="*/ 52 w 52"/>
                  <a:gd name="T9" fmla="*/ 9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2" h="24">
                    <a:moveTo>
                      <a:pt x="52" y="9"/>
                    </a:moveTo>
                    <a:lnTo>
                      <a:pt x="3" y="24"/>
                    </a:lnTo>
                    <a:lnTo>
                      <a:pt x="0" y="15"/>
                    </a:lnTo>
                    <a:lnTo>
                      <a:pt x="49" y="0"/>
                    </a:lnTo>
                    <a:lnTo>
                      <a:pt x="52" y="9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1049441" name="islïḓè"/>
              <p:cNvSpPr/>
              <p:nvPr/>
            </p:nvSpPr>
            <p:spPr bwMode="auto">
              <a:xfrm>
                <a:off x="3120922" y="5047253"/>
                <a:ext cx="88900" cy="52388"/>
              </a:xfrm>
              <a:custGeom>
                <a:avLst/>
                <a:gdLst>
                  <a:gd name="T0" fmla="*/ 3 w 48"/>
                  <a:gd name="T1" fmla="*/ 20 h 28"/>
                  <a:gd name="T2" fmla="*/ 0 w 48"/>
                  <a:gd name="T3" fmla="*/ 12 h 28"/>
                  <a:gd name="T4" fmla="*/ 26 w 48"/>
                  <a:gd name="T5" fmla="*/ 2 h 28"/>
                  <a:gd name="T6" fmla="*/ 34 w 48"/>
                  <a:gd name="T7" fmla="*/ 0 h 28"/>
                  <a:gd name="T8" fmla="*/ 42 w 48"/>
                  <a:gd name="T9" fmla="*/ 3 h 28"/>
                  <a:gd name="T10" fmla="*/ 47 w 48"/>
                  <a:gd name="T11" fmla="*/ 10 h 28"/>
                  <a:gd name="T12" fmla="*/ 47 w 48"/>
                  <a:gd name="T13" fmla="*/ 21 h 28"/>
                  <a:gd name="T14" fmla="*/ 38 w 48"/>
                  <a:gd name="T15" fmla="*/ 28 h 28"/>
                  <a:gd name="T16" fmla="*/ 34 w 48"/>
                  <a:gd name="T17" fmla="*/ 20 h 28"/>
                  <a:gd name="T18" fmla="*/ 39 w 48"/>
                  <a:gd name="T19" fmla="*/ 17 h 28"/>
                  <a:gd name="T20" fmla="*/ 40 w 48"/>
                  <a:gd name="T21" fmla="*/ 13 h 28"/>
                  <a:gd name="T22" fmla="*/ 37 w 48"/>
                  <a:gd name="T23" fmla="*/ 9 h 28"/>
                  <a:gd name="T24" fmla="*/ 30 w 48"/>
                  <a:gd name="T25" fmla="*/ 10 h 28"/>
                  <a:gd name="T26" fmla="*/ 3 w 48"/>
                  <a:gd name="T27" fmla="*/ 20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48" h="28">
                    <a:moveTo>
                      <a:pt x="3" y="20"/>
                    </a:moveTo>
                    <a:cubicBezTo>
                      <a:pt x="0" y="12"/>
                      <a:pt x="0" y="12"/>
                      <a:pt x="0" y="12"/>
                    </a:cubicBezTo>
                    <a:cubicBezTo>
                      <a:pt x="26" y="2"/>
                      <a:pt x="26" y="2"/>
                      <a:pt x="26" y="2"/>
                    </a:cubicBezTo>
                    <a:cubicBezTo>
                      <a:pt x="29" y="1"/>
                      <a:pt x="32" y="0"/>
                      <a:pt x="34" y="0"/>
                    </a:cubicBezTo>
                    <a:cubicBezTo>
                      <a:pt x="37" y="0"/>
                      <a:pt x="39" y="1"/>
                      <a:pt x="42" y="3"/>
                    </a:cubicBezTo>
                    <a:cubicBezTo>
                      <a:pt x="44" y="4"/>
                      <a:pt x="46" y="7"/>
                      <a:pt x="47" y="10"/>
                    </a:cubicBezTo>
                    <a:cubicBezTo>
                      <a:pt x="48" y="14"/>
                      <a:pt x="48" y="18"/>
                      <a:pt x="47" y="21"/>
                    </a:cubicBezTo>
                    <a:cubicBezTo>
                      <a:pt x="45" y="24"/>
                      <a:pt x="42" y="26"/>
                      <a:pt x="38" y="28"/>
                    </a:cubicBezTo>
                    <a:cubicBezTo>
                      <a:pt x="34" y="20"/>
                      <a:pt x="34" y="20"/>
                      <a:pt x="34" y="20"/>
                    </a:cubicBezTo>
                    <a:cubicBezTo>
                      <a:pt x="37" y="19"/>
                      <a:pt x="38" y="18"/>
                      <a:pt x="39" y="17"/>
                    </a:cubicBezTo>
                    <a:cubicBezTo>
                      <a:pt x="40" y="16"/>
                      <a:pt x="40" y="14"/>
                      <a:pt x="40" y="13"/>
                    </a:cubicBezTo>
                    <a:cubicBezTo>
                      <a:pt x="39" y="11"/>
                      <a:pt x="38" y="10"/>
                      <a:pt x="37" y="9"/>
                    </a:cubicBezTo>
                    <a:cubicBezTo>
                      <a:pt x="35" y="9"/>
                      <a:pt x="33" y="9"/>
                      <a:pt x="30" y="10"/>
                    </a:cubicBezTo>
                    <a:lnTo>
                      <a:pt x="3" y="20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1049442" name="íṥ1iḍe"/>
              <p:cNvSpPr/>
              <p:nvPr/>
            </p:nvSpPr>
            <p:spPr bwMode="auto">
              <a:xfrm>
                <a:off x="3112984" y="5017090"/>
                <a:ext cx="80963" cy="46038"/>
              </a:xfrm>
              <a:custGeom>
                <a:avLst/>
                <a:gdLst>
                  <a:gd name="T0" fmla="*/ 51 w 51"/>
                  <a:gd name="T1" fmla="*/ 9 h 29"/>
                  <a:gd name="T2" fmla="*/ 3 w 51"/>
                  <a:gd name="T3" fmla="*/ 29 h 29"/>
                  <a:gd name="T4" fmla="*/ 0 w 51"/>
                  <a:gd name="T5" fmla="*/ 19 h 29"/>
                  <a:gd name="T6" fmla="*/ 46 w 51"/>
                  <a:gd name="T7" fmla="*/ 0 h 29"/>
                  <a:gd name="T8" fmla="*/ 51 w 51"/>
                  <a:gd name="T9" fmla="*/ 9 h 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1" h="29">
                    <a:moveTo>
                      <a:pt x="51" y="9"/>
                    </a:moveTo>
                    <a:lnTo>
                      <a:pt x="3" y="29"/>
                    </a:lnTo>
                    <a:lnTo>
                      <a:pt x="0" y="19"/>
                    </a:lnTo>
                    <a:lnTo>
                      <a:pt x="46" y="0"/>
                    </a:lnTo>
                    <a:lnTo>
                      <a:pt x="51" y="9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1049443" name="iṥľîḋé"/>
              <p:cNvSpPr/>
              <p:nvPr/>
            </p:nvSpPr>
            <p:spPr bwMode="auto">
              <a:xfrm>
                <a:off x="3081234" y="4948828"/>
                <a:ext cx="101600" cy="93663"/>
              </a:xfrm>
              <a:custGeom>
                <a:avLst/>
                <a:gdLst>
                  <a:gd name="T0" fmla="*/ 64 w 64"/>
                  <a:gd name="T1" fmla="*/ 36 h 59"/>
                  <a:gd name="T2" fmla="*/ 18 w 64"/>
                  <a:gd name="T3" fmla="*/ 59 h 59"/>
                  <a:gd name="T4" fmla="*/ 14 w 64"/>
                  <a:gd name="T5" fmla="*/ 50 h 59"/>
                  <a:gd name="T6" fmla="*/ 35 w 64"/>
                  <a:gd name="T7" fmla="*/ 16 h 59"/>
                  <a:gd name="T8" fmla="*/ 3 w 64"/>
                  <a:gd name="T9" fmla="*/ 31 h 59"/>
                  <a:gd name="T10" fmla="*/ 0 w 64"/>
                  <a:gd name="T11" fmla="*/ 22 h 59"/>
                  <a:gd name="T12" fmla="*/ 45 w 64"/>
                  <a:gd name="T13" fmla="*/ 0 h 59"/>
                  <a:gd name="T14" fmla="*/ 50 w 64"/>
                  <a:gd name="T15" fmla="*/ 8 h 59"/>
                  <a:gd name="T16" fmla="*/ 29 w 64"/>
                  <a:gd name="T17" fmla="*/ 42 h 59"/>
                  <a:gd name="T18" fmla="*/ 59 w 64"/>
                  <a:gd name="T19" fmla="*/ 26 h 59"/>
                  <a:gd name="T20" fmla="*/ 64 w 64"/>
                  <a:gd name="T21" fmla="*/ 36 h 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64" h="59">
                    <a:moveTo>
                      <a:pt x="64" y="36"/>
                    </a:moveTo>
                    <a:lnTo>
                      <a:pt x="18" y="59"/>
                    </a:lnTo>
                    <a:lnTo>
                      <a:pt x="14" y="50"/>
                    </a:lnTo>
                    <a:lnTo>
                      <a:pt x="35" y="16"/>
                    </a:lnTo>
                    <a:lnTo>
                      <a:pt x="3" y="31"/>
                    </a:lnTo>
                    <a:lnTo>
                      <a:pt x="0" y="22"/>
                    </a:lnTo>
                    <a:lnTo>
                      <a:pt x="45" y="0"/>
                    </a:lnTo>
                    <a:lnTo>
                      <a:pt x="50" y="8"/>
                    </a:lnTo>
                    <a:lnTo>
                      <a:pt x="29" y="42"/>
                    </a:lnTo>
                    <a:lnTo>
                      <a:pt x="59" y="26"/>
                    </a:lnTo>
                    <a:lnTo>
                      <a:pt x="64" y="36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1049444" name="îślidè"/>
              <p:cNvSpPr/>
              <p:nvPr/>
            </p:nvSpPr>
            <p:spPr bwMode="auto">
              <a:xfrm>
                <a:off x="3047897" y="4877390"/>
                <a:ext cx="84138" cy="88900"/>
              </a:xfrm>
              <a:custGeom>
                <a:avLst/>
                <a:gdLst>
                  <a:gd name="T0" fmla="*/ 28 w 46"/>
                  <a:gd name="T1" fmla="*/ 21 h 48"/>
                  <a:gd name="T2" fmla="*/ 22 w 46"/>
                  <a:gd name="T3" fmla="*/ 25 h 48"/>
                  <a:gd name="T4" fmla="*/ 11 w 46"/>
                  <a:gd name="T5" fmla="*/ 9 h 48"/>
                  <a:gd name="T6" fmla="*/ 26 w 46"/>
                  <a:gd name="T7" fmla="*/ 0 h 48"/>
                  <a:gd name="T8" fmla="*/ 35 w 46"/>
                  <a:gd name="T9" fmla="*/ 4 h 48"/>
                  <a:gd name="T10" fmla="*/ 42 w 46"/>
                  <a:gd name="T11" fmla="*/ 12 h 48"/>
                  <a:gd name="T12" fmla="*/ 46 w 46"/>
                  <a:gd name="T13" fmla="*/ 24 h 48"/>
                  <a:gd name="T14" fmla="*/ 43 w 46"/>
                  <a:gd name="T15" fmla="*/ 35 h 48"/>
                  <a:gd name="T16" fmla="*/ 35 w 46"/>
                  <a:gd name="T17" fmla="*/ 43 h 48"/>
                  <a:gd name="T18" fmla="*/ 23 w 46"/>
                  <a:gd name="T19" fmla="*/ 47 h 48"/>
                  <a:gd name="T20" fmla="*/ 12 w 46"/>
                  <a:gd name="T21" fmla="*/ 45 h 48"/>
                  <a:gd name="T22" fmla="*/ 4 w 46"/>
                  <a:gd name="T23" fmla="*/ 37 h 48"/>
                  <a:gd name="T24" fmla="*/ 0 w 46"/>
                  <a:gd name="T25" fmla="*/ 24 h 48"/>
                  <a:gd name="T26" fmla="*/ 5 w 46"/>
                  <a:gd name="T27" fmla="*/ 14 h 48"/>
                  <a:gd name="T28" fmla="*/ 11 w 46"/>
                  <a:gd name="T29" fmla="*/ 21 h 48"/>
                  <a:gd name="T30" fmla="*/ 9 w 46"/>
                  <a:gd name="T31" fmla="*/ 27 h 48"/>
                  <a:gd name="T32" fmla="*/ 11 w 46"/>
                  <a:gd name="T33" fmla="*/ 33 h 48"/>
                  <a:gd name="T34" fmla="*/ 19 w 46"/>
                  <a:gd name="T35" fmla="*/ 39 h 48"/>
                  <a:gd name="T36" fmla="*/ 30 w 46"/>
                  <a:gd name="T37" fmla="*/ 36 h 48"/>
                  <a:gd name="T38" fmla="*/ 38 w 46"/>
                  <a:gd name="T39" fmla="*/ 26 h 48"/>
                  <a:gd name="T40" fmla="*/ 36 w 46"/>
                  <a:gd name="T41" fmla="*/ 17 h 48"/>
                  <a:gd name="T42" fmla="*/ 32 w 46"/>
                  <a:gd name="T43" fmla="*/ 13 h 48"/>
                  <a:gd name="T44" fmla="*/ 27 w 46"/>
                  <a:gd name="T45" fmla="*/ 10 h 48"/>
                  <a:gd name="T46" fmla="*/ 23 w 46"/>
                  <a:gd name="T47" fmla="*/ 13 h 48"/>
                  <a:gd name="T48" fmla="*/ 28 w 46"/>
                  <a:gd name="T49" fmla="*/ 21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46" h="48">
                    <a:moveTo>
                      <a:pt x="28" y="21"/>
                    </a:moveTo>
                    <a:cubicBezTo>
                      <a:pt x="22" y="25"/>
                      <a:pt x="22" y="25"/>
                      <a:pt x="22" y="25"/>
                    </a:cubicBezTo>
                    <a:cubicBezTo>
                      <a:pt x="11" y="9"/>
                      <a:pt x="11" y="9"/>
                      <a:pt x="11" y="9"/>
                    </a:cubicBezTo>
                    <a:cubicBezTo>
                      <a:pt x="26" y="0"/>
                      <a:pt x="26" y="0"/>
                      <a:pt x="26" y="0"/>
                    </a:cubicBezTo>
                    <a:cubicBezTo>
                      <a:pt x="29" y="1"/>
                      <a:pt x="31" y="2"/>
                      <a:pt x="35" y="4"/>
                    </a:cubicBezTo>
                    <a:cubicBezTo>
                      <a:pt x="38" y="6"/>
                      <a:pt x="40" y="9"/>
                      <a:pt x="42" y="12"/>
                    </a:cubicBezTo>
                    <a:cubicBezTo>
                      <a:pt x="45" y="16"/>
                      <a:pt x="46" y="20"/>
                      <a:pt x="46" y="24"/>
                    </a:cubicBezTo>
                    <a:cubicBezTo>
                      <a:pt x="46" y="28"/>
                      <a:pt x="45" y="31"/>
                      <a:pt x="43" y="35"/>
                    </a:cubicBezTo>
                    <a:cubicBezTo>
                      <a:pt x="41" y="38"/>
                      <a:pt x="38" y="41"/>
                      <a:pt x="35" y="43"/>
                    </a:cubicBezTo>
                    <a:cubicBezTo>
                      <a:pt x="31" y="46"/>
                      <a:pt x="27" y="47"/>
                      <a:pt x="23" y="47"/>
                    </a:cubicBezTo>
                    <a:cubicBezTo>
                      <a:pt x="19" y="48"/>
                      <a:pt x="15" y="47"/>
                      <a:pt x="12" y="45"/>
                    </a:cubicBezTo>
                    <a:cubicBezTo>
                      <a:pt x="9" y="43"/>
                      <a:pt x="6" y="41"/>
                      <a:pt x="4" y="37"/>
                    </a:cubicBezTo>
                    <a:cubicBezTo>
                      <a:pt x="1" y="32"/>
                      <a:pt x="0" y="28"/>
                      <a:pt x="0" y="24"/>
                    </a:cubicBezTo>
                    <a:cubicBezTo>
                      <a:pt x="0" y="21"/>
                      <a:pt x="2" y="17"/>
                      <a:pt x="5" y="14"/>
                    </a:cubicBezTo>
                    <a:cubicBezTo>
                      <a:pt x="11" y="21"/>
                      <a:pt x="11" y="21"/>
                      <a:pt x="11" y="21"/>
                    </a:cubicBezTo>
                    <a:cubicBezTo>
                      <a:pt x="10" y="23"/>
                      <a:pt x="9" y="24"/>
                      <a:pt x="9" y="27"/>
                    </a:cubicBezTo>
                    <a:cubicBezTo>
                      <a:pt x="8" y="29"/>
                      <a:pt x="9" y="31"/>
                      <a:pt x="11" y="33"/>
                    </a:cubicBezTo>
                    <a:cubicBezTo>
                      <a:pt x="13" y="36"/>
                      <a:pt x="15" y="38"/>
                      <a:pt x="19" y="39"/>
                    </a:cubicBezTo>
                    <a:cubicBezTo>
                      <a:pt x="22" y="39"/>
                      <a:pt x="26" y="38"/>
                      <a:pt x="30" y="36"/>
                    </a:cubicBezTo>
                    <a:cubicBezTo>
                      <a:pt x="34" y="33"/>
                      <a:pt x="37" y="30"/>
                      <a:pt x="38" y="26"/>
                    </a:cubicBezTo>
                    <a:cubicBezTo>
                      <a:pt x="39" y="23"/>
                      <a:pt x="38" y="20"/>
                      <a:pt x="36" y="17"/>
                    </a:cubicBezTo>
                    <a:cubicBezTo>
                      <a:pt x="35" y="15"/>
                      <a:pt x="34" y="14"/>
                      <a:pt x="32" y="13"/>
                    </a:cubicBezTo>
                    <a:cubicBezTo>
                      <a:pt x="30" y="11"/>
                      <a:pt x="29" y="10"/>
                      <a:pt x="27" y="10"/>
                    </a:cubicBezTo>
                    <a:cubicBezTo>
                      <a:pt x="23" y="13"/>
                      <a:pt x="23" y="13"/>
                      <a:pt x="23" y="13"/>
                    </a:cubicBezTo>
                    <a:lnTo>
                      <a:pt x="28" y="21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1049445" name="îŝ1ide"/>
              <p:cNvSpPr/>
              <p:nvPr/>
            </p:nvSpPr>
            <p:spPr bwMode="auto">
              <a:xfrm>
                <a:off x="1981097" y="4907553"/>
                <a:ext cx="931863" cy="969963"/>
              </a:xfrm>
              <a:custGeom>
                <a:avLst/>
                <a:gdLst>
                  <a:gd name="T0" fmla="*/ 488 w 506"/>
                  <a:gd name="T1" fmla="*/ 144 h 525"/>
                  <a:gd name="T2" fmla="*/ 449 w 506"/>
                  <a:gd name="T3" fmla="*/ 161 h 525"/>
                  <a:gd name="T4" fmla="*/ 473 w 506"/>
                  <a:gd name="T5" fmla="*/ 361 h 525"/>
                  <a:gd name="T6" fmla="*/ 434 w 506"/>
                  <a:gd name="T7" fmla="*/ 382 h 525"/>
                  <a:gd name="T8" fmla="*/ 463 w 506"/>
                  <a:gd name="T9" fmla="*/ 392 h 525"/>
                  <a:gd name="T10" fmla="*/ 434 w 506"/>
                  <a:gd name="T11" fmla="*/ 455 h 525"/>
                  <a:gd name="T12" fmla="*/ 418 w 506"/>
                  <a:gd name="T13" fmla="*/ 525 h 525"/>
                  <a:gd name="T14" fmla="*/ 328 w 506"/>
                  <a:gd name="T15" fmla="*/ 392 h 525"/>
                  <a:gd name="T16" fmla="*/ 200 w 506"/>
                  <a:gd name="T17" fmla="*/ 376 h 525"/>
                  <a:gd name="T18" fmla="*/ 179 w 506"/>
                  <a:gd name="T19" fmla="*/ 525 h 525"/>
                  <a:gd name="T20" fmla="*/ 72 w 506"/>
                  <a:gd name="T21" fmla="*/ 510 h 525"/>
                  <a:gd name="T22" fmla="*/ 44 w 506"/>
                  <a:gd name="T23" fmla="*/ 439 h 525"/>
                  <a:gd name="T24" fmla="*/ 72 w 506"/>
                  <a:gd name="T25" fmla="*/ 392 h 525"/>
                  <a:gd name="T26" fmla="*/ 57 w 506"/>
                  <a:gd name="T27" fmla="*/ 382 h 525"/>
                  <a:gd name="T28" fmla="*/ 18 w 506"/>
                  <a:gd name="T29" fmla="*/ 161 h 525"/>
                  <a:gd name="T30" fmla="*/ 56 w 506"/>
                  <a:gd name="T31" fmla="*/ 144 h 525"/>
                  <a:gd name="T32" fmla="*/ 0 w 506"/>
                  <a:gd name="T33" fmla="*/ 21 h 525"/>
                  <a:gd name="T34" fmla="*/ 92 w 506"/>
                  <a:gd name="T35" fmla="*/ 21 h 525"/>
                  <a:gd name="T36" fmla="*/ 403 w 506"/>
                  <a:gd name="T37" fmla="*/ 82 h 525"/>
                  <a:gd name="T38" fmla="*/ 457 w 506"/>
                  <a:gd name="T39" fmla="*/ 0 h 525"/>
                  <a:gd name="T40" fmla="*/ 461 w 506"/>
                  <a:gd name="T41" fmla="*/ 82 h 525"/>
                  <a:gd name="T42" fmla="*/ 455 w 506"/>
                  <a:gd name="T43" fmla="*/ 24 h 525"/>
                  <a:gd name="T44" fmla="*/ 435 w 506"/>
                  <a:gd name="T45" fmla="*/ 82 h 525"/>
                  <a:gd name="T46" fmla="*/ 454 w 506"/>
                  <a:gd name="T47" fmla="*/ 127 h 525"/>
                  <a:gd name="T48" fmla="*/ 49 w 506"/>
                  <a:gd name="T49" fmla="*/ 112 h 525"/>
                  <a:gd name="T50" fmla="*/ 78 w 506"/>
                  <a:gd name="T51" fmla="*/ 127 h 525"/>
                  <a:gd name="T52" fmla="*/ 81 w 506"/>
                  <a:gd name="T53" fmla="*/ 161 h 525"/>
                  <a:gd name="T54" fmla="*/ 426 w 506"/>
                  <a:gd name="T55" fmla="*/ 145 h 525"/>
                  <a:gd name="T56" fmla="*/ 454 w 506"/>
                  <a:gd name="T57" fmla="*/ 127 h 525"/>
                  <a:gd name="T58" fmla="*/ 450 w 506"/>
                  <a:gd name="T59" fmla="*/ 178 h 525"/>
                  <a:gd name="T60" fmla="*/ 65 w 506"/>
                  <a:gd name="T61" fmla="*/ 335 h 525"/>
                  <a:gd name="T62" fmla="*/ 421 w 506"/>
                  <a:gd name="T63" fmla="*/ 349 h 525"/>
                  <a:gd name="T64" fmla="*/ 398 w 506"/>
                  <a:gd name="T65" fmla="*/ 490 h 525"/>
                  <a:gd name="T66" fmla="*/ 356 w 506"/>
                  <a:gd name="T67" fmla="*/ 371 h 525"/>
                  <a:gd name="T68" fmla="*/ 389 w 506"/>
                  <a:gd name="T69" fmla="*/ 496 h 525"/>
                  <a:gd name="T70" fmla="*/ 150 w 506"/>
                  <a:gd name="T71" fmla="*/ 496 h 525"/>
                  <a:gd name="T72" fmla="*/ 108 w 506"/>
                  <a:gd name="T73" fmla="*/ 371 h 525"/>
                  <a:gd name="T74" fmla="*/ 117 w 506"/>
                  <a:gd name="T75" fmla="*/ 496 h 525"/>
                  <a:gd name="T76" fmla="*/ 71 w 506"/>
                  <a:gd name="T77" fmla="*/ 82 h 525"/>
                  <a:gd name="T78" fmla="*/ 51 w 506"/>
                  <a:gd name="T79" fmla="*/ 24 h 525"/>
                  <a:gd name="T80" fmla="*/ 45 w 506"/>
                  <a:gd name="T81" fmla="*/ 82 h 5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506" h="525">
                    <a:moveTo>
                      <a:pt x="506" y="21"/>
                    </a:moveTo>
                    <a:cubicBezTo>
                      <a:pt x="488" y="144"/>
                      <a:pt x="488" y="144"/>
                      <a:pt x="488" y="144"/>
                    </a:cubicBezTo>
                    <a:cubicBezTo>
                      <a:pt x="450" y="144"/>
                      <a:pt x="450" y="144"/>
                      <a:pt x="450" y="144"/>
                    </a:cubicBezTo>
                    <a:cubicBezTo>
                      <a:pt x="449" y="161"/>
                      <a:pt x="449" y="161"/>
                      <a:pt x="449" y="161"/>
                    </a:cubicBezTo>
                    <a:cubicBezTo>
                      <a:pt x="488" y="161"/>
                      <a:pt x="488" y="161"/>
                      <a:pt x="488" y="161"/>
                    </a:cubicBezTo>
                    <a:cubicBezTo>
                      <a:pt x="473" y="361"/>
                      <a:pt x="473" y="361"/>
                      <a:pt x="473" y="361"/>
                    </a:cubicBezTo>
                    <a:cubicBezTo>
                      <a:pt x="473" y="372"/>
                      <a:pt x="462" y="382"/>
                      <a:pt x="450" y="382"/>
                    </a:cubicBezTo>
                    <a:cubicBezTo>
                      <a:pt x="434" y="382"/>
                      <a:pt x="434" y="382"/>
                      <a:pt x="434" y="382"/>
                    </a:cubicBezTo>
                    <a:cubicBezTo>
                      <a:pt x="434" y="392"/>
                      <a:pt x="434" y="392"/>
                      <a:pt x="434" y="392"/>
                    </a:cubicBezTo>
                    <a:cubicBezTo>
                      <a:pt x="463" y="392"/>
                      <a:pt x="463" y="392"/>
                      <a:pt x="463" y="392"/>
                    </a:cubicBezTo>
                    <a:cubicBezTo>
                      <a:pt x="463" y="439"/>
                      <a:pt x="463" y="439"/>
                      <a:pt x="463" y="439"/>
                    </a:cubicBezTo>
                    <a:cubicBezTo>
                      <a:pt x="463" y="448"/>
                      <a:pt x="450" y="455"/>
                      <a:pt x="434" y="455"/>
                    </a:cubicBezTo>
                    <a:cubicBezTo>
                      <a:pt x="434" y="510"/>
                      <a:pt x="434" y="510"/>
                      <a:pt x="434" y="510"/>
                    </a:cubicBezTo>
                    <a:cubicBezTo>
                      <a:pt x="434" y="518"/>
                      <a:pt x="427" y="525"/>
                      <a:pt x="418" y="525"/>
                    </a:cubicBezTo>
                    <a:cubicBezTo>
                      <a:pt x="328" y="525"/>
                      <a:pt x="328" y="525"/>
                      <a:pt x="328" y="525"/>
                    </a:cubicBezTo>
                    <a:cubicBezTo>
                      <a:pt x="328" y="392"/>
                      <a:pt x="328" y="392"/>
                      <a:pt x="328" y="392"/>
                    </a:cubicBezTo>
                    <a:cubicBezTo>
                      <a:pt x="328" y="383"/>
                      <a:pt x="318" y="376"/>
                      <a:pt x="307" y="376"/>
                    </a:cubicBezTo>
                    <a:cubicBezTo>
                      <a:pt x="200" y="376"/>
                      <a:pt x="200" y="376"/>
                      <a:pt x="200" y="376"/>
                    </a:cubicBezTo>
                    <a:cubicBezTo>
                      <a:pt x="188" y="376"/>
                      <a:pt x="179" y="383"/>
                      <a:pt x="179" y="392"/>
                    </a:cubicBezTo>
                    <a:cubicBezTo>
                      <a:pt x="179" y="525"/>
                      <a:pt x="179" y="525"/>
                      <a:pt x="179" y="525"/>
                    </a:cubicBezTo>
                    <a:cubicBezTo>
                      <a:pt x="89" y="525"/>
                      <a:pt x="89" y="525"/>
                      <a:pt x="89" y="525"/>
                    </a:cubicBezTo>
                    <a:cubicBezTo>
                      <a:pt x="80" y="525"/>
                      <a:pt x="72" y="518"/>
                      <a:pt x="72" y="510"/>
                    </a:cubicBezTo>
                    <a:cubicBezTo>
                      <a:pt x="72" y="455"/>
                      <a:pt x="72" y="455"/>
                      <a:pt x="72" y="455"/>
                    </a:cubicBezTo>
                    <a:cubicBezTo>
                      <a:pt x="56" y="455"/>
                      <a:pt x="44" y="448"/>
                      <a:pt x="44" y="439"/>
                    </a:cubicBezTo>
                    <a:cubicBezTo>
                      <a:pt x="44" y="392"/>
                      <a:pt x="44" y="392"/>
                      <a:pt x="44" y="392"/>
                    </a:cubicBezTo>
                    <a:cubicBezTo>
                      <a:pt x="72" y="392"/>
                      <a:pt x="72" y="392"/>
                      <a:pt x="72" y="392"/>
                    </a:cubicBezTo>
                    <a:cubicBezTo>
                      <a:pt x="72" y="382"/>
                      <a:pt x="72" y="382"/>
                      <a:pt x="72" y="382"/>
                    </a:cubicBezTo>
                    <a:cubicBezTo>
                      <a:pt x="57" y="382"/>
                      <a:pt x="57" y="382"/>
                      <a:pt x="57" y="382"/>
                    </a:cubicBezTo>
                    <a:cubicBezTo>
                      <a:pt x="44" y="382"/>
                      <a:pt x="34" y="372"/>
                      <a:pt x="34" y="361"/>
                    </a:cubicBezTo>
                    <a:cubicBezTo>
                      <a:pt x="18" y="161"/>
                      <a:pt x="18" y="161"/>
                      <a:pt x="18" y="161"/>
                    </a:cubicBezTo>
                    <a:cubicBezTo>
                      <a:pt x="58" y="161"/>
                      <a:pt x="58" y="161"/>
                      <a:pt x="58" y="161"/>
                    </a:cubicBezTo>
                    <a:cubicBezTo>
                      <a:pt x="56" y="144"/>
                      <a:pt x="56" y="144"/>
                      <a:pt x="56" y="144"/>
                    </a:cubicBezTo>
                    <a:cubicBezTo>
                      <a:pt x="18" y="144"/>
                      <a:pt x="18" y="144"/>
                      <a:pt x="18" y="144"/>
                    </a:cubicBezTo>
                    <a:cubicBezTo>
                      <a:pt x="0" y="21"/>
                      <a:pt x="0" y="21"/>
                      <a:pt x="0" y="21"/>
                    </a:cubicBezTo>
                    <a:cubicBezTo>
                      <a:pt x="2" y="7"/>
                      <a:pt x="31" y="0"/>
                      <a:pt x="49" y="0"/>
                    </a:cubicBezTo>
                    <a:cubicBezTo>
                      <a:pt x="73" y="0"/>
                      <a:pt x="80" y="3"/>
                      <a:pt x="92" y="21"/>
                    </a:cubicBezTo>
                    <a:cubicBezTo>
                      <a:pt x="103" y="82"/>
                      <a:pt x="103" y="82"/>
                      <a:pt x="103" y="82"/>
                    </a:cubicBezTo>
                    <a:cubicBezTo>
                      <a:pt x="403" y="82"/>
                      <a:pt x="403" y="82"/>
                      <a:pt x="403" y="82"/>
                    </a:cubicBezTo>
                    <a:cubicBezTo>
                      <a:pt x="415" y="21"/>
                      <a:pt x="415" y="21"/>
                      <a:pt x="415" y="21"/>
                    </a:cubicBezTo>
                    <a:cubicBezTo>
                      <a:pt x="426" y="3"/>
                      <a:pt x="433" y="0"/>
                      <a:pt x="457" y="0"/>
                    </a:cubicBezTo>
                    <a:cubicBezTo>
                      <a:pt x="475" y="0"/>
                      <a:pt x="504" y="7"/>
                      <a:pt x="506" y="21"/>
                    </a:cubicBezTo>
                    <a:close/>
                    <a:moveTo>
                      <a:pt x="461" y="82"/>
                    </a:moveTo>
                    <a:cubicBezTo>
                      <a:pt x="469" y="32"/>
                      <a:pt x="469" y="32"/>
                      <a:pt x="469" y="32"/>
                    </a:cubicBezTo>
                    <a:cubicBezTo>
                      <a:pt x="469" y="24"/>
                      <a:pt x="463" y="24"/>
                      <a:pt x="455" y="24"/>
                    </a:cubicBezTo>
                    <a:cubicBezTo>
                      <a:pt x="450" y="24"/>
                      <a:pt x="447" y="26"/>
                      <a:pt x="445" y="32"/>
                    </a:cubicBezTo>
                    <a:cubicBezTo>
                      <a:pt x="435" y="82"/>
                      <a:pt x="435" y="82"/>
                      <a:pt x="435" y="82"/>
                    </a:cubicBezTo>
                    <a:lnTo>
                      <a:pt x="461" y="82"/>
                    </a:lnTo>
                    <a:close/>
                    <a:moveTo>
                      <a:pt x="454" y="127"/>
                    </a:moveTo>
                    <a:cubicBezTo>
                      <a:pt x="457" y="112"/>
                      <a:pt x="457" y="112"/>
                      <a:pt x="457" y="112"/>
                    </a:cubicBezTo>
                    <a:cubicBezTo>
                      <a:pt x="49" y="112"/>
                      <a:pt x="49" y="112"/>
                      <a:pt x="49" y="112"/>
                    </a:cubicBezTo>
                    <a:cubicBezTo>
                      <a:pt x="52" y="127"/>
                      <a:pt x="52" y="127"/>
                      <a:pt x="52" y="127"/>
                    </a:cubicBezTo>
                    <a:cubicBezTo>
                      <a:pt x="78" y="127"/>
                      <a:pt x="78" y="127"/>
                      <a:pt x="78" y="127"/>
                    </a:cubicBezTo>
                    <a:cubicBezTo>
                      <a:pt x="80" y="145"/>
                      <a:pt x="80" y="145"/>
                      <a:pt x="80" y="145"/>
                    </a:cubicBezTo>
                    <a:cubicBezTo>
                      <a:pt x="81" y="161"/>
                      <a:pt x="81" y="161"/>
                      <a:pt x="81" y="161"/>
                    </a:cubicBezTo>
                    <a:cubicBezTo>
                      <a:pt x="425" y="161"/>
                      <a:pt x="425" y="161"/>
                      <a:pt x="425" y="161"/>
                    </a:cubicBezTo>
                    <a:cubicBezTo>
                      <a:pt x="426" y="145"/>
                      <a:pt x="426" y="145"/>
                      <a:pt x="426" y="145"/>
                    </a:cubicBezTo>
                    <a:cubicBezTo>
                      <a:pt x="428" y="127"/>
                      <a:pt x="428" y="127"/>
                      <a:pt x="428" y="127"/>
                    </a:cubicBezTo>
                    <a:lnTo>
                      <a:pt x="454" y="127"/>
                    </a:lnTo>
                    <a:close/>
                    <a:moveTo>
                      <a:pt x="441" y="335"/>
                    </a:moveTo>
                    <a:cubicBezTo>
                      <a:pt x="450" y="178"/>
                      <a:pt x="450" y="178"/>
                      <a:pt x="450" y="178"/>
                    </a:cubicBezTo>
                    <a:cubicBezTo>
                      <a:pt x="56" y="178"/>
                      <a:pt x="56" y="178"/>
                      <a:pt x="56" y="178"/>
                    </a:cubicBezTo>
                    <a:cubicBezTo>
                      <a:pt x="65" y="335"/>
                      <a:pt x="65" y="335"/>
                      <a:pt x="65" y="335"/>
                    </a:cubicBezTo>
                    <a:cubicBezTo>
                      <a:pt x="65" y="343"/>
                      <a:pt x="74" y="349"/>
                      <a:pt x="85" y="349"/>
                    </a:cubicBezTo>
                    <a:cubicBezTo>
                      <a:pt x="421" y="349"/>
                      <a:pt x="421" y="349"/>
                      <a:pt x="421" y="349"/>
                    </a:cubicBezTo>
                    <a:cubicBezTo>
                      <a:pt x="432" y="349"/>
                      <a:pt x="441" y="343"/>
                      <a:pt x="441" y="335"/>
                    </a:cubicBezTo>
                    <a:close/>
                    <a:moveTo>
                      <a:pt x="398" y="490"/>
                    </a:moveTo>
                    <a:cubicBezTo>
                      <a:pt x="398" y="371"/>
                      <a:pt x="398" y="371"/>
                      <a:pt x="398" y="371"/>
                    </a:cubicBezTo>
                    <a:cubicBezTo>
                      <a:pt x="356" y="371"/>
                      <a:pt x="356" y="371"/>
                      <a:pt x="356" y="371"/>
                    </a:cubicBezTo>
                    <a:cubicBezTo>
                      <a:pt x="356" y="496"/>
                      <a:pt x="356" y="496"/>
                      <a:pt x="356" y="496"/>
                    </a:cubicBezTo>
                    <a:cubicBezTo>
                      <a:pt x="389" y="496"/>
                      <a:pt x="389" y="496"/>
                      <a:pt x="389" y="496"/>
                    </a:cubicBezTo>
                    <a:cubicBezTo>
                      <a:pt x="394" y="496"/>
                      <a:pt x="398" y="496"/>
                      <a:pt x="398" y="490"/>
                    </a:cubicBezTo>
                    <a:close/>
                    <a:moveTo>
                      <a:pt x="150" y="496"/>
                    </a:moveTo>
                    <a:cubicBezTo>
                      <a:pt x="150" y="371"/>
                      <a:pt x="150" y="371"/>
                      <a:pt x="150" y="371"/>
                    </a:cubicBezTo>
                    <a:cubicBezTo>
                      <a:pt x="108" y="371"/>
                      <a:pt x="108" y="371"/>
                      <a:pt x="108" y="371"/>
                    </a:cubicBezTo>
                    <a:cubicBezTo>
                      <a:pt x="108" y="490"/>
                      <a:pt x="108" y="490"/>
                      <a:pt x="108" y="490"/>
                    </a:cubicBezTo>
                    <a:cubicBezTo>
                      <a:pt x="108" y="496"/>
                      <a:pt x="112" y="496"/>
                      <a:pt x="117" y="496"/>
                    </a:cubicBezTo>
                    <a:lnTo>
                      <a:pt x="150" y="496"/>
                    </a:lnTo>
                    <a:close/>
                    <a:moveTo>
                      <a:pt x="71" y="82"/>
                    </a:moveTo>
                    <a:cubicBezTo>
                      <a:pt x="61" y="32"/>
                      <a:pt x="61" y="32"/>
                      <a:pt x="61" y="32"/>
                    </a:cubicBezTo>
                    <a:cubicBezTo>
                      <a:pt x="60" y="26"/>
                      <a:pt x="57" y="24"/>
                      <a:pt x="51" y="24"/>
                    </a:cubicBezTo>
                    <a:cubicBezTo>
                      <a:pt x="43" y="24"/>
                      <a:pt x="37" y="24"/>
                      <a:pt x="37" y="32"/>
                    </a:cubicBezTo>
                    <a:cubicBezTo>
                      <a:pt x="45" y="82"/>
                      <a:pt x="45" y="82"/>
                      <a:pt x="45" y="82"/>
                    </a:cubicBezTo>
                    <a:lnTo>
                      <a:pt x="71" y="82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1049446" name="í$ḻíde"/>
              <p:cNvSpPr/>
              <p:nvPr/>
            </p:nvSpPr>
            <p:spPr bwMode="auto">
              <a:xfrm>
                <a:off x="2144609" y="5142503"/>
                <a:ext cx="604838" cy="31750"/>
              </a:xfrm>
              <a:prstGeom prst="rect">
                <a:avLst/>
              </a:pr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</p:grpSp>
      </p:grpSp>
      <p:grpSp>
        <p:nvGrpSpPr>
          <p:cNvPr id="194" name="组合 180"/>
          <p:cNvGrpSpPr/>
          <p:nvPr userDrawn="1"/>
        </p:nvGrpSpPr>
        <p:grpSpPr>
          <a:xfrm>
            <a:off x="3989822" y="1457555"/>
            <a:ext cx="1164357" cy="320434"/>
            <a:chOff x="5180266" y="4756740"/>
            <a:chExt cx="5753100" cy="1187451"/>
          </a:xfrm>
          <a:solidFill>
            <a:srgbClr val="F2C68E"/>
          </a:solidFill>
        </p:grpSpPr>
        <p:sp>
          <p:nvSpPr>
            <p:cNvPr id="1049447" name="ïṩļîḑê"/>
            <p:cNvSpPr/>
            <p:nvPr/>
          </p:nvSpPr>
          <p:spPr bwMode="auto">
            <a:xfrm>
              <a:off x="10319003" y="4805953"/>
              <a:ext cx="600075" cy="771525"/>
            </a:xfrm>
            <a:custGeom>
              <a:avLst/>
              <a:gdLst>
                <a:gd name="T0" fmla="*/ 210 w 325"/>
                <a:gd name="T1" fmla="*/ 140 h 418"/>
                <a:gd name="T2" fmla="*/ 237 w 325"/>
                <a:gd name="T3" fmla="*/ 155 h 418"/>
                <a:gd name="T4" fmla="*/ 161 w 325"/>
                <a:gd name="T5" fmla="*/ 179 h 418"/>
                <a:gd name="T6" fmla="*/ 187 w 325"/>
                <a:gd name="T7" fmla="*/ 68 h 418"/>
                <a:gd name="T8" fmla="*/ 230 w 325"/>
                <a:gd name="T9" fmla="*/ 40 h 418"/>
                <a:gd name="T10" fmla="*/ 199 w 325"/>
                <a:gd name="T11" fmla="*/ 85 h 418"/>
                <a:gd name="T12" fmla="*/ 99 w 325"/>
                <a:gd name="T13" fmla="*/ 132 h 418"/>
                <a:gd name="T14" fmla="*/ 132 w 325"/>
                <a:gd name="T15" fmla="*/ 83 h 418"/>
                <a:gd name="T16" fmla="*/ 174 w 325"/>
                <a:gd name="T17" fmla="*/ 116 h 418"/>
                <a:gd name="T18" fmla="*/ 59 w 325"/>
                <a:gd name="T19" fmla="*/ 198 h 418"/>
                <a:gd name="T20" fmla="*/ 16 w 325"/>
                <a:gd name="T21" fmla="*/ 224 h 418"/>
                <a:gd name="T22" fmla="*/ 17 w 325"/>
                <a:gd name="T23" fmla="*/ 314 h 418"/>
                <a:gd name="T24" fmla="*/ 55 w 325"/>
                <a:gd name="T25" fmla="*/ 244 h 418"/>
                <a:gd name="T26" fmla="*/ 131 w 325"/>
                <a:gd name="T27" fmla="*/ 194 h 418"/>
                <a:gd name="T28" fmla="*/ 111 w 325"/>
                <a:gd name="T29" fmla="*/ 251 h 418"/>
                <a:gd name="T30" fmla="*/ 148 w 325"/>
                <a:gd name="T31" fmla="*/ 246 h 418"/>
                <a:gd name="T32" fmla="*/ 184 w 325"/>
                <a:gd name="T33" fmla="*/ 243 h 418"/>
                <a:gd name="T34" fmla="*/ 131 w 325"/>
                <a:gd name="T35" fmla="*/ 281 h 418"/>
                <a:gd name="T36" fmla="*/ 76 w 325"/>
                <a:gd name="T37" fmla="*/ 299 h 418"/>
                <a:gd name="T38" fmla="*/ 134 w 325"/>
                <a:gd name="T39" fmla="*/ 334 h 418"/>
                <a:gd name="T40" fmla="*/ 203 w 325"/>
                <a:gd name="T41" fmla="*/ 298 h 418"/>
                <a:gd name="T42" fmla="*/ 206 w 325"/>
                <a:gd name="T43" fmla="*/ 350 h 418"/>
                <a:gd name="T44" fmla="*/ 165 w 325"/>
                <a:gd name="T45" fmla="*/ 378 h 418"/>
                <a:gd name="T46" fmla="*/ 144 w 325"/>
                <a:gd name="T47" fmla="*/ 410 h 418"/>
                <a:gd name="T48" fmla="*/ 228 w 325"/>
                <a:gd name="T49" fmla="*/ 408 h 418"/>
                <a:gd name="T50" fmla="*/ 239 w 325"/>
                <a:gd name="T51" fmla="*/ 307 h 418"/>
                <a:gd name="T52" fmla="*/ 273 w 325"/>
                <a:gd name="T53" fmla="*/ 283 h 418"/>
                <a:gd name="T54" fmla="*/ 271 w 325"/>
                <a:gd name="T55" fmla="*/ 239 h 418"/>
                <a:gd name="T56" fmla="*/ 233 w 325"/>
                <a:gd name="T57" fmla="*/ 226 h 418"/>
                <a:gd name="T58" fmla="*/ 261 w 325"/>
                <a:gd name="T59" fmla="*/ 181 h 418"/>
                <a:gd name="T60" fmla="*/ 316 w 325"/>
                <a:gd name="T61" fmla="*/ 167 h 418"/>
                <a:gd name="T62" fmla="*/ 297 w 325"/>
                <a:gd name="T63" fmla="*/ 119 h 418"/>
                <a:gd name="T64" fmla="*/ 251 w 325"/>
                <a:gd name="T65" fmla="*/ 93 h 418"/>
                <a:gd name="T66" fmla="*/ 276 w 325"/>
                <a:gd name="T67" fmla="*/ 34 h 418"/>
                <a:gd name="T68" fmla="*/ 217 w 325"/>
                <a:gd name="T69" fmla="*/ 11 h 418"/>
                <a:gd name="T70" fmla="*/ 164 w 325"/>
                <a:gd name="T71" fmla="*/ 29 h 418"/>
                <a:gd name="T72" fmla="*/ 136 w 325"/>
                <a:gd name="T73" fmla="*/ 43 h 418"/>
                <a:gd name="T74" fmla="*/ 113 w 325"/>
                <a:gd name="T75" fmla="*/ 21 h 418"/>
                <a:gd name="T76" fmla="*/ 78 w 325"/>
                <a:gd name="T77" fmla="*/ 52 h 4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325" h="418">
                  <a:moveTo>
                    <a:pt x="161" y="179"/>
                  </a:moveTo>
                  <a:cubicBezTo>
                    <a:pt x="160" y="178"/>
                    <a:pt x="188" y="143"/>
                    <a:pt x="210" y="140"/>
                  </a:cubicBezTo>
                  <a:cubicBezTo>
                    <a:pt x="232" y="137"/>
                    <a:pt x="226" y="133"/>
                    <a:pt x="238" y="138"/>
                  </a:cubicBezTo>
                  <a:cubicBezTo>
                    <a:pt x="250" y="144"/>
                    <a:pt x="252" y="148"/>
                    <a:pt x="237" y="155"/>
                  </a:cubicBezTo>
                  <a:cubicBezTo>
                    <a:pt x="222" y="162"/>
                    <a:pt x="215" y="168"/>
                    <a:pt x="196" y="171"/>
                  </a:cubicBezTo>
                  <a:cubicBezTo>
                    <a:pt x="177" y="175"/>
                    <a:pt x="163" y="181"/>
                    <a:pt x="161" y="179"/>
                  </a:cubicBezTo>
                  <a:close/>
                  <a:moveTo>
                    <a:pt x="199" y="85"/>
                  </a:moveTo>
                  <a:cubicBezTo>
                    <a:pt x="197" y="87"/>
                    <a:pt x="186" y="79"/>
                    <a:pt x="187" y="68"/>
                  </a:cubicBezTo>
                  <a:cubicBezTo>
                    <a:pt x="188" y="57"/>
                    <a:pt x="197" y="38"/>
                    <a:pt x="211" y="34"/>
                  </a:cubicBezTo>
                  <a:cubicBezTo>
                    <a:pt x="225" y="30"/>
                    <a:pt x="230" y="30"/>
                    <a:pt x="230" y="40"/>
                  </a:cubicBezTo>
                  <a:cubicBezTo>
                    <a:pt x="229" y="51"/>
                    <a:pt x="229" y="62"/>
                    <a:pt x="219" y="71"/>
                  </a:cubicBezTo>
                  <a:cubicBezTo>
                    <a:pt x="210" y="80"/>
                    <a:pt x="201" y="84"/>
                    <a:pt x="199" y="85"/>
                  </a:cubicBezTo>
                  <a:close/>
                  <a:moveTo>
                    <a:pt x="79" y="112"/>
                  </a:moveTo>
                  <a:cubicBezTo>
                    <a:pt x="79" y="113"/>
                    <a:pt x="87" y="125"/>
                    <a:pt x="99" y="132"/>
                  </a:cubicBezTo>
                  <a:cubicBezTo>
                    <a:pt x="112" y="138"/>
                    <a:pt x="119" y="135"/>
                    <a:pt x="129" y="127"/>
                  </a:cubicBezTo>
                  <a:cubicBezTo>
                    <a:pt x="139" y="118"/>
                    <a:pt x="130" y="95"/>
                    <a:pt x="132" y="83"/>
                  </a:cubicBezTo>
                  <a:cubicBezTo>
                    <a:pt x="135" y="70"/>
                    <a:pt x="136" y="73"/>
                    <a:pt x="146" y="75"/>
                  </a:cubicBezTo>
                  <a:cubicBezTo>
                    <a:pt x="156" y="76"/>
                    <a:pt x="173" y="108"/>
                    <a:pt x="174" y="116"/>
                  </a:cubicBezTo>
                  <a:cubicBezTo>
                    <a:pt x="174" y="123"/>
                    <a:pt x="170" y="123"/>
                    <a:pt x="128" y="142"/>
                  </a:cubicBezTo>
                  <a:cubicBezTo>
                    <a:pt x="86" y="161"/>
                    <a:pt x="67" y="195"/>
                    <a:pt x="59" y="198"/>
                  </a:cubicBezTo>
                  <a:cubicBezTo>
                    <a:pt x="52" y="202"/>
                    <a:pt x="55" y="191"/>
                    <a:pt x="40" y="188"/>
                  </a:cubicBezTo>
                  <a:cubicBezTo>
                    <a:pt x="26" y="186"/>
                    <a:pt x="23" y="211"/>
                    <a:pt x="16" y="224"/>
                  </a:cubicBezTo>
                  <a:cubicBezTo>
                    <a:pt x="8" y="238"/>
                    <a:pt x="5" y="266"/>
                    <a:pt x="5" y="277"/>
                  </a:cubicBezTo>
                  <a:cubicBezTo>
                    <a:pt x="5" y="288"/>
                    <a:pt x="0" y="301"/>
                    <a:pt x="17" y="314"/>
                  </a:cubicBezTo>
                  <a:cubicBezTo>
                    <a:pt x="33" y="326"/>
                    <a:pt x="49" y="311"/>
                    <a:pt x="53" y="304"/>
                  </a:cubicBezTo>
                  <a:cubicBezTo>
                    <a:pt x="57" y="298"/>
                    <a:pt x="53" y="269"/>
                    <a:pt x="55" y="244"/>
                  </a:cubicBezTo>
                  <a:cubicBezTo>
                    <a:pt x="57" y="220"/>
                    <a:pt x="89" y="204"/>
                    <a:pt x="100" y="197"/>
                  </a:cubicBezTo>
                  <a:cubicBezTo>
                    <a:pt x="115" y="189"/>
                    <a:pt x="129" y="190"/>
                    <a:pt x="131" y="194"/>
                  </a:cubicBezTo>
                  <a:cubicBezTo>
                    <a:pt x="134" y="197"/>
                    <a:pt x="119" y="214"/>
                    <a:pt x="112" y="219"/>
                  </a:cubicBezTo>
                  <a:cubicBezTo>
                    <a:pt x="105" y="224"/>
                    <a:pt x="110" y="244"/>
                    <a:pt x="111" y="251"/>
                  </a:cubicBezTo>
                  <a:cubicBezTo>
                    <a:pt x="113" y="257"/>
                    <a:pt x="111" y="260"/>
                    <a:pt x="125" y="265"/>
                  </a:cubicBezTo>
                  <a:cubicBezTo>
                    <a:pt x="142" y="271"/>
                    <a:pt x="139" y="257"/>
                    <a:pt x="148" y="246"/>
                  </a:cubicBezTo>
                  <a:cubicBezTo>
                    <a:pt x="157" y="236"/>
                    <a:pt x="163" y="224"/>
                    <a:pt x="170" y="224"/>
                  </a:cubicBezTo>
                  <a:cubicBezTo>
                    <a:pt x="177" y="224"/>
                    <a:pt x="180" y="238"/>
                    <a:pt x="184" y="243"/>
                  </a:cubicBezTo>
                  <a:cubicBezTo>
                    <a:pt x="187" y="248"/>
                    <a:pt x="189" y="257"/>
                    <a:pt x="177" y="263"/>
                  </a:cubicBezTo>
                  <a:cubicBezTo>
                    <a:pt x="165" y="269"/>
                    <a:pt x="131" y="281"/>
                    <a:pt x="131" y="281"/>
                  </a:cubicBezTo>
                  <a:cubicBezTo>
                    <a:pt x="131" y="281"/>
                    <a:pt x="112" y="284"/>
                    <a:pt x="101" y="287"/>
                  </a:cubicBezTo>
                  <a:cubicBezTo>
                    <a:pt x="90" y="289"/>
                    <a:pt x="78" y="285"/>
                    <a:pt x="76" y="299"/>
                  </a:cubicBezTo>
                  <a:cubicBezTo>
                    <a:pt x="73" y="312"/>
                    <a:pt x="78" y="305"/>
                    <a:pt x="86" y="319"/>
                  </a:cubicBezTo>
                  <a:cubicBezTo>
                    <a:pt x="94" y="333"/>
                    <a:pt x="119" y="337"/>
                    <a:pt x="134" y="334"/>
                  </a:cubicBezTo>
                  <a:cubicBezTo>
                    <a:pt x="149" y="332"/>
                    <a:pt x="157" y="324"/>
                    <a:pt x="168" y="316"/>
                  </a:cubicBezTo>
                  <a:cubicBezTo>
                    <a:pt x="178" y="308"/>
                    <a:pt x="194" y="298"/>
                    <a:pt x="203" y="298"/>
                  </a:cubicBezTo>
                  <a:cubicBezTo>
                    <a:pt x="211" y="299"/>
                    <a:pt x="211" y="311"/>
                    <a:pt x="211" y="325"/>
                  </a:cubicBezTo>
                  <a:cubicBezTo>
                    <a:pt x="211" y="339"/>
                    <a:pt x="210" y="337"/>
                    <a:pt x="206" y="350"/>
                  </a:cubicBezTo>
                  <a:cubicBezTo>
                    <a:pt x="202" y="364"/>
                    <a:pt x="199" y="368"/>
                    <a:pt x="194" y="372"/>
                  </a:cubicBezTo>
                  <a:cubicBezTo>
                    <a:pt x="189" y="377"/>
                    <a:pt x="184" y="376"/>
                    <a:pt x="165" y="378"/>
                  </a:cubicBezTo>
                  <a:cubicBezTo>
                    <a:pt x="145" y="380"/>
                    <a:pt x="131" y="393"/>
                    <a:pt x="129" y="400"/>
                  </a:cubicBezTo>
                  <a:cubicBezTo>
                    <a:pt x="128" y="407"/>
                    <a:pt x="135" y="405"/>
                    <a:pt x="144" y="410"/>
                  </a:cubicBezTo>
                  <a:cubicBezTo>
                    <a:pt x="152" y="414"/>
                    <a:pt x="163" y="416"/>
                    <a:pt x="185" y="417"/>
                  </a:cubicBezTo>
                  <a:cubicBezTo>
                    <a:pt x="208" y="418"/>
                    <a:pt x="219" y="417"/>
                    <a:pt x="228" y="408"/>
                  </a:cubicBezTo>
                  <a:cubicBezTo>
                    <a:pt x="238" y="400"/>
                    <a:pt x="240" y="373"/>
                    <a:pt x="241" y="354"/>
                  </a:cubicBezTo>
                  <a:cubicBezTo>
                    <a:pt x="243" y="335"/>
                    <a:pt x="239" y="315"/>
                    <a:pt x="239" y="307"/>
                  </a:cubicBezTo>
                  <a:cubicBezTo>
                    <a:pt x="239" y="299"/>
                    <a:pt x="239" y="297"/>
                    <a:pt x="244" y="288"/>
                  </a:cubicBezTo>
                  <a:cubicBezTo>
                    <a:pt x="249" y="280"/>
                    <a:pt x="257" y="284"/>
                    <a:pt x="273" y="283"/>
                  </a:cubicBezTo>
                  <a:cubicBezTo>
                    <a:pt x="288" y="281"/>
                    <a:pt x="286" y="270"/>
                    <a:pt x="287" y="261"/>
                  </a:cubicBezTo>
                  <a:cubicBezTo>
                    <a:pt x="288" y="251"/>
                    <a:pt x="281" y="247"/>
                    <a:pt x="271" y="239"/>
                  </a:cubicBezTo>
                  <a:cubicBezTo>
                    <a:pt x="260" y="231"/>
                    <a:pt x="250" y="236"/>
                    <a:pt x="240" y="236"/>
                  </a:cubicBezTo>
                  <a:cubicBezTo>
                    <a:pt x="230" y="236"/>
                    <a:pt x="233" y="234"/>
                    <a:pt x="233" y="226"/>
                  </a:cubicBezTo>
                  <a:cubicBezTo>
                    <a:pt x="233" y="219"/>
                    <a:pt x="238" y="215"/>
                    <a:pt x="239" y="207"/>
                  </a:cubicBezTo>
                  <a:cubicBezTo>
                    <a:pt x="241" y="200"/>
                    <a:pt x="251" y="192"/>
                    <a:pt x="261" y="181"/>
                  </a:cubicBezTo>
                  <a:cubicBezTo>
                    <a:pt x="270" y="170"/>
                    <a:pt x="276" y="175"/>
                    <a:pt x="289" y="176"/>
                  </a:cubicBezTo>
                  <a:cubicBezTo>
                    <a:pt x="302" y="176"/>
                    <a:pt x="307" y="176"/>
                    <a:pt x="316" y="167"/>
                  </a:cubicBezTo>
                  <a:cubicBezTo>
                    <a:pt x="325" y="157"/>
                    <a:pt x="318" y="138"/>
                    <a:pt x="316" y="132"/>
                  </a:cubicBezTo>
                  <a:cubicBezTo>
                    <a:pt x="315" y="125"/>
                    <a:pt x="309" y="129"/>
                    <a:pt x="297" y="119"/>
                  </a:cubicBezTo>
                  <a:cubicBezTo>
                    <a:pt x="285" y="108"/>
                    <a:pt x="274" y="111"/>
                    <a:pt x="261" y="111"/>
                  </a:cubicBezTo>
                  <a:cubicBezTo>
                    <a:pt x="248" y="111"/>
                    <a:pt x="244" y="100"/>
                    <a:pt x="251" y="93"/>
                  </a:cubicBezTo>
                  <a:cubicBezTo>
                    <a:pt x="259" y="87"/>
                    <a:pt x="265" y="77"/>
                    <a:pt x="272" y="66"/>
                  </a:cubicBezTo>
                  <a:cubicBezTo>
                    <a:pt x="278" y="55"/>
                    <a:pt x="276" y="45"/>
                    <a:pt x="276" y="34"/>
                  </a:cubicBezTo>
                  <a:cubicBezTo>
                    <a:pt x="275" y="24"/>
                    <a:pt x="264" y="20"/>
                    <a:pt x="252" y="10"/>
                  </a:cubicBezTo>
                  <a:cubicBezTo>
                    <a:pt x="240" y="0"/>
                    <a:pt x="225" y="8"/>
                    <a:pt x="217" y="11"/>
                  </a:cubicBezTo>
                  <a:cubicBezTo>
                    <a:pt x="208" y="14"/>
                    <a:pt x="196" y="20"/>
                    <a:pt x="187" y="25"/>
                  </a:cubicBezTo>
                  <a:cubicBezTo>
                    <a:pt x="178" y="30"/>
                    <a:pt x="172" y="30"/>
                    <a:pt x="164" y="29"/>
                  </a:cubicBezTo>
                  <a:cubicBezTo>
                    <a:pt x="157" y="29"/>
                    <a:pt x="150" y="29"/>
                    <a:pt x="147" y="29"/>
                  </a:cubicBezTo>
                  <a:cubicBezTo>
                    <a:pt x="144" y="29"/>
                    <a:pt x="141" y="35"/>
                    <a:pt x="136" y="43"/>
                  </a:cubicBezTo>
                  <a:cubicBezTo>
                    <a:pt x="131" y="51"/>
                    <a:pt x="126" y="47"/>
                    <a:pt x="124" y="43"/>
                  </a:cubicBezTo>
                  <a:cubicBezTo>
                    <a:pt x="121" y="38"/>
                    <a:pt x="116" y="28"/>
                    <a:pt x="113" y="21"/>
                  </a:cubicBezTo>
                  <a:cubicBezTo>
                    <a:pt x="110" y="15"/>
                    <a:pt x="97" y="18"/>
                    <a:pt x="91" y="21"/>
                  </a:cubicBezTo>
                  <a:cubicBezTo>
                    <a:pt x="84" y="25"/>
                    <a:pt x="80" y="41"/>
                    <a:pt x="78" y="52"/>
                  </a:cubicBezTo>
                  <a:cubicBezTo>
                    <a:pt x="75" y="63"/>
                    <a:pt x="78" y="111"/>
                    <a:pt x="79" y="11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1049448" name="îşḷïḍe"/>
            <p:cNvSpPr/>
            <p:nvPr/>
          </p:nvSpPr>
          <p:spPr bwMode="auto">
            <a:xfrm>
              <a:off x="9461753" y="4939303"/>
              <a:ext cx="388938" cy="534988"/>
            </a:xfrm>
            <a:custGeom>
              <a:avLst/>
              <a:gdLst>
                <a:gd name="T0" fmla="*/ 4 w 211"/>
                <a:gd name="T1" fmla="*/ 137 h 290"/>
                <a:gd name="T2" fmla="*/ 41 w 211"/>
                <a:gd name="T3" fmla="*/ 117 h 290"/>
                <a:gd name="T4" fmla="*/ 75 w 211"/>
                <a:gd name="T5" fmla="*/ 83 h 290"/>
                <a:gd name="T6" fmla="*/ 82 w 211"/>
                <a:gd name="T7" fmla="*/ 29 h 290"/>
                <a:gd name="T8" fmla="*/ 94 w 211"/>
                <a:gd name="T9" fmla="*/ 6 h 290"/>
                <a:gd name="T10" fmla="*/ 126 w 211"/>
                <a:gd name="T11" fmla="*/ 27 h 290"/>
                <a:gd name="T12" fmla="*/ 145 w 211"/>
                <a:gd name="T13" fmla="*/ 65 h 290"/>
                <a:gd name="T14" fmla="*/ 170 w 211"/>
                <a:gd name="T15" fmla="*/ 93 h 290"/>
                <a:gd name="T16" fmla="*/ 164 w 211"/>
                <a:gd name="T17" fmla="*/ 119 h 290"/>
                <a:gd name="T18" fmla="*/ 127 w 211"/>
                <a:gd name="T19" fmla="*/ 151 h 290"/>
                <a:gd name="T20" fmla="*/ 123 w 211"/>
                <a:gd name="T21" fmla="*/ 165 h 290"/>
                <a:gd name="T22" fmla="*/ 181 w 211"/>
                <a:gd name="T23" fmla="*/ 187 h 290"/>
                <a:gd name="T24" fmla="*/ 210 w 211"/>
                <a:gd name="T25" fmla="*/ 231 h 290"/>
                <a:gd name="T26" fmla="*/ 202 w 211"/>
                <a:gd name="T27" fmla="*/ 281 h 290"/>
                <a:gd name="T28" fmla="*/ 185 w 211"/>
                <a:gd name="T29" fmla="*/ 289 h 290"/>
                <a:gd name="T30" fmla="*/ 162 w 211"/>
                <a:gd name="T31" fmla="*/ 267 h 290"/>
                <a:gd name="T32" fmla="*/ 158 w 211"/>
                <a:gd name="T33" fmla="*/ 217 h 290"/>
                <a:gd name="T34" fmla="*/ 134 w 211"/>
                <a:gd name="T35" fmla="*/ 188 h 290"/>
                <a:gd name="T36" fmla="*/ 117 w 211"/>
                <a:gd name="T37" fmla="*/ 183 h 290"/>
                <a:gd name="T38" fmla="*/ 105 w 211"/>
                <a:gd name="T39" fmla="*/ 191 h 290"/>
                <a:gd name="T40" fmla="*/ 95 w 211"/>
                <a:gd name="T41" fmla="*/ 225 h 290"/>
                <a:gd name="T42" fmla="*/ 92 w 211"/>
                <a:gd name="T43" fmla="*/ 251 h 290"/>
                <a:gd name="T44" fmla="*/ 58 w 211"/>
                <a:gd name="T45" fmla="*/ 261 h 290"/>
                <a:gd name="T46" fmla="*/ 37 w 211"/>
                <a:gd name="T47" fmla="*/ 235 h 290"/>
                <a:gd name="T48" fmla="*/ 39 w 211"/>
                <a:gd name="T49" fmla="*/ 205 h 290"/>
                <a:gd name="T50" fmla="*/ 45 w 211"/>
                <a:gd name="T51" fmla="*/ 177 h 290"/>
                <a:gd name="T52" fmla="*/ 18 w 211"/>
                <a:gd name="T53" fmla="*/ 155 h 290"/>
                <a:gd name="T54" fmla="*/ 0 w 211"/>
                <a:gd name="T55" fmla="*/ 147 h 290"/>
                <a:gd name="T56" fmla="*/ 4 w 211"/>
                <a:gd name="T57" fmla="*/ 137 h 2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211" h="290">
                  <a:moveTo>
                    <a:pt x="4" y="137"/>
                  </a:moveTo>
                  <a:cubicBezTo>
                    <a:pt x="4" y="137"/>
                    <a:pt x="32" y="120"/>
                    <a:pt x="41" y="117"/>
                  </a:cubicBezTo>
                  <a:cubicBezTo>
                    <a:pt x="50" y="115"/>
                    <a:pt x="69" y="103"/>
                    <a:pt x="75" y="83"/>
                  </a:cubicBezTo>
                  <a:cubicBezTo>
                    <a:pt x="81" y="63"/>
                    <a:pt x="82" y="39"/>
                    <a:pt x="82" y="29"/>
                  </a:cubicBezTo>
                  <a:cubicBezTo>
                    <a:pt x="82" y="19"/>
                    <a:pt x="76" y="0"/>
                    <a:pt x="94" y="6"/>
                  </a:cubicBezTo>
                  <a:cubicBezTo>
                    <a:pt x="112" y="12"/>
                    <a:pt x="124" y="15"/>
                    <a:pt x="126" y="27"/>
                  </a:cubicBezTo>
                  <a:cubicBezTo>
                    <a:pt x="129" y="39"/>
                    <a:pt x="131" y="55"/>
                    <a:pt x="145" y="65"/>
                  </a:cubicBezTo>
                  <a:cubicBezTo>
                    <a:pt x="159" y="75"/>
                    <a:pt x="168" y="83"/>
                    <a:pt x="170" y="93"/>
                  </a:cubicBezTo>
                  <a:cubicBezTo>
                    <a:pt x="172" y="103"/>
                    <a:pt x="172" y="114"/>
                    <a:pt x="164" y="119"/>
                  </a:cubicBezTo>
                  <a:cubicBezTo>
                    <a:pt x="157" y="123"/>
                    <a:pt x="132" y="147"/>
                    <a:pt x="127" y="151"/>
                  </a:cubicBezTo>
                  <a:cubicBezTo>
                    <a:pt x="121" y="154"/>
                    <a:pt x="119" y="165"/>
                    <a:pt x="123" y="165"/>
                  </a:cubicBezTo>
                  <a:cubicBezTo>
                    <a:pt x="127" y="165"/>
                    <a:pt x="163" y="172"/>
                    <a:pt x="181" y="187"/>
                  </a:cubicBezTo>
                  <a:cubicBezTo>
                    <a:pt x="198" y="202"/>
                    <a:pt x="209" y="216"/>
                    <a:pt x="210" y="231"/>
                  </a:cubicBezTo>
                  <a:cubicBezTo>
                    <a:pt x="211" y="247"/>
                    <a:pt x="210" y="273"/>
                    <a:pt x="202" y="281"/>
                  </a:cubicBezTo>
                  <a:cubicBezTo>
                    <a:pt x="194" y="288"/>
                    <a:pt x="192" y="290"/>
                    <a:pt x="185" y="289"/>
                  </a:cubicBezTo>
                  <a:cubicBezTo>
                    <a:pt x="178" y="288"/>
                    <a:pt x="164" y="279"/>
                    <a:pt x="162" y="267"/>
                  </a:cubicBezTo>
                  <a:cubicBezTo>
                    <a:pt x="160" y="255"/>
                    <a:pt x="164" y="239"/>
                    <a:pt x="158" y="217"/>
                  </a:cubicBezTo>
                  <a:cubicBezTo>
                    <a:pt x="153" y="196"/>
                    <a:pt x="139" y="191"/>
                    <a:pt x="134" y="188"/>
                  </a:cubicBezTo>
                  <a:cubicBezTo>
                    <a:pt x="129" y="186"/>
                    <a:pt x="117" y="183"/>
                    <a:pt x="117" y="183"/>
                  </a:cubicBezTo>
                  <a:cubicBezTo>
                    <a:pt x="117" y="183"/>
                    <a:pt x="108" y="182"/>
                    <a:pt x="105" y="191"/>
                  </a:cubicBezTo>
                  <a:cubicBezTo>
                    <a:pt x="102" y="199"/>
                    <a:pt x="96" y="215"/>
                    <a:pt x="95" y="225"/>
                  </a:cubicBezTo>
                  <a:cubicBezTo>
                    <a:pt x="94" y="235"/>
                    <a:pt x="96" y="247"/>
                    <a:pt x="92" y="251"/>
                  </a:cubicBezTo>
                  <a:cubicBezTo>
                    <a:pt x="87" y="256"/>
                    <a:pt x="77" y="267"/>
                    <a:pt x="58" y="261"/>
                  </a:cubicBezTo>
                  <a:cubicBezTo>
                    <a:pt x="39" y="255"/>
                    <a:pt x="41" y="238"/>
                    <a:pt x="37" y="235"/>
                  </a:cubicBezTo>
                  <a:cubicBezTo>
                    <a:pt x="33" y="231"/>
                    <a:pt x="39" y="211"/>
                    <a:pt x="39" y="205"/>
                  </a:cubicBezTo>
                  <a:cubicBezTo>
                    <a:pt x="39" y="200"/>
                    <a:pt x="47" y="182"/>
                    <a:pt x="45" y="177"/>
                  </a:cubicBezTo>
                  <a:cubicBezTo>
                    <a:pt x="44" y="173"/>
                    <a:pt x="25" y="153"/>
                    <a:pt x="18" y="155"/>
                  </a:cubicBezTo>
                  <a:cubicBezTo>
                    <a:pt x="11" y="157"/>
                    <a:pt x="1" y="155"/>
                    <a:pt x="0" y="147"/>
                  </a:cubicBezTo>
                  <a:cubicBezTo>
                    <a:pt x="0" y="140"/>
                    <a:pt x="4" y="137"/>
                    <a:pt x="4" y="13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1049449" name="îṧļíďe"/>
            <p:cNvSpPr/>
            <p:nvPr/>
          </p:nvSpPr>
          <p:spPr bwMode="auto">
            <a:xfrm>
              <a:off x="8326691" y="4823415"/>
              <a:ext cx="746125" cy="695325"/>
            </a:xfrm>
            <a:custGeom>
              <a:avLst/>
              <a:gdLst>
                <a:gd name="T0" fmla="*/ 159 w 405"/>
                <a:gd name="T1" fmla="*/ 229 h 377"/>
                <a:gd name="T2" fmla="*/ 218 w 405"/>
                <a:gd name="T3" fmla="*/ 183 h 377"/>
                <a:gd name="T4" fmla="*/ 234 w 405"/>
                <a:gd name="T5" fmla="*/ 247 h 377"/>
                <a:gd name="T6" fmla="*/ 260 w 405"/>
                <a:gd name="T7" fmla="*/ 269 h 377"/>
                <a:gd name="T8" fmla="*/ 209 w 405"/>
                <a:gd name="T9" fmla="*/ 247 h 377"/>
                <a:gd name="T10" fmla="*/ 108 w 405"/>
                <a:gd name="T11" fmla="*/ 215 h 377"/>
                <a:gd name="T12" fmla="*/ 73 w 405"/>
                <a:gd name="T13" fmla="*/ 283 h 377"/>
                <a:gd name="T14" fmla="*/ 43 w 405"/>
                <a:gd name="T15" fmla="*/ 350 h 377"/>
                <a:gd name="T16" fmla="*/ 91 w 405"/>
                <a:gd name="T17" fmla="*/ 347 h 377"/>
                <a:gd name="T18" fmla="*/ 118 w 405"/>
                <a:gd name="T19" fmla="*/ 372 h 377"/>
                <a:gd name="T20" fmla="*/ 136 w 405"/>
                <a:gd name="T21" fmla="*/ 328 h 377"/>
                <a:gd name="T22" fmla="*/ 147 w 405"/>
                <a:gd name="T23" fmla="*/ 265 h 377"/>
                <a:gd name="T24" fmla="*/ 242 w 405"/>
                <a:gd name="T25" fmla="*/ 306 h 377"/>
                <a:gd name="T26" fmla="*/ 186 w 405"/>
                <a:gd name="T27" fmla="*/ 337 h 377"/>
                <a:gd name="T28" fmla="*/ 172 w 405"/>
                <a:gd name="T29" fmla="*/ 367 h 377"/>
                <a:gd name="T30" fmla="*/ 272 w 405"/>
                <a:gd name="T31" fmla="*/ 328 h 377"/>
                <a:gd name="T32" fmla="*/ 352 w 405"/>
                <a:gd name="T33" fmla="*/ 373 h 377"/>
                <a:gd name="T34" fmla="*/ 389 w 405"/>
                <a:gd name="T35" fmla="*/ 333 h 377"/>
                <a:gd name="T36" fmla="*/ 292 w 405"/>
                <a:gd name="T37" fmla="*/ 299 h 377"/>
                <a:gd name="T38" fmla="*/ 291 w 405"/>
                <a:gd name="T39" fmla="*/ 217 h 377"/>
                <a:gd name="T40" fmla="*/ 261 w 405"/>
                <a:gd name="T41" fmla="*/ 173 h 377"/>
                <a:gd name="T42" fmla="*/ 297 w 405"/>
                <a:gd name="T43" fmla="*/ 107 h 377"/>
                <a:gd name="T44" fmla="*/ 283 w 405"/>
                <a:gd name="T45" fmla="*/ 43 h 377"/>
                <a:gd name="T46" fmla="*/ 241 w 405"/>
                <a:gd name="T47" fmla="*/ 1 h 377"/>
                <a:gd name="T48" fmla="*/ 241 w 405"/>
                <a:gd name="T49" fmla="*/ 35 h 377"/>
                <a:gd name="T50" fmla="*/ 245 w 405"/>
                <a:gd name="T51" fmla="*/ 97 h 377"/>
                <a:gd name="T52" fmla="*/ 194 w 405"/>
                <a:gd name="T53" fmla="*/ 129 h 377"/>
                <a:gd name="T54" fmla="*/ 161 w 405"/>
                <a:gd name="T55" fmla="*/ 121 h 377"/>
                <a:gd name="T56" fmla="*/ 150 w 405"/>
                <a:gd name="T57" fmla="*/ 33 h 377"/>
                <a:gd name="T58" fmla="*/ 122 w 405"/>
                <a:gd name="T59" fmla="*/ 56 h 377"/>
                <a:gd name="T60" fmla="*/ 121 w 405"/>
                <a:gd name="T61" fmla="*/ 133 h 377"/>
                <a:gd name="T62" fmla="*/ 30 w 405"/>
                <a:gd name="T63" fmla="*/ 180 h 377"/>
                <a:gd name="T64" fmla="*/ 22 w 405"/>
                <a:gd name="T65" fmla="*/ 219 h 3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05" h="377">
                  <a:moveTo>
                    <a:pt x="174" y="243"/>
                  </a:moveTo>
                  <a:cubicBezTo>
                    <a:pt x="172" y="243"/>
                    <a:pt x="154" y="236"/>
                    <a:pt x="159" y="229"/>
                  </a:cubicBezTo>
                  <a:cubicBezTo>
                    <a:pt x="163" y="221"/>
                    <a:pt x="190" y="187"/>
                    <a:pt x="199" y="183"/>
                  </a:cubicBezTo>
                  <a:cubicBezTo>
                    <a:pt x="208" y="178"/>
                    <a:pt x="215" y="172"/>
                    <a:pt x="218" y="183"/>
                  </a:cubicBezTo>
                  <a:cubicBezTo>
                    <a:pt x="221" y="193"/>
                    <a:pt x="215" y="230"/>
                    <a:pt x="220" y="236"/>
                  </a:cubicBezTo>
                  <a:cubicBezTo>
                    <a:pt x="225" y="241"/>
                    <a:pt x="227" y="248"/>
                    <a:pt x="234" y="247"/>
                  </a:cubicBezTo>
                  <a:cubicBezTo>
                    <a:pt x="241" y="246"/>
                    <a:pt x="256" y="238"/>
                    <a:pt x="260" y="245"/>
                  </a:cubicBezTo>
                  <a:cubicBezTo>
                    <a:pt x="263" y="252"/>
                    <a:pt x="268" y="259"/>
                    <a:pt x="260" y="269"/>
                  </a:cubicBezTo>
                  <a:cubicBezTo>
                    <a:pt x="253" y="278"/>
                    <a:pt x="247" y="281"/>
                    <a:pt x="239" y="274"/>
                  </a:cubicBezTo>
                  <a:cubicBezTo>
                    <a:pt x="230" y="267"/>
                    <a:pt x="221" y="250"/>
                    <a:pt x="209" y="247"/>
                  </a:cubicBezTo>
                  <a:cubicBezTo>
                    <a:pt x="198" y="245"/>
                    <a:pt x="176" y="243"/>
                    <a:pt x="174" y="243"/>
                  </a:cubicBezTo>
                  <a:close/>
                  <a:moveTo>
                    <a:pt x="108" y="215"/>
                  </a:moveTo>
                  <a:cubicBezTo>
                    <a:pt x="109" y="216"/>
                    <a:pt x="102" y="238"/>
                    <a:pt x="93" y="254"/>
                  </a:cubicBezTo>
                  <a:cubicBezTo>
                    <a:pt x="84" y="271"/>
                    <a:pt x="81" y="271"/>
                    <a:pt x="73" y="283"/>
                  </a:cubicBezTo>
                  <a:cubicBezTo>
                    <a:pt x="65" y="295"/>
                    <a:pt x="45" y="309"/>
                    <a:pt x="44" y="316"/>
                  </a:cubicBezTo>
                  <a:cubicBezTo>
                    <a:pt x="43" y="323"/>
                    <a:pt x="41" y="343"/>
                    <a:pt x="43" y="350"/>
                  </a:cubicBezTo>
                  <a:cubicBezTo>
                    <a:pt x="44" y="357"/>
                    <a:pt x="61" y="358"/>
                    <a:pt x="69" y="357"/>
                  </a:cubicBezTo>
                  <a:cubicBezTo>
                    <a:pt x="77" y="355"/>
                    <a:pt x="84" y="347"/>
                    <a:pt x="91" y="347"/>
                  </a:cubicBezTo>
                  <a:cubicBezTo>
                    <a:pt x="98" y="347"/>
                    <a:pt x="96" y="355"/>
                    <a:pt x="97" y="361"/>
                  </a:cubicBezTo>
                  <a:cubicBezTo>
                    <a:pt x="97" y="366"/>
                    <a:pt x="101" y="368"/>
                    <a:pt x="118" y="372"/>
                  </a:cubicBezTo>
                  <a:cubicBezTo>
                    <a:pt x="136" y="377"/>
                    <a:pt x="140" y="364"/>
                    <a:pt x="144" y="352"/>
                  </a:cubicBezTo>
                  <a:cubicBezTo>
                    <a:pt x="148" y="339"/>
                    <a:pt x="140" y="339"/>
                    <a:pt x="136" y="328"/>
                  </a:cubicBezTo>
                  <a:cubicBezTo>
                    <a:pt x="133" y="316"/>
                    <a:pt x="136" y="302"/>
                    <a:pt x="136" y="292"/>
                  </a:cubicBezTo>
                  <a:cubicBezTo>
                    <a:pt x="135" y="281"/>
                    <a:pt x="141" y="272"/>
                    <a:pt x="147" y="265"/>
                  </a:cubicBezTo>
                  <a:cubicBezTo>
                    <a:pt x="153" y="258"/>
                    <a:pt x="160" y="248"/>
                    <a:pt x="186" y="258"/>
                  </a:cubicBezTo>
                  <a:cubicBezTo>
                    <a:pt x="212" y="267"/>
                    <a:pt x="239" y="298"/>
                    <a:pt x="242" y="306"/>
                  </a:cubicBezTo>
                  <a:cubicBezTo>
                    <a:pt x="245" y="313"/>
                    <a:pt x="232" y="318"/>
                    <a:pt x="227" y="325"/>
                  </a:cubicBezTo>
                  <a:cubicBezTo>
                    <a:pt x="222" y="332"/>
                    <a:pt x="196" y="338"/>
                    <a:pt x="186" y="337"/>
                  </a:cubicBezTo>
                  <a:cubicBezTo>
                    <a:pt x="175" y="336"/>
                    <a:pt x="172" y="344"/>
                    <a:pt x="167" y="348"/>
                  </a:cubicBezTo>
                  <a:cubicBezTo>
                    <a:pt x="162" y="351"/>
                    <a:pt x="167" y="361"/>
                    <a:pt x="172" y="367"/>
                  </a:cubicBezTo>
                  <a:cubicBezTo>
                    <a:pt x="177" y="373"/>
                    <a:pt x="211" y="373"/>
                    <a:pt x="224" y="364"/>
                  </a:cubicBezTo>
                  <a:cubicBezTo>
                    <a:pt x="237" y="354"/>
                    <a:pt x="272" y="328"/>
                    <a:pt x="272" y="328"/>
                  </a:cubicBezTo>
                  <a:cubicBezTo>
                    <a:pt x="272" y="328"/>
                    <a:pt x="285" y="340"/>
                    <a:pt x="293" y="348"/>
                  </a:cubicBezTo>
                  <a:cubicBezTo>
                    <a:pt x="301" y="357"/>
                    <a:pt x="319" y="369"/>
                    <a:pt x="352" y="373"/>
                  </a:cubicBezTo>
                  <a:cubicBezTo>
                    <a:pt x="385" y="377"/>
                    <a:pt x="398" y="356"/>
                    <a:pt x="401" y="352"/>
                  </a:cubicBezTo>
                  <a:cubicBezTo>
                    <a:pt x="405" y="348"/>
                    <a:pt x="399" y="342"/>
                    <a:pt x="389" y="333"/>
                  </a:cubicBezTo>
                  <a:cubicBezTo>
                    <a:pt x="379" y="323"/>
                    <a:pt x="353" y="312"/>
                    <a:pt x="337" y="313"/>
                  </a:cubicBezTo>
                  <a:cubicBezTo>
                    <a:pt x="321" y="315"/>
                    <a:pt x="303" y="305"/>
                    <a:pt x="292" y="299"/>
                  </a:cubicBezTo>
                  <a:cubicBezTo>
                    <a:pt x="282" y="293"/>
                    <a:pt x="287" y="293"/>
                    <a:pt x="291" y="277"/>
                  </a:cubicBezTo>
                  <a:cubicBezTo>
                    <a:pt x="295" y="261"/>
                    <a:pt x="294" y="231"/>
                    <a:pt x="291" y="217"/>
                  </a:cubicBezTo>
                  <a:cubicBezTo>
                    <a:pt x="287" y="204"/>
                    <a:pt x="269" y="200"/>
                    <a:pt x="264" y="192"/>
                  </a:cubicBezTo>
                  <a:cubicBezTo>
                    <a:pt x="258" y="184"/>
                    <a:pt x="251" y="180"/>
                    <a:pt x="261" y="173"/>
                  </a:cubicBezTo>
                  <a:cubicBezTo>
                    <a:pt x="272" y="166"/>
                    <a:pt x="282" y="146"/>
                    <a:pt x="290" y="135"/>
                  </a:cubicBezTo>
                  <a:cubicBezTo>
                    <a:pt x="298" y="123"/>
                    <a:pt x="305" y="117"/>
                    <a:pt x="297" y="107"/>
                  </a:cubicBezTo>
                  <a:cubicBezTo>
                    <a:pt x="289" y="97"/>
                    <a:pt x="283" y="94"/>
                    <a:pt x="281" y="86"/>
                  </a:cubicBezTo>
                  <a:cubicBezTo>
                    <a:pt x="280" y="79"/>
                    <a:pt x="283" y="57"/>
                    <a:pt x="283" y="43"/>
                  </a:cubicBezTo>
                  <a:cubicBezTo>
                    <a:pt x="283" y="29"/>
                    <a:pt x="285" y="30"/>
                    <a:pt x="272" y="15"/>
                  </a:cubicBezTo>
                  <a:cubicBezTo>
                    <a:pt x="260" y="0"/>
                    <a:pt x="248" y="2"/>
                    <a:pt x="241" y="1"/>
                  </a:cubicBezTo>
                  <a:cubicBezTo>
                    <a:pt x="235" y="0"/>
                    <a:pt x="231" y="21"/>
                    <a:pt x="233" y="26"/>
                  </a:cubicBezTo>
                  <a:cubicBezTo>
                    <a:pt x="235" y="31"/>
                    <a:pt x="239" y="31"/>
                    <a:pt x="241" y="35"/>
                  </a:cubicBezTo>
                  <a:cubicBezTo>
                    <a:pt x="242" y="39"/>
                    <a:pt x="239" y="36"/>
                    <a:pt x="243" y="53"/>
                  </a:cubicBezTo>
                  <a:cubicBezTo>
                    <a:pt x="247" y="70"/>
                    <a:pt x="245" y="91"/>
                    <a:pt x="245" y="97"/>
                  </a:cubicBezTo>
                  <a:cubicBezTo>
                    <a:pt x="245" y="103"/>
                    <a:pt x="240" y="107"/>
                    <a:pt x="234" y="114"/>
                  </a:cubicBezTo>
                  <a:cubicBezTo>
                    <a:pt x="228" y="121"/>
                    <a:pt x="206" y="123"/>
                    <a:pt x="194" y="129"/>
                  </a:cubicBezTo>
                  <a:cubicBezTo>
                    <a:pt x="181" y="135"/>
                    <a:pt x="179" y="146"/>
                    <a:pt x="170" y="149"/>
                  </a:cubicBezTo>
                  <a:cubicBezTo>
                    <a:pt x="161" y="151"/>
                    <a:pt x="157" y="138"/>
                    <a:pt x="161" y="121"/>
                  </a:cubicBezTo>
                  <a:cubicBezTo>
                    <a:pt x="164" y="109"/>
                    <a:pt x="168" y="79"/>
                    <a:pt x="168" y="64"/>
                  </a:cubicBezTo>
                  <a:cubicBezTo>
                    <a:pt x="167" y="54"/>
                    <a:pt x="158" y="40"/>
                    <a:pt x="150" y="33"/>
                  </a:cubicBezTo>
                  <a:cubicBezTo>
                    <a:pt x="142" y="25"/>
                    <a:pt x="136" y="30"/>
                    <a:pt x="131" y="32"/>
                  </a:cubicBezTo>
                  <a:cubicBezTo>
                    <a:pt x="126" y="35"/>
                    <a:pt x="120" y="43"/>
                    <a:pt x="122" y="56"/>
                  </a:cubicBezTo>
                  <a:cubicBezTo>
                    <a:pt x="124" y="70"/>
                    <a:pt x="127" y="72"/>
                    <a:pt x="127" y="82"/>
                  </a:cubicBezTo>
                  <a:cubicBezTo>
                    <a:pt x="128" y="92"/>
                    <a:pt x="124" y="113"/>
                    <a:pt x="121" y="133"/>
                  </a:cubicBezTo>
                  <a:cubicBezTo>
                    <a:pt x="117" y="152"/>
                    <a:pt x="104" y="151"/>
                    <a:pt x="90" y="158"/>
                  </a:cubicBezTo>
                  <a:cubicBezTo>
                    <a:pt x="76" y="165"/>
                    <a:pt x="48" y="175"/>
                    <a:pt x="30" y="180"/>
                  </a:cubicBezTo>
                  <a:cubicBezTo>
                    <a:pt x="13" y="184"/>
                    <a:pt x="0" y="191"/>
                    <a:pt x="0" y="200"/>
                  </a:cubicBezTo>
                  <a:cubicBezTo>
                    <a:pt x="0" y="209"/>
                    <a:pt x="9" y="210"/>
                    <a:pt x="22" y="219"/>
                  </a:cubicBezTo>
                  <a:cubicBezTo>
                    <a:pt x="35" y="228"/>
                    <a:pt x="107" y="215"/>
                    <a:pt x="108" y="21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1049450" name="íŝļïḓè"/>
            <p:cNvSpPr/>
            <p:nvPr/>
          </p:nvSpPr>
          <p:spPr bwMode="auto">
            <a:xfrm>
              <a:off x="6220078" y="4756740"/>
              <a:ext cx="627063" cy="793750"/>
            </a:xfrm>
            <a:custGeom>
              <a:avLst/>
              <a:gdLst>
                <a:gd name="T0" fmla="*/ 194 w 340"/>
                <a:gd name="T1" fmla="*/ 225 h 430"/>
                <a:gd name="T2" fmla="*/ 189 w 340"/>
                <a:gd name="T3" fmla="*/ 204 h 430"/>
                <a:gd name="T4" fmla="*/ 222 w 340"/>
                <a:gd name="T5" fmla="*/ 196 h 430"/>
                <a:gd name="T6" fmla="*/ 234 w 340"/>
                <a:gd name="T7" fmla="*/ 215 h 430"/>
                <a:gd name="T8" fmla="*/ 217 w 340"/>
                <a:gd name="T9" fmla="*/ 231 h 430"/>
                <a:gd name="T10" fmla="*/ 194 w 340"/>
                <a:gd name="T11" fmla="*/ 225 h 430"/>
                <a:gd name="T12" fmla="*/ 33 w 340"/>
                <a:gd name="T13" fmla="*/ 228 h 430"/>
                <a:gd name="T14" fmla="*/ 67 w 340"/>
                <a:gd name="T15" fmla="*/ 224 h 430"/>
                <a:gd name="T16" fmla="*/ 105 w 340"/>
                <a:gd name="T17" fmla="*/ 194 h 430"/>
                <a:gd name="T18" fmla="*/ 164 w 340"/>
                <a:gd name="T19" fmla="*/ 151 h 430"/>
                <a:gd name="T20" fmla="*/ 170 w 340"/>
                <a:gd name="T21" fmla="*/ 163 h 430"/>
                <a:gd name="T22" fmla="*/ 144 w 340"/>
                <a:gd name="T23" fmla="*/ 203 h 430"/>
                <a:gd name="T24" fmla="*/ 142 w 340"/>
                <a:gd name="T25" fmla="*/ 250 h 430"/>
                <a:gd name="T26" fmla="*/ 166 w 340"/>
                <a:gd name="T27" fmla="*/ 278 h 430"/>
                <a:gd name="T28" fmla="*/ 170 w 340"/>
                <a:gd name="T29" fmla="*/ 300 h 430"/>
                <a:gd name="T30" fmla="*/ 132 w 340"/>
                <a:gd name="T31" fmla="*/ 347 h 430"/>
                <a:gd name="T32" fmla="*/ 133 w 340"/>
                <a:gd name="T33" fmla="*/ 397 h 430"/>
                <a:gd name="T34" fmla="*/ 181 w 340"/>
                <a:gd name="T35" fmla="*/ 410 h 430"/>
                <a:gd name="T36" fmla="*/ 184 w 340"/>
                <a:gd name="T37" fmla="*/ 375 h 430"/>
                <a:gd name="T38" fmla="*/ 198 w 340"/>
                <a:gd name="T39" fmla="*/ 374 h 430"/>
                <a:gd name="T40" fmla="*/ 215 w 340"/>
                <a:gd name="T41" fmla="*/ 416 h 430"/>
                <a:gd name="T42" fmla="*/ 240 w 340"/>
                <a:gd name="T43" fmla="*/ 406 h 430"/>
                <a:gd name="T44" fmla="*/ 230 w 340"/>
                <a:gd name="T45" fmla="*/ 341 h 430"/>
                <a:gd name="T46" fmla="*/ 250 w 340"/>
                <a:gd name="T47" fmla="*/ 322 h 430"/>
                <a:gd name="T48" fmla="*/ 268 w 340"/>
                <a:gd name="T49" fmla="*/ 373 h 430"/>
                <a:gd name="T50" fmla="*/ 316 w 340"/>
                <a:gd name="T51" fmla="*/ 385 h 430"/>
                <a:gd name="T52" fmla="*/ 295 w 340"/>
                <a:gd name="T53" fmla="*/ 310 h 430"/>
                <a:gd name="T54" fmla="*/ 263 w 340"/>
                <a:gd name="T55" fmla="*/ 288 h 430"/>
                <a:gd name="T56" fmla="*/ 264 w 340"/>
                <a:gd name="T57" fmla="*/ 259 h 430"/>
                <a:gd name="T58" fmla="*/ 265 w 340"/>
                <a:gd name="T59" fmla="*/ 233 h 430"/>
                <a:gd name="T60" fmla="*/ 300 w 340"/>
                <a:gd name="T61" fmla="*/ 199 h 430"/>
                <a:gd name="T62" fmla="*/ 275 w 340"/>
                <a:gd name="T63" fmla="*/ 161 h 430"/>
                <a:gd name="T64" fmla="*/ 217 w 340"/>
                <a:gd name="T65" fmla="*/ 159 h 430"/>
                <a:gd name="T66" fmla="*/ 270 w 340"/>
                <a:gd name="T67" fmla="*/ 132 h 430"/>
                <a:gd name="T68" fmla="*/ 316 w 340"/>
                <a:gd name="T69" fmla="*/ 126 h 430"/>
                <a:gd name="T70" fmla="*/ 332 w 340"/>
                <a:gd name="T71" fmla="*/ 110 h 430"/>
                <a:gd name="T72" fmla="*/ 321 w 340"/>
                <a:gd name="T73" fmla="*/ 75 h 430"/>
                <a:gd name="T74" fmla="*/ 256 w 340"/>
                <a:gd name="T75" fmla="*/ 74 h 430"/>
                <a:gd name="T76" fmla="*/ 240 w 340"/>
                <a:gd name="T77" fmla="*/ 51 h 430"/>
                <a:gd name="T78" fmla="*/ 212 w 340"/>
                <a:gd name="T79" fmla="*/ 9 h 430"/>
                <a:gd name="T80" fmla="*/ 190 w 340"/>
                <a:gd name="T81" fmla="*/ 6 h 430"/>
                <a:gd name="T82" fmla="*/ 174 w 340"/>
                <a:gd name="T83" fmla="*/ 34 h 430"/>
                <a:gd name="T84" fmla="*/ 183 w 340"/>
                <a:gd name="T85" fmla="*/ 70 h 430"/>
                <a:gd name="T86" fmla="*/ 172 w 340"/>
                <a:gd name="T87" fmla="*/ 98 h 430"/>
                <a:gd name="T88" fmla="*/ 65 w 340"/>
                <a:gd name="T89" fmla="*/ 161 h 430"/>
                <a:gd name="T90" fmla="*/ 21 w 340"/>
                <a:gd name="T91" fmla="*/ 171 h 430"/>
                <a:gd name="T92" fmla="*/ 10 w 340"/>
                <a:gd name="T93" fmla="*/ 198 h 430"/>
                <a:gd name="T94" fmla="*/ 33 w 340"/>
                <a:gd name="T95" fmla="*/ 228 h 4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340" h="430">
                  <a:moveTo>
                    <a:pt x="194" y="225"/>
                  </a:moveTo>
                  <a:cubicBezTo>
                    <a:pt x="194" y="225"/>
                    <a:pt x="178" y="212"/>
                    <a:pt x="189" y="204"/>
                  </a:cubicBezTo>
                  <a:cubicBezTo>
                    <a:pt x="201" y="196"/>
                    <a:pt x="211" y="188"/>
                    <a:pt x="222" y="196"/>
                  </a:cubicBezTo>
                  <a:cubicBezTo>
                    <a:pt x="234" y="203"/>
                    <a:pt x="238" y="207"/>
                    <a:pt x="234" y="215"/>
                  </a:cubicBezTo>
                  <a:cubicBezTo>
                    <a:pt x="230" y="222"/>
                    <a:pt x="228" y="229"/>
                    <a:pt x="217" y="231"/>
                  </a:cubicBezTo>
                  <a:cubicBezTo>
                    <a:pt x="204" y="230"/>
                    <a:pt x="194" y="225"/>
                    <a:pt x="194" y="225"/>
                  </a:cubicBezTo>
                  <a:close/>
                  <a:moveTo>
                    <a:pt x="33" y="228"/>
                  </a:moveTo>
                  <a:cubicBezTo>
                    <a:pt x="40" y="229"/>
                    <a:pt x="52" y="231"/>
                    <a:pt x="67" y="224"/>
                  </a:cubicBezTo>
                  <a:cubicBezTo>
                    <a:pt x="82" y="216"/>
                    <a:pt x="91" y="208"/>
                    <a:pt x="105" y="194"/>
                  </a:cubicBezTo>
                  <a:cubicBezTo>
                    <a:pt x="119" y="180"/>
                    <a:pt x="153" y="155"/>
                    <a:pt x="164" y="151"/>
                  </a:cubicBezTo>
                  <a:cubicBezTo>
                    <a:pt x="176" y="146"/>
                    <a:pt x="176" y="155"/>
                    <a:pt x="170" y="163"/>
                  </a:cubicBezTo>
                  <a:cubicBezTo>
                    <a:pt x="164" y="171"/>
                    <a:pt x="150" y="188"/>
                    <a:pt x="144" y="203"/>
                  </a:cubicBezTo>
                  <a:cubicBezTo>
                    <a:pt x="139" y="218"/>
                    <a:pt x="134" y="224"/>
                    <a:pt x="142" y="250"/>
                  </a:cubicBezTo>
                  <a:cubicBezTo>
                    <a:pt x="149" y="275"/>
                    <a:pt x="160" y="275"/>
                    <a:pt x="166" y="278"/>
                  </a:cubicBezTo>
                  <a:cubicBezTo>
                    <a:pt x="172" y="281"/>
                    <a:pt x="176" y="301"/>
                    <a:pt x="170" y="300"/>
                  </a:cubicBezTo>
                  <a:cubicBezTo>
                    <a:pt x="164" y="299"/>
                    <a:pt x="136" y="327"/>
                    <a:pt x="132" y="347"/>
                  </a:cubicBezTo>
                  <a:cubicBezTo>
                    <a:pt x="127" y="366"/>
                    <a:pt x="123" y="375"/>
                    <a:pt x="133" y="397"/>
                  </a:cubicBezTo>
                  <a:cubicBezTo>
                    <a:pt x="144" y="419"/>
                    <a:pt x="174" y="413"/>
                    <a:pt x="181" y="410"/>
                  </a:cubicBezTo>
                  <a:cubicBezTo>
                    <a:pt x="189" y="407"/>
                    <a:pt x="185" y="395"/>
                    <a:pt x="184" y="375"/>
                  </a:cubicBezTo>
                  <a:cubicBezTo>
                    <a:pt x="182" y="355"/>
                    <a:pt x="192" y="364"/>
                    <a:pt x="198" y="374"/>
                  </a:cubicBezTo>
                  <a:cubicBezTo>
                    <a:pt x="204" y="384"/>
                    <a:pt x="203" y="402"/>
                    <a:pt x="215" y="416"/>
                  </a:cubicBezTo>
                  <a:cubicBezTo>
                    <a:pt x="226" y="430"/>
                    <a:pt x="235" y="419"/>
                    <a:pt x="240" y="406"/>
                  </a:cubicBezTo>
                  <a:cubicBezTo>
                    <a:pt x="245" y="393"/>
                    <a:pt x="232" y="357"/>
                    <a:pt x="230" y="341"/>
                  </a:cubicBezTo>
                  <a:cubicBezTo>
                    <a:pt x="229" y="326"/>
                    <a:pt x="238" y="322"/>
                    <a:pt x="250" y="322"/>
                  </a:cubicBezTo>
                  <a:cubicBezTo>
                    <a:pt x="262" y="322"/>
                    <a:pt x="248" y="347"/>
                    <a:pt x="268" y="373"/>
                  </a:cubicBezTo>
                  <a:cubicBezTo>
                    <a:pt x="287" y="399"/>
                    <a:pt x="292" y="396"/>
                    <a:pt x="316" y="385"/>
                  </a:cubicBezTo>
                  <a:cubicBezTo>
                    <a:pt x="340" y="375"/>
                    <a:pt x="311" y="327"/>
                    <a:pt x="295" y="310"/>
                  </a:cubicBezTo>
                  <a:cubicBezTo>
                    <a:pt x="279" y="294"/>
                    <a:pt x="263" y="294"/>
                    <a:pt x="263" y="288"/>
                  </a:cubicBezTo>
                  <a:cubicBezTo>
                    <a:pt x="263" y="282"/>
                    <a:pt x="266" y="267"/>
                    <a:pt x="264" y="259"/>
                  </a:cubicBezTo>
                  <a:cubicBezTo>
                    <a:pt x="262" y="251"/>
                    <a:pt x="258" y="239"/>
                    <a:pt x="265" y="233"/>
                  </a:cubicBezTo>
                  <a:cubicBezTo>
                    <a:pt x="273" y="226"/>
                    <a:pt x="301" y="222"/>
                    <a:pt x="300" y="199"/>
                  </a:cubicBezTo>
                  <a:cubicBezTo>
                    <a:pt x="299" y="177"/>
                    <a:pt x="294" y="175"/>
                    <a:pt x="275" y="161"/>
                  </a:cubicBezTo>
                  <a:cubicBezTo>
                    <a:pt x="257" y="148"/>
                    <a:pt x="216" y="168"/>
                    <a:pt x="217" y="159"/>
                  </a:cubicBezTo>
                  <a:cubicBezTo>
                    <a:pt x="218" y="150"/>
                    <a:pt x="250" y="138"/>
                    <a:pt x="270" y="132"/>
                  </a:cubicBezTo>
                  <a:cubicBezTo>
                    <a:pt x="290" y="125"/>
                    <a:pt x="306" y="126"/>
                    <a:pt x="316" y="126"/>
                  </a:cubicBezTo>
                  <a:cubicBezTo>
                    <a:pt x="326" y="126"/>
                    <a:pt x="326" y="118"/>
                    <a:pt x="332" y="110"/>
                  </a:cubicBezTo>
                  <a:cubicBezTo>
                    <a:pt x="337" y="102"/>
                    <a:pt x="334" y="88"/>
                    <a:pt x="321" y="75"/>
                  </a:cubicBezTo>
                  <a:cubicBezTo>
                    <a:pt x="308" y="61"/>
                    <a:pt x="263" y="74"/>
                    <a:pt x="256" y="74"/>
                  </a:cubicBezTo>
                  <a:cubicBezTo>
                    <a:pt x="250" y="74"/>
                    <a:pt x="250" y="63"/>
                    <a:pt x="240" y="51"/>
                  </a:cubicBezTo>
                  <a:cubicBezTo>
                    <a:pt x="229" y="38"/>
                    <a:pt x="220" y="18"/>
                    <a:pt x="212" y="9"/>
                  </a:cubicBezTo>
                  <a:cubicBezTo>
                    <a:pt x="205" y="0"/>
                    <a:pt x="203" y="8"/>
                    <a:pt x="190" y="6"/>
                  </a:cubicBezTo>
                  <a:cubicBezTo>
                    <a:pt x="176" y="3"/>
                    <a:pt x="165" y="15"/>
                    <a:pt x="174" y="34"/>
                  </a:cubicBezTo>
                  <a:cubicBezTo>
                    <a:pt x="183" y="53"/>
                    <a:pt x="183" y="56"/>
                    <a:pt x="183" y="70"/>
                  </a:cubicBezTo>
                  <a:cubicBezTo>
                    <a:pt x="183" y="84"/>
                    <a:pt x="197" y="88"/>
                    <a:pt x="172" y="98"/>
                  </a:cubicBezTo>
                  <a:cubicBezTo>
                    <a:pt x="147" y="108"/>
                    <a:pt x="75" y="152"/>
                    <a:pt x="65" y="161"/>
                  </a:cubicBezTo>
                  <a:cubicBezTo>
                    <a:pt x="55" y="170"/>
                    <a:pt x="26" y="169"/>
                    <a:pt x="21" y="171"/>
                  </a:cubicBezTo>
                  <a:cubicBezTo>
                    <a:pt x="15" y="173"/>
                    <a:pt x="0" y="170"/>
                    <a:pt x="10" y="198"/>
                  </a:cubicBezTo>
                  <a:cubicBezTo>
                    <a:pt x="24" y="238"/>
                    <a:pt x="26" y="227"/>
                    <a:pt x="33" y="22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1049451" name="ïs1îḋè"/>
            <p:cNvSpPr/>
            <p:nvPr/>
          </p:nvSpPr>
          <p:spPr bwMode="auto">
            <a:xfrm>
              <a:off x="7263066" y="4780553"/>
              <a:ext cx="674688" cy="863600"/>
            </a:xfrm>
            <a:custGeom>
              <a:avLst/>
              <a:gdLst>
                <a:gd name="T0" fmla="*/ 258 w 366"/>
                <a:gd name="T1" fmla="*/ 136 h 468"/>
                <a:gd name="T2" fmla="*/ 270 w 366"/>
                <a:gd name="T3" fmla="*/ 115 h 468"/>
                <a:gd name="T4" fmla="*/ 287 w 366"/>
                <a:gd name="T5" fmla="*/ 153 h 468"/>
                <a:gd name="T6" fmla="*/ 200 w 366"/>
                <a:gd name="T7" fmla="*/ 103 h 468"/>
                <a:gd name="T8" fmla="*/ 227 w 366"/>
                <a:gd name="T9" fmla="*/ 122 h 468"/>
                <a:gd name="T10" fmla="*/ 225 w 366"/>
                <a:gd name="T11" fmla="*/ 167 h 468"/>
                <a:gd name="T12" fmla="*/ 215 w 366"/>
                <a:gd name="T13" fmla="*/ 201 h 468"/>
                <a:gd name="T14" fmla="*/ 197 w 366"/>
                <a:gd name="T15" fmla="*/ 167 h 468"/>
                <a:gd name="T16" fmla="*/ 204 w 366"/>
                <a:gd name="T17" fmla="*/ 133 h 468"/>
                <a:gd name="T18" fmla="*/ 200 w 366"/>
                <a:gd name="T19" fmla="*/ 103 h 468"/>
                <a:gd name="T20" fmla="*/ 271 w 366"/>
                <a:gd name="T21" fmla="*/ 175 h 468"/>
                <a:gd name="T22" fmla="*/ 286 w 366"/>
                <a:gd name="T23" fmla="*/ 190 h 468"/>
                <a:gd name="T24" fmla="*/ 146 w 366"/>
                <a:gd name="T25" fmla="*/ 109 h 468"/>
                <a:gd name="T26" fmla="*/ 87 w 366"/>
                <a:gd name="T27" fmla="*/ 173 h 468"/>
                <a:gd name="T28" fmla="*/ 7 w 366"/>
                <a:gd name="T29" fmla="*/ 236 h 468"/>
                <a:gd name="T30" fmla="*/ 111 w 366"/>
                <a:gd name="T31" fmla="*/ 239 h 468"/>
                <a:gd name="T32" fmla="*/ 108 w 366"/>
                <a:gd name="T33" fmla="*/ 279 h 468"/>
                <a:gd name="T34" fmla="*/ 110 w 366"/>
                <a:gd name="T35" fmla="*/ 332 h 468"/>
                <a:gd name="T36" fmla="*/ 139 w 366"/>
                <a:gd name="T37" fmla="*/ 316 h 468"/>
                <a:gd name="T38" fmla="*/ 159 w 366"/>
                <a:gd name="T39" fmla="*/ 326 h 468"/>
                <a:gd name="T40" fmla="*/ 189 w 366"/>
                <a:gd name="T41" fmla="*/ 330 h 468"/>
                <a:gd name="T42" fmla="*/ 217 w 366"/>
                <a:gd name="T43" fmla="*/ 281 h 468"/>
                <a:gd name="T44" fmla="*/ 284 w 366"/>
                <a:gd name="T45" fmla="*/ 237 h 468"/>
                <a:gd name="T46" fmla="*/ 287 w 366"/>
                <a:gd name="T47" fmla="*/ 396 h 468"/>
                <a:gd name="T48" fmla="*/ 284 w 366"/>
                <a:gd name="T49" fmla="*/ 461 h 468"/>
                <a:gd name="T50" fmla="*/ 319 w 366"/>
                <a:gd name="T51" fmla="*/ 393 h 468"/>
                <a:gd name="T52" fmla="*/ 327 w 366"/>
                <a:gd name="T53" fmla="*/ 227 h 468"/>
                <a:gd name="T54" fmla="*/ 363 w 366"/>
                <a:gd name="T55" fmla="*/ 202 h 468"/>
                <a:gd name="T56" fmla="*/ 324 w 366"/>
                <a:gd name="T57" fmla="*/ 162 h 468"/>
                <a:gd name="T58" fmla="*/ 330 w 366"/>
                <a:gd name="T59" fmla="*/ 85 h 468"/>
                <a:gd name="T60" fmla="*/ 324 w 366"/>
                <a:gd name="T61" fmla="*/ 23 h 468"/>
                <a:gd name="T62" fmla="*/ 275 w 366"/>
                <a:gd name="T63" fmla="*/ 29 h 468"/>
                <a:gd name="T64" fmla="*/ 286 w 366"/>
                <a:gd name="T65" fmla="*/ 69 h 468"/>
                <a:gd name="T66" fmla="*/ 253 w 366"/>
                <a:gd name="T67" fmla="*/ 65 h 468"/>
                <a:gd name="T68" fmla="*/ 212 w 366"/>
                <a:gd name="T69" fmla="*/ 52 h 468"/>
                <a:gd name="T70" fmla="*/ 115 w 366"/>
                <a:gd name="T71" fmla="*/ 68 h 468"/>
                <a:gd name="T72" fmla="*/ 30 w 366"/>
                <a:gd name="T73" fmla="*/ 163 h 468"/>
                <a:gd name="T74" fmla="*/ 96 w 366"/>
                <a:gd name="T75" fmla="*/ 132 h 4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366" h="468">
                  <a:moveTo>
                    <a:pt x="270" y="152"/>
                  </a:moveTo>
                  <a:cubicBezTo>
                    <a:pt x="270" y="152"/>
                    <a:pt x="273" y="146"/>
                    <a:pt x="258" y="136"/>
                  </a:cubicBezTo>
                  <a:cubicBezTo>
                    <a:pt x="242" y="126"/>
                    <a:pt x="247" y="126"/>
                    <a:pt x="254" y="122"/>
                  </a:cubicBezTo>
                  <a:cubicBezTo>
                    <a:pt x="261" y="119"/>
                    <a:pt x="262" y="114"/>
                    <a:pt x="270" y="115"/>
                  </a:cubicBezTo>
                  <a:cubicBezTo>
                    <a:pt x="279" y="116"/>
                    <a:pt x="285" y="112"/>
                    <a:pt x="287" y="120"/>
                  </a:cubicBezTo>
                  <a:cubicBezTo>
                    <a:pt x="289" y="128"/>
                    <a:pt x="291" y="151"/>
                    <a:pt x="287" y="153"/>
                  </a:cubicBezTo>
                  <a:cubicBezTo>
                    <a:pt x="284" y="155"/>
                    <a:pt x="271" y="153"/>
                    <a:pt x="270" y="152"/>
                  </a:cubicBezTo>
                  <a:close/>
                  <a:moveTo>
                    <a:pt x="200" y="103"/>
                  </a:moveTo>
                  <a:cubicBezTo>
                    <a:pt x="200" y="99"/>
                    <a:pt x="207" y="96"/>
                    <a:pt x="216" y="102"/>
                  </a:cubicBezTo>
                  <a:cubicBezTo>
                    <a:pt x="225" y="108"/>
                    <a:pt x="228" y="113"/>
                    <a:pt x="227" y="122"/>
                  </a:cubicBezTo>
                  <a:cubicBezTo>
                    <a:pt x="225" y="131"/>
                    <a:pt x="222" y="135"/>
                    <a:pt x="223" y="145"/>
                  </a:cubicBezTo>
                  <a:cubicBezTo>
                    <a:pt x="223" y="156"/>
                    <a:pt x="217" y="162"/>
                    <a:pt x="225" y="167"/>
                  </a:cubicBezTo>
                  <a:cubicBezTo>
                    <a:pt x="232" y="173"/>
                    <a:pt x="235" y="171"/>
                    <a:pt x="233" y="185"/>
                  </a:cubicBezTo>
                  <a:cubicBezTo>
                    <a:pt x="231" y="202"/>
                    <a:pt x="214" y="210"/>
                    <a:pt x="215" y="201"/>
                  </a:cubicBezTo>
                  <a:cubicBezTo>
                    <a:pt x="215" y="192"/>
                    <a:pt x="220" y="185"/>
                    <a:pt x="213" y="176"/>
                  </a:cubicBezTo>
                  <a:cubicBezTo>
                    <a:pt x="205" y="167"/>
                    <a:pt x="204" y="178"/>
                    <a:pt x="197" y="167"/>
                  </a:cubicBezTo>
                  <a:cubicBezTo>
                    <a:pt x="191" y="155"/>
                    <a:pt x="195" y="154"/>
                    <a:pt x="199" y="152"/>
                  </a:cubicBezTo>
                  <a:cubicBezTo>
                    <a:pt x="204" y="149"/>
                    <a:pt x="209" y="147"/>
                    <a:pt x="204" y="133"/>
                  </a:cubicBezTo>
                  <a:cubicBezTo>
                    <a:pt x="199" y="119"/>
                    <a:pt x="198" y="127"/>
                    <a:pt x="197" y="119"/>
                  </a:cubicBezTo>
                  <a:cubicBezTo>
                    <a:pt x="196" y="112"/>
                    <a:pt x="200" y="107"/>
                    <a:pt x="200" y="103"/>
                  </a:cubicBezTo>
                  <a:close/>
                  <a:moveTo>
                    <a:pt x="246" y="206"/>
                  </a:moveTo>
                  <a:cubicBezTo>
                    <a:pt x="243" y="205"/>
                    <a:pt x="264" y="181"/>
                    <a:pt x="271" y="175"/>
                  </a:cubicBezTo>
                  <a:cubicBezTo>
                    <a:pt x="277" y="170"/>
                    <a:pt x="289" y="166"/>
                    <a:pt x="288" y="173"/>
                  </a:cubicBezTo>
                  <a:cubicBezTo>
                    <a:pt x="287" y="180"/>
                    <a:pt x="291" y="185"/>
                    <a:pt x="286" y="190"/>
                  </a:cubicBezTo>
                  <a:cubicBezTo>
                    <a:pt x="282" y="195"/>
                    <a:pt x="250" y="207"/>
                    <a:pt x="246" y="206"/>
                  </a:cubicBezTo>
                  <a:close/>
                  <a:moveTo>
                    <a:pt x="146" y="109"/>
                  </a:moveTo>
                  <a:cubicBezTo>
                    <a:pt x="146" y="114"/>
                    <a:pt x="141" y="124"/>
                    <a:pt x="134" y="134"/>
                  </a:cubicBezTo>
                  <a:cubicBezTo>
                    <a:pt x="127" y="144"/>
                    <a:pt x="103" y="162"/>
                    <a:pt x="87" y="173"/>
                  </a:cubicBezTo>
                  <a:cubicBezTo>
                    <a:pt x="70" y="183"/>
                    <a:pt x="23" y="206"/>
                    <a:pt x="16" y="212"/>
                  </a:cubicBezTo>
                  <a:cubicBezTo>
                    <a:pt x="10" y="218"/>
                    <a:pt x="0" y="213"/>
                    <a:pt x="7" y="236"/>
                  </a:cubicBezTo>
                  <a:cubicBezTo>
                    <a:pt x="13" y="258"/>
                    <a:pt x="24" y="253"/>
                    <a:pt x="55" y="252"/>
                  </a:cubicBezTo>
                  <a:cubicBezTo>
                    <a:pt x="85" y="250"/>
                    <a:pt x="106" y="237"/>
                    <a:pt x="111" y="239"/>
                  </a:cubicBezTo>
                  <a:cubicBezTo>
                    <a:pt x="116" y="242"/>
                    <a:pt x="119" y="251"/>
                    <a:pt x="119" y="259"/>
                  </a:cubicBezTo>
                  <a:cubicBezTo>
                    <a:pt x="120" y="266"/>
                    <a:pt x="116" y="270"/>
                    <a:pt x="108" y="279"/>
                  </a:cubicBezTo>
                  <a:cubicBezTo>
                    <a:pt x="100" y="288"/>
                    <a:pt x="100" y="303"/>
                    <a:pt x="100" y="311"/>
                  </a:cubicBezTo>
                  <a:cubicBezTo>
                    <a:pt x="101" y="318"/>
                    <a:pt x="104" y="325"/>
                    <a:pt x="110" y="332"/>
                  </a:cubicBezTo>
                  <a:cubicBezTo>
                    <a:pt x="117" y="338"/>
                    <a:pt x="119" y="333"/>
                    <a:pt x="127" y="333"/>
                  </a:cubicBezTo>
                  <a:cubicBezTo>
                    <a:pt x="134" y="332"/>
                    <a:pt x="138" y="323"/>
                    <a:pt x="139" y="316"/>
                  </a:cubicBezTo>
                  <a:cubicBezTo>
                    <a:pt x="140" y="308"/>
                    <a:pt x="148" y="313"/>
                    <a:pt x="155" y="314"/>
                  </a:cubicBezTo>
                  <a:cubicBezTo>
                    <a:pt x="161" y="316"/>
                    <a:pt x="158" y="318"/>
                    <a:pt x="159" y="326"/>
                  </a:cubicBezTo>
                  <a:cubicBezTo>
                    <a:pt x="159" y="334"/>
                    <a:pt x="159" y="336"/>
                    <a:pt x="168" y="339"/>
                  </a:cubicBezTo>
                  <a:cubicBezTo>
                    <a:pt x="177" y="343"/>
                    <a:pt x="178" y="342"/>
                    <a:pt x="189" y="330"/>
                  </a:cubicBezTo>
                  <a:cubicBezTo>
                    <a:pt x="199" y="319"/>
                    <a:pt x="187" y="291"/>
                    <a:pt x="193" y="292"/>
                  </a:cubicBezTo>
                  <a:cubicBezTo>
                    <a:pt x="198" y="293"/>
                    <a:pt x="209" y="289"/>
                    <a:pt x="217" y="281"/>
                  </a:cubicBezTo>
                  <a:cubicBezTo>
                    <a:pt x="225" y="273"/>
                    <a:pt x="232" y="272"/>
                    <a:pt x="243" y="263"/>
                  </a:cubicBezTo>
                  <a:cubicBezTo>
                    <a:pt x="253" y="254"/>
                    <a:pt x="278" y="233"/>
                    <a:pt x="284" y="237"/>
                  </a:cubicBezTo>
                  <a:cubicBezTo>
                    <a:pt x="290" y="240"/>
                    <a:pt x="285" y="282"/>
                    <a:pt x="286" y="321"/>
                  </a:cubicBezTo>
                  <a:cubicBezTo>
                    <a:pt x="288" y="361"/>
                    <a:pt x="286" y="379"/>
                    <a:pt x="287" y="396"/>
                  </a:cubicBezTo>
                  <a:cubicBezTo>
                    <a:pt x="289" y="413"/>
                    <a:pt x="278" y="425"/>
                    <a:pt x="278" y="434"/>
                  </a:cubicBezTo>
                  <a:cubicBezTo>
                    <a:pt x="277" y="443"/>
                    <a:pt x="278" y="454"/>
                    <a:pt x="284" y="461"/>
                  </a:cubicBezTo>
                  <a:cubicBezTo>
                    <a:pt x="291" y="468"/>
                    <a:pt x="296" y="458"/>
                    <a:pt x="305" y="449"/>
                  </a:cubicBezTo>
                  <a:cubicBezTo>
                    <a:pt x="314" y="440"/>
                    <a:pt x="315" y="424"/>
                    <a:pt x="319" y="393"/>
                  </a:cubicBezTo>
                  <a:cubicBezTo>
                    <a:pt x="323" y="362"/>
                    <a:pt x="318" y="269"/>
                    <a:pt x="320" y="252"/>
                  </a:cubicBezTo>
                  <a:cubicBezTo>
                    <a:pt x="321" y="236"/>
                    <a:pt x="323" y="232"/>
                    <a:pt x="327" y="227"/>
                  </a:cubicBezTo>
                  <a:cubicBezTo>
                    <a:pt x="332" y="222"/>
                    <a:pt x="332" y="212"/>
                    <a:pt x="340" y="211"/>
                  </a:cubicBezTo>
                  <a:cubicBezTo>
                    <a:pt x="349" y="210"/>
                    <a:pt x="360" y="212"/>
                    <a:pt x="363" y="202"/>
                  </a:cubicBezTo>
                  <a:cubicBezTo>
                    <a:pt x="366" y="192"/>
                    <a:pt x="364" y="182"/>
                    <a:pt x="358" y="177"/>
                  </a:cubicBezTo>
                  <a:cubicBezTo>
                    <a:pt x="352" y="172"/>
                    <a:pt x="326" y="167"/>
                    <a:pt x="324" y="162"/>
                  </a:cubicBezTo>
                  <a:cubicBezTo>
                    <a:pt x="322" y="158"/>
                    <a:pt x="323" y="119"/>
                    <a:pt x="322" y="108"/>
                  </a:cubicBezTo>
                  <a:cubicBezTo>
                    <a:pt x="322" y="96"/>
                    <a:pt x="324" y="98"/>
                    <a:pt x="330" y="85"/>
                  </a:cubicBezTo>
                  <a:cubicBezTo>
                    <a:pt x="336" y="73"/>
                    <a:pt x="333" y="65"/>
                    <a:pt x="334" y="48"/>
                  </a:cubicBezTo>
                  <a:cubicBezTo>
                    <a:pt x="334" y="32"/>
                    <a:pt x="334" y="33"/>
                    <a:pt x="324" y="23"/>
                  </a:cubicBezTo>
                  <a:cubicBezTo>
                    <a:pt x="315" y="14"/>
                    <a:pt x="306" y="6"/>
                    <a:pt x="292" y="3"/>
                  </a:cubicBezTo>
                  <a:cubicBezTo>
                    <a:pt x="278" y="0"/>
                    <a:pt x="274" y="12"/>
                    <a:pt x="275" y="29"/>
                  </a:cubicBezTo>
                  <a:cubicBezTo>
                    <a:pt x="275" y="47"/>
                    <a:pt x="278" y="37"/>
                    <a:pt x="282" y="43"/>
                  </a:cubicBezTo>
                  <a:cubicBezTo>
                    <a:pt x="286" y="49"/>
                    <a:pt x="285" y="62"/>
                    <a:pt x="286" y="69"/>
                  </a:cubicBezTo>
                  <a:cubicBezTo>
                    <a:pt x="287" y="76"/>
                    <a:pt x="283" y="77"/>
                    <a:pt x="274" y="77"/>
                  </a:cubicBezTo>
                  <a:cubicBezTo>
                    <a:pt x="265" y="78"/>
                    <a:pt x="268" y="69"/>
                    <a:pt x="253" y="65"/>
                  </a:cubicBezTo>
                  <a:cubicBezTo>
                    <a:pt x="238" y="60"/>
                    <a:pt x="225" y="74"/>
                    <a:pt x="218" y="72"/>
                  </a:cubicBezTo>
                  <a:cubicBezTo>
                    <a:pt x="212" y="71"/>
                    <a:pt x="215" y="68"/>
                    <a:pt x="212" y="52"/>
                  </a:cubicBezTo>
                  <a:cubicBezTo>
                    <a:pt x="209" y="36"/>
                    <a:pt x="191" y="26"/>
                    <a:pt x="177" y="26"/>
                  </a:cubicBezTo>
                  <a:cubicBezTo>
                    <a:pt x="164" y="26"/>
                    <a:pt x="135" y="52"/>
                    <a:pt x="115" y="68"/>
                  </a:cubicBezTo>
                  <a:cubicBezTo>
                    <a:pt x="96" y="84"/>
                    <a:pt x="55" y="129"/>
                    <a:pt x="47" y="139"/>
                  </a:cubicBezTo>
                  <a:cubicBezTo>
                    <a:pt x="39" y="149"/>
                    <a:pt x="30" y="156"/>
                    <a:pt x="30" y="163"/>
                  </a:cubicBezTo>
                  <a:cubicBezTo>
                    <a:pt x="30" y="170"/>
                    <a:pt x="28" y="170"/>
                    <a:pt x="39" y="172"/>
                  </a:cubicBezTo>
                  <a:cubicBezTo>
                    <a:pt x="49" y="174"/>
                    <a:pt x="64" y="154"/>
                    <a:pt x="96" y="132"/>
                  </a:cubicBezTo>
                  <a:cubicBezTo>
                    <a:pt x="128" y="110"/>
                    <a:pt x="147" y="103"/>
                    <a:pt x="146" y="10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1049452" name="îš1ïdè"/>
            <p:cNvSpPr/>
            <p:nvPr/>
          </p:nvSpPr>
          <p:spPr bwMode="auto">
            <a:xfrm>
              <a:off x="5180266" y="4845640"/>
              <a:ext cx="635000" cy="660400"/>
            </a:xfrm>
            <a:custGeom>
              <a:avLst/>
              <a:gdLst>
                <a:gd name="T0" fmla="*/ 5 w 344"/>
                <a:gd name="T1" fmla="*/ 147 h 358"/>
                <a:gd name="T2" fmla="*/ 38 w 344"/>
                <a:gd name="T3" fmla="*/ 142 h 358"/>
                <a:gd name="T4" fmla="*/ 53 w 344"/>
                <a:gd name="T5" fmla="*/ 125 h 358"/>
                <a:gd name="T6" fmla="*/ 43 w 344"/>
                <a:gd name="T7" fmla="*/ 70 h 358"/>
                <a:gd name="T8" fmla="*/ 48 w 344"/>
                <a:gd name="T9" fmla="*/ 43 h 358"/>
                <a:gd name="T10" fmla="*/ 76 w 344"/>
                <a:gd name="T11" fmla="*/ 45 h 358"/>
                <a:gd name="T12" fmla="*/ 122 w 344"/>
                <a:gd name="T13" fmla="*/ 89 h 358"/>
                <a:gd name="T14" fmla="*/ 122 w 344"/>
                <a:gd name="T15" fmla="*/ 185 h 358"/>
                <a:gd name="T16" fmla="*/ 141 w 344"/>
                <a:gd name="T17" fmla="*/ 192 h 358"/>
                <a:gd name="T18" fmla="*/ 231 w 344"/>
                <a:gd name="T19" fmla="*/ 135 h 358"/>
                <a:gd name="T20" fmla="*/ 241 w 344"/>
                <a:gd name="T21" fmla="*/ 87 h 358"/>
                <a:gd name="T22" fmla="*/ 234 w 344"/>
                <a:gd name="T23" fmla="*/ 48 h 358"/>
                <a:gd name="T24" fmla="*/ 263 w 344"/>
                <a:gd name="T25" fmla="*/ 17 h 358"/>
                <a:gd name="T26" fmla="*/ 298 w 344"/>
                <a:gd name="T27" fmla="*/ 76 h 358"/>
                <a:gd name="T28" fmla="*/ 292 w 344"/>
                <a:gd name="T29" fmla="*/ 111 h 358"/>
                <a:gd name="T30" fmla="*/ 317 w 344"/>
                <a:gd name="T31" fmla="*/ 138 h 358"/>
                <a:gd name="T32" fmla="*/ 292 w 344"/>
                <a:gd name="T33" fmla="*/ 181 h 358"/>
                <a:gd name="T34" fmla="*/ 270 w 344"/>
                <a:gd name="T35" fmla="*/ 217 h 358"/>
                <a:gd name="T36" fmla="*/ 276 w 344"/>
                <a:gd name="T37" fmla="*/ 252 h 358"/>
                <a:gd name="T38" fmla="*/ 334 w 344"/>
                <a:gd name="T39" fmla="*/ 270 h 358"/>
                <a:gd name="T40" fmla="*/ 333 w 344"/>
                <a:gd name="T41" fmla="*/ 304 h 358"/>
                <a:gd name="T42" fmla="*/ 226 w 344"/>
                <a:gd name="T43" fmla="*/ 338 h 358"/>
                <a:gd name="T44" fmla="*/ 166 w 344"/>
                <a:gd name="T45" fmla="*/ 352 h 358"/>
                <a:gd name="T46" fmla="*/ 191 w 344"/>
                <a:gd name="T47" fmla="*/ 319 h 358"/>
                <a:gd name="T48" fmla="*/ 228 w 344"/>
                <a:gd name="T49" fmla="*/ 287 h 358"/>
                <a:gd name="T50" fmla="*/ 231 w 344"/>
                <a:gd name="T51" fmla="*/ 223 h 358"/>
                <a:gd name="T52" fmla="*/ 194 w 344"/>
                <a:gd name="T53" fmla="*/ 194 h 358"/>
                <a:gd name="T54" fmla="*/ 152 w 344"/>
                <a:gd name="T55" fmla="*/ 228 h 358"/>
                <a:gd name="T56" fmla="*/ 55 w 344"/>
                <a:gd name="T57" fmla="*/ 337 h 358"/>
                <a:gd name="T58" fmla="*/ 21 w 344"/>
                <a:gd name="T59" fmla="*/ 316 h 358"/>
                <a:gd name="T60" fmla="*/ 30 w 344"/>
                <a:gd name="T61" fmla="*/ 260 h 358"/>
                <a:gd name="T62" fmla="*/ 53 w 344"/>
                <a:gd name="T63" fmla="*/ 228 h 358"/>
                <a:gd name="T64" fmla="*/ 37 w 344"/>
                <a:gd name="T65" fmla="*/ 201 h 358"/>
                <a:gd name="T66" fmla="*/ 1 w 344"/>
                <a:gd name="T67" fmla="*/ 170 h 358"/>
                <a:gd name="T68" fmla="*/ 5 w 344"/>
                <a:gd name="T69" fmla="*/ 147 h 3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344" h="358">
                  <a:moveTo>
                    <a:pt x="5" y="147"/>
                  </a:moveTo>
                  <a:cubicBezTo>
                    <a:pt x="6" y="143"/>
                    <a:pt x="22" y="140"/>
                    <a:pt x="38" y="142"/>
                  </a:cubicBezTo>
                  <a:cubicBezTo>
                    <a:pt x="54" y="144"/>
                    <a:pt x="53" y="137"/>
                    <a:pt x="53" y="125"/>
                  </a:cubicBezTo>
                  <a:cubicBezTo>
                    <a:pt x="53" y="112"/>
                    <a:pt x="60" y="89"/>
                    <a:pt x="43" y="70"/>
                  </a:cubicBezTo>
                  <a:cubicBezTo>
                    <a:pt x="25" y="52"/>
                    <a:pt x="48" y="43"/>
                    <a:pt x="48" y="43"/>
                  </a:cubicBezTo>
                  <a:cubicBezTo>
                    <a:pt x="48" y="43"/>
                    <a:pt x="55" y="32"/>
                    <a:pt x="76" y="45"/>
                  </a:cubicBezTo>
                  <a:cubicBezTo>
                    <a:pt x="97" y="58"/>
                    <a:pt x="115" y="74"/>
                    <a:pt x="122" y="89"/>
                  </a:cubicBezTo>
                  <a:cubicBezTo>
                    <a:pt x="129" y="104"/>
                    <a:pt x="118" y="174"/>
                    <a:pt x="122" y="185"/>
                  </a:cubicBezTo>
                  <a:cubicBezTo>
                    <a:pt x="125" y="195"/>
                    <a:pt x="130" y="200"/>
                    <a:pt x="141" y="192"/>
                  </a:cubicBezTo>
                  <a:cubicBezTo>
                    <a:pt x="153" y="183"/>
                    <a:pt x="214" y="138"/>
                    <a:pt x="231" y="135"/>
                  </a:cubicBezTo>
                  <a:cubicBezTo>
                    <a:pt x="249" y="132"/>
                    <a:pt x="241" y="103"/>
                    <a:pt x="241" y="87"/>
                  </a:cubicBezTo>
                  <a:cubicBezTo>
                    <a:pt x="242" y="70"/>
                    <a:pt x="234" y="59"/>
                    <a:pt x="234" y="48"/>
                  </a:cubicBezTo>
                  <a:cubicBezTo>
                    <a:pt x="234" y="36"/>
                    <a:pt x="247" y="0"/>
                    <a:pt x="263" y="17"/>
                  </a:cubicBezTo>
                  <a:cubicBezTo>
                    <a:pt x="279" y="35"/>
                    <a:pt x="303" y="58"/>
                    <a:pt x="298" y="76"/>
                  </a:cubicBezTo>
                  <a:cubicBezTo>
                    <a:pt x="294" y="95"/>
                    <a:pt x="283" y="92"/>
                    <a:pt x="292" y="111"/>
                  </a:cubicBezTo>
                  <a:cubicBezTo>
                    <a:pt x="301" y="129"/>
                    <a:pt x="320" y="117"/>
                    <a:pt x="317" y="138"/>
                  </a:cubicBezTo>
                  <a:cubicBezTo>
                    <a:pt x="315" y="160"/>
                    <a:pt x="321" y="149"/>
                    <a:pt x="292" y="181"/>
                  </a:cubicBezTo>
                  <a:cubicBezTo>
                    <a:pt x="268" y="209"/>
                    <a:pt x="270" y="208"/>
                    <a:pt x="270" y="217"/>
                  </a:cubicBezTo>
                  <a:cubicBezTo>
                    <a:pt x="270" y="226"/>
                    <a:pt x="266" y="249"/>
                    <a:pt x="276" y="252"/>
                  </a:cubicBezTo>
                  <a:cubicBezTo>
                    <a:pt x="287" y="254"/>
                    <a:pt x="325" y="250"/>
                    <a:pt x="334" y="270"/>
                  </a:cubicBezTo>
                  <a:cubicBezTo>
                    <a:pt x="344" y="290"/>
                    <a:pt x="344" y="295"/>
                    <a:pt x="333" y="304"/>
                  </a:cubicBezTo>
                  <a:cubicBezTo>
                    <a:pt x="321" y="312"/>
                    <a:pt x="288" y="320"/>
                    <a:pt x="226" y="338"/>
                  </a:cubicBezTo>
                  <a:cubicBezTo>
                    <a:pt x="180" y="351"/>
                    <a:pt x="168" y="358"/>
                    <a:pt x="166" y="352"/>
                  </a:cubicBezTo>
                  <a:cubicBezTo>
                    <a:pt x="164" y="346"/>
                    <a:pt x="175" y="331"/>
                    <a:pt x="191" y="319"/>
                  </a:cubicBezTo>
                  <a:cubicBezTo>
                    <a:pt x="207" y="307"/>
                    <a:pt x="224" y="304"/>
                    <a:pt x="228" y="287"/>
                  </a:cubicBezTo>
                  <a:cubicBezTo>
                    <a:pt x="232" y="270"/>
                    <a:pt x="235" y="234"/>
                    <a:pt x="231" y="223"/>
                  </a:cubicBezTo>
                  <a:cubicBezTo>
                    <a:pt x="227" y="212"/>
                    <a:pt x="213" y="188"/>
                    <a:pt x="194" y="194"/>
                  </a:cubicBezTo>
                  <a:cubicBezTo>
                    <a:pt x="176" y="200"/>
                    <a:pt x="166" y="210"/>
                    <a:pt x="152" y="228"/>
                  </a:cubicBezTo>
                  <a:cubicBezTo>
                    <a:pt x="138" y="247"/>
                    <a:pt x="66" y="336"/>
                    <a:pt x="55" y="337"/>
                  </a:cubicBezTo>
                  <a:cubicBezTo>
                    <a:pt x="45" y="338"/>
                    <a:pt x="22" y="340"/>
                    <a:pt x="21" y="316"/>
                  </a:cubicBezTo>
                  <a:cubicBezTo>
                    <a:pt x="20" y="292"/>
                    <a:pt x="16" y="285"/>
                    <a:pt x="30" y="260"/>
                  </a:cubicBezTo>
                  <a:cubicBezTo>
                    <a:pt x="44" y="234"/>
                    <a:pt x="53" y="241"/>
                    <a:pt x="53" y="228"/>
                  </a:cubicBezTo>
                  <a:cubicBezTo>
                    <a:pt x="53" y="216"/>
                    <a:pt x="47" y="207"/>
                    <a:pt x="37" y="201"/>
                  </a:cubicBezTo>
                  <a:cubicBezTo>
                    <a:pt x="27" y="195"/>
                    <a:pt x="2" y="182"/>
                    <a:pt x="1" y="170"/>
                  </a:cubicBezTo>
                  <a:cubicBezTo>
                    <a:pt x="0" y="157"/>
                    <a:pt x="4" y="150"/>
                    <a:pt x="5" y="14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1049453" name="ï$líḋé"/>
            <p:cNvSpPr/>
            <p:nvPr/>
          </p:nvSpPr>
          <p:spPr bwMode="auto">
            <a:xfrm>
              <a:off x="5596191" y="5675903"/>
              <a:ext cx="25400" cy="30163"/>
            </a:xfrm>
            <a:prstGeom prst="rect">
              <a:avLst/>
            </a:pr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1049454" name="işḷíḓè"/>
            <p:cNvSpPr/>
            <p:nvPr/>
          </p:nvSpPr>
          <p:spPr bwMode="auto">
            <a:xfrm>
              <a:off x="5596191" y="5733053"/>
              <a:ext cx="25400" cy="149225"/>
            </a:xfrm>
            <a:prstGeom prst="rect">
              <a:avLst/>
            </a:pr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1049455" name="ïSḷîḋé"/>
            <p:cNvSpPr/>
            <p:nvPr/>
          </p:nvSpPr>
          <p:spPr bwMode="auto">
            <a:xfrm>
              <a:off x="5645403" y="5733053"/>
              <a:ext cx="136525" cy="149225"/>
            </a:xfrm>
            <a:custGeom>
              <a:avLst/>
              <a:gdLst>
                <a:gd name="T0" fmla="*/ 42 w 74"/>
                <a:gd name="T1" fmla="*/ 50 h 81"/>
                <a:gd name="T2" fmla="*/ 37 w 74"/>
                <a:gd name="T3" fmla="*/ 65 h 81"/>
                <a:gd name="T4" fmla="*/ 32 w 74"/>
                <a:gd name="T5" fmla="*/ 49 h 81"/>
                <a:gd name="T6" fmla="*/ 14 w 74"/>
                <a:gd name="T7" fmla="*/ 0 h 81"/>
                <a:gd name="T8" fmla="*/ 0 w 74"/>
                <a:gd name="T9" fmla="*/ 0 h 81"/>
                <a:gd name="T10" fmla="*/ 31 w 74"/>
                <a:gd name="T11" fmla="*/ 81 h 81"/>
                <a:gd name="T12" fmla="*/ 44 w 74"/>
                <a:gd name="T13" fmla="*/ 81 h 81"/>
                <a:gd name="T14" fmla="*/ 74 w 74"/>
                <a:gd name="T15" fmla="*/ 0 h 81"/>
                <a:gd name="T16" fmla="*/ 60 w 74"/>
                <a:gd name="T17" fmla="*/ 0 h 81"/>
                <a:gd name="T18" fmla="*/ 42 w 74"/>
                <a:gd name="T19" fmla="*/ 50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4" h="81">
                  <a:moveTo>
                    <a:pt x="42" y="50"/>
                  </a:moveTo>
                  <a:cubicBezTo>
                    <a:pt x="40" y="56"/>
                    <a:pt x="38" y="61"/>
                    <a:pt x="37" y="65"/>
                  </a:cubicBezTo>
                  <a:cubicBezTo>
                    <a:pt x="35" y="59"/>
                    <a:pt x="34" y="54"/>
                    <a:pt x="32" y="49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44" y="81"/>
                    <a:pt x="44" y="81"/>
                    <a:pt x="44" y="81"/>
                  </a:cubicBezTo>
                  <a:cubicBezTo>
                    <a:pt x="74" y="0"/>
                    <a:pt x="74" y="0"/>
                    <a:pt x="74" y="0"/>
                  </a:cubicBezTo>
                  <a:cubicBezTo>
                    <a:pt x="60" y="0"/>
                    <a:pt x="60" y="0"/>
                    <a:pt x="60" y="0"/>
                  </a:cubicBezTo>
                  <a:lnTo>
                    <a:pt x="42" y="5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1049456" name="išḷiḓé"/>
            <p:cNvSpPr/>
            <p:nvPr/>
          </p:nvSpPr>
          <p:spPr bwMode="auto">
            <a:xfrm>
              <a:off x="5796216" y="5729878"/>
              <a:ext cx="138113" cy="157163"/>
            </a:xfrm>
            <a:custGeom>
              <a:avLst/>
              <a:gdLst>
                <a:gd name="T0" fmla="*/ 38 w 75"/>
                <a:gd name="T1" fmla="*/ 0 h 85"/>
                <a:gd name="T2" fmla="*/ 10 w 75"/>
                <a:gd name="T3" fmla="*/ 12 h 85"/>
                <a:gd name="T4" fmla="*/ 0 w 75"/>
                <a:gd name="T5" fmla="*/ 43 h 85"/>
                <a:gd name="T6" fmla="*/ 10 w 75"/>
                <a:gd name="T7" fmla="*/ 74 h 85"/>
                <a:gd name="T8" fmla="*/ 39 w 75"/>
                <a:gd name="T9" fmla="*/ 85 h 85"/>
                <a:gd name="T10" fmla="*/ 62 w 75"/>
                <a:gd name="T11" fmla="*/ 78 h 85"/>
                <a:gd name="T12" fmla="*/ 74 w 75"/>
                <a:gd name="T13" fmla="*/ 59 h 85"/>
                <a:gd name="T14" fmla="*/ 60 w 75"/>
                <a:gd name="T15" fmla="*/ 57 h 85"/>
                <a:gd name="T16" fmla="*/ 52 w 75"/>
                <a:gd name="T17" fmla="*/ 70 h 85"/>
                <a:gd name="T18" fmla="*/ 39 w 75"/>
                <a:gd name="T19" fmla="*/ 74 h 85"/>
                <a:gd name="T20" fmla="*/ 22 w 75"/>
                <a:gd name="T21" fmla="*/ 67 h 85"/>
                <a:gd name="T22" fmla="*/ 14 w 75"/>
                <a:gd name="T23" fmla="*/ 46 h 85"/>
                <a:gd name="T24" fmla="*/ 75 w 75"/>
                <a:gd name="T25" fmla="*/ 46 h 85"/>
                <a:gd name="T26" fmla="*/ 75 w 75"/>
                <a:gd name="T27" fmla="*/ 43 h 85"/>
                <a:gd name="T28" fmla="*/ 64 w 75"/>
                <a:gd name="T29" fmla="*/ 11 h 85"/>
                <a:gd name="T30" fmla="*/ 38 w 75"/>
                <a:gd name="T31" fmla="*/ 0 h 85"/>
                <a:gd name="T32" fmla="*/ 15 w 75"/>
                <a:gd name="T33" fmla="*/ 35 h 85"/>
                <a:gd name="T34" fmla="*/ 22 w 75"/>
                <a:gd name="T35" fmla="*/ 18 h 85"/>
                <a:gd name="T36" fmla="*/ 38 w 75"/>
                <a:gd name="T37" fmla="*/ 12 h 85"/>
                <a:gd name="T38" fmla="*/ 55 w 75"/>
                <a:gd name="T39" fmla="*/ 20 h 85"/>
                <a:gd name="T40" fmla="*/ 60 w 75"/>
                <a:gd name="T41" fmla="*/ 35 h 85"/>
                <a:gd name="T42" fmla="*/ 15 w 75"/>
                <a:gd name="T43" fmla="*/ 35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75" h="85">
                  <a:moveTo>
                    <a:pt x="38" y="0"/>
                  </a:moveTo>
                  <a:cubicBezTo>
                    <a:pt x="27" y="0"/>
                    <a:pt x="17" y="4"/>
                    <a:pt x="10" y="12"/>
                  </a:cubicBezTo>
                  <a:cubicBezTo>
                    <a:pt x="3" y="19"/>
                    <a:pt x="0" y="30"/>
                    <a:pt x="0" y="43"/>
                  </a:cubicBezTo>
                  <a:cubicBezTo>
                    <a:pt x="0" y="57"/>
                    <a:pt x="3" y="67"/>
                    <a:pt x="10" y="74"/>
                  </a:cubicBezTo>
                  <a:cubicBezTo>
                    <a:pt x="17" y="81"/>
                    <a:pt x="27" y="85"/>
                    <a:pt x="39" y="85"/>
                  </a:cubicBezTo>
                  <a:cubicBezTo>
                    <a:pt x="48" y="85"/>
                    <a:pt x="56" y="83"/>
                    <a:pt x="62" y="78"/>
                  </a:cubicBezTo>
                  <a:cubicBezTo>
                    <a:pt x="68" y="74"/>
                    <a:pt x="72" y="67"/>
                    <a:pt x="74" y="59"/>
                  </a:cubicBezTo>
                  <a:cubicBezTo>
                    <a:pt x="60" y="57"/>
                    <a:pt x="60" y="57"/>
                    <a:pt x="60" y="57"/>
                  </a:cubicBezTo>
                  <a:cubicBezTo>
                    <a:pt x="58" y="63"/>
                    <a:pt x="55" y="67"/>
                    <a:pt x="52" y="70"/>
                  </a:cubicBezTo>
                  <a:cubicBezTo>
                    <a:pt x="48" y="73"/>
                    <a:pt x="44" y="74"/>
                    <a:pt x="39" y="74"/>
                  </a:cubicBezTo>
                  <a:cubicBezTo>
                    <a:pt x="32" y="74"/>
                    <a:pt x="26" y="71"/>
                    <a:pt x="22" y="67"/>
                  </a:cubicBezTo>
                  <a:cubicBezTo>
                    <a:pt x="17" y="62"/>
                    <a:pt x="15" y="55"/>
                    <a:pt x="14" y="46"/>
                  </a:cubicBezTo>
                  <a:cubicBezTo>
                    <a:pt x="75" y="46"/>
                    <a:pt x="75" y="46"/>
                    <a:pt x="75" y="46"/>
                  </a:cubicBezTo>
                  <a:cubicBezTo>
                    <a:pt x="75" y="45"/>
                    <a:pt x="75" y="43"/>
                    <a:pt x="75" y="43"/>
                  </a:cubicBezTo>
                  <a:cubicBezTo>
                    <a:pt x="75" y="29"/>
                    <a:pt x="71" y="19"/>
                    <a:pt x="64" y="11"/>
                  </a:cubicBezTo>
                  <a:cubicBezTo>
                    <a:pt x="58" y="4"/>
                    <a:pt x="49" y="0"/>
                    <a:pt x="38" y="0"/>
                  </a:cubicBezTo>
                  <a:close/>
                  <a:moveTo>
                    <a:pt x="15" y="35"/>
                  </a:moveTo>
                  <a:cubicBezTo>
                    <a:pt x="15" y="28"/>
                    <a:pt x="18" y="22"/>
                    <a:pt x="22" y="18"/>
                  </a:cubicBezTo>
                  <a:cubicBezTo>
                    <a:pt x="26" y="14"/>
                    <a:pt x="32" y="12"/>
                    <a:pt x="38" y="12"/>
                  </a:cubicBezTo>
                  <a:cubicBezTo>
                    <a:pt x="45" y="12"/>
                    <a:pt x="51" y="14"/>
                    <a:pt x="55" y="20"/>
                  </a:cubicBezTo>
                  <a:cubicBezTo>
                    <a:pt x="58" y="23"/>
                    <a:pt x="60" y="28"/>
                    <a:pt x="60" y="35"/>
                  </a:cubicBezTo>
                  <a:lnTo>
                    <a:pt x="15" y="35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1049457" name="iṩľidè"/>
            <p:cNvSpPr/>
            <p:nvPr/>
          </p:nvSpPr>
          <p:spPr bwMode="auto">
            <a:xfrm>
              <a:off x="5964491" y="5729878"/>
              <a:ext cx="82550" cy="152400"/>
            </a:xfrm>
            <a:custGeom>
              <a:avLst/>
              <a:gdLst>
                <a:gd name="T0" fmla="*/ 22 w 45"/>
                <a:gd name="T1" fmla="*/ 3 h 83"/>
                <a:gd name="T2" fmla="*/ 13 w 45"/>
                <a:gd name="T3" fmla="*/ 14 h 83"/>
                <a:gd name="T4" fmla="*/ 13 w 45"/>
                <a:gd name="T5" fmla="*/ 2 h 83"/>
                <a:gd name="T6" fmla="*/ 0 w 45"/>
                <a:gd name="T7" fmla="*/ 2 h 83"/>
                <a:gd name="T8" fmla="*/ 0 w 45"/>
                <a:gd name="T9" fmla="*/ 83 h 83"/>
                <a:gd name="T10" fmla="*/ 14 w 45"/>
                <a:gd name="T11" fmla="*/ 83 h 83"/>
                <a:gd name="T12" fmla="*/ 14 w 45"/>
                <a:gd name="T13" fmla="*/ 41 h 83"/>
                <a:gd name="T14" fmla="*/ 17 w 45"/>
                <a:gd name="T15" fmla="*/ 25 h 83"/>
                <a:gd name="T16" fmla="*/ 22 w 45"/>
                <a:gd name="T17" fmla="*/ 17 h 83"/>
                <a:gd name="T18" fmla="*/ 30 w 45"/>
                <a:gd name="T19" fmla="*/ 14 h 83"/>
                <a:gd name="T20" fmla="*/ 40 w 45"/>
                <a:gd name="T21" fmla="*/ 17 h 83"/>
                <a:gd name="T22" fmla="*/ 45 w 45"/>
                <a:gd name="T23" fmla="*/ 5 h 83"/>
                <a:gd name="T24" fmla="*/ 30 w 45"/>
                <a:gd name="T25" fmla="*/ 0 h 83"/>
                <a:gd name="T26" fmla="*/ 22 w 45"/>
                <a:gd name="T27" fmla="*/ 3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5" h="83">
                  <a:moveTo>
                    <a:pt x="22" y="3"/>
                  </a:moveTo>
                  <a:cubicBezTo>
                    <a:pt x="19" y="5"/>
                    <a:pt x="16" y="9"/>
                    <a:pt x="13" y="14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83"/>
                    <a:pt x="0" y="83"/>
                    <a:pt x="0" y="83"/>
                  </a:cubicBezTo>
                  <a:cubicBezTo>
                    <a:pt x="14" y="83"/>
                    <a:pt x="14" y="83"/>
                    <a:pt x="14" y="83"/>
                  </a:cubicBezTo>
                  <a:cubicBezTo>
                    <a:pt x="14" y="41"/>
                    <a:pt x="14" y="41"/>
                    <a:pt x="14" y="41"/>
                  </a:cubicBezTo>
                  <a:cubicBezTo>
                    <a:pt x="14" y="35"/>
                    <a:pt x="15" y="30"/>
                    <a:pt x="17" y="25"/>
                  </a:cubicBezTo>
                  <a:cubicBezTo>
                    <a:pt x="18" y="21"/>
                    <a:pt x="19" y="19"/>
                    <a:pt x="22" y="17"/>
                  </a:cubicBezTo>
                  <a:cubicBezTo>
                    <a:pt x="24" y="15"/>
                    <a:pt x="27" y="14"/>
                    <a:pt x="30" y="14"/>
                  </a:cubicBezTo>
                  <a:cubicBezTo>
                    <a:pt x="33" y="14"/>
                    <a:pt x="37" y="15"/>
                    <a:pt x="40" y="17"/>
                  </a:cubicBezTo>
                  <a:cubicBezTo>
                    <a:pt x="45" y="5"/>
                    <a:pt x="45" y="5"/>
                    <a:pt x="45" y="5"/>
                  </a:cubicBezTo>
                  <a:cubicBezTo>
                    <a:pt x="40" y="2"/>
                    <a:pt x="35" y="0"/>
                    <a:pt x="30" y="0"/>
                  </a:cubicBezTo>
                  <a:cubicBezTo>
                    <a:pt x="27" y="0"/>
                    <a:pt x="24" y="1"/>
                    <a:pt x="22" y="3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1049458" name="îṡļiḑe"/>
            <p:cNvSpPr/>
            <p:nvPr/>
          </p:nvSpPr>
          <p:spPr bwMode="auto">
            <a:xfrm>
              <a:off x="6050216" y="5729878"/>
              <a:ext cx="125413" cy="157163"/>
            </a:xfrm>
            <a:custGeom>
              <a:avLst/>
              <a:gdLst>
                <a:gd name="T0" fmla="*/ 55 w 68"/>
                <a:gd name="T1" fmla="*/ 40 h 85"/>
                <a:gd name="T2" fmla="*/ 35 w 68"/>
                <a:gd name="T3" fmla="*/ 34 h 85"/>
                <a:gd name="T4" fmla="*/ 23 w 68"/>
                <a:gd name="T5" fmla="*/ 31 h 85"/>
                <a:gd name="T6" fmla="*/ 18 w 68"/>
                <a:gd name="T7" fmla="*/ 27 h 85"/>
                <a:gd name="T8" fmla="*/ 16 w 68"/>
                <a:gd name="T9" fmla="*/ 22 h 85"/>
                <a:gd name="T10" fmla="*/ 20 w 68"/>
                <a:gd name="T11" fmla="*/ 15 h 85"/>
                <a:gd name="T12" fmla="*/ 34 w 68"/>
                <a:gd name="T13" fmla="*/ 12 h 85"/>
                <a:gd name="T14" fmla="*/ 46 w 68"/>
                <a:gd name="T15" fmla="*/ 15 h 85"/>
                <a:gd name="T16" fmla="*/ 51 w 68"/>
                <a:gd name="T17" fmla="*/ 25 h 85"/>
                <a:gd name="T18" fmla="*/ 65 w 68"/>
                <a:gd name="T19" fmla="*/ 23 h 85"/>
                <a:gd name="T20" fmla="*/ 60 w 68"/>
                <a:gd name="T21" fmla="*/ 10 h 85"/>
                <a:gd name="T22" fmla="*/ 49 w 68"/>
                <a:gd name="T23" fmla="*/ 3 h 85"/>
                <a:gd name="T24" fmla="*/ 33 w 68"/>
                <a:gd name="T25" fmla="*/ 0 h 85"/>
                <a:gd name="T26" fmla="*/ 21 w 68"/>
                <a:gd name="T27" fmla="*/ 2 h 85"/>
                <a:gd name="T28" fmla="*/ 12 w 68"/>
                <a:gd name="T29" fmla="*/ 6 h 85"/>
                <a:gd name="T30" fmla="*/ 5 w 68"/>
                <a:gd name="T31" fmla="*/ 14 h 85"/>
                <a:gd name="T32" fmla="*/ 3 w 68"/>
                <a:gd name="T33" fmla="*/ 24 h 85"/>
                <a:gd name="T34" fmla="*/ 6 w 68"/>
                <a:gd name="T35" fmla="*/ 35 h 85"/>
                <a:gd name="T36" fmla="*/ 15 w 68"/>
                <a:gd name="T37" fmla="*/ 42 h 85"/>
                <a:gd name="T38" fmla="*/ 36 w 68"/>
                <a:gd name="T39" fmla="*/ 49 h 85"/>
                <a:gd name="T40" fmla="*/ 50 w 68"/>
                <a:gd name="T41" fmla="*/ 54 h 85"/>
                <a:gd name="T42" fmla="*/ 54 w 68"/>
                <a:gd name="T43" fmla="*/ 61 h 85"/>
                <a:gd name="T44" fmla="*/ 49 w 68"/>
                <a:gd name="T45" fmla="*/ 70 h 85"/>
                <a:gd name="T46" fmla="*/ 35 w 68"/>
                <a:gd name="T47" fmla="*/ 74 h 85"/>
                <a:gd name="T48" fmla="*/ 20 w 68"/>
                <a:gd name="T49" fmla="*/ 69 h 85"/>
                <a:gd name="T50" fmla="*/ 14 w 68"/>
                <a:gd name="T51" fmla="*/ 57 h 85"/>
                <a:gd name="T52" fmla="*/ 0 w 68"/>
                <a:gd name="T53" fmla="*/ 59 h 85"/>
                <a:gd name="T54" fmla="*/ 11 w 68"/>
                <a:gd name="T55" fmla="*/ 79 h 85"/>
                <a:gd name="T56" fmla="*/ 35 w 68"/>
                <a:gd name="T57" fmla="*/ 85 h 85"/>
                <a:gd name="T58" fmla="*/ 52 w 68"/>
                <a:gd name="T59" fmla="*/ 82 h 85"/>
                <a:gd name="T60" fmla="*/ 64 w 68"/>
                <a:gd name="T61" fmla="*/ 72 h 85"/>
                <a:gd name="T62" fmla="*/ 68 w 68"/>
                <a:gd name="T63" fmla="*/ 59 h 85"/>
                <a:gd name="T64" fmla="*/ 65 w 68"/>
                <a:gd name="T65" fmla="*/ 48 h 85"/>
                <a:gd name="T66" fmla="*/ 55 w 68"/>
                <a:gd name="T67" fmla="*/ 40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68" h="85">
                  <a:moveTo>
                    <a:pt x="55" y="40"/>
                  </a:moveTo>
                  <a:cubicBezTo>
                    <a:pt x="52" y="39"/>
                    <a:pt x="45" y="37"/>
                    <a:pt x="35" y="34"/>
                  </a:cubicBezTo>
                  <a:cubicBezTo>
                    <a:pt x="28" y="32"/>
                    <a:pt x="24" y="31"/>
                    <a:pt x="23" y="31"/>
                  </a:cubicBezTo>
                  <a:cubicBezTo>
                    <a:pt x="20" y="30"/>
                    <a:pt x="19" y="28"/>
                    <a:pt x="18" y="27"/>
                  </a:cubicBezTo>
                  <a:cubicBezTo>
                    <a:pt x="16" y="25"/>
                    <a:pt x="16" y="24"/>
                    <a:pt x="16" y="22"/>
                  </a:cubicBezTo>
                  <a:cubicBezTo>
                    <a:pt x="16" y="19"/>
                    <a:pt x="17" y="17"/>
                    <a:pt x="20" y="15"/>
                  </a:cubicBezTo>
                  <a:cubicBezTo>
                    <a:pt x="23" y="13"/>
                    <a:pt x="27" y="12"/>
                    <a:pt x="34" y="12"/>
                  </a:cubicBezTo>
                  <a:cubicBezTo>
                    <a:pt x="39" y="12"/>
                    <a:pt x="43" y="13"/>
                    <a:pt x="46" y="15"/>
                  </a:cubicBezTo>
                  <a:cubicBezTo>
                    <a:pt x="49" y="17"/>
                    <a:pt x="51" y="21"/>
                    <a:pt x="51" y="25"/>
                  </a:cubicBezTo>
                  <a:cubicBezTo>
                    <a:pt x="65" y="23"/>
                    <a:pt x="65" y="23"/>
                    <a:pt x="65" y="23"/>
                  </a:cubicBezTo>
                  <a:cubicBezTo>
                    <a:pt x="64" y="18"/>
                    <a:pt x="62" y="14"/>
                    <a:pt x="60" y="10"/>
                  </a:cubicBezTo>
                  <a:cubicBezTo>
                    <a:pt x="58" y="7"/>
                    <a:pt x="54" y="5"/>
                    <a:pt x="49" y="3"/>
                  </a:cubicBezTo>
                  <a:cubicBezTo>
                    <a:pt x="44" y="1"/>
                    <a:pt x="39" y="0"/>
                    <a:pt x="33" y="0"/>
                  </a:cubicBezTo>
                  <a:cubicBezTo>
                    <a:pt x="28" y="0"/>
                    <a:pt x="24" y="1"/>
                    <a:pt x="21" y="2"/>
                  </a:cubicBezTo>
                  <a:cubicBezTo>
                    <a:pt x="17" y="3"/>
                    <a:pt x="14" y="4"/>
                    <a:pt x="12" y="6"/>
                  </a:cubicBezTo>
                  <a:cubicBezTo>
                    <a:pt x="9" y="8"/>
                    <a:pt x="7" y="10"/>
                    <a:pt x="5" y="14"/>
                  </a:cubicBezTo>
                  <a:cubicBezTo>
                    <a:pt x="3" y="17"/>
                    <a:pt x="3" y="20"/>
                    <a:pt x="3" y="24"/>
                  </a:cubicBezTo>
                  <a:cubicBezTo>
                    <a:pt x="3" y="28"/>
                    <a:pt x="4" y="31"/>
                    <a:pt x="6" y="35"/>
                  </a:cubicBezTo>
                  <a:cubicBezTo>
                    <a:pt x="8" y="38"/>
                    <a:pt x="11" y="40"/>
                    <a:pt x="15" y="42"/>
                  </a:cubicBezTo>
                  <a:cubicBezTo>
                    <a:pt x="18" y="44"/>
                    <a:pt x="25" y="46"/>
                    <a:pt x="36" y="49"/>
                  </a:cubicBezTo>
                  <a:cubicBezTo>
                    <a:pt x="43" y="51"/>
                    <a:pt x="48" y="52"/>
                    <a:pt x="50" y="54"/>
                  </a:cubicBezTo>
                  <a:cubicBezTo>
                    <a:pt x="52" y="55"/>
                    <a:pt x="54" y="58"/>
                    <a:pt x="54" y="61"/>
                  </a:cubicBezTo>
                  <a:cubicBezTo>
                    <a:pt x="54" y="64"/>
                    <a:pt x="52" y="67"/>
                    <a:pt x="49" y="70"/>
                  </a:cubicBezTo>
                  <a:cubicBezTo>
                    <a:pt x="46" y="73"/>
                    <a:pt x="41" y="74"/>
                    <a:pt x="35" y="74"/>
                  </a:cubicBezTo>
                  <a:cubicBezTo>
                    <a:pt x="29" y="74"/>
                    <a:pt x="24" y="72"/>
                    <a:pt x="20" y="69"/>
                  </a:cubicBezTo>
                  <a:cubicBezTo>
                    <a:pt x="17" y="67"/>
                    <a:pt x="15" y="62"/>
                    <a:pt x="14" y="57"/>
                  </a:cubicBezTo>
                  <a:cubicBezTo>
                    <a:pt x="0" y="59"/>
                    <a:pt x="0" y="59"/>
                    <a:pt x="0" y="59"/>
                  </a:cubicBezTo>
                  <a:cubicBezTo>
                    <a:pt x="2" y="68"/>
                    <a:pt x="5" y="74"/>
                    <a:pt x="11" y="79"/>
                  </a:cubicBezTo>
                  <a:cubicBezTo>
                    <a:pt x="16" y="83"/>
                    <a:pt x="24" y="85"/>
                    <a:pt x="35" y="85"/>
                  </a:cubicBezTo>
                  <a:cubicBezTo>
                    <a:pt x="41" y="85"/>
                    <a:pt x="47" y="84"/>
                    <a:pt x="52" y="82"/>
                  </a:cubicBezTo>
                  <a:cubicBezTo>
                    <a:pt x="57" y="80"/>
                    <a:pt x="61" y="76"/>
                    <a:pt x="64" y="72"/>
                  </a:cubicBezTo>
                  <a:cubicBezTo>
                    <a:pt x="66" y="68"/>
                    <a:pt x="68" y="64"/>
                    <a:pt x="68" y="59"/>
                  </a:cubicBezTo>
                  <a:cubicBezTo>
                    <a:pt x="68" y="55"/>
                    <a:pt x="67" y="51"/>
                    <a:pt x="65" y="48"/>
                  </a:cubicBezTo>
                  <a:cubicBezTo>
                    <a:pt x="62" y="45"/>
                    <a:pt x="59" y="42"/>
                    <a:pt x="55" y="4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1049459" name="ïśļíḓe"/>
            <p:cNvSpPr/>
            <p:nvPr/>
          </p:nvSpPr>
          <p:spPr bwMode="auto">
            <a:xfrm>
              <a:off x="6205791" y="5675903"/>
              <a:ext cx="25400" cy="30163"/>
            </a:xfrm>
            <a:prstGeom prst="rect">
              <a:avLst/>
            </a:pr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1049460" name="îṡľîdè"/>
            <p:cNvSpPr/>
            <p:nvPr/>
          </p:nvSpPr>
          <p:spPr bwMode="auto">
            <a:xfrm>
              <a:off x="6205791" y="5733053"/>
              <a:ext cx="25400" cy="149225"/>
            </a:xfrm>
            <a:prstGeom prst="rect">
              <a:avLst/>
            </a:pr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1049461" name="îś1iḋê"/>
            <p:cNvSpPr/>
            <p:nvPr/>
          </p:nvSpPr>
          <p:spPr bwMode="auto">
            <a:xfrm>
              <a:off x="6255003" y="5680665"/>
              <a:ext cx="74613" cy="203200"/>
            </a:xfrm>
            <a:custGeom>
              <a:avLst/>
              <a:gdLst>
                <a:gd name="T0" fmla="*/ 32 w 40"/>
                <a:gd name="T1" fmla="*/ 98 h 110"/>
                <a:gd name="T2" fmla="*/ 27 w 40"/>
                <a:gd name="T3" fmla="*/ 97 h 110"/>
                <a:gd name="T4" fmla="*/ 25 w 40"/>
                <a:gd name="T5" fmla="*/ 94 h 110"/>
                <a:gd name="T6" fmla="*/ 24 w 40"/>
                <a:gd name="T7" fmla="*/ 86 h 110"/>
                <a:gd name="T8" fmla="*/ 24 w 40"/>
                <a:gd name="T9" fmla="*/ 39 h 110"/>
                <a:gd name="T10" fmla="*/ 38 w 40"/>
                <a:gd name="T11" fmla="*/ 39 h 110"/>
                <a:gd name="T12" fmla="*/ 38 w 40"/>
                <a:gd name="T13" fmla="*/ 28 h 110"/>
                <a:gd name="T14" fmla="*/ 24 w 40"/>
                <a:gd name="T15" fmla="*/ 28 h 110"/>
                <a:gd name="T16" fmla="*/ 24 w 40"/>
                <a:gd name="T17" fmla="*/ 0 h 110"/>
                <a:gd name="T18" fmla="*/ 11 w 40"/>
                <a:gd name="T19" fmla="*/ 8 h 110"/>
                <a:gd name="T20" fmla="*/ 11 w 40"/>
                <a:gd name="T21" fmla="*/ 28 h 110"/>
                <a:gd name="T22" fmla="*/ 0 w 40"/>
                <a:gd name="T23" fmla="*/ 28 h 110"/>
                <a:gd name="T24" fmla="*/ 0 w 40"/>
                <a:gd name="T25" fmla="*/ 39 h 110"/>
                <a:gd name="T26" fmla="*/ 11 w 40"/>
                <a:gd name="T27" fmla="*/ 39 h 110"/>
                <a:gd name="T28" fmla="*/ 11 w 40"/>
                <a:gd name="T29" fmla="*/ 86 h 110"/>
                <a:gd name="T30" fmla="*/ 12 w 40"/>
                <a:gd name="T31" fmla="*/ 102 h 110"/>
                <a:gd name="T32" fmla="*/ 18 w 40"/>
                <a:gd name="T33" fmla="*/ 108 h 110"/>
                <a:gd name="T34" fmla="*/ 30 w 40"/>
                <a:gd name="T35" fmla="*/ 110 h 110"/>
                <a:gd name="T36" fmla="*/ 40 w 40"/>
                <a:gd name="T37" fmla="*/ 109 h 110"/>
                <a:gd name="T38" fmla="*/ 38 w 40"/>
                <a:gd name="T39" fmla="*/ 97 h 110"/>
                <a:gd name="T40" fmla="*/ 32 w 40"/>
                <a:gd name="T41" fmla="*/ 98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0" h="110">
                  <a:moveTo>
                    <a:pt x="32" y="98"/>
                  </a:moveTo>
                  <a:cubicBezTo>
                    <a:pt x="30" y="98"/>
                    <a:pt x="28" y="97"/>
                    <a:pt x="27" y="97"/>
                  </a:cubicBezTo>
                  <a:cubicBezTo>
                    <a:pt x="26" y="96"/>
                    <a:pt x="25" y="95"/>
                    <a:pt x="25" y="94"/>
                  </a:cubicBezTo>
                  <a:cubicBezTo>
                    <a:pt x="24" y="93"/>
                    <a:pt x="24" y="90"/>
                    <a:pt x="24" y="86"/>
                  </a:cubicBezTo>
                  <a:cubicBezTo>
                    <a:pt x="24" y="39"/>
                    <a:pt x="24" y="39"/>
                    <a:pt x="24" y="39"/>
                  </a:cubicBezTo>
                  <a:cubicBezTo>
                    <a:pt x="38" y="39"/>
                    <a:pt x="38" y="39"/>
                    <a:pt x="38" y="39"/>
                  </a:cubicBezTo>
                  <a:cubicBezTo>
                    <a:pt x="38" y="28"/>
                    <a:pt x="38" y="28"/>
                    <a:pt x="38" y="28"/>
                  </a:cubicBezTo>
                  <a:cubicBezTo>
                    <a:pt x="24" y="28"/>
                    <a:pt x="24" y="28"/>
                    <a:pt x="24" y="28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11" y="8"/>
                    <a:pt x="11" y="8"/>
                    <a:pt x="11" y="8"/>
                  </a:cubicBezTo>
                  <a:cubicBezTo>
                    <a:pt x="11" y="28"/>
                    <a:pt x="11" y="28"/>
                    <a:pt x="11" y="28"/>
                  </a:cubicBezTo>
                  <a:cubicBezTo>
                    <a:pt x="0" y="28"/>
                    <a:pt x="0" y="28"/>
                    <a:pt x="0" y="28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11" y="39"/>
                    <a:pt x="11" y="39"/>
                    <a:pt x="11" y="39"/>
                  </a:cubicBezTo>
                  <a:cubicBezTo>
                    <a:pt x="11" y="86"/>
                    <a:pt x="11" y="86"/>
                    <a:pt x="11" y="86"/>
                  </a:cubicBezTo>
                  <a:cubicBezTo>
                    <a:pt x="11" y="94"/>
                    <a:pt x="11" y="99"/>
                    <a:pt x="12" y="102"/>
                  </a:cubicBezTo>
                  <a:cubicBezTo>
                    <a:pt x="13" y="104"/>
                    <a:pt x="15" y="106"/>
                    <a:pt x="18" y="108"/>
                  </a:cubicBezTo>
                  <a:cubicBezTo>
                    <a:pt x="21" y="110"/>
                    <a:pt x="25" y="110"/>
                    <a:pt x="30" y="110"/>
                  </a:cubicBezTo>
                  <a:cubicBezTo>
                    <a:pt x="33" y="110"/>
                    <a:pt x="36" y="110"/>
                    <a:pt x="40" y="109"/>
                  </a:cubicBezTo>
                  <a:cubicBezTo>
                    <a:pt x="38" y="97"/>
                    <a:pt x="38" y="97"/>
                    <a:pt x="38" y="97"/>
                  </a:cubicBezTo>
                  <a:cubicBezTo>
                    <a:pt x="36" y="97"/>
                    <a:pt x="34" y="98"/>
                    <a:pt x="32" y="9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1049462" name="išľîḋê"/>
            <p:cNvSpPr/>
            <p:nvPr/>
          </p:nvSpPr>
          <p:spPr bwMode="auto">
            <a:xfrm>
              <a:off x="6335966" y="5733053"/>
              <a:ext cx="136525" cy="211138"/>
            </a:xfrm>
            <a:custGeom>
              <a:avLst/>
              <a:gdLst>
                <a:gd name="T0" fmla="*/ 43 w 74"/>
                <a:gd name="T1" fmla="*/ 47 h 114"/>
                <a:gd name="T2" fmla="*/ 37 w 74"/>
                <a:gd name="T3" fmla="*/ 66 h 114"/>
                <a:gd name="T4" fmla="*/ 32 w 74"/>
                <a:gd name="T5" fmla="*/ 47 h 114"/>
                <a:gd name="T6" fmla="*/ 15 w 74"/>
                <a:gd name="T7" fmla="*/ 0 h 114"/>
                <a:gd name="T8" fmla="*/ 0 w 74"/>
                <a:gd name="T9" fmla="*/ 0 h 114"/>
                <a:gd name="T10" fmla="*/ 31 w 74"/>
                <a:gd name="T11" fmla="*/ 81 h 114"/>
                <a:gd name="T12" fmla="*/ 29 w 74"/>
                <a:gd name="T13" fmla="*/ 85 h 114"/>
                <a:gd name="T14" fmla="*/ 25 w 74"/>
                <a:gd name="T15" fmla="*/ 95 h 114"/>
                <a:gd name="T16" fmla="*/ 21 w 74"/>
                <a:gd name="T17" fmla="*/ 99 h 114"/>
                <a:gd name="T18" fmla="*/ 13 w 74"/>
                <a:gd name="T19" fmla="*/ 101 h 114"/>
                <a:gd name="T20" fmla="*/ 5 w 74"/>
                <a:gd name="T21" fmla="*/ 100 h 114"/>
                <a:gd name="T22" fmla="*/ 7 w 74"/>
                <a:gd name="T23" fmla="*/ 113 h 114"/>
                <a:gd name="T24" fmla="*/ 16 w 74"/>
                <a:gd name="T25" fmla="*/ 114 h 114"/>
                <a:gd name="T26" fmla="*/ 27 w 74"/>
                <a:gd name="T27" fmla="*/ 111 h 114"/>
                <a:gd name="T28" fmla="*/ 36 w 74"/>
                <a:gd name="T29" fmla="*/ 101 h 114"/>
                <a:gd name="T30" fmla="*/ 43 w 74"/>
                <a:gd name="T31" fmla="*/ 83 h 114"/>
                <a:gd name="T32" fmla="*/ 74 w 74"/>
                <a:gd name="T33" fmla="*/ 0 h 114"/>
                <a:gd name="T34" fmla="*/ 60 w 74"/>
                <a:gd name="T35" fmla="*/ 0 h 114"/>
                <a:gd name="T36" fmla="*/ 43 w 74"/>
                <a:gd name="T37" fmla="*/ 47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74" h="114">
                  <a:moveTo>
                    <a:pt x="43" y="47"/>
                  </a:moveTo>
                  <a:cubicBezTo>
                    <a:pt x="41" y="53"/>
                    <a:pt x="39" y="60"/>
                    <a:pt x="37" y="66"/>
                  </a:cubicBezTo>
                  <a:cubicBezTo>
                    <a:pt x="36" y="59"/>
                    <a:pt x="34" y="53"/>
                    <a:pt x="32" y="47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0" y="83"/>
                    <a:pt x="30" y="84"/>
                    <a:pt x="29" y="85"/>
                  </a:cubicBezTo>
                  <a:cubicBezTo>
                    <a:pt x="27" y="90"/>
                    <a:pt x="26" y="94"/>
                    <a:pt x="25" y="95"/>
                  </a:cubicBezTo>
                  <a:cubicBezTo>
                    <a:pt x="24" y="97"/>
                    <a:pt x="22" y="98"/>
                    <a:pt x="21" y="99"/>
                  </a:cubicBezTo>
                  <a:cubicBezTo>
                    <a:pt x="19" y="100"/>
                    <a:pt x="16" y="101"/>
                    <a:pt x="13" y="101"/>
                  </a:cubicBezTo>
                  <a:cubicBezTo>
                    <a:pt x="11" y="101"/>
                    <a:pt x="8" y="101"/>
                    <a:pt x="5" y="100"/>
                  </a:cubicBezTo>
                  <a:cubicBezTo>
                    <a:pt x="7" y="113"/>
                    <a:pt x="7" y="113"/>
                    <a:pt x="7" y="113"/>
                  </a:cubicBezTo>
                  <a:cubicBezTo>
                    <a:pt x="10" y="114"/>
                    <a:pt x="13" y="114"/>
                    <a:pt x="16" y="114"/>
                  </a:cubicBezTo>
                  <a:cubicBezTo>
                    <a:pt x="20" y="114"/>
                    <a:pt x="24" y="113"/>
                    <a:pt x="27" y="111"/>
                  </a:cubicBezTo>
                  <a:cubicBezTo>
                    <a:pt x="30" y="109"/>
                    <a:pt x="33" y="106"/>
                    <a:pt x="36" y="101"/>
                  </a:cubicBezTo>
                  <a:cubicBezTo>
                    <a:pt x="37" y="98"/>
                    <a:pt x="40" y="92"/>
                    <a:pt x="43" y="83"/>
                  </a:cubicBezTo>
                  <a:cubicBezTo>
                    <a:pt x="74" y="0"/>
                    <a:pt x="74" y="0"/>
                    <a:pt x="74" y="0"/>
                  </a:cubicBezTo>
                  <a:cubicBezTo>
                    <a:pt x="60" y="0"/>
                    <a:pt x="60" y="0"/>
                    <a:pt x="60" y="0"/>
                  </a:cubicBezTo>
                  <a:lnTo>
                    <a:pt x="43" y="47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1049463" name="íSḷiḑè"/>
            <p:cNvSpPr/>
            <p:nvPr/>
          </p:nvSpPr>
          <p:spPr bwMode="auto">
            <a:xfrm>
              <a:off x="6564566" y="5729878"/>
              <a:ext cx="142875" cy="157163"/>
            </a:xfrm>
            <a:custGeom>
              <a:avLst/>
              <a:gdLst>
                <a:gd name="T0" fmla="*/ 38 w 77"/>
                <a:gd name="T1" fmla="*/ 0 h 85"/>
                <a:gd name="T2" fmla="*/ 13 w 77"/>
                <a:gd name="T3" fmla="*/ 9 h 85"/>
                <a:gd name="T4" fmla="*/ 0 w 77"/>
                <a:gd name="T5" fmla="*/ 43 h 85"/>
                <a:gd name="T6" fmla="*/ 11 w 77"/>
                <a:gd name="T7" fmla="*/ 74 h 85"/>
                <a:gd name="T8" fmla="*/ 38 w 77"/>
                <a:gd name="T9" fmla="*/ 85 h 85"/>
                <a:gd name="T10" fmla="*/ 58 w 77"/>
                <a:gd name="T11" fmla="*/ 80 h 85"/>
                <a:gd name="T12" fmla="*/ 72 w 77"/>
                <a:gd name="T13" fmla="*/ 66 h 85"/>
                <a:gd name="T14" fmla="*/ 77 w 77"/>
                <a:gd name="T15" fmla="*/ 42 h 85"/>
                <a:gd name="T16" fmla="*/ 66 w 77"/>
                <a:gd name="T17" fmla="*/ 11 h 85"/>
                <a:gd name="T18" fmla="*/ 38 w 77"/>
                <a:gd name="T19" fmla="*/ 0 h 85"/>
                <a:gd name="T20" fmla="*/ 56 w 77"/>
                <a:gd name="T21" fmla="*/ 66 h 85"/>
                <a:gd name="T22" fmla="*/ 38 w 77"/>
                <a:gd name="T23" fmla="*/ 74 h 85"/>
                <a:gd name="T24" fmla="*/ 21 w 77"/>
                <a:gd name="T25" fmla="*/ 66 h 85"/>
                <a:gd name="T26" fmla="*/ 15 w 77"/>
                <a:gd name="T27" fmla="*/ 43 h 85"/>
                <a:gd name="T28" fmla="*/ 21 w 77"/>
                <a:gd name="T29" fmla="*/ 19 h 85"/>
                <a:gd name="T30" fmla="*/ 38 w 77"/>
                <a:gd name="T31" fmla="*/ 12 h 85"/>
                <a:gd name="T32" fmla="*/ 56 w 77"/>
                <a:gd name="T33" fmla="*/ 19 h 85"/>
                <a:gd name="T34" fmla="*/ 62 w 77"/>
                <a:gd name="T35" fmla="*/ 42 h 85"/>
                <a:gd name="T36" fmla="*/ 56 w 77"/>
                <a:gd name="T37" fmla="*/ 66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77" h="85">
                  <a:moveTo>
                    <a:pt x="38" y="0"/>
                  </a:moveTo>
                  <a:cubicBezTo>
                    <a:pt x="28" y="0"/>
                    <a:pt x="20" y="3"/>
                    <a:pt x="13" y="9"/>
                  </a:cubicBezTo>
                  <a:cubicBezTo>
                    <a:pt x="5" y="16"/>
                    <a:pt x="0" y="28"/>
                    <a:pt x="0" y="43"/>
                  </a:cubicBezTo>
                  <a:cubicBezTo>
                    <a:pt x="0" y="56"/>
                    <a:pt x="4" y="67"/>
                    <a:pt x="11" y="74"/>
                  </a:cubicBezTo>
                  <a:cubicBezTo>
                    <a:pt x="18" y="82"/>
                    <a:pt x="27" y="85"/>
                    <a:pt x="38" y="85"/>
                  </a:cubicBezTo>
                  <a:cubicBezTo>
                    <a:pt x="46" y="85"/>
                    <a:pt x="52" y="84"/>
                    <a:pt x="58" y="80"/>
                  </a:cubicBezTo>
                  <a:cubicBezTo>
                    <a:pt x="64" y="77"/>
                    <a:pt x="69" y="72"/>
                    <a:pt x="72" y="66"/>
                  </a:cubicBezTo>
                  <a:cubicBezTo>
                    <a:pt x="75" y="60"/>
                    <a:pt x="77" y="52"/>
                    <a:pt x="77" y="42"/>
                  </a:cubicBezTo>
                  <a:cubicBezTo>
                    <a:pt x="77" y="29"/>
                    <a:pt x="73" y="19"/>
                    <a:pt x="66" y="11"/>
                  </a:cubicBezTo>
                  <a:cubicBezTo>
                    <a:pt x="59" y="4"/>
                    <a:pt x="50" y="0"/>
                    <a:pt x="38" y="0"/>
                  </a:cubicBezTo>
                  <a:close/>
                  <a:moveTo>
                    <a:pt x="56" y="66"/>
                  </a:moveTo>
                  <a:cubicBezTo>
                    <a:pt x="51" y="71"/>
                    <a:pt x="45" y="74"/>
                    <a:pt x="38" y="74"/>
                  </a:cubicBezTo>
                  <a:cubicBezTo>
                    <a:pt x="32" y="74"/>
                    <a:pt x="26" y="71"/>
                    <a:pt x="21" y="66"/>
                  </a:cubicBezTo>
                  <a:cubicBezTo>
                    <a:pt x="17" y="61"/>
                    <a:pt x="15" y="53"/>
                    <a:pt x="15" y="43"/>
                  </a:cubicBezTo>
                  <a:cubicBezTo>
                    <a:pt x="15" y="32"/>
                    <a:pt x="17" y="24"/>
                    <a:pt x="21" y="19"/>
                  </a:cubicBezTo>
                  <a:cubicBezTo>
                    <a:pt x="26" y="14"/>
                    <a:pt x="32" y="12"/>
                    <a:pt x="38" y="12"/>
                  </a:cubicBezTo>
                  <a:cubicBezTo>
                    <a:pt x="45" y="12"/>
                    <a:pt x="51" y="14"/>
                    <a:pt x="56" y="19"/>
                  </a:cubicBezTo>
                  <a:cubicBezTo>
                    <a:pt x="60" y="25"/>
                    <a:pt x="62" y="32"/>
                    <a:pt x="62" y="42"/>
                  </a:cubicBezTo>
                  <a:cubicBezTo>
                    <a:pt x="62" y="53"/>
                    <a:pt x="60" y="61"/>
                    <a:pt x="56" y="66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1049464" name="ïṣľïḑe"/>
            <p:cNvSpPr/>
            <p:nvPr/>
          </p:nvSpPr>
          <p:spPr bwMode="auto">
            <a:xfrm>
              <a:off x="6720141" y="5672728"/>
              <a:ext cx="85725" cy="209550"/>
            </a:xfrm>
            <a:custGeom>
              <a:avLst/>
              <a:gdLst>
                <a:gd name="T0" fmla="*/ 20 w 47"/>
                <a:gd name="T1" fmla="*/ 4 h 114"/>
                <a:gd name="T2" fmla="*/ 13 w 47"/>
                <a:gd name="T3" fmla="*/ 12 h 114"/>
                <a:gd name="T4" fmla="*/ 12 w 47"/>
                <a:gd name="T5" fmla="*/ 24 h 114"/>
                <a:gd name="T6" fmla="*/ 12 w 47"/>
                <a:gd name="T7" fmla="*/ 33 h 114"/>
                <a:gd name="T8" fmla="*/ 0 w 47"/>
                <a:gd name="T9" fmla="*/ 33 h 114"/>
                <a:gd name="T10" fmla="*/ 0 w 47"/>
                <a:gd name="T11" fmla="*/ 44 h 114"/>
                <a:gd name="T12" fmla="*/ 12 w 47"/>
                <a:gd name="T13" fmla="*/ 44 h 114"/>
                <a:gd name="T14" fmla="*/ 12 w 47"/>
                <a:gd name="T15" fmla="*/ 114 h 114"/>
                <a:gd name="T16" fmla="*/ 26 w 47"/>
                <a:gd name="T17" fmla="*/ 114 h 114"/>
                <a:gd name="T18" fmla="*/ 26 w 47"/>
                <a:gd name="T19" fmla="*/ 44 h 114"/>
                <a:gd name="T20" fmla="*/ 41 w 47"/>
                <a:gd name="T21" fmla="*/ 44 h 114"/>
                <a:gd name="T22" fmla="*/ 41 w 47"/>
                <a:gd name="T23" fmla="*/ 33 h 114"/>
                <a:gd name="T24" fmla="*/ 26 w 47"/>
                <a:gd name="T25" fmla="*/ 33 h 114"/>
                <a:gd name="T26" fmla="*/ 26 w 47"/>
                <a:gd name="T27" fmla="*/ 26 h 114"/>
                <a:gd name="T28" fmla="*/ 28 w 47"/>
                <a:gd name="T29" fmla="*/ 16 h 114"/>
                <a:gd name="T30" fmla="*/ 37 w 47"/>
                <a:gd name="T31" fmla="*/ 13 h 114"/>
                <a:gd name="T32" fmla="*/ 45 w 47"/>
                <a:gd name="T33" fmla="*/ 14 h 114"/>
                <a:gd name="T34" fmla="*/ 47 w 47"/>
                <a:gd name="T35" fmla="*/ 2 h 114"/>
                <a:gd name="T36" fmla="*/ 34 w 47"/>
                <a:gd name="T37" fmla="*/ 0 h 114"/>
                <a:gd name="T38" fmla="*/ 20 w 47"/>
                <a:gd name="T39" fmla="*/ 4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47" h="114">
                  <a:moveTo>
                    <a:pt x="20" y="4"/>
                  </a:moveTo>
                  <a:cubicBezTo>
                    <a:pt x="17" y="6"/>
                    <a:pt x="15" y="9"/>
                    <a:pt x="13" y="12"/>
                  </a:cubicBezTo>
                  <a:cubicBezTo>
                    <a:pt x="12" y="15"/>
                    <a:pt x="12" y="19"/>
                    <a:pt x="12" y="24"/>
                  </a:cubicBezTo>
                  <a:cubicBezTo>
                    <a:pt x="12" y="33"/>
                    <a:pt x="12" y="33"/>
                    <a:pt x="12" y="33"/>
                  </a:cubicBezTo>
                  <a:cubicBezTo>
                    <a:pt x="0" y="33"/>
                    <a:pt x="0" y="33"/>
                    <a:pt x="0" y="33"/>
                  </a:cubicBezTo>
                  <a:cubicBezTo>
                    <a:pt x="0" y="44"/>
                    <a:pt x="0" y="44"/>
                    <a:pt x="0" y="44"/>
                  </a:cubicBezTo>
                  <a:cubicBezTo>
                    <a:pt x="12" y="44"/>
                    <a:pt x="12" y="44"/>
                    <a:pt x="12" y="44"/>
                  </a:cubicBezTo>
                  <a:cubicBezTo>
                    <a:pt x="12" y="114"/>
                    <a:pt x="12" y="114"/>
                    <a:pt x="12" y="114"/>
                  </a:cubicBezTo>
                  <a:cubicBezTo>
                    <a:pt x="26" y="114"/>
                    <a:pt x="26" y="114"/>
                    <a:pt x="26" y="114"/>
                  </a:cubicBezTo>
                  <a:cubicBezTo>
                    <a:pt x="26" y="44"/>
                    <a:pt x="26" y="44"/>
                    <a:pt x="26" y="44"/>
                  </a:cubicBezTo>
                  <a:cubicBezTo>
                    <a:pt x="41" y="44"/>
                    <a:pt x="41" y="44"/>
                    <a:pt x="41" y="44"/>
                  </a:cubicBezTo>
                  <a:cubicBezTo>
                    <a:pt x="41" y="33"/>
                    <a:pt x="41" y="33"/>
                    <a:pt x="41" y="33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26" y="26"/>
                    <a:pt x="26" y="26"/>
                    <a:pt x="26" y="26"/>
                  </a:cubicBezTo>
                  <a:cubicBezTo>
                    <a:pt x="26" y="21"/>
                    <a:pt x="27" y="17"/>
                    <a:pt x="28" y="16"/>
                  </a:cubicBezTo>
                  <a:cubicBezTo>
                    <a:pt x="30" y="14"/>
                    <a:pt x="33" y="13"/>
                    <a:pt x="37" y="13"/>
                  </a:cubicBezTo>
                  <a:cubicBezTo>
                    <a:pt x="40" y="13"/>
                    <a:pt x="42" y="13"/>
                    <a:pt x="45" y="14"/>
                  </a:cubicBezTo>
                  <a:cubicBezTo>
                    <a:pt x="47" y="2"/>
                    <a:pt x="47" y="2"/>
                    <a:pt x="47" y="2"/>
                  </a:cubicBezTo>
                  <a:cubicBezTo>
                    <a:pt x="43" y="1"/>
                    <a:pt x="38" y="0"/>
                    <a:pt x="34" y="0"/>
                  </a:cubicBezTo>
                  <a:cubicBezTo>
                    <a:pt x="28" y="0"/>
                    <a:pt x="24" y="1"/>
                    <a:pt x="20" y="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1049465" name="ïš1îḍè"/>
            <p:cNvSpPr/>
            <p:nvPr/>
          </p:nvSpPr>
          <p:spPr bwMode="auto">
            <a:xfrm>
              <a:off x="6890003" y="5672728"/>
              <a:ext cx="165100" cy="214313"/>
            </a:xfrm>
            <a:custGeom>
              <a:avLst/>
              <a:gdLst>
                <a:gd name="T0" fmla="*/ 71 w 90"/>
                <a:gd name="T1" fmla="*/ 55 h 116"/>
                <a:gd name="T2" fmla="*/ 46 w 90"/>
                <a:gd name="T3" fmla="*/ 48 h 116"/>
                <a:gd name="T4" fmla="*/ 23 w 90"/>
                <a:gd name="T5" fmla="*/ 40 h 116"/>
                <a:gd name="T6" fmla="*/ 19 w 90"/>
                <a:gd name="T7" fmla="*/ 30 h 116"/>
                <a:gd name="T8" fmla="*/ 25 w 90"/>
                <a:gd name="T9" fmla="*/ 18 h 116"/>
                <a:gd name="T10" fmla="*/ 45 w 90"/>
                <a:gd name="T11" fmla="*/ 13 h 116"/>
                <a:gd name="T12" fmla="*/ 64 w 90"/>
                <a:gd name="T13" fmla="*/ 19 h 116"/>
                <a:gd name="T14" fmla="*/ 72 w 90"/>
                <a:gd name="T15" fmla="*/ 35 h 116"/>
                <a:gd name="T16" fmla="*/ 86 w 90"/>
                <a:gd name="T17" fmla="*/ 34 h 116"/>
                <a:gd name="T18" fmla="*/ 81 w 90"/>
                <a:gd name="T19" fmla="*/ 16 h 116"/>
                <a:gd name="T20" fmla="*/ 66 w 90"/>
                <a:gd name="T21" fmla="*/ 4 h 116"/>
                <a:gd name="T22" fmla="*/ 44 w 90"/>
                <a:gd name="T23" fmla="*/ 0 h 116"/>
                <a:gd name="T24" fmla="*/ 24 w 90"/>
                <a:gd name="T25" fmla="*/ 4 h 116"/>
                <a:gd name="T26" fmla="*/ 10 w 90"/>
                <a:gd name="T27" fmla="*/ 15 h 116"/>
                <a:gd name="T28" fmla="*/ 5 w 90"/>
                <a:gd name="T29" fmla="*/ 31 h 116"/>
                <a:gd name="T30" fmla="*/ 9 w 90"/>
                <a:gd name="T31" fmla="*/ 45 h 116"/>
                <a:gd name="T32" fmla="*/ 21 w 90"/>
                <a:gd name="T33" fmla="*/ 56 h 116"/>
                <a:gd name="T34" fmla="*/ 42 w 90"/>
                <a:gd name="T35" fmla="*/ 63 h 116"/>
                <a:gd name="T36" fmla="*/ 62 w 90"/>
                <a:gd name="T37" fmla="*/ 68 h 116"/>
                <a:gd name="T38" fmla="*/ 72 w 90"/>
                <a:gd name="T39" fmla="*/ 75 h 116"/>
                <a:gd name="T40" fmla="*/ 75 w 90"/>
                <a:gd name="T41" fmla="*/ 84 h 116"/>
                <a:gd name="T42" fmla="*/ 72 w 90"/>
                <a:gd name="T43" fmla="*/ 93 h 116"/>
                <a:gd name="T44" fmla="*/ 63 w 90"/>
                <a:gd name="T45" fmla="*/ 100 h 116"/>
                <a:gd name="T46" fmla="*/ 48 w 90"/>
                <a:gd name="T47" fmla="*/ 103 h 116"/>
                <a:gd name="T48" fmla="*/ 30 w 90"/>
                <a:gd name="T49" fmla="*/ 100 h 116"/>
                <a:gd name="T50" fmla="*/ 19 w 90"/>
                <a:gd name="T51" fmla="*/ 91 h 116"/>
                <a:gd name="T52" fmla="*/ 14 w 90"/>
                <a:gd name="T53" fmla="*/ 77 h 116"/>
                <a:gd name="T54" fmla="*/ 0 w 90"/>
                <a:gd name="T55" fmla="*/ 78 h 116"/>
                <a:gd name="T56" fmla="*/ 7 w 90"/>
                <a:gd name="T57" fmla="*/ 98 h 116"/>
                <a:gd name="T58" fmla="*/ 23 w 90"/>
                <a:gd name="T59" fmla="*/ 112 h 116"/>
                <a:gd name="T60" fmla="*/ 48 w 90"/>
                <a:gd name="T61" fmla="*/ 116 h 116"/>
                <a:gd name="T62" fmla="*/ 70 w 90"/>
                <a:gd name="T63" fmla="*/ 112 h 116"/>
                <a:gd name="T64" fmla="*/ 85 w 90"/>
                <a:gd name="T65" fmla="*/ 100 h 116"/>
                <a:gd name="T66" fmla="*/ 90 w 90"/>
                <a:gd name="T67" fmla="*/ 83 h 116"/>
                <a:gd name="T68" fmla="*/ 85 w 90"/>
                <a:gd name="T69" fmla="*/ 67 h 116"/>
                <a:gd name="T70" fmla="*/ 71 w 90"/>
                <a:gd name="T71" fmla="*/ 55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90" h="116">
                  <a:moveTo>
                    <a:pt x="71" y="55"/>
                  </a:moveTo>
                  <a:cubicBezTo>
                    <a:pt x="66" y="53"/>
                    <a:pt x="58" y="51"/>
                    <a:pt x="46" y="48"/>
                  </a:cubicBezTo>
                  <a:cubicBezTo>
                    <a:pt x="34" y="45"/>
                    <a:pt x="26" y="43"/>
                    <a:pt x="23" y="40"/>
                  </a:cubicBezTo>
                  <a:cubicBezTo>
                    <a:pt x="21" y="38"/>
                    <a:pt x="19" y="34"/>
                    <a:pt x="19" y="30"/>
                  </a:cubicBezTo>
                  <a:cubicBezTo>
                    <a:pt x="19" y="26"/>
                    <a:pt x="21" y="22"/>
                    <a:pt x="25" y="18"/>
                  </a:cubicBezTo>
                  <a:cubicBezTo>
                    <a:pt x="29" y="15"/>
                    <a:pt x="36" y="13"/>
                    <a:pt x="45" y="13"/>
                  </a:cubicBezTo>
                  <a:cubicBezTo>
                    <a:pt x="53" y="13"/>
                    <a:pt x="60" y="15"/>
                    <a:pt x="64" y="19"/>
                  </a:cubicBezTo>
                  <a:cubicBezTo>
                    <a:pt x="69" y="22"/>
                    <a:pt x="71" y="28"/>
                    <a:pt x="72" y="35"/>
                  </a:cubicBezTo>
                  <a:cubicBezTo>
                    <a:pt x="86" y="34"/>
                    <a:pt x="86" y="34"/>
                    <a:pt x="86" y="34"/>
                  </a:cubicBezTo>
                  <a:cubicBezTo>
                    <a:pt x="86" y="27"/>
                    <a:pt x="84" y="21"/>
                    <a:pt x="81" y="16"/>
                  </a:cubicBezTo>
                  <a:cubicBezTo>
                    <a:pt x="77" y="11"/>
                    <a:pt x="73" y="7"/>
                    <a:pt x="66" y="4"/>
                  </a:cubicBezTo>
                  <a:cubicBezTo>
                    <a:pt x="60" y="2"/>
                    <a:pt x="53" y="0"/>
                    <a:pt x="44" y="0"/>
                  </a:cubicBezTo>
                  <a:cubicBezTo>
                    <a:pt x="37" y="0"/>
                    <a:pt x="30" y="1"/>
                    <a:pt x="24" y="4"/>
                  </a:cubicBezTo>
                  <a:cubicBezTo>
                    <a:pt x="17" y="7"/>
                    <a:pt x="13" y="10"/>
                    <a:pt x="10" y="15"/>
                  </a:cubicBezTo>
                  <a:cubicBezTo>
                    <a:pt x="6" y="20"/>
                    <a:pt x="5" y="25"/>
                    <a:pt x="5" y="31"/>
                  </a:cubicBezTo>
                  <a:cubicBezTo>
                    <a:pt x="5" y="36"/>
                    <a:pt x="6" y="41"/>
                    <a:pt x="9" y="45"/>
                  </a:cubicBezTo>
                  <a:cubicBezTo>
                    <a:pt x="11" y="49"/>
                    <a:pt x="15" y="53"/>
                    <a:pt x="21" y="56"/>
                  </a:cubicBezTo>
                  <a:cubicBezTo>
                    <a:pt x="25" y="58"/>
                    <a:pt x="32" y="60"/>
                    <a:pt x="42" y="63"/>
                  </a:cubicBezTo>
                  <a:cubicBezTo>
                    <a:pt x="53" y="65"/>
                    <a:pt x="59" y="67"/>
                    <a:pt x="62" y="68"/>
                  </a:cubicBezTo>
                  <a:cubicBezTo>
                    <a:pt x="67" y="70"/>
                    <a:pt x="70" y="72"/>
                    <a:pt x="72" y="75"/>
                  </a:cubicBezTo>
                  <a:cubicBezTo>
                    <a:pt x="74" y="77"/>
                    <a:pt x="75" y="80"/>
                    <a:pt x="75" y="84"/>
                  </a:cubicBezTo>
                  <a:cubicBezTo>
                    <a:pt x="75" y="87"/>
                    <a:pt x="74" y="91"/>
                    <a:pt x="72" y="93"/>
                  </a:cubicBezTo>
                  <a:cubicBezTo>
                    <a:pt x="70" y="96"/>
                    <a:pt x="67" y="99"/>
                    <a:pt x="63" y="100"/>
                  </a:cubicBezTo>
                  <a:cubicBezTo>
                    <a:pt x="58" y="102"/>
                    <a:pt x="53" y="103"/>
                    <a:pt x="48" y="103"/>
                  </a:cubicBezTo>
                  <a:cubicBezTo>
                    <a:pt x="41" y="103"/>
                    <a:pt x="35" y="102"/>
                    <a:pt x="30" y="100"/>
                  </a:cubicBezTo>
                  <a:cubicBezTo>
                    <a:pt x="25" y="97"/>
                    <a:pt x="22" y="94"/>
                    <a:pt x="19" y="91"/>
                  </a:cubicBezTo>
                  <a:cubicBezTo>
                    <a:pt x="17" y="87"/>
                    <a:pt x="15" y="83"/>
                    <a:pt x="14" y="77"/>
                  </a:cubicBezTo>
                  <a:cubicBezTo>
                    <a:pt x="0" y="78"/>
                    <a:pt x="0" y="78"/>
                    <a:pt x="0" y="78"/>
                  </a:cubicBezTo>
                  <a:cubicBezTo>
                    <a:pt x="1" y="86"/>
                    <a:pt x="3" y="93"/>
                    <a:pt x="7" y="98"/>
                  </a:cubicBezTo>
                  <a:cubicBezTo>
                    <a:pt x="11" y="104"/>
                    <a:pt x="16" y="109"/>
                    <a:pt x="23" y="112"/>
                  </a:cubicBezTo>
                  <a:cubicBezTo>
                    <a:pt x="30" y="115"/>
                    <a:pt x="38" y="116"/>
                    <a:pt x="48" y="116"/>
                  </a:cubicBezTo>
                  <a:cubicBezTo>
                    <a:pt x="56" y="116"/>
                    <a:pt x="64" y="115"/>
                    <a:pt x="70" y="112"/>
                  </a:cubicBezTo>
                  <a:cubicBezTo>
                    <a:pt x="76" y="109"/>
                    <a:pt x="81" y="105"/>
                    <a:pt x="85" y="100"/>
                  </a:cubicBezTo>
                  <a:cubicBezTo>
                    <a:pt x="88" y="94"/>
                    <a:pt x="90" y="89"/>
                    <a:pt x="90" y="83"/>
                  </a:cubicBezTo>
                  <a:cubicBezTo>
                    <a:pt x="90" y="77"/>
                    <a:pt x="88" y="71"/>
                    <a:pt x="85" y="67"/>
                  </a:cubicBezTo>
                  <a:cubicBezTo>
                    <a:pt x="82" y="62"/>
                    <a:pt x="77" y="58"/>
                    <a:pt x="71" y="5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1049466" name="iṥľïḍê"/>
            <p:cNvSpPr/>
            <p:nvPr/>
          </p:nvSpPr>
          <p:spPr bwMode="auto">
            <a:xfrm>
              <a:off x="7080503" y="5729878"/>
              <a:ext cx="131763" cy="157163"/>
            </a:xfrm>
            <a:custGeom>
              <a:avLst/>
              <a:gdLst>
                <a:gd name="T0" fmla="*/ 50 w 71"/>
                <a:gd name="T1" fmla="*/ 69 h 85"/>
                <a:gd name="T2" fmla="*/ 37 w 71"/>
                <a:gd name="T3" fmla="*/ 74 h 85"/>
                <a:gd name="T4" fmla="*/ 21 w 71"/>
                <a:gd name="T5" fmla="*/ 66 h 85"/>
                <a:gd name="T6" fmla="*/ 14 w 71"/>
                <a:gd name="T7" fmla="*/ 43 h 85"/>
                <a:gd name="T8" fmla="*/ 21 w 71"/>
                <a:gd name="T9" fmla="*/ 19 h 85"/>
                <a:gd name="T10" fmla="*/ 38 w 71"/>
                <a:gd name="T11" fmla="*/ 12 h 85"/>
                <a:gd name="T12" fmla="*/ 49 w 71"/>
                <a:gd name="T13" fmla="*/ 16 h 85"/>
                <a:gd name="T14" fmla="*/ 56 w 71"/>
                <a:gd name="T15" fmla="*/ 28 h 85"/>
                <a:gd name="T16" fmla="*/ 70 w 71"/>
                <a:gd name="T17" fmla="*/ 26 h 85"/>
                <a:gd name="T18" fmla="*/ 59 w 71"/>
                <a:gd name="T19" fmla="*/ 7 h 85"/>
                <a:gd name="T20" fmla="*/ 37 w 71"/>
                <a:gd name="T21" fmla="*/ 0 h 85"/>
                <a:gd name="T22" fmla="*/ 18 w 71"/>
                <a:gd name="T23" fmla="*/ 5 h 85"/>
                <a:gd name="T24" fmla="*/ 4 w 71"/>
                <a:gd name="T25" fmla="*/ 20 h 85"/>
                <a:gd name="T26" fmla="*/ 0 w 71"/>
                <a:gd name="T27" fmla="*/ 43 h 85"/>
                <a:gd name="T28" fmla="*/ 10 w 71"/>
                <a:gd name="T29" fmla="*/ 74 h 85"/>
                <a:gd name="T30" fmla="*/ 37 w 71"/>
                <a:gd name="T31" fmla="*/ 85 h 85"/>
                <a:gd name="T32" fmla="*/ 60 w 71"/>
                <a:gd name="T33" fmla="*/ 77 h 85"/>
                <a:gd name="T34" fmla="*/ 71 w 71"/>
                <a:gd name="T35" fmla="*/ 55 h 85"/>
                <a:gd name="T36" fmla="*/ 57 w 71"/>
                <a:gd name="T37" fmla="*/ 54 h 85"/>
                <a:gd name="T38" fmla="*/ 50 w 71"/>
                <a:gd name="T39" fmla="*/ 69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71" h="85">
                  <a:moveTo>
                    <a:pt x="50" y="69"/>
                  </a:moveTo>
                  <a:cubicBezTo>
                    <a:pt x="47" y="72"/>
                    <a:pt x="42" y="74"/>
                    <a:pt x="37" y="74"/>
                  </a:cubicBezTo>
                  <a:cubicBezTo>
                    <a:pt x="30" y="74"/>
                    <a:pt x="25" y="71"/>
                    <a:pt x="21" y="66"/>
                  </a:cubicBezTo>
                  <a:cubicBezTo>
                    <a:pt x="16" y="61"/>
                    <a:pt x="14" y="54"/>
                    <a:pt x="14" y="43"/>
                  </a:cubicBezTo>
                  <a:cubicBezTo>
                    <a:pt x="14" y="32"/>
                    <a:pt x="16" y="24"/>
                    <a:pt x="21" y="19"/>
                  </a:cubicBezTo>
                  <a:cubicBezTo>
                    <a:pt x="25" y="14"/>
                    <a:pt x="31" y="12"/>
                    <a:pt x="38" y="12"/>
                  </a:cubicBezTo>
                  <a:cubicBezTo>
                    <a:pt x="42" y="12"/>
                    <a:pt x="46" y="13"/>
                    <a:pt x="49" y="16"/>
                  </a:cubicBezTo>
                  <a:cubicBezTo>
                    <a:pt x="53" y="18"/>
                    <a:pt x="55" y="23"/>
                    <a:pt x="56" y="28"/>
                  </a:cubicBezTo>
                  <a:cubicBezTo>
                    <a:pt x="70" y="26"/>
                    <a:pt x="70" y="26"/>
                    <a:pt x="70" y="26"/>
                  </a:cubicBezTo>
                  <a:cubicBezTo>
                    <a:pt x="68" y="18"/>
                    <a:pt x="64" y="11"/>
                    <a:pt x="59" y="7"/>
                  </a:cubicBezTo>
                  <a:cubicBezTo>
                    <a:pt x="53" y="2"/>
                    <a:pt x="46" y="0"/>
                    <a:pt x="37" y="0"/>
                  </a:cubicBezTo>
                  <a:cubicBezTo>
                    <a:pt x="30" y="0"/>
                    <a:pt x="24" y="2"/>
                    <a:pt x="18" y="5"/>
                  </a:cubicBezTo>
                  <a:cubicBezTo>
                    <a:pt x="12" y="8"/>
                    <a:pt x="7" y="13"/>
                    <a:pt x="4" y="20"/>
                  </a:cubicBezTo>
                  <a:cubicBezTo>
                    <a:pt x="2" y="27"/>
                    <a:pt x="0" y="34"/>
                    <a:pt x="0" y="43"/>
                  </a:cubicBezTo>
                  <a:cubicBezTo>
                    <a:pt x="0" y="57"/>
                    <a:pt x="3" y="67"/>
                    <a:pt x="10" y="74"/>
                  </a:cubicBezTo>
                  <a:cubicBezTo>
                    <a:pt x="17" y="82"/>
                    <a:pt x="26" y="85"/>
                    <a:pt x="37" y="85"/>
                  </a:cubicBezTo>
                  <a:cubicBezTo>
                    <a:pt x="46" y="85"/>
                    <a:pt x="53" y="83"/>
                    <a:pt x="60" y="77"/>
                  </a:cubicBezTo>
                  <a:cubicBezTo>
                    <a:pt x="66" y="72"/>
                    <a:pt x="69" y="65"/>
                    <a:pt x="71" y="55"/>
                  </a:cubicBezTo>
                  <a:cubicBezTo>
                    <a:pt x="57" y="54"/>
                    <a:pt x="57" y="54"/>
                    <a:pt x="57" y="54"/>
                  </a:cubicBezTo>
                  <a:cubicBezTo>
                    <a:pt x="56" y="60"/>
                    <a:pt x="54" y="66"/>
                    <a:pt x="50" y="6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1049467" name="íṥ1ïdê"/>
            <p:cNvSpPr/>
            <p:nvPr/>
          </p:nvSpPr>
          <p:spPr bwMode="auto">
            <a:xfrm>
              <a:off x="7234491" y="5675903"/>
              <a:ext cx="25400" cy="30163"/>
            </a:xfrm>
            <a:prstGeom prst="rect">
              <a:avLst/>
            </a:pr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1049468" name="îṡ1îďé"/>
            <p:cNvSpPr/>
            <p:nvPr/>
          </p:nvSpPr>
          <p:spPr bwMode="auto">
            <a:xfrm>
              <a:off x="7234491" y="5733053"/>
              <a:ext cx="25400" cy="149225"/>
            </a:xfrm>
            <a:prstGeom prst="rect">
              <a:avLst/>
            </a:pr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1049469" name="íṩḷïḑé"/>
            <p:cNvSpPr/>
            <p:nvPr/>
          </p:nvSpPr>
          <p:spPr bwMode="auto">
            <a:xfrm>
              <a:off x="7290053" y="5729878"/>
              <a:ext cx="138113" cy="157163"/>
            </a:xfrm>
            <a:custGeom>
              <a:avLst/>
              <a:gdLst>
                <a:gd name="T0" fmla="*/ 38 w 75"/>
                <a:gd name="T1" fmla="*/ 0 h 85"/>
                <a:gd name="T2" fmla="*/ 10 w 75"/>
                <a:gd name="T3" fmla="*/ 12 h 85"/>
                <a:gd name="T4" fmla="*/ 0 w 75"/>
                <a:gd name="T5" fmla="*/ 43 h 85"/>
                <a:gd name="T6" fmla="*/ 10 w 75"/>
                <a:gd name="T7" fmla="*/ 74 h 85"/>
                <a:gd name="T8" fmla="*/ 39 w 75"/>
                <a:gd name="T9" fmla="*/ 85 h 85"/>
                <a:gd name="T10" fmla="*/ 62 w 75"/>
                <a:gd name="T11" fmla="*/ 78 h 85"/>
                <a:gd name="T12" fmla="*/ 74 w 75"/>
                <a:gd name="T13" fmla="*/ 59 h 85"/>
                <a:gd name="T14" fmla="*/ 60 w 75"/>
                <a:gd name="T15" fmla="*/ 57 h 85"/>
                <a:gd name="T16" fmla="*/ 52 w 75"/>
                <a:gd name="T17" fmla="*/ 70 h 85"/>
                <a:gd name="T18" fmla="*/ 39 w 75"/>
                <a:gd name="T19" fmla="*/ 74 h 85"/>
                <a:gd name="T20" fmla="*/ 22 w 75"/>
                <a:gd name="T21" fmla="*/ 67 h 85"/>
                <a:gd name="T22" fmla="*/ 14 w 75"/>
                <a:gd name="T23" fmla="*/ 46 h 85"/>
                <a:gd name="T24" fmla="*/ 75 w 75"/>
                <a:gd name="T25" fmla="*/ 46 h 85"/>
                <a:gd name="T26" fmla="*/ 75 w 75"/>
                <a:gd name="T27" fmla="*/ 43 h 85"/>
                <a:gd name="T28" fmla="*/ 65 w 75"/>
                <a:gd name="T29" fmla="*/ 11 h 85"/>
                <a:gd name="T30" fmla="*/ 38 w 75"/>
                <a:gd name="T31" fmla="*/ 0 h 85"/>
                <a:gd name="T32" fmla="*/ 15 w 75"/>
                <a:gd name="T33" fmla="*/ 35 h 85"/>
                <a:gd name="T34" fmla="*/ 22 w 75"/>
                <a:gd name="T35" fmla="*/ 18 h 85"/>
                <a:gd name="T36" fmla="*/ 38 w 75"/>
                <a:gd name="T37" fmla="*/ 12 h 85"/>
                <a:gd name="T38" fmla="*/ 55 w 75"/>
                <a:gd name="T39" fmla="*/ 20 h 85"/>
                <a:gd name="T40" fmla="*/ 60 w 75"/>
                <a:gd name="T41" fmla="*/ 35 h 85"/>
                <a:gd name="T42" fmla="*/ 15 w 75"/>
                <a:gd name="T43" fmla="*/ 35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75" h="85">
                  <a:moveTo>
                    <a:pt x="38" y="0"/>
                  </a:moveTo>
                  <a:cubicBezTo>
                    <a:pt x="27" y="0"/>
                    <a:pt x="18" y="4"/>
                    <a:pt x="10" y="12"/>
                  </a:cubicBezTo>
                  <a:cubicBezTo>
                    <a:pt x="3" y="19"/>
                    <a:pt x="0" y="30"/>
                    <a:pt x="0" y="43"/>
                  </a:cubicBezTo>
                  <a:cubicBezTo>
                    <a:pt x="0" y="57"/>
                    <a:pt x="3" y="67"/>
                    <a:pt x="10" y="74"/>
                  </a:cubicBezTo>
                  <a:cubicBezTo>
                    <a:pt x="17" y="81"/>
                    <a:pt x="27" y="85"/>
                    <a:pt x="39" y="85"/>
                  </a:cubicBezTo>
                  <a:cubicBezTo>
                    <a:pt x="48" y="85"/>
                    <a:pt x="56" y="83"/>
                    <a:pt x="62" y="78"/>
                  </a:cubicBezTo>
                  <a:cubicBezTo>
                    <a:pt x="68" y="74"/>
                    <a:pt x="72" y="67"/>
                    <a:pt x="74" y="59"/>
                  </a:cubicBezTo>
                  <a:cubicBezTo>
                    <a:pt x="60" y="57"/>
                    <a:pt x="60" y="57"/>
                    <a:pt x="60" y="57"/>
                  </a:cubicBezTo>
                  <a:cubicBezTo>
                    <a:pt x="58" y="63"/>
                    <a:pt x="55" y="67"/>
                    <a:pt x="52" y="70"/>
                  </a:cubicBezTo>
                  <a:cubicBezTo>
                    <a:pt x="48" y="73"/>
                    <a:pt x="44" y="74"/>
                    <a:pt x="39" y="74"/>
                  </a:cubicBezTo>
                  <a:cubicBezTo>
                    <a:pt x="32" y="74"/>
                    <a:pt x="26" y="71"/>
                    <a:pt x="22" y="67"/>
                  </a:cubicBezTo>
                  <a:cubicBezTo>
                    <a:pt x="17" y="62"/>
                    <a:pt x="15" y="55"/>
                    <a:pt x="14" y="46"/>
                  </a:cubicBezTo>
                  <a:cubicBezTo>
                    <a:pt x="75" y="46"/>
                    <a:pt x="75" y="46"/>
                    <a:pt x="75" y="46"/>
                  </a:cubicBezTo>
                  <a:cubicBezTo>
                    <a:pt x="75" y="45"/>
                    <a:pt x="75" y="43"/>
                    <a:pt x="75" y="43"/>
                  </a:cubicBezTo>
                  <a:cubicBezTo>
                    <a:pt x="75" y="29"/>
                    <a:pt x="71" y="19"/>
                    <a:pt x="65" y="11"/>
                  </a:cubicBezTo>
                  <a:cubicBezTo>
                    <a:pt x="58" y="4"/>
                    <a:pt x="49" y="0"/>
                    <a:pt x="38" y="0"/>
                  </a:cubicBezTo>
                  <a:close/>
                  <a:moveTo>
                    <a:pt x="15" y="35"/>
                  </a:moveTo>
                  <a:cubicBezTo>
                    <a:pt x="15" y="28"/>
                    <a:pt x="18" y="22"/>
                    <a:pt x="22" y="18"/>
                  </a:cubicBezTo>
                  <a:cubicBezTo>
                    <a:pt x="26" y="14"/>
                    <a:pt x="32" y="12"/>
                    <a:pt x="38" y="12"/>
                  </a:cubicBezTo>
                  <a:cubicBezTo>
                    <a:pt x="45" y="12"/>
                    <a:pt x="51" y="14"/>
                    <a:pt x="55" y="20"/>
                  </a:cubicBezTo>
                  <a:cubicBezTo>
                    <a:pt x="58" y="23"/>
                    <a:pt x="60" y="28"/>
                    <a:pt x="60" y="35"/>
                  </a:cubicBezTo>
                  <a:lnTo>
                    <a:pt x="15" y="35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1049470" name="ïşḷiḋè"/>
            <p:cNvSpPr/>
            <p:nvPr/>
          </p:nvSpPr>
          <p:spPr bwMode="auto">
            <a:xfrm>
              <a:off x="7458328" y="5729878"/>
              <a:ext cx="122238" cy="152400"/>
            </a:xfrm>
            <a:custGeom>
              <a:avLst/>
              <a:gdLst>
                <a:gd name="T0" fmla="*/ 61 w 66"/>
                <a:gd name="T1" fmla="*/ 10 h 83"/>
                <a:gd name="T2" fmla="*/ 51 w 66"/>
                <a:gd name="T3" fmla="*/ 3 h 83"/>
                <a:gd name="T4" fmla="*/ 38 w 66"/>
                <a:gd name="T5" fmla="*/ 0 h 83"/>
                <a:gd name="T6" fmla="*/ 12 w 66"/>
                <a:gd name="T7" fmla="*/ 14 h 83"/>
                <a:gd name="T8" fmla="*/ 12 w 66"/>
                <a:gd name="T9" fmla="*/ 2 h 83"/>
                <a:gd name="T10" fmla="*/ 0 w 66"/>
                <a:gd name="T11" fmla="*/ 2 h 83"/>
                <a:gd name="T12" fmla="*/ 0 w 66"/>
                <a:gd name="T13" fmla="*/ 83 h 83"/>
                <a:gd name="T14" fmla="*/ 13 w 66"/>
                <a:gd name="T15" fmla="*/ 83 h 83"/>
                <a:gd name="T16" fmla="*/ 13 w 66"/>
                <a:gd name="T17" fmla="*/ 39 h 83"/>
                <a:gd name="T18" fmla="*/ 20 w 66"/>
                <a:gd name="T19" fmla="*/ 18 h 83"/>
                <a:gd name="T20" fmla="*/ 35 w 66"/>
                <a:gd name="T21" fmla="*/ 12 h 83"/>
                <a:gd name="T22" fmla="*/ 45 w 66"/>
                <a:gd name="T23" fmla="*/ 15 h 83"/>
                <a:gd name="T24" fmla="*/ 50 w 66"/>
                <a:gd name="T25" fmla="*/ 21 h 83"/>
                <a:gd name="T26" fmla="*/ 52 w 66"/>
                <a:gd name="T27" fmla="*/ 34 h 83"/>
                <a:gd name="T28" fmla="*/ 52 w 66"/>
                <a:gd name="T29" fmla="*/ 83 h 83"/>
                <a:gd name="T30" fmla="*/ 66 w 66"/>
                <a:gd name="T31" fmla="*/ 83 h 83"/>
                <a:gd name="T32" fmla="*/ 66 w 66"/>
                <a:gd name="T33" fmla="*/ 33 h 83"/>
                <a:gd name="T34" fmla="*/ 65 w 66"/>
                <a:gd name="T35" fmla="*/ 20 h 83"/>
                <a:gd name="T36" fmla="*/ 61 w 66"/>
                <a:gd name="T37" fmla="*/ 10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6" h="83">
                  <a:moveTo>
                    <a:pt x="61" y="10"/>
                  </a:moveTo>
                  <a:cubicBezTo>
                    <a:pt x="59" y="7"/>
                    <a:pt x="56" y="5"/>
                    <a:pt x="51" y="3"/>
                  </a:cubicBezTo>
                  <a:cubicBezTo>
                    <a:pt x="47" y="1"/>
                    <a:pt x="43" y="0"/>
                    <a:pt x="38" y="0"/>
                  </a:cubicBezTo>
                  <a:cubicBezTo>
                    <a:pt x="27" y="0"/>
                    <a:pt x="18" y="5"/>
                    <a:pt x="12" y="14"/>
                  </a:cubicBezTo>
                  <a:cubicBezTo>
                    <a:pt x="12" y="2"/>
                    <a:pt x="12" y="2"/>
                    <a:pt x="12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83"/>
                    <a:pt x="0" y="83"/>
                    <a:pt x="0" y="83"/>
                  </a:cubicBezTo>
                  <a:cubicBezTo>
                    <a:pt x="13" y="83"/>
                    <a:pt x="13" y="83"/>
                    <a:pt x="13" y="83"/>
                  </a:cubicBezTo>
                  <a:cubicBezTo>
                    <a:pt x="13" y="39"/>
                    <a:pt x="13" y="39"/>
                    <a:pt x="13" y="39"/>
                  </a:cubicBezTo>
                  <a:cubicBezTo>
                    <a:pt x="13" y="29"/>
                    <a:pt x="16" y="21"/>
                    <a:pt x="20" y="18"/>
                  </a:cubicBezTo>
                  <a:cubicBezTo>
                    <a:pt x="24" y="14"/>
                    <a:pt x="29" y="12"/>
                    <a:pt x="35" y="12"/>
                  </a:cubicBezTo>
                  <a:cubicBezTo>
                    <a:pt x="39" y="12"/>
                    <a:pt x="42" y="13"/>
                    <a:pt x="45" y="15"/>
                  </a:cubicBezTo>
                  <a:cubicBezTo>
                    <a:pt x="47" y="16"/>
                    <a:pt x="49" y="19"/>
                    <a:pt x="50" y="21"/>
                  </a:cubicBezTo>
                  <a:cubicBezTo>
                    <a:pt x="51" y="24"/>
                    <a:pt x="52" y="28"/>
                    <a:pt x="52" y="34"/>
                  </a:cubicBezTo>
                  <a:cubicBezTo>
                    <a:pt x="52" y="83"/>
                    <a:pt x="52" y="83"/>
                    <a:pt x="52" y="83"/>
                  </a:cubicBezTo>
                  <a:cubicBezTo>
                    <a:pt x="66" y="83"/>
                    <a:pt x="66" y="83"/>
                    <a:pt x="66" y="83"/>
                  </a:cubicBezTo>
                  <a:cubicBezTo>
                    <a:pt x="66" y="33"/>
                    <a:pt x="66" y="33"/>
                    <a:pt x="66" y="33"/>
                  </a:cubicBezTo>
                  <a:cubicBezTo>
                    <a:pt x="66" y="27"/>
                    <a:pt x="65" y="23"/>
                    <a:pt x="65" y="20"/>
                  </a:cubicBezTo>
                  <a:cubicBezTo>
                    <a:pt x="64" y="16"/>
                    <a:pt x="63" y="13"/>
                    <a:pt x="61" y="1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1049471" name="îṩľiḍé"/>
            <p:cNvSpPr/>
            <p:nvPr/>
          </p:nvSpPr>
          <p:spPr bwMode="auto">
            <a:xfrm>
              <a:off x="7612316" y="5729878"/>
              <a:ext cx="128588" cy="157163"/>
            </a:xfrm>
            <a:custGeom>
              <a:avLst/>
              <a:gdLst>
                <a:gd name="T0" fmla="*/ 50 w 70"/>
                <a:gd name="T1" fmla="*/ 69 h 85"/>
                <a:gd name="T2" fmla="*/ 36 w 70"/>
                <a:gd name="T3" fmla="*/ 74 h 85"/>
                <a:gd name="T4" fmla="*/ 20 w 70"/>
                <a:gd name="T5" fmla="*/ 66 h 85"/>
                <a:gd name="T6" fmla="*/ 14 w 70"/>
                <a:gd name="T7" fmla="*/ 43 h 85"/>
                <a:gd name="T8" fmla="*/ 20 w 70"/>
                <a:gd name="T9" fmla="*/ 19 h 85"/>
                <a:gd name="T10" fmla="*/ 37 w 70"/>
                <a:gd name="T11" fmla="*/ 12 h 85"/>
                <a:gd name="T12" fmla="*/ 49 w 70"/>
                <a:gd name="T13" fmla="*/ 16 h 85"/>
                <a:gd name="T14" fmla="*/ 56 w 70"/>
                <a:gd name="T15" fmla="*/ 28 h 85"/>
                <a:gd name="T16" fmla="*/ 69 w 70"/>
                <a:gd name="T17" fmla="*/ 26 h 85"/>
                <a:gd name="T18" fmla="*/ 58 w 70"/>
                <a:gd name="T19" fmla="*/ 7 h 85"/>
                <a:gd name="T20" fmla="*/ 37 w 70"/>
                <a:gd name="T21" fmla="*/ 0 h 85"/>
                <a:gd name="T22" fmla="*/ 17 w 70"/>
                <a:gd name="T23" fmla="*/ 5 h 85"/>
                <a:gd name="T24" fmla="*/ 4 w 70"/>
                <a:gd name="T25" fmla="*/ 20 h 85"/>
                <a:gd name="T26" fmla="*/ 0 w 70"/>
                <a:gd name="T27" fmla="*/ 43 h 85"/>
                <a:gd name="T28" fmla="*/ 10 w 70"/>
                <a:gd name="T29" fmla="*/ 74 h 85"/>
                <a:gd name="T30" fmla="*/ 37 w 70"/>
                <a:gd name="T31" fmla="*/ 85 h 85"/>
                <a:gd name="T32" fmla="*/ 59 w 70"/>
                <a:gd name="T33" fmla="*/ 77 h 85"/>
                <a:gd name="T34" fmla="*/ 70 w 70"/>
                <a:gd name="T35" fmla="*/ 55 h 85"/>
                <a:gd name="T36" fmla="*/ 57 w 70"/>
                <a:gd name="T37" fmla="*/ 54 h 85"/>
                <a:gd name="T38" fmla="*/ 50 w 70"/>
                <a:gd name="T39" fmla="*/ 69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70" h="85">
                  <a:moveTo>
                    <a:pt x="50" y="69"/>
                  </a:moveTo>
                  <a:cubicBezTo>
                    <a:pt x="46" y="72"/>
                    <a:pt x="42" y="74"/>
                    <a:pt x="36" y="74"/>
                  </a:cubicBezTo>
                  <a:cubicBezTo>
                    <a:pt x="30" y="74"/>
                    <a:pt x="24" y="71"/>
                    <a:pt x="20" y="66"/>
                  </a:cubicBezTo>
                  <a:cubicBezTo>
                    <a:pt x="16" y="61"/>
                    <a:pt x="14" y="54"/>
                    <a:pt x="14" y="43"/>
                  </a:cubicBezTo>
                  <a:cubicBezTo>
                    <a:pt x="14" y="32"/>
                    <a:pt x="16" y="24"/>
                    <a:pt x="20" y="19"/>
                  </a:cubicBezTo>
                  <a:cubicBezTo>
                    <a:pt x="25" y="14"/>
                    <a:pt x="30" y="12"/>
                    <a:pt x="37" y="12"/>
                  </a:cubicBezTo>
                  <a:cubicBezTo>
                    <a:pt x="42" y="12"/>
                    <a:pt x="46" y="13"/>
                    <a:pt x="49" y="16"/>
                  </a:cubicBezTo>
                  <a:cubicBezTo>
                    <a:pt x="52" y="18"/>
                    <a:pt x="54" y="23"/>
                    <a:pt x="56" y="28"/>
                  </a:cubicBezTo>
                  <a:cubicBezTo>
                    <a:pt x="69" y="26"/>
                    <a:pt x="69" y="26"/>
                    <a:pt x="69" y="26"/>
                  </a:cubicBezTo>
                  <a:cubicBezTo>
                    <a:pt x="68" y="18"/>
                    <a:pt x="64" y="11"/>
                    <a:pt x="58" y="7"/>
                  </a:cubicBezTo>
                  <a:cubicBezTo>
                    <a:pt x="53" y="2"/>
                    <a:pt x="46" y="0"/>
                    <a:pt x="37" y="0"/>
                  </a:cubicBezTo>
                  <a:cubicBezTo>
                    <a:pt x="30" y="0"/>
                    <a:pt x="23" y="2"/>
                    <a:pt x="17" y="5"/>
                  </a:cubicBezTo>
                  <a:cubicBezTo>
                    <a:pt x="11" y="8"/>
                    <a:pt x="7" y="13"/>
                    <a:pt x="4" y="20"/>
                  </a:cubicBezTo>
                  <a:cubicBezTo>
                    <a:pt x="1" y="27"/>
                    <a:pt x="0" y="34"/>
                    <a:pt x="0" y="43"/>
                  </a:cubicBezTo>
                  <a:cubicBezTo>
                    <a:pt x="0" y="57"/>
                    <a:pt x="3" y="67"/>
                    <a:pt x="10" y="74"/>
                  </a:cubicBezTo>
                  <a:cubicBezTo>
                    <a:pt x="17" y="82"/>
                    <a:pt x="26" y="85"/>
                    <a:pt x="37" y="85"/>
                  </a:cubicBezTo>
                  <a:cubicBezTo>
                    <a:pt x="45" y="85"/>
                    <a:pt x="53" y="83"/>
                    <a:pt x="59" y="77"/>
                  </a:cubicBezTo>
                  <a:cubicBezTo>
                    <a:pt x="65" y="72"/>
                    <a:pt x="69" y="65"/>
                    <a:pt x="70" y="55"/>
                  </a:cubicBezTo>
                  <a:cubicBezTo>
                    <a:pt x="57" y="54"/>
                    <a:pt x="57" y="54"/>
                    <a:pt x="57" y="54"/>
                  </a:cubicBezTo>
                  <a:cubicBezTo>
                    <a:pt x="56" y="60"/>
                    <a:pt x="54" y="66"/>
                    <a:pt x="50" y="6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1049472" name="íṡḷïďe"/>
            <p:cNvSpPr/>
            <p:nvPr/>
          </p:nvSpPr>
          <p:spPr bwMode="auto">
            <a:xfrm>
              <a:off x="7755191" y="5729878"/>
              <a:ext cx="138113" cy="157163"/>
            </a:xfrm>
            <a:custGeom>
              <a:avLst/>
              <a:gdLst>
                <a:gd name="T0" fmla="*/ 38 w 75"/>
                <a:gd name="T1" fmla="*/ 0 h 85"/>
                <a:gd name="T2" fmla="*/ 10 w 75"/>
                <a:gd name="T3" fmla="*/ 12 h 85"/>
                <a:gd name="T4" fmla="*/ 0 w 75"/>
                <a:gd name="T5" fmla="*/ 43 h 85"/>
                <a:gd name="T6" fmla="*/ 10 w 75"/>
                <a:gd name="T7" fmla="*/ 74 h 85"/>
                <a:gd name="T8" fmla="*/ 38 w 75"/>
                <a:gd name="T9" fmla="*/ 85 h 85"/>
                <a:gd name="T10" fmla="*/ 62 w 75"/>
                <a:gd name="T11" fmla="*/ 78 h 85"/>
                <a:gd name="T12" fmla="*/ 74 w 75"/>
                <a:gd name="T13" fmla="*/ 59 h 85"/>
                <a:gd name="T14" fmla="*/ 60 w 75"/>
                <a:gd name="T15" fmla="*/ 57 h 85"/>
                <a:gd name="T16" fmla="*/ 51 w 75"/>
                <a:gd name="T17" fmla="*/ 70 h 85"/>
                <a:gd name="T18" fmla="*/ 38 w 75"/>
                <a:gd name="T19" fmla="*/ 74 h 85"/>
                <a:gd name="T20" fmla="*/ 21 w 75"/>
                <a:gd name="T21" fmla="*/ 67 h 85"/>
                <a:gd name="T22" fmla="*/ 14 w 75"/>
                <a:gd name="T23" fmla="*/ 46 h 85"/>
                <a:gd name="T24" fmla="*/ 75 w 75"/>
                <a:gd name="T25" fmla="*/ 46 h 85"/>
                <a:gd name="T26" fmla="*/ 75 w 75"/>
                <a:gd name="T27" fmla="*/ 43 h 85"/>
                <a:gd name="T28" fmla="*/ 64 w 75"/>
                <a:gd name="T29" fmla="*/ 11 h 85"/>
                <a:gd name="T30" fmla="*/ 38 w 75"/>
                <a:gd name="T31" fmla="*/ 0 h 85"/>
                <a:gd name="T32" fmla="*/ 15 w 75"/>
                <a:gd name="T33" fmla="*/ 35 h 85"/>
                <a:gd name="T34" fmla="*/ 22 w 75"/>
                <a:gd name="T35" fmla="*/ 18 h 85"/>
                <a:gd name="T36" fmla="*/ 38 w 75"/>
                <a:gd name="T37" fmla="*/ 12 h 85"/>
                <a:gd name="T38" fmla="*/ 55 w 75"/>
                <a:gd name="T39" fmla="*/ 20 h 85"/>
                <a:gd name="T40" fmla="*/ 60 w 75"/>
                <a:gd name="T41" fmla="*/ 35 h 85"/>
                <a:gd name="T42" fmla="*/ 15 w 75"/>
                <a:gd name="T43" fmla="*/ 35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75" h="85">
                  <a:moveTo>
                    <a:pt x="38" y="0"/>
                  </a:moveTo>
                  <a:cubicBezTo>
                    <a:pt x="26" y="0"/>
                    <a:pt x="17" y="4"/>
                    <a:pt x="10" y="12"/>
                  </a:cubicBezTo>
                  <a:cubicBezTo>
                    <a:pt x="3" y="19"/>
                    <a:pt x="0" y="30"/>
                    <a:pt x="0" y="43"/>
                  </a:cubicBezTo>
                  <a:cubicBezTo>
                    <a:pt x="0" y="57"/>
                    <a:pt x="3" y="67"/>
                    <a:pt x="10" y="74"/>
                  </a:cubicBezTo>
                  <a:cubicBezTo>
                    <a:pt x="17" y="81"/>
                    <a:pt x="26" y="85"/>
                    <a:pt x="38" y="85"/>
                  </a:cubicBezTo>
                  <a:cubicBezTo>
                    <a:pt x="48" y="85"/>
                    <a:pt x="56" y="83"/>
                    <a:pt x="62" y="78"/>
                  </a:cubicBezTo>
                  <a:cubicBezTo>
                    <a:pt x="68" y="74"/>
                    <a:pt x="72" y="67"/>
                    <a:pt x="74" y="59"/>
                  </a:cubicBezTo>
                  <a:cubicBezTo>
                    <a:pt x="60" y="57"/>
                    <a:pt x="60" y="57"/>
                    <a:pt x="60" y="57"/>
                  </a:cubicBezTo>
                  <a:cubicBezTo>
                    <a:pt x="58" y="63"/>
                    <a:pt x="55" y="67"/>
                    <a:pt x="51" y="70"/>
                  </a:cubicBezTo>
                  <a:cubicBezTo>
                    <a:pt x="48" y="73"/>
                    <a:pt x="43" y="74"/>
                    <a:pt x="38" y="74"/>
                  </a:cubicBezTo>
                  <a:cubicBezTo>
                    <a:pt x="32" y="74"/>
                    <a:pt x="26" y="71"/>
                    <a:pt x="21" y="67"/>
                  </a:cubicBezTo>
                  <a:cubicBezTo>
                    <a:pt x="17" y="62"/>
                    <a:pt x="14" y="55"/>
                    <a:pt x="14" y="46"/>
                  </a:cubicBezTo>
                  <a:cubicBezTo>
                    <a:pt x="75" y="46"/>
                    <a:pt x="75" y="46"/>
                    <a:pt x="75" y="46"/>
                  </a:cubicBezTo>
                  <a:cubicBezTo>
                    <a:pt x="75" y="45"/>
                    <a:pt x="75" y="43"/>
                    <a:pt x="75" y="43"/>
                  </a:cubicBezTo>
                  <a:cubicBezTo>
                    <a:pt x="75" y="29"/>
                    <a:pt x="71" y="19"/>
                    <a:pt x="64" y="11"/>
                  </a:cubicBezTo>
                  <a:cubicBezTo>
                    <a:pt x="57" y="4"/>
                    <a:pt x="48" y="0"/>
                    <a:pt x="38" y="0"/>
                  </a:cubicBezTo>
                  <a:close/>
                  <a:moveTo>
                    <a:pt x="15" y="35"/>
                  </a:moveTo>
                  <a:cubicBezTo>
                    <a:pt x="15" y="28"/>
                    <a:pt x="17" y="22"/>
                    <a:pt x="22" y="18"/>
                  </a:cubicBezTo>
                  <a:cubicBezTo>
                    <a:pt x="26" y="14"/>
                    <a:pt x="31" y="12"/>
                    <a:pt x="38" y="12"/>
                  </a:cubicBezTo>
                  <a:cubicBezTo>
                    <a:pt x="45" y="12"/>
                    <a:pt x="50" y="14"/>
                    <a:pt x="55" y="20"/>
                  </a:cubicBezTo>
                  <a:cubicBezTo>
                    <a:pt x="58" y="23"/>
                    <a:pt x="59" y="28"/>
                    <a:pt x="60" y="35"/>
                  </a:cubicBezTo>
                  <a:lnTo>
                    <a:pt x="15" y="35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1049473" name="í$ľîde"/>
            <p:cNvSpPr/>
            <p:nvPr/>
          </p:nvSpPr>
          <p:spPr bwMode="auto">
            <a:xfrm>
              <a:off x="7994903" y="5729878"/>
              <a:ext cx="138113" cy="157163"/>
            </a:xfrm>
            <a:custGeom>
              <a:avLst/>
              <a:gdLst>
                <a:gd name="T0" fmla="*/ 71 w 75"/>
                <a:gd name="T1" fmla="*/ 49 h 85"/>
                <a:gd name="T2" fmla="*/ 71 w 75"/>
                <a:gd name="T3" fmla="*/ 31 h 85"/>
                <a:gd name="T4" fmla="*/ 70 w 75"/>
                <a:gd name="T5" fmla="*/ 18 h 85"/>
                <a:gd name="T6" fmla="*/ 66 w 75"/>
                <a:gd name="T7" fmla="*/ 9 h 85"/>
                <a:gd name="T8" fmla="*/ 56 w 75"/>
                <a:gd name="T9" fmla="*/ 3 h 85"/>
                <a:gd name="T10" fmla="*/ 39 w 75"/>
                <a:gd name="T11" fmla="*/ 0 h 85"/>
                <a:gd name="T12" fmla="*/ 21 w 75"/>
                <a:gd name="T13" fmla="*/ 3 h 85"/>
                <a:gd name="T14" fmla="*/ 9 w 75"/>
                <a:gd name="T15" fmla="*/ 11 h 85"/>
                <a:gd name="T16" fmla="*/ 3 w 75"/>
                <a:gd name="T17" fmla="*/ 25 h 85"/>
                <a:gd name="T18" fmla="*/ 16 w 75"/>
                <a:gd name="T19" fmla="*/ 27 h 85"/>
                <a:gd name="T20" fmla="*/ 23 w 75"/>
                <a:gd name="T21" fmla="*/ 15 h 85"/>
                <a:gd name="T22" fmla="*/ 37 w 75"/>
                <a:gd name="T23" fmla="*/ 12 h 85"/>
                <a:gd name="T24" fmla="*/ 53 w 75"/>
                <a:gd name="T25" fmla="*/ 16 h 85"/>
                <a:gd name="T26" fmla="*/ 57 w 75"/>
                <a:gd name="T27" fmla="*/ 28 h 85"/>
                <a:gd name="T28" fmla="*/ 57 w 75"/>
                <a:gd name="T29" fmla="*/ 32 h 85"/>
                <a:gd name="T30" fmla="*/ 32 w 75"/>
                <a:gd name="T31" fmla="*/ 36 h 85"/>
                <a:gd name="T32" fmla="*/ 20 w 75"/>
                <a:gd name="T33" fmla="*/ 39 h 85"/>
                <a:gd name="T34" fmla="*/ 10 w 75"/>
                <a:gd name="T35" fmla="*/ 43 h 85"/>
                <a:gd name="T36" fmla="*/ 3 w 75"/>
                <a:gd name="T37" fmla="*/ 51 h 85"/>
                <a:gd name="T38" fmla="*/ 0 w 75"/>
                <a:gd name="T39" fmla="*/ 62 h 85"/>
                <a:gd name="T40" fmla="*/ 7 w 75"/>
                <a:gd name="T41" fmla="*/ 79 h 85"/>
                <a:gd name="T42" fmla="*/ 28 w 75"/>
                <a:gd name="T43" fmla="*/ 85 h 85"/>
                <a:gd name="T44" fmla="*/ 43 w 75"/>
                <a:gd name="T45" fmla="*/ 82 h 85"/>
                <a:gd name="T46" fmla="*/ 58 w 75"/>
                <a:gd name="T47" fmla="*/ 73 h 85"/>
                <a:gd name="T48" fmla="*/ 61 w 75"/>
                <a:gd name="T49" fmla="*/ 83 h 85"/>
                <a:gd name="T50" fmla="*/ 75 w 75"/>
                <a:gd name="T51" fmla="*/ 83 h 85"/>
                <a:gd name="T52" fmla="*/ 72 w 75"/>
                <a:gd name="T53" fmla="*/ 74 h 85"/>
                <a:gd name="T54" fmla="*/ 71 w 75"/>
                <a:gd name="T55" fmla="*/ 49 h 85"/>
                <a:gd name="T56" fmla="*/ 57 w 75"/>
                <a:gd name="T57" fmla="*/ 48 h 85"/>
                <a:gd name="T58" fmla="*/ 55 w 75"/>
                <a:gd name="T59" fmla="*/ 61 h 85"/>
                <a:gd name="T60" fmla="*/ 46 w 75"/>
                <a:gd name="T61" fmla="*/ 71 h 85"/>
                <a:gd name="T62" fmla="*/ 31 w 75"/>
                <a:gd name="T63" fmla="*/ 74 h 85"/>
                <a:gd name="T64" fmla="*/ 19 w 75"/>
                <a:gd name="T65" fmla="*/ 71 h 85"/>
                <a:gd name="T66" fmla="*/ 15 w 75"/>
                <a:gd name="T67" fmla="*/ 62 h 85"/>
                <a:gd name="T68" fmla="*/ 17 w 75"/>
                <a:gd name="T69" fmla="*/ 55 h 85"/>
                <a:gd name="T70" fmla="*/ 22 w 75"/>
                <a:gd name="T71" fmla="*/ 50 h 85"/>
                <a:gd name="T72" fmla="*/ 34 w 75"/>
                <a:gd name="T73" fmla="*/ 48 h 85"/>
                <a:gd name="T74" fmla="*/ 57 w 75"/>
                <a:gd name="T75" fmla="*/ 43 h 85"/>
                <a:gd name="T76" fmla="*/ 57 w 75"/>
                <a:gd name="T77" fmla="*/ 48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75" h="85">
                  <a:moveTo>
                    <a:pt x="71" y="49"/>
                  </a:moveTo>
                  <a:cubicBezTo>
                    <a:pt x="71" y="31"/>
                    <a:pt x="71" y="31"/>
                    <a:pt x="71" y="31"/>
                  </a:cubicBezTo>
                  <a:cubicBezTo>
                    <a:pt x="71" y="25"/>
                    <a:pt x="71" y="21"/>
                    <a:pt x="70" y="18"/>
                  </a:cubicBezTo>
                  <a:cubicBezTo>
                    <a:pt x="69" y="14"/>
                    <a:pt x="68" y="11"/>
                    <a:pt x="66" y="9"/>
                  </a:cubicBezTo>
                  <a:cubicBezTo>
                    <a:pt x="64" y="6"/>
                    <a:pt x="61" y="4"/>
                    <a:pt x="56" y="3"/>
                  </a:cubicBezTo>
                  <a:cubicBezTo>
                    <a:pt x="52" y="1"/>
                    <a:pt x="46" y="0"/>
                    <a:pt x="39" y="0"/>
                  </a:cubicBezTo>
                  <a:cubicBezTo>
                    <a:pt x="32" y="0"/>
                    <a:pt x="26" y="1"/>
                    <a:pt x="21" y="3"/>
                  </a:cubicBezTo>
                  <a:cubicBezTo>
                    <a:pt x="16" y="5"/>
                    <a:pt x="12" y="8"/>
                    <a:pt x="9" y="11"/>
                  </a:cubicBezTo>
                  <a:cubicBezTo>
                    <a:pt x="6" y="15"/>
                    <a:pt x="4" y="19"/>
                    <a:pt x="3" y="25"/>
                  </a:cubicBezTo>
                  <a:cubicBezTo>
                    <a:pt x="16" y="27"/>
                    <a:pt x="16" y="27"/>
                    <a:pt x="16" y="27"/>
                  </a:cubicBezTo>
                  <a:cubicBezTo>
                    <a:pt x="18" y="21"/>
                    <a:pt x="20" y="17"/>
                    <a:pt x="23" y="15"/>
                  </a:cubicBezTo>
                  <a:cubicBezTo>
                    <a:pt x="26" y="13"/>
                    <a:pt x="31" y="12"/>
                    <a:pt x="37" y="12"/>
                  </a:cubicBezTo>
                  <a:cubicBezTo>
                    <a:pt x="44" y="12"/>
                    <a:pt x="50" y="13"/>
                    <a:pt x="53" y="16"/>
                  </a:cubicBezTo>
                  <a:cubicBezTo>
                    <a:pt x="56" y="19"/>
                    <a:pt x="57" y="23"/>
                    <a:pt x="57" y="28"/>
                  </a:cubicBezTo>
                  <a:cubicBezTo>
                    <a:pt x="57" y="29"/>
                    <a:pt x="57" y="30"/>
                    <a:pt x="57" y="32"/>
                  </a:cubicBezTo>
                  <a:cubicBezTo>
                    <a:pt x="52" y="34"/>
                    <a:pt x="43" y="35"/>
                    <a:pt x="32" y="36"/>
                  </a:cubicBezTo>
                  <a:cubicBezTo>
                    <a:pt x="27" y="37"/>
                    <a:pt x="23" y="38"/>
                    <a:pt x="20" y="39"/>
                  </a:cubicBezTo>
                  <a:cubicBezTo>
                    <a:pt x="16" y="40"/>
                    <a:pt x="13" y="41"/>
                    <a:pt x="10" y="43"/>
                  </a:cubicBezTo>
                  <a:cubicBezTo>
                    <a:pt x="7" y="45"/>
                    <a:pt x="5" y="48"/>
                    <a:pt x="3" y="51"/>
                  </a:cubicBezTo>
                  <a:cubicBezTo>
                    <a:pt x="1" y="54"/>
                    <a:pt x="0" y="58"/>
                    <a:pt x="0" y="62"/>
                  </a:cubicBezTo>
                  <a:cubicBezTo>
                    <a:pt x="0" y="69"/>
                    <a:pt x="3" y="74"/>
                    <a:pt x="7" y="79"/>
                  </a:cubicBezTo>
                  <a:cubicBezTo>
                    <a:pt x="12" y="83"/>
                    <a:pt x="19" y="85"/>
                    <a:pt x="28" y="85"/>
                  </a:cubicBezTo>
                  <a:cubicBezTo>
                    <a:pt x="33" y="85"/>
                    <a:pt x="39" y="84"/>
                    <a:pt x="43" y="82"/>
                  </a:cubicBezTo>
                  <a:cubicBezTo>
                    <a:pt x="48" y="81"/>
                    <a:pt x="53" y="78"/>
                    <a:pt x="58" y="73"/>
                  </a:cubicBezTo>
                  <a:cubicBezTo>
                    <a:pt x="58" y="77"/>
                    <a:pt x="59" y="80"/>
                    <a:pt x="61" y="83"/>
                  </a:cubicBezTo>
                  <a:cubicBezTo>
                    <a:pt x="75" y="83"/>
                    <a:pt x="75" y="83"/>
                    <a:pt x="75" y="83"/>
                  </a:cubicBezTo>
                  <a:cubicBezTo>
                    <a:pt x="73" y="80"/>
                    <a:pt x="72" y="77"/>
                    <a:pt x="72" y="74"/>
                  </a:cubicBezTo>
                  <a:cubicBezTo>
                    <a:pt x="71" y="70"/>
                    <a:pt x="71" y="62"/>
                    <a:pt x="71" y="49"/>
                  </a:cubicBezTo>
                  <a:close/>
                  <a:moveTo>
                    <a:pt x="57" y="48"/>
                  </a:moveTo>
                  <a:cubicBezTo>
                    <a:pt x="57" y="54"/>
                    <a:pt x="56" y="58"/>
                    <a:pt x="55" y="61"/>
                  </a:cubicBezTo>
                  <a:cubicBezTo>
                    <a:pt x="53" y="65"/>
                    <a:pt x="50" y="69"/>
                    <a:pt x="46" y="71"/>
                  </a:cubicBezTo>
                  <a:cubicBezTo>
                    <a:pt x="41" y="73"/>
                    <a:pt x="37" y="74"/>
                    <a:pt x="31" y="74"/>
                  </a:cubicBezTo>
                  <a:cubicBezTo>
                    <a:pt x="26" y="74"/>
                    <a:pt x="22" y="73"/>
                    <a:pt x="19" y="71"/>
                  </a:cubicBezTo>
                  <a:cubicBezTo>
                    <a:pt x="16" y="68"/>
                    <a:pt x="15" y="65"/>
                    <a:pt x="15" y="62"/>
                  </a:cubicBezTo>
                  <a:cubicBezTo>
                    <a:pt x="15" y="59"/>
                    <a:pt x="16" y="57"/>
                    <a:pt x="17" y="55"/>
                  </a:cubicBezTo>
                  <a:cubicBezTo>
                    <a:pt x="18" y="53"/>
                    <a:pt x="20" y="52"/>
                    <a:pt x="22" y="50"/>
                  </a:cubicBezTo>
                  <a:cubicBezTo>
                    <a:pt x="25" y="49"/>
                    <a:pt x="29" y="49"/>
                    <a:pt x="34" y="48"/>
                  </a:cubicBezTo>
                  <a:cubicBezTo>
                    <a:pt x="44" y="46"/>
                    <a:pt x="52" y="45"/>
                    <a:pt x="57" y="43"/>
                  </a:cubicBezTo>
                  <a:lnTo>
                    <a:pt x="57" y="4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1049474" name="ï$ḻíḋê"/>
            <p:cNvSpPr/>
            <p:nvPr/>
          </p:nvSpPr>
          <p:spPr bwMode="auto">
            <a:xfrm>
              <a:off x="8164766" y="5729878"/>
              <a:ext cx="122238" cy="152400"/>
            </a:xfrm>
            <a:custGeom>
              <a:avLst/>
              <a:gdLst>
                <a:gd name="T0" fmla="*/ 61 w 66"/>
                <a:gd name="T1" fmla="*/ 10 h 83"/>
                <a:gd name="T2" fmla="*/ 52 w 66"/>
                <a:gd name="T3" fmla="*/ 3 h 83"/>
                <a:gd name="T4" fmla="*/ 38 w 66"/>
                <a:gd name="T5" fmla="*/ 0 h 83"/>
                <a:gd name="T6" fmla="*/ 13 w 66"/>
                <a:gd name="T7" fmla="*/ 14 h 83"/>
                <a:gd name="T8" fmla="*/ 13 w 66"/>
                <a:gd name="T9" fmla="*/ 2 h 83"/>
                <a:gd name="T10" fmla="*/ 0 w 66"/>
                <a:gd name="T11" fmla="*/ 2 h 83"/>
                <a:gd name="T12" fmla="*/ 0 w 66"/>
                <a:gd name="T13" fmla="*/ 83 h 83"/>
                <a:gd name="T14" fmla="*/ 14 w 66"/>
                <a:gd name="T15" fmla="*/ 83 h 83"/>
                <a:gd name="T16" fmla="*/ 14 w 66"/>
                <a:gd name="T17" fmla="*/ 39 h 83"/>
                <a:gd name="T18" fmla="*/ 20 w 66"/>
                <a:gd name="T19" fmla="*/ 18 h 83"/>
                <a:gd name="T20" fmla="*/ 36 w 66"/>
                <a:gd name="T21" fmla="*/ 12 h 83"/>
                <a:gd name="T22" fmla="*/ 45 w 66"/>
                <a:gd name="T23" fmla="*/ 15 h 83"/>
                <a:gd name="T24" fmla="*/ 51 w 66"/>
                <a:gd name="T25" fmla="*/ 21 h 83"/>
                <a:gd name="T26" fmla="*/ 52 w 66"/>
                <a:gd name="T27" fmla="*/ 34 h 83"/>
                <a:gd name="T28" fmla="*/ 52 w 66"/>
                <a:gd name="T29" fmla="*/ 83 h 83"/>
                <a:gd name="T30" fmla="*/ 66 w 66"/>
                <a:gd name="T31" fmla="*/ 83 h 83"/>
                <a:gd name="T32" fmla="*/ 66 w 66"/>
                <a:gd name="T33" fmla="*/ 33 h 83"/>
                <a:gd name="T34" fmla="*/ 65 w 66"/>
                <a:gd name="T35" fmla="*/ 20 h 83"/>
                <a:gd name="T36" fmla="*/ 61 w 66"/>
                <a:gd name="T37" fmla="*/ 10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6" h="83">
                  <a:moveTo>
                    <a:pt x="61" y="10"/>
                  </a:moveTo>
                  <a:cubicBezTo>
                    <a:pt x="59" y="7"/>
                    <a:pt x="56" y="5"/>
                    <a:pt x="52" y="3"/>
                  </a:cubicBezTo>
                  <a:cubicBezTo>
                    <a:pt x="48" y="1"/>
                    <a:pt x="43" y="0"/>
                    <a:pt x="38" y="0"/>
                  </a:cubicBezTo>
                  <a:cubicBezTo>
                    <a:pt x="27" y="0"/>
                    <a:pt x="19" y="5"/>
                    <a:pt x="13" y="14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83"/>
                    <a:pt x="0" y="83"/>
                    <a:pt x="0" y="83"/>
                  </a:cubicBezTo>
                  <a:cubicBezTo>
                    <a:pt x="14" y="83"/>
                    <a:pt x="14" y="83"/>
                    <a:pt x="14" y="83"/>
                  </a:cubicBezTo>
                  <a:cubicBezTo>
                    <a:pt x="14" y="39"/>
                    <a:pt x="14" y="39"/>
                    <a:pt x="14" y="39"/>
                  </a:cubicBezTo>
                  <a:cubicBezTo>
                    <a:pt x="14" y="29"/>
                    <a:pt x="16" y="21"/>
                    <a:pt x="20" y="18"/>
                  </a:cubicBezTo>
                  <a:cubicBezTo>
                    <a:pt x="25" y="14"/>
                    <a:pt x="30" y="12"/>
                    <a:pt x="36" y="12"/>
                  </a:cubicBezTo>
                  <a:cubicBezTo>
                    <a:pt x="39" y="12"/>
                    <a:pt x="42" y="13"/>
                    <a:pt x="45" y="15"/>
                  </a:cubicBezTo>
                  <a:cubicBezTo>
                    <a:pt x="48" y="16"/>
                    <a:pt x="50" y="19"/>
                    <a:pt x="51" y="21"/>
                  </a:cubicBezTo>
                  <a:cubicBezTo>
                    <a:pt x="52" y="24"/>
                    <a:pt x="52" y="28"/>
                    <a:pt x="52" y="34"/>
                  </a:cubicBezTo>
                  <a:cubicBezTo>
                    <a:pt x="52" y="83"/>
                    <a:pt x="52" y="83"/>
                    <a:pt x="52" y="83"/>
                  </a:cubicBezTo>
                  <a:cubicBezTo>
                    <a:pt x="66" y="83"/>
                    <a:pt x="66" y="83"/>
                    <a:pt x="66" y="83"/>
                  </a:cubicBezTo>
                  <a:cubicBezTo>
                    <a:pt x="66" y="33"/>
                    <a:pt x="66" y="33"/>
                    <a:pt x="66" y="33"/>
                  </a:cubicBezTo>
                  <a:cubicBezTo>
                    <a:pt x="66" y="27"/>
                    <a:pt x="66" y="23"/>
                    <a:pt x="65" y="20"/>
                  </a:cubicBezTo>
                  <a:cubicBezTo>
                    <a:pt x="65" y="16"/>
                    <a:pt x="63" y="13"/>
                    <a:pt x="61" y="1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1049475" name="îśḻïďè"/>
            <p:cNvSpPr/>
            <p:nvPr/>
          </p:nvSpPr>
          <p:spPr bwMode="auto">
            <a:xfrm>
              <a:off x="8315578" y="5675903"/>
              <a:ext cx="131763" cy="211138"/>
            </a:xfrm>
            <a:custGeom>
              <a:avLst/>
              <a:gdLst>
                <a:gd name="T0" fmla="*/ 57 w 71"/>
                <a:gd name="T1" fmla="*/ 40 h 114"/>
                <a:gd name="T2" fmla="*/ 48 w 71"/>
                <a:gd name="T3" fmla="*/ 32 h 114"/>
                <a:gd name="T4" fmla="*/ 35 w 71"/>
                <a:gd name="T5" fmla="*/ 29 h 114"/>
                <a:gd name="T6" fmla="*/ 17 w 71"/>
                <a:gd name="T7" fmla="*/ 35 h 114"/>
                <a:gd name="T8" fmla="*/ 4 w 71"/>
                <a:gd name="T9" fmla="*/ 50 h 114"/>
                <a:gd name="T10" fmla="*/ 0 w 71"/>
                <a:gd name="T11" fmla="*/ 72 h 114"/>
                <a:gd name="T12" fmla="*/ 5 w 71"/>
                <a:gd name="T13" fmla="*/ 94 h 114"/>
                <a:gd name="T14" fmla="*/ 17 w 71"/>
                <a:gd name="T15" fmla="*/ 109 h 114"/>
                <a:gd name="T16" fmla="*/ 35 w 71"/>
                <a:gd name="T17" fmla="*/ 114 h 114"/>
                <a:gd name="T18" fmla="*/ 58 w 71"/>
                <a:gd name="T19" fmla="*/ 102 h 114"/>
                <a:gd name="T20" fmla="*/ 58 w 71"/>
                <a:gd name="T21" fmla="*/ 112 h 114"/>
                <a:gd name="T22" fmla="*/ 71 w 71"/>
                <a:gd name="T23" fmla="*/ 112 h 114"/>
                <a:gd name="T24" fmla="*/ 71 w 71"/>
                <a:gd name="T25" fmla="*/ 0 h 114"/>
                <a:gd name="T26" fmla="*/ 57 w 71"/>
                <a:gd name="T27" fmla="*/ 0 h 114"/>
                <a:gd name="T28" fmla="*/ 57 w 71"/>
                <a:gd name="T29" fmla="*/ 40 h 114"/>
                <a:gd name="T30" fmla="*/ 52 w 71"/>
                <a:gd name="T31" fmla="*/ 95 h 114"/>
                <a:gd name="T32" fmla="*/ 37 w 71"/>
                <a:gd name="T33" fmla="*/ 103 h 114"/>
                <a:gd name="T34" fmla="*/ 21 w 71"/>
                <a:gd name="T35" fmla="*/ 95 h 114"/>
                <a:gd name="T36" fmla="*/ 15 w 71"/>
                <a:gd name="T37" fmla="*/ 72 h 114"/>
                <a:gd name="T38" fmla="*/ 21 w 71"/>
                <a:gd name="T39" fmla="*/ 48 h 114"/>
                <a:gd name="T40" fmla="*/ 36 w 71"/>
                <a:gd name="T41" fmla="*/ 41 h 114"/>
                <a:gd name="T42" fmla="*/ 52 w 71"/>
                <a:gd name="T43" fmla="*/ 48 h 114"/>
                <a:gd name="T44" fmla="*/ 58 w 71"/>
                <a:gd name="T45" fmla="*/ 73 h 114"/>
                <a:gd name="T46" fmla="*/ 52 w 71"/>
                <a:gd name="T47" fmla="*/ 95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71" h="114">
                  <a:moveTo>
                    <a:pt x="57" y="40"/>
                  </a:moveTo>
                  <a:cubicBezTo>
                    <a:pt x="55" y="37"/>
                    <a:pt x="52" y="34"/>
                    <a:pt x="48" y="32"/>
                  </a:cubicBezTo>
                  <a:cubicBezTo>
                    <a:pt x="44" y="30"/>
                    <a:pt x="40" y="29"/>
                    <a:pt x="35" y="29"/>
                  </a:cubicBezTo>
                  <a:cubicBezTo>
                    <a:pt x="28" y="29"/>
                    <a:pt x="22" y="31"/>
                    <a:pt x="17" y="35"/>
                  </a:cubicBezTo>
                  <a:cubicBezTo>
                    <a:pt x="11" y="38"/>
                    <a:pt x="7" y="43"/>
                    <a:pt x="4" y="50"/>
                  </a:cubicBezTo>
                  <a:cubicBezTo>
                    <a:pt x="2" y="56"/>
                    <a:pt x="0" y="64"/>
                    <a:pt x="0" y="72"/>
                  </a:cubicBezTo>
                  <a:cubicBezTo>
                    <a:pt x="0" y="80"/>
                    <a:pt x="2" y="87"/>
                    <a:pt x="5" y="94"/>
                  </a:cubicBezTo>
                  <a:cubicBezTo>
                    <a:pt x="8" y="100"/>
                    <a:pt x="12" y="105"/>
                    <a:pt x="17" y="109"/>
                  </a:cubicBezTo>
                  <a:cubicBezTo>
                    <a:pt x="23" y="112"/>
                    <a:pt x="29" y="114"/>
                    <a:pt x="35" y="114"/>
                  </a:cubicBezTo>
                  <a:cubicBezTo>
                    <a:pt x="45" y="114"/>
                    <a:pt x="53" y="110"/>
                    <a:pt x="58" y="102"/>
                  </a:cubicBezTo>
                  <a:cubicBezTo>
                    <a:pt x="58" y="112"/>
                    <a:pt x="58" y="112"/>
                    <a:pt x="58" y="112"/>
                  </a:cubicBezTo>
                  <a:cubicBezTo>
                    <a:pt x="71" y="112"/>
                    <a:pt x="71" y="112"/>
                    <a:pt x="71" y="112"/>
                  </a:cubicBezTo>
                  <a:cubicBezTo>
                    <a:pt x="71" y="0"/>
                    <a:pt x="71" y="0"/>
                    <a:pt x="71" y="0"/>
                  </a:cubicBezTo>
                  <a:cubicBezTo>
                    <a:pt x="57" y="0"/>
                    <a:pt x="57" y="0"/>
                    <a:pt x="57" y="0"/>
                  </a:cubicBezTo>
                  <a:lnTo>
                    <a:pt x="57" y="40"/>
                  </a:lnTo>
                  <a:close/>
                  <a:moveTo>
                    <a:pt x="52" y="95"/>
                  </a:moveTo>
                  <a:cubicBezTo>
                    <a:pt x="48" y="100"/>
                    <a:pt x="43" y="103"/>
                    <a:pt x="37" y="103"/>
                  </a:cubicBezTo>
                  <a:cubicBezTo>
                    <a:pt x="31" y="103"/>
                    <a:pt x="25" y="100"/>
                    <a:pt x="21" y="95"/>
                  </a:cubicBezTo>
                  <a:cubicBezTo>
                    <a:pt x="17" y="90"/>
                    <a:pt x="15" y="82"/>
                    <a:pt x="15" y="72"/>
                  </a:cubicBezTo>
                  <a:cubicBezTo>
                    <a:pt x="15" y="61"/>
                    <a:pt x="17" y="53"/>
                    <a:pt x="21" y="48"/>
                  </a:cubicBezTo>
                  <a:cubicBezTo>
                    <a:pt x="25" y="43"/>
                    <a:pt x="30" y="41"/>
                    <a:pt x="36" y="41"/>
                  </a:cubicBezTo>
                  <a:cubicBezTo>
                    <a:pt x="42" y="41"/>
                    <a:pt x="48" y="43"/>
                    <a:pt x="52" y="48"/>
                  </a:cubicBezTo>
                  <a:cubicBezTo>
                    <a:pt x="56" y="54"/>
                    <a:pt x="58" y="62"/>
                    <a:pt x="58" y="73"/>
                  </a:cubicBezTo>
                  <a:cubicBezTo>
                    <a:pt x="58" y="83"/>
                    <a:pt x="56" y="91"/>
                    <a:pt x="52" y="9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1049476" name="iṡľîdé"/>
            <p:cNvSpPr/>
            <p:nvPr/>
          </p:nvSpPr>
          <p:spPr bwMode="auto">
            <a:xfrm>
              <a:off x="8550528" y="5675903"/>
              <a:ext cx="163513" cy="206375"/>
            </a:xfrm>
            <a:custGeom>
              <a:avLst/>
              <a:gdLst>
                <a:gd name="T0" fmla="*/ 103 w 103"/>
                <a:gd name="T1" fmla="*/ 0 h 130"/>
                <a:gd name="T2" fmla="*/ 0 w 103"/>
                <a:gd name="T3" fmla="*/ 0 h 130"/>
                <a:gd name="T4" fmla="*/ 0 w 103"/>
                <a:gd name="T5" fmla="*/ 15 h 130"/>
                <a:gd name="T6" fmla="*/ 43 w 103"/>
                <a:gd name="T7" fmla="*/ 15 h 130"/>
                <a:gd name="T8" fmla="*/ 43 w 103"/>
                <a:gd name="T9" fmla="*/ 130 h 130"/>
                <a:gd name="T10" fmla="*/ 59 w 103"/>
                <a:gd name="T11" fmla="*/ 130 h 130"/>
                <a:gd name="T12" fmla="*/ 59 w 103"/>
                <a:gd name="T13" fmla="*/ 15 h 130"/>
                <a:gd name="T14" fmla="*/ 103 w 103"/>
                <a:gd name="T15" fmla="*/ 15 h 130"/>
                <a:gd name="T16" fmla="*/ 103 w 103"/>
                <a:gd name="T17" fmla="*/ 0 h 1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3" h="130">
                  <a:moveTo>
                    <a:pt x="103" y="0"/>
                  </a:moveTo>
                  <a:lnTo>
                    <a:pt x="0" y="0"/>
                  </a:lnTo>
                  <a:lnTo>
                    <a:pt x="0" y="15"/>
                  </a:lnTo>
                  <a:lnTo>
                    <a:pt x="43" y="15"/>
                  </a:lnTo>
                  <a:lnTo>
                    <a:pt x="43" y="130"/>
                  </a:lnTo>
                  <a:lnTo>
                    <a:pt x="59" y="130"/>
                  </a:lnTo>
                  <a:lnTo>
                    <a:pt x="59" y="15"/>
                  </a:lnTo>
                  <a:lnTo>
                    <a:pt x="103" y="15"/>
                  </a:lnTo>
                  <a:lnTo>
                    <a:pt x="103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1049477" name="íṥḻíḋé"/>
            <p:cNvSpPr/>
            <p:nvPr/>
          </p:nvSpPr>
          <p:spPr bwMode="auto">
            <a:xfrm>
              <a:off x="8698166" y="5729878"/>
              <a:ext cx="138113" cy="157163"/>
            </a:xfrm>
            <a:custGeom>
              <a:avLst/>
              <a:gdLst>
                <a:gd name="T0" fmla="*/ 38 w 75"/>
                <a:gd name="T1" fmla="*/ 0 h 85"/>
                <a:gd name="T2" fmla="*/ 11 w 75"/>
                <a:gd name="T3" fmla="*/ 12 h 85"/>
                <a:gd name="T4" fmla="*/ 0 w 75"/>
                <a:gd name="T5" fmla="*/ 43 h 85"/>
                <a:gd name="T6" fmla="*/ 10 w 75"/>
                <a:gd name="T7" fmla="*/ 74 h 85"/>
                <a:gd name="T8" fmla="*/ 39 w 75"/>
                <a:gd name="T9" fmla="*/ 85 h 85"/>
                <a:gd name="T10" fmla="*/ 62 w 75"/>
                <a:gd name="T11" fmla="*/ 78 h 85"/>
                <a:gd name="T12" fmla="*/ 74 w 75"/>
                <a:gd name="T13" fmla="*/ 59 h 85"/>
                <a:gd name="T14" fmla="*/ 60 w 75"/>
                <a:gd name="T15" fmla="*/ 57 h 85"/>
                <a:gd name="T16" fmla="*/ 52 w 75"/>
                <a:gd name="T17" fmla="*/ 70 h 85"/>
                <a:gd name="T18" fmla="*/ 39 w 75"/>
                <a:gd name="T19" fmla="*/ 74 h 85"/>
                <a:gd name="T20" fmla="*/ 22 w 75"/>
                <a:gd name="T21" fmla="*/ 67 h 85"/>
                <a:gd name="T22" fmla="*/ 14 w 75"/>
                <a:gd name="T23" fmla="*/ 46 h 85"/>
                <a:gd name="T24" fmla="*/ 75 w 75"/>
                <a:gd name="T25" fmla="*/ 46 h 85"/>
                <a:gd name="T26" fmla="*/ 75 w 75"/>
                <a:gd name="T27" fmla="*/ 43 h 85"/>
                <a:gd name="T28" fmla="*/ 65 w 75"/>
                <a:gd name="T29" fmla="*/ 11 h 85"/>
                <a:gd name="T30" fmla="*/ 38 w 75"/>
                <a:gd name="T31" fmla="*/ 0 h 85"/>
                <a:gd name="T32" fmla="*/ 15 w 75"/>
                <a:gd name="T33" fmla="*/ 35 h 85"/>
                <a:gd name="T34" fmla="*/ 22 w 75"/>
                <a:gd name="T35" fmla="*/ 18 h 85"/>
                <a:gd name="T36" fmla="*/ 38 w 75"/>
                <a:gd name="T37" fmla="*/ 12 h 85"/>
                <a:gd name="T38" fmla="*/ 55 w 75"/>
                <a:gd name="T39" fmla="*/ 20 h 85"/>
                <a:gd name="T40" fmla="*/ 60 w 75"/>
                <a:gd name="T41" fmla="*/ 35 h 85"/>
                <a:gd name="T42" fmla="*/ 15 w 75"/>
                <a:gd name="T43" fmla="*/ 35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75" h="85">
                  <a:moveTo>
                    <a:pt x="38" y="0"/>
                  </a:moveTo>
                  <a:cubicBezTo>
                    <a:pt x="27" y="0"/>
                    <a:pt x="18" y="4"/>
                    <a:pt x="11" y="12"/>
                  </a:cubicBezTo>
                  <a:cubicBezTo>
                    <a:pt x="4" y="19"/>
                    <a:pt x="0" y="30"/>
                    <a:pt x="0" y="43"/>
                  </a:cubicBezTo>
                  <a:cubicBezTo>
                    <a:pt x="0" y="57"/>
                    <a:pt x="3" y="67"/>
                    <a:pt x="10" y="74"/>
                  </a:cubicBezTo>
                  <a:cubicBezTo>
                    <a:pt x="17" y="81"/>
                    <a:pt x="27" y="85"/>
                    <a:pt x="39" y="85"/>
                  </a:cubicBezTo>
                  <a:cubicBezTo>
                    <a:pt x="48" y="85"/>
                    <a:pt x="56" y="83"/>
                    <a:pt x="62" y="78"/>
                  </a:cubicBezTo>
                  <a:cubicBezTo>
                    <a:pt x="68" y="74"/>
                    <a:pt x="72" y="67"/>
                    <a:pt x="74" y="59"/>
                  </a:cubicBezTo>
                  <a:cubicBezTo>
                    <a:pt x="60" y="57"/>
                    <a:pt x="60" y="57"/>
                    <a:pt x="60" y="57"/>
                  </a:cubicBezTo>
                  <a:cubicBezTo>
                    <a:pt x="58" y="63"/>
                    <a:pt x="55" y="67"/>
                    <a:pt x="52" y="70"/>
                  </a:cubicBezTo>
                  <a:cubicBezTo>
                    <a:pt x="48" y="73"/>
                    <a:pt x="44" y="74"/>
                    <a:pt x="39" y="74"/>
                  </a:cubicBezTo>
                  <a:cubicBezTo>
                    <a:pt x="32" y="74"/>
                    <a:pt x="26" y="71"/>
                    <a:pt x="22" y="67"/>
                  </a:cubicBezTo>
                  <a:cubicBezTo>
                    <a:pt x="17" y="62"/>
                    <a:pt x="15" y="55"/>
                    <a:pt x="14" y="46"/>
                  </a:cubicBezTo>
                  <a:cubicBezTo>
                    <a:pt x="75" y="46"/>
                    <a:pt x="75" y="46"/>
                    <a:pt x="75" y="46"/>
                  </a:cubicBezTo>
                  <a:cubicBezTo>
                    <a:pt x="75" y="45"/>
                    <a:pt x="75" y="43"/>
                    <a:pt x="75" y="43"/>
                  </a:cubicBezTo>
                  <a:cubicBezTo>
                    <a:pt x="75" y="29"/>
                    <a:pt x="72" y="19"/>
                    <a:pt x="65" y="11"/>
                  </a:cubicBezTo>
                  <a:cubicBezTo>
                    <a:pt x="58" y="4"/>
                    <a:pt x="49" y="0"/>
                    <a:pt x="38" y="0"/>
                  </a:cubicBezTo>
                  <a:close/>
                  <a:moveTo>
                    <a:pt x="15" y="35"/>
                  </a:moveTo>
                  <a:cubicBezTo>
                    <a:pt x="15" y="28"/>
                    <a:pt x="18" y="22"/>
                    <a:pt x="22" y="18"/>
                  </a:cubicBezTo>
                  <a:cubicBezTo>
                    <a:pt x="26" y="14"/>
                    <a:pt x="32" y="12"/>
                    <a:pt x="38" y="12"/>
                  </a:cubicBezTo>
                  <a:cubicBezTo>
                    <a:pt x="45" y="12"/>
                    <a:pt x="51" y="14"/>
                    <a:pt x="55" y="20"/>
                  </a:cubicBezTo>
                  <a:cubicBezTo>
                    <a:pt x="58" y="23"/>
                    <a:pt x="60" y="28"/>
                    <a:pt x="60" y="35"/>
                  </a:cubicBezTo>
                  <a:lnTo>
                    <a:pt x="15" y="35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1049478" name="ïṡļïḍè"/>
            <p:cNvSpPr/>
            <p:nvPr/>
          </p:nvSpPr>
          <p:spPr bwMode="auto">
            <a:xfrm>
              <a:off x="8860091" y="5729878"/>
              <a:ext cx="128588" cy="157163"/>
            </a:xfrm>
            <a:custGeom>
              <a:avLst/>
              <a:gdLst>
                <a:gd name="T0" fmla="*/ 50 w 70"/>
                <a:gd name="T1" fmla="*/ 69 h 85"/>
                <a:gd name="T2" fmla="*/ 36 w 70"/>
                <a:gd name="T3" fmla="*/ 74 h 85"/>
                <a:gd name="T4" fmla="*/ 20 w 70"/>
                <a:gd name="T5" fmla="*/ 66 h 85"/>
                <a:gd name="T6" fmla="*/ 14 w 70"/>
                <a:gd name="T7" fmla="*/ 43 h 85"/>
                <a:gd name="T8" fmla="*/ 20 w 70"/>
                <a:gd name="T9" fmla="*/ 19 h 85"/>
                <a:gd name="T10" fmla="*/ 37 w 70"/>
                <a:gd name="T11" fmla="*/ 12 h 85"/>
                <a:gd name="T12" fmla="*/ 49 w 70"/>
                <a:gd name="T13" fmla="*/ 16 h 85"/>
                <a:gd name="T14" fmla="*/ 56 w 70"/>
                <a:gd name="T15" fmla="*/ 28 h 85"/>
                <a:gd name="T16" fmla="*/ 69 w 70"/>
                <a:gd name="T17" fmla="*/ 26 h 85"/>
                <a:gd name="T18" fmla="*/ 58 w 70"/>
                <a:gd name="T19" fmla="*/ 7 h 85"/>
                <a:gd name="T20" fmla="*/ 37 w 70"/>
                <a:gd name="T21" fmla="*/ 0 h 85"/>
                <a:gd name="T22" fmla="*/ 17 w 70"/>
                <a:gd name="T23" fmla="*/ 5 h 85"/>
                <a:gd name="T24" fmla="*/ 4 w 70"/>
                <a:gd name="T25" fmla="*/ 20 h 85"/>
                <a:gd name="T26" fmla="*/ 0 w 70"/>
                <a:gd name="T27" fmla="*/ 43 h 85"/>
                <a:gd name="T28" fmla="*/ 10 w 70"/>
                <a:gd name="T29" fmla="*/ 74 h 85"/>
                <a:gd name="T30" fmla="*/ 37 w 70"/>
                <a:gd name="T31" fmla="*/ 85 h 85"/>
                <a:gd name="T32" fmla="*/ 59 w 70"/>
                <a:gd name="T33" fmla="*/ 77 h 85"/>
                <a:gd name="T34" fmla="*/ 70 w 70"/>
                <a:gd name="T35" fmla="*/ 55 h 85"/>
                <a:gd name="T36" fmla="*/ 57 w 70"/>
                <a:gd name="T37" fmla="*/ 54 h 85"/>
                <a:gd name="T38" fmla="*/ 50 w 70"/>
                <a:gd name="T39" fmla="*/ 69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70" h="85">
                  <a:moveTo>
                    <a:pt x="50" y="69"/>
                  </a:moveTo>
                  <a:cubicBezTo>
                    <a:pt x="46" y="72"/>
                    <a:pt x="42" y="74"/>
                    <a:pt x="36" y="74"/>
                  </a:cubicBezTo>
                  <a:cubicBezTo>
                    <a:pt x="30" y="74"/>
                    <a:pt x="24" y="71"/>
                    <a:pt x="20" y="66"/>
                  </a:cubicBezTo>
                  <a:cubicBezTo>
                    <a:pt x="16" y="61"/>
                    <a:pt x="14" y="54"/>
                    <a:pt x="14" y="43"/>
                  </a:cubicBezTo>
                  <a:cubicBezTo>
                    <a:pt x="14" y="32"/>
                    <a:pt x="16" y="24"/>
                    <a:pt x="20" y="19"/>
                  </a:cubicBezTo>
                  <a:cubicBezTo>
                    <a:pt x="25" y="14"/>
                    <a:pt x="30" y="12"/>
                    <a:pt x="37" y="12"/>
                  </a:cubicBezTo>
                  <a:cubicBezTo>
                    <a:pt x="42" y="12"/>
                    <a:pt x="46" y="13"/>
                    <a:pt x="49" y="16"/>
                  </a:cubicBezTo>
                  <a:cubicBezTo>
                    <a:pt x="52" y="18"/>
                    <a:pt x="54" y="23"/>
                    <a:pt x="56" y="28"/>
                  </a:cubicBezTo>
                  <a:cubicBezTo>
                    <a:pt x="69" y="26"/>
                    <a:pt x="69" y="26"/>
                    <a:pt x="69" y="26"/>
                  </a:cubicBezTo>
                  <a:cubicBezTo>
                    <a:pt x="67" y="18"/>
                    <a:pt x="64" y="11"/>
                    <a:pt x="58" y="7"/>
                  </a:cubicBezTo>
                  <a:cubicBezTo>
                    <a:pt x="53" y="2"/>
                    <a:pt x="45" y="0"/>
                    <a:pt x="37" y="0"/>
                  </a:cubicBezTo>
                  <a:cubicBezTo>
                    <a:pt x="30" y="0"/>
                    <a:pt x="23" y="2"/>
                    <a:pt x="17" y="5"/>
                  </a:cubicBezTo>
                  <a:cubicBezTo>
                    <a:pt x="11" y="8"/>
                    <a:pt x="7" y="13"/>
                    <a:pt x="4" y="20"/>
                  </a:cubicBezTo>
                  <a:cubicBezTo>
                    <a:pt x="1" y="27"/>
                    <a:pt x="0" y="34"/>
                    <a:pt x="0" y="43"/>
                  </a:cubicBezTo>
                  <a:cubicBezTo>
                    <a:pt x="0" y="57"/>
                    <a:pt x="3" y="67"/>
                    <a:pt x="10" y="74"/>
                  </a:cubicBezTo>
                  <a:cubicBezTo>
                    <a:pt x="16" y="82"/>
                    <a:pt x="25" y="85"/>
                    <a:pt x="37" y="85"/>
                  </a:cubicBezTo>
                  <a:cubicBezTo>
                    <a:pt x="45" y="85"/>
                    <a:pt x="53" y="83"/>
                    <a:pt x="59" y="77"/>
                  </a:cubicBezTo>
                  <a:cubicBezTo>
                    <a:pt x="65" y="72"/>
                    <a:pt x="69" y="65"/>
                    <a:pt x="70" y="55"/>
                  </a:cubicBezTo>
                  <a:cubicBezTo>
                    <a:pt x="57" y="54"/>
                    <a:pt x="57" y="54"/>
                    <a:pt x="57" y="54"/>
                  </a:cubicBezTo>
                  <a:cubicBezTo>
                    <a:pt x="56" y="60"/>
                    <a:pt x="54" y="66"/>
                    <a:pt x="50" y="6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1049479" name="iṩḷídê"/>
            <p:cNvSpPr/>
            <p:nvPr/>
          </p:nvSpPr>
          <p:spPr bwMode="auto">
            <a:xfrm>
              <a:off x="9010903" y="5675903"/>
              <a:ext cx="122238" cy="206375"/>
            </a:xfrm>
            <a:custGeom>
              <a:avLst/>
              <a:gdLst>
                <a:gd name="T0" fmla="*/ 54 w 66"/>
                <a:gd name="T1" fmla="*/ 33 h 112"/>
                <a:gd name="T2" fmla="*/ 38 w 66"/>
                <a:gd name="T3" fmla="*/ 29 h 112"/>
                <a:gd name="T4" fmla="*/ 14 w 66"/>
                <a:gd name="T5" fmla="*/ 40 h 112"/>
                <a:gd name="T6" fmla="*/ 14 w 66"/>
                <a:gd name="T7" fmla="*/ 0 h 112"/>
                <a:gd name="T8" fmla="*/ 0 w 66"/>
                <a:gd name="T9" fmla="*/ 0 h 112"/>
                <a:gd name="T10" fmla="*/ 0 w 66"/>
                <a:gd name="T11" fmla="*/ 112 h 112"/>
                <a:gd name="T12" fmla="*/ 14 w 66"/>
                <a:gd name="T13" fmla="*/ 112 h 112"/>
                <a:gd name="T14" fmla="*/ 14 w 66"/>
                <a:gd name="T15" fmla="*/ 68 h 112"/>
                <a:gd name="T16" fmla="*/ 16 w 66"/>
                <a:gd name="T17" fmla="*/ 53 h 112"/>
                <a:gd name="T18" fmla="*/ 24 w 66"/>
                <a:gd name="T19" fmla="*/ 44 h 112"/>
                <a:gd name="T20" fmla="*/ 35 w 66"/>
                <a:gd name="T21" fmla="*/ 41 h 112"/>
                <a:gd name="T22" fmla="*/ 48 w 66"/>
                <a:gd name="T23" fmla="*/ 46 h 112"/>
                <a:gd name="T24" fmla="*/ 53 w 66"/>
                <a:gd name="T25" fmla="*/ 61 h 112"/>
                <a:gd name="T26" fmla="*/ 53 w 66"/>
                <a:gd name="T27" fmla="*/ 112 h 112"/>
                <a:gd name="T28" fmla="*/ 66 w 66"/>
                <a:gd name="T29" fmla="*/ 112 h 112"/>
                <a:gd name="T30" fmla="*/ 66 w 66"/>
                <a:gd name="T31" fmla="*/ 61 h 112"/>
                <a:gd name="T32" fmla="*/ 63 w 66"/>
                <a:gd name="T33" fmla="*/ 43 h 112"/>
                <a:gd name="T34" fmla="*/ 54 w 66"/>
                <a:gd name="T35" fmla="*/ 33 h 1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66" h="112">
                  <a:moveTo>
                    <a:pt x="54" y="33"/>
                  </a:moveTo>
                  <a:cubicBezTo>
                    <a:pt x="50" y="30"/>
                    <a:pt x="44" y="29"/>
                    <a:pt x="38" y="29"/>
                  </a:cubicBezTo>
                  <a:cubicBezTo>
                    <a:pt x="28" y="29"/>
                    <a:pt x="20" y="33"/>
                    <a:pt x="14" y="40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12"/>
                    <a:pt x="0" y="112"/>
                    <a:pt x="0" y="112"/>
                  </a:cubicBezTo>
                  <a:cubicBezTo>
                    <a:pt x="14" y="112"/>
                    <a:pt x="14" y="112"/>
                    <a:pt x="14" y="112"/>
                  </a:cubicBezTo>
                  <a:cubicBezTo>
                    <a:pt x="14" y="68"/>
                    <a:pt x="14" y="68"/>
                    <a:pt x="14" y="68"/>
                  </a:cubicBezTo>
                  <a:cubicBezTo>
                    <a:pt x="14" y="61"/>
                    <a:pt x="15" y="56"/>
                    <a:pt x="16" y="53"/>
                  </a:cubicBezTo>
                  <a:cubicBezTo>
                    <a:pt x="18" y="49"/>
                    <a:pt x="20" y="46"/>
                    <a:pt x="24" y="44"/>
                  </a:cubicBezTo>
                  <a:cubicBezTo>
                    <a:pt x="28" y="42"/>
                    <a:pt x="31" y="41"/>
                    <a:pt x="35" y="41"/>
                  </a:cubicBezTo>
                  <a:cubicBezTo>
                    <a:pt x="41" y="41"/>
                    <a:pt x="45" y="43"/>
                    <a:pt x="48" y="46"/>
                  </a:cubicBezTo>
                  <a:cubicBezTo>
                    <a:pt x="51" y="49"/>
                    <a:pt x="53" y="54"/>
                    <a:pt x="53" y="61"/>
                  </a:cubicBezTo>
                  <a:cubicBezTo>
                    <a:pt x="53" y="112"/>
                    <a:pt x="53" y="112"/>
                    <a:pt x="53" y="112"/>
                  </a:cubicBezTo>
                  <a:cubicBezTo>
                    <a:pt x="66" y="112"/>
                    <a:pt x="66" y="112"/>
                    <a:pt x="66" y="112"/>
                  </a:cubicBezTo>
                  <a:cubicBezTo>
                    <a:pt x="66" y="61"/>
                    <a:pt x="66" y="61"/>
                    <a:pt x="66" y="61"/>
                  </a:cubicBezTo>
                  <a:cubicBezTo>
                    <a:pt x="66" y="53"/>
                    <a:pt x="65" y="47"/>
                    <a:pt x="63" y="43"/>
                  </a:cubicBezTo>
                  <a:cubicBezTo>
                    <a:pt x="62" y="38"/>
                    <a:pt x="58" y="35"/>
                    <a:pt x="54" y="33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1049480" name="íslîḍe"/>
            <p:cNvSpPr/>
            <p:nvPr/>
          </p:nvSpPr>
          <p:spPr bwMode="auto">
            <a:xfrm>
              <a:off x="9171241" y="5729878"/>
              <a:ext cx="122238" cy="152400"/>
            </a:xfrm>
            <a:custGeom>
              <a:avLst/>
              <a:gdLst>
                <a:gd name="T0" fmla="*/ 61 w 66"/>
                <a:gd name="T1" fmla="*/ 10 h 83"/>
                <a:gd name="T2" fmla="*/ 52 w 66"/>
                <a:gd name="T3" fmla="*/ 3 h 83"/>
                <a:gd name="T4" fmla="*/ 39 w 66"/>
                <a:gd name="T5" fmla="*/ 0 h 83"/>
                <a:gd name="T6" fmla="*/ 13 w 66"/>
                <a:gd name="T7" fmla="*/ 14 h 83"/>
                <a:gd name="T8" fmla="*/ 13 w 66"/>
                <a:gd name="T9" fmla="*/ 2 h 83"/>
                <a:gd name="T10" fmla="*/ 0 w 66"/>
                <a:gd name="T11" fmla="*/ 2 h 83"/>
                <a:gd name="T12" fmla="*/ 0 w 66"/>
                <a:gd name="T13" fmla="*/ 83 h 83"/>
                <a:gd name="T14" fmla="*/ 14 w 66"/>
                <a:gd name="T15" fmla="*/ 83 h 83"/>
                <a:gd name="T16" fmla="*/ 14 w 66"/>
                <a:gd name="T17" fmla="*/ 39 h 83"/>
                <a:gd name="T18" fmla="*/ 20 w 66"/>
                <a:gd name="T19" fmla="*/ 18 h 83"/>
                <a:gd name="T20" fmla="*/ 36 w 66"/>
                <a:gd name="T21" fmla="*/ 12 h 83"/>
                <a:gd name="T22" fmla="*/ 45 w 66"/>
                <a:gd name="T23" fmla="*/ 15 h 83"/>
                <a:gd name="T24" fmla="*/ 51 w 66"/>
                <a:gd name="T25" fmla="*/ 21 h 83"/>
                <a:gd name="T26" fmla="*/ 53 w 66"/>
                <a:gd name="T27" fmla="*/ 34 h 83"/>
                <a:gd name="T28" fmla="*/ 53 w 66"/>
                <a:gd name="T29" fmla="*/ 83 h 83"/>
                <a:gd name="T30" fmla="*/ 66 w 66"/>
                <a:gd name="T31" fmla="*/ 83 h 83"/>
                <a:gd name="T32" fmla="*/ 66 w 66"/>
                <a:gd name="T33" fmla="*/ 33 h 83"/>
                <a:gd name="T34" fmla="*/ 66 w 66"/>
                <a:gd name="T35" fmla="*/ 20 h 83"/>
                <a:gd name="T36" fmla="*/ 61 w 66"/>
                <a:gd name="T37" fmla="*/ 10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6" h="83">
                  <a:moveTo>
                    <a:pt x="61" y="10"/>
                  </a:moveTo>
                  <a:cubicBezTo>
                    <a:pt x="59" y="7"/>
                    <a:pt x="56" y="5"/>
                    <a:pt x="52" y="3"/>
                  </a:cubicBezTo>
                  <a:cubicBezTo>
                    <a:pt x="48" y="1"/>
                    <a:pt x="43" y="0"/>
                    <a:pt x="39" y="0"/>
                  </a:cubicBezTo>
                  <a:cubicBezTo>
                    <a:pt x="27" y="0"/>
                    <a:pt x="19" y="5"/>
                    <a:pt x="13" y="14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83"/>
                    <a:pt x="0" y="83"/>
                    <a:pt x="0" y="83"/>
                  </a:cubicBezTo>
                  <a:cubicBezTo>
                    <a:pt x="14" y="83"/>
                    <a:pt x="14" y="83"/>
                    <a:pt x="14" y="83"/>
                  </a:cubicBezTo>
                  <a:cubicBezTo>
                    <a:pt x="14" y="39"/>
                    <a:pt x="14" y="39"/>
                    <a:pt x="14" y="39"/>
                  </a:cubicBezTo>
                  <a:cubicBezTo>
                    <a:pt x="14" y="29"/>
                    <a:pt x="16" y="21"/>
                    <a:pt x="20" y="18"/>
                  </a:cubicBezTo>
                  <a:cubicBezTo>
                    <a:pt x="25" y="14"/>
                    <a:pt x="30" y="12"/>
                    <a:pt x="36" y="12"/>
                  </a:cubicBezTo>
                  <a:cubicBezTo>
                    <a:pt x="39" y="12"/>
                    <a:pt x="43" y="13"/>
                    <a:pt x="45" y="15"/>
                  </a:cubicBezTo>
                  <a:cubicBezTo>
                    <a:pt x="48" y="16"/>
                    <a:pt x="50" y="19"/>
                    <a:pt x="51" y="21"/>
                  </a:cubicBezTo>
                  <a:cubicBezTo>
                    <a:pt x="52" y="24"/>
                    <a:pt x="53" y="28"/>
                    <a:pt x="53" y="34"/>
                  </a:cubicBezTo>
                  <a:cubicBezTo>
                    <a:pt x="53" y="83"/>
                    <a:pt x="53" y="83"/>
                    <a:pt x="53" y="83"/>
                  </a:cubicBezTo>
                  <a:cubicBezTo>
                    <a:pt x="66" y="83"/>
                    <a:pt x="66" y="83"/>
                    <a:pt x="66" y="83"/>
                  </a:cubicBezTo>
                  <a:cubicBezTo>
                    <a:pt x="66" y="33"/>
                    <a:pt x="66" y="33"/>
                    <a:pt x="66" y="33"/>
                  </a:cubicBezTo>
                  <a:cubicBezTo>
                    <a:pt x="66" y="27"/>
                    <a:pt x="66" y="23"/>
                    <a:pt x="66" y="20"/>
                  </a:cubicBezTo>
                  <a:cubicBezTo>
                    <a:pt x="65" y="16"/>
                    <a:pt x="63" y="13"/>
                    <a:pt x="61" y="1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1049481" name="ïṣľíḓè"/>
            <p:cNvSpPr/>
            <p:nvPr/>
          </p:nvSpPr>
          <p:spPr bwMode="auto">
            <a:xfrm>
              <a:off x="9322053" y="5729878"/>
              <a:ext cx="142875" cy="157163"/>
            </a:xfrm>
            <a:custGeom>
              <a:avLst/>
              <a:gdLst>
                <a:gd name="T0" fmla="*/ 38 w 77"/>
                <a:gd name="T1" fmla="*/ 0 h 85"/>
                <a:gd name="T2" fmla="*/ 13 w 77"/>
                <a:gd name="T3" fmla="*/ 9 h 85"/>
                <a:gd name="T4" fmla="*/ 0 w 77"/>
                <a:gd name="T5" fmla="*/ 43 h 85"/>
                <a:gd name="T6" fmla="*/ 11 w 77"/>
                <a:gd name="T7" fmla="*/ 74 h 85"/>
                <a:gd name="T8" fmla="*/ 38 w 77"/>
                <a:gd name="T9" fmla="*/ 85 h 85"/>
                <a:gd name="T10" fmla="*/ 58 w 77"/>
                <a:gd name="T11" fmla="*/ 80 h 85"/>
                <a:gd name="T12" fmla="*/ 72 w 77"/>
                <a:gd name="T13" fmla="*/ 66 h 85"/>
                <a:gd name="T14" fmla="*/ 77 w 77"/>
                <a:gd name="T15" fmla="*/ 42 h 85"/>
                <a:gd name="T16" fmla="*/ 66 w 77"/>
                <a:gd name="T17" fmla="*/ 11 h 85"/>
                <a:gd name="T18" fmla="*/ 38 w 77"/>
                <a:gd name="T19" fmla="*/ 0 h 85"/>
                <a:gd name="T20" fmla="*/ 56 w 77"/>
                <a:gd name="T21" fmla="*/ 66 h 85"/>
                <a:gd name="T22" fmla="*/ 38 w 77"/>
                <a:gd name="T23" fmla="*/ 74 h 85"/>
                <a:gd name="T24" fmla="*/ 21 w 77"/>
                <a:gd name="T25" fmla="*/ 66 h 85"/>
                <a:gd name="T26" fmla="*/ 15 w 77"/>
                <a:gd name="T27" fmla="*/ 43 h 85"/>
                <a:gd name="T28" fmla="*/ 21 w 77"/>
                <a:gd name="T29" fmla="*/ 19 h 85"/>
                <a:gd name="T30" fmla="*/ 38 w 77"/>
                <a:gd name="T31" fmla="*/ 12 h 85"/>
                <a:gd name="T32" fmla="*/ 56 w 77"/>
                <a:gd name="T33" fmla="*/ 19 h 85"/>
                <a:gd name="T34" fmla="*/ 62 w 77"/>
                <a:gd name="T35" fmla="*/ 42 h 85"/>
                <a:gd name="T36" fmla="*/ 56 w 77"/>
                <a:gd name="T37" fmla="*/ 66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77" h="85">
                  <a:moveTo>
                    <a:pt x="38" y="0"/>
                  </a:moveTo>
                  <a:cubicBezTo>
                    <a:pt x="28" y="0"/>
                    <a:pt x="20" y="3"/>
                    <a:pt x="13" y="9"/>
                  </a:cubicBezTo>
                  <a:cubicBezTo>
                    <a:pt x="5" y="16"/>
                    <a:pt x="0" y="28"/>
                    <a:pt x="0" y="43"/>
                  </a:cubicBezTo>
                  <a:cubicBezTo>
                    <a:pt x="0" y="56"/>
                    <a:pt x="4" y="67"/>
                    <a:pt x="11" y="74"/>
                  </a:cubicBezTo>
                  <a:cubicBezTo>
                    <a:pt x="18" y="82"/>
                    <a:pt x="27" y="85"/>
                    <a:pt x="38" y="85"/>
                  </a:cubicBezTo>
                  <a:cubicBezTo>
                    <a:pt x="46" y="85"/>
                    <a:pt x="52" y="84"/>
                    <a:pt x="58" y="80"/>
                  </a:cubicBezTo>
                  <a:cubicBezTo>
                    <a:pt x="64" y="77"/>
                    <a:pt x="69" y="72"/>
                    <a:pt x="72" y="66"/>
                  </a:cubicBezTo>
                  <a:cubicBezTo>
                    <a:pt x="75" y="60"/>
                    <a:pt x="77" y="52"/>
                    <a:pt x="77" y="42"/>
                  </a:cubicBezTo>
                  <a:cubicBezTo>
                    <a:pt x="77" y="29"/>
                    <a:pt x="73" y="19"/>
                    <a:pt x="66" y="11"/>
                  </a:cubicBezTo>
                  <a:cubicBezTo>
                    <a:pt x="59" y="4"/>
                    <a:pt x="50" y="0"/>
                    <a:pt x="38" y="0"/>
                  </a:cubicBezTo>
                  <a:close/>
                  <a:moveTo>
                    <a:pt x="56" y="66"/>
                  </a:moveTo>
                  <a:cubicBezTo>
                    <a:pt x="51" y="71"/>
                    <a:pt x="45" y="74"/>
                    <a:pt x="38" y="74"/>
                  </a:cubicBezTo>
                  <a:cubicBezTo>
                    <a:pt x="32" y="74"/>
                    <a:pt x="26" y="71"/>
                    <a:pt x="21" y="66"/>
                  </a:cubicBezTo>
                  <a:cubicBezTo>
                    <a:pt x="17" y="61"/>
                    <a:pt x="15" y="53"/>
                    <a:pt x="15" y="43"/>
                  </a:cubicBezTo>
                  <a:cubicBezTo>
                    <a:pt x="15" y="32"/>
                    <a:pt x="17" y="24"/>
                    <a:pt x="21" y="19"/>
                  </a:cubicBezTo>
                  <a:cubicBezTo>
                    <a:pt x="26" y="14"/>
                    <a:pt x="32" y="12"/>
                    <a:pt x="38" y="12"/>
                  </a:cubicBezTo>
                  <a:cubicBezTo>
                    <a:pt x="45" y="12"/>
                    <a:pt x="51" y="14"/>
                    <a:pt x="56" y="19"/>
                  </a:cubicBezTo>
                  <a:cubicBezTo>
                    <a:pt x="60" y="25"/>
                    <a:pt x="62" y="32"/>
                    <a:pt x="62" y="42"/>
                  </a:cubicBezTo>
                  <a:cubicBezTo>
                    <a:pt x="62" y="53"/>
                    <a:pt x="60" y="61"/>
                    <a:pt x="56" y="66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1049482" name="îš1ïḋé"/>
            <p:cNvSpPr/>
            <p:nvPr/>
          </p:nvSpPr>
          <p:spPr bwMode="auto">
            <a:xfrm>
              <a:off x="9491916" y="5675903"/>
              <a:ext cx="25400" cy="206375"/>
            </a:xfrm>
            <a:prstGeom prst="rect">
              <a:avLst/>
            </a:pr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1049483" name="íŝḻíḍê"/>
            <p:cNvSpPr/>
            <p:nvPr/>
          </p:nvSpPr>
          <p:spPr bwMode="auto">
            <a:xfrm>
              <a:off x="9547478" y="5729878"/>
              <a:ext cx="141288" cy="157163"/>
            </a:xfrm>
            <a:custGeom>
              <a:avLst/>
              <a:gdLst>
                <a:gd name="T0" fmla="*/ 38 w 77"/>
                <a:gd name="T1" fmla="*/ 0 h 85"/>
                <a:gd name="T2" fmla="*/ 13 w 77"/>
                <a:gd name="T3" fmla="*/ 9 h 85"/>
                <a:gd name="T4" fmla="*/ 0 w 77"/>
                <a:gd name="T5" fmla="*/ 43 h 85"/>
                <a:gd name="T6" fmla="*/ 11 w 77"/>
                <a:gd name="T7" fmla="*/ 74 h 85"/>
                <a:gd name="T8" fmla="*/ 38 w 77"/>
                <a:gd name="T9" fmla="*/ 85 h 85"/>
                <a:gd name="T10" fmla="*/ 58 w 77"/>
                <a:gd name="T11" fmla="*/ 80 h 85"/>
                <a:gd name="T12" fmla="*/ 72 w 77"/>
                <a:gd name="T13" fmla="*/ 66 h 85"/>
                <a:gd name="T14" fmla="*/ 77 w 77"/>
                <a:gd name="T15" fmla="*/ 42 h 85"/>
                <a:gd name="T16" fmla="*/ 66 w 77"/>
                <a:gd name="T17" fmla="*/ 11 h 85"/>
                <a:gd name="T18" fmla="*/ 38 w 77"/>
                <a:gd name="T19" fmla="*/ 0 h 85"/>
                <a:gd name="T20" fmla="*/ 56 w 77"/>
                <a:gd name="T21" fmla="*/ 66 h 85"/>
                <a:gd name="T22" fmla="*/ 38 w 77"/>
                <a:gd name="T23" fmla="*/ 74 h 85"/>
                <a:gd name="T24" fmla="*/ 21 w 77"/>
                <a:gd name="T25" fmla="*/ 66 h 85"/>
                <a:gd name="T26" fmla="*/ 15 w 77"/>
                <a:gd name="T27" fmla="*/ 43 h 85"/>
                <a:gd name="T28" fmla="*/ 21 w 77"/>
                <a:gd name="T29" fmla="*/ 19 h 85"/>
                <a:gd name="T30" fmla="*/ 38 w 77"/>
                <a:gd name="T31" fmla="*/ 12 h 85"/>
                <a:gd name="T32" fmla="*/ 56 w 77"/>
                <a:gd name="T33" fmla="*/ 19 h 85"/>
                <a:gd name="T34" fmla="*/ 62 w 77"/>
                <a:gd name="T35" fmla="*/ 42 h 85"/>
                <a:gd name="T36" fmla="*/ 56 w 77"/>
                <a:gd name="T37" fmla="*/ 66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77" h="85">
                  <a:moveTo>
                    <a:pt x="38" y="0"/>
                  </a:moveTo>
                  <a:cubicBezTo>
                    <a:pt x="28" y="0"/>
                    <a:pt x="20" y="3"/>
                    <a:pt x="13" y="9"/>
                  </a:cubicBezTo>
                  <a:cubicBezTo>
                    <a:pt x="5" y="16"/>
                    <a:pt x="0" y="28"/>
                    <a:pt x="0" y="43"/>
                  </a:cubicBezTo>
                  <a:cubicBezTo>
                    <a:pt x="0" y="56"/>
                    <a:pt x="4" y="67"/>
                    <a:pt x="11" y="74"/>
                  </a:cubicBezTo>
                  <a:cubicBezTo>
                    <a:pt x="18" y="82"/>
                    <a:pt x="27" y="85"/>
                    <a:pt x="38" y="85"/>
                  </a:cubicBezTo>
                  <a:cubicBezTo>
                    <a:pt x="46" y="85"/>
                    <a:pt x="52" y="84"/>
                    <a:pt x="58" y="80"/>
                  </a:cubicBezTo>
                  <a:cubicBezTo>
                    <a:pt x="64" y="77"/>
                    <a:pt x="69" y="72"/>
                    <a:pt x="72" y="66"/>
                  </a:cubicBezTo>
                  <a:cubicBezTo>
                    <a:pt x="75" y="60"/>
                    <a:pt x="77" y="52"/>
                    <a:pt x="77" y="42"/>
                  </a:cubicBezTo>
                  <a:cubicBezTo>
                    <a:pt x="77" y="29"/>
                    <a:pt x="73" y="19"/>
                    <a:pt x="66" y="11"/>
                  </a:cubicBezTo>
                  <a:cubicBezTo>
                    <a:pt x="59" y="4"/>
                    <a:pt x="50" y="0"/>
                    <a:pt x="38" y="0"/>
                  </a:cubicBezTo>
                  <a:close/>
                  <a:moveTo>
                    <a:pt x="56" y="66"/>
                  </a:moveTo>
                  <a:cubicBezTo>
                    <a:pt x="51" y="71"/>
                    <a:pt x="45" y="74"/>
                    <a:pt x="38" y="74"/>
                  </a:cubicBezTo>
                  <a:cubicBezTo>
                    <a:pt x="32" y="74"/>
                    <a:pt x="26" y="71"/>
                    <a:pt x="21" y="66"/>
                  </a:cubicBezTo>
                  <a:cubicBezTo>
                    <a:pt x="17" y="61"/>
                    <a:pt x="15" y="53"/>
                    <a:pt x="15" y="43"/>
                  </a:cubicBezTo>
                  <a:cubicBezTo>
                    <a:pt x="15" y="32"/>
                    <a:pt x="17" y="24"/>
                    <a:pt x="21" y="19"/>
                  </a:cubicBezTo>
                  <a:cubicBezTo>
                    <a:pt x="26" y="14"/>
                    <a:pt x="32" y="12"/>
                    <a:pt x="38" y="12"/>
                  </a:cubicBezTo>
                  <a:cubicBezTo>
                    <a:pt x="45" y="12"/>
                    <a:pt x="51" y="14"/>
                    <a:pt x="56" y="19"/>
                  </a:cubicBezTo>
                  <a:cubicBezTo>
                    <a:pt x="60" y="25"/>
                    <a:pt x="62" y="32"/>
                    <a:pt x="62" y="42"/>
                  </a:cubicBezTo>
                  <a:cubicBezTo>
                    <a:pt x="62" y="53"/>
                    <a:pt x="60" y="61"/>
                    <a:pt x="56" y="66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1049484" name="íṧḷíḓé"/>
            <p:cNvSpPr/>
            <p:nvPr/>
          </p:nvSpPr>
          <p:spPr bwMode="auto">
            <a:xfrm>
              <a:off x="9707816" y="5729878"/>
              <a:ext cx="131763" cy="214313"/>
            </a:xfrm>
            <a:custGeom>
              <a:avLst/>
              <a:gdLst>
                <a:gd name="T0" fmla="*/ 59 w 72"/>
                <a:gd name="T1" fmla="*/ 12 h 116"/>
                <a:gd name="T2" fmla="*/ 36 w 72"/>
                <a:gd name="T3" fmla="*/ 0 h 116"/>
                <a:gd name="T4" fmla="*/ 17 w 72"/>
                <a:gd name="T5" fmla="*/ 6 h 116"/>
                <a:gd name="T6" fmla="*/ 5 w 72"/>
                <a:gd name="T7" fmla="*/ 21 h 116"/>
                <a:gd name="T8" fmla="*/ 0 w 72"/>
                <a:gd name="T9" fmla="*/ 42 h 116"/>
                <a:gd name="T10" fmla="*/ 10 w 72"/>
                <a:gd name="T11" fmla="*/ 71 h 116"/>
                <a:gd name="T12" fmla="*/ 36 w 72"/>
                <a:gd name="T13" fmla="*/ 83 h 116"/>
                <a:gd name="T14" fmla="*/ 58 w 72"/>
                <a:gd name="T15" fmla="*/ 73 h 116"/>
                <a:gd name="T16" fmla="*/ 57 w 72"/>
                <a:gd name="T17" fmla="*/ 90 h 116"/>
                <a:gd name="T18" fmla="*/ 50 w 72"/>
                <a:gd name="T19" fmla="*/ 101 h 116"/>
                <a:gd name="T20" fmla="*/ 35 w 72"/>
                <a:gd name="T21" fmla="*/ 105 h 116"/>
                <a:gd name="T22" fmla="*/ 21 w 72"/>
                <a:gd name="T23" fmla="*/ 101 h 116"/>
                <a:gd name="T24" fmla="*/ 17 w 72"/>
                <a:gd name="T25" fmla="*/ 92 h 116"/>
                <a:gd name="T26" fmla="*/ 3 w 72"/>
                <a:gd name="T27" fmla="*/ 90 h 116"/>
                <a:gd name="T28" fmla="*/ 12 w 72"/>
                <a:gd name="T29" fmla="*/ 110 h 116"/>
                <a:gd name="T30" fmla="*/ 35 w 72"/>
                <a:gd name="T31" fmla="*/ 116 h 116"/>
                <a:gd name="T32" fmla="*/ 56 w 72"/>
                <a:gd name="T33" fmla="*/ 112 h 116"/>
                <a:gd name="T34" fmla="*/ 68 w 72"/>
                <a:gd name="T35" fmla="*/ 99 h 116"/>
                <a:gd name="T36" fmla="*/ 72 w 72"/>
                <a:gd name="T37" fmla="*/ 72 h 116"/>
                <a:gd name="T38" fmla="*/ 72 w 72"/>
                <a:gd name="T39" fmla="*/ 2 h 116"/>
                <a:gd name="T40" fmla="*/ 59 w 72"/>
                <a:gd name="T41" fmla="*/ 2 h 116"/>
                <a:gd name="T42" fmla="*/ 59 w 72"/>
                <a:gd name="T43" fmla="*/ 12 h 116"/>
                <a:gd name="T44" fmla="*/ 53 w 72"/>
                <a:gd name="T45" fmla="*/ 65 h 116"/>
                <a:gd name="T46" fmla="*/ 37 w 72"/>
                <a:gd name="T47" fmla="*/ 72 h 116"/>
                <a:gd name="T48" fmla="*/ 21 w 72"/>
                <a:gd name="T49" fmla="*/ 65 h 116"/>
                <a:gd name="T50" fmla="*/ 15 w 72"/>
                <a:gd name="T51" fmla="*/ 41 h 116"/>
                <a:gd name="T52" fmla="*/ 21 w 72"/>
                <a:gd name="T53" fmla="*/ 19 h 116"/>
                <a:gd name="T54" fmla="*/ 37 w 72"/>
                <a:gd name="T55" fmla="*/ 12 h 116"/>
                <a:gd name="T56" fmla="*/ 53 w 72"/>
                <a:gd name="T57" fmla="*/ 19 h 116"/>
                <a:gd name="T58" fmla="*/ 59 w 72"/>
                <a:gd name="T59" fmla="*/ 42 h 116"/>
                <a:gd name="T60" fmla="*/ 53 w 72"/>
                <a:gd name="T61" fmla="*/ 65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72" h="116">
                  <a:moveTo>
                    <a:pt x="59" y="12"/>
                  </a:moveTo>
                  <a:cubicBezTo>
                    <a:pt x="53" y="4"/>
                    <a:pt x="45" y="0"/>
                    <a:pt x="36" y="0"/>
                  </a:cubicBezTo>
                  <a:cubicBezTo>
                    <a:pt x="28" y="0"/>
                    <a:pt x="22" y="2"/>
                    <a:pt x="17" y="6"/>
                  </a:cubicBezTo>
                  <a:cubicBezTo>
                    <a:pt x="11" y="9"/>
                    <a:pt x="7" y="14"/>
                    <a:pt x="5" y="21"/>
                  </a:cubicBezTo>
                  <a:cubicBezTo>
                    <a:pt x="2" y="27"/>
                    <a:pt x="0" y="34"/>
                    <a:pt x="0" y="42"/>
                  </a:cubicBezTo>
                  <a:cubicBezTo>
                    <a:pt x="0" y="53"/>
                    <a:pt x="3" y="63"/>
                    <a:pt x="10" y="71"/>
                  </a:cubicBezTo>
                  <a:cubicBezTo>
                    <a:pt x="16" y="79"/>
                    <a:pt x="24" y="83"/>
                    <a:pt x="36" y="83"/>
                  </a:cubicBezTo>
                  <a:cubicBezTo>
                    <a:pt x="45" y="83"/>
                    <a:pt x="52" y="80"/>
                    <a:pt x="58" y="73"/>
                  </a:cubicBezTo>
                  <a:cubicBezTo>
                    <a:pt x="58" y="82"/>
                    <a:pt x="58" y="88"/>
                    <a:pt x="57" y="90"/>
                  </a:cubicBezTo>
                  <a:cubicBezTo>
                    <a:pt x="56" y="95"/>
                    <a:pt x="53" y="99"/>
                    <a:pt x="50" y="101"/>
                  </a:cubicBezTo>
                  <a:cubicBezTo>
                    <a:pt x="47" y="104"/>
                    <a:pt x="42" y="105"/>
                    <a:pt x="35" y="105"/>
                  </a:cubicBezTo>
                  <a:cubicBezTo>
                    <a:pt x="29" y="105"/>
                    <a:pt x="25" y="104"/>
                    <a:pt x="21" y="101"/>
                  </a:cubicBezTo>
                  <a:cubicBezTo>
                    <a:pt x="19" y="99"/>
                    <a:pt x="17" y="96"/>
                    <a:pt x="17" y="92"/>
                  </a:cubicBezTo>
                  <a:cubicBezTo>
                    <a:pt x="3" y="90"/>
                    <a:pt x="3" y="90"/>
                    <a:pt x="3" y="90"/>
                  </a:cubicBezTo>
                  <a:cubicBezTo>
                    <a:pt x="3" y="99"/>
                    <a:pt x="6" y="105"/>
                    <a:pt x="12" y="110"/>
                  </a:cubicBezTo>
                  <a:cubicBezTo>
                    <a:pt x="18" y="114"/>
                    <a:pt x="26" y="116"/>
                    <a:pt x="35" y="116"/>
                  </a:cubicBezTo>
                  <a:cubicBezTo>
                    <a:pt x="43" y="116"/>
                    <a:pt x="50" y="115"/>
                    <a:pt x="56" y="112"/>
                  </a:cubicBezTo>
                  <a:cubicBezTo>
                    <a:pt x="62" y="109"/>
                    <a:pt x="66" y="104"/>
                    <a:pt x="68" y="99"/>
                  </a:cubicBezTo>
                  <a:cubicBezTo>
                    <a:pt x="71" y="94"/>
                    <a:pt x="72" y="85"/>
                    <a:pt x="72" y="72"/>
                  </a:cubicBezTo>
                  <a:cubicBezTo>
                    <a:pt x="72" y="2"/>
                    <a:pt x="72" y="2"/>
                    <a:pt x="72" y="2"/>
                  </a:cubicBezTo>
                  <a:cubicBezTo>
                    <a:pt x="59" y="2"/>
                    <a:pt x="59" y="2"/>
                    <a:pt x="59" y="2"/>
                  </a:cubicBezTo>
                  <a:lnTo>
                    <a:pt x="59" y="12"/>
                  </a:lnTo>
                  <a:close/>
                  <a:moveTo>
                    <a:pt x="53" y="65"/>
                  </a:moveTo>
                  <a:cubicBezTo>
                    <a:pt x="48" y="69"/>
                    <a:pt x="43" y="72"/>
                    <a:pt x="37" y="72"/>
                  </a:cubicBezTo>
                  <a:cubicBezTo>
                    <a:pt x="30" y="72"/>
                    <a:pt x="25" y="69"/>
                    <a:pt x="21" y="65"/>
                  </a:cubicBezTo>
                  <a:cubicBezTo>
                    <a:pt x="17" y="60"/>
                    <a:pt x="15" y="52"/>
                    <a:pt x="15" y="41"/>
                  </a:cubicBezTo>
                  <a:cubicBezTo>
                    <a:pt x="15" y="31"/>
                    <a:pt x="17" y="24"/>
                    <a:pt x="21" y="19"/>
                  </a:cubicBezTo>
                  <a:cubicBezTo>
                    <a:pt x="25" y="14"/>
                    <a:pt x="30" y="12"/>
                    <a:pt x="37" y="12"/>
                  </a:cubicBezTo>
                  <a:cubicBezTo>
                    <a:pt x="43" y="12"/>
                    <a:pt x="48" y="14"/>
                    <a:pt x="53" y="19"/>
                  </a:cubicBezTo>
                  <a:cubicBezTo>
                    <a:pt x="57" y="24"/>
                    <a:pt x="59" y="32"/>
                    <a:pt x="59" y="42"/>
                  </a:cubicBezTo>
                  <a:cubicBezTo>
                    <a:pt x="59" y="52"/>
                    <a:pt x="57" y="60"/>
                    <a:pt x="53" y="6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1049485" name="îŝlíde"/>
            <p:cNvSpPr/>
            <p:nvPr/>
          </p:nvSpPr>
          <p:spPr bwMode="auto">
            <a:xfrm>
              <a:off x="9864978" y="5733053"/>
              <a:ext cx="138113" cy="211138"/>
            </a:xfrm>
            <a:custGeom>
              <a:avLst/>
              <a:gdLst>
                <a:gd name="T0" fmla="*/ 43 w 75"/>
                <a:gd name="T1" fmla="*/ 47 h 114"/>
                <a:gd name="T2" fmla="*/ 38 w 75"/>
                <a:gd name="T3" fmla="*/ 66 h 114"/>
                <a:gd name="T4" fmla="*/ 32 w 75"/>
                <a:gd name="T5" fmla="*/ 47 h 114"/>
                <a:gd name="T6" fmla="*/ 15 w 75"/>
                <a:gd name="T7" fmla="*/ 0 h 114"/>
                <a:gd name="T8" fmla="*/ 0 w 75"/>
                <a:gd name="T9" fmla="*/ 0 h 114"/>
                <a:gd name="T10" fmla="*/ 31 w 75"/>
                <a:gd name="T11" fmla="*/ 81 h 114"/>
                <a:gd name="T12" fmla="*/ 30 w 75"/>
                <a:gd name="T13" fmla="*/ 85 h 114"/>
                <a:gd name="T14" fmla="*/ 25 w 75"/>
                <a:gd name="T15" fmla="*/ 95 h 114"/>
                <a:gd name="T16" fmla="*/ 21 w 75"/>
                <a:gd name="T17" fmla="*/ 99 h 114"/>
                <a:gd name="T18" fmla="*/ 14 w 75"/>
                <a:gd name="T19" fmla="*/ 101 h 114"/>
                <a:gd name="T20" fmla="*/ 6 w 75"/>
                <a:gd name="T21" fmla="*/ 100 h 114"/>
                <a:gd name="T22" fmla="*/ 7 w 75"/>
                <a:gd name="T23" fmla="*/ 113 h 114"/>
                <a:gd name="T24" fmla="*/ 16 w 75"/>
                <a:gd name="T25" fmla="*/ 114 h 114"/>
                <a:gd name="T26" fmla="*/ 27 w 75"/>
                <a:gd name="T27" fmla="*/ 111 h 114"/>
                <a:gd name="T28" fmla="*/ 36 w 75"/>
                <a:gd name="T29" fmla="*/ 101 h 114"/>
                <a:gd name="T30" fmla="*/ 44 w 75"/>
                <a:gd name="T31" fmla="*/ 83 h 114"/>
                <a:gd name="T32" fmla="*/ 75 w 75"/>
                <a:gd name="T33" fmla="*/ 0 h 114"/>
                <a:gd name="T34" fmla="*/ 61 w 75"/>
                <a:gd name="T35" fmla="*/ 0 h 114"/>
                <a:gd name="T36" fmla="*/ 43 w 75"/>
                <a:gd name="T37" fmla="*/ 47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75" h="114">
                  <a:moveTo>
                    <a:pt x="43" y="47"/>
                  </a:moveTo>
                  <a:cubicBezTo>
                    <a:pt x="41" y="53"/>
                    <a:pt x="39" y="60"/>
                    <a:pt x="38" y="66"/>
                  </a:cubicBezTo>
                  <a:cubicBezTo>
                    <a:pt x="36" y="59"/>
                    <a:pt x="34" y="53"/>
                    <a:pt x="32" y="47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0" y="83"/>
                    <a:pt x="30" y="84"/>
                    <a:pt x="30" y="85"/>
                  </a:cubicBezTo>
                  <a:cubicBezTo>
                    <a:pt x="28" y="90"/>
                    <a:pt x="26" y="94"/>
                    <a:pt x="25" y="95"/>
                  </a:cubicBezTo>
                  <a:cubicBezTo>
                    <a:pt x="24" y="97"/>
                    <a:pt x="23" y="98"/>
                    <a:pt x="21" y="99"/>
                  </a:cubicBezTo>
                  <a:cubicBezTo>
                    <a:pt x="19" y="100"/>
                    <a:pt x="17" y="101"/>
                    <a:pt x="14" y="101"/>
                  </a:cubicBezTo>
                  <a:cubicBezTo>
                    <a:pt x="11" y="101"/>
                    <a:pt x="9" y="101"/>
                    <a:pt x="6" y="100"/>
                  </a:cubicBezTo>
                  <a:cubicBezTo>
                    <a:pt x="7" y="113"/>
                    <a:pt x="7" y="113"/>
                    <a:pt x="7" y="113"/>
                  </a:cubicBezTo>
                  <a:cubicBezTo>
                    <a:pt x="11" y="114"/>
                    <a:pt x="13" y="114"/>
                    <a:pt x="16" y="114"/>
                  </a:cubicBezTo>
                  <a:cubicBezTo>
                    <a:pt x="21" y="114"/>
                    <a:pt x="24" y="113"/>
                    <a:pt x="27" y="111"/>
                  </a:cubicBezTo>
                  <a:cubicBezTo>
                    <a:pt x="31" y="109"/>
                    <a:pt x="33" y="106"/>
                    <a:pt x="36" y="101"/>
                  </a:cubicBezTo>
                  <a:cubicBezTo>
                    <a:pt x="38" y="98"/>
                    <a:pt x="40" y="92"/>
                    <a:pt x="44" y="83"/>
                  </a:cubicBezTo>
                  <a:cubicBezTo>
                    <a:pt x="75" y="0"/>
                    <a:pt x="75" y="0"/>
                    <a:pt x="75" y="0"/>
                  </a:cubicBezTo>
                  <a:cubicBezTo>
                    <a:pt x="61" y="0"/>
                    <a:pt x="61" y="0"/>
                    <a:pt x="61" y="0"/>
                  </a:cubicBezTo>
                  <a:lnTo>
                    <a:pt x="43" y="47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1049486" name="íṧ1ïḍé"/>
            <p:cNvSpPr/>
            <p:nvPr/>
          </p:nvSpPr>
          <p:spPr bwMode="auto">
            <a:xfrm>
              <a:off x="10106278" y="5675903"/>
              <a:ext cx="155575" cy="206375"/>
            </a:xfrm>
            <a:custGeom>
              <a:avLst/>
              <a:gdLst>
                <a:gd name="T0" fmla="*/ 64 w 85"/>
                <a:gd name="T1" fmla="*/ 53 h 112"/>
                <a:gd name="T2" fmla="*/ 75 w 85"/>
                <a:gd name="T3" fmla="*/ 42 h 112"/>
                <a:gd name="T4" fmla="*/ 79 w 85"/>
                <a:gd name="T5" fmla="*/ 29 h 112"/>
                <a:gd name="T6" fmla="*/ 75 w 85"/>
                <a:gd name="T7" fmla="*/ 14 h 112"/>
                <a:gd name="T8" fmla="*/ 63 w 85"/>
                <a:gd name="T9" fmla="*/ 4 h 112"/>
                <a:gd name="T10" fmla="*/ 42 w 85"/>
                <a:gd name="T11" fmla="*/ 0 h 112"/>
                <a:gd name="T12" fmla="*/ 0 w 85"/>
                <a:gd name="T13" fmla="*/ 0 h 112"/>
                <a:gd name="T14" fmla="*/ 0 w 85"/>
                <a:gd name="T15" fmla="*/ 112 h 112"/>
                <a:gd name="T16" fmla="*/ 43 w 85"/>
                <a:gd name="T17" fmla="*/ 112 h 112"/>
                <a:gd name="T18" fmla="*/ 61 w 85"/>
                <a:gd name="T19" fmla="*/ 110 h 112"/>
                <a:gd name="T20" fmla="*/ 73 w 85"/>
                <a:gd name="T21" fmla="*/ 105 h 112"/>
                <a:gd name="T22" fmla="*/ 81 w 85"/>
                <a:gd name="T23" fmla="*/ 94 h 112"/>
                <a:gd name="T24" fmla="*/ 85 w 85"/>
                <a:gd name="T25" fmla="*/ 80 h 112"/>
                <a:gd name="T26" fmla="*/ 79 w 85"/>
                <a:gd name="T27" fmla="*/ 63 h 112"/>
                <a:gd name="T28" fmla="*/ 64 w 85"/>
                <a:gd name="T29" fmla="*/ 53 h 112"/>
                <a:gd name="T30" fmla="*/ 15 w 85"/>
                <a:gd name="T31" fmla="*/ 13 h 112"/>
                <a:gd name="T32" fmla="*/ 37 w 85"/>
                <a:gd name="T33" fmla="*/ 13 h 112"/>
                <a:gd name="T34" fmla="*/ 54 w 85"/>
                <a:gd name="T35" fmla="*/ 15 h 112"/>
                <a:gd name="T36" fmla="*/ 62 w 85"/>
                <a:gd name="T37" fmla="*/ 21 h 112"/>
                <a:gd name="T38" fmla="*/ 65 w 85"/>
                <a:gd name="T39" fmla="*/ 31 h 112"/>
                <a:gd name="T40" fmla="*/ 62 w 85"/>
                <a:gd name="T41" fmla="*/ 40 h 112"/>
                <a:gd name="T42" fmla="*/ 53 w 85"/>
                <a:gd name="T43" fmla="*/ 46 h 112"/>
                <a:gd name="T44" fmla="*/ 39 w 85"/>
                <a:gd name="T45" fmla="*/ 47 h 112"/>
                <a:gd name="T46" fmla="*/ 15 w 85"/>
                <a:gd name="T47" fmla="*/ 47 h 112"/>
                <a:gd name="T48" fmla="*/ 15 w 85"/>
                <a:gd name="T49" fmla="*/ 13 h 112"/>
                <a:gd name="T50" fmla="*/ 67 w 85"/>
                <a:gd name="T51" fmla="*/ 89 h 112"/>
                <a:gd name="T52" fmla="*/ 61 w 85"/>
                <a:gd name="T53" fmla="*/ 95 h 112"/>
                <a:gd name="T54" fmla="*/ 53 w 85"/>
                <a:gd name="T55" fmla="*/ 99 h 112"/>
                <a:gd name="T56" fmla="*/ 43 w 85"/>
                <a:gd name="T57" fmla="*/ 99 h 112"/>
                <a:gd name="T58" fmla="*/ 15 w 85"/>
                <a:gd name="T59" fmla="*/ 99 h 112"/>
                <a:gd name="T60" fmla="*/ 15 w 85"/>
                <a:gd name="T61" fmla="*/ 61 h 112"/>
                <a:gd name="T62" fmla="*/ 41 w 85"/>
                <a:gd name="T63" fmla="*/ 61 h 112"/>
                <a:gd name="T64" fmla="*/ 57 w 85"/>
                <a:gd name="T65" fmla="*/ 62 h 112"/>
                <a:gd name="T66" fmla="*/ 66 w 85"/>
                <a:gd name="T67" fmla="*/ 69 h 112"/>
                <a:gd name="T68" fmla="*/ 69 w 85"/>
                <a:gd name="T69" fmla="*/ 80 h 112"/>
                <a:gd name="T70" fmla="*/ 67 w 85"/>
                <a:gd name="T71" fmla="*/ 89 h 1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85" h="112">
                  <a:moveTo>
                    <a:pt x="64" y="53"/>
                  </a:moveTo>
                  <a:cubicBezTo>
                    <a:pt x="69" y="50"/>
                    <a:pt x="73" y="47"/>
                    <a:pt x="75" y="42"/>
                  </a:cubicBezTo>
                  <a:cubicBezTo>
                    <a:pt x="78" y="38"/>
                    <a:pt x="79" y="34"/>
                    <a:pt x="79" y="29"/>
                  </a:cubicBezTo>
                  <a:cubicBezTo>
                    <a:pt x="79" y="24"/>
                    <a:pt x="78" y="19"/>
                    <a:pt x="75" y="14"/>
                  </a:cubicBezTo>
                  <a:cubicBezTo>
                    <a:pt x="72" y="9"/>
                    <a:pt x="68" y="6"/>
                    <a:pt x="63" y="4"/>
                  </a:cubicBezTo>
                  <a:cubicBezTo>
                    <a:pt x="57" y="1"/>
                    <a:pt x="51" y="0"/>
                    <a:pt x="42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12"/>
                    <a:pt x="0" y="112"/>
                    <a:pt x="0" y="112"/>
                  </a:cubicBezTo>
                  <a:cubicBezTo>
                    <a:pt x="43" y="112"/>
                    <a:pt x="43" y="112"/>
                    <a:pt x="43" y="112"/>
                  </a:cubicBezTo>
                  <a:cubicBezTo>
                    <a:pt x="50" y="112"/>
                    <a:pt x="56" y="112"/>
                    <a:pt x="61" y="110"/>
                  </a:cubicBezTo>
                  <a:cubicBezTo>
                    <a:pt x="66" y="109"/>
                    <a:pt x="70" y="107"/>
                    <a:pt x="73" y="105"/>
                  </a:cubicBezTo>
                  <a:cubicBezTo>
                    <a:pt x="76" y="102"/>
                    <a:pt x="79" y="99"/>
                    <a:pt x="81" y="94"/>
                  </a:cubicBezTo>
                  <a:cubicBezTo>
                    <a:pt x="84" y="90"/>
                    <a:pt x="85" y="85"/>
                    <a:pt x="85" y="80"/>
                  </a:cubicBezTo>
                  <a:cubicBezTo>
                    <a:pt x="85" y="73"/>
                    <a:pt x="83" y="68"/>
                    <a:pt x="79" y="63"/>
                  </a:cubicBezTo>
                  <a:cubicBezTo>
                    <a:pt x="76" y="58"/>
                    <a:pt x="70" y="55"/>
                    <a:pt x="64" y="53"/>
                  </a:cubicBezTo>
                  <a:close/>
                  <a:moveTo>
                    <a:pt x="15" y="13"/>
                  </a:moveTo>
                  <a:cubicBezTo>
                    <a:pt x="37" y="13"/>
                    <a:pt x="37" y="13"/>
                    <a:pt x="37" y="13"/>
                  </a:cubicBezTo>
                  <a:cubicBezTo>
                    <a:pt x="45" y="13"/>
                    <a:pt x="51" y="14"/>
                    <a:pt x="54" y="15"/>
                  </a:cubicBezTo>
                  <a:cubicBezTo>
                    <a:pt x="58" y="16"/>
                    <a:pt x="60" y="18"/>
                    <a:pt x="62" y="21"/>
                  </a:cubicBezTo>
                  <a:cubicBezTo>
                    <a:pt x="64" y="24"/>
                    <a:pt x="65" y="27"/>
                    <a:pt x="65" y="31"/>
                  </a:cubicBezTo>
                  <a:cubicBezTo>
                    <a:pt x="65" y="35"/>
                    <a:pt x="64" y="38"/>
                    <a:pt x="62" y="40"/>
                  </a:cubicBezTo>
                  <a:cubicBezTo>
                    <a:pt x="60" y="43"/>
                    <a:pt x="57" y="45"/>
                    <a:pt x="53" y="46"/>
                  </a:cubicBezTo>
                  <a:cubicBezTo>
                    <a:pt x="50" y="47"/>
                    <a:pt x="46" y="47"/>
                    <a:pt x="39" y="47"/>
                  </a:cubicBezTo>
                  <a:cubicBezTo>
                    <a:pt x="15" y="47"/>
                    <a:pt x="15" y="47"/>
                    <a:pt x="15" y="47"/>
                  </a:cubicBezTo>
                  <a:lnTo>
                    <a:pt x="15" y="13"/>
                  </a:lnTo>
                  <a:close/>
                  <a:moveTo>
                    <a:pt x="67" y="89"/>
                  </a:moveTo>
                  <a:cubicBezTo>
                    <a:pt x="66" y="92"/>
                    <a:pt x="64" y="94"/>
                    <a:pt x="61" y="95"/>
                  </a:cubicBezTo>
                  <a:cubicBezTo>
                    <a:pt x="59" y="97"/>
                    <a:pt x="56" y="98"/>
                    <a:pt x="53" y="99"/>
                  </a:cubicBezTo>
                  <a:cubicBezTo>
                    <a:pt x="51" y="99"/>
                    <a:pt x="48" y="99"/>
                    <a:pt x="43" y="99"/>
                  </a:cubicBezTo>
                  <a:cubicBezTo>
                    <a:pt x="15" y="99"/>
                    <a:pt x="15" y="99"/>
                    <a:pt x="15" y="99"/>
                  </a:cubicBezTo>
                  <a:cubicBezTo>
                    <a:pt x="15" y="61"/>
                    <a:pt x="15" y="61"/>
                    <a:pt x="15" y="61"/>
                  </a:cubicBezTo>
                  <a:cubicBezTo>
                    <a:pt x="41" y="61"/>
                    <a:pt x="41" y="61"/>
                    <a:pt x="41" y="61"/>
                  </a:cubicBezTo>
                  <a:cubicBezTo>
                    <a:pt x="48" y="61"/>
                    <a:pt x="53" y="61"/>
                    <a:pt x="57" y="62"/>
                  </a:cubicBezTo>
                  <a:cubicBezTo>
                    <a:pt x="61" y="64"/>
                    <a:pt x="64" y="66"/>
                    <a:pt x="66" y="69"/>
                  </a:cubicBezTo>
                  <a:cubicBezTo>
                    <a:pt x="68" y="72"/>
                    <a:pt x="69" y="76"/>
                    <a:pt x="69" y="80"/>
                  </a:cubicBezTo>
                  <a:cubicBezTo>
                    <a:pt x="69" y="83"/>
                    <a:pt x="69" y="87"/>
                    <a:pt x="67" y="8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1049487" name="iŝļidé"/>
            <p:cNvSpPr/>
            <p:nvPr/>
          </p:nvSpPr>
          <p:spPr bwMode="auto">
            <a:xfrm>
              <a:off x="10288841" y="5729878"/>
              <a:ext cx="138113" cy="157163"/>
            </a:xfrm>
            <a:custGeom>
              <a:avLst/>
              <a:gdLst>
                <a:gd name="T0" fmla="*/ 38 w 75"/>
                <a:gd name="T1" fmla="*/ 0 h 85"/>
                <a:gd name="T2" fmla="*/ 10 w 75"/>
                <a:gd name="T3" fmla="*/ 12 h 85"/>
                <a:gd name="T4" fmla="*/ 0 w 75"/>
                <a:gd name="T5" fmla="*/ 43 h 85"/>
                <a:gd name="T6" fmla="*/ 10 w 75"/>
                <a:gd name="T7" fmla="*/ 74 h 85"/>
                <a:gd name="T8" fmla="*/ 38 w 75"/>
                <a:gd name="T9" fmla="*/ 85 h 85"/>
                <a:gd name="T10" fmla="*/ 62 w 75"/>
                <a:gd name="T11" fmla="*/ 78 h 85"/>
                <a:gd name="T12" fmla="*/ 74 w 75"/>
                <a:gd name="T13" fmla="*/ 59 h 85"/>
                <a:gd name="T14" fmla="*/ 60 w 75"/>
                <a:gd name="T15" fmla="*/ 57 h 85"/>
                <a:gd name="T16" fmla="*/ 51 w 75"/>
                <a:gd name="T17" fmla="*/ 70 h 85"/>
                <a:gd name="T18" fmla="*/ 39 w 75"/>
                <a:gd name="T19" fmla="*/ 74 h 85"/>
                <a:gd name="T20" fmla="*/ 22 w 75"/>
                <a:gd name="T21" fmla="*/ 67 h 85"/>
                <a:gd name="T22" fmla="*/ 14 w 75"/>
                <a:gd name="T23" fmla="*/ 46 h 85"/>
                <a:gd name="T24" fmla="*/ 75 w 75"/>
                <a:gd name="T25" fmla="*/ 46 h 85"/>
                <a:gd name="T26" fmla="*/ 75 w 75"/>
                <a:gd name="T27" fmla="*/ 43 h 85"/>
                <a:gd name="T28" fmla="*/ 64 w 75"/>
                <a:gd name="T29" fmla="*/ 11 h 85"/>
                <a:gd name="T30" fmla="*/ 38 w 75"/>
                <a:gd name="T31" fmla="*/ 0 h 85"/>
                <a:gd name="T32" fmla="*/ 15 w 75"/>
                <a:gd name="T33" fmla="*/ 35 h 85"/>
                <a:gd name="T34" fmla="*/ 22 w 75"/>
                <a:gd name="T35" fmla="*/ 18 h 85"/>
                <a:gd name="T36" fmla="*/ 38 w 75"/>
                <a:gd name="T37" fmla="*/ 12 h 85"/>
                <a:gd name="T38" fmla="*/ 55 w 75"/>
                <a:gd name="T39" fmla="*/ 20 h 85"/>
                <a:gd name="T40" fmla="*/ 60 w 75"/>
                <a:gd name="T41" fmla="*/ 35 h 85"/>
                <a:gd name="T42" fmla="*/ 15 w 75"/>
                <a:gd name="T43" fmla="*/ 35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75" h="85">
                  <a:moveTo>
                    <a:pt x="38" y="0"/>
                  </a:moveTo>
                  <a:cubicBezTo>
                    <a:pt x="26" y="0"/>
                    <a:pt x="17" y="4"/>
                    <a:pt x="10" y="12"/>
                  </a:cubicBezTo>
                  <a:cubicBezTo>
                    <a:pt x="3" y="19"/>
                    <a:pt x="0" y="30"/>
                    <a:pt x="0" y="43"/>
                  </a:cubicBezTo>
                  <a:cubicBezTo>
                    <a:pt x="0" y="57"/>
                    <a:pt x="3" y="67"/>
                    <a:pt x="10" y="74"/>
                  </a:cubicBezTo>
                  <a:cubicBezTo>
                    <a:pt x="17" y="81"/>
                    <a:pt x="27" y="85"/>
                    <a:pt x="38" y="85"/>
                  </a:cubicBezTo>
                  <a:cubicBezTo>
                    <a:pt x="48" y="85"/>
                    <a:pt x="56" y="83"/>
                    <a:pt x="62" y="78"/>
                  </a:cubicBezTo>
                  <a:cubicBezTo>
                    <a:pt x="68" y="74"/>
                    <a:pt x="72" y="67"/>
                    <a:pt x="74" y="59"/>
                  </a:cubicBezTo>
                  <a:cubicBezTo>
                    <a:pt x="60" y="57"/>
                    <a:pt x="60" y="57"/>
                    <a:pt x="60" y="57"/>
                  </a:cubicBezTo>
                  <a:cubicBezTo>
                    <a:pt x="58" y="63"/>
                    <a:pt x="55" y="67"/>
                    <a:pt x="51" y="70"/>
                  </a:cubicBezTo>
                  <a:cubicBezTo>
                    <a:pt x="48" y="73"/>
                    <a:pt x="44" y="74"/>
                    <a:pt x="39" y="74"/>
                  </a:cubicBezTo>
                  <a:cubicBezTo>
                    <a:pt x="32" y="74"/>
                    <a:pt x="26" y="71"/>
                    <a:pt x="22" y="67"/>
                  </a:cubicBezTo>
                  <a:cubicBezTo>
                    <a:pt x="17" y="62"/>
                    <a:pt x="14" y="55"/>
                    <a:pt x="14" y="46"/>
                  </a:cubicBezTo>
                  <a:cubicBezTo>
                    <a:pt x="75" y="46"/>
                    <a:pt x="75" y="46"/>
                    <a:pt x="75" y="46"/>
                  </a:cubicBezTo>
                  <a:cubicBezTo>
                    <a:pt x="75" y="45"/>
                    <a:pt x="75" y="43"/>
                    <a:pt x="75" y="43"/>
                  </a:cubicBezTo>
                  <a:cubicBezTo>
                    <a:pt x="75" y="29"/>
                    <a:pt x="71" y="19"/>
                    <a:pt x="64" y="11"/>
                  </a:cubicBezTo>
                  <a:cubicBezTo>
                    <a:pt x="57" y="4"/>
                    <a:pt x="49" y="0"/>
                    <a:pt x="38" y="0"/>
                  </a:cubicBezTo>
                  <a:close/>
                  <a:moveTo>
                    <a:pt x="15" y="35"/>
                  </a:moveTo>
                  <a:cubicBezTo>
                    <a:pt x="15" y="28"/>
                    <a:pt x="18" y="22"/>
                    <a:pt x="22" y="18"/>
                  </a:cubicBezTo>
                  <a:cubicBezTo>
                    <a:pt x="26" y="14"/>
                    <a:pt x="32" y="12"/>
                    <a:pt x="38" y="12"/>
                  </a:cubicBezTo>
                  <a:cubicBezTo>
                    <a:pt x="45" y="12"/>
                    <a:pt x="51" y="14"/>
                    <a:pt x="55" y="20"/>
                  </a:cubicBezTo>
                  <a:cubicBezTo>
                    <a:pt x="58" y="23"/>
                    <a:pt x="60" y="28"/>
                    <a:pt x="60" y="35"/>
                  </a:cubicBezTo>
                  <a:lnTo>
                    <a:pt x="15" y="35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1049488" name="í$lidè"/>
            <p:cNvSpPr/>
            <p:nvPr/>
          </p:nvSpPr>
          <p:spPr bwMode="auto">
            <a:xfrm>
              <a:off x="10457116" y="5675903"/>
              <a:ext cx="25400" cy="30163"/>
            </a:xfrm>
            <a:prstGeom prst="rect">
              <a:avLst/>
            </a:pr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1049489" name="iSļiḋé"/>
            <p:cNvSpPr/>
            <p:nvPr/>
          </p:nvSpPr>
          <p:spPr bwMode="auto">
            <a:xfrm>
              <a:off x="10457116" y="5733053"/>
              <a:ext cx="25400" cy="149225"/>
            </a:xfrm>
            <a:prstGeom prst="rect">
              <a:avLst/>
            </a:pr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1049490" name="íṩḷïḑe"/>
            <p:cNvSpPr/>
            <p:nvPr/>
          </p:nvSpPr>
          <p:spPr bwMode="auto">
            <a:xfrm>
              <a:off x="10520616" y="5675903"/>
              <a:ext cx="25400" cy="30163"/>
            </a:xfrm>
            <a:prstGeom prst="rect">
              <a:avLst/>
            </a:pr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1049491" name="i$ḷïḍè"/>
            <p:cNvSpPr/>
            <p:nvPr/>
          </p:nvSpPr>
          <p:spPr bwMode="auto">
            <a:xfrm>
              <a:off x="10488866" y="5733053"/>
              <a:ext cx="57150" cy="211138"/>
            </a:xfrm>
            <a:custGeom>
              <a:avLst/>
              <a:gdLst>
                <a:gd name="T0" fmla="*/ 17 w 31"/>
                <a:gd name="T1" fmla="*/ 85 h 114"/>
                <a:gd name="T2" fmla="*/ 15 w 31"/>
                <a:gd name="T3" fmla="*/ 99 h 114"/>
                <a:gd name="T4" fmla="*/ 9 w 31"/>
                <a:gd name="T5" fmla="*/ 102 h 114"/>
                <a:gd name="T6" fmla="*/ 2 w 31"/>
                <a:gd name="T7" fmla="*/ 101 h 114"/>
                <a:gd name="T8" fmla="*/ 0 w 31"/>
                <a:gd name="T9" fmla="*/ 113 h 114"/>
                <a:gd name="T10" fmla="*/ 11 w 31"/>
                <a:gd name="T11" fmla="*/ 114 h 114"/>
                <a:gd name="T12" fmla="*/ 27 w 31"/>
                <a:gd name="T13" fmla="*/ 107 h 114"/>
                <a:gd name="T14" fmla="*/ 31 w 31"/>
                <a:gd name="T15" fmla="*/ 86 h 114"/>
                <a:gd name="T16" fmla="*/ 31 w 31"/>
                <a:gd name="T17" fmla="*/ 0 h 114"/>
                <a:gd name="T18" fmla="*/ 17 w 31"/>
                <a:gd name="T19" fmla="*/ 0 h 114"/>
                <a:gd name="T20" fmla="*/ 17 w 31"/>
                <a:gd name="T21" fmla="*/ 85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1" h="114">
                  <a:moveTo>
                    <a:pt x="17" y="85"/>
                  </a:moveTo>
                  <a:cubicBezTo>
                    <a:pt x="17" y="93"/>
                    <a:pt x="17" y="98"/>
                    <a:pt x="15" y="99"/>
                  </a:cubicBezTo>
                  <a:cubicBezTo>
                    <a:pt x="14" y="101"/>
                    <a:pt x="12" y="102"/>
                    <a:pt x="9" y="102"/>
                  </a:cubicBezTo>
                  <a:cubicBezTo>
                    <a:pt x="7" y="102"/>
                    <a:pt x="5" y="102"/>
                    <a:pt x="2" y="101"/>
                  </a:cubicBezTo>
                  <a:cubicBezTo>
                    <a:pt x="0" y="113"/>
                    <a:pt x="0" y="113"/>
                    <a:pt x="0" y="113"/>
                  </a:cubicBezTo>
                  <a:cubicBezTo>
                    <a:pt x="3" y="114"/>
                    <a:pt x="7" y="114"/>
                    <a:pt x="11" y="114"/>
                  </a:cubicBezTo>
                  <a:cubicBezTo>
                    <a:pt x="18" y="114"/>
                    <a:pt x="24" y="112"/>
                    <a:pt x="27" y="107"/>
                  </a:cubicBezTo>
                  <a:cubicBezTo>
                    <a:pt x="30" y="103"/>
                    <a:pt x="31" y="96"/>
                    <a:pt x="31" y="86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17" y="0"/>
                    <a:pt x="17" y="0"/>
                    <a:pt x="17" y="0"/>
                  </a:cubicBezTo>
                  <a:lnTo>
                    <a:pt x="17" y="85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1049492" name="íṩliḋé"/>
            <p:cNvSpPr/>
            <p:nvPr/>
          </p:nvSpPr>
          <p:spPr bwMode="auto">
            <a:xfrm>
              <a:off x="10585703" y="5675903"/>
              <a:ext cx="25400" cy="30163"/>
            </a:xfrm>
            <a:prstGeom prst="rect">
              <a:avLst/>
            </a:pr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1049493" name="ísḷiďé"/>
            <p:cNvSpPr/>
            <p:nvPr/>
          </p:nvSpPr>
          <p:spPr bwMode="auto">
            <a:xfrm>
              <a:off x="10585703" y="5733053"/>
              <a:ext cx="25400" cy="149225"/>
            </a:xfrm>
            <a:prstGeom prst="rect">
              <a:avLst/>
            </a:pr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1049494" name="íṩļïḍe"/>
            <p:cNvSpPr/>
            <p:nvPr/>
          </p:nvSpPr>
          <p:spPr bwMode="auto">
            <a:xfrm>
              <a:off x="10649203" y="5729878"/>
              <a:ext cx="122238" cy="152400"/>
            </a:xfrm>
            <a:custGeom>
              <a:avLst/>
              <a:gdLst>
                <a:gd name="T0" fmla="*/ 65 w 66"/>
                <a:gd name="T1" fmla="*/ 20 h 83"/>
                <a:gd name="T2" fmla="*/ 61 w 66"/>
                <a:gd name="T3" fmla="*/ 10 h 83"/>
                <a:gd name="T4" fmla="*/ 52 w 66"/>
                <a:gd name="T5" fmla="*/ 3 h 83"/>
                <a:gd name="T6" fmla="*/ 38 w 66"/>
                <a:gd name="T7" fmla="*/ 0 h 83"/>
                <a:gd name="T8" fmla="*/ 12 w 66"/>
                <a:gd name="T9" fmla="*/ 14 h 83"/>
                <a:gd name="T10" fmla="*/ 12 w 66"/>
                <a:gd name="T11" fmla="*/ 2 h 83"/>
                <a:gd name="T12" fmla="*/ 0 w 66"/>
                <a:gd name="T13" fmla="*/ 2 h 83"/>
                <a:gd name="T14" fmla="*/ 0 w 66"/>
                <a:gd name="T15" fmla="*/ 83 h 83"/>
                <a:gd name="T16" fmla="*/ 14 w 66"/>
                <a:gd name="T17" fmla="*/ 83 h 83"/>
                <a:gd name="T18" fmla="*/ 14 w 66"/>
                <a:gd name="T19" fmla="*/ 39 h 83"/>
                <a:gd name="T20" fmla="*/ 20 w 66"/>
                <a:gd name="T21" fmla="*/ 18 h 83"/>
                <a:gd name="T22" fmla="*/ 35 w 66"/>
                <a:gd name="T23" fmla="*/ 12 h 83"/>
                <a:gd name="T24" fmla="*/ 45 w 66"/>
                <a:gd name="T25" fmla="*/ 15 h 83"/>
                <a:gd name="T26" fmla="*/ 51 w 66"/>
                <a:gd name="T27" fmla="*/ 21 h 83"/>
                <a:gd name="T28" fmla="*/ 52 w 66"/>
                <a:gd name="T29" fmla="*/ 34 h 83"/>
                <a:gd name="T30" fmla="*/ 52 w 66"/>
                <a:gd name="T31" fmla="*/ 83 h 83"/>
                <a:gd name="T32" fmla="*/ 66 w 66"/>
                <a:gd name="T33" fmla="*/ 83 h 83"/>
                <a:gd name="T34" fmla="*/ 66 w 66"/>
                <a:gd name="T35" fmla="*/ 33 h 83"/>
                <a:gd name="T36" fmla="*/ 65 w 66"/>
                <a:gd name="T37" fmla="*/ 20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6" h="83">
                  <a:moveTo>
                    <a:pt x="65" y="20"/>
                  </a:moveTo>
                  <a:cubicBezTo>
                    <a:pt x="64" y="16"/>
                    <a:pt x="63" y="13"/>
                    <a:pt x="61" y="10"/>
                  </a:cubicBezTo>
                  <a:cubicBezTo>
                    <a:pt x="59" y="7"/>
                    <a:pt x="56" y="5"/>
                    <a:pt x="52" y="3"/>
                  </a:cubicBezTo>
                  <a:cubicBezTo>
                    <a:pt x="48" y="1"/>
                    <a:pt x="43" y="0"/>
                    <a:pt x="38" y="0"/>
                  </a:cubicBezTo>
                  <a:cubicBezTo>
                    <a:pt x="27" y="0"/>
                    <a:pt x="18" y="5"/>
                    <a:pt x="12" y="14"/>
                  </a:cubicBezTo>
                  <a:cubicBezTo>
                    <a:pt x="12" y="2"/>
                    <a:pt x="12" y="2"/>
                    <a:pt x="12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83"/>
                    <a:pt x="0" y="83"/>
                    <a:pt x="0" y="83"/>
                  </a:cubicBezTo>
                  <a:cubicBezTo>
                    <a:pt x="14" y="83"/>
                    <a:pt x="14" y="83"/>
                    <a:pt x="14" y="83"/>
                  </a:cubicBezTo>
                  <a:cubicBezTo>
                    <a:pt x="14" y="39"/>
                    <a:pt x="14" y="39"/>
                    <a:pt x="14" y="39"/>
                  </a:cubicBezTo>
                  <a:cubicBezTo>
                    <a:pt x="14" y="29"/>
                    <a:pt x="16" y="21"/>
                    <a:pt x="20" y="18"/>
                  </a:cubicBezTo>
                  <a:cubicBezTo>
                    <a:pt x="24" y="14"/>
                    <a:pt x="29" y="12"/>
                    <a:pt x="35" y="12"/>
                  </a:cubicBezTo>
                  <a:cubicBezTo>
                    <a:pt x="39" y="12"/>
                    <a:pt x="42" y="13"/>
                    <a:pt x="45" y="15"/>
                  </a:cubicBezTo>
                  <a:cubicBezTo>
                    <a:pt x="48" y="16"/>
                    <a:pt x="50" y="19"/>
                    <a:pt x="51" y="21"/>
                  </a:cubicBezTo>
                  <a:cubicBezTo>
                    <a:pt x="52" y="24"/>
                    <a:pt x="52" y="28"/>
                    <a:pt x="52" y="34"/>
                  </a:cubicBezTo>
                  <a:cubicBezTo>
                    <a:pt x="52" y="83"/>
                    <a:pt x="52" y="83"/>
                    <a:pt x="52" y="83"/>
                  </a:cubicBezTo>
                  <a:cubicBezTo>
                    <a:pt x="66" y="83"/>
                    <a:pt x="66" y="83"/>
                    <a:pt x="66" y="83"/>
                  </a:cubicBezTo>
                  <a:cubicBezTo>
                    <a:pt x="66" y="33"/>
                    <a:pt x="66" y="33"/>
                    <a:pt x="66" y="33"/>
                  </a:cubicBezTo>
                  <a:cubicBezTo>
                    <a:pt x="66" y="27"/>
                    <a:pt x="66" y="23"/>
                    <a:pt x="65" y="2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1049495" name="í$ľíḍê"/>
            <p:cNvSpPr/>
            <p:nvPr/>
          </p:nvSpPr>
          <p:spPr bwMode="auto">
            <a:xfrm>
              <a:off x="10800016" y="5729878"/>
              <a:ext cx="133350" cy="214313"/>
            </a:xfrm>
            <a:custGeom>
              <a:avLst/>
              <a:gdLst>
                <a:gd name="T0" fmla="*/ 59 w 72"/>
                <a:gd name="T1" fmla="*/ 2 h 116"/>
                <a:gd name="T2" fmla="*/ 59 w 72"/>
                <a:gd name="T3" fmla="*/ 12 h 116"/>
                <a:gd name="T4" fmla="*/ 35 w 72"/>
                <a:gd name="T5" fmla="*/ 0 h 116"/>
                <a:gd name="T6" fmla="*/ 16 w 72"/>
                <a:gd name="T7" fmla="*/ 6 h 116"/>
                <a:gd name="T8" fmla="*/ 4 w 72"/>
                <a:gd name="T9" fmla="*/ 21 h 116"/>
                <a:gd name="T10" fmla="*/ 0 w 72"/>
                <a:gd name="T11" fmla="*/ 42 h 116"/>
                <a:gd name="T12" fmla="*/ 9 w 72"/>
                <a:gd name="T13" fmla="*/ 71 h 116"/>
                <a:gd name="T14" fmla="*/ 35 w 72"/>
                <a:gd name="T15" fmla="*/ 83 h 116"/>
                <a:gd name="T16" fmla="*/ 58 w 72"/>
                <a:gd name="T17" fmla="*/ 73 h 116"/>
                <a:gd name="T18" fmla="*/ 57 w 72"/>
                <a:gd name="T19" fmla="*/ 90 h 116"/>
                <a:gd name="T20" fmla="*/ 49 w 72"/>
                <a:gd name="T21" fmla="*/ 101 h 116"/>
                <a:gd name="T22" fmla="*/ 35 w 72"/>
                <a:gd name="T23" fmla="*/ 105 h 116"/>
                <a:gd name="T24" fmla="*/ 21 w 72"/>
                <a:gd name="T25" fmla="*/ 101 h 116"/>
                <a:gd name="T26" fmla="*/ 16 w 72"/>
                <a:gd name="T27" fmla="*/ 92 h 116"/>
                <a:gd name="T28" fmla="*/ 3 w 72"/>
                <a:gd name="T29" fmla="*/ 90 h 116"/>
                <a:gd name="T30" fmla="*/ 11 w 72"/>
                <a:gd name="T31" fmla="*/ 110 h 116"/>
                <a:gd name="T32" fmla="*/ 35 w 72"/>
                <a:gd name="T33" fmla="*/ 116 h 116"/>
                <a:gd name="T34" fmla="*/ 55 w 72"/>
                <a:gd name="T35" fmla="*/ 112 h 116"/>
                <a:gd name="T36" fmla="*/ 68 w 72"/>
                <a:gd name="T37" fmla="*/ 99 h 116"/>
                <a:gd name="T38" fmla="*/ 72 w 72"/>
                <a:gd name="T39" fmla="*/ 72 h 116"/>
                <a:gd name="T40" fmla="*/ 72 w 72"/>
                <a:gd name="T41" fmla="*/ 2 h 116"/>
                <a:gd name="T42" fmla="*/ 59 w 72"/>
                <a:gd name="T43" fmla="*/ 2 h 116"/>
                <a:gd name="T44" fmla="*/ 52 w 72"/>
                <a:gd name="T45" fmla="*/ 65 h 116"/>
                <a:gd name="T46" fmla="*/ 36 w 72"/>
                <a:gd name="T47" fmla="*/ 72 h 116"/>
                <a:gd name="T48" fmla="*/ 20 w 72"/>
                <a:gd name="T49" fmla="*/ 65 h 116"/>
                <a:gd name="T50" fmla="*/ 14 w 72"/>
                <a:gd name="T51" fmla="*/ 41 h 116"/>
                <a:gd name="T52" fmla="*/ 20 w 72"/>
                <a:gd name="T53" fmla="*/ 19 h 116"/>
                <a:gd name="T54" fmla="*/ 36 w 72"/>
                <a:gd name="T55" fmla="*/ 12 h 116"/>
                <a:gd name="T56" fmla="*/ 52 w 72"/>
                <a:gd name="T57" fmla="*/ 19 h 116"/>
                <a:gd name="T58" fmla="*/ 59 w 72"/>
                <a:gd name="T59" fmla="*/ 42 h 116"/>
                <a:gd name="T60" fmla="*/ 52 w 72"/>
                <a:gd name="T61" fmla="*/ 65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72" h="116">
                  <a:moveTo>
                    <a:pt x="59" y="2"/>
                  </a:moveTo>
                  <a:cubicBezTo>
                    <a:pt x="59" y="12"/>
                    <a:pt x="59" y="12"/>
                    <a:pt x="59" y="12"/>
                  </a:cubicBezTo>
                  <a:cubicBezTo>
                    <a:pt x="53" y="4"/>
                    <a:pt x="45" y="0"/>
                    <a:pt x="35" y="0"/>
                  </a:cubicBezTo>
                  <a:cubicBezTo>
                    <a:pt x="28" y="0"/>
                    <a:pt x="22" y="2"/>
                    <a:pt x="16" y="6"/>
                  </a:cubicBezTo>
                  <a:cubicBezTo>
                    <a:pt x="11" y="9"/>
                    <a:pt x="7" y="14"/>
                    <a:pt x="4" y="21"/>
                  </a:cubicBezTo>
                  <a:cubicBezTo>
                    <a:pt x="1" y="27"/>
                    <a:pt x="0" y="34"/>
                    <a:pt x="0" y="42"/>
                  </a:cubicBezTo>
                  <a:cubicBezTo>
                    <a:pt x="0" y="53"/>
                    <a:pt x="3" y="63"/>
                    <a:pt x="9" y="71"/>
                  </a:cubicBezTo>
                  <a:cubicBezTo>
                    <a:pt x="15" y="79"/>
                    <a:pt x="24" y="83"/>
                    <a:pt x="35" y="83"/>
                  </a:cubicBezTo>
                  <a:cubicBezTo>
                    <a:pt x="44" y="83"/>
                    <a:pt x="51" y="80"/>
                    <a:pt x="58" y="73"/>
                  </a:cubicBezTo>
                  <a:cubicBezTo>
                    <a:pt x="58" y="82"/>
                    <a:pt x="57" y="88"/>
                    <a:pt x="57" y="90"/>
                  </a:cubicBezTo>
                  <a:cubicBezTo>
                    <a:pt x="55" y="95"/>
                    <a:pt x="53" y="99"/>
                    <a:pt x="49" y="101"/>
                  </a:cubicBezTo>
                  <a:cubicBezTo>
                    <a:pt x="46" y="104"/>
                    <a:pt x="41" y="105"/>
                    <a:pt x="35" y="105"/>
                  </a:cubicBezTo>
                  <a:cubicBezTo>
                    <a:pt x="29" y="105"/>
                    <a:pt x="24" y="104"/>
                    <a:pt x="21" y="101"/>
                  </a:cubicBezTo>
                  <a:cubicBezTo>
                    <a:pt x="18" y="99"/>
                    <a:pt x="17" y="96"/>
                    <a:pt x="16" y="92"/>
                  </a:cubicBezTo>
                  <a:cubicBezTo>
                    <a:pt x="3" y="90"/>
                    <a:pt x="3" y="90"/>
                    <a:pt x="3" y="90"/>
                  </a:cubicBezTo>
                  <a:cubicBezTo>
                    <a:pt x="2" y="99"/>
                    <a:pt x="5" y="105"/>
                    <a:pt x="11" y="110"/>
                  </a:cubicBezTo>
                  <a:cubicBezTo>
                    <a:pt x="17" y="114"/>
                    <a:pt x="25" y="116"/>
                    <a:pt x="35" y="116"/>
                  </a:cubicBezTo>
                  <a:cubicBezTo>
                    <a:pt x="43" y="116"/>
                    <a:pt x="50" y="115"/>
                    <a:pt x="55" y="112"/>
                  </a:cubicBezTo>
                  <a:cubicBezTo>
                    <a:pt x="61" y="109"/>
                    <a:pt x="65" y="104"/>
                    <a:pt x="68" y="99"/>
                  </a:cubicBezTo>
                  <a:cubicBezTo>
                    <a:pt x="70" y="94"/>
                    <a:pt x="72" y="85"/>
                    <a:pt x="72" y="72"/>
                  </a:cubicBezTo>
                  <a:cubicBezTo>
                    <a:pt x="72" y="2"/>
                    <a:pt x="72" y="2"/>
                    <a:pt x="72" y="2"/>
                  </a:cubicBezTo>
                  <a:lnTo>
                    <a:pt x="59" y="2"/>
                  </a:lnTo>
                  <a:close/>
                  <a:moveTo>
                    <a:pt x="52" y="65"/>
                  </a:moveTo>
                  <a:cubicBezTo>
                    <a:pt x="48" y="69"/>
                    <a:pt x="43" y="72"/>
                    <a:pt x="36" y="72"/>
                  </a:cubicBezTo>
                  <a:cubicBezTo>
                    <a:pt x="30" y="72"/>
                    <a:pt x="25" y="69"/>
                    <a:pt x="20" y="65"/>
                  </a:cubicBezTo>
                  <a:cubicBezTo>
                    <a:pt x="16" y="60"/>
                    <a:pt x="14" y="52"/>
                    <a:pt x="14" y="41"/>
                  </a:cubicBezTo>
                  <a:cubicBezTo>
                    <a:pt x="14" y="31"/>
                    <a:pt x="16" y="24"/>
                    <a:pt x="20" y="19"/>
                  </a:cubicBezTo>
                  <a:cubicBezTo>
                    <a:pt x="25" y="14"/>
                    <a:pt x="30" y="12"/>
                    <a:pt x="36" y="12"/>
                  </a:cubicBezTo>
                  <a:cubicBezTo>
                    <a:pt x="42" y="12"/>
                    <a:pt x="48" y="14"/>
                    <a:pt x="52" y="19"/>
                  </a:cubicBezTo>
                  <a:cubicBezTo>
                    <a:pt x="56" y="24"/>
                    <a:pt x="59" y="32"/>
                    <a:pt x="59" y="42"/>
                  </a:cubicBezTo>
                  <a:cubicBezTo>
                    <a:pt x="59" y="52"/>
                    <a:pt x="57" y="60"/>
                    <a:pt x="52" y="6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1049496" name="î$1ïḍè"/>
            <p:cNvSpPr/>
            <p:nvPr/>
          </p:nvSpPr>
          <p:spPr bwMode="auto">
            <a:xfrm>
              <a:off x="5231066" y="5675903"/>
              <a:ext cx="161925" cy="211138"/>
            </a:xfrm>
            <a:custGeom>
              <a:avLst/>
              <a:gdLst>
                <a:gd name="T0" fmla="*/ 73 w 88"/>
                <a:gd name="T1" fmla="*/ 65 h 114"/>
                <a:gd name="T2" fmla="*/ 66 w 88"/>
                <a:gd name="T3" fmla="*/ 93 h 114"/>
                <a:gd name="T4" fmla="*/ 43 w 88"/>
                <a:gd name="T5" fmla="*/ 101 h 114"/>
                <a:gd name="T6" fmla="*/ 27 w 88"/>
                <a:gd name="T7" fmla="*/ 97 h 114"/>
                <a:gd name="T8" fmla="*/ 17 w 88"/>
                <a:gd name="T9" fmla="*/ 86 h 114"/>
                <a:gd name="T10" fmla="*/ 15 w 88"/>
                <a:gd name="T11" fmla="*/ 65 h 114"/>
                <a:gd name="T12" fmla="*/ 15 w 88"/>
                <a:gd name="T13" fmla="*/ 0 h 114"/>
                <a:gd name="T14" fmla="*/ 0 w 88"/>
                <a:gd name="T15" fmla="*/ 0 h 114"/>
                <a:gd name="T16" fmla="*/ 0 w 88"/>
                <a:gd name="T17" fmla="*/ 65 h 114"/>
                <a:gd name="T18" fmla="*/ 4 w 88"/>
                <a:gd name="T19" fmla="*/ 93 h 114"/>
                <a:gd name="T20" fmla="*/ 18 w 88"/>
                <a:gd name="T21" fmla="*/ 109 h 114"/>
                <a:gd name="T22" fmla="*/ 44 w 88"/>
                <a:gd name="T23" fmla="*/ 114 h 114"/>
                <a:gd name="T24" fmla="*/ 70 w 88"/>
                <a:gd name="T25" fmla="*/ 108 h 114"/>
                <a:gd name="T26" fmla="*/ 84 w 88"/>
                <a:gd name="T27" fmla="*/ 92 h 114"/>
                <a:gd name="T28" fmla="*/ 88 w 88"/>
                <a:gd name="T29" fmla="*/ 65 h 114"/>
                <a:gd name="T30" fmla="*/ 88 w 88"/>
                <a:gd name="T31" fmla="*/ 0 h 114"/>
                <a:gd name="T32" fmla="*/ 73 w 88"/>
                <a:gd name="T33" fmla="*/ 0 h 114"/>
                <a:gd name="T34" fmla="*/ 73 w 88"/>
                <a:gd name="T35" fmla="*/ 65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88" h="114">
                  <a:moveTo>
                    <a:pt x="73" y="65"/>
                  </a:moveTo>
                  <a:cubicBezTo>
                    <a:pt x="73" y="79"/>
                    <a:pt x="71" y="88"/>
                    <a:pt x="66" y="93"/>
                  </a:cubicBezTo>
                  <a:cubicBezTo>
                    <a:pt x="62" y="98"/>
                    <a:pt x="54" y="101"/>
                    <a:pt x="43" y="101"/>
                  </a:cubicBezTo>
                  <a:cubicBezTo>
                    <a:pt x="37" y="101"/>
                    <a:pt x="31" y="100"/>
                    <a:pt x="27" y="97"/>
                  </a:cubicBezTo>
                  <a:cubicBezTo>
                    <a:pt x="22" y="95"/>
                    <a:pt x="19" y="91"/>
                    <a:pt x="17" y="86"/>
                  </a:cubicBezTo>
                  <a:cubicBezTo>
                    <a:pt x="16" y="82"/>
                    <a:pt x="15" y="75"/>
                    <a:pt x="15" y="65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65"/>
                    <a:pt x="0" y="65"/>
                    <a:pt x="0" y="65"/>
                  </a:cubicBezTo>
                  <a:cubicBezTo>
                    <a:pt x="0" y="77"/>
                    <a:pt x="1" y="86"/>
                    <a:pt x="4" y="93"/>
                  </a:cubicBezTo>
                  <a:cubicBezTo>
                    <a:pt x="7" y="100"/>
                    <a:pt x="12" y="105"/>
                    <a:pt x="18" y="109"/>
                  </a:cubicBezTo>
                  <a:cubicBezTo>
                    <a:pt x="25" y="112"/>
                    <a:pt x="34" y="114"/>
                    <a:pt x="44" y="114"/>
                  </a:cubicBezTo>
                  <a:cubicBezTo>
                    <a:pt x="55" y="114"/>
                    <a:pt x="64" y="112"/>
                    <a:pt x="70" y="108"/>
                  </a:cubicBezTo>
                  <a:cubicBezTo>
                    <a:pt x="77" y="104"/>
                    <a:pt x="82" y="98"/>
                    <a:pt x="84" y="92"/>
                  </a:cubicBezTo>
                  <a:cubicBezTo>
                    <a:pt x="87" y="85"/>
                    <a:pt x="88" y="76"/>
                    <a:pt x="88" y="65"/>
                  </a:cubicBezTo>
                  <a:cubicBezTo>
                    <a:pt x="88" y="0"/>
                    <a:pt x="88" y="0"/>
                    <a:pt x="88" y="0"/>
                  </a:cubicBezTo>
                  <a:cubicBezTo>
                    <a:pt x="73" y="0"/>
                    <a:pt x="73" y="0"/>
                    <a:pt x="73" y="0"/>
                  </a:cubicBezTo>
                  <a:lnTo>
                    <a:pt x="73" y="65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1049497" name="ïṡļîḑê"/>
            <p:cNvSpPr/>
            <p:nvPr/>
          </p:nvSpPr>
          <p:spPr bwMode="auto">
            <a:xfrm>
              <a:off x="5435853" y="5729878"/>
              <a:ext cx="120650" cy="152400"/>
            </a:xfrm>
            <a:custGeom>
              <a:avLst/>
              <a:gdLst>
                <a:gd name="T0" fmla="*/ 61 w 66"/>
                <a:gd name="T1" fmla="*/ 10 h 83"/>
                <a:gd name="T2" fmla="*/ 52 w 66"/>
                <a:gd name="T3" fmla="*/ 3 h 83"/>
                <a:gd name="T4" fmla="*/ 38 w 66"/>
                <a:gd name="T5" fmla="*/ 0 h 83"/>
                <a:gd name="T6" fmla="*/ 12 w 66"/>
                <a:gd name="T7" fmla="*/ 14 h 83"/>
                <a:gd name="T8" fmla="*/ 12 w 66"/>
                <a:gd name="T9" fmla="*/ 2 h 83"/>
                <a:gd name="T10" fmla="*/ 0 w 66"/>
                <a:gd name="T11" fmla="*/ 2 h 83"/>
                <a:gd name="T12" fmla="*/ 0 w 66"/>
                <a:gd name="T13" fmla="*/ 83 h 83"/>
                <a:gd name="T14" fmla="*/ 14 w 66"/>
                <a:gd name="T15" fmla="*/ 83 h 83"/>
                <a:gd name="T16" fmla="*/ 14 w 66"/>
                <a:gd name="T17" fmla="*/ 39 h 83"/>
                <a:gd name="T18" fmla="*/ 20 w 66"/>
                <a:gd name="T19" fmla="*/ 18 h 83"/>
                <a:gd name="T20" fmla="*/ 35 w 66"/>
                <a:gd name="T21" fmla="*/ 12 h 83"/>
                <a:gd name="T22" fmla="*/ 45 w 66"/>
                <a:gd name="T23" fmla="*/ 15 h 83"/>
                <a:gd name="T24" fmla="*/ 51 w 66"/>
                <a:gd name="T25" fmla="*/ 21 h 83"/>
                <a:gd name="T26" fmla="*/ 52 w 66"/>
                <a:gd name="T27" fmla="*/ 34 h 83"/>
                <a:gd name="T28" fmla="*/ 52 w 66"/>
                <a:gd name="T29" fmla="*/ 83 h 83"/>
                <a:gd name="T30" fmla="*/ 66 w 66"/>
                <a:gd name="T31" fmla="*/ 83 h 83"/>
                <a:gd name="T32" fmla="*/ 66 w 66"/>
                <a:gd name="T33" fmla="*/ 33 h 83"/>
                <a:gd name="T34" fmla="*/ 65 w 66"/>
                <a:gd name="T35" fmla="*/ 20 h 83"/>
                <a:gd name="T36" fmla="*/ 61 w 66"/>
                <a:gd name="T37" fmla="*/ 10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6" h="83">
                  <a:moveTo>
                    <a:pt x="61" y="10"/>
                  </a:moveTo>
                  <a:cubicBezTo>
                    <a:pt x="59" y="7"/>
                    <a:pt x="56" y="5"/>
                    <a:pt x="52" y="3"/>
                  </a:cubicBezTo>
                  <a:cubicBezTo>
                    <a:pt x="48" y="1"/>
                    <a:pt x="43" y="0"/>
                    <a:pt x="38" y="0"/>
                  </a:cubicBezTo>
                  <a:cubicBezTo>
                    <a:pt x="27" y="0"/>
                    <a:pt x="18" y="5"/>
                    <a:pt x="12" y="14"/>
                  </a:cubicBezTo>
                  <a:cubicBezTo>
                    <a:pt x="12" y="2"/>
                    <a:pt x="12" y="2"/>
                    <a:pt x="12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83"/>
                    <a:pt x="0" y="83"/>
                    <a:pt x="0" y="83"/>
                  </a:cubicBezTo>
                  <a:cubicBezTo>
                    <a:pt x="14" y="83"/>
                    <a:pt x="14" y="83"/>
                    <a:pt x="14" y="83"/>
                  </a:cubicBezTo>
                  <a:cubicBezTo>
                    <a:pt x="14" y="39"/>
                    <a:pt x="14" y="39"/>
                    <a:pt x="14" y="39"/>
                  </a:cubicBezTo>
                  <a:cubicBezTo>
                    <a:pt x="14" y="29"/>
                    <a:pt x="16" y="21"/>
                    <a:pt x="20" y="18"/>
                  </a:cubicBezTo>
                  <a:cubicBezTo>
                    <a:pt x="25" y="14"/>
                    <a:pt x="30" y="12"/>
                    <a:pt x="35" y="12"/>
                  </a:cubicBezTo>
                  <a:cubicBezTo>
                    <a:pt x="39" y="12"/>
                    <a:pt x="42" y="13"/>
                    <a:pt x="45" y="15"/>
                  </a:cubicBezTo>
                  <a:cubicBezTo>
                    <a:pt x="48" y="16"/>
                    <a:pt x="50" y="19"/>
                    <a:pt x="51" y="21"/>
                  </a:cubicBezTo>
                  <a:cubicBezTo>
                    <a:pt x="52" y="24"/>
                    <a:pt x="52" y="28"/>
                    <a:pt x="52" y="34"/>
                  </a:cubicBezTo>
                  <a:cubicBezTo>
                    <a:pt x="52" y="83"/>
                    <a:pt x="52" y="83"/>
                    <a:pt x="52" y="83"/>
                  </a:cubicBezTo>
                  <a:cubicBezTo>
                    <a:pt x="66" y="83"/>
                    <a:pt x="66" y="83"/>
                    <a:pt x="66" y="83"/>
                  </a:cubicBezTo>
                  <a:cubicBezTo>
                    <a:pt x="66" y="33"/>
                    <a:pt x="66" y="33"/>
                    <a:pt x="66" y="33"/>
                  </a:cubicBezTo>
                  <a:cubicBezTo>
                    <a:pt x="66" y="27"/>
                    <a:pt x="66" y="23"/>
                    <a:pt x="65" y="20"/>
                  </a:cubicBezTo>
                  <a:cubicBezTo>
                    <a:pt x="65" y="16"/>
                    <a:pt x="63" y="13"/>
                    <a:pt x="61" y="1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 sz="1350"/>
            </a:p>
          </p:txBody>
        </p:sp>
      </p:grpSp>
      <p:sp>
        <p:nvSpPr>
          <p:cNvPr id="1049498" name="文本框 117"/>
          <p:cNvSpPr txBox="1"/>
          <p:nvPr userDrawn="1"/>
        </p:nvSpPr>
        <p:spPr>
          <a:xfrm>
            <a:off x="4107180" y="6441440"/>
            <a:ext cx="929640" cy="2527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zh-CN" altLang="en-US" sz="1050" spc="300" dirty="0">
                <a:gradFill>
                  <a:gsLst>
                    <a:gs pos="0">
                      <a:srgbClr val="A22B17">
                        <a:lumMod val="90000"/>
                        <a:lumOff val="10000"/>
                      </a:srgbClr>
                    </a:gs>
                    <a:gs pos="100000">
                      <a:srgbClr val="A22B17">
                        <a:alpha val="92000"/>
                        <a:lumMod val="75000"/>
                        <a:lumOff val="25000"/>
                      </a:srgbClr>
                    </a:gs>
                  </a:gsLst>
                  <a:lin ang="0" scaled="1"/>
                </a:gradFill>
                <a:latin typeface="优设标题黑" panose="00000500000000000000" pitchFamily="2" charset="-122"/>
                <a:ea typeface="优设标题黑" panose="00000500000000000000" pitchFamily="2" charset="-122"/>
              </a:rPr>
              <a:t>求实鼎新</a:t>
            </a:r>
            <a:endParaRPr lang="zh-CN" altLang="en-US" sz="1050" spc="300" dirty="0">
              <a:gradFill>
                <a:gsLst>
                  <a:gs pos="0">
                    <a:srgbClr val="A22B17">
                      <a:lumMod val="90000"/>
                      <a:lumOff val="10000"/>
                    </a:srgbClr>
                  </a:gs>
                  <a:gs pos="100000">
                    <a:srgbClr val="A22B17">
                      <a:alpha val="92000"/>
                      <a:lumMod val="75000"/>
                      <a:lumOff val="25000"/>
                    </a:srgbClr>
                  </a:gs>
                </a:gsLst>
                <a:lin ang="0" scaled="1"/>
              </a:gradFill>
              <a:latin typeface="优设标题黑" panose="00000500000000000000" pitchFamily="2" charset="-122"/>
              <a:ea typeface="优设标题黑" panose="00000500000000000000" pitchFamily="2" charset="-122"/>
            </a:endParaRPr>
          </a:p>
        </p:txBody>
      </p:sp>
    </p:spTree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97204" name="PA-图片 14"/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 rotWithShape="1">
          <a:blip r:embed="rId3"/>
          <a:srcRect/>
          <a:stretch>
            <a:fillRect/>
          </a:stretch>
        </p:blipFill>
        <p:spPr>
          <a:xfrm>
            <a:off x="0" y="1"/>
            <a:ext cx="9144000" cy="3429000"/>
          </a:xfrm>
          <a:custGeom>
            <a:avLst/>
            <a:gdLst>
              <a:gd name="connsiteX0" fmla="*/ 0 w 12192000"/>
              <a:gd name="connsiteY0" fmla="*/ 0 h 3429001"/>
              <a:gd name="connsiteX1" fmla="*/ 12192000 w 12192000"/>
              <a:gd name="connsiteY1" fmla="*/ 0 h 3429001"/>
              <a:gd name="connsiteX2" fmla="*/ 12192000 w 12192000"/>
              <a:gd name="connsiteY2" fmla="*/ 2925589 h 3429001"/>
              <a:gd name="connsiteX3" fmla="*/ 12119571 w 12192000"/>
              <a:gd name="connsiteY3" fmla="*/ 2939984 h 3429001"/>
              <a:gd name="connsiteX4" fmla="*/ 6096001 w 12192000"/>
              <a:gd name="connsiteY4" fmla="*/ 3429001 h 3429001"/>
              <a:gd name="connsiteX5" fmla="*/ 72430 w 12192000"/>
              <a:gd name="connsiteY5" fmla="*/ 2939984 h 3429001"/>
              <a:gd name="connsiteX6" fmla="*/ 0 w 12192000"/>
              <a:gd name="connsiteY6" fmla="*/ 2925589 h 3429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3429001">
                <a:moveTo>
                  <a:pt x="0" y="0"/>
                </a:moveTo>
                <a:lnTo>
                  <a:pt x="12192000" y="0"/>
                </a:lnTo>
                <a:lnTo>
                  <a:pt x="12192000" y="2925589"/>
                </a:lnTo>
                <a:lnTo>
                  <a:pt x="12119571" y="2939984"/>
                </a:lnTo>
                <a:cubicBezTo>
                  <a:pt x="10400109" y="3248724"/>
                  <a:pt x="8327268" y="3429001"/>
                  <a:pt x="6096001" y="3429001"/>
                </a:cubicBezTo>
                <a:cubicBezTo>
                  <a:pt x="3864735" y="3429001"/>
                  <a:pt x="1791894" y="3248724"/>
                  <a:pt x="72430" y="2939984"/>
                </a:cubicBezTo>
                <a:lnTo>
                  <a:pt x="0" y="2925589"/>
                </a:lnTo>
                <a:close/>
              </a:path>
            </a:pathLst>
          </a:custGeom>
        </p:spPr>
      </p:pic>
      <p:sp>
        <p:nvSpPr>
          <p:cNvPr id="1049634" name="PA-椭圆 7"/>
          <p:cNvSpPr/>
          <p:nvPr userDrawn="1">
            <p:custDataLst>
              <p:tags r:id="rId4"/>
            </p:custDataLst>
          </p:nvPr>
        </p:nvSpPr>
        <p:spPr>
          <a:xfrm>
            <a:off x="-3508130" y="-2297723"/>
            <a:ext cx="16160261" cy="5726723"/>
          </a:xfrm>
          <a:prstGeom prst="ellipse">
            <a:avLst/>
          </a:prstGeom>
          <a:gradFill flip="none" rotWithShape="1">
            <a:gsLst>
              <a:gs pos="0">
                <a:srgbClr val="A22B17">
                  <a:lumMod val="94000"/>
                  <a:lumOff val="6000"/>
                </a:srgbClr>
              </a:gs>
              <a:gs pos="100000">
                <a:srgbClr val="A22B17">
                  <a:alpha val="72000"/>
                  <a:lumMod val="85000"/>
                  <a:lumOff val="15000"/>
                </a:srgb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zh-CN" altLang="en-US" sz="1350" dirty="0"/>
          </a:p>
        </p:txBody>
      </p:sp>
      <p:grpSp>
        <p:nvGrpSpPr>
          <p:cNvPr id="205" name="组合 118"/>
          <p:cNvGrpSpPr/>
          <p:nvPr userDrawn="1"/>
        </p:nvGrpSpPr>
        <p:grpSpPr>
          <a:xfrm>
            <a:off x="4331279" y="636936"/>
            <a:ext cx="481443" cy="642498"/>
            <a:chOff x="5775038" y="636936"/>
            <a:chExt cx="641924" cy="642498"/>
          </a:xfrm>
        </p:grpSpPr>
        <p:grpSp>
          <p:nvGrpSpPr>
            <p:cNvPr id="206" name="组合 119"/>
            <p:cNvGrpSpPr/>
            <p:nvPr/>
          </p:nvGrpSpPr>
          <p:grpSpPr>
            <a:xfrm>
              <a:off x="5775038" y="636936"/>
              <a:ext cx="641924" cy="642498"/>
              <a:chOff x="1560409" y="2069897"/>
              <a:chExt cx="1776413" cy="1778000"/>
            </a:xfrm>
          </p:grpSpPr>
          <p:sp>
            <p:nvSpPr>
              <p:cNvPr id="1049635" name="îS1îḋé"/>
              <p:cNvSpPr/>
              <p:nvPr/>
            </p:nvSpPr>
            <p:spPr bwMode="auto">
              <a:xfrm>
                <a:off x="1560409" y="2069897"/>
                <a:ext cx="1776413" cy="1778000"/>
              </a:xfrm>
              <a:prstGeom prst="ellipse">
                <a:avLst/>
              </a:prstGeom>
              <a:noFill/>
              <a:ln w="15875" cap="flat">
                <a:solidFill>
                  <a:srgbClr val="F2C68E"/>
                </a:solidFill>
                <a:prstDash val="solid"/>
                <a:miter lim="800000"/>
              </a:ln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1049636" name="îṣḷïďé"/>
              <p:cNvSpPr/>
              <p:nvPr/>
            </p:nvSpPr>
            <p:spPr bwMode="auto">
              <a:xfrm>
                <a:off x="1779484" y="2288972"/>
                <a:ext cx="1336675" cy="1338263"/>
              </a:xfrm>
              <a:prstGeom prst="ellipse">
                <a:avLst/>
              </a:prstGeom>
              <a:noFill/>
              <a:ln w="9525" cap="flat">
                <a:solidFill>
                  <a:srgbClr val="F2C68E"/>
                </a:solidFill>
                <a:prstDash val="solid"/>
                <a:miter lim="800000"/>
              </a:ln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</p:grpSp>
        <p:grpSp>
          <p:nvGrpSpPr>
            <p:cNvPr id="207" name="组合 120"/>
            <p:cNvGrpSpPr/>
            <p:nvPr/>
          </p:nvGrpSpPr>
          <p:grpSpPr>
            <a:xfrm>
              <a:off x="5804581" y="657875"/>
              <a:ext cx="582837" cy="600621"/>
              <a:chOff x="1641372" y="4491628"/>
              <a:chExt cx="1612900" cy="1662113"/>
            </a:xfrm>
            <a:solidFill>
              <a:srgbClr val="F2C68E"/>
            </a:solidFill>
          </p:grpSpPr>
          <p:sp>
            <p:nvSpPr>
              <p:cNvPr id="1049637" name="ïś1íďê"/>
              <p:cNvSpPr/>
              <p:nvPr/>
            </p:nvSpPr>
            <p:spPr bwMode="auto">
              <a:xfrm>
                <a:off x="2889147" y="4701178"/>
                <a:ext cx="153988" cy="138113"/>
              </a:xfrm>
              <a:custGeom>
                <a:avLst/>
                <a:gdLst>
                  <a:gd name="T0" fmla="*/ 62 w 83"/>
                  <a:gd name="T1" fmla="*/ 8 h 75"/>
                  <a:gd name="T2" fmla="*/ 53 w 83"/>
                  <a:gd name="T3" fmla="*/ 10 h 75"/>
                  <a:gd name="T4" fmla="*/ 57 w 83"/>
                  <a:gd name="T5" fmla="*/ 0 h 75"/>
                  <a:gd name="T6" fmla="*/ 44 w 83"/>
                  <a:gd name="T7" fmla="*/ 21 h 75"/>
                  <a:gd name="T8" fmla="*/ 58 w 83"/>
                  <a:gd name="T9" fmla="*/ 11 h 75"/>
                  <a:gd name="T10" fmla="*/ 54 w 83"/>
                  <a:gd name="T11" fmla="*/ 18 h 75"/>
                  <a:gd name="T12" fmla="*/ 28 w 83"/>
                  <a:gd name="T13" fmla="*/ 18 h 75"/>
                  <a:gd name="T14" fmla="*/ 19 w 83"/>
                  <a:gd name="T15" fmla="*/ 17 h 75"/>
                  <a:gd name="T16" fmla="*/ 25 w 83"/>
                  <a:gd name="T17" fmla="*/ 12 h 75"/>
                  <a:gd name="T18" fmla="*/ 1 w 83"/>
                  <a:gd name="T19" fmla="*/ 30 h 75"/>
                  <a:gd name="T20" fmla="*/ 13 w 83"/>
                  <a:gd name="T21" fmla="*/ 24 h 75"/>
                  <a:gd name="T22" fmla="*/ 36 w 83"/>
                  <a:gd name="T23" fmla="*/ 28 h 75"/>
                  <a:gd name="T24" fmla="*/ 22 w 83"/>
                  <a:gd name="T25" fmla="*/ 35 h 75"/>
                  <a:gd name="T26" fmla="*/ 45 w 83"/>
                  <a:gd name="T27" fmla="*/ 41 h 75"/>
                  <a:gd name="T28" fmla="*/ 42 w 83"/>
                  <a:gd name="T29" fmla="*/ 41 h 75"/>
                  <a:gd name="T30" fmla="*/ 35 w 83"/>
                  <a:gd name="T31" fmla="*/ 40 h 75"/>
                  <a:gd name="T32" fmla="*/ 37 w 83"/>
                  <a:gd name="T33" fmla="*/ 45 h 75"/>
                  <a:gd name="T34" fmla="*/ 12 w 83"/>
                  <a:gd name="T35" fmla="*/ 34 h 75"/>
                  <a:gd name="T36" fmla="*/ 9 w 83"/>
                  <a:gd name="T37" fmla="*/ 35 h 75"/>
                  <a:gd name="T38" fmla="*/ 20 w 83"/>
                  <a:gd name="T39" fmla="*/ 64 h 75"/>
                  <a:gd name="T40" fmla="*/ 0 w 83"/>
                  <a:gd name="T41" fmla="*/ 57 h 75"/>
                  <a:gd name="T42" fmla="*/ 35 w 83"/>
                  <a:gd name="T43" fmla="*/ 58 h 75"/>
                  <a:gd name="T44" fmla="*/ 46 w 83"/>
                  <a:gd name="T45" fmla="*/ 57 h 75"/>
                  <a:gd name="T46" fmla="*/ 42 w 83"/>
                  <a:gd name="T47" fmla="*/ 48 h 75"/>
                  <a:gd name="T48" fmla="*/ 62 w 83"/>
                  <a:gd name="T49" fmla="*/ 57 h 75"/>
                  <a:gd name="T50" fmla="*/ 61 w 83"/>
                  <a:gd name="T51" fmla="*/ 35 h 75"/>
                  <a:gd name="T52" fmla="*/ 62 w 83"/>
                  <a:gd name="T53" fmla="*/ 34 h 75"/>
                  <a:gd name="T54" fmla="*/ 66 w 83"/>
                  <a:gd name="T55" fmla="*/ 16 h 75"/>
                  <a:gd name="T56" fmla="*/ 63 w 83"/>
                  <a:gd name="T57" fmla="*/ 44 h 75"/>
                  <a:gd name="T58" fmla="*/ 54 w 83"/>
                  <a:gd name="T59" fmla="*/ 32 h 75"/>
                  <a:gd name="T60" fmla="*/ 60 w 83"/>
                  <a:gd name="T61" fmla="*/ 27 h 75"/>
                  <a:gd name="T62" fmla="*/ 67 w 83"/>
                  <a:gd name="T63" fmla="*/ 18 h 75"/>
                  <a:gd name="T64" fmla="*/ 77 w 83"/>
                  <a:gd name="T65" fmla="*/ 23 h 75"/>
                  <a:gd name="T66" fmla="*/ 60 w 83"/>
                  <a:gd name="T67" fmla="*/ 27 h 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83" h="75">
                    <a:moveTo>
                      <a:pt x="66" y="16"/>
                    </a:moveTo>
                    <a:cubicBezTo>
                      <a:pt x="65" y="13"/>
                      <a:pt x="63" y="11"/>
                      <a:pt x="62" y="8"/>
                    </a:cubicBezTo>
                    <a:cubicBezTo>
                      <a:pt x="59" y="9"/>
                      <a:pt x="57" y="9"/>
                      <a:pt x="54" y="10"/>
                    </a:cubicBezTo>
                    <a:cubicBezTo>
                      <a:pt x="54" y="10"/>
                      <a:pt x="53" y="10"/>
                      <a:pt x="53" y="10"/>
                    </a:cubicBezTo>
                    <a:cubicBezTo>
                      <a:pt x="54" y="7"/>
                      <a:pt x="57" y="6"/>
                      <a:pt x="59" y="3"/>
                    </a:cubicBezTo>
                    <a:cubicBezTo>
                      <a:pt x="58" y="2"/>
                      <a:pt x="58" y="1"/>
                      <a:pt x="57" y="0"/>
                    </a:cubicBezTo>
                    <a:cubicBezTo>
                      <a:pt x="48" y="1"/>
                      <a:pt x="37" y="9"/>
                      <a:pt x="42" y="19"/>
                    </a:cubicBezTo>
                    <a:cubicBezTo>
                      <a:pt x="42" y="19"/>
                      <a:pt x="43" y="20"/>
                      <a:pt x="44" y="21"/>
                    </a:cubicBezTo>
                    <a:cubicBezTo>
                      <a:pt x="47" y="19"/>
                      <a:pt x="48" y="15"/>
                      <a:pt x="51" y="14"/>
                    </a:cubicBezTo>
                    <a:cubicBezTo>
                      <a:pt x="53" y="13"/>
                      <a:pt x="55" y="13"/>
                      <a:pt x="58" y="11"/>
                    </a:cubicBezTo>
                    <a:cubicBezTo>
                      <a:pt x="58" y="11"/>
                      <a:pt x="59" y="11"/>
                      <a:pt x="59" y="11"/>
                    </a:cubicBezTo>
                    <a:cubicBezTo>
                      <a:pt x="57" y="14"/>
                      <a:pt x="56" y="16"/>
                      <a:pt x="54" y="18"/>
                    </a:cubicBezTo>
                    <a:cubicBezTo>
                      <a:pt x="54" y="21"/>
                      <a:pt x="55" y="24"/>
                      <a:pt x="54" y="27"/>
                    </a:cubicBezTo>
                    <a:cubicBezTo>
                      <a:pt x="54" y="27"/>
                      <a:pt x="30" y="18"/>
                      <a:pt x="28" y="18"/>
                    </a:cubicBezTo>
                    <a:cubicBezTo>
                      <a:pt x="25" y="17"/>
                      <a:pt x="22" y="17"/>
                      <a:pt x="20" y="17"/>
                    </a:cubicBezTo>
                    <a:cubicBezTo>
                      <a:pt x="19" y="17"/>
                      <a:pt x="19" y="17"/>
                      <a:pt x="19" y="17"/>
                    </a:cubicBezTo>
                    <a:cubicBezTo>
                      <a:pt x="22" y="15"/>
                      <a:pt x="23" y="15"/>
                      <a:pt x="25" y="13"/>
                    </a:cubicBezTo>
                    <a:cubicBezTo>
                      <a:pt x="25" y="12"/>
                      <a:pt x="25" y="12"/>
                      <a:pt x="25" y="12"/>
                    </a:cubicBezTo>
                    <a:cubicBezTo>
                      <a:pt x="18" y="12"/>
                      <a:pt x="11" y="16"/>
                      <a:pt x="4" y="18"/>
                    </a:cubicBezTo>
                    <a:cubicBezTo>
                      <a:pt x="0" y="22"/>
                      <a:pt x="0" y="25"/>
                      <a:pt x="1" y="30"/>
                    </a:cubicBezTo>
                    <a:cubicBezTo>
                      <a:pt x="3" y="31"/>
                      <a:pt x="3" y="31"/>
                      <a:pt x="3" y="31"/>
                    </a:cubicBezTo>
                    <a:cubicBezTo>
                      <a:pt x="6" y="29"/>
                      <a:pt x="9" y="26"/>
                      <a:pt x="13" y="24"/>
                    </a:cubicBezTo>
                    <a:cubicBezTo>
                      <a:pt x="19" y="20"/>
                      <a:pt x="30" y="22"/>
                      <a:pt x="37" y="27"/>
                    </a:cubicBezTo>
                    <a:cubicBezTo>
                      <a:pt x="37" y="28"/>
                      <a:pt x="36" y="28"/>
                      <a:pt x="36" y="28"/>
                    </a:cubicBezTo>
                    <a:cubicBezTo>
                      <a:pt x="31" y="29"/>
                      <a:pt x="28" y="28"/>
                      <a:pt x="22" y="32"/>
                    </a:cubicBezTo>
                    <a:cubicBezTo>
                      <a:pt x="22" y="33"/>
                      <a:pt x="22" y="34"/>
                      <a:pt x="22" y="35"/>
                    </a:cubicBezTo>
                    <a:cubicBezTo>
                      <a:pt x="22" y="37"/>
                      <a:pt x="22" y="37"/>
                      <a:pt x="24" y="39"/>
                    </a:cubicBezTo>
                    <a:cubicBezTo>
                      <a:pt x="31" y="37"/>
                      <a:pt x="37" y="36"/>
                      <a:pt x="45" y="41"/>
                    </a:cubicBezTo>
                    <a:cubicBezTo>
                      <a:pt x="44" y="41"/>
                      <a:pt x="44" y="41"/>
                      <a:pt x="44" y="41"/>
                    </a:cubicBezTo>
                    <a:cubicBezTo>
                      <a:pt x="43" y="41"/>
                      <a:pt x="42" y="41"/>
                      <a:pt x="42" y="41"/>
                    </a:cubicBezTo>
                    <a:cubicBezTo>
                      <a:pt x="41" y="40"/>
                      <a:pt x="40" y="39"/>
                      <a:pt x="39" y="39"/>
                    </a:cubicBezTo>
                    <a:cubicBezTo>
                      <a:pt x="37" y="41"/>
                      <a:pt x="37" y="41"/>
                      <a:pt x="35" y="40"/>
                    </a:cubicBezTo>
                    <a:cubicBezTo>
                      <a:pt x="35" y="40"/>
                      <a:pt x="34" y="41"/>
                      <a:pt x="34" y="41"/>
                    </a:cubicBezTo>
                    <a:cubicBezTo>
                      <a:pt x="35" y="43"/>
                      <a:pt x="35" y="43"/>
                      <a:pt x="37" y="45"/>
                    </a:cubicBezTo>
                    <a:cubicBezTo>
                      <a:pt x="36" y="46"/>
                      <a:pt x="36" y="47"/>
                      <a:pt x="35" y="48"/>
                    </a:cubicBezTo>
                    <a:cubicBezTo>
                      <a:pt x="27" y="44"/>
                      <a:pt x="20" y="40"/>
                      <a:pt x="12" y="34"/>
                    </a:cubicBezTo>
                    <a:cubicBezTo>
                      <a:pt x="11" y="34"/>
                      <a:pt x="11" y="34"/>
                      <a:pt x="10" y="34"/>
                    </a:cubicBezTo>
                    <a:cubicBezTo>
                      <a:pt x="9" y="34"/>
                      <a:pt x="9" y="35"/>
                      <a:pt x="9" y="35"/>
                    </a:cubicBezTo>
                    <a:cubicBezTo>
                      <a:pt x="11" y="55"/>
                      <a:pt x="20" y="44"/>
                      <a:pt x="31" y="54"/>
                    </a:cubicBezTo>
                    <a:cubicBezTo>
                      <a:pt x="27" y="58"/>
                      <a:pt x="23" y="61"/>
                      <a:pt x="20" y="64"/>
                    </a:cubicBezTo>
                    <a:cubicBezTo>
                      <a:pt x="15" y="63"/>
                      <a:pt x="6" y="55"/>
                      <a:pt x="1" y="56"/>
                    </a:cubicBezTo>
                    <a:cubicBezTo>
                      <a:pt x="1" y="56"/>
                      <a:pt x="1" y="56"/>
                      <a:pt x="0" y="57"/>
                    </a:cubicBezTo>
                    <a:cubicBezTo>
                      <a:pt x="2" y="62"/>
                      <a:pt x="7" y="67"/>
                      <a:pt x="9" y="72"/>
                    </a:cubicBezTo>
                    <a:cubicBezTo>
                      <a:pt x="17" y="75"/>
                      <a:pt x="26" y="66"/>
                      <a:pt x="35" y="58"/>
                    </a:cubicBezTo>
                    <a:cubicBezTo>
                      <a:pt x="37" y="60"/>
                      <a:pt x="39" y="63"/>
                      <a:pt x="42" y="65"/>
                    </a:cubicBezTo>
                    <a:cubicBezTo>
                      <a:pt x="46" y="63"/>
                      <a:pt x="46" y="60"/>
                      <a:pt x="46" y="57"/>
                    </a:cubicBezTo>
                    <a:cubicBezTo>
                      <a:pt x="45" y="54"/>
                      <a:pt x="43" y="53"/>
                      <a:pt x="40" y="50"/>
                    </a:cubicBezTo>
                    <a:cubicBezTo>
                      <a:pt x="41" y="49"/>
                      <a:pt x="42" y="48"/>
                      <a:pt x="42" y="48"/>
                    </a:cubicBezTo>
                    <a:cubicBezTo>
                      <a:pt x="46" y="48"/>
                      <a:pt x="49" y="48"/>
                      <a:pt x="53" y="46"/>
                    </a:cubicBezTo>
                    <a:cubicBezTo>
                      <a:pt x="56" y="49"/>
                      <a:pt x="59" y="53"/>
                      <a:pt x="62" y="57"/>
                    </a:cubicBezTo>
                    <a:cubicBezTo>
                      <a:pt x="65" y="56"/>
                      <a:pt x="68" y="55"/>
                      <a:pt x="70" y="52"/>
                    </a:cubicBezTo>
                    <a:cubicBezTo>
                      <a:pt x="72" y="47"/>
                      <a:pt x="66" y="40"/>
                      <a:pt x="61" y="35"/>
                    </a:cubicBezTo>
                    <a:cubicBezTo>
                      <a:pt x="61" y="35"/>
                      <a:pt x="61" y="35"/>
                      <a:pt x="61" y="35"/>
                    </a:cubicBezTo>
                    <a:cubicBezTo>
                      <a:pt x="62" y="34"/>
                      <a:pt x="62" y="34"/>
                      <a:pt x="62" y="34"/>
                    </a:cubicBezTo>
                    <a:cubicBezTo>
                      <a:pt x="69" y="34"/>
                      <a:pt x="72" y="37"/>
                      <a:pt x="79" y="32"/>
                    </a:cubicBezTo>
                    <a:cubicBezTo>
                      <a:pt x="83" y="17"/>
                      <a:pt x="74" y="21"/>
                      <a:pt x="66" y="16"/>
                    </a:cubicBezTo>
                    <a:close/>
                    <a:moveTo>
                      <a:pt x="63" y="44"/>
                    </a:moveTo>
                    <a:cubicBezTo>
                      <a:pt x="63" y="44"/>
                      <a:pt x="63" y="44"/>
                      <a:pt x="63" y="44"/>
                    </a:cubicBezTo>
                    <a:cubicBezTo>
                      <a:pt x="55" y="42"/>
                      <a:pt x="46" y="34"/>
                      <a:pt x="38" y="32"/>
                    </a:cubicBezTo>
                    <a:cubicBezTo>
                      <a:pt x="43" y="28"/>
                      <a:pt x="48" y="31"/>
                      <a:pt x="54" y="32"/>
                    </a:cubicBezTo>
                    <a:cubicBezTo>
                      <a:pt x="57" y="36"/>
                      <a:pt x="60" y="40"/>
                      <a:pt x="63" y="44"/>
                    </a:cubicBezTo>
                    <a:close/>
                    <a:moveTo>
                      <a:pt x="60" y="27"/>
                    </a:moveTo>
                    <a:cubicBezTo>
                      <a:pt x="60" y="27"/>
                      <a:pt x="60" y="26"/>
                      <a:pt x="59" y="26"/>
                    </a:cubicBezTo>
                    <a:cubicBezTo>
                      <a:pt x="61" y="23"/>
                      <a:pt x="63" y="20"/>
                      <a:pt x="67" y="18"/>
                    </a:cubicBezTo>
                    <a:cubicBezTo>
                      <a:pt x="69" y="19"/>
                      <a:pt x="71" y="19"/>
                      <a:pt x="74" y="20"/>
                    </a:cubicBezTo>
                    <a:cubicBezTo>
                      <a:pt x="75" y="21"/>
                      <a:pt x="76" y="22"/>
                      <a:pt x="77" y="23"/>
                    </a:cubicBezTo>
                    <a:cubicBezTo>
                      <a:pt x="77" y="24"/>
                      <a:pt x="77" y="24"/>
                      <a:pt x="77" y="25"/>
                    </a:cubicBezTo>
                    <a:cubicBezTo>
                      <a:pt x="72" y="29"/>
                      <a:pt x="66" y="27"/>
                      <a:pt x="60" y="27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1049638" name="ïṩḻîḓé"/>
              <p:cNvSpPr/>
              <p:nvPr/>
            </p:nvSpPr>
            <p:spPr bwMode="auto">
              <a:xfrm>
                <a:off x="2728809" y="4582115"/>
                <a:ext cx="101600" cy="147638"/>
              </a:xfrm>
              <a:custGeom>
                <a:avLst/>
                <a:gdLst>
                  <a:gd name="T0" fmla="*/ 47 w 55"/>
                  <a:gd name="T1" fmla="*/ 0 h 80"/>
                  <a:gd name="T2" fmla="*/ 49 w 55"/>
                  <a:gd name="T3" fmla="*/ 20 h 80"/>
                  <a:gd name="T4" fmla="*/ 51 w 55"/>
                  <a:gd name="T5" fmla="*/ 34 h 80"/>
                  <a:gd name="T6" fmla="*/ 28 w 55"/>
                  <a:gd name="T7" fmla="*/ 38 h 80"/>
                  <a:gd name="T8" fmla="*/ 41 w 55"/>
                  <a:gd name="T9" fmla="*/ 68 h 80"/>
                  <a:gd name="T10" fmla="*/ 25 w 55"/>
                  <a:gd name="T11" fmla="*/ 74 h 80"/>
                  <a:gd name="T12" fmla="*/ 26 w 55"/>
                  <a:gd name="T13" fmla="*/ 39 h 80"/>
                  <a:gd name="T14" fmla="*/ 23 w 55"/>
                  <a:gd name="T15" fmla="*/ 40 h 80"/>
                  <a:gd name="T16" fmla="*/ 7 w 55"/>
                  <a:gd name="T17" fmla="*/ 54 h 80"/>
                  <a:gd name="T18" fmla="*/ 0 w 55"/>
                  <a:gd name="T19" fmla="*/ 43 h 80"/>
                  <a:gd name="T20" fmla="*/ 14 w 55"/>
                  <a:gd name="T21" fmla="*/ 28 h 80"/>
                  <a:gd name="T22" fmla="*/ 6 w 55"/>
                  <a:gd name="T23" fmla="*/ 15 h 80"/>
                  <a:gd name="T24" fmla="*/ 7 w 55"/>
                  <a:gd name="T25" fmla="*/ 15 h 80"/>
                  <a:gd name="T26" fmla="*/ 26 w 55"/>
                  <a:gd name="T27" fmla="*/ 18 h 80"/>
                  <a:gd name="T28" fmla="*/ 47 w 55"/>
                  <a:gd name="T29" fmla="*/ 0 h 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55" h="80">
                    <a:moveTo>
                      <a:pt x="47" y="0"/>
                    </a:moveTo>
                    <a:cubicBezTo>
                      <a:pt x="55" y="7"/>
                      <a:pt x="49" y="11"/>
                      <a:pt x="49" y="20"/>
                    </a:cubicBezTo>
                    <a:cubicBezTo>
                      <a:pt x="49" y="25"/>
                      <a:pt x="55" y="25"/>
                      <a:pt x="51" y="34"/>
                    </a:cubicBezTo>
                    <a:cubicBezTo>
                      <a:pt x="44" y="37"/>
                      <a:pt x="34" y="32"/>
                      <a:pt x="28" y="38"/>
                    </a:cubicBezTo>
                    <a:cubicBezTo>
                      <a:pt x="38" y="44"/>
                      <a:pt x="45" y="59"/>
                      <a:pt x="41" y="68"/>
                    </a:cubicBezTo>
                    <a:cubicBezTo>
                      <a:pt x="39" y="74"/>
                      <a:pt x="28" y="80"/>
                      <a:pt x="25" y="74"/>
                    </a:cubicBezTo>
                    <a:cubicBezTo>
                      <a:pt x="19" y="62"/>
                      <a:pt x="39" y="55"/>
                      <a:pt x="26" y="39"/>
                    </a:cubicBezTo>
                    <a:cubicBezTo>
                      <a:pt x="25" y="39"/>
                      <a:pt x="25" y="39"/>
                      <a:pt x="23" y="40"/>
                    </a:cubicBezTo>
                    <a:cubicBezTo>
                      <a:pt x="17" y="44"/>
                      <a:pt x="14" y="52"/>
                      <a:pt x="7" y="54"/>
                    </a:cubicBezTo>
                    <a:cubicBezTo>
                      <a:pt x="2" y="51"/>
                      <a:pt x="2" y="48"/>
                      <a:pt x="0" y="43"/>
                    </a:cubicBezTo>
                    <a:cubicBezTo>
                      <a:pt x="3" y="39"/>
                      <a:pt x="14" y="30"/>
                      <a:pt x="14" y="28"/>
                    </a:cubicBezTo>
                    <a:cubicBezTo>
                      <a:pt x="14" y="25"/>
                      <a:pt x="7" y="19"/>
                      <a:pt x="6" y="15"/>
                    </a:cubicBezTo>
                    <a:cubicBezTo>
                      <a:pt x="6" y="15"/>
                      <a:pt x="7" y="15"/>
                      <a:pt x="7" y="15"/>
                    </a:cubicBezTo>
                    <a:cubicBezTo>
                      <a:pt x="13" y="15"/>
                      <a:pt x="20" y="18"/>
                      <a:pt x="26" y="18"/>
                    </a:cubicBezTo>
                    <a:cubicBezTo>
                      <a:pt x="34" y="17"/>
                      <a:pt x="41" y="5"/>
                      <a:pt x="47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1049639" name="išḷïḓe"/>
              <p:cNvSpPr/>
              <p:nvPr/>
            </p:nvSpPr>
            <p:spPr bwMode="auto">
              <a:xfrm>
                <a:off x="2490684" y="4510678"/>
                <a:ext cx="144463" cy="160338"/>
              </a:xfrm>
              <a:custGeom>
                <a:avLst/>
                <a:gdLst>
                  <a:gd name="T0" fmla="*/ 55 w 78"/>
                  <a:gd name="T1" fmla="*/ 64 h 87"/>
                  <a:gd name="T2" fmla="*/ 62 w 78"/>
                  <a:gd name="T3" fmla="*/ 50 h 87"/>
                  <a:gd name="T4" fmla="*/ 54 w 78"/>
                  <a:gd name="T5" fmla="*/ 43 h 87"/>
                  <a:gd name="T6" fmla="*/ 69 w 78"/>
                  <a:gd name="T7" fmla="*/ 29 h 87"/>
                  <a:gd name="T8" fmla="*/ 67 w 78"/>
                  <a:gd name="T9" fmla="*/ 21 h 87"/>
                  <a:gd name="T10" fmla="*/ 70 w 78"/>
                  <a:gd name="T11" fmla="*/ 11 h 87"/>
                  <a:gd name="T12" fmla="*/ 69 w 78"/>
                  <a:gd name="T13" fmla="*/ 3 h 87"/>
                  <a:gd name="T14" fmla="*/ 64 w 78"/>
                  <a:gd name="T15" fmla="*/ 0 h 87"/>
                  <a:gd name="T16" fmla="*/ 63 w 78"/>
                  <a:gd name="T17" fmla="*/ 0 h 87"/>
                  <a:gd name="T18" fmla="*/ 63 w 78"/>
                  <a:gd name="T19" fmla="*/ 12 h 87"/>
                  <a:gd name="T20" fmla="*/ 42 w 78"/>
                  <a:gd name="T21" fmla="*/ 25 h 87"/>
                  <a:gd name="T22" fmla="*/ 42 w 78"/>
                  <a:gd name="T23" fmla="*/ 33 h 87"/>
                  <a:gd name="T24" fmla="*/ 33 w 78"/>
                  <a:gd name="T25" fmla="*/ 36 h 87"/>
                  <a:gd name="T26" fmla="*/ 39 w 78"/>
                  <a:gd name="T27" fmla="*/ 33 h 87"/>
                  <a:gd name="T28" fmla="*/ 39 w 78"/>
                  <a:gd name="T29" fmla="*/ 23 h 87"/>
                  <a:gd name="T30" fmla="*/ 36 w 78"/>
                  <a:gd name="T31" fmla="*/ 0 h 87"/>
                  <a:gd name="T32" fmla="*/ 36 w 78"/>
                  <a:gd name="T33" fmla="*/ 0 h 87"/>
                  <a:gd name="T34" fmla="*/ 36 w 78"/>
                  <a:gd name="T35" fmla="*/ 8 h 87"/>
                  <a:gd name="T36" fmla="*/ 30 w 78"/>
                  <a:gd name="T37" fmla="*/ 24 h 87"/>
                  <a:gd name="T38" fmla="*/ 1 w 78"/>
                  <a:gd name="T39" fmla="*/ 29 h 87"/>
                  <a:gd name="T40" fmla="*/ 0 w 78"/>
                  <a:gd name="T41" fmla="*/ 31 h 87"/>
                  <a:gd name="T42" fmla="*/ 18 w 78"/>
                  <a:gd name="T43" fmla="*/ 39 h 87"/>
                  <a:gd name="T44" fmla="*/ 25 w 78"/>
                  <a:gd name="T45" fmla="*/ 36 h 87"/>
                  <a:gd name="T46" fmla="*/ 25 w 78"/>
                  <a:gd name="T47" fmla="*/ 36 h 87"/>
                  <a:gd name="T48" fmla="*/ 3 w 78"/>
                  <a:gd name="T49" fmla="*/ 62 h 87"/>
                  <a:gd name="T50" fmla="*/ 5 w 78"/>
                  <a:gd name="T51" fmla="*/ 67 h 87"/>
                  <a:gd name="T52" fmla="*/ 12 w 78"/>
                  <a:gd name="T53" fmla="*/ 66 h 87"/>
                  <a:gd name="T54" fmla="*/ 22 w 78"/>
                  <a:gd name="T55" fmla="*/ 74 h 87"/>
                  <a:gd name="T56" fmla="*/ 25 w 78"/>
                  <a:gd name="T57" fmla="*/ 61 h 87"/>
                  <a:gd name="T58" fmla="*/ 30 w 78"/>
                  <a:gd name="T59" fmla="*/ 49 h 87"/>
                  <a:gd name="T60" fmla="*/ 48 w 78"/>
                  <a:gd name="T61" fmla="*/ 63 h 87"/>
                  <a:gd name="T62" fmla="*/ 24 w 78"/>
                  <a:gd name="T63" fmla="*/ 71 h 87"/>
                  <a:gd name="T64" fmla="*/ 48 w 78"/>
                  <a:gd name="T65" fmla="*/ 71 h 87"/>
                  <a:gd name="T66" fmla="*/ 51 w 78"/>
                  <a:gd name="T67" fmla="*/ 69 h 87"/>
                  <a:gd name="T68" fmla="*/ 77 w 78"/>
                  <a:gd name="T69" fmla="*/ 87 h 87"/>
                  <a:gd name="T70" fmla="*/ 78 w 78"/>
                  <a:gd name="T71" fmla="*/ 86 h 87"/>
                  <a:gd name="T72" fmla="*/ 55 w 78"/>
                  <a:gd name="T73" fmla="*/ 64 h 87"/>
                  <a:gd name="T74" fmla="*/ 15 w 78"/>
                  <a:gd name="T75" fmla="*/ 64 h 87"/>
                  <a:gd name="T76" fmla="*/ 15 w 78"/>
                  <a:gd name="T77" fmla="*/ 65 h 87"/>
                  <a:gd name="T78" fmla="*/ 11 w 78"/>
                  <a:gd name="T79" fmla="*/ 63 h 87"/>
                  <a:gd name="T80" fmla="*/ 12 w 78"/>
                  <a:gd name="T81" fmla="*/ 60 h 87"/>
                  <a:gd name="T82" fmla="*/ 15 w 78"/>
                  <a:gd name="T83" fmla="*/ 57 h 87"/>
                  <a:gd name="T84" fmla="*/ 17 w 78"/>
                  <a:gd name="T85" fmla="*/ 58 h 87"/>
                  <a:gd name="T86" fmla="*/ 15 w 78"/>
                  <a:gd name="T87" fmla="*/ 64 h 87"/>
                  <a:gd name="T88" fmla="*/ 32 w 78"/>
                  <a:gd name="T89" fmla="*/ 46 h 87"/>
                  <a:gd name="T90" fmla="*/ 44 w 78"/>
                  <a:gd name="T91" fmla="*/ 34 h 87"/>
                  <a:gd name="T92" fmla="*/ 52 w 78"/>
                  <a:gd name="T93" fmla="*/ 35 h 87"/>
                  <a:gd name="T94" fmla="*/ 46 w 78"/>
                  <a:gd name="T95" fmla="*/ 50 h 87"/>
                  <a:gd name="T96" fmla="*/ 48 w 78"/>
                  <a:gd name="T97" fmla="*/ 52 h 87"/>
                  <a:gd name="T98" fmla="*/ 56 w 78"/>
                  <a:gd name="T99" fmla="*/ 50 h 87"/>
                  <a:gd name="T100" fmla="*/ 52 w 78"/>
                  <a:gd name="T101" fmla="*/ 61 h 87"/>
                  <a:gd name="T102" fmla="*/ 32 w 78"/>
                  <a:gd name="T103" fmla="*/ 46 h 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78" h="87">
                    <a:moveTo>
                      <a:pt x="55" y="64"/>
                    </a:moveTo>
                    <a:cubicBezTo>
                      <a:pt x="58" y="60"/>
                      <a:pt x="60" y="55"/>
                      <a:pt x="62" y="50"/>
                    </a:cubicBezTo>
                    <a:cubicBezTo>
                      <a:pt x="61" y="47"/>
                      <a:pt x="58" y="44"/>
                      <a:pt x="54" y="43"/>
                    </a:cubicBezTo>
                    <a:cubicBezTo>
                      <a:pt x="57" y="36"/>
                      <a:pt x="64" y="33"/>
                      <a:pt x="69" y="29"/>
                    </a:cubicBezTo>
                    <a:cubicBezTo>
                      <a:pt x="69" y="25"/>
                      <a:pt x="67" y="24"/>
                      <a:pt x="67" y="21"/>
                    </a:cubicBezTo>
                    <a:cubicBezTo>
                      <a:pt x="68" y="18"/>
                      <a:pt x="69" y="15"/>
                      <a:pt x="70" y="11"/>
                    </a:cubicBezTo>
                    <a:cubicBezTo>
                      <a:pt x="70" y="9"/>
                      <a:pt x="69" y="6"/>
                      <a:pt x="69" y="3"/>
                    </a:cubicBezTo>
                    <a:cubicBezTo>
                      <a:pt x="68" y="2"/>
                      <a:pt x="67" y="1"/>
                      <a:pt x="64" y="0"/>
                    </a:cubicBezTo>
                    <a:cubicBezTo>
                      <a:pt x="64" y="0"/>
                      <a:pt x="63" y="0"/>
                      <a:pt x="63" y="0"/>
                    </a:cubicBezTo>
                    <a:cubicBezTo>
                      <a:pt x="61" y="5"/>
                      <a:pt x="63" y="8"/>
                      <a:pt x="63" y="12"/>
                    </a:cubicBezTo>
                    <a:cubicBezTo>
                      <a:pt x="63" y="24"/>
                      <a:pt x="52" y="26"/>
                      <a:pt x="42" y="25"/>
                    </a:cubicBezTo>
                    <a:cubicBezTo>
                      <a:pt x="41" y="28"/>
                      <a:pt x="41" y="31"/>
                      <a:pt x="42" y="33"/>
                    </a:cubicBezTo>
                    <a:cubicBezTo>
                      <a:pt x="39" y="34"/>
                      <a:pt x="36" y="35"/>
                      <a:pt x="33" y="36"/>
                    </a:cubicBezTo>
                    <a:cubicBezTo>
                      <a:pt x="34" y="32"/>
                      <a:pt x="36" y="32"/>
                      <a:pt x="39" y="33"/>
                    </a:cubicBezTo>
                    <a:cubicBezTo>
                      <a:pt x="41" y="29"/>
                      <a:pt x="38" y="27"/>
                      <a:pt x="39" y="23"/>
                    </a:cubicBezTo>
                    <a:cubicBezTo>
                      <a:pt x="39" y="14"/>
                      <a:pt x="53" y="6"/>
                      <a:pt x="36" y="0"/>
                    </a:cubicBezTo>
                    <a:cubicBezTo>
                      <a:pt x="36" y="0"/>
                      <a:pt x="36" y="0"/>
                      <a:pt x="36" y="0"/>
                    </a:cubicBezTo>
                    <a:cubicBezTo>
                      <a:pt x="35" y="3"/>
                      <a:pt x="36" y="5"/>
                      <a:pt x="36" y="8"/>
                    </a:cubicBezTo>
                    <a:cubicBezTo>
                      <a:pt x="34" y="14"/>
                      <a:pt x="32" y="19"/>
                      <a:pt x="30" y="24"/>
                    </a:cubicBezTo>
                    <a:cubicBezTo>
                      <a:pt x="22" y="26"/>
                      <a:pt x="9" y="26"/>
                      <a:pt x="1" y="29"/>
                    </a:cubicBezTo>
                    <a:cubicBezTo>
                      <a:pt x="1" y="30"/>
                      <a:pt x="1" y="30"/>
                      <a:pt x="0" y="31"/>
                    </a:cubicBezTo>
                    <a:cubicBezTo>
                      <a:pt x="1" y="35"/>
                      <a:pt x="12" y="39"/>
                      <a:pt x="18" y="39"/>
                    </a:cubicBezTo>
                    <a:cubicBezTo>
                      <a:pt x="20" y="38"/>
                      <a:pt x="22" y="37"/>
                      <a:pt x="25" y="36"/>
                    </a:cubicBezTo>
                    <a:cubicBezTo>
                      <a:pt x="25" y="36"/>
                      <a:pt x="25" y="36"/>
                      <a:pt x="25" y="36"/>
                    </a:cubicBezTo>
                    <a:cubicBezTo>
                      <a:pt x="21" y="52"/>
                      <a:pt x="9" y="50"/>
                      <a:pt x="3" y="62"/>
                    </a:cubicBezTo>
                    <a:cubicBezTo>
                      <a:pt x="4" y="63"/>
                      <a:pt x="4" y="65"/>
                      <a:pt x="5" y="67"/>
                    </a:cubicBezTo>
                    <a:cubicBezTo>
                      <a:pt x="7" y="67"/>
                      <a:pt x="10" y="67"/>
                      <a:pt x="12" y="66"/>
                    </a:cubicBezTo>
                    <a:cubicBezTo>
                      <a:pt x="17" y="68"/>
                      <a:pt x="17" y="72"/>
                      <a:pt x="22" y="74"/>
                    </a:cubicBezTo>
                    <a:cubicBezTo>
                      <a:pt x="25" y="71"/>
                      <a:pt x="24" y="66"/>
                      <a:pt x="25" y="61"/>
                    </a:cubicBezTo>
                    <a:cubicBezTo>
                      <a:pt x="25" y="56"/>
                      <a:pt x="28" y="52"/>
                      <a:pt x="30" y="49"/>
                    </a:cubicBezTo>
                    <a:cubicBezTo>
                      <a:pt x="40" y="53"/>
                      <a:pt x="42" y="58"/>
                      <a:pt x="48" y="63"/>
                    </a:cubicBezTo>
                    <a:cubicBezTo>
                      <a:pt x="44" y="74"/>
                      <a:pt x="29" y="63"/>
                      <a:pt x="24" y="71"/>
                    </a:cubicBezTo>
                    <a:cubicBezTo>
                      <a:pt x="39" y="78"/>
                      <a:pt x="36" y="74"/>
                      <a:pt x="48" y="71"/>
                    </a:cubicBezTo>
                    <a:cubicBezTo>
                      <a:pt x="49" y="70"/>
                      <a:pt x="50" y="70"/>
                      <a:pt x="51" y="69"/>
                    </a:cubicBezTo>
                    <a:cubicBezTo>
                      <a:pt x="58" y="79"/>
                      <a:pt x="58" y="87"/>
                      <a:pt x="77" y="87"/>
                    </a:cubicBezTo>
                    <a:cubicBezTo>
                      <a:pt x="77" y="87"/>
                      <a:pt x="78" y="86"/>
                      <a:pt x="78" y="86"/>
                    </a:cubicBezTo>
                    <a:cubicBezTo>
                      <a:pt x="74" y="76"/>
                      <a:pt x="60" y="73"/>
                      <a:pt x="55" y="64"/>
                    </a:cubicBezTo>
                    <a:close/>
                    <a:moveTo>
                      <a:pt x="15" y="64"/>
                    </a:moveTo>
                    <a:cubicBezTo>
                      <a:pt x="15" y="65"/>
                      <a:pt x="15" y="65"/>
                      <a:pt x="15" y="65"/>
                    </a:cubicBezTo>
                    <a:cubicBezTo>
                      <a:pt x="14" y="64"/>
                      <a:pt x="13" y="64"/>
                      <a:pt x="11" y="63"/>
                    </a:cubicBezTo>
                    <a:cubicBezTo>
                      <a:pt x="11" y="62"/>
                      <a:pt x="12" y="61"/>
                      <a:pt x="12" y="60"/>
                    </a:cubicBezTo>
                    <a:cubicBezTo>
                      <a:pt x="13" y="59"/>
                      <a:pt x="14" y="58"/>
                      <a:pt x="15" y="57"/>
                    </a:cubicBezTo>
                    <a:cubicBezTo>
                      <a:pt x="16" y="57"/>
                      <a:pt x="16" y="58"/>
                      <a:pt x="17" y="58"/>
                    </a:cubicBezTo>
                    <a:cubicBezTo>
                      <a:pt x="16" y="60"/>
                      <a:pt x="16" y="62"/>
                      <a:pt x="15" y="64"/>
                    </a:cubicBezTo>
                    <a:close/>
                    <a:moveTo>
                      <a:pt x="32" y="46"/>
                    </a:moveTo>
                    <a:cubicBezTo>
                      <a:pt x="35" y="43"/>
                      <a:pt x="44" y="37"/>
                      <a:pt x="44" y="34"/>
                    </a:cubicBezTo>
                    <a:cubicBezTo>
                      <a:pt x="47" y="34"/>
                      <a:pt x="49" y="35"/>
                      <a:pt x="52" y="35"/>
                    </a:cubicBezTo>
                    <a:cubicBezTo>
                      <a:pt x="50" y="40"/>
                      <a:pt x="45" y="44"/>
                      <a:pt x="46" y="50"/>
                    </a:cubicBezTo>
                    <a:cubicBezTo>
                      <a:pt x="46" y="51"/>
                      <a:pt x="47" y="51"/>
                      <a:pt x="48" y="52"/>
                    </a:cubicBezTo>
                    <a:cubicBezTo>
                      <a:pt x="50" y="51"/>
                      <a:pt x="53" y="49"/>
                      <a:pt x="56" y="50"/>
                    </a:cubicBezTo>
                    <a:cubicBezTo>
                      <a:pt x="55" y="54"/>
                      <a:pt x="53" y="57"/>
                      <a:pt x="52" y="61"/>
                    </a:cubicBezTo>
                    <a:cubicBezTo>
                      <a:pt x="45" y="56"/>
                      <a:pt x="44" y="49"/>
                      <a:pt x="32" y="46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1049640" name="ï$ľíḍe"/>
              <p:cNvSpPr/>
              <p:nvPr/>
            </p:nvSpPr>
            <p:spPr bwMode="auto">
              <a:xfrm>
                <a:off x="2255734" y="4491628"/>
                <a:ext cx="136525" cy="174625"/>
              </a:xfrm>
              <a:custGeom>
                <a:avLst/>
                <a:gdLst>
                  <a:gd name="T0" fmla="*/ 74 w 74"/>
                  <a:gd name="T1" fmla="*/ 41 h 94"/>
                  <a:gd name="T2" fmla="*/ 64 w 74"/>
                  <a:gd name="T3" fmla="*/ 35 h 94"/>
                  <a:gd name="T4" fmla="*/ 51 w 74"/>
                  <a:gd name="T5" fmla="*/ 5 h 94"/>
                  <a:gd name="T6" fmla="*/ 58 w 74"/>
                  <a:gd name="T7" fmla="*/ 39 h 94"/>
                  <a:gd name="T8" fmla="*/ 47 w 74"/>
                  <a:gd name="T9" fmla="*/ 47 h 94"/>
                  <a:gd name="T10" fmla="*/ 55 w 74"/>
                  <a:gd name="T11" fmla="*/ 34 h 94"/>
                  <a:gd name="T12" fmla="*/ 47 w 74"/>
                  <a:gd name="T13" fmla="*/ 29 h 94"/>
                  <a:gd name="T14" fmla="*/ 54 w 74"/>
                  <a:gd name="T15" fmla="*/ 22 h 94"/>
                  <a:gd name="T16" fmla="*/ 54 w 74"/>
                  <a:gd name="T17" fmla="*/ 20 h 94"/>
                  <a:gd name="T18" fmla="*/ 54 w 74"/>
                  <a:gd name="T19" fmla="*/ 19 h 94"/>
                  <a:gd name="T20" fmla="*/ 41 w 74"/>
                  <a:gd name="T21" fmla="*/ 19 h 94"/>
                  <a:gd name="T22" fmla="*/ 44 w 74"/>
                  <a:gd name="T23" fmla="*/ 22 h 94"/>
                  <a:gd name="T24" fmla="*/ 44 w 74"/>
                  <a:gd name="T25" fmla="*/ 32 h 94"/>
                  <a:gd name="T26" fmla="*/ 48 w 74"/>
                  <a:gd name="T27" fmla="*/ 37 h 94"/>
                  <a:gd name="T28" fmla="*/ 40 w 74"/>
                  <a:gd name="T29" fmla="*/ 58 h 94"/>
                  <a:gd name="T30" fmla="*/ 44 w 74"/>
                  <a:gd name="T31" fmla="*/ 61 h 94"/>
                  <a:gd name="T32" fmla="*/ 59 w 74"/>
                  <a:gd name="T33" fmla="*/ 46 h 94"/>
                  <a:gd name="T34" fmla="*/ 59 w 74"/>
                  <a:gd name="T35" fmla="*/ 46 h 94"/>
                  <a:gd name="T36" fmla="*/ 66 w 74"/>
                  <a:gd name="T37" fmla="*/ 93 h 94"/>
                  <a:gd name="T38" fmla="*/ 68 w 74"/>
                  <a:gd name="T39" fmla="*/ 93 h 94"/>
                  <a:gd name="T40" fmla="*/ 65 w 74"/>
                  <a:gd name="T41" fmla="*/ 42 h 94"/>
                  <a:gd name="T42" fmla="*/ 73 w 74"/>
                  <a:gd name="T43" fmla="*/ 41 h 94"/>
                  <a:gd name="T44" fmla="*/ 74 w 74"/>
                  <a:gd name="T45" fmla="*/ 41 h 94"/>
                  <a:gd name="T46" fmla="*/ 43 w 74"/>
                  <a:gd name="T47" fmla="*/ 42 h 94"/>
                  <a:gd name="T48" fmla="*/ 35 w 74"/>
                  <a:gd name="T49" fmla="*/ 48 h 94"/>
                  <a:gd name="T50" fmla="*/ 39 w 74"/>
                  <a:gd name="T51" fmla="*/ 38 h 94"/>
                  <a:gd name="T52" fmla="*/ 37 w 74"/>
                  <a:gd name="T53" fmla="*/ 29 h 94"/>
                  <a:gd name="T54" fmla="*/ 40 w 74"/>
                  <a:gd name="T55" fmla="*/ 27 h 94"/>
                  <a:gd name="T56" fmla="*/ 34 w 74"/>
                  <a:gd name="T57" fmla="*/ 16 h 94"/>
                  <a:gd name="T58" fmla="*/ 32 w 74"/>
                  <a:gd name="T59" fmla="*/ 15 h 94"/>
                  <a:gd name="T60" fmla="*/ 4 w 74"/>
                  <a:gd name="T61" fmla="*/ 46 h 94"/>
                  <a:gd name="T62" fmla="*/ 30 w 74"/>
                  <a:gd name="T63" fmla="*/ 29 h 94"/>
                  <a:gd name="T64" fmla="*/ 8 w 74"/>
                  <a:gd name="T65" fmla="*/ 52 h 94"/>
                  <a:gd name="T66" fmla="*/ 0 w 74"/>
                  <a:gd name="T67" fmla="*/ 56 h 94"/>
                  <a:gd name="T68" fmla="*/ 3 w 74"/>
                  <a:gd name="T69" fmla="*/ 61 h 94"/>
                  <a:gd name="T70" fmla="*/ 23 w 74"/>
                  <a:gd name="T71" fmla="*/ 54 h 94"/>
                  <a:gd name="T72" fmla="*/ 25 w 74"/>
                  <a:gd name="T73" fmla="*/ 53 h 94"/>
                  <a:gd name="T74" fmla="*/ 25 w 74"/>
                  <a:gd name="T75" fmla="*/ 53 h 94"/>
                  <a:gd name="T76" fmla="*/ 20 w 74"/>
                  <a:gd name="T77" fmla="*/ 72 h 94"/>
                  <a:gd name="T78" fmla="*/ 25 w 74"/>
                  <a:gd name="T79" fmla="*/ 76 h 94"/>
                  <a:gd name="T80" fmla="*/ 26 w 74"/>
                  <a:gd name="T81" fmla="*/ 76 h 94"/>
                  <a:gd name="T82" fmla="*/ 30 w 74"/>
                  <a:gd name="T83" fmla="*/ 67 h 94"/>
                  <a:gd name="T84" fmla="*/ 31 w 74"/>
                  <a:gd name="T85" fmla="*/ 66 h 94"/>
                  <a:gd name="T86" fmla="*/ 32 w 74"/>
                  <a:gd name="T87" fmla="*/ 75 h 94"/>
                  <a:gd name="T88" fmla="*/ 35 w 74"/>
                  <a:gd name="T89" fmla="*/ 76 h 94"/>
                  <a:gd name="T90" fmla="*/ 38 w 74"/>
                  <a:gd name="T91" fmla="*/ 76 h 94"/>
                  <a:gd name="T92" fmla="*/ 35 w 74"/>
                  <a:gd name="T93" fmla="*/ 61 h 94"/>
                  <a:gd name="T94" fmla="*/ 43 w 74"/>
                  <a:gd name="T95" fmla="*/ 42 h 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74" h="94">
                    <a:moveTo>
                      <a:pt x="74" y="41"/>
                    </a:moveTo>
                    <a:cubicBezTo>
                      <a:pt x="73" y="36"/>
                      <a:pt x="70" y="34"/>
                      <a:pt x="64" y="35"/>
                    </a:cubicBezTo>
                    <a:cubicBezTo>
                      <a:pt x="63" y="24"/>
                      <a:pt x="67" y="0"/>
                      <a:pt x="51" y="5"/>
                    </a:cubicBezTo>
                    <a:cubicBezTo>
                      <a:pt x="50" y="9"/>
                      <a:pt x="61" y="31"/>
                      <a:pt x="58" y="39"/>
                    </a:cubicBezTo>
                    <a:cubicBezTo>
                      <a:pt x="58" y="39"/>
                      <a:pt x="47" y="47"/>
                      <a:pt x="47" y="47"/>
                    </a:cubicBezTo>
                    <a:cubicBezTo>
                      <a:pt x="48" y="41"/>
                      <a:pt x="53" y="39"/>
                      <a:pt x="55" y="34"/>
                    </a:cubicBezTo>
                    <a:cubicBezTo>
                      <a:pt x="56" y="30"/>
                      <a:pt x="49" y="31"/>
                      <a:pt x="47" y="29"/>
                    </a:cubicBezTo>
                    <a:cubicBezTo>
                      <a:pt x="48" y="26"/>
                      <a:pt x="51" y="23"/>
                      <a:pt x="54" y="22"/>
                    </a:cubicBezTo>
                    <a:cubicBezTo>
                      <a:pt x="54" y="21"/>
                      <a:pt x="54" y="21"/>
                      <a:pt x="54" y="20"/>
                    </a:cubicBezTo>
                    <a:cubicBezTo>
                      <a:pt x="54" y="20"/>
                      <a:pt x="54" y="19"/>
                      <a:pt x="54" y="19"/>
                    </a:cubicBezTo>
                    <a:cubicBezTo>
                      <a:pt x="50" y="17"/>
                      <a:pt x="45" y="17"/>
                      <a:pt x="41" y="19"/>
                    </a:cubicBezTo>
                    <a:cubicBezTo>
                      <a:pt x="41" y="22"/>
                      <a:pt x="42" y="22"/>
                      <a:pt x="44" y="22"/>
                    </a:cubicBezTo>
                    <a:cubicBezTo>
                      <a:pt x="44" y="26"/>
                      <a:pt x="44" y="29"/>
                      <a:pt x="44" y="32"/>
                    </a:cubicBezTo>
                    <a:cubicBezTo>
                      <a:pt x="45" y="34"/>
                      <a:pt x="47" y="35"/>
                      <a:pt x="48" y="37"/>
                    </a:cubicBezTo>
                    <a:cubicBezTo>
                      <a:pt x="46" y="41"/>
                      <a:pt x="35" y="51"/>
                      <a:pt x="40" y="58"/>
                    </a:cubicBezTo>
                    <a:cubicBezTo>
                      <a:pt x="41" y="60"/>
                      <a:pt x="42" y="60"/>
                      <a:pt x="44" y="61"/>
                    </a:cubicBezTo>
                    <a:cubicBezTo>
                      <a:pt x="49" y="55"/>
                      <a:pt x="51" y="50"/>
                      <a:pt x="59" y="46"/>
                    </a:cubicBezTo>
                    <a:cubicBezTo>
                      <a:pt x="59" y="46"/>
                      <a:pt x="59" y="46"/>
                      <a:pt x="59" y="46"/>
                    </a:cubicBezTo>
                    <a:cubicBezTo>
                      <a:pt x="61" y="60"/>
                      <a:pt x="59" y="83"/>
                      <a:pt x="66" y="93"/>
                    </a:cubicBezTo>
                    <a:cubicBezTo>
                      <a:pt x="67" y="94"/>
                      <a:pt x="67" y="93"/>
                      <a:pt x="68" y="93"/>
                    </a:cubicBezTo>
                    <a:cubicBezTo>
                      <a:pt x="68" y="78"/>
                      <a:pt x="67" y="60"/>
                      <a:pt x="65" y="42"/>
                    </a:cubicBezTo>
                    <a:cubicBezTo>
                      <a:pt x="68" y="42"/>
                      <a:pt x="72" y="42"/>
                      <a:pt x="73" y="41"/>
                    </a:cubicBezTo>
                    <a:cubicBezTo>
                      <a:pt x="74" y="41"/>
                      <a:pt x="74" y="41"/>
                      <a:pt x="74" y="41"/>
                    </a:cubicBezTo>
                    <a:close/>
                    <a:moveTo>
                      <a:pt x="43" y="42"/>
                    </a:moveTo>
                    <a:cubicBezTo>
                      <a:pt x="39" y="44"/>
                      <a:pt x="38" y="46"/>
                      <a:pt x="35" y="48"/>
                    </a:cubicBezTo>
                    <a:cubicBezTo>
                      <a:pt x="35" y="42"/>
                      <a:pt x="39" y="42"/>
                      <a:pt x="39" y="38"/>
                    </a:cubicBezTo>
                    <a:cubicBezTo>
                      <a:pt x="40" y="35"/>
                      <a:pt x="37" y="33"/>
                      <a:pt x="37" y="29"/>
                    </a:cubicBezTo>
                    <a:cubicBezTo>
                      <a:pt x="38" y="28"/>
                      <a:pt x="39" y="28"/>
                      <a:pt x="40" y="27"/>
                    </a:cubicBezTo>
                    <a:cubicBezTo>
                      <a:pt x="41" y="24"/>
                      <a:pt x="36" y="16"/>
                      <a:pt x="34" y="16"/>
                    </a:cubicBezTo>
                    <a:cubicBezTo>
                      <a:pt x="33" y="16"/>
                      <a:pt x="32" y="15"/>
                      <a:pt x="32" y="15"/>
                    </a:cubicBezTo>
                    <a:cubicBezTo>
                      <a:pt x="22" y="28"/>
                      <a:pt x="10" y="30"/>
                      <a:pt x="4" y="46"/>
                    </a:cubicBezTo>
                    <a:cubicBezTo>
                      <a:pt x="13" y="41"/>
                      <a:pt x="17" y="31"/>
                      <a:pt x="30" y="29"/>
                    </a:cubicBezTo>
                    <a:cubicBezTo>
                      <a:pt x="29" y="39"/>
                      <a:pt x="16" y="48"/>
                      <a:pt x="8" y="52"/>
                    </a:cubicBezTo>
                    <a:cubicBezTo>
                      <a:pt x="4" y="54"/>
                      <a:pt x="2" y="52"/>
                      <a:pt x="0" y="56"/>
                    </a:cubicBezTo>
                    <a:cubicBezTo>
                      <a:pt x="0" y="59"/>
                      <a:pt x="1" y="60"/>
                      <a:pt x="3" y="61"/>
                    </a:cubicBezTo>
                    <a:cubicBezTo>
                      <a:pt x="10" y="63"/>
                      <a:pt x="22" y="58"/>
                      <a:pt x="23" y="54"/>
                    </a:cubicBezTo>
                    <a:cubicBezTo>
                      <a:pt x="24" y="54"/>
                      <a:pt x="24" y="53"/>
                      <a:pt x="25" y="53"/>
                    </a:cubicBezTo>
                    <a:cubicBezTo>
                      <a:pt x="25" y="53"/>
                      <a:pt x="25" y="53"/>
                      <a:pt x="25" y="53"/>
                    </a:cubicBezTo>
                    <a:cubicBezTo>
                      <a:pt x="23" y="59"/>
                      <a:pt x="22" y="66"/>
                      <a:pt x="20" y="72"/>
                    </a:cubicBezTo>
                    <a:cubicBezTo>
                      <a:pt x="21" y="74"/>
                      <a:pt x="23" y="75"/>
                      <a:pt x="25" y="76"/>
                    </a:cubicBezTo>
                    <a:cubicBezTo>
                      <a:pt x="25" y="76"/>
                      <a:pt x="26" y="76"/>
                      <a:pt x="26" y="76"/>
                    </a:cubicBezTo>
                    <a:cubicBezTo>
                      <a:pt x="28" y="73"/>
                      <a:pt x="29" y="70"/>
                      <a:pt x="30" y="67"/>
                    </a:cubicBezTo>
                    <a:cubicBezTo>
                      <a:pt x="31" y="67"/>
                      <a:pt x="31" y="67"/>
                      <a:pt x="31" y="66"/>
                    </a:cubicBezTo>
                    <a:cubicBezTo>
                      <a:pt x="32" y="69"/>
                      <a:pt x="32" y="72"/>
                      <a:pt x="32" y="75"/>
                    </a:cubicBezTo>
                    <a:cubicBezTo>
                      <a:pt x="33" y="75"/>
                      <a:pt x="34" y="76"/>
                      <a:pt x="35" y="76"/>
                    </a:cubicBezTo>
                    <a:cubicBezTo>
                      <a:pt x="36" y="76"/>
                      <a:pt x="37" y="76"/>
                      <a:pt x="38" y="76"/>
                    </a:cubicBezTo>
                    <a:cubicBezTo>
                      <a:pt x="37" y="71"/>
                      <a:pt x="36" y="66"/>
                      <a:pt x="35" y="61"/>
                    </a:cubicBezTo>
                    <a:cubicBezTo>
                      <a:pt x="38" y="54"/>
                      <a:pt x="40" y="48"/>
                      <a:pt x="43" y="42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1049641" name="î$ḻîḑe"/>
              <p:cNvSpPr/>
              <p:nvPr/>
            </p:nvSpPr>
            <p:spPr bwMode="auto">
              <a:xfrm>
                <a:off x="2055709" y="4566240"/>
                <a:ext cx="136525" cy="150813"/>
              </a:xfrm>
              <a:custGeom>
                <a:avLst/>
                <a:gdLst>
                  <a:gd name="T0" fmla="*/ 55 w 74"/>
                  <a:gd name="T1" fmla="*/ 53 h 82"/>
                  <a:gd name="T2" fmla="*/ 54 w 74"/>
                  <a:gd name="T3" fmla="*/ 51 h 82"/>
                  <a:gd name="T4" fmla="*/ 57 w 74"/>
                  <a:gd name="T5" fmla="*/ 49 h 82"/>
                  <a:gd name="T6" fmla="*/ 56 w 74"/>
                  <a:gd name="T7" fmla="*/ 45 h 82"/>
                  <a:gd name="T8" fmla="*/ 52 w 74"/>
                  <a:gd name="T9" fmla="*/ 45 h 82"/>
                  <a:gd name="T10" fmla="*/ 51 w 74"/>
                  <a:gd name="T11" fmla="*/ 44 h 82"/>
                  <a:gd name="T12" fmla="*/ 60 w 74"/>
                  <a:gd name="T13" fmla="*/ 32 h 82"/>
                  <a:gd name="T14" fmla="*/ 60 w 74"/>
                  <a:gd name="T15" fmla="*/ 30 h 82"/>
                  <a:gd name="T16" fmla="*/ 34 w 74"/>
                  <a:gd name="T17" fmla="*/ 38 h 82"/>
                  <a:gd name="T18" fmla="*/ 33 w 74"/>
                  <a:gd name="T19" fmla="*/ 38 h 82"/>
                  <a:gd name="T20" fmla="*/ 60 w 74"/>
                  <a:gd name="T21" fmla="*/ 16 h 82"/>
                  <a:gd name="T22" fmla="*/ 61 w 74"/>
                  <a:gd name="T23" fmla="*/ 10 h 82"/>
                  <a:gd name="T24" fmla="*/ 42 w 74"/>
                  <a:gd name="T25" fmla="*/ 11 h 82"/>
                  <a:gd name="T26" fmla="*/ 27 w 74"/>
                  <a:gd name="T27" fmla="*/ 0 h 82"/>
                  <a:gd name="T28" fmla="*/ 24 w 74"/>
                  <a:gd name="T29" fmla="*/ 0 h 82"/>
                  <a:gd name="T30" fmla="*/ 29 w 74"/>
                  <a:gd name="T31" fmla="*/ 21 h 82"/>
                  <a:gd name="T32" fmla="*/ 11 w 74"/>
                  <a:gd name="T33" fmla="*/ 39 h 82"/>
                  <a:gd name="T34" fmla="*/ 1 w 74"/>
                  <a:gd name="T35" fmla="*/ 44 h 82"/>
                  <a:gd name="T36" fmla="*/ 0 w 74"/>
                  <a:gd name="T37" fmla="*/ 47 h 82"/>
                  <a:gd name="T38" fmla="*/ 35 w 74"/>
                  <a:gd name="T39" fmla="*/ 26 h 82"/>
                  <a:gd name="T40" fmla="*/ 35 w 74"/>
                  <a:gd name="T41" fmla="*/ 26 h 82"/>
                  <a:gd name="T42" fmla="*/ 30 w 74"/>
                  <a:gd name="T43" fmla="*/ 48 h 82"/>
                  <a:gd name="T44" fmla="*/ 40 w 74"/>
                  <a:gd name="T45" fmla="*/ 57 h 82"/>
                  <a:gd name="T46" fmla="*/ 35 w 74"/>
                  <a:gd name="T47" fmla="*/ 78 h 82"/>
                  <a:gd name="T48" fmla="*/ 45 w 74"/>
                  <a:gd name="T49" fmla="*/ 82 h 82"/>
                  <a:gd name="T50" fmla="*/ 47 w 74"/>
                  <a:gd name="T51" fmla="*/ 80 h 82"/>
                  <a:gd name="T52" fmla="*/ 46 w 74"/>
                  <a:gd name="T53" fmla="*/ 67 h 82"/>
                  <a:gd name="T54" fmla="*/ 47 w 74"/>
                  <a:gd name="T55" fmla="*/ 66 h 82"/>
                  <a:gd name="T56" fmla="*/ 50 w 74"/>
                  <a:gd name="T57" fmla="*/ 73 h 82"/>
                  <a:gd name="T58" fmla="*/ 58 w 74"/>
                  <a:gd name="T59" fmla="*/ 79 h 82"/>
                  <a:gd name="T60" fmla="*/ 59 w 74"/>
                  <a:gd name="T61" fmla="*/ 79 h 82"/>
                  <a:gd name="T62" fmla="*/ 53 w 74"/>
                  <a:gd name="T63" fmla="*/ 57 h 82"/>
                  <a:gd name="T64" fmla="*/ 56 w 74"/>
                  <a:gd name="T65" fmla="*/ 55 h 82"/>
                  <a:gd name="T66" fmla="*/ 56 w 74"/>
                  <a:gd name="T67" fmla="*/ 55 h 82"/>
                  <a:gd name="T68" fmla="*/ 69 w 74"/>
                  <a:gd name="T69" fmla="*/ 69 h 82"/>
                  <a:gd name="T70" fmla="*/ 74 w 74"/>
                  <a:gd name="T71" fmla="*/ 64 h 82"/>
                  <a:gd name="T72" fmla="*/ 55 w 74"/>
                  <a:gd name="T73" fmla="*/ 53 h 82"/>
                  <a:gd name="T74" fmla="*/ 40 w 74"/>
                  <a:gd name="T75" fmla="*/ 46 h 82"/>
                  <a:gd name="T76" fmla="*/ 39 w 74"/>
                  <a:gd name="T77" fmla="*/ 46 h 82"/>
                  <a:gd name="T78" fmla="*/ 38 w 74"/>
                  <a:gd name="T79" fmla="*/ 46 h 82"/>
                  <a:gd name="T80" fmla="*/ 37 w 74"/>
                  <a:gd name="T81" fmla="*/ 44 h 82"/>
                  <a:gd name="T82" fmla="*/ 44 w 74"/>
                  <a:gd name="T83" fmla="*/ 36 h 82"/>
                  <a:gd name="T84" fmla="*/ 46 w 74"/>
                  <a:gd name="T85" fmla="*/ 35 h 82"/>
                  <a:gd name="T86" fmla="*/ 46 w 74"/>
                  <a:gd name="T87" fmla="*/ 35 h 82"/>
                  <a:gd name="T88" fmla="*/ 40 w 74"/>
                  <a:gd name="T89" fmla="*/ 46 h 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74" h="82">
                    <a:moveTo>
                      <a:pt x="55" y="53"/>
                    </a:moveTo>
                    <a:cubicBezTo>
                      <a:pt x="55" y="53"/>
                      <a:pt x="54" y="52"/>
                      <a:pt x="54" y="51"/>
                    </a:cubicBezTo>
                    <a:cubicBezTo>
                      <a:pt x="55" y="51"/>
                      <a:pt x="56" y="50"/>
                      <a:pt x="57" y="49"/>
                    </a:cubicBezTo>
                    <a:cubicBezTo>
                      <a:pt x="57" y="48"/>
                      <a:pt x="56" y="47"/>
                      <a:pt x="56" y="45"/>
                    </a:cubicBezTo>
                    <a:cubicBezTo>
                      <a:pt x="54" y="45"/>
                      <a:pt x="53" y="45"/>
                      <a:pt x="52" y="45"/>
                    </a:cubicBezTo>
                    <a:cubicBezTo>
                      <a:pt x="51" y="45"/>
                      <a:pt x="51" y="44"/>
                      <a:pt x="51" y="44"/>
                    </a:cubicBezTo>
                    <a:cubicBezTo>
                      <a:pt x="53" y="40"/>
                      <a:pt x="59" y="36"/>
                      <a:pt x="60" y="32"/>
                    </a:cubicBezTo>
                    <a:cubicBezTo>
                      <a:pt x="60" y="31"/>
                      <a:pt x="60" y="31"/>
                      <a:pt x="60" y="30"/>
                    </a:cubicBezTo>
                    <a:cubicBezTo>
                      <a:pt x="50" y="21"/>
                      <a:pt x="41" y="31"/>
                      <a:pt x="34" y="38"/>
                    </a:cubicBezTo>
                    <a:cubicBezTo>
                      <a:pt x="33" y="38"/>
                      <a:pt x="33" y="38"/>
                      <a:pt x="33" y="38"/>
                    </a:cubicBezTo>
                    <a:cubicBezTo>
                      <a:pt x="34" y="30"/>
                      <a:pt x="48" y="16"/>
                      <a:pt x="60" y="16"/>
                    </a:cubicBezTo>
                    <a:cubicBezTo>
                      <a:pt x="61" y="14"/>
                      <a:pt x="61" y="12"/>
                      <a:pt x="61" y="10"/>
                    </a:cubicBezTo>
                    <a:cubicBezTo>
                      <a:pt x="50" y="3"/>
                      <a:pt x="52" y="11"/>
                      <a:pt x="42" y="11"/>
                    </a:cubicBezTo>
                    <a:cubicBezTo>
                      <a:pt x="38" y="10"/>
                      <a:pt x="32" y="1"/>
                      <a:pt x="27" y="0"/>
                    </a:cubicBezTo>
                    <a:cubicBezTo>
                      <a:pt x="26" y="0"/>
                      <a:pt x="25" y="0"/>
                      <a:pt x="24" y="0"/>
                    </a:cubicBezTo>
                    <a:cubicBezTo>
                      <a:pt x="21" y="5"/>
                      <a:pt x="30" y="14"/>
                      <a:pt x="29" y="21"/>
                    </a:cubicBezTo>
                    <a:cubicBezTo>
                      <a:pt x="19" y="27"/>
                      <a:pt x="17" y="33"/>
                      <a:pt x="11" y="39"/>
                    </a:cubicBezTo>
                    <a:cubicBezTo>
                      <a:pt x="8" y="42"/>
                      <a:pt x="4" y="42"/>
                      <a:pt x="1" y="44"/>
                    </a:cubicBezTo>
                    <a:cubicBezTo>
                      <a:pt x="1" y="45"/>
                      <a:pt x="0" y="46"/>
                      <a:pt x="0" y="47"/>
                    </a:cubicBezTo>
                    <a:cubicBezTo>
                      <a:pt x="11" y="69"/>
                      <a:pt x="23" y="30"/>
                      <a:pt x="35" y="26"/>
                    </a:cubicBezTo>
                    <a:cubicBezTo>
                      <a:pt x="35" y="26"/>
                      <a:pt x="35" y="26"/>
                      <a:pt x="35" y="26"/>
                    </a:cubicBezTo>
                    <a:cubicBezTo>
                      <a:pt x="33" y="33"/>
                      <a:pt x="28" y="39"/>
                      <a:pt x="30" y="48"/>
                    </a:cubicBezTo>
                    <a:cubicBezTo>
                      <a:pt x="30" y="51"/>
                      <a:pt x="37" y="56"/>
                      <a:pt x="40" y="57"/>
                    </a:cubicBezTo>
                    <a:cubicBezTo>
                      <a:pt x="37" y="64"/>
                      <a:pt x="32" y="69"/>
                      <a:pt x="35" y="78"/>
                    </a:cubicBezTo>
                    <a:cubicBezTo>
                      <a:pt x="39" y="79"/>
                      <a:pt x="42" y="80"/>
                      <a:pt x="45" y="82"/>
                    </a:cubicBezTo>
                    <a:cubicBezTo>
                      <a:pt x="46" y="81"/>
                      <a:pt x="46" y="81"/>
                      <a:pt x="47" y="80"/>
                    </a:cubicBezTo>
                    <a:cubicBezTo>
                      <a:pt x="49" y="77"/>
                      <a:pt x="45" y="70"/>
                      <a:pt x="46" y="67"/>
                    </a:cubicBezTo>
                    <a:cubicBezTo>
                      <a:pt x="46" y="66"/>
                      <a:pt x="46" y="66"/>
                      <a:pt x="47" y="66"/>
                    </a:cubicBezTo>
                    <a:cubicBezTo>
                      <a:pt x="48" y="67"/>
                      <a:pt x="49" y="71"/>
                      <a:pt x="50" y="73"/>
                    </a:cubicBezTo>
                    <a:cubicBezTo>
                      <a:pt x="52" y="76"/>
                      <a:pt x="55" y="77"/>
                      <a:pt x="58" y="79"/>
                    </a:cubicBezTo>
                    <a:cubicBezTo>
                      <a:pt x="58" y="79"/>
                      <a:pt x="58" y="79"/>
                      <a:pt x="59" y="79"/>
                    </a:cubicBezTo>
                    <a:cubicBezTo>
                      <a:pt x="60" y="72"/>
                      <a:pt x="53" y="64"/>
                      <a:pt x="53" y="57"/>
                    </a:cubicBezTo>
                    <a:cubicBezTo>
                      <a:pt x="54" y="56"/>
                      <a:pt x="55" y="56"/>
                      <a:pt x="56" y="55"/>
                    </a:cubicBezTo>
                    <a:cubicBezTo>
                      <a:pt x="56" y="55"/>
                      <a:pt x="56" y="55"/>
                      <a:pt x="56" y="55"/>
                    </a:cubicBezTo>
                    <a:cubicBezTo>
                      <a:pt x="63" y="60"/>
                      <a:pt x="59" y="67"/>
                      <a:pt x="69" y="69"/>
                    </a:cubicBezTo>
                    <a:cubicBezTo>
                      <a:pt x="71" y="67"/>
                      <a:pt x="72" y="66"/>
                      <a:pt x="74" y="64"/>
                    </a:cubicBezTo>
                    <a:cubicBezTo>
                      <a:pt x="71" y="56"/>
                      <a:pt x="63" y="51"/>
                      <a:pt x="55" y="53"/>
                    </a:cubicBezTo>
                    <a:close/>
                    <a:moveTo>
                      <a:pt x="40" y="46"/>
                    </a:moveTo>
                    <a:cubicBezTo>
                      <a:pt x="40" y="46"/>
                      <a:pt x="39" y="46"/>
                      <a:pt x="39" y="46"/>
                    </a:cubicBezTo>
                    <a:cubicBezTo>
                      <a:pt x="38" y="46"/>
                      <a:pt x="38" y="46"/>
                      <a:pt x="38" y="46"/>
                    </a:cubicBezTo>
                    <a:cubicBezTo>
                      <a:pt x="38" y="45"/>
                      <a:pt x="37" y="45"/>
                      <a:pt x="37" y="44"/>
                    </a:cubicBezTo>
                    <a:cubicBezTo>
                      <a:pt x="39" y="41"/>
                      <a:pt x="42" y="39"/>
                      <a:pt x="44" y="36"/>
                    </a:cubicBezTo>
                    <a:cubicBezTo>
                      <a:pt x="45" y="36"/>
                      <a:pt x="45" y="35"/>
                      <a:pt x="46" y="35"/>
                    </a:cubicBezTo>
                    <a:cubicBezTo>
                      <a:pt x="46" y="35"/>
                      <a:pt x="46" y="35"/>
                      <a:pt x="46" y="35"/>
                    </a:cubicBezTo>
                    <a:cubicBezTo>
                      <a:pt x="44" y="39"/>
                      <a:pt x="42" y="42"/>
                      <a:pt x="40" y="46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1049642" name="ïşḻíḍe"/>
              <p:cNvSpPr/>
              <p:nvPr/>
            </p:nvSpPr>
            <p:spPr bwMode="auto">
              <a:xfrm>
                <a:off x="1882672" y="4669428"/>
                <a:ext cx="160338" cy="169863"/>
              </a:xfrm>
              <a:custGeom>
                <a:avLst/>
                <a:gdLst>
                  <a:gd name="T0" fmla="*/ 29 w 87"/>
                  <a:gd name="T1" fmla="*/ 8 h 92"/>
                  <a:gd name="T2" fmla="*/ 52 w 87"/>
                  <a:gd name="T3" fmla="*/ 17 h 92"/>
                  <a:gd name="T4" fmla="*/ 61 w 87"/>
                  <a:gd name="T5" fmla="*/ 16 h 92"/>
                  <a:gd name="T6" fmla="*/ 62 w 87"/>
                  <a:gd name="T7" fmla="*/ 17 h 92"/>
                  <a:gd name="T8" fmla="*/ 69 w 87"/>
                  <a:gd name="T9" fmla="*/ 42 h 92"/>
                  <a:gd name="T10" fmla="*/ 86 w 87"/>
                  <a:gd name="T11" fmla="*/ 35 h 92"/>
                  <a:gd name="T12" fmla="*/ 87 w 87"/>
                  <a:gd name="T13" fmla="*/ 39 h 92"/>
                  <a:gd name="T14" fmla="*/ 76 w 87"/>
                  <a:gd name="T15" fmla="*/ 55 h 92"/>
                  <a:gd name="T16" fmla="*/ 67 w 87"/>
                  <a:gd name="T17" fmla="*/ 76 h 92"/>
                  <a:gd name="T18" fmla="*/ 65 w 87"/>
                  <a:gd name="T19" fmla="*/ 74 h 92"/>
                  <a:gd name="T20" fmla="*/ 69 w 87"/>
                  <a:gd name="T21" fmla="*/ 53 h 92"/>
                  <a:gd name="T22" fmla="*/ 55 w 87"/>
                  <a:gd name="T23" fmla="*/ 40 h 92"/>
                  <a:gd name="T24" fmla="*/ 45 w 87"/>
                  <a:gd name="T25" fmla="*/ 44 h 92"/>
                  <a:gd name="T26" fmla="*/ 46 w 87"/>
                  <a:gd name="T27" fmla="*/ 89 h 92"/>
                  <a:gd name="T28" fmla="*/ 38 w 87"/>
                  <a:gd name="T29" fmla="*/ 92 h 92"/>
                  <a:gd name="T30" fmla="*/ 27 w 87"/>
                  <a:gd name="T31" fmla="*/ 68 h 92"/>
                  <a:gd name="T32" fmla="*/ 14 w 87"/>
                  <a:gd name="T33" fmla="*/ 70 h 92"/>
                  <a:gd name="T34" fmla="*/ 12 w 87"/>
                  <a:gd name="T35" fmla="*/ 65 h 92"/>
                  <a:gd name="T36" fmla="*/ 18 w 87"/>
                  <a:gd name="T37" fmla="*/ 58 h 92"/>
                  <a:gd name="T38" fmla="*/ 0 w 87"/>
                  <a:gd name="T39" fmla="*/ 42 h 92"/>
                  <a:gd name="T40" fmla="*/ 0 w 87"/>
                  <a:gd name="T41" fmla="*/ 42 h 92"/>
                  <a:gd name="T42" fmla="*/ 21 w 87"/>
                  <a:gd name="T43" fmla="*/ 39 h 92"/>
                  <a:gd name="T44" fmla="*/ 27 w 87"/>
                  <a:gd name="T45" fmla="*/ 48 h 92"/>
                  <a:gd name="T46" fmla="*/ 34 w 87"/>
                  <a:gd name="T47" fmla="*/ 52 h 92"/>
                  <a:gd name="T48" fmla="*/ 36 w 87"/>
                  <a:gd name="T49" fmla="*/ 62 h 92"/>
                  <a:gd name="T50" fmla="*/ 39 w 87"/>
                  <a:gd name="T51" fmla="*/ 44 h 92"/>
                  <a:gd name="T52" fmla="*/ 46 w 87"/>
                  <a:gd name="T53" fmla="*/ 28 h 92"/>
                  <a:gd name="T54" fmla="*/ 29 w 87"/>
                  <a:gd name="T55" fmla="*/ 8 h 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87" h="92">
                    <a:moveTo>
                      <a:pt x="29" y="8"/>
                    </a:moveTo>
                    <a:cubicBezTo>
                      <a:pt x="42" y="0"/>
                      <a:pt x="43" y="12"/>
                      <a:pt x="52" y="17"/>
                    </a:cubicBezTo>
                    <a:cubicBezTo>
                      <a:pt x="55" y="15"/>
                      <a:pt x="58" y="15"/>
                      <a:pt x="61" y="16"/>
                    </a:cubicBezTo>
                    <a:cubicBezTo>
                      <a:pt x="61" y="16"/>
                      <a:pt x="62" y="17"/>
                      <a:pt x="62" y="17"/>
                    </a:cubicBezTo>
                    <a:cubicBezTo>
                      <a:pt x="62" y="26"/>
                      <a:pt x="58" y="33"/>
                      <a:pt x="69" y="42"/>
                    </a:cubicBezTo>
                    <a:cubicBezTo>
                      <a:pt x="75" y="35"/>
                      <a:pt x="80" y="33"/>
                      <a:pt x="86" y="35"/>
                    </a:cubicBezTo>
                    <a:cubicBezTo>
                      <a:pt x="87" y="36"/>
                      <a:pt x="87" y="38"/>
                      <a:pt x="87" y="39"/>
                    </a:cubicBezTo>
                    <a:cubicBezTo>
                      <a:pt x="83" y="45"/>
                      <a:pt x="80" y="50"/>
                      <a:pt x="76" y="55"/>
                    </a:cubicBezTo>
                    <a:cubicBezTo>
                      <a:pt x="71" y="62"/>
                      <a:pt x="71" y="70"/>
                      <a:pt x="67" y="76"/>
                    </a:cubicBezTo>
                    <a:cubicBezTo>
                      <a:pt x="66" y="75"/>
                      <a:pt x="66" y="75"/>
                      <a:pt x="65" y="74"/>
                    </a:cubicBezTo>
                    <a:cubicBezTo>
                      <a:pt x="63" y="66"/>
                      <a:pt x="67" y="60"/>
                      <a:pt x="69" y="53"/>
                    </a:cubicBezTo>
                    <a:cubicBezTo>
                      <a:pt x="64" y="51"/>
                      <a:pt x="60" y="46"/>
                      <a:pt x="55" y="40"/>
                    </a:cubicBezTo>
                    <a:cubicBezTo>
                      <a:pt x="52" y="42"/>
                      <a:pt x="49" y="41"/>
                      <a:pt x="45" y="44"/>
                    </a:cubicBezTo>
                    <a:cubicBezTo>
                      <a:pt x="40" y="59"/>
                      <a:pt x="48" y="75"/>
                      <a:pt x="46" y="89"/>
                    </a:cubicBezTo>
                    <a:cubicBezTo>
                      <a:pt x="43" y="92"/>
                      <a:pt x="41" y="91"/>
                      <a:pt x="38" y="92"/>
                    </a:cubicBezTo>
                    <a:cubicBezTo>
                      <a:pt x="31" y="83"/>
                      <a:pt x="33" y="76"/>
                      <a:pt x="27" y="68"/>
                    </a:cubicBezTo>
                    <a:cubicBezTo>
                      <a:pt x="23" y="71"/>
                      <a:pt x="18" y="71"/>
                      <a:pt x="14" y="70"/>
                    </a:cubicBezTo>
                    <a:cubicBezTo>
                      <a:pt x="12" y="68"/>
                      <a:pt x="12" y="67"/>
                      <a:pt x="12" y="65"/>
                    </a:cubicBezTo>
                    <a:cubicBezTo>
                      <a:pt x="14" y="63"/>
                      <a:pt x="16" y="60"/>
                      <a:pt x="18" y="58"/>
                    </a:cubicBezTo>
                    <a:cubicBezTo>
                      <a:pt x="13" y="49"/>
                      <a:pt x="3" y="48"/>
                      <a:pt x="0" y="42"/>
                    </a:cubicBezTo>
                    <a:cubicBezTo>
                      <a:pt x="0" y="42"/>
                      <a:pt x="0" y="42"/>
                      <a:pt x="0" y="42"/>
                    </a:cubicBezTo>
                    <a:cubicBezTo>
                      <a:pt x="6" y="39"/>
                      <a:pt x="15" y="35"/>
                      <a:pt x="21" y="39"/>
                    </a:cubicBezTo>
                    <a:cubicBezTo>
                      <a:pt x="23" y="42"/>
                      <a:pt x="25" y="45"/>
                      <a:pt x="27" y="48"/>
                    </a:cubicBezTo>
                    <a:cubicBezTo>
                      <a:pt x="29" y="50"/>
                      <a:pt x="31" y="51"/>
                      <a:pt x="34" y="52"/>
                    </a:cubicBezTo>
                    <a:cubicBezTo>
                      <a:pt x="34" y="55"/>
                      <a:pt x="35" y="58"/>
                      <a:pt x="36" y="62"/>
                    </a:cubicBezTo>
                    <a:cubicBezTo>
                      <a:pt x="39" y="56"/>
                      <a:pt x="38" y="50"/>
                      <a:pt x="39" y="44"/>
                    </a:cubicBezTo>
                    <a:cubicBezTo>
                      <a:pt x="42" y="39"/>
                      <a:pt x="44" y="34"/>
                      <a:pt x="46" y="28"/>
                    </a:cubicBezTo>
                    <a:cubicBezTo>
                      <a:pt x="42" y="22"/>
                      <a:pt x="31" y="15"/>
                      <a:pt x="29" y="8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1049643" name="íṩľíḑè"/>
              <p:cNvSpPr/>
              <p:nvPr/>
            </p:nvSpPr>
            <p:spPr bwMode="auto">
              <a:xfrm>
                <a:off x="2243034" y="6066428"/>
                <a:ext cx="22225" cy="25400"/>
              </a:xfrm>
              <a:custGeom>
                <a:avLst/>
                <a:gdLst>
                  <a:gd name="T0" fmla="*/ 0 w 14"/>
                  <a:gd name="T1" fmla="*/ 12 h 16"/>
                  <a:gd name="T2" fmla="*/ 2 w 14"/>
                  <a:gd name="T3" fmla="*/ 0 h 16"/>
                  <a:gd name="T4" fmla="*/ 14 w 14"/>
                  <a:gd name="T5" fmla="*/ 4 h 16"/>
                  <a:gd name="T6" fmla="*/ 11 w 14"/>
                  <a:gd name="T7" fmla="*/ 16 h 16"/>
                  <a:gd name="T8" fmla="*/ 0 w 14"/>
                  <a:gd name="T9" fmla="*/ 12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4" h="16">
                    <a:moveTo>
                      <a:pt x="0" y="12"/>
                    </a:moveTo>
                    <a:lnTo>
                      <a:pt x="2" y="0"/>
                    </a:lnTo>
                    <a:lnTo>
                      <a:pt x="14" y="4"/>
                    </a:lnTo>
                    <a:lnTo>
                      <a:pt x="11" y="16"/>
                    </a:lnTo>
                    <a:lnTo>
                      <a:pt x="0" y="12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1049644" name="îṣḷïḓê"/>
              <p:cNvSpPr/>
              <p:nvPr/>
            </p:nvSpPr>
            <p:spPr bwMode="auto">
              <a:xfrm>
                <a:off x="2292247" y="6042615"/>
                <a:ext cx="49213" cy="100013"/>
              </a:xfrm>
              <a:custGeom>
                <a:avLst/>
                <a:gdLst>
                  <a:gd name="T0" fmla="*/ 17 w 27"/>
                  <a:gd name="T1" fmla="*/ 54 h 54"/>
                  <a:gd name="T2" fmla="*/ 7 w 27"/>
                  <a:gd name="T3" fmla="*/ 52 h 54"/>
                  <a:gd name="T4" fmla="*/ 14 w 27"/>
                  <a:gd name="T5" fmla="*/ 15 h 54"/>
                  <a:gd name="T6" fmla="*/ 0 w 27"/>
                  <a:gd name="T7" fmla="*/ 20 h 54"/>
                  <a:gd name="T8" fmla="*/ 1 w 27"/>
                  <a:gd name="T9" fmla="*/ 11 h 54"/>
                  <a:gd name="T10" fmla="*/ 11 w 27"/>
                  <a:gd name="T11" fmla="*/ 7 h 54"/>
                  <a:gd name="T12" fmla="*/ 18 w 27"/>
                  <a:gd name="T13" fmla="*/ 0 h 54"/>
                  <a:gd name="T14" fmla="*/ 27 w 27"/>
                  <a:gd name="T15" fmla="*/ 2 h 54"/>
                  <a:gd name="T16" fmla="*/ 17 w 27"/>
                  <a:gd name="T17" fmla="*/ 54 h 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7" h="54">
                    <a:moveTo>
                      <a:pt x="17" y="54"/>
                    </a:moveTo>
                    <a:cubicBezTo>
                      <a:pt x="7" y="52"/>
                      <a:pt x="7" y="52"/>
                      <a:pt x="7" y="52"/>
                    </a:cubicBezTo>
                    <a:cubicBezTo>
                      <a:pt x="14" y="15"/>
                      <a:pt x="14" y="15"/>
                      <a:pt x="14" y="15"/>
                    </a:cubicBezTo>
                    <a:cubicBezTo>
                      <a:pt x="10" y="17"/>
                      <a:pt x="5" y="19"/>
                      <a:pt x="0" y="20"/>
                    </a:cubicBezTo>
                    <a:cubicBezTo>
                      <a:pt x="1" y="11"/>
                      <a:pt x="1" y="11"/>
                      <a:pt x="1" y="11"/>
                    </a:cubicBezTo>
                    <a:cubicBezTo>
                      <a:pt x="4" y="10"/>
                      <a:pt x="7" y="9"/>
                      <a:pt x="11" y="7"/>
                    </a:cubicBezTo>
                    <a:cubicBezTo>
                      <a:pt x="14" y="6"/>
                      <a:pt x="17" y="3"/>
                      <a:pt x="18" y="0"/>
                    </a:cubicBezTo>
                    <a:cubicBezTo>
                      <a:pt x="27" y="2"/>
                      <a:pt x="27" y="2"/>
                      <a:pt x="27" y="2"/>
                    </a:cubicBezTo>
                    <a:lnTo>
                      <a:pt x="17" y="54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1049645" name="i$ḻîḓé"/>
              <p:cNvSpPr/>
              <p:nvPr/>
            </p:nvSpPr>
            <p:spPr bwMode="auto">
              <a:xfrm>
                <a:off x="2363684" y="6052140"/>
                <a:ext cx="66675" cy="100013"/>
              </a:xfrm>
              <a:custGeom>
                <a:avLst/>
                <a:gdLst>
                  <a:gd name="T0" fmla="*/ 0 w 36"/>
                  <a:gd name="T1" fmla="*/ 40 h 54"/>
                  <a:gd name="T2" fmla="*/ 10 w 36"/>
                  <a:gd name="T3" fmla="*/ 39 h 54"/>
                  <a:gd name="T4" fmla="*/ 11 w 36"/>
                  <a:gd name="T5" fmla="*/ 44 h 54"/>
                  <a:gd name="T6" fmla="*/ 15 w 36"/>
                  <a:gd name="T7" fmla="*/ 46 h 54"/>
                  <a:gd name="T8" fmla="*/ 21 w 36"/>
                  <a:gd name="T9" fmla="*/ 43 h 54"/>
                  <a:gd name="T10" fmla="*/ 24 w 36"/>
                  <a:gd name="T11" fmla="*/ 31 h 54"/>
                  <a:gd name="T12" fmla="*/ 15 w 36"/>
                  <a:gd name="T13" fmla="*/ 35 h 54"/>
                  <a:gd name="T14" fmla="*/ 4 w 36"/>
                  <a:gd name="T15" fmla="*/ 30 h 54"/>
                  <a:gd name="T16" fmla="*/ 0 w 36"/>
                  <a:gd name="T17" fmla="*/ 17 h 54"/>
                  <a:gd name="T18" fmla="*/ 6 w 36"/>
                  <a:gd name="T19" fmla="*/ 4 h 54"/>
                  <a:gd name="T20" fmla="*/ 19 w 36"/>
                  <a:gd name="T21" fmla="*/ 0 h 54"/>
                  <a:gd name="T22" fmla="*/ 31 w 36"/>
                  <a:gd name="T23" fmla="*/ 7 h 54"/>
                  <a:gd name="T24" fmla="*/ 35 w 36"/>
                  <a:gd name="T25" fmla="*/ 28 h 54"/>
                  <a:gd name="T26" fmla="*/ 28 w 36"/>
                  <a:gd name="T27" fmla="*/ 49 h 54"/>
                  <a:gd name="T28" fmla="*/ 14 w 36"/>
                  <a:gd name="T29" fmla="*/ 54 h 54"/>
                  <a:gd name="T30" fmla="*/ 4 w 36"/>
                  <a:gd name="T31" fmla="*/ 50 h 54"/>
                  <a:gd name="T32" fmla="*/ 0 w 36"/>
                  <a:gd name="T33" fmla="*/ 40 h 54"/>
                  <a:gd name="T34" fmla="*/ 24 w 36"/>
                  <a:gd name="T35" fmla="*/ 19 h 54"/>
                  <a:gd name="T36" fmla="*/ 23 w 36"/>
                  <a:gd name="T37" fmla="*/ 11 h 54"/>
                  <a:gd name="T38" fmla="*/ 18 w 36"/>
                  <a:gd name="T39" fmla="*/ 8 h 54"/>
                  <a:gd name="T40" fmla="*/ 13 w 36"/>
                  <a:gd name="T41" fmla="*/ 10 h 54"/>
                  <a:gd name="T42" fmla="*/ 10 w 36"/>
                  <a:gd name="T43" fmla="*/ 17 h 54"/>
                  <a:gd name="T44" fmla="*/ 12 w 36"/>
                  <a:gd name="T45" fmla="*/ 25 h 54"/>
                  <a:gd name="T46" fmla="*/ 17 w 36"/>
                  <a:gd name="T47" fmla="*/ 28 h 54"/>
                  <a:gd name="T48" fmla="*/ 22 w 36"/>
                  <a:gd name="T49" fmla="*/ 26 h 54"/>
                  <a:gd name="T50" fmla="*/ 24 w 36"/>
                  <a:gd name="T51" fmla="*/ 19 h 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6" h="54">
                    <a:moveTo>
                      <a:pt x="0" y="40"/>
                    </a:moveTo>
                    <a:cubicBezTo>
                      <a:pt x="10" y="39"/>
                      <a:pt x="10" y="39"/>
                      <a:pt x="10" y="39"/>
                    </a:cubicBezTo>
                    <a:cubicBezTo>
                      <a:pt x="10" y="41"/>
                      <a:pt x="10" y="43"/>
                      <a:pt x="11" y="44"/>
                    </a:cubicBezTo>
                    <a:cubicBezTo>
                      <a:pt x="12" y="45"/>
                      <a:pt x="14" y="46"/>
                      <a:pt x="15" y="46"/>
                    </a:cubicBezTo>
                    <a:cubicBezTo>
                      <a:pt x="17" y="46"/>
                      <a:pt x="19" y="45"/>
                      <a:pt x="21" y="43"/>
                    </a:cubicBezTo>
                    <a:cubicBezTo>
                      <a:pt x="22" y="41"/>
                      <a:pt x="24" y="37"/>
                      <a:pt x="24" y="31"/>
                    </a:cubicBezTo>
                    <a:cubicBezTo>
                      <a:pt x="22" y="34"/>
                      <a:pt x="18" y="35"/>
                      <a:pt x="15" y="35"/>
                    </a:cubicBezTo>
                    <a:cubicBezTo>
                      <a:pt x="10" y="35"/>
                      <a:pt x="7" y="33"/>
                      <a:pt x="4" y="30"/>
                    </a:cubicBezTo>
                    <a:cubicBezTo>
                      <a:pt x="1" y="26"/>
                      <a:pt x="0" y="22"/>
                      <a:pt x="0" y="17"/>
                    </a:cubicBezTo>
                    <a:cubicBezTo>
                      <a:pt x="1" y="11"/>
                      <a:pt x="3" y="7"/>
                      <a:pt x="6" y="4"/>
                    </a:cubicBezTo>
                    <a:cubicBezTo>
                      <a:pt x="10" y="1"/>
                      <a:pt x="14" y="0"/>
                      <a:pt x="19" y="0"/>
                    </a:cubicBezTo>
                    <a:cubicBezTo>
                      <a:pt x="24" y="0"/>
                      <a:pt x="28" y="3"/>
                      <a:pt x="31" y="7"/>
                    </a:cubicBezTo>
                    <a:cubicBezTo>
                      <a:pt x="35" y="12"/>
                      <a:pt x="36" y="19"/>
                      <a:pt x="35" y="28"/>
                    </a:cubicBezTo>
                    <a:cubicBezTo>
                      <a:pt x="34" y="38"/>
                      <a:pt x="32" y="44"/>
                      <a:pt x="28" y="49"/>
                    </a:cubicBezTo>
                    <a:cubicBezTo>
                      <a:pt x="24" y="53"/>
                      <a:pt x="20" y="54"/>
                      <a:pt x="14" y="54"/>
                    </a:cubicBezTo>
                    <a:cubicBezTo>
                      <a:pt x="10" y="54"/>
                      <a:pt x="7" y="52"/>
                      <a:pt x="4" y="50"/>
                    </a:cubicBezTo>
                    <a:cubicBezTo>
                      <a:pt x="2" y="48"/>
                      <a:pt x="0" y="44"/>
                      <a:pt x="0" y="40"/>
                    </a:cubicBezTo>
                    <a:close/>
                    <a:moveTo>
                      <a:pt x="24" y="19"/>
                    </a:moveTo>
                    <a:cubicBezTo>
                      <a:pt x="25" y="16"/>
                      <a:pt x="24" y="13"/>
                      <a:pt x="23" y="11"/>
                    </a:cubicBezTo>
                    <a:cubicBezTo>
                      <a:pt x="21" y="10"/>
                      <a:pt x="20" y="9"/>
                      <a:pt x="18" y="8"/>
                    </a:cubicBezTo>
                    <a:cubicBezTo>
                      <a:pt x="16" y="8"/>
                      <a:pt x="14" y="9"/>
                      <a:pt x="13" y="10"/>
                    </a:cubicBezTo>
                    <a:cubicBezTo>
                      <a:pt x="11" y="12"/>
                      <a:pt x="11" y="14"/>
                      <a:pt x="10" y="17"/>
                    </a:cubicBezTo>
                    <a:cubicBezTo>
                      <a:pt x="10" y="21"/>
                      <a:pt x="11" y="23"/>
                      <a:pt x="12" y="25"/>
                    </a:cubicBezTo>
                    <a:cubicBezTo>
                      <a:pt x="13" y="27"/>
                      <a:pt x="15" y="28"/>
                      <a:pt x="17" y="28"/>
                    </a:cubicBezTo>
                    <a:cubicBezTo>
                      <a:pt x="19" y="28"/>
                      <a:pt x="20" y="27"/>
                      <a:pt x="22" y="26"/>
                    </a:cubicBezTo>
                    <a:cubicBezTo>
                      <a:pt x="23" y="24"/>
                      <a:pt x="24" y="22"/>
                      <a:pt x="24" y="1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1049646" name="îṧľîḋé"/>
              <p:cNvSpPr/>
              <p:nvPr/>
            </p:nvSpPr>
            <p:spPr bwMode="auto">
              <a:xfrm>
                <a:off x="2446234" y="6053728"/>
                <a:ext cx="66675" cy="100013"/>
              </a:xfrm>
              <a:custGeom>
                <a:avLst/>
                <a:gdLst>
                  <a:gd name="T0" fmla="*/ 0 w 36"/>
                  <a:gd name="T1" fmla="*/ 40 h 54"/>
                  <a:gd name="T2" fmla="*/ 10 w 36"/>
                  <a:gd name="T3" fmla="*/ 39 h 54"/>
                  <a:gd name="T4" fmla="*/ 13 w 36"/>
                  <a:gd name="T5" fmla="*/ 44 h 54"/>
                  <a:gd name="T6" fmla="*/ 18 w 36"/>
                  <a:gd name="T7" fmla="*/ 46 h 54"/>
                  <a:gd name="T8" fmla="*/ 23 w 36"/>
                  <a:gd name="T9" fmla="*/ 43 h 54"/>
                  <a:gd name="T10" fmla="*/ 25 w 36"/>
                  <a:gd name="T11" fmla="*/ 35 h 54"/>
                  <a:gd name="T12" fmla="*/ 23 w 36"/>
                  <a:gd name="T13" fmla="*/ 28 h 54"/>
                  <a:gd name="T14" fmla="*/ 17 w 36"/>
                  <a:gd name="T15" fmla="*/ 26 h 54"/>
                  <a:gd name="T16" fmla="*/ 9 w 36"/>
                  <a:gd name="T17" fmla="*/ 30 h 54"/>
                  <a:gd name="T18" fmla="*/ 1 w 36"/>
                  <a:gd name="T19" fmla="*/ 29 h 54"/>
                  <a:gd name="T20" fmla="*/ 5 w 36"/>
                  <a:gd name="T21" fmla="*/ 1 h 54"/>
                  <a:gd name="T22" fmla="*/ 32 w 36"/>
                  <a:gd name="T23" fmla="*/ 0 h 54"/>
                  <a:gd name="T24" fmla="*/ 32 w 36"/>
                  <a:gd name="T25" fmla="*/ 10 h 54"/>
                  <a:gd name="T26" fmla="*/ 13 w 36"/>
                  <a:gd name="T27" fmla="*/ 10 h 54"/>
                  <a:gd name="T28" fmla="*/ 12 w 36"/>
                  <a:gd name="T29" fmla="*/ 19 h 54"/>
                  <a:gd name="T30" fmla="*/ 19 w 36"/>
                  <a:gd name="T31" fmla="*/ 17 h 54"/>
                  <a:gd name="T32" fmla="*/ 30 w 36"/>
                  <a:gd name="T33" fmla="*/ 22 h 54"/>
                  <a:gd name="T34" fmla="*/ 36 w 36"/>
                  <a:gd name="T35" fmla="*/ 34 h 54"/>
                  <a:gd name="T36" fmla="*/ 32 w 36"/>
                  <a:gd name="T37" fmla="*/ 46 h 54"/>
                  <a:gd name="T38" fmla="*/ 18 w 36"/>
                  <a:gd name="T39" fmla="*/ 54 h 54"/>
                  <a:gd name="T40" fmla="*/ 6 w 36"/>
                  <a:gd name="T41" fmla="*/ 50 h 54"/>
                  <a:gd name="T42" fmla="*/ 0 w 36"/>
                  <a:gd name="T43" fmla="*/ 40 h 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36" h="54">
                    <a:moveTo>
                      <a:pt x="0" y="40"/>
                    </a:moveTo>
                    <a:cubicBezTo>
                      <a:pt x="10" y="39"/>
                      <a:pt x="10" y="39"/>
                      <a:pt x="10" y="39"/>
                    </a:cubicBezTo>
                    <a:cubicBezTo>
                      <a:pt x="11" y="41"/>
                      <a:pt x="11" y="43"/>
                      <a:pt x="13" y="44"/>
                    </a:cubicBezTo>
                    <a:cubicBezTo>
                      <a:pt x="14" y="45"/>
                      <a:pt x="16" y="46"/>
                      <a:pt x="18" y="46"/>
                    </a:cubicBezTo>
                    <a:cubicBezTo>
                      <a:pt x="20" y="46"/>
                      <a:pt x="22" y="45"/>
                      <a:pt x="23" y="43"/>
                    </a:cubicBezTo>
                    <a:cubicBezTo>
                      <a:pt x="25" y="41"/>
                      <a:pt x="25" y="38"/>
                      <a:pt x="25" y="35"/>
                    </a:cubicBezTo>
                    <a:cubicBezTo>
                      <a:pt x="25" y="32"/>
                      <a:pt x="24" y="29"/>
                      <a:pt x="23" y="28"/>
                    </a:cubicBezTo>
                    <a:cubicBezTo>
                      <a:pt x="21" y="26"/>
                      <a:pt x="19" y="25"/>
                      <a:pt x="17" y="26"/>
                    </a:cubicBezTo>
                    <a:cubicBezTo>
                      <a:pt x="14" y="26"/>
                      <a:pt x="11" y="27"/>
                      <a:pt x="9" y="30"/>
                    </a:cubicBezTo>
                    <a:cubicBezTo>
                      <a:pt x="1" y="29"/>
                      <a:pt x="1" y="29"/>
                      <a:pt x="1" y="29"/>
                    </a:cubicBezTo>
                    <a:cubicBezTo>
                      <a:pt x="5" y="1"/>
                      <a:pt x="5" y="1"/>
                      <a:pt x="5" y="1"/>
                    </a:cubicBezTo>
                    <a:cubicBezTo>
                      <a:pt x="32" y="0"/>
                      <a:pt x="32" y="0"/>
                      <a:pt x="32" y="0"/>
                    </a:cubicBezTo>
                    <a:cubicBezTo>
                      <a:pt x="32" y="10"/>
                      <a:pt x="32" y="10"/>
                      <a:pt x="32" y="10"/>
                    </a:cubicBezTo>
                    <a:cubicBezTo>
                      <a:pt x="13" y="10"/>
                      <a:pt x="13" y="10"/>
                      <a:pt x="13" y="10"/>
                    </a:cubicBezTo>
                    <a:cubicBezTo>
                      <a:pt x="12" y="19"/>
                      <a:pt x="12" y="19"/>
                      <a:pt x="12" y="19"/>
                    </a:cubicBezTo>
                    <a:cubicBezTo>
                      <a:pt x="14" y="18"/>
                      <a:pt x="16" y="17"/>
                      <a:pt x="19" y="17"/>
                    </a:cubicBezTo>
                    <a:cubicBezTo>
                      <a:pt x="23" y="17"/>
                      <a:pt x="27" y="19"/>
                      <a:pt x="30" y="22"/>
                    </a:cubicBezTo>
                    <a:cubicBezTo>
                      <a:pt x="34" y="25"/>
                      <a:pt x="35" y="29"/>
                      <a:pt x="36" y="34"/>
                    </a:cubicBezTo>
                    <a:cubicBezTo>
                      <a:pt x="36" y="39"/>
                      <a:pt x="35" y="43"/>
                      <a:pt x="32" y="46"/>
                    </a:cubicBezTo>
                    <a:cubicBezTo>
                      <a:pt x="29" y="51"/>
                      <a:pt x="24" y="54"/>
                      <a:pt x="18" y="54"/>
                    </a:cubicBezTo>
                    <a:cubicBezTo>
                      <a:pt x="13" y="54"/>
                      <a:pt x="9" y="53"/>
                      <a:pt x="6" y="50"/>
                    </a:cubicBezTo>
                    <a:cubicBezTo>
                      <a:pt x="3" y="48"/>
                      <a:pt x="1" y="44"/>
                      <a:pt x="0" y="4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1049647" name="i$ḻïḑê"/>
              <p:cNvSpPr/>
              <p:nvPr/>
            </p:nvSpPr>
            <p:spPr bwMode="auto">
              <a:xfrm>
                <a:off x="2522434" y="6045790"/>
                <a:ext cx="74613" cy="103188"/>
              </a:xfrm>
              <a:custGeom>
                <a:avLst/>
                <a:gdLst>
                  <a:gd name="T0" fmla="*/ 39 w 40"/>
                  <a:gd name="T1" fmla="*/ 42 h 56"/>
                  <a:gd name="T2" fmla="*/ 40 w 40"/>
                  <a:gd name="T3" fmla="*/ 51 h 56"/>
                  <a:gd name="T4" fmla="*/ 5 w 40"/>
                  <a:gd name="T5" fmla="*/ 56 h 56"/>
                  <a:gd name="T6" fmla="*/ 7 w 40"/>
                  <a:gd name="T7" fmla="*/ 46 h 56"/>
                  <a:gd name="T8" fmla="*/ 16 w 40"/>
                  <a:gd name="T9" fmla="*/ 32 h 56"/>
                  <a:gd name="T10" fmla="*/ 23 w 40"/>
                  <a:gd name="T11" fmla="*/ 22 h 56"/>
                  <a:gd name="T12" fmla="*/ 24 w 40"/>
                  <a:gd name="T13" fmla="*/ 15 h 56"/>
                  <a:gd name="T14" fmla="*/ 22 w 40"/>
                  <a:gd name="T15" fmla="*/ 10 h 56"/>
                  <a:gd name="T16" fmla="*/ 17 w 40"/>
                  <a:gd name="T17" fmla="*/ 9 h 56"/>
                  <a:gd name="T18" fmla="*/ 12 w 40"/>
                  <a:gd name="T19" fmla="*/ 12 h 56"/>
                  <a:gd name="T20" fmla="*/ 11 w 40"/>
                  <a:gd name="T21" fmla="*/ 19 h 56"/>
                  <a:gd name="T22" fmla="*/ 1 w 40"/>
                  <a:gd name="T23" fmla="*/ 19 h 56"/>
                  <a:gd name="T24" fmla="*/ 4 w 40"/>
                  <a:gd name="T25" fmla="*/ 6 h 56"/>
                  <a:gd name="T26" fmla="*/ 16 w 40"/>
                  <a:gd name="T27" fmla="*/ 1 h 56"/>
                  <a:gd name="T28" fmla="*/ 28 w 40"/>
                  <a:gd name="T29" fmla="*/ 3 h 56"/>
                  <a:gd name="T30" fmla="*/ 34 w 40"/>
                  <a:gd name="T31" fmla="*/ 13 h 56"/>
                  <a:gd name="T32" fmla="*/ 34 w 40"/>
                  <a:gd name="T33" fmla="*/ 20 h 56"/>
                  <a:gd name="T34" fmla="*/ 31 w 40"/>
                  <a:gd name="T35" fmla="*/ 27 h 56"/>
                  <a:gd name="T36" fmla="*/ 26 w 40"/>
                  <a:gd name="T37" fmla="*/ 35 h 56"/>
                  <a:gd name="T38" fmla="*/ 20 w 40"/>
                  <a:gd name="T39" fmla="*/ 42 h 56"/>
                  <a:gd name="T40" fmla="*/ 19 w 40"/>
                  <a:gd name="T41" fmla="*/ 45 h 56"/>
                  <a:gd name="T42" fmla="*/ 39 w 40"/>
                  <a:gd name="T43" fmla="*/ 42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40" h="56">
                    <a:moveTo>
                      <a:pt x="39" y="42"/>
                    </a:moveTo>
                    <a:cubicBezTo>
                      <a:pt x="40" y="51"/>
                      <a:pt x="40" y="51"/>
                      <a:pt x="40" y="51"/>
                    </a:cubicBezTo>
                    <a:cubicBezTo>
                      <a:pt x="5" y="56"/>
                      <a:pt x="5" y="56"/>
                      <a:pt x="5" y="56"/>
                    </a:cubicBezTo>
                    <a:cubicBezTo>
                      <a:pt x="5" y="53"/>
                      <a:pt x="5" y="49"/>
                      <a:pt x="7" y="46"/>
                    </a:cubicBezTo>
                    <a:cubicBezTo>
                      <a:pt x="8" y="42"/>
                      <a:pt x="11" y="38"/>
                      <a:pt x="16" y="32"/>
                    </a:cubicBezTo>
                    <a:cubicBezTo>
                      <a:pt x="20" y="27"/>
                      <a:pt x="22" y="23"/>
                      <a:pt x="23" y="22"/>
                    </a:cubicBezTo>
                    <a:cubicBezTo>
                      <a:pt x="24" y="19"/>
                      <a:pt x="25" y="17"/>
                      <a:pt x="24" y="15"/>
                    </a:cubicBezTo>
                    <a:cubicBezTo>
                      <a:pt x="24" y="13"/>
                      <a:pt x="23" y="11"/>
                      <a:pt x="22" y="10"/>
                    </a:cubicBezTo>
                    <a:cubicBezTo>
                      <a:pt x="21" y="9"/>
                      <a:pt x="19" y="9"/>
                      <a:pt x="17" y="9"/>
                    </a:cubicBezTo>
                    <a:cubicBezTo>
                      <a:pt x="15" y="10"/>
                      <a:pt x="13" y="11"/>
                      <a:pt x="12" y="12"/>
                    </a:cubicBezTo>
                    <a:cubicBezTo>
                      <a:pt x="11" y="13"/>
                      <a:pt x="10" y="16"/>
                      <a:pt x="11" y="19"/>
                    </a:cubicBezTo>
                    <a:cubicBezTo>
                      <a:pt x="1" y="19"/>
                      <a:pt x="1" y="19"/>
                      <a:pt x="1" y="19"/>
                    </a:cubicBezTo>
                    <a:cubicBezTo>
                      <a:pt x="0" y="13"/>
                      <a:pt x="2" y="9"/>
                      <a:pt x="4" y="6"/>
                    </a:cubicBezTo>
                    <a:cubicBezTo>
                      <a:pt x="7" y="3"/>
                      <a:pt x="11" y="2"/>
                      <a:pt x="16" y="1"/>
                    </a:cubicBezTo>
                    <a:cubicBezTo>
                      <a:pt x="21" y="0"/>
                      <a:pt x="25" y="1"/>
                      <a:pt x="28" y="3"/>
                    </a:cubicBezTo>
                    <a:cubicBezTo>
                      <a:pt x="32" y="6"/>
                      <a:pt x="34" y="9"/>
                      <a:pt x="34" y="13"/>
                    </a:cubicBezTo>
                    <a:cubicBezTo>
                      <a:pt x="35" y="15"/>
                      <a:pt x="35" y="18"/>
                      <a:pt x="34" y="20"/>
                    </a:cubicBezTo>
                    <a:cubicBezTo>
                      <a:pt x="34" y="22"/>
                      <a:pt x="33" y="25"/>
                      <a:pt x="31" y="27"/>
                    </a:cubicBezTo>
                    <a:cubicBezTo>
                      <a:pt x="30" y="29"/>
                      <a:pt x="28" y="32"/>
                      <a:pt x="26" y="35"/>
                    </a:cubicBezTo>
                    <a:cubicBezTo>
                      <a:pt x="23" y="38"/>
                      <a:pt x="21" y="41"/>
                      <a:pt x="20" y="42"/>
                    </a:cubicBezTo>
                    <a:cubicBezTo>
                      <a:pt x="20" y="43"/>
                      <a:pt x="19" y="44"/>
                      <a:pt x="19" y="45"/>
                    </a:cubicBezTo>
                    <a:lnTo>
                      <a:pt x="39" y="42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1049648" name="íṧlíḍe"/>
              <p:cNvSpPr/>
              <p:nvPr/>
            </p:nvSpPr>
            <p:spPr bwMode="auto">
              <a:xfrm>
                <a:off x="2611334" y="6072778"/>
                <a:ext cx="22225" cy="23813"/>
              </a:xfrm>
              <a:custGeom>
                <a:avLst/>
                <a:gdLst>
                  <a:gd name="T0" fmla="*/ 3 w 14"/>
                  <a:gd name="T1" fmla="*/ 15 h 15"/>
                  <a:gd name="T2" fmla="*/ 0 w 14"/>
                  <a:gd name="T3" fmla="*/ 3 h 15"/>
                  <a:gd name="T4" fmla="*/ 11 w 14"/>
                  <a:gd name="T5" fmla="*/ 0 h 15"/>
                  <a:gd name="T6" fmla="*/ 14 w 14"/>
                  <a:gd name="T7" fmla="*/ 12 h 15"/>
                  <a:gd name="T8" fmla="*/ 3 w 14"/>
                  <a:gd name="T9" fmla="*/ 15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4" h="15">
                    <a:moveTo>
                      <a:pt x="3" y="15"/>
                    </a:moveTo>
                    <a:lnTo>
                      <a:pt x="0" y="3"/>
                    </a:lnTo>
                    <a:lnTo>
                      <a:pt x="11" y="0"/>
                    </a:lnTo>
                    <a:lnTo>
                      <a:pt x="14" y="12"/>
                    </a:lnTo>
                    <a:lnTo>
                      <a:pt x="3" y="15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1049649" name="îŝľîḓê"/>
              <p:cNvSpPr/>
              <p:nvPr/>
            </p:nvSpPr>
            <p:spPr bwMode="auto">
              <a:xfrm>
                <a:off x="2108097" y="5261565"/>
                <a:ext cx="141288" cy="257175"/>
              </a:xfrm>
              <a:custGeom>
                <a:avLst/>
                <a:gdLst>
                  <a:gd name="T0" fmla="*/ 12 w 77"/>
                  <a:gd name="T1" fmla="*/ 25 h 139"/>
                  <a:gd name="T2" fmla="*/ 9 w 77"/>
                  <a:gd name="T3" fmla="*/ 21 h 139"/>
                  <a:gd name="T4" fmla="*/ 12 w 77"/>
                  <a:gd name="T5" fmla="*/ 17 h 139"/>
                  <a:gd name="T6" fmla="*/ 39 w 77"/>
                  <a:gd name="T7" fmla="*/ 21 h 139"/>
                  <a:gd name="T8" fmla="*/ 46 w 77"/>
                  <a:gd name="T9" fmla="*/ 36 h 139"/>
                  <a:gd name="T10" fmla="*/ 46 w 77"/>
                  <a:gd name="T11" fmla="*/ 39 h 139"/>
                  <a:gd name="T12" fmla="*/ 61 w 77"/>
                  <a:gd name="T13" fmla="*/ 33 h 139"/>
                  <a:gd name="T14" fmla="*/ 57 w 77"/>
                  <a:gd name="T15" fmla="*/ 16 h 139"/>
                  <a:gd name="T16" fmla="*/ 35 w 77"/>
                  <a:gd name="T17" fmla="*/ 9 h 139"/>
                  <a:gd name="T18" fmla="*/ 27 w 77"/>
                  <a:gd name="T19" fmla="*/ 3 h 139"/>
                  <a:gd name="T20" fmla="*/ 32 w 77"/>
                  <a:gd name="T21" fmla="*/ 0 h 139"/>
                  <a:gd name="T22" fmla="*/ 61 w 77"/>
                  <a:gd name="T23" fmla="*/ 9 h 139"/>
                  <a:gd name="T24" fmla="*/ 72 w 77"/>
                  <a:gd name="T25" fmla="*/ 30 h 139"/>
                  <a:gd name="T26" fmla="*/ 48 w 77"/>
                  <a:gd name="T27" fmla="*/ 45 h 139"/>
                  <a:gd name="T28" fmla="*/ 45 w 77"/>
                  <a:gd name="T29" fmla="*/ 46 h 139"/>
                  <a:gd name="T30" fmla="*/ 45 w 77"/>
                  <a:gd name="T31" fmla="*/ 54 h 139"/>
                  <a:gd name="T32" fmla="*/ 59 w 77"/>
                  <a:gd name="T33" fmla="*/ 61 h 139"/>
                  <a:gd name="T34" fmla="*/ 77 w 77"/>
                  <a:gd name="T35" fmla="*/ 80 h 139"/>
                  <a:gd name="T36" fmla="*/ 75 w 77"/>
                  <a:gd name="T37" fmla="*/ 84 h 139"/>
                  <a:gd name="T38" fmla="*/ 71 w 77"/>
                  <a:gd name="T39" fmla="*/ 83 h 139"/>
                  <a:gd name="T40" fmla="*/ 59 w 77"/>
                  <a:gd name="T41" fmla="*/ 70 h 139"/>
                  <a:gd name="T42" fmla="*/ 45 w 77"/>
                  <a:gd name="T43" fmla="*/ 63 h 139"/>
                  <a:gd name="T44" fmla="*/ 45 w 77"/>
                  <a:gd name="T45" fmla="*/ 77 h 139"/>
                  <a:gd name="T46" fmla="*/ 53 w 77"/>
                  <a:gd name="T47" fmla="*/ 83 h 139"/>
                  <a:gd name="T48" fmla="*/ 66 w 77"/>
                  <a:gd name="T49" fmla="*/ 102 h 139"/>
                  <a:gd name="T50" fmla="*/ 72 w 77"/>
                  <a:gd name="T51" fmla="*/ 121 h 139"/>
                  <a:gd name="T52" fmla="*/ 70 w 77"/>
                  <a:gd name="T53" fmla="*/ 124 h 139"/>
                  <a:gd name="T54" fmla="*/ 67 w 77"/>
                  <a:gd name="T55" fmla="*/ 122 h 139"/>
                  <a:gd name="T56" fmla="*/ 64 w 77"/>
                  <a:gd name="T57" fmla="*/ 115 h 139"/>
                  <a:gd name="T58" fmla="*/ 55 w 77"/>
                  <a:gd name="T59" fmla="*/ 97 h 139"/>
                  <a:gd name="T60" fmla="*/ 45 w 77"/>
                  <a:gd name="T61" fmla="*/ 87 h 139"/>
                  <a:gd name="T62" fmla="*/ 45 w 77"/>
                  <a:gd name="T63" fmla="*/ 102 h 139"/>
                  <a:gd name="T64" fmla="*/ 44 w 77"/>
                  <a:gd name="T65" fmla="*/ 136 h 139"/>
                  <a:gd name="T66" fmla="*/ 41 w 77"/>
                  <a:gd name="T67" fmla="*/ 139 h 139"/>
                  <a:gd name="T68" fmla="*/ 38 w 77"/>
                  <a:gd name="T69" fmla="*/ 137 h 139"/>
                  <a:gd name="T70" fmla="*/ 37 w 77"/>
                  <a:gd name="T71" fmla="*/ 103 h 139"/>
                  <a:gd name="T72" fmla="*/ 37 w 77"/>
                  <a:gd name="T73" fmla="*/ 86 h 139"/>
                  <a:gd name="T74" fmla="*/ 28 w 77"/>
                  <a:gd name="T75" fmla="*/ 92 h 139"/>
                  <a:gd name="T76" fmla="*/ 19 w 77"/>
                  <a:gd name="T77" fmla="*/ 109 h 139"/>
                  <a:gd name="T78" fmla="*/ 12 w 77"/>
                  <a:gd name="T79" fmla="*/ 121 h 139"/>
                  <a:gd name="T80" fmla="*/ 8 w 77"/>
                  <a:gd name="T81" fmla="*/ 122 h 139"/>
                  <a:gd name="T82" fmla="*/ 7 w 77"/>
                  <a:gd name="T83" fmla="*/ 120 h 139"/>
                  <a:gd name="T84" fmla="*/ 8 w 77"/>
                  <a:gd name="T85" fmla="*/ 117 h 139"/>
                  <a:gd name="T86" fmla="*/ 11 w 77"/>
                  <a:gd name="T87" fmla="*/ 106 h 139"/>
                  <a:gd name="T88" fmla="*/ 22 w 77"/>
                  <a:gd name="T89" fmla="*/ 86 h 139"/>
                  <a:gd name="T90" fmla="*/ 37 w 77"/>
                  <a:gd name="T91" fmla="*/ 76 h 139"/>
                  <a:gd name="T92" fmla="*/ 37 w 77"/>
                  <a:gd name="T93" fmla="*/ 68 h 139"/>
                  <a:gd name="T94" fmla="*/ 37 w 77"/>
                  <a:gd name="T95" fmla="*/ 63 h 139"/>
                  <a:gd name="T96" fmla="*/ 24 w 77"/>
                  <a:gd name="T97" fmla="*/ 69 h 139"/>
                  <a:gd name="T98" fmla="*/ 16 w 77"/>
                  <a:gd name="T99" fmla="*/ 77 h 139"/>
                  <a:gd name="T100" fmla="*/ 9 w 77"/>
                  <a:gd name="T101" fmla="*/ 85 h 139"/>
                  <a:gd name="T102" fmla="*/ 6 w 77"/>
                  <a:gd name="T103" fmla="*/ 86 h 139"/>
                  <a:gd name="T104" fmla="*/ 5 w 77"/>
                  <a:gd name="T105" fmla="*/ 82 h 139"/>
                  <a:gd name="T106" fmla="*/ 22 w 77"/>
                  <a:gd name="T107" fmla="*/ 60 h 139"/>
                  <a:gd name="T108" fmla="*/ 37 w 77"/>
                  <a:gd name="T109" fmla="*/ 54 h 139"/>
                  <a:gd name="T110" fmla="*/ 37 w 77"/>
                  <a:gd name="T111" fmla="*/ 47 h 139"/>
                  <a:gd name="T112" fmla="*/ 3 w 77"/>
                  <a:gd name="T113" fmla="*/ 45 h 139"/>
                  <a:gd name="T114" fmla="*/ 0 w 77"/>
                  <a:gd name="T115" fmla="*/ 40 h 139"/>
                  <a:gd name="T116" fmla="*/ 5 w 77"/>
                  <a:gd name="T117" fmla="*/ 38 h 139"/>
                  <a:gd name="T118" fmla="*/ 37 w 77"/>
                  <a:gd name="T119" fmla="*/ 39 h 139"/>
                  <a:gd name="T120" fmla="*/ 37 w 77"/>
                  <a:gd name="T121" fmla="*/ 39 h 139"/>
                  <a:gd name="T122" fmla="*/ 33 w 77"/>
                  <a:gd name="T123" fmla="*/ 28 h 139"/>
                  <a:gd name="T124" fmla="*/ 12 w 77"/>
                  <a:gd name="T125" fmla="*/ 25 h 1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77" h="139">
                    <a:moveTo>
                      <a:pt x="12" y="25"/>
                    </a:moveTo>
                    <a:cubicBezTo>
                      <a:pt x="10" y="25"/>
                      <a:pt x="9" y="24"/>
                      <a:pt x="9" y="21"/>
                    </a:cubicBezTo>
                    <a:cubicBezTo>
                      <a:pt x="9" y="18"/>
                      <a:pt x="10" y="17"/>
                      <a:pt x="12" y="17"/>
                    </a:cubicBezTo>
                    <a:cubicBezTo>
                      <a:pt x="24" y="17"/>
                      <a:pt x="33" y="18"/>
                      <a:pt x="39" y="21"/>
                    </a:cubicBezTo>
                    <a:cubicBezTo>
                      <a:pt x="45" y="24"/>
                      <a:pt x="47" y="28"/>
                      <a:pt x="46" y="36"/>
                    </a:cubicBezTo>
                    <a:cubicBezTo>
                      <a:pt x="46" y="37"/>
                      <a:pt x="46" y="38"/>
                      <a:pt x="46" y="39"/>
                    </a:cubicBezTo>
                    <a:cubicBezTo>
                      <a:pt x="53" y="38"/>
                      <a:pt x="58" y="35"/>
                      <a:pt x="61" y="33"/>
                    </a:cubicBezTo>
                    <a:cubicBezTo>
                      <a:pt x="65" y="27"/>
                      <a:pt x="64" y="22"/>
                      <a:pt x="57" y="16"/>
                    </a:cubicBezTo>
                    <a:cubicBezTo>
                      <a:pt x="52" y="12"/>
                      <a:pt x="44" y="9"/>
                      <a:pt x="35" y="9"/>
                    </a:cubicBezTo>
                    <a:cubicBezTo>
                      <a:pt x="30" y="8"/>
                      <a:pt x="28" y="6"/>
                      <a:pt x="27" y="3"/>
                    </a:cubicBezTo>
                    <a:cubicBezTo>
                      <a:pt x="27" y="1"/>
                      <a:pt x="29" y="0"/>
                      <a:pt x="32" y="0"/>
                    </a:cubicBezTo>
                    <a:cubicBezTo>
                      <a:pt x="44" y="0"/>
                      <a:pt x="53" y="3"/>
                      <a:pt x="61" y="9"/>
                    </a:cubicBezTo>
                    <a:cubicBezTo>
                      <a:pt x="69" y="16"/>
                      <a:pt x="73" y="23"/>
                      <a:pt x="72" y="30"/>
                    </a:cubicBezTo>
                    <a:cubicBezTo>
                      <a:pt x="68" y="37"/>
                      <a:pt x="60" y="43"/>
                      <a:pt x="48" y="45"/>
                    </a:cubicBezTo>
                    <a:cubicBezTo>
                      <a:pt x="47" y="46"/>
                      <a:pt x="46" y="46"/>
                      <a:pt x="45" y="46"/>
                    </a:cubicBezTo>
                    <a:cubicBezTo>
                      <a:pt x="45" y="48"/>
                      <a:pt x="45" y="51"/>
                      <a:pt x="45" y="54"/>
                    </a:cubicBezTo>
                    <a:cubicBezTo>
                      <a:pt x="49" y="54"/>
                      <a:pt x="54" y="57"/>
                      <a:pt x="59" y="61"/>
                    </a:cubicBezTo>
                    <a:cubicBezTo>
                      <a:pt x="66" y="66"/>
                      <a:pt x="72" y="72"/>
                      <a:pt x="77" y="80"/>
                    </a:cubicBezTo>
                    <a:cubicBezTo>
                      <a:pt x="77" y="82"/>
                      <a:pt x="77" y="83"/>
                      <a:pt x="75" y="84"/>
                    </a:cubicBezTo>
                    <a:cubicBezTo>
                      <a:pt x="74" y="85"/>
                      <a:pt x="72" y="85"/>
                      <a:pt x="71" y="83"/>
                    </a:cubicBezTo>
                    <a:cubicBezTo>
                      <a:pt x="69" y="80"/>
                      <a:pt x="65" y="76"/>
                      <a:pt x="59" y="70"/>
                    </a:cubicBezTo>
                    <a:cubicBezTo>
                      <a:pt x="54" y="66"/>
                      <a:pt x="49" y="64"/>
                      <a:pt x="45" y="63"/>
                    </a:cubicBezTo>
                    <a:cubicBezTo>
                      <a:pt x="45" y="77"/>
                      <a:pt x="45" y="77"/>
                      <a:pt x="45" y="77"/>
                    </a:cubicBezTo>
                    <a:cubicBezTo>
                      <a:pt x="48" y="78"/>
                      <a:pt x="51" y="80"/>
                      <a:pt x="53" y="83"/>
                    </a:cubicBezTo>
                    <a:cubicBezTo>
                      <a:pt x="59" y="88"/>
                      <a:pt x="63" y="94"/>
                      <a:pt x="66" y="102"/>
                    </a:cubicBezTo>
                    <a:cubicBezTo>
                      <a:pt x="71" y="109"/>
                      <a:pt x="73" y="116"/>
                      <a:pt x="72" y="121"/>
                    </a:cubicBezTo>
                    <a:cubicBezTo>
                      <a:pt x="72" y="122"/>
                      <a:pt x="72" y="123"/>
                      <a:pt x="70" y="124"/>
                    </a:cubicBezTo>
                    <a:cubicBezTo>
                      <a:pt x="69" y="124"/>
                      <a:pt x="68" y="124"/>
                      <a:pt x="67" y="122"/>
                    </a:cubicBezTo>
                    <a:cubicBezTo>
                      <a:pt x="67" y="121"/>
                      <a:pt x="66" y="118"/>
                      <a:pt x="64" y="115"/>
                    </a:cubicBezTo>
                    <a:cubicBezTo>
                      <a:pt x="60" y="107"/>
                      <a:pt x="57" y="102"/>
                      <a:pt x="55" y="97"/>
                    </a:cubicBezTo>
                    <a:cubicBezTo>
                      <a:pt x="51" y="91"/>
                      <a:pt x="48" y="88"/>
                      <a:pt x="45" y="87"/>
                    </a:cubicBezTo>
                    <a:cubicBezTo>
                      <a:pt x="45" y="102"/>
                      <a:pt x="45" y="102"/>
                      <a:pt x="45" y="102"/>
                    </a:cubicBezTo>
                    <a:cubicBezTo>
                      <a:pt x="45" y="117"/>
                      <a:pt x="45" y="128"/>
                      <a:pt x="44" y="136"/>
                    </a:cubicBezTo>
                    <a:cubicBezTo>
                      <a:pt x="43" y="137"/>
                      <a:pt x="42" y="138"/>
                      <a:pt x="41" y="139"/>
                    </a:cubicBezTo>
                    <a:cubicBezTo>
                      <a:pt x="40" y="139"/>
                      <a:pt x="39" y="139"/>
                      <a:pt x="38" y="137"/>
                    </a:cubicBezTo>
                    <a:cubicBezTo>
                      <a:pt x="37" y="135"/>
                      <a:pt x="37" y="123"/>
                      <a:pt x="37" y="103"/>
                    </a:cubicBezTo>
                    <a:cubicBezTo>
                      <a:pt x="37" y="97"/>
                      <a:pt x="37" y="92"/>
                      <a:pt x="37" y="86"/>
                    </a:cubicBezTo>
                    <a:cubicBezTo>
                      <a:pt x="34" y="87"/>
                      <a:pt x="31" y="89"/>
                      <a:pt x="28" y="92"/>
                    </a:cubicBezTo>
                    <a:cubicBezTo>
                      <a:pt x="24" y="98"/>
                      <a:pt x="21" y="103"/>
                      <a:pt x="19" y="109"/>
                    </a:cubicBezTo>
                    <a:cubicBezTo>
                      <a:pt x="17" y="113"/>
                      <a:pt x="15" y="117"/>
                      <a:pt x="12" y="121"/>
                    </a:cubicBezTo>
                    <a:cubicBezTo>
                      <a:pt x="11" y="122"/>
                      <a:pt x="9" y="122"/>
                      <a:pt x="8" y="122"/>
                    </a:cubicBezTo>
                    <a:cubicBezTo>
                      <a:pt x="7" y="122"/>
                      <a:pt x="7" y="121"/>
                      <a:pt x="7" y="120"/>
                    </a:cubicBezTo>
                    <a:cubicBezTo>
                      <a:pt x="7" y="119"/>
                      <a:pt x="7" y="118"/>
                      <a:pt x="8" y="117"/>
                    </a:cubicBezTo>
                    <a:cubicBezTo>
                      <a:pt x="9" y="112"/>
                      <a:pt x="10" y="108"/>
                      <a:pt x="11" y="106"/>
                    </a:cubicBezTo>
                    <a:cubicBezTo>
                      <a:pt x="13" y="101"/>
                      <a:pt x="17" y="94"/>
                      <a:pt x="22" y="86"/>
                    </a:cubicBezTo>
                    <a:cubicBezTo>
                      <a:pt x="27" y="80"/>
                      <a:pt x="32" y="77"/>
                      <a:pt x="37" y="76"/>
                    </a:cubicBezTo>
                    <a:cubicBezTo>
                      <a:pt x="37" y="68"/>
                      <a:pt x="37" y="68"/>
                      <a:pt x="37" y="68"/>
                    </a:cubicBezTo>
                    <a:cubicBezTo>
                      <a:pt x="37" y="63"/>
                      <a:pt x="37" y="63"/>
                      <a:pt x="37" y="63"/>
                    </a:cubicBezTo>
                    <a:cubicBezTo>
                      <a:pt x="33" y="64"/>
                      <a:pt x="29" y="66"/>
                      <a:pt x="24" y="69"/>
                    </a:cubicBezTo>
                    <a:cubicBezTo>
                      <a:pt x="23" y="70"/>
                      <a:pt x="20" y="72"/>
                      <a:pt x="16" y="77"/>
                    </a:cubicBezTo>
                    <a:cubicBezTo>
                      <a:pt x="13" y="81"/>
                      <a:pt x="11" y="83"/>
                      <a:pt x="9" y="85"/>
                    </a:cubicBezTo>
                    <a:cubicBezTo>
                      <a:pt x="8" y="86"/>
                      <a:pt x="7" y="87"/>
                      <a:pt x="6" y="86"/>
                    </a:cubicBezTo>
                    <a:cubicBezTo>
                      <a:pt x="5" y="86"/>
                      <a:pt x="5" y="84"/>
                      <a:pt x="5" y="82"/>
                    </a:cubicBezTo>
                    <a:cubicBezTo>
                      <a:pt x="10" y="73"/>
                      <a:pt x="15" y="65"/>
                      <a:pt x="22" y="60"/>
                    </a:cubicBezTo>
                    <a:cubicBezTo>
                      <a:pt x="27" y="56"/>
                      <a:pt x="32" y="54"/>
                      <a:pt x="37" y="54"/>
                    </a:cubicBezTo>
                    <a:cubicBezTo>
                      <a:pt x="37" y="47"/>
                      <a:pt x="37" y="47"/>
                      <a:pt x="37" y="47"/>
                    </a:cubicBezTo>
                    <a:cubicBezTo>
                      <a:pt x="22" y="49"/>
                      <a:pt x="10" y="48"/>
                      <a:pt x="3" y="45"/>
                    </a:cubicBezTo>
                    <a:cubicBezTo>
                      <a:pt x="1" y="44"/>
                      <a:pt x="0" y="42"/>
                      <a:pt x="0" y="40"/>
                    </a:cubicBezTo>
                    <a:cubicBezTo>
                      <a:pt x="1" y="38"/>
                      <a:pt x="3" y="38"/>
                      <a:pt x="5" y="38"/>
                    </a:cubicBezTo>
                    <a:cubicBezTo>
                      <a:pt x="12" y="40"/>
                      <a:pt x="22" y="40"/>
                      <a:pt x="37" y="39"/>
                    </a:cubicBezTo>
                    <a:cubicBezTo>
                      <a:pt x="37" y="39"/>
                      <a:pt x="37" y="39"/>
                      <a:pt x="37" y="39"/>
                    </a:cubicBezTo>
                    <a:cubicBezTo>
                      <a:pt x="38" y="32"/>
                      <a:pt x="36" y="29"/>
                      <a:pt x="33" y="28"/>
                    </a:cubicBezTo>
                    <a:cubicBezTo>
                      <a:pt x="26" y="25"/>
                      <a:pt x="19" y="24"/>
                      <a:pt x="12" y="25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1049650" name="íṣlíḑe"/>
              <p:cNvSpPr/>
              <p:nvPr/>
            </p:nvSpPr>
            <p:spPr bwMode="auto">
              <a:xfrm>
                <a:off x="2273197" y="5255215"/>
                <a:ext cx="163513" cy="263525"/>
              </a:xfrm>
              <a:custGeom>
                <a:avLst/>
                <a:gdLst>
                  <a:gd name="T0" fmla="*/ 47 w 88"/>
                  <a:gd name="T1" fmla="*/ 8 h 143"/>
                  <a:gd name="T2" fmla="*/ 74 w 88"/>
                  <a:gd name="T3" fmla="*/ 14 h 143"/>
                  <a:gd name="T4" fmla="*/ 82 w 88"/>
                  <a:gd name="T5" fmla="*/ 26 h 143"/>
                  <a:gd name="T6" fmla="*/ 79 w 88"/>
                  <a:gd name="T7" fmla="*/ 75 h 143"/>
                  <a:gd name="T8" fmla="*/ 86 w 88"/>
                  <a:gd name="T9" fmla="*/ 136 h 143"/>
                  <a:gd name="T10" fmla="*/ 73 w 88"/>
                  <a:gd name="T11" fmla="*/ 45 h 143"/>
                  <a:gd name="T12" fmla="*/ 67 w 88"/>
                  <a:gd name="T13" fmla="*/ 44 h 143"/>
                  <a:gd name="T14" fmla="*/ 54 w 88"/>
                  <a:gd name="T15" fmla="*/ 58 h 143"/>
                  <a:gd name="T16" fmla="*/ 22 w 88"/>
                  <a:gd name="T17" fmla="*/ 54 h 143"/>
                  <a:gd name="T18" fmla="*/ 15 w 88"/>
                  <a:gd name="T19" fmla="*/ 45 h 143"/>
                  <a:gd name="T20" fmla="*/ 11 w 88"/>
                  <a:gd name="T21" fmla="*/ 91 h 143"/>
                  <a:gd name="T22" fmla="*/ 9 w 88"/>
                  <a:gd name="T23" fmla="*/ 118 h 143"/>
                  <a:gd name="T24" fmla="*/ 2 w 88"/>
                  <a:gd name="T25" fmla="*/ 139 h 143"/>
                  <a:gd name="T26" fmla="*/ 6 w 88"/>
                  <a:gd name="T27" fmla="*/ 80 h 143"/>
                  <a:gd name="T28" fmla="*/ 2 w 88"/>
                  <a:gd name="T29" fmla="*/ 26 h 143"/>
                  <a:gd name="T30" fmla="*/ 32 w 88"/>
                  <a:gd name="T31" fmla="*/ 10 h 143"/>
                  <a:gd name="T32" fmla="*/ 39 w 88"/>
                  <a:gd name="T33" fmla="*/ 0 h 143"/>
                  <a:gd name="T34" fmla="*/ 24 w 88"/>
                  <a:gd name="T35" fmla="*/ 23 h 143"/>
                  <a:gd name="T36" fmla="*/ 66 w 88"/>
                  <a:gd name="T37" fmla="*/ 29 h 143"/>
                  <a:gd name="T38" fmla="*/ 67 w 88"/>
                  <a:gd name="T39" fmla="*/ 37 h 143"/>
                  <a:gd name="T40" fmla="*/ 73 w 88"/>
                  <a:gd name="T41" fmla="*/ 34 h 143"/>
                  <a:gd name="T42" fmla="*/ 66 w 88"/>
                  <a:gd name="T43" fmla="*/ 20 h 143"/>
                  <a:gd name="T44" fmla="*/ 13 w 88"/>
                  <a:gd name="T45" fmla="*/ 21 h 143"/>
                  <a:gd name="T46" fmla="*/ 12 w 88"/>
                  <a:gd name="T47" fmla="*/ 32 h 143"/>
                  <a:gd name="T48" fmla="*/ 17 w 88"/>
                  <a:gd name="T49" fmla="*/ 38 h 143"/>
                  <a:gd name="T50" fmla="*/ 24 w 88"/>
                  <a:gd name="T51" fmla="*/ 23 h 143"/>
                  <a:gd name="T52" fmla="*/ 61 w 88"/>
                  <a:gd name="T53" fmla="*/ 64 h 143"/>
                  <a:gd name="T54" fmla="*/ 66 w 88"/>
                  <a:gd name="T55" fmla="*/ 96 h 143"/>
                  <a:gd name="T56" fmla="*/ 61 w 88"/>
                  <a:gd name="T57" fmla="*/ 136 h 143"/>
                  <a:gd name="T58" fmla="*/ 59 w 88"/>
                  <a:gd name="T59" fmla="*/ 143 h 143"/>
                  <a:gd name="T60" fmla="*/ 46 w 88"/>
                  <a:gd name="T61" fmla="*/ 105 h 143"/>
                  <a:gd name="T62" fmla="*/ 30 w 88"/>
                  <a:gd name="T63" fmla="*/ 140 h 143"/>
                  <a:gd name="T64" fmla="*/ 26 w 88"/>
                  <a:gd name="T65" fmla="*/ 137 h 143"/>
                  <a:gd name="T66" fmla="*/ 32 w 88"/>
                  <a:gd name="T67" fmla="*/ 121 h 143"/>
                  <a:gd name="T68" fmla="*/ 35 w 88"/>
                  <a:gd name="T69" fmla="*/ 105 h 143"/>
                  <a:gd name="T70" fmla="*/ 18 w 88"/>
                  <a:gd name="T71" fmla="*/ 75 h 143"/>
                  <a:gd name="T72" fmla="*/ 24 w 88"/>
                  <a:gd name="T73" fmla="*/ 35 h 143"/>
                  <a:gd name="T74" fmla="*/ 39 w 88"/>
                  <a:gd name="T75" fmla="*/ 37 h 143"/>
                  <a:gd name="T76" fmla="*/ 34 w 88"/>
                  <a:gd name="T77" fmla="*/ 29 h 143"/>
                  <a:gd name="T78" fmla="*/ 24 w 88"/>
                  <a:gd name="T79" fmla="*/ 35 h 143"/>
                  <a:gd name="T80" fmla="*/ 62 w 88"/>
                  <a:gd name="T81" fmla="*/ 84 h 143"/>
                  <a:gd name="T82" fmla="*/ 43 w 88"/>
                  <a:gd name="T83" fmla="*/ 81 h 143"/>
                  <a:gd name="T84" fmla="*/ 25 w 88"/>
                  <a:gd name="T85" fmla="*/ 87 h 143"/>
                  <a:gd name="T86" fmla="*/ 26 w 88"/>
                  <a:gd name="T87" fmla="*/ 48 h 143"/>
                  <a:gd name="T88" fmla="*/ 38 w 88"/>
                  <a:gd name="T89" fmla="*/ 52 h 143"/>
                  <a:gd name="T90" fmla="*/ 25 w 88"/>
                  <a:gd name="T91" fmla="*/ 44 h 143"/>
                  <a:gd name="T92" fmla="*/ 32 w 88"/>
                  <a:gd name="T93" fmla="*/ 69 h 143"/>
                  <a:gd name="T94" fmla="*/ 41 w 88"/>
                  <a:gd name="T95" fmla="*/ 75 h 143"/>
                  <a:gd name="T96" fmla="*/ 57 w 88"/>
                  <a:gd name="T97" fmla="*/ 70 h 143"/>
                  <a:gd name="T98" fmla="*/ 56 w 88"/>
                  <a:gd name="T99" fmla="*/ 98 h 143"/>
                  <a:gd name="T100" fmla="*/ 54 w 88"/>
                  <a:gd name="T101" fmla="*/ 93 h 143"/>
                  <a:gd name="T102" fmla="*/ 36 w 88"/>
                  <a:gd name="T103" fmla="*/ 93 h 143"/>
                  <a:gd name="T104" fmla="*/ 32 w 88"/>
                  <a:gd name="T105" fmla="*/ 98 h 143"/>
                  <a:gd name="T106" fmla="*/ 56 w 88"/>
                  <a:gd name="T107" fmla="*/ 29 h 143"/>
                  <a:gd name="T108" fmla="*/ 46 w 88"/>
                  <a:gd name="T109" fmla="*/ 29 h 143"/>
                  <a:gd name="T110" fmla="*/ 60 w 88"/>
                  <a:gd name="T111" fmla="*/ 37 h 143"/>
                  <a:gd name="T112" fmla="*/ 56 w 88"/>
                  <a:gd name="T113" fmla="*/ 29 h 143"/>
                  <a:gd name="T114" fmla="*/ 60 w 88"/>
                  <a:gd name="T115" fmla="*/ 43 h 143"/>
                  <a:gd name="T116" fmla="*/ 46 w 88"/>
                  <a:gd name="T117" fmla="*/ 52 h 143"/>
                  <a:gd name="T118" fmla="*/ 59 w 88"/>
                  <a:gd name="T119" fmla="*/ 48 h 1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88" h="143">
                    <a:moveTo>
                      <a:pt x="43" y="2"/>
                    </a:moveTo>
                    <a:cubicBezTo>
                      <a:pt x="45" y="3"/>
                      <a:pt x="47" y="6"/>
                      <a:pt x="47" y="8"/>
                    </a:cubicBezTo>
                    <a:cubicBezTo>
                      <a:pt x="47" y="9"/>
                      <a:pt x="48" y="10"/>
                      <a:pt x="49" y="10"/>
                    </a:cubicBezTo>
                    <a:cubicBezTo>
                      <a:pt x="57" y="10"/>
                      <a:pt x="66" y="12"/>
                      <a:pt x="74" y="14"/>
                    </a:cubicBezTo>
                    <a:cubicBezTo>
                      <a:pt x="78" y="16"/>
                      <a:pt x="81" y="18"/>
                      <a:pt x="81" y="19"/>
                    </a:cubicBezTo>
                    <a:cubicBezTo>
                      <a:pt x="82" y="21"/>
                      <a:pt x="82" y="24"/>
                      <a:pt x="82" y="26"/>
                    </a:cubicBezTo>
                    <a:cubicBezTo>
                      <a:pt x="82" y="27"/>
                      <a:pt x="82" y="27"/>
                      <a:pt x="82" y="28"/>
                    </a:cubicBezTo>
                    <a:cubicBezTo>
                      <a:pt x="79" y="39"/>
                      <a:pt x="78" y="55"/>
                      <a:pt x="79" y="75"/>
                    </a:cubicBezTo>
                    <a:cubicBezTo>
                      <a:pt x="80" y="87"/>
                      <a:pt x="83" y="106"/>
                      <a:pt x="87" y="131"/>
                    </a:cubicBezTo>
                    <a:cubicBezTo>
                      <a:pt x="88" y="134"/>
                      <a:pt x="87" y="135"/>
                      <a:pt x="86" y="136"/>
                    </a:cubicBezTo>
                    <a:cubicBezTo>
                      <a:pt x="84" y="137"/>
                      <a:pt x="82" y="136"/>
                      <a:pt x="82" y="133"/>
                    </a:cubicBezTo>
                    <a:cubicBezTo>
                      <a:pt x="74" y="106"/>
                      <a:pt x="71" y="76"/>
                      <a:pt x="73" y="45"/>
                    </a:cubicBezTo>
                    <a:cubicBezTo>
                      <a:pt x="72" y="45"/>
                      <a:pt x="71" y="44"/>
                      <a:pt x="70" y="44"/>
                    </a:cubicBezTo>
                    <a:cubicBezTo>
                      <a:pt x="69" y="44"/>
                      <a:pt x="68" y="44"/>
                      <a:pt x="67" y="44"/>
                    </a:cubicBezTo>
                    <a:cubicBezTo>
                      <a:pt x="67" y="48"/>
                      <a:pt x="66" y="51"/>
                      <a:pt x="64" y="54"/>
                    </a:cubicBezTo>
                    <a:cubicBezTo>
                      <a:pt x="62" y="57"/>
                      <a:pt x="59" y="59"/>
                      <a:pt x="54" y="58"/>
                    </a:cubicBezTo>
                    <a:cubicBezTo>
                      <a:pt x="47" y="58"/>
                      <a:pt x="39" y="58"/>
                      <a:pt x="32" y="58"/>
                    </a:cubicBezTo>
                    <a:cubicBezTo>
                      <a:pt x="28" y="59"/>
                      <a:pt x="25" y="58"/>
                      <a:pt x="22" y="54"/>
                    </a:cubicBezTo>
                    <a:cubicBezTo>
                      <a:pt x="20" y="51"/>
                      <a:pt x="19" y="48"/>
                      <a:pt x="18" y="45"/>
                    </a:cubicBezTo>
                    <a:cubicBezTo>
                      <a:pt x="17" y="45"/>
                      <a:pt x="16" y="45"/>
                      <a:pt x="15" y="45"/>
                    </a:cubicBezTo>
                    <a:cubicBezTo>
                      <a:pt x="14" y="45"/>
                      <a:pt x="13" y="45"/>
                      <a:pt x="13" y="45"/>
                    </a:cubicBezTo>
                    <a:cubicBezTo>
                      <a:pt x="13" y="60"/>
                      <a:pt x="13" y="75"/>
                      <a:pt x="11" y="91"/>
                    </a:cubicBezTo>
                    <a:cubicBezTo>
                      <a:pt x="11" y="95"/>
                      <a:pt x="11" y="102"/>
                      <a:pt x="10" y="111"/>
                    </a:cubicBezTo>
                    <a:cubicBezTo>
                      <a:pt x="10" y="108"/>
                      <a:pt x="10" y="111"/>
                      <a:pt x="9" y="118"/>
                    </a:cubicBezTo>
                    <a:cubicBezTo>
                      <a:pt x="9" y="124"/>
                      <a:pt x="8" y="130"/>
                      <a:pt x="6" y="134"/>
                    </a:cubicBezTo>
                    <a:cubicBezTo>
                      <a:pt x="5" y="138"/>
                      <a:pt x="3" y="139"/>
                      <a:pt x="2" y="139"/>
                    </a:cubicBezTo>
                    <a:cubicBezTo>
                      <a:pt x="0" y="139"/>
                      <a:pt x="0" y="137"/>
                      <a:pt x="0" y="133"/>
                    </a:cubicBezTo>
                    <a:cubicBezTo>
                      <a:pt x="3" y="112"/>
                      <a:pt x="5" y="94"/>
                      <a:pt x="6" y="80"/>
                    </a:cubicBezTo>
                    <a:cubicBezTo>
                      <a:pt x="8" y="64"/>
                      <a:pt x="7" y="51"/>
                      <a:pt x="6" y="38"/>
                    </a:cubicBezTo>
                    <a:cubicBezTo>
                      <a:pt x="5" y="34"/>
                      <a:pt x="4" y="30"/>
                      <a:pt x="2" y="26"/>
                    </a:cubicBezTo>
                    <a:cubicBezTo>
                      <a:pt x="0" y="21"/>
                      <a:pt x="1" y="17"/>
                      <a:pt x="6" y="16"/>
                    </a:cubicBezTo>
                    <a:cubicBezTo>
                      <a:pt x="14" y="12"/>
                      <a:pt x="23" y="11"/>
                      <a:pt x="32" y="10"/>
                    </a:cubicBezTo>
                    <a:cubicBezTo>
                      <a:pt x="36" y="9"/>
                      <a:pt x="38" y="7"/>
                      <a:pt x="38" y="4"/>
                    </a:cubicBezTo>
                    <a:cubicBezTo>
                      <a:pt x="38" y="2"/>
                      <a:pt x="38" y="1"/>
                      <a:pt x="39" y="0"/>
                    </a:cubicBezTo>
                    <a:cubicBezTo>
                      <a:pt x="41" y="0"/>
                      <a:pt x="42" y="0"/>
                      <a:pt x="43" y="2"/>
                    </a:cubicBezTo>
                    <a:close/>
                    <a:moveTo>
                      <a:pt x="24" y="23"/>
                    </a:moveTo>
                    <a:cubicBezTo>
                      <a:pt x="33" y="22"/>
                      <a:pt x="44" y="22"/>
                      <a:pt x="58" y="23"/>
                    </a:cubicBezTo>
                    <a:cubicBezTo>
                      <a:pt x="63" y="24"/>
                      <a:pt x="66" y="26"/>
                      <a:pt x="66" y="29"/>
                    </a:cubicBezTo>
                    <a:cubicBezTo>
                      <a:pt x="66" y="30"/>
                      <a:pt x="66" y="30"/>
                      <a:pt x="67" y="31"/>
                    </a:cubicBezTo>
                    <a:cubicBezTo>
                      <a:pt x="67" y="33"/>
                      <a:pt x="67" y="35"/>
                      <a:pt x="67" y="37"/>
                    </a:cubicBezTo>
                    <a:cubicBezTo>
                      <a:pt x="69" y="38"/>
                      <a:pt x="71" y="38"/>
                      <a:pt x="73" y="38"/>
                    </a:cubicBezTo>
                    <a:cubicBezTo>
                      <a:pt x="73" y="37"/>
                      <a:pt x="73" y="36"/>
                      <a:pt x="73" y="34"/>
                    </a:cubicBezTo>
                    <a:cubicBezTo>
                      <a:pt x="73" y="32"/>
                      <a:pt x="73" y="30"/>
                      <a:pt x="74" y="29"/>
                    </a:cubicBezTo>
                    <a:cubicBezTo>
                      <a:pt x="75" y="25"/>
                      <a:pt x="72" y="21"/>
                      <a:pt x="66" y="20"/>
                    </a:cubicBezTo>
                    <a:cubicBezTo>
                      <a:pt x="58" y="17"/>
                      <a:pt x="50" y="16"/>
                      <a:pt x="40" y="16"/>
                    </a:cubicBezTo>
                    <a:cubicBezTo>
                      <a:pt x="29" y="16"/>
                      <a:pt x="20" y="18"/>
                      <a:pt x="13" y="21"/>
                    </a:cubicBezTo>
                    <a:cubicBezTo>
                      <a:pt x="11" y="22"/>
                      <a:pt x="11" y="24"/>
                      <a:pt x="11" y="26"/>
                    </a:cubicBezTo>
                    <a:cubicBezTo>
                      <a:pt x="11" y="28"/>
                      <a:pt x="12" y="30"/>
                      <a:pt x="12" y="32"/>
                    </a:cubicBezTo>
                    <a:cubicBezTo>
                      <a:pt x="12" y="35"/>
                      <a:pt x="12" y="37"/>
                      <a:pt x="12" y="38"/>
                    </a:cubicBezTo>
                    <a:cubicBezTo>
                      <a:pt x="14" y="38"/>
                      <a:pt x="15" y="38"/>
                      <a:pt x="17" y="38"/>
                    </a:cubicBezTo>
                    <a:cubicBezTo>
                      <a:pt x="17" y="35"/>
                      <a:pt x="17" y="32"/>
                      <a:pt x="17" y="30"/>
                    </a:cubicBezTo>
                    <a:cubicBezTo>
                      <a:pt x="18" y="26"/>
                      <a:pt x="20" y="24"/>
                      <a:pt x="24" y="23"/>
                    </a:cubicBezTo>
                    <a:close/>
                    <a:moveTo>
                      <a:pt x="28" y="64"/>
                    </a:moveTo>
                    <a:cubicBezTo>
                      <a:pt x="39" y="62"/>
                      <a:pt x="50" y="62"/>
                      <a:pt x="61" y="64"/>
                    </a:cubicBezTo>
                    <a:cubicBezTo>
                      <a:pt x="65" y="65"/>
                      <a:pt x="67" y="67"/>
                      <a:pt x="67" y="71"/>
                    </a:cubicBezTo>
                    <a:cubicBezTo>
                      <a:pt x="69" y="79"/>
                      <a:pt x="68" y="88"/>
                      <a:pt x="66" y="96"/>
                    </a:cubicBezTo>
                    <a:cubicBezTo>
                      <a:pt x="65" y="102"/>
                      <a:pt x="61" y="105"/>
                      <a:pt x="54" y="105"/>
                    </a:cubicBezTo>
                    <a:cubicBezTo>
                      <a:pt x="55" y="115"/>
                      <a:pt x="57" y="125"/>
                      <a:pt x="61" y="136"/>
                    </a:cubicBezTo>
                    <a:cubicBezTo>
                      <a:pt x="63" y="138"/>
                      <a:pt x="63" y="140"/>
                      <a:pt x="61" y="142"/>
                    </a:cubicBezTo>
                    <a:cubicBezTo>
                      <a:pt x="60" y="142"/>
                      <a:pt x="59" y="143"/>
                      <a:pt x="59" y="143"/>
                    </a:cubicBezTo>
                    <a:cubicBezTo>
                      <a:pt x="58" y="143"/>
                      <a:pt x="57" y="142"/>
                      <a:pt x="57" y="141"/>
                    </a:cubicBezTo>
                    <a:cubicBezTo>
                      <a:pt x="52" y="131"/>
                      <a:pt x="48" y="120"/>
                      <a:pt x="46" y="105"/>
                    </a:cubicBezTo>
                    <a:cubicBezTo>
                      <a:pt x="41" y="105"/>
                      <a:pt x="41" y="105"/>
                      <a:pt x="41" y="105"/>
                    </a:cubicBezTo>
                    <a:cubicBezTo>
                      <a:pt x="40" y="120"/>
                      <a:pt x="37" y="131"/>
                      <a:pt x="30" y="140"/>
                    </a:cubicBezTo>
                    <a:cubicBezTo>
                      <a:pt x="29" y="141"/>
                      <a:pt x="27" y="142"/>
                      <a:pt x="26" y="142"/>
                    </a:cubicBezTo>
                    <a:cubicBezTo>
                      <a:pt x="25" y="141"/>
                      <a:pt x="25" y="139"/>
                      <a:pt x="26" y="137"/>
                    </a:cubicBezTo>
                    <a:cubicBezTo>
                      <a:pt x="26" y="137"/>
                      <a:pt x="26" y="135"/>
                      <a:pt x="28" y="132"/>
                    </a:cubicBezTo>
                    <a:cubicBezTo>
                      <a:pt x="30" y="127"/>
                      <a:pt x="32" y="123"/>
                      <a:pt x="32" y="121"/>
                    </a:cubicBezTo>
                    <a:cubicBezTo>
                      <a:pt x="33" y="118"/>
                      <a:pt x="34" y="113"/>
                      <a:pt x="35" y="107"/>
                    </a:cubicBezTo>
                    <a:cubicBezTo>
                      <a:pt x="35" y="106"/>
                      <a:pt x="35" y="106"/>
                      <a:pt x="35" y="105"/>
                    </a:cubicBezTo>
                    <a:cubicBezTo>
                      <a:pt x="29" y="105"/>
                      <a:pt x="25" y="103"/>
                      <a:pt x="22" y="98"/>
                    </a:cubicBezTo>
                    <a:cubicBezTo>
                      <a:pt x="19" y="93"/>
                      <a:pt x="17" y="85"/>
                      <a:pt x="18" y="75"/>
                    </a:cubicBezTo>
                    <a:cubicBezTo>
                      <a:pt x="19" y="68"/>
                      <a:pt x="22" y="65"/>
                      <a:pt x="28" y="64"/>
                    </a:cubicBezTo>
                    <a:close/>
                    <a:moveTo>
                      <a:pt x="24" y="35"/>
                    </a:moveTo>
                    <a:cubicBezTo>
                      <a:pt x="24" y="36"/>
                      <a:pt x="24" y="36"/>
                      <a:pt x="24" y="37"/>
                    </a:cubicBezTo>
                    <a:cubicBezTo>
                      <a:pt x="29" y="37"/>
                      <a:pt x="34" y="37"/>
                      <a:pt x="39" y="37"/>
                    </a:cubicBezTo>
                    <a:cubicBezTo>
                      <a:pt x="39" y="34"/>
                      <a:pt x="38" y="31"/>
                      <a:pt x="38" y="29"/>
                    </a:cubicBezTo>
                    <a:cubicBezTo>
                      <a:pt x="37" y="29"/>
                      <a:pt x="36" y="29"/>
                      <a:pt x="34" y="29"/>
                    </a:cubicBezTo>
                    <a:cubicBezTo>
                      <a:pt x="31" y="29"/>
                      <a:pt x="30" y="29"/>
                      <a:pt x="28" y="29"/>
                    </a:cubicBezTo>
                    <a:cubicBezTo>
                      <a:pt x="25" y="31"/>
                      <a:pt x="24" y="32"/>
                      <a:pt x="24" y="35"/>
                    </a:cubicBezTo>
                    <a:close/>
                    <a:moveTo>
                      <a:pt x="61" y="87"/>
                    </a:moveTo>
                    <a:cubicBezTo>
                      <a:pt x="61" y="86"/>
                      <a:pt x="62" y="85"/>
                      <a:pt x="62" y="84"/>
                    </a:cubicBezTo>
                    <a:cubicBezTo>
                      <a:pt x="62" y="83"/>
                      <a:pt x="62" y="82"/>
                      <a:pt x="62" y="82"/>
                    </a:cubicBezTo>
                    <a:cubicBezTo>
                      <a:pt x="56" y="81"/>
                      <a:pt x="50" y="80"/>
                      <a:pt x="43" y="81"/>
                    </a:cubicBezTo>
                    <a:cubicBezTo>
                      <a:pt x="37" y="81"/>
                      <a:pt x="31" y="82"/>
                      <a:pt x="24" y="83"/>
                    </a:cubicBezTo>
                    <a:cubicBezTo>
                      <a:pt x="25" y="87"/>
                      <a:pt x="25" y="87"/>
                      <a:pt x="25" y="87"/>
                    </a:cubicBezTo>
                    <a:cubicBezTo>
                      <a:pt x="35" y="86"/>
                      <a:pt x="48" y="86"/>
                      <a:pt x="61" y="87"/>
                    </a:cubicBezTo>
                    <a:close/>
                    <a:moveTo>
                      <a:pt x="26" y="48"/>
                    </a:moveTo>
                    <a:cubicBezTo>
                      <a:pt x="28" y="51"/>
                      <a:pt x="30" y="52"/>
                      <a:pt x="35" y="52"/>
                    </a:cubicBezTo>
                    <a:cubicBezTo>
                      <a:pt x="38" y="52"/>
                      <a:pt x="38" y="52"/>
                      <a:pt x="38" y="52"/>
                    </a:cubicBezTo>
                    <a:cubicBezTo>
                      <a:pt x="38" y="49"/>
                      <a:pt x="39" y="46"/>
                      <a:pt x="39" y="44"/>
                    </a:cubicBezTo>
                    <a:cubicBezTo>
                      <a:pt x="34" y="44"/>
                      <a:pt x="30" y="44"/>
                      <a:pt x="25" y="44"/>
                    </a:cubicBezTo>
                    <a:cubicBezTo>
                      <a:pt x="25" y="46"/>
                      <a:pt x="25" y="47"/>
                      <a:pt x="26" y="48"/>
                    </a:cubicBezTo>
                    <a:close/>
                    <a:moveTo>
                      <a:pt x="32" y="69"/>
                    </a:moveTo>
                    <a:cubicBezTo>
                      <a:pt x="28" y="70"/>
                      <a:pt x="25" y="72"/>
                      <a:pt x="25" y="76"/>
                    </a:cubicBezTo>
                    <a:cubicBezTo>
                      <a:pt x="30" y="75"/>
                      <a:pt x="35" y="75"/>
                      <a:pt x="41" y="75"/>
                    </a:cubicBezTo>
                    <a:cubicBezTo>
                      <a:pt x="46" y="74"/>
                      <a:pt x="53" y="74"/>
                      <a:pt x="61" y="75"/>
                    </a:cubicBezTo>
                    <a:cubicBezTo>
                      <a:pt x="61" y="72"/>
                      <a:pt x="59" y="71"/>
                      <a:pt x="57" y="70"/>
                    </a:cubicBezTo>
                    <a:cubicBezTo>
                      <a:pt x="49" y="68"/>
                      <a:pt x="40" y="68"/>
                      <a:pt x="32" y="69"/>
                    </a:cubicBezTo>
                    <a:close/>
                    <a:moveTo>
                      <a:pt x="56" y="98"/>
                    </a:moveTo>
                    <a:cubicBezTo>
                      <a:pt x="59" y="97"/>
                      <a:pt x="60" y="96"/>
                      <a:pt x="61" y="93"/>
                    </a:cubicBezTo>
                    <a:cubicBezTo>
                      <a:pt x="60" y="93"/>
                      <a:pt x="57" y="93"/>
                      <a:pt x="54" y="93"/>
                    </a:cubicBezTo>
                    <a:cubicBezTo>
                      <a:pt x="48" y="92"/>
                      <a:pt x="44" y="92"/>
                      <a:pt x="41" y="92"/>
                    </a:cubicBezTo>
                    <a:cubicBezTo>
                      <a:pt x="40" y="92"/>
                      <a:pt x="38" y="92"/>
                      <a:pt x="36" y="93"/>
                    </a:cubicBezTo>
                    <a:cubicBezTo>
                      <a:pt x="31" y="93"/>
                      <a:pt x="28" y="94"/>
                      <a:pt x="26" y="94"/>
                    </a:cubicBezTo>
                    <a:cubicBezTo>
                      <a:pt x="27" y="96"/>
                      <a:pt x="29" y="98"/>
                      <a:pt x="32" y="98"/>
                    </a:cubicBezTo>
                    <a:cubicBezTo>
                      <a:pt x="39" y="99"/>
                      <a:pt x="47" y="99"/>
                      <a:pt x="56" y="98"/>
                    </a:cubicBezTo>
                    <a:close/>
                    <a:moveTo>
                      <a:pt x="56" y="29"/>
                    </a:moveTo>
                    <a:cubicBezTo>
                      <a:pt x="55" y="29"/>
                      <a:pt x="53" y="29"/>
                      <a:pt x="51" y="29"/>
                    </a:cubicBezTo>
                    <a:cubicBezTo>
                      <a:pt x="49" y="29"/>
                      <a:pt x="47" y="29"/>
                      <a:pt x="46" y="29"/>
                    </a:cubicBezTo>
                    <a:cubicBezTo>
                      <a:pt x="46" y="31"/>
                      <a:pt x="46" y="34"/>
                      <a:pt x="46" y="37"/>
                    </a:cubicBezTo>
                    <a:cubicBezTo>
                      <a:pt x="50" y="37"/>
                      <a:pt x="55" y="37"/>
                      <a:pt x="60" y="37"/>
                    </a:cubicBezTo>
                    <a:cubicBezTo>
                      <a:pt x="60" y="35"/>
                      <a:pt x="60" y="35"/>
                      <a:pt x="60" y="35"/>
                    </a:cubicBezTo>
                    <a:cubicBezTo>
                      <a:pt x="60" y="32"/>
                      <a:pt x="58" y="30"/>
                      <a:pt x="56" y="29"/>
                    </a:cubicBezTo>
                    <a:close/>
                    <a:moveTo>
                      <a:pt x="59" y="48"/>
                    </a:moveTo>
                    <a:cubicBezTo>
                      <a:pt x="59" y="47"/>
                      <a:pt x="59" y="45"/>
                      <a:pt x="60" y="43"/>
                    </a:cubicBezTo>
                    <a:cubicBezTo>
                      <a:pt x="55" y="43"/>
                      <a:pt x="51" y="43"/>
                      <a:pt x="46" y="43"/>
                    </a:cubicBezTo>
                    <a:cubicBezTo>
                      <a:pt x="46" y="52"/>
                      <a:pt x="46" y="52"/>
                      <a:pt x="46" y="52"/>
                    </a:cubicBezTo>
                    <a:cubicBezTo>
                      <a:pt x="48" y="52"/>
                      <a:pt x="51" y="52"/>
                      <a:pt x="54" y="52"/>
                    </a:cubicBezTo>
                    <a:cubicBezTo>
                      <a:pt x="57" y="51"/>
                      <a:pt x="59" y="49"/>
                      <a:pt x="59" y="48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1049651" name="îSḻide"/>
              <p:cNvSpPr/>
              <p:nvPr/>
            </p:nvSpPr>
            <p:spPr bwMode="auto">
              <a:xfrm>
                <a:off x="2449409" y="5256803"/>
                <a:ext cx="139700" cy="265113"/>
              </a:xfrm>
              <a:custGeom>
                <a:avLst/>
                <a:gdLst>
                  <a:gd name="T0" fmla="*/ 56 w 76"/>
                  <a:gd name="T1" fmla="*/ 3 h 144"/>
                  <a:gd name="T2" fmla="*/ 61 w 76"/>
                  <a:gd name="T3" fmla="*/ 45 h 144"/>
                  <a:gd name="T4" fmla="*/ 50 w 76"/>
                  <a:gd name="T5" fmla="*/ 74 h 144"/>
                  <a:gd name="T6" fmla="*/ 68 w 76"/>
                  <a:gd name="T7" fmla="*/ 65 h 144"/>
                  <a:gd name="T8" fmla="*/ 70 w 76"/>
                  <a:gd name="T9" fmla="*/ 31 h 144"/>
                  <a:gd name="T10" fmla="*/ 74 w 76"/>
                  <a:gd name="T11" fmla="*/ 31 h 144"/>
                  <a:gd name="T12" fmla="*/ 74 w 76"/>
                  <a:gd name="T13" fmla="*/ 64 h 144"/>
                  <a:gd name="T14" fmla="*/ 50 w 76"/>
                  <a:gd name="T15" fmla="*/ 81 h 144"/>
                  <a:gd name="T16" fmla="*/ 69 w 76"/>
                  <a:gd name="T17" fmla="*/ 103 h 144"/>
                  <a:gd name="T18" fmla="*/ 74 w 76"/>
                  <a:gd name="T19" fmla="*/ 140 h 144"/>
                  <a:gd name="T20" fmla="*/ 63 w 76"/>
                  <a:gd name="T21" fmla="*/ 105 h 144"/>
                  <a:gd name="T22" fmla="*/ 52 w 76"/>
                  <a:gd name="T23" fmla="*/ 138 h 144"/>
                  <a:gd name="T24" fmla="*/ 46 w 76"/>
                  <a:gd name="T25" fmla="*/ 139 h 144"/>
                  <a:gd name="T26" fmla="*/ 42 w 76"/>
                  <a:gd name="T27" fmla="*/ 57 h 144"/>
                  <a:gd name="T28" fmla="*/ 35 w 76"/>
                  <a:gd name="T29" fmla="*/ 132 h 144"/>
                  <a:gd name="T30" fmla="*/ 27 w 76"/>
                  <a:gd name="T31" fmla="*/ 136 h 144"/>
                  <a:gd name="T32" fmla="*/ 29 w 76"/>
                  <a:gd name="T33" fmla="*/ 95 h 144"/>
                  <a:gd name="T34" fmla="*/ 5 w 76"/>
                  <a:gd name="T35" fmla="*/ 135 h 144"/>
                  <a:gd name="T36" fmla="*/ 0 w 76"/>
                  <a:gd name="T37" fmla="*/ 135 h 144"/>
                  <a:gd name="T38" fmla="*/ 30 w 76"/>
                  <a:gd name="T39" fmla="*/ 86 h 144"/>
                  <a:gd name="T40" fmla="*/ 26 w 76"/>
                  <a:gd name="T41" fmla="*/ 80 h 144"/>
                  <a:gd name="T42" fmla="*/ 5 w 76"/>
                  <a:gd name="T43" fmla="*/ 66 h 144"/>
                  <a:gd name="T44" fmla="*/ 3 w 76"/>
                  <a:gd name="T45" fmla="*/ 29 h 144"/>
                  <a:gd name="T46" fmla="*/ 9 w 76"/>
                  <a:gd name="T47" fmla="*/ 59 h 144"/>
                  <a:gd name="T48" fmla="*/ 31 w 76"/>
                  <a:gd name="T49" fmla="*/ 74 h 144"/>
                  <a:gd name="T50" fmla="*/ 32 w 76"/>
                  <a:gd name="T51" fmla="*/ 57 h 144"/>
                  <a:gd name="T52" fmla="*/ 16 w 76"/>
                  <a:gd name="T53" fmla="*/ 14 h 144"/>
                  <a:gd name="T54" fmla="*/ 22 w 76"/>
                  <a:gd name="T55" fmla="*/ 19 h 144"/>
                  <a:gd name="T56" fmla="*/ 57 w 76"/>
                  <a:gd name="T57" fmla="*/ 19 h 144"/>
                  <a:gd name="T58" fmla="*/ 50 w 76"/>
                  <a:gd name="T59" fmla="*/ 9 h 144"/>
                  <a:gd name="T60" fmla="*/ 22 w 76"/>
                  <a:gd name="T61" fmla="*/ 19 h 144"/>
                  <a:gd name="T62" fmla="*/ 23 w 76"/>
                  <a:gd name="T63" fmla="*/ 31 h 144"/>
                  <a:gd name="T64" fmla="*/ 57 w 76"/>
                  <a:gd name="T65" fmla="*/ 34 h 144"/>
                  <a:gd name="T66" fmla="*/ 22 w 76"/>
                  <a:gd name="T67" fmla="*/ 27 h 144"/>
                  <a:gd name="T68" fmla="*/ 48 w 76"/>
                  <a:gd name="T69" fmla="*/ 50 h 144"/>
                  <a:gd name="T70" fmla="*/ 57 w 76"/>
                  <a:gd name="T71" fmla="*/ 41 h 144"/>
                  <a:gd name="T72" fmla="*/ 25 w 76"/>
                  <a:gd name="T73" fmla="*/ 44 h 1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76" h="144">
                    <a:moveTo>
                      <a:pt x="27" y="2"/>
                    </a:moveTo>
                    <a:cubicBezTo>
                      <a:pt x="37" y="0"/>
                      <a:pt x="47" y="0"/>
                      <a:pt x="56" y="3"/>
                    </a:cubicBezTo>
                    <a:cubicBezTo>
                      <a:pt x="60" y="3"/>
                      <a:pt x="62" y="7"/>
                      <a:pt x="63" y="15"/>
                    </a:cubicBezTo>
                    <a:cubicBezTo>
                      <a:pt x="65" y="25"/>
                      <a:pt x="64" y="35"/>
                      <a:pt x="61" y="45"/>
                    </a:cubicBezTo>
                    <a:cubicBezTo>
                      <a:pt x="60" y="53"/>
                      <a:pt x="55" y="56"/>
                      <a:pt x="49" y="57"/>
                    </a:cubicBezTo>
                    <a:cubicBezTo>
                      <a:pt x="49" y="62"/>
                      <a:pt x="50" y="68"/>
                      <a:pt x="50" y="74"/>
                    </a:cubicBezTo>
                    <a:cubicBezTo>
                      <a:pt x="53" y="74"/>
                      <a:pt x="56" y="74"/>
                      <a:pt x="58" y="74"/>
                    </a:cubicBezTo>
                    <a:cubicBezTo>
                      <a:pt x="62" y="75"/>
                      <a:pt x="66" y="72"/>
                      <a:pt x="68" y="65"/>
                    </a:cubicBezTo>
                    <a:cubicBezTo>
                      <a:pt x="69" y="62"/>
                      <a:pt x="70" y="53"/>
                      <a:pt x="70" y="39"/>
                    </a:cubicBezTo>
                    <a:cubicBezTo>
                      <a:pt x="70" y="35"/>
                      <a:pt x="70" y="32"/>
                      <a:pt x="70" y="31"/>
                    </a:cubicBezTo>
                    <a:cubicBezTo>
                      <a:pt x="71" y="31"/>
                      <a:pt x="71" y="30"/>
                      <a:pt x="72" y="30"/>
                    </a:cubicBezTo>
                    <a:cubicBezTo>
                      <a:pt x="73" y="30"/>
                      <a:pt x="74" y="30"/>
                      <a:pt x="74" y="31"/>
                    </a:cubicBezTo>
                    <a:cubicBezTo>
                      <a:pt x="75" y="33"/>
                      <a:pt x="76" y="36"/>
                      <a:pt x="76" y="41"/>
                    </a:cubicBezTo>
                    <a:cubicBezTo>
                      <a:pt x="76" y="49"/>
                      <a:pt x="75" y="56"/>
                      <a:pt x="74" y="64"/>
                    </a:cubicBezTo>
                    <a:cubicBezTo>
                      <a:pt x="72" y="75"/>
                      <a:pt x="67" y="81"/>
                      <a:pt x="58" y="81"/>
                    </a:cubicBezTo>
                    <a:cubicBezTo>
                      <a:pt x="50" y="81"/>
                      <a:pt x="50" y="81"/>
                      <a:pt x="50" y="81"/>
                    </a:cubicBezTo>
                    <a:cubicBezTo>
                      <a:pt x="50" y="87"/>
                      <a:pt x="50" y="87"/>
                      <a:pt x="50" y="87"/>
                    </a:cubicBezTo>
                    <a:cubicBezTo>
                      <a:pt x="60" y="87"/>
                      <a:pt x="66" y="92"/>
                      <a:pt x="69" y="103"/>
                    </a:cubicBezTo>
                    <a:cubicBezTo>
                      <a:pt x="72" y="112"/>
                      <a:pt x="74" y="122"/>
                      <a:pt x="76" y="134"/>
                    </a:cubicBezTo>
                    <a:cubicBezTo>
                      <a:pt x="76" y="138"/>
                      <a:pt x="75" y="140"/>
                      <a:pt x="74" y="140"/>
                    </a:cubicBezTo>
                    <a:cubicBezTo>
                      <a:pt x="72" y="141"/>
                      <a:pt x="71" y="139"/>
                      <a:pt x="70" y="136"/>
                    </a:cubicBezTo>
                    <a:cubicBezTo>
                      <a:pt x="68" y="126"/>
                      <a:pt x="66" y="116"/>
                      <a:pt x="63" y="105"/>
                    </a:cubicBezTo>
                    <a:cubicBezTo>
                      <a:pt x="61" y="98"/>
                      <a:pt x="57" y="95"/>
                      <a:pt x="50" y="95"/>
                    </a:cubicBezTo>
                    <a:cubicBezTo>
                      <a:pt x="50" y="109"/>
                      <a:pt x="51" y="123"/>
                      <a:pt x="52" y="138"/>
                    </a:cubicBezTo>
                    <a:cubicBezTo>
                      <a:pt x="52" y="141"/>
                      <a:pt x="51" y="143"/>
                      <a:pt x="49" y="144"/>
                    </a:cubicBezTo>
                    <a:cubicBezTo>
                      <a:pt x="47" y="144"/>
                      <a:pt x="46" y="142"/>
                      <a:pt x="46" y="139"/>
                    </a:cubicBezTo>
                    <a:cubicBezTo>
                      <a:pt x="44" y="134"/>
                      <a:pt x="43" y="118"/>
                      <a:pt x="43" y="92"/>
                    </a:cubicBezTo>
                    <a:cubicBezTo>
                      <a:pt x="43" y="76"/>
                      <a:pt x="43" y="64"/>
                      <a:pt x="42" y="57"/>
                    </a:cubicBezTo>
                    <a:cubicBezTo>
                      <a:pt x="38" y="57"/>
                      <a:pt x="38" y="57"/>
                      <a:pt x="38" y="57"/>
                    </a:cubicBezTo>
                    <a:cubicBezTo>
                      <a:pt x="36" y="88"/>
                      <a:pt x="35" y="113"/>
                      <a:pt x="35" y="132"/>
                    </a:cubicBezTo>
                    <a:cubicBezTo>
                      <a:pt x="35" y="138"/>
                      <a:pt x="33" y="142"/>
                      <a:pt x="31" y="142"/>
                    </a:cubicBezTo>
                    <a:cubicBezTo>
                      <a:pt x="29" y="142"/>
                      <a:pt x="27" y="140"/>
                      <a:pt x="27" y="136"/>
                    </a:cubicBezTo>
                    <a:cubicBezTo>
                      <a:pt x="27" y="136"/>
                      <a:pt x="27" y="134"/>
                      <a:pt x="27" y="132"/>
                    </a:cubicBezTo>
                    <a:cubicBezTo>
                      <a:pt x="28" y="118"/>
                      <a:pt x="29" y="105"/>
                      <a:pt x="29" y="95"/>
                    </a:cubicBezTo>
                    <a:cubicBezTo>
                      <a:pt x="19" y="95"/>
                      <a:pt x="14" y="98"/>
                      <a:pt x="13" y="105"/>
                    </a:cubicBezTo>
                    <a:cubicBezTo>
                      <a:pt x="10" y="114"/>
                      <a:pt x="7" y="124"/>
                      <a:pt x="5" y="135"/>
                    </a:cubicBezTo>
                    <a:cubicBezTo>
                      <a:pt x="4" y="137"/>
                      <a:pt x="3" y="139"/>
                      <a:pt x="2" y="139"/>
                    </a:cubicBezTo>
                    <a:cubicBezTo>
                      <a:pt x="1" y="140"/>
                      <a:pt x="0" y="138"/>
                      <a:pt x="0" y="135"/>
                    </a:cubicBezTo>
                    <a:cubicBezTo>
                      <a:pt x="0" y="125"/>
                      <a:pt x="2" y="115"/>
                      <a:pt x="7" y="104"/>
                    </a:cubicBezTo>
                    <a:cubicBezTo>
                      <a:pt x="11" y="92"/>
                      <a:pt x="18" y="86"/>
                      <a:pt x="30" y="86"/>
                    </a:cubicBezTo>
                    <a:cubicBezTo>
                      <a:pt x="30" y="85"/>
                      <a:pt x="30" y="83"/>
                      <a:pt x="31" y="80"/>
                    </a:cubicBezTo>
                    <a:cubicBezTo>
                      <a:pt x="29" y="81"/>
                      <a:pt x="28" y="81"/>
                      <a:pt x="26" y="80"/>
                    </a:cubicBezTo>
                    <a:cubicBezTo>
                      <a:pt x="24" y="80"/>
                      <a:pt x="23" y="80"/>
                      <a:pt x="22" y="80"/>
                    </a:cubicBezTo>
                    <a:cubicBezTo>
                      <a:pt x="14" y="81"/>
                      <a:pt x="8" y="76"/>
                      <a:pt x="5" y="66"/>
                    </a:cubicBezTo>
                    <a:cubicBezTo>
                      <a:pt x="2" y="59"/>
                      <a:pt x="0" y="49"/>
                      <a:pt x="0" y="37"/>
                    </a:cubicBezTo>
                    <a:cubicBezTo>
                      <a:pt x="0" y="32"/>
                      <a:pt x="1" y="29"/>
                      <a:pt x="3" y="29"/>
                    </a:cubicBezTo>
                    <a:cubicBezTo>
                      <a:pt x="6" y="31"/>
                      <a:pt x="8" y="35"/>
                      <a:pt x="8" y="39"/>
                    </a:cubicBezTo>
                    <a:cubicBezTo>
                      <a:pt x="7" y="45"/>
                      <a:pt x="7" y="52"/>
                      <a:pt x="9" y="59"/>
                    </a:cubicBezTo>
                    <a:cubicBezTo>
                      <a:pt x="10" y="68"/>
                      <a:pt x="16" y="73"/>
                      <a:pt x="24" y="74"/>
                    </a:cubicBezTo>
                    <a:cubicBezTo>
                      <a:pt x="26" y="74"/>
                      <a:pt x="29" y="74"/>
                      <a:pt x="31" y="74"/>
                    </a:cubicBezTo>
                    <a:cubicBezTo>
                      <a:pt x="31" y="72"/>
                      <a:pt x="31" y="69"/>
                      <a:pt x="31" y="65"/>
                    </a:cubicBezTo>
                    <a:cubicBezTo>
                      <a:pt x="31" y="61"/>
                      <a:pt x="32" y="58"/>
                      <a:pt x="32" y="57"/>
                    </a:cubicBezTo>
                    <a:cubicBezTo>
                      <a:pt x="25" y="56"/>
                      <a:pt x="20" y="53"/>
                      <a:pt x="19" y="48"/>
                    </a:cubicBezTo>
                    <a:cubicBezTo>
                      <a:pt x="15" y="36"/>
                      <a:pt x="14" y="25"/>
                      <a:pt x="16" y="14"/>
                    </a:cubicBezTo>
                    <a:cubicBezTo>
                      <a:pt x="17" y="6"/>
                      <a:pt x="21" y="2"/>
                      <a:pt x="27" y="2"/>
                    </a:cubicBezTo>
                    <a:close/>
                    <a:moveTo>
                      <a:pt x="22" y="19"/>
                    </a:moveTo>
                    <a:cubicBezTo>
                      <a:pt x="22" y="20"/>
                      <a:pt x="22" y="20"/>
                      <a:pt x="22" y="20"/>
                    </a:cubicBezTo>
                    <a:cubicBezTo>
                      <a:pt x="30" y="20"/>
                      <a:pt x="42" y="19"/>
                      <a:pt x="57" y="19"/>
                    </a:cubicBezTo>
                    <a:cubicBezTo>
                      <a:pt x="57" y="18"/>
                      <a:pt x="57" y="17"/>
                      <a:pt x="57" y="16"/>
                    </a:cubicBezTo>
                    <a:cubicBezTo>
                      <a:pt x="56" y="13"/>
                      <a:pt x="54" y="10"/>
                      <a:pt x="50" y="9"/>
                    </a:cubicBezTo>
                    <a:cubicBezTo>
                      <a:pt x="44" y="8"/>
                      <a:pt x="37" y="7"/>
                      <a:pt x="31" y="9"/>
                    </a:cubicBezTo>
                    <a:cubicBezTo>
                      <a:pt x="25" y="11"/>
                      <a:pt x="22" y="14"/>
                      <a:pt x="22" y="19"/>
                    </a:cubicBezTo>
                    <a:close/>
                    <a:moveTo>
                      <a:pt x="22" y="27"/>
                    </a:moveTo>
                    <a:cubicBezTo>
                      <a:pt x="22" y="28"/>
                      <a:pt x="22" y="29"/>
                      <a:pt x="23" y="31"/>
                    </a:cubicBezTo>
                    <a:cubicBezTo>
                      <a:pt x="23" y="32"/>
                      <a:pt x="23" y="33"/>
                      <a:pt x="23" y="34"/>
                    </a:cubicBezTo>
                    <a:cubicBezTo>
                      <a:pt x="57" y="34"/>
                      <a:pt x="57" y="34"/>
                      <a:pt x="57" y="34"/>
                    </a:cubicBezTo>
                    <a:cubicBezTo>
                      <a:pt x="57" y="27"/>
                      <a:pt x="57" y="27"/>
                      <a:pt x="57" y="27"/>
                    </a:cubicBezTo>
                    <a:cubicBezTo>
                      <a:pt x="45" y="26"/>
                      <a:pt x="33" y="26"/>
                      <a:pt x="22" y="27"/>
                    </a:cubicBezTo>
                    <a:close/>
                    <a:moveTo>
                      <a:pt x="35" y="50"/>
                    </a:moveTo>
                    <a:cubicBezTo>
                      <a:pt x="48" y="50"/>
                      <a:pt x="48" y="50"/>
                      <a:pt x="48" y="50"/>
                    </a:cubicBezTo>
                    <a:cubicBezTo>
                      <a:pt x="53" y="50"/>
                      <a:pt x="55" y="47"/>
                      <a:pt x="57" y="42"/>
                    </a:cubicBezTo>
                    <a:cubicBezTo>
                      <a:pt x="57" y="41"/>
                      <a:pt x="57" y="41"/>
                      <a:pt x="57" y="41"/>
                    </a:cubicBezTo>
                    <a:cubicBezTo>
                      <a:pt x="43" y="41"/>
                      <a:pt x="32" y="41"/>
                      <a:pt x="24" y="42"/>
                    </a:cubicBezTo>
                    <a:cubicBezTo>
                      <a:pt x="24" y="43"/>
                      <a:pt x="24" y="43"/>
                      <a:pt x="25" y="44"/>
                    </a:cubicBezTo>
                    <a:cubicBezTo>
                      <a:pt x="27" y="48"/>
                      <a:pt x="30" y="50"/>
                      <a:pt x="35" y="5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1049652" name="iṣlîḋè"/>
              <p:cNvSpPr/>
              <p:nvPr/>
            </p:nvSpPr>
            <p:spPr bwMode="auto">
              <a:xfrm>
                <a:off x="2604984" y="5259978"/>
                <a:ext cx="177800" cy="255588"/>
              </a:xfrm>
              <a:custGeom>
                <a:avLst/>
                <a:gdLst>
                  <a:gd name="T0" fmla="*/ 5 w 96"/>
                  <a:gd name="T1" fmla="*/ 37 h 138"/>
                  <a:gd name="T2" fmla="*/ 24 w 96"/>
                  <a:gd name="T3" fmla="*/ 49 h 138"/>
                  <a:gd name="T4" fmla="*/ 7 w 96"/>
                  <a:gd name="T5" fmla="*/ 26 h 138"/>
                  <a:gd name="T6" fmla="*/ 0 w 96"/>
                  <a:gd name="T7" fmla="*/ 22 h 138"/>
                  <a:gd name="T8" fmla="*/ 44 w 96"/>
                  <a:gd name="T9" fmla="*/ 19 h 138"/>
                  <a:gd name="T10" fmla="*/ 40 w 96"/>
                  <a:gd name="T11" fmla="*/ 26 h 138"/>
                  <a:gd name="T12" fmla="*/ 29 w 96"/>
                  <a:gd name="T13" fmla="*/ 49 h 138"/>
                  <a:gd name="T14" fmla="*/ 42 w 96"/>
                  <a:gd name="T15" fmla="*/ 39 h 138"/>
                  <a:gd name="T16" fmla="*/ 36 w 96"/>
                  <a:gd name="T17" fmla="*/ 64 h 138"/>
                  <a:gd name="T18" fmla="*/ 44 w 96"/>
                  <a:gd name="T19" fmla="*/ 70 h 138"/>
                  <a:gd name="T20" fmla="*/ 30 w 96"/>
                  <a:gd name="T21" fmla="*/ 78 h 138"/>
                  <a:gd name="T22" fmla="*/ 48 w 96"/>
                  <a:gd name="T23" fmla="*/ 111 h 138"/>
                  <a:gd name="T24" fmla="*/ 42 w 96"/>
                  <a:gd name="T25" fmla="*/ 124 h 138"/>
                  <a:gd name="T26" fmla="*/ 33 w 96"/>
                  <a:gd name="T27" fmla="*/ 93 h 138"/>
                  <a:gd name="T28" fmla="*/ 30 w 96"/>
                  <a:gd name="T29" fmla="*/ 116 h 138"/>
                  <a:gd name="T30" fmla="*/ 24 w 96"/>
                  <a:gd name="T31" fmla="*/ 133 h 138"/>
                  <a:gd name="T32" fmla="*/ 20 w 96"/>
                  <a:gd name="T33" fmla="*/ 93 h 138"/>
                  <a:gd name="T34" fmla="*/ 11 w 96"/>
                  <a:gd name="T35" fmla="*/ 122 h 138"/>
                  <a:gd name="T36" fmla="*/ 8 w 96"/>
                  <a:gd name="T37" fmla="*/ 102 h 138"/>
                  <a:gd name="T38" fmla="*/ 24 w 96"/>
                  <a:gd name="T39" fmla="*/ 81 h 138"/>
                  <a:gd name="T40" fmla="*/ 3 w 96"/>
                  <a:gd name="T41" fmla="*/ 77 h 138"/>
                  <a:gd name="T42" fmla="*/ 14 w 96"/>
                  <a:gd name="T43" fmla="*/ 70 h 138"/>
                  <a:gd name="T44" fmla="*/ 20 w 96"/>
                  <a:gd name="T45" fmla="*/ 65 h 138"/>
                  <a:gd name="T46" fmla="*/ 2 w 96"/>
                  <a:gd name="T47" fmla="*/ 37 h 138"/>
                  <a:gd name="T48" fmla="*/ 40 w 96"/>
                  <a:gd name="T49" fmla="*/ 3 h 138"/>
                  <a:gd name="T50" fmla="*/ 14 w 96"/>
                  <a:gd name="T51" fmla="*/ 11 h 138"/>
                  <a:gd name="T52" fmla="*/ 5 w 96"/>
                  <a:gd name="T53" fmla="*/ 6 h 138"/>
                  <a:gd name="T54" fmla="*/ 33 w 96"/>
                  <a:gd name="T55" fmla="*/ 26 h 138"/>
                  <a:gd name="T56" fmla="*/ 27 w 96"/>
                  <a:gd name="T57" fmla="*/ 45 h 138"/>
                  <a:gd name="T58" fmla="*/ 54 w 96"/>
                  <a:gd name="T59" fmla="*/ 2 h 138"/>
                  <a:gd name="T60" fmla="*/ 58 w 96"/>
                  <a:gd name="T61" fmla="*/ 10 h 138"/>
                  <a:gd name="T62" fmla="*/ 88 w 96"/>
                  <a:gd name="T63" fmla="*/ 22 h 138"/>
                  <a:gd name="T64" fmla="*/ 74 w 96"/>
                  <a:gd name="T65" fmla="*/ 37 h 138"/>
                  <a:gd name="T66" fmla="*/ 62 w 96"/>
                  <a:gd name="T67" fmla="*/ 66 h 138"/>
                  <a:gd name="T68" fmla="*/ 53 w 96"/>
                  <a:gd name="T69" fmla="*/ 136 h 138"/>
                  <a:gd name="T70" fmla="*/ 48 w 96"/>
                  <a:gd name="T71" fmla="*/ 130 h 138"/>
                  <a:gd name="T72" fmla="*/ 55 w 96"/>
                  <a:gd name="T73" fmla="*/ 48 h 138"/>
                  <a:gd name="T74" fmla="*/ 76 w 96"/>
                  <a:gd name="T75" fmla="*/ 31 h 138"/>
                  <a:gd name="T76" fmla="*/ 65 w 96"/>
                  <a:gd name="T77" fmla="*/ 18 h 138"/>
                  <a:gd name="T78" fmla="*/ 52 w 96"/>
                  <a:gd name="T79" fmla="*/ 13 h 138"/>
                  <a:gd name="T80" fmla="*/ 94 w 96"/>
                  <a:gd name="T81" fmla="*/ 74 h 138"/>
                  <a:gd name="T82" fmla="*/ 76 w 96"/>
                  <a:gd name="T83" fmla="*/ 54 h 138"/>
                  <a:gd name="T84" fmla="*/ 83 w 96"/>
                  <a:gd name="T85" fmla="*/ 119 h 138"/>
                  <a:gd name="T86" fmla="*/ 88 w 96"/>
                  <a:gd name="T87" fmla="*/ 133 h 138"/>
                  <a:gd name="T88" fmla="*/ 70 w 96"/>
                  <a:gd name="T89" fmla="*/ 93 h 138"/>
                  <a:gd name="T90" fmla="*/ 70 w 96"/>
                  <a:gd name="T91" fmla="*/ 42 h 138"/>
                  <a:gd name="T92" fmla="*/ 95 w 96"/>
                  <a:gd name="T93" fmla="*/ 70 h 1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96" h="138">
                    <a:moveTo>
                      <a:pt x="2" y="37"/>
                    </a:moveTo>
                    <a:cubicBezTo>
                      <a:pt x="2" y="36"/>
                      <a:pt x="2" y="35"/>
                      <a:pt x="3" y="35"/>
                    </a:cubicBezTo>
                    <a:cubicBezTo>
                      <a:pt x="4" y="35"/>
                      <a:pt x="5" y="36"/>
                      <a:pt x="5" y="37"/>
                    </a:cubicBezTo>
                    <a:cubicBezTo>
                      <a:pt x="9" y="49"/>
                      <a:pt x="14" y="56"/>
                      <a:pt x="21" y="59"/>
                    </a:cubicBezTo>
                    <a:cubicBezTo>
                      <a:pt x="21" y="59"/>
                      <a:pt x="22" y="60"/>
                      <a:pt x="24" y="60"/>
                    </a:cubicBezTo>
                    <a:cubicBezTo>
                      <a:pt x="24" y="56"/>
                      <a:pt x="24" y="53"/>
                      <a:pt x="24" y="49"/>
                    </a:cubicBezTo>
                    <a:cubicBezTo>
                      <a:pt x="21" y="48"/>
                      <a:pt x="18" y="46"/>
                      <a:pt x="16" y="42"/>
                    </a:cubicBezTo>
                    <a:cubicBezTo>
                      <a:pt x="13" y="38"/>
                      <a:pt x="12" y="33"/>
                      <a:pt x="12" y="26"/>
                    </a:cubicBezTo>
                    <a:cubicBezTo>
                      <a:pt x="9" y="26"/>
                      <a:pt x="8" y="26"/>
                      <a:pt x="7" y="26"/>
                    </a:cubicBezTo>
                    <a:cubicBezTo>
                      <a:pt x="4" y="27"/>
                      <a:pt x="2" y="27"/>
                      <a:pt x="1" y="25"/>
                    </a:cubicBezTo>
                    <a:cubicBezTo>
                      <a:pt x="0" y="24"/>
                      <a:pt x="0" y="23"/>
                      <a:pt x="0" y="22"/>
                    </a:cubicBezTo>
                    <a:cubicBezTo>
                      <a:pt x="0" y="22"/>
                      <a:pt x="0" y="22"/>
                      <a:pt x="0" y="22"/>
                    </a:cubicBezTo>
                    <a:cubicBezTo>
                      <a:pt x="1" y="19"/>
                      <a:pt x="2" y="18"/>
                      <a:pt x="4" y="19"/>
                    </a:cubicBezTo>
                    <a:cubicBezTo>
                      <a:pt x="6" y="19"/>
                      <a:pt x="8" y="19"/>
                      <a:pt x="11" y="19"/>
                    </a:cubicBezTo>
                    <a:cubicBezTo>
                      <a:pt x="44" y="19"/>
                      <a:pt x="44" y="19"/>
                      <a:pt x="44" y="19"/>
                    </a:cubicBezTo>
                    <a:cubicBezTo>
                      <a:pt x="46" y="19"/>
                      <a:pt x="48" y="20"/>
                      <a:pt x="48" y="23"/>
                    </a:cubicBezTo>
                    <a:cubicBezTo>
                      <a:pt x="47" y="25"/>
                      <a:pt x="45" y="26"/>
                      <a:pt x="42" y="26"/>
                    </a:cubicBezTo>
                    <a:cubicBezTo>
                      <a:pt x="42" y="26"/>
                      <a:pt x="41" y="26"/>
                      <a:pt x="40" y="26"/>
                    </a:cubicBezTo>
                    <a:cubicBezTo>
                      <a:pt x="40" y="26"/>
                      <a:pt x="40" y="26"/>
                      <a:pt x="40" y="26"/>
                    </a:cubicBezTo>
                    <a:cubicBezTo>
                      <a:pt x="39" y="34"/>
                      <a:pt x="38" y="39"/>
                      <a:pt x="37" y="42"/>
                    </a:cubicBezTo>
                    <a:cubicBezTo>
                      <a:pt x="34" y="46"/>
                      <a:pt x="32" y="49"/>
                      <a:pt x="29" y="49"/>
                    </a:cubicBezTo>
                    <a:cubicBezTo>
                      <a:pt x="30" y="53"/>
                      <a:pt x="30" y="56"/>
                      <a:pt x="30" y="60"/>
                    </a:cubicBezTo>
                    <a:cubicBezTo>
                      <a:pt x="31" y="60"/>
                      <a:pt x="32" y="59"/>
                      <a:pt x="33" y="58"/>
                    </a:cubicBezTo>
                    <a:cubicBezTo>
                      <a:pt x="39" y="56"/>
                      <a:pt x="42" y="49"/>
                      <a:pt x="42" y="39"/>
                    </a:cubicBezTo>
                    <a:cubicBezTo>
                      <a:pt x="43" y="37"/>
                      <a:pt x="44" y="36"/>
                      <a:pt x="46" y="36"/>
                    </a:cubicBezTo>
                    <a:cubicBezTo>
                      <a:pt x="47" y="36"/>
                      <a:pt x="48" y="37"/>
                      <a:pt x="48" y="39"/>
                    </a:cubicBezTo>
                    <a:cubicBezTo>
                      <a:pt x="49" y="49"/>
                      <a:pt x="45" y="57"/>
                      <a:pt x="36" y="64"/>
                    </a:cubicBezTo>
                    <a:cubicBezTo>
                      <a:pt x="34" y="65"/>
                      <a:pt x="32" y="66"/>
                      <a:pt x="30" y="66"/>
                    </a:cubicBezTo>
                    <a:cubicBezTo>
                      <a:pt x="30" y="70"/>
                      <a:pt x="30" y="70"/>
                      <a:pt x="30" y="70"/>
                    </a:cubicBezTo>
                    <a:cubicBezTo>
                      <a:pt x="44" y="70"/>
                      <a:pt x="44" y="70"/>
                      <a:pt x="44" y="70"/>
                    </a:cubicBezTo>
                    <a:cubicBezTo>
                      <a:pt x="47" y="70"/>
                      <a:pt x="49" y="71"/>
                      <a:pt x="49" y="73"/>
                    </a:cubicBezTo>
                    <a:cubicBezTo>
                      <a:pt x="49" y="76"/>
                      <a:pt x="47" y="77"/>
                      <a:pt x="43" y="77"/>
                    </a:cubicBezTo>
                    <a:cubicBezTo>
                      <a:pt x="37" y="77"/>
                      <a:pt x="33" y="77"/>
                      <a:pt x="30" y="78"/>
                    </a:cubicBezTo>
                    <a:cubicBezTo>
                      <a:pt x="30" y="80"/>
                      <a:pt x="30" y="82"/>
                      <a:pt x="30" y="84"/>
                    </a:cubicBezTo>
                    <a:cubicBezTo>
                      <a:pt x="34" y="84"/>
                      <a:pt x="37" y="87"/>
                      <a:pt x="40" y="91"/>
                    </a:cubicBezTo>
                    <a:cubicBezTo>
                      <a:pt x="44" y="96"/>
                      <a:pt x="46" y="103"/>
                      <a:pt x="48" y="111"/>
                    </a:cubicBezTo>
                    <a:cubicBezTo>
                      <a:pt x="49" y="116"/>
                      <a:pt x="49" y="120"/>
                      <a:pt x="48" y="124"/>
                    </a:cubicBezTo>
                    <a:cubicBezTo>
                      <a:pt x="47" y="125"/>
                      <a:pt x="46" y="125"/>
                      <a:pt x="45" y="125"/>
                    </a:cubicBezTo>
                    <a:cubicBezTo>
                      <a:pt x="44" y="125"/>
                      <a:pt x="43" y="125"/>
                      <a:pt x="42" y="124"/>
                    </a:cubicBezTo>
                    <a:cubicBezTo>
                      <a:pt x="42" y="123"/>
                      <a:pt x="42" y="121"/>
                      <a:pt x="42" y="118"/>
                    </a:cubicBezTo>
                    <a:cubicBezTo>
                      <a:pt x="41" y="116"/>
                      <a:pt x="41" y="114"/>
                      <a:pt x="41" y="113"/>
                    </a:cubicBezTo>
                    <a:cubicBezTo>
                      <a:pt x="40" y="104"/>
                      <a:pt x="37" y="97"/>
                      <a:pt x="33" y="93"/>
                    </a:cubicBezTo>
                    <a:cubicBezTo>
                      <a:pt x="33" y="92"/>
                      <a:pt x="32" y="91"/>
                      <a:pt x="30" y="91"/>
                    </a:cubicBezTo>
                    <a:cubicBezTo>
                      <a:pt x="31" y="97"/>
                      <a:pt x="31" y="101"/>
                      <a:pt x="31" y="105"/>
                    </a:cubicBezTo>
                    <a:cubicBezTo>
                      <a:pt x="31" y="107"/>
                      <a:pt x="31" y="111"/>
                      <a:pt x="30" y="116"/>
                    </a:cubicBezTo>
                    <a:cubicBezTo>
                      <a:pt x="30" y="124"/>
                      <a:pt x="30" y="129"/>
                      <a:pt x="29" y="133"/>
                    </a:cubicBezTo>
                    <a:cubicBezTo>
                      <a:pt x="29" y="136"/>
                      <a:pt x="28" y="137"/>
                      <a:pt x="27" y="137"/>
                    </a:cubicBezTo>
                    <a:cubicBezTo>
                      <a:pt x="26" y="137"/>
                      <a:pt x="25" y="136"/>
                      <a:pt x="24" y="133"/>
                    </a:cubicBezTo>
                    <a:cubicBezTo>
                      <a:pt x="24" y="120"/>
                      <a:pt x="24" y="111"/>
                      <a:pt x="24" y="105"/>
                    </a:cubicBezTo>
                    <a:cubicBezTo>
                      <a:pt x="24" y="100"/>
                      <a:pt x="24" y="95"/>
                      <a:pt x="24" y="90"/>
                    </a:cubicBezTo>
                    <a:cubicBezTo>
                      <a:pt x="22" y="91"/>
                      <a:pt x="21" y="92"/>
                      <a:pt x="20" y="93"/>
                    </a:cubicBezTo>
                    <a:cubicBezTo>
                      <a:pt x="18" y="94"/>
                      <a:pt x="16" y="98"/>
                      <a:pt x="14" y="102"/>
                    </a:cubicBezTo>
                    <a:cubicBezTo>
                      <a:pt x="13" y="104"/>
                      <a:pt x="13" y="104"/>
                      <a:pt x="13" y="104"/>
                    </a:cubicBezTo>
                    <a:cubicBezTo>
                      <a:pt x="12" y="108"/>
                      <a:pt x="11" y="114"/>
                      <a:pt x="11" y="122"/>
                    </a:cubicBezTo>
                    <a:cubicBezTo>
                      <a:pt x="10" y="124"/>
                      <a:pt x="9" y="125"/>
                      <a:pt x="7" y="125"/>
                    </a:cubicBezTo>
                    <a:cubicBezTo>
                      <a:pt x="6" y="125"/>
                      <a:pt x="5" y="124"/>
                      <a:pt x="5" y="122"/>
                    </a:cubicBezTo>
                    <a:cubicBezTo>
                      <a:pt x="6" y="115"/>
                      <a:pt x="7" y="108"/>
                      <a:pt x="8" y="102"/>
                    </a:cubicBezTo>
                    <a:cubicBezTo>
                      <a:pt x="9" y="97"/>
                      <a:pt x="11" y="92"/>
                      <a:pt x="14" y="89"/>
                    </a:cubicBezTo>
                    <a:cubicBezTo>
                      <a:pt x="17" y="86"/>
                      <a:pt x="20" y="84"/>
                      <a:pt x="24" y="84"/>
                    </a:cubicBezTo>
                    <a:cubicBezTo>
                      <a:pt x="24" y="81"/>
                      <a:pt x="24" y="81"/>
                      <a:pt x="24" y="81"/>
                    </a:cubicBezTo>
                    <a:cubicBezTo>
                      <a:pt x="24" y="80"/>
                      <a:pt x="24" y="79"/>
                      <a:pt x="24" y="78"/>
                    </a:cubicBezTo>
                    <a:cubicBezTo>
                      <a:pt x="14" y="78"/>
                      <a:pt x="9" y="78"/>
                      <a:pt x="9" y="78"/>
                    </a:cubicBezTo>
                    <a:cubicBezTo>
                      <a:pt x="6" y="79"/>
                      <a:pt x="4" y="79"/>
                      <a:pt x="3" y="77"/>
                    </a:cubicBezTo>
                    <a:cubicBezTo>
                      <a:pt x="2" y="76"/>
                      <a:pt x="2" y="74"/>
                      <a:pt x="3" y="72"/>
                    </a:cubicBezTo>
                    <a:cubicBezTo>
                      <a:pt x="3" y="70"/>
                      <a:pt x="4" y="70"/>
                      <a:pt x="7" y="70"/>
                    </a:cubicBezTo>
                    <a:cubicBezTo>
                      <a:pt x="8" y="70"/>
                      <a:pt x="10" y="70"/>
                      <a:pt x="14" y="70"/>
                    </a:cubicBezTo>
                    <a:cubicBezTo>
                      <a:pt x="24" y="70"/>
                      <a:pt x="24" y="70"/>
                      <a:pt x="24" y="70"/>
                    </a:cubicBezTo>
                    <a:cubicBezTo>
                      <a:pt x="24" y="66"/>
                      <a:pt x="24" y="66"/>
                      <a:pt x="24" y="66"/>
                    </a:cubicBezTo>
                    <a:cubicBezTo>
                      <a:pt x="22" y="66"/>
                      <a:pt x="21" y="66"/>
                      <a:pt x="20" y="65"/>
                    </a:cubicBezTo>
                    <a:cubicBezTo>
                      <a:pt x="12" y="62"/>
                      <a:pt x="6" y="56"/>
                      <a:pt x="2" y="46"/>
                    </a:cubicBezTo>
                    <a:cubicBezTo>
                      <a:pt x="2" y="46"/>
                      <a:pt x="2" y="43"/>
                      <a:pt x="2" y="40"/>
                    </a:cubicBezTo>
                    <a:cubicBezTo>
                      <a:pt x="2" y="39"/>
                      <a:pt x="2" y="38"/>
                      <a:pt x="2" y="37"/>
                    </a:cubicBezTo>
                    <a:close/>
                    <a:moveTo>
                      <a:pt x="9" y="3"/>
                    </a:moveTo>
                    <a:cubicBezTo>
                      <a:pt x="11" y="3"/>
                      <a:pt x="15" y="3"/>
                      <a:pt x="19" y="3"/>
                    </a:cubicBezTo>
                    <a:cubicBezTo>
                      <a:pt x="40" y="3"/>
                      <a:pt x="40" y="3"/>
                      <a:pt x="40" y="3"/>
                    </a:cubicBezTo>
                    <a:cubicBezTo>
                      <a:pt x="43" y="3"/>
                      <a:pt x="44" y="5"/>
                      <a:pt x="44" y="7"/>
                    </a:cubicBezTo>
                    <a:cubicBezTo>
                      <a:pt x="44" y="9"/>
                      <a:pt x="42" y="10"/>
                      <a:pt x="39" y="10"/>
                    </a:cubicBezTo>
                    <a:cubicBezTo>
                      <a:pt x="34" y="10"/>
                      <a:pt x="25" y="10"/>
                      <a:pt x="14" y="11"/>
                    </a:cubicBezTo>
                    <a:cubicBezTo>
                      <a:pt x="13" y="11"/>
                      <a:pt x="12" y="11"/>
                      <a:pt x="11" y="11"/>
                    </a:cubicBezTo>
                    <a:cubicBezTo>
                      <a:pt x="7" y="11"/>
                      <a:pt x="5" y="11"/>
                      <a:pt x="5" y="9"/>
                    </a:cubicBezTo>
                    <a:cubicBezTo>
                      <a:pt x="5" y="9"/>
                      <a:pt x="4" y="8"/>
                      <a:pt x="5" y="6"/>
                    </a:cubicBezTo>
                    <a:cubicBezTo>
                      <a:pt x="5" y="5"/>
                      <a:pt x="5" y="5"/>
                      <a:pt x="5" y="5"/>
                    </a:cubicBezTo>
                    <a:cubicBezTo>
                      <a:pt x="5" y="3"/>
                      <a:pt x="6" y="3"/>
                      <a:pt x="9" y="3"/>
                    </a:cubicBezTo>
                    <a:close/>
                    <a:moveTo>
                      <a:pt x="33" y="26"/>
                    </a:moveTo>
                    <a:cubicBezTo>
                      <a:pt x="28" y="26"/>
                      <a:pt x="23" y="26"/>
                      <a:pt x="17" y="26"/>
                    </a:cubicBezTo>
                    <a:cubicBezTo>
                      <a:pt x="18" y="32"/>
                      <a:pt x="20" y="38"/>
                      <a:pt x="24" y="42"/>
                    </a:cubicBezTo>
                    <a:cubicBezTo>
                      <a:pt x="25" y="44"/>
                      <a:pt x="26" y="45"/>
                      <a:pt x="27" y="45"/>
                    </a:cubicBezTo>
                    <a:cubicBezTo>
                      <a:pt x="28" y="45"/>
                      <a:pt x="29" y="44"/>
                      <a:pt x="29" y="42"/>
                    </a:cubicBezTo>
                    <a:cubicBezTo>
                      <a:pt x="32" y="38"/>
                      <a:pt x="33" y="33"/>
                      <a:pt x="33" y="26"/>
                    </a:cubicBezTo>
                    <a:close/>
                    <a:moveTo>
                      <a:pt x="54" y="2"/>
                    </a:moveTo>
                    <a:cubicBezTo>
                      <a:pt x="55" y="0"/>
                      <a:pt x="57" y="0"/>
                      <a:pt x="58" y="1"/>
                    </a:cubicBezTo>
                    <a:cubicBezTo>
                      <a:pt x="59" y="2"/>
                      <a:pt x="60" y="4"/>
                      <a:pt x="59" y="6"/>
                    </a:cubicBezTo>
                    <a:cubicBezTo>
                      <a:pt x="57" y="8"/>
                      <a:pt x="57" y="9"/>
                      <a:pt x="58" y="10"/>
                    </a:cubicBezTo>
                    <a:cubicBezTo>
                      <a:pt x="59" y="11"/>
                      <a:pt x="61" y="12"/>
                      <a:pt x="63" y="11"/>
                    </a:cubicBezTo>
                    <a:cubicBezTo>
                      <a:pt x="67" y="9"/>
                      <a:pt x="73" y="9"/>
                      <a:pt x="80" y="11"/>
                    </a:cubicBezTo>
                    <a:cubicBezTo>
                      <a:pt x="84" y="13"/>
                      <a:pt x="87" y="16"/>
                      <a:pt x="88" y="22"/>
                    </a:cubicBezTo>
                    <a:cubicBezTo>
                      <a:pt x="89" y="27"/>
                      <a:pt x="88" y="32"/>
                      <a:pt x="85" y="35"/>
                    </a:cubicBezTo>
                    <a:cubicBezTo>
                      <a:pt x="84" y="38"/>
                      <a:pt x="81" y="39"/>
                      <a:pt x="75" y="37"/>
                    </a:cubicBezTo>
                    <a:cubicBezTo>
                      <a:pt x="75" y="37"/>
                      <a:pt x="74" y="37"/>
                      <a:pt x="74" y="37"/>
                    </a:cubicBezTo>
                    <a:cubicBezTo>
                      <a:pt x="69" y="37"/>
                      <a:pt x="66" y="37"/>
                      <a:pt x="63" y="38"/>
                    </a:cubicBezTo>
                    <a:cubicBezTo>
                      <a:pt x="62" y="38"/>
                      <a:pt x="61" y="40"/>
                      <a:pt x="61" y="43"/>
                    </a:cubicBezTo>
                    <a:cubicBezTo>
                      <a:pt x="62" y="48"/>
                      <a:pt x="62" y="56"/>
                      <a:pt x="62" y="66"/>
                    </a:cubicBezTo>
                    <a:cubicBezTo>
                      <a:pt x="62" y="70"/>
                      <a:pt x="61" y="76"/>
                      <a:pt x="61" y="84"/>
                    </a:cubicBezTo>
                    <a:cubicBezTo>
                      <a:pt x="59" y="99"/>
                      <a:pt x="58" y="110"/>
                      <a:pt x="57" y="116"/>
                    </a:cubicBezTo>
                    <a:cubicBezTo>
                      <a:pt x="57" y="122"/>
                      <a:pt x="55" y="128"/>
                      <a:pt x="53" y="136"/>
                    </a:cubicBezTo>
                    <a:cubicBezTo>
                      <a:pt x="52" y="137"/>
                      <a:pt x="51" y="138"/>
                      <a:pt x="50" y="138"/>
                    </a:cubicBezTo>
                    <a:cubicBezTo>
                      <a:pt x="48" y="138"/>
                      <a:pt x="48" y="137"/>
                      <a:pt x="48" y="136"/>
                    </a:cubicBezTo>
                    <a:cubicBezTo>
                      <a:pt x="48" y="135"/>
                      <a:pt x="48" y="133"/>
                      <a:pt x="48" y="130"/>
                    </a:cubicBezTo>
                    <a:cubicBezTo>
                      <a:pt x="49" y="127"/>
                      <a:pt x="49" y="126"/>
                      <a:pt x="49" y="125"/>
                    </a:cubicBezTo>
                    <a:cubicBezTo>
                      <a:pt x="53" y="104"/>
                      <a:pt x="55" y="85"/>
                      <a:pt x="55" y="68"/>
                    </a:cubicBezTo>
                    <a:cubicBezTo>
                      <a:pt x="56" y="60"/>
                      <a:pt x="56" y="54"/>
                      <a:pt x="55" y="48"/>
                    </a:cubicBezTo>
                    <a:cubicBezTo>
                      <a:pt x="54" y="45"/>
                      <a:pt x="53" y="42"/>
                      <a:pt x="52" y="40"/>
                    </a:cubicBezTo>
                    <a:cubicBezTo>
                      <a:pt x="50" y="38"/>
                      <a:pt x="51" y="36"/>
                      <a:pt x="54" y="34"/>
                    </a:cubicBezTo>
                    <a:cubicBezTo>
                      <a:pt x="58" y="30"/>
                      <a:pt x="66" y="29"/>
                      <a:pt x="76" y="31"/>
                    </a:cubicBezTo>
                    <a:cubicBezTo>
                      <a:pt x="81" y="32"/>
                      <a:pt x="83" y="30"/>
                      <a:pt x="83" y="25"/>
                    </a:cubicBezTo>
                    <a:cubicBezTo>
                      <a:pt x="83" y="21"/>
                      <a:pt x="81" y="18"/>
                      <a:pt x="77" y="18"/>
                    </a:cubicBezTo>
                    <a:cubicBezTo>
                      <a:pt x="70" y="17"/>
                      <a:pt x="66" y="17"/>
                      <a:pt x="65" y="18"/>
                    </a:cubicBezTo>
                    <a:cubicBezTo>
                      <a:pt x="63" y="19"/>
                      <a:pt x="60" y="19"/>
                      <a:pt x="57" y="19"/>
                    </a:cubicBezTo>
                    <a:cubicBezTo>
                      <a:pt x="57" y="18"/>
                      <a:pt x="55" y="17"/>
                      <a:pt x="53" y="15"/>
                    </a:cubicBezTo>
                    <a:cubicBezTo>
                      <a:pt x="53" y="14"/>
                      <a:pt x="52" y="14"/>
                      <a:pt x="52" y="13"/>
                    </a:cubicBezTo>
                    <a:cubicBezTo>
                      <a:pt x="50" y="10"/>
                      <a:pt x="51" y="6"/>
                      <a:pt x="54" y="2"/>
                    </a:cubicBezTo>
                    <a:close/>
                    <a:moveTo>
                      <a:pt x="95" y="70"/>
                    </a:moveTo>
                    <a:cubicBezTo>
                      <a:pt x="96" y="72"/>
                      <a:pt x="95" y="73"/>
                      <a:pt x="94" y="74"/>
                    </a:cubicBezTo>
                    <a:cubicBezTo>
                      <a:pt x="92" y="74"/>
                      <a:pt x="91" y="74"/>
                      <a:pt x="90" y="72"/>
                    </a:cubicBezTo>
                    <a:cubicBezTo>
                      <a:pt x="88" y="67"/>
                      <a:pt x="84" y="62"/>
                      <a:pt x="78" y="56"/>
                    </a:cubicBezTo>
                    <a:cubicBezTo>
                      <a:pt x="77" y="55"/>
                      <a:pt x="76" y="54"/>
                      <a:pt x="76" y="54"/>
                    </a:cubicBezTo>
                    <a:cubicBezTo>
                      <a:pt x="75" y="56"/>
                      <a:pt x="75" y="56"/>
                      <a:pt x="75" y="56"/>
                    </a:cubicBezTo>
                    <a:cubicBezTo>
                      <a:pt x="75" y="61"/>
                      <a:pt x="75" y="73"/>
                      <a:pt x="77" y="93"/>
                    </a:cubicBezTo>
                    <a:cubicBezTo>
                      <a:pt x="78" y="99"/>
                      <a:pt x="80" y="107"/>
                      <a:pt x="83" y="119"/>
                    </a:cubicBezTo>
                    <a:cubicBezTo>
                      <a:pt x="84" y="122"/>
                      <a:pt x="85" y="124"/>
                      <a:pt x="85" y="124"/>
                    </a:cubicBezTo>
                    <a:cubicBezTo>
                      <a:pt x="86" y="126"/>
                      <a:pt x="86" y="128"/>
                      <a:pt x="87" y="131"/>
                    </a:cubicBezTo>
                    <a:cubicBezTo>
                      <a:pt x="88" y="132"/>
                      <a:pt x="88" y="133"/>
                      <a:pt x="88" y="133"/>
                    </a:cubicBezTo>
                    <a:cubicBezTo>
                      <a:pt x="88" y="135"/>
                      <a:pt x="88" y="136"/>
                      <a:pt x="86" y="136"/>
                    </a:cubicBezTo>
                    <a:cubicBezTo>
                      <a:pt x="84" y="136"/>
                      <a:pt x="83" y="135"/>
                      <a:pt x="82" y="133"/>
                    </a:cubicBezTo>
                    <a:cubicBezTo>
                      <a:pt x="77" y="123"/>
                      <a:pt x="73" y="110"/>
                      <a:pt x="70" y="93"/>
                    </a:cubicBezTo>
                    <a:cubicBezTo>
                      <a:pt x="69" y="79"/>
                      <a:pt x="68" y="68"/>
                      <a:pt x="68" y="58"/>
                    </a:cubicBezTo>
                    <a:cubicBezTo>
                      <a:pt x="68" y="51"/>
                      <a:pt x="68" y="46"/>
                      <a:pt x="68" y="44"/>
                    </a:cubicBezTo>
                    <a:cubicBezTo>
                      <a:pt x="68" y="43"/>
                      <a:pt x="69" y="42"/>
                      <a:pt x="70" y="42"/>
                    </a:cubicBezTo>
                    <a:cubicBezTo>
                      <a:pt x="71" y="41"/>
                      <a:pt x="71" y="41"/>
                      <a:pt x="72" y="42"/>
                    </a:cubicBezTo>
                    <a:cubicBezTo>
                      <a:pt x="76" y="45"/>
                      <a:pt x="78" y="48"/>
                      <a:pt x="80" y="49"/>
                    </a:cubicBezTo>
                    <a:cubicBezTo>
                      <a:pt x="86" y="54"/>
                      <a:pt x="91" y="61"/>
                      <a:pt x="95" y="7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1049653" name="íṣ1ïḑe"/>
              <p:cNvSpPr/>
              <p:nvPr/>
            </p:nvSpPr>
            <p:spPr bwMode="auto">
              <a:xfrm>
                <a:off x="1750909" y="4905965"/>
                <a:ext cx="93663" cy="87313"/>
              </a:xfrm>
              <a:custGeom>
                <a:avLst/>
                <a:gdLst>
                  <a:gd name="T0" fmla="*/ 51 w 51"/>
                  <a:gd name="T1" fmla="*/ 17 h 47"/>
                  <a:gd name="T2" fmla="*/ 46 w 51"/>
                  <a:gd name="T3" fmla="*/ 25 h 47"/>
                  <a:gd name="T4" fmla="*/ 26 w 51"/>
                  <a:gd name="T5" fmla="*/ 13 h 47"/>
                  <a:gd name="T6" fmla="*/ 20 w 51"/>
                  <a:gd name="T7" fmla="*/ 9 h 47"/>
                  <a:gd name="T8" fmla="*/ 14 w 51"/>
                  <a:gd name="T9" fmla="*/ 9 h 47"/>
                  <a:gd name="T10" fmla="*/ 10 w 51"/>
                  <a:gd name="T11" fmla="*/ 13 h 47"/>
                  <a:gd name="T12" fmla="*/ 8 w 51"/>
                  <a:gd name="T13" fmla="*/ 19 h 47"/>
                  <a:gd name="T14" fmla="*/ 10 w 51"/>
                  <a:gd name="T15" fmla="*/ 23 h 47"/>
                  <a:gd name="T16" fmla="*/ 17 w 51"/>
                  <a:gd name="T17" fmla="*/ 27 h 47"/>
                  <a:gd name="T18" fmla="*/ 37 w 51"/>
                  <a:gd name="T19" fmla="*/ 40 h 47"/>
                  <a:gd name="T20" fmla="*/ 33 w 51"/>
                  <a:gd name="T21" fmla="*/ 47 h 47"/>
                  <a:gd name="T22" fmla="*/ 13 w 51"/>
                  <a:gd name="T23" fmla="*/ 35 h 47"/>
                  <a:gd name="T24" fmla="*/ 4 w 51"/>
                  <a:gd name="T25" fmla="*/ 29 h 47"/>
                  <a:gd name="T26" fmla="*/ 1 w 51"/>
                  <a:gd name="T27" fmla="*/ 24 h 47"/>
                  <a:gd name="T28" fmla="*/ 0 w 51"/>
                  <a:gd name="T29" fmla="*/ 18 h 47"/>
                  <a:gd name="T30" fmla="*/ 3 w 51"/>
                  <a:gd name="T31" fmla="*/ 10 h 47"/>
                  <a:gd name="T32" fmla="*/ 10 w 51"/>
                  <a:gd name="T33" fmla="*/ 2 h 47"/>
                  <a:gd name="T34" fmla="*/ 15 w 51"/>
                  <a:gd name="T35" fmla="*/ 0 h 47"/>
                  <a:gd name="T36" fmla="*/ 21 w 51"/>
                  <a:gd name="T37" fmla="*/ 0 h 47"/>
                  <a:gd name="T38" fmla="*/ 31 w 51"/>
                  <a:gd name="T39" fmla="*/ 5 h 47"/>
                  <a:gd name="T40" fmla="*/ 51 w 51"/>
                  <a:gd name="T41" fmla="*/ 17 h 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51" h="47">
                    <a:moveTo>
                      <a:pt x="51" y="17"/>
                    </a:moveTo>
                    <a:cubicBezTo>
                      <a:pt x="46" y="25"/>
                      <a:pt x="46" y="25"/>
                      <a:pt x="46" y="25"/>
                    </a:cubicBezTo>
                    <a:cubicBezTo>
                      <a:pt x="26" y="13"/>
                      <a:pt x="26" y="13"/>
                      <a:pt x="26" y="13"/>
                    </a:cubicBezTo>
                    <a:cubicBezTo>
                      <a:pt x="23" y="11"/>
                      <a:pt x="21" y="10"/>
                      <a:pt x="20" y="9"/>
                    </a:cubicBezTo>
                    <a:cubicBezTo>
                      <a:pt x="18" y="9"/>
                      <a:pt x="16" y="9"/>
                      <a:pt x="14" y="9"/>
                    </a:cubicBezTo>
                    <a:cubicBezTo>
                      <a:pt x="13" y="10"/>
                      <a:pt x="11" y="11"/>
                      <a:pt x="10" y="13"/>
                    </a:cubicBezTo>
                    <a:cubicBezTo>
                      <a:pt x="9" y="16"/>
                      <a:pt x="8" y="17"/>
                      <a:pt x="8" y="19"/>
                    </a:cubicBezTo>
                    <a:cubicBezTo>
                      <a:pt x="9" y="21"/>
                      <a:pt x="9" y="22"/>
                      <a:pt x="10" y="23"/>
                    </a:cubicBezTo>
                    <a:cubicBezTo>
                      <a:pt x="12" y="24"/>
                      <a:pt x="14" y="25"/>
                      <a:pt x="17" y="27"/>
                    </a:cubicBezTo>
                    <a:cubicBezTo>
                      <a:pt x="37" y="40"/>
                      <a:pt x="37" y="40"/>
                      <a:pt x="37" y="40"/>
                    </a:cubicBezTo>
                    <a:cubicBezTo>
                      <a:pt x="33" y="47"/>
                      <a:pt x="33" y="47"/>
                      <a:pt x="33" y="47"/>
                    </a:cubicBezTo>
                    <a:cubicBezTo>
                      <a:pt x="13" y="35"/>
                      <a:pt x="13" y="35"/>
                      <a:pt x="13" y="35"/>
                    </a:cubicBezTo>
                    <a:cubicBezTo>
                      <a:pt x="9" y="33"/>
                      <a:pt x="6" y="31"/>
                      <a:pt x="4" y="29"/>
                    </a:cubicBezTo>
                    <a:cubicBezTo>
                      <a:pt x="2" y="28"/>
                      <a:pt x="1" y="26"/>
                      <a:pt x="1" y="24"/>
                    </a:cubicBezTo>
                    <a:cubicBezTo>
                      <a:pt x="0" y="22"/>
                      <a:pt x="0" y="20"/>
                      <a:pt x="0" y="18"/>
                    </a:cubicBezTo>
                    <a:cubicBezTo>
                      <a:pt x="0" y="15"/>
                      <a:pt x="2" y="13"/>
                      <a:pt x="3" y="10"/>
                    </a:cubicBezTo>
                    <a:cubicBezTo>
                      <a:pt x="6" y="6"/>
                      <a:pt x="8" y="4"/>
                      <a:pt x="10" y="2"/>
                    </a:cubicBezTo>
                    <a:cubicBezTo>
                      <a:pt x="11" y="1"/>
                      <a:pt x="13" y="0"/>
                      <a:pt x="15" y="0"/>
                    </a:cubicBezTo>
                    <a:cubicBezTo>
                      <a:pt x="17" y="0"/>
                      <a:pt x="19" y="0"/>
                      <a:pt x="21" y="0"/>
                    </a:cubicBezTo>
                    <a:cubicBezTo>
                      <a:pt x="23" y="1"/>
                      <a:pt x="27" y="3"/>
                      <a:pt x="31" y="5"/>
                    </a:cubicBezTo>
                    <a:lnTo>
                      <a:pt x="51" y="17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1049654" name="íṧḷîde"/>
              <p:cNvSpPr/>
              <p:nvPr/>
            </p:nvSpPr>
            <p:spPr bwMode="auto">
              <a:xfrm>
                <a:off x="1704872" y="4971053"/>
                <a:ext cx="100013" cy="92075"/>
              </a:xfrm>
              <a:custGeom>
                <a:avLst/>
                <a:gdLst>
                  <a:gd name="T0" fmla="*/ 17 w 63"/>
                  <a:gd name="T1" fmla="*/ 0 h 58"/>
                  <a:gd name="T2" fmla="*/ 63 w 63"/>
                  <a:gd name="T3" fmla="*/ 21 h 58"/>
                  <a:gd name="T4" fmla="*/ 59 w 63"/>
                  <a:gd name="T5" fmla="*/ 30 h 58"/>
                  <a:gd name="T6" fmla="*/ 19 w 63"/>
                  <a:gd name="T7" fmla="*/ 35 h 58"/>
                  <a:gd name="T8" fmla="*/ 50 w 63"/>
                  <a:gd name="T9" fmla="*/ 50 h 58"/>
                  <a:gd name="T10" fmla="*/ 46 w 63"/>
                  <a:gd name="T11" fmla="*/ 58 h 58"/>
                  <a:gd name="T12" fmla="*/ 0 w 63"/>
                  <a:gd name="T13" fmla="*/ 37 h 58"/>
                  <a:gd name="T14" fmla="*/ 4 w 63"/>
                  <a:gd name="T15" fmla="*/ 26 h 58"/>
                  <a:gd name="T16" fmla="*/ 43 w 63"/>
                  <a:gd name="T17" fmla="*/ 22 h 58"/>
                  <a:gd name="T18" fmla="*/ 12 w 63"/>
                  <a:gd name="T19" fmla="*/ 8 h 58"/>
                  <a:gd name="T20" fmla="*/ 17 w 63"/>
                  <a:gd name="T21" fmla="*/ 0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63" h="58">
                    <a:moveTo>
                      <a:pt x="17" y="0"/>
                    </a:moveTo>
                    <a:lnTo>
                      <a:pt x="63" y="21"/>
                    </a:lnTo>
                    <a:lnTo>
                      <a:pt x="59" y="30"/>
                    </a:lnTo>
                    <a:lnTo>
                      <a:pt x="19" y="35"/>
                    </a:lnTo>
                    <a:lnTo>
                      <a:pt x="50" y="50"/>
                    </a:lnTo>
                    <a:lnTo>
                      <a:pt x="46" y="58"/>
                    </a:lnTo>
                    <a:lnTo>
                      <a:pt x="0" y="37"/>
                    </a:lnTo>
                    <a:lnTo>
                      <a:pt x="4" y="26"/>
                    </a:lnTo>
                    <a:lnTo>
                      <a:pt x="43" y="22"/>
                    </a:lnTo>
                    <a:lnTo>
                      <a:pt x="12" y="8"/>
                    </a:lnTo>
                    <a:lnTo>
                      <a:pt x="17" y="0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1049655" name="íS1îḍé"/>
              <p:cNvSpPr/>
              <p:nvPr/>
            </p:nvSpPr>
            <p:spPr bwMode="auto">
              <a:xfrm>
                <a:off x="1690584" y="5045665"/>
                <a:ext cx="84138" cy="44450"/>
              </a:xfrm>
              <a:custGeom>
                <a:avLst/>
                <a:gdLst>
                  <a:gd name="T0" fmla="*/ 5 w 53"/>
                  <a:gd name="T1" fmla="*/ 0 h 28"/>
                  <a:gd name="T2" fmla="*/ 53 w 53"/>
                  <a:gd name="T3" fmla="*/ 19 h 28"/>
                  <a:gd name="T4" fmla="*/ 49 w 53"/>
                  <a:gd name="T5" fmla="*/ 28 h 28"/>
                  <a:gd name="T6" fmla="*/ 0 w 53"/>
                  <a:gd name="T7" fmla="*/ 10 h 28"/>
                  <a:gd name="T8" fmla="*/ 5 w 53"/>
                  <a:gd name="T9" fmla="*/ 0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3" h="28">
                    <a:moveTo>
                      <a:pt x="5" y="0"/>
                    </a:moveTo>
                    <a:lnTo>
                      <a:pt x="53" y="19"/>
                    </a:lnTo>
                    <a:lnTo>
                      <a:pt x="49" y="28"/>
                    </a:lnTo>
                    <a:lnTo>
                      <a:pt x="0" y="10"/>
                    </a:lnTo>
                    <a:lnTo>
                      <a:pt x="5" y="0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1049656" name="íṧļïḋè"/>
              <p:cNvSpPr/>
              <p:nvPr/>
            </p:nvSpPr>
            <p:spPr bwMode="auto">
              <a:xfrm>
                <a:off x="1674709" y="5091703"/>
                <a:ext cx="92075" cy="73025"/>
              </a:xfrm>
              <a:custGeom>
                <a:avLst/>
                <a:gdLst>
                  <a:gd name="T0" fmla="*/ 4 w 58"/>
                  <a:gd name="T1" fmla="*/ 3 h 46"/>
                  <a:gd name="T2" fmla="*/ 58 w 58"/>
                  <a:gd name="T3" fmla="*/ 0 h 46"/>
                  <a:gd name="T4" fmla="*/ 55 w 58"/>
                  <a:gd name="T5" fmla="*/ 11 h 46"/>
                  <a:gd name="T6" fmla="*/ 14 w 58"/>
                  <a:gd name="T7" fmla="*/ 13 h 46"/>
                  <a:gd name="T8" fmla="*/ 46 w 58"/>
                  <a:gd name="T9" fmla="*/ 35 h 46"/>
                  <a:gd name="T10" fmla="*/ 44 w 58"/>
                  <a:gd name="T11" fmla="*/ 46 h 46"/>
                  <a:gd name="T12" fmla="*/ 0 w 58"/>
                  <a:gd name="T13" fmla="*/ 14 h 46"/>
                  <a:gd name="T14" fmla="*/ 4 w 58"/>
                  <a:gd name="T15" fmla="*/ 3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58" h="46">
                    <a:moveTo>
                      <a:pt x="4" y="3"/>
                    </a:moveTo>
                    <a:lnTo>
                      <a:pt x="58" y="0"/>
                    </a:lnTo>
                    <a:lnTo>
                      <a:pt x="55" y="11"/>
                    </a:lnTo>
                    <a:lnTo>
                      <a:pt x="14" y="13"/>
                    </a:lnTo>
                    <a:lnTo>
                      <a:pt x="46" y="35"/>
                    </a:lnTo>
                    <a:lnTo>
                      <a:pt x="44" y="46"/>
                    </a:lnTo>
                    <a:lnTo>
                      <a:pt x="0" y="14"/>
                    </a:lnTo>
                    <a:lnTo>
                      <a:pt x="4" y="3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1049657" name="ïṡḷiḋé"/>
              <p:cNvSpPr/>
              <p:nvPr/>
            </p:nvSpPr>
            <p:spPr bwMode="auto">
              <a:xfrm>
                <a:off x="1652484" y="5153615"/>
                <a:ext cx="90488" cy="73025"/>
              </a:xfrm>
              <a:custGeom>
                <a:avLst/>
                <a:gdLst>
                  <a:gd name="T0" fmla="*/ 7 w 57"/>
                  <a:gd name="T1" fmla="*/ 0 h 46"/>
                  <a:gd name="T2" fmla="*/ 57 w 57"/>
                  <a:gd name="T3" fmla="*/ 10 h 46"/>
                  <a:gd name="T4" fmla="*/ 50 w 57"/>
                  <a:gd name="T5" fmla="*/ 46 h 46"/>
                  <a:gd name="T6" fmla="*/ 42 w 57"/>
                  <a:gd name="T7" fmla="*/ 45 h 46"/>
                  <a:gd name="T8" fmla="*/ 47 w 57"/>
                  <a:gd name="T9" fmla="*/ 18 h 46"/>
                  <a:gd name="T10" fmla="*/ 36 w 57"/>
                  <a:gd name="T11" fmla="*/ 16 h 46"/>
                  <a:gd name="T12" fmla="*/ 30 w 57"/>
                  <a:gd name="T13" fmla="*/ 40 h 46"/>
                  <a:gd name="T14" fmla="*/ 22 w 57"/>
                  <a:gd name="T15" fmla="*/ 39 h 46"/>
                  <a:gd name="T16" fmla="*/ 27 w 57"/>
                  <a:gd name="T17" fmla="*/ 14 h 46"/>
                  <a:gd name="T18" fmla="*/ 14 w 57"/>
                  <a:gd name="T19" fmla="*/ 11 h 46"/>
                  <a:gd name="T20" fmla="*/ 8 w 57"/>
                  <a:gd name="T21" fmla="*/ 39 h 46"/>
                  <a:gd name="T22" fmla="*/ 0 w 57"/>
                  <a:gd name="T23" fmla="*/ 38 h 46"/>
                  <a:gd name="T24" fmla="*/ 7 w 57"/>
                  <a:gd name="T25" fmla="*/ 0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57" h="46">
                    <a:moveTo>
                      <a:pt x="7" y="0"/>
                    </a:moveTo>
                    <a:lnTo>
                      <a:pt x="57" y="10"/>
                    </a:lnTo>
                    <a:lnTo>
                      <a:pt x="50" y="46"/>
                    </a:lnTo>
                    <a:lnTo>
                      <a:pt x="42" y="45"/>
                    </a:lnTo>
                    <a:lnTo>
                      <a:pt x="47" y="18"/>
                    </a:lnTo>
                    <a:lnTo>
                      <a:pt x="36" y="16"/>
                    </a:lnTo>
                    <a:lnTo>
                      <a:pt x="30" y="40"/>
                    </a:lnTo>
                    <a:lnTo>
                      <a:pt x="22" y="39"/>
                    </a:lnTo>
                    <a:lnTo>
                      <a:pt x="27" y="14"/>
                    </a:lnTo>
                    <a:lnTo>
                      <a:pt x="14" y="11"/>
                    </a:lnTo>
                    <a:lnTo>
                      <a:pt x="8" y="39"/>
                    </a:lnTo>
                    <a:lnTo>
                      <a:pt x="0" y="38"/>
                    </a:lnTo>
                    <a:lnTo>
                      <a:pt x="7" y="0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1049658" name="ïşļiḋe"/>
              <p:cNvSpPr/>
              <p:nvPr/>
            </p:nvSpPr>
            <p:spPr bwMode="auto">
              <a:xfrm>
                <a:off x="1641372" y="5231403"/>
                <a:ext cx="88900" cy="71438"/>
              </a:xfrm>
              <a:custGeom>
                <a:avLst/>
                <a:gdLst>
                  <a:gd name="T0" fmla="*/ 4 w 48"/>
                  <a:gd name="T1" fmla="*/ 0 h 39"/>
                  <a:gd name="T2" fmla="*/ 48 w 48"/>
                  <a:gd name="T3" fmla="*/ 4 h 39"/>
                  <a:gd name="T4" fmla="*/ 46 w 48"/>
                  <a:gd name="T5" fmla="*/ 23 h 39"/>
                  <a:gd name="T6" fmla="*/ 44 w 48"/>
                  <a:gd name="T7" fmla="*/ 33 h 39"/>
                  <a:gd name="T8" fmla="*/ 39 w 48"/>
                  <a:gd name="T9" fmla="*/ 38 h 39"/>
                  <a:gd name="T10" fmla="*/ 32 w 48"/>
                  <a:gd name="T11" fmla="*/ 39 h 39"/>
                  <a:gd name="T12" fmla="*/ 24 w 48"/>
                  <a:gd name="T13" fmla="*/ 35 h 39"/>
                  <a:gd name="T14" fmla="*/ 21 w 48"/>
                  <a:gd name="T15" fmla="*/ 26 h 39"/>
                  <a:gd name="T16" fmla="*/ 17 w 48"/>
                  <a:gd name="T17" fmla="*/ 30 h 39"/>
                  <a:gd name="T18" fmla="*/ 9 w 48"/>
                  <a:gd name="T19" fmla="*/ 35 h 39"/>
                  <a:gd name="T20" fmla="*/ 0 w 48"/>
                  <a:gd name="T21" fmla="*/ 39 h 39"/>
                  <a:gd name="T22" fmla="*/ 1 w 48"/>
                  <a:gd name="T23" fmla="*/ 29 h 39"/>
                  <a:gd name="T24" fmla="*/ 12 w 48"/>
                  <a:gd name="T25" fmla="*/ 23 h 39"/>
                  <a:gd name="T26" fmla="*/ 18 w 48"/>
                  <a:gd name="T27" fmla="*/ 19 h 39"/>
                  <a:gd name="T28" fmla="*/ 20 w 48"/>
                  <a:gd name="T29" fmla="*/ 17 h 39"/>
                  <a:gd name="T30" fmla="*/ 21 w 48"/>
                  <a:gd name="T31" fmla="*/ 12 h 39"/>
                  <a:gd name="T32" fmla="*/ 22 w 48"/>
                  <a:gd name="T33" fmla="*/ 11 h 39"/>
                  <a:gd name="T34" fmla="*/ 3 w 48"/>
                  <a:gd name="T35" fmla="*/ 9 h 39"/>
                  <a:gd name="T36" fmla="*/ 4 w 48"/>
                  <a:gd name="T37" fmla="*/ 0 h 39"/>
                  <a:gd name="T38" fmla="*/ 29 w 48"/>
                  <a:gd name="T39" fmla="*/ 11 h 39"/>
                  <a:gd name="T40" fmla="*/ 28 w 48"/>
                  <a:gd name="T41" fmla="*/ 18 h 39"/>
                  <a:gd name="T42" fmla="*/ 28 w 48"/>
                  <a:gd name="T43" fmla="*/ 26 h 39"/>
                  <a:gd name="T44" fmla="*/ 29 w 48"/>
                  <a:gd name="T45" fmla="*/ 28 h 39"/>
                  <a:gd name="T46" fmla="*/ 32 w 48"/>
                  <a:gd name="T47" fmla="*/ 30 h 39"/>
                  <a:gd name="T48" fmla="*/ 36 w 48"/>
                  <a:gd name="T49" fmla="*/ 29 h 39"/>
                  <a:gd name="T50" fmla="*/ 38 w 48"/>
                  <a:gd name="T51" fmla="*/ 26 h 39"/>
                  <a:gd name="T52" fmla="*/ 39 w 48"/>
                  <a:gd name="T53" fmla="*/ 19 h 39"/>
                  <a:gd name="T54" fmla="*/ 40 w 48"/>
                  <a:gd name="T55" fmla="*/ 12 h 39"/>
                  <a:gd name="T56" fmla="*/ 29 w 48"/>
                  <a:gd name="T57" fmla="*/ 11 h 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48" h="39">
                    <a:moveTo>
                      <a:pt x="4" y="0"/>
                    </a:moveTo>
                    <a:cubicBezTo>
                      <a:pt x="48" y="4"/>
                      <a:pt x="48" y="4"/>
                      <a:pt x="48" y="4"/>
                    </a:cubicBezTo>
                    <a:cubicBezTo>
                      <a:pt x="46" y="23"/>
                      <a:pt x="46" y="23"/>
                      <a:pt x="46" y="23"/>
                    </a:cubicBezTo>
                    <a:cubicBezTo>
                      <a:pt x="46" y="27"/>
                      <a:pt x="45" y="31"/>
                      <a:pt x="44" y="33"/>
                    </a:cubicBezTo>
                    <a:cubicBezTo>
                      <a:pt x="43" y="35"/>
                      <a:pt x="41" y="36"/>
                      <a:pt x="39" y="38"/>
                    </a:cubicBezTo>
                    <a:cubicBezTo>
                      <a:pt x="37" y="39"/>
                      <a:pt x="35" y="39"/>
                      <a:pt x="32" y="39"/>
                    </a:cubicBezTo>
                    <a:cubicBezTo>
                      <a:pt x="29" y="38"/>
                      <a:pt x="26" y="37"/>
                      <a:pt x="24" y="35"/>
                    </a:cubicBezTo>
                    <a:cubicBezTo>
                      <a:pt x="22" y="33"/>
                      <a:pt x="21" y="30"/>
                      <a:pt x="21" y="26"/>
                    </a:cubicBezTo>
                    <a:cubicBezTo>
                      <a:pt x="20" y="28"/>
                      <a:pt x="18" y="29"/>
                      <a:pt x="17" y="30"/>
                    </a:cubicBezTo>
                    <a:cubicBezTo>
                      <a:pt x="16" y="32"/>
                      <a:pt x="13" y="33"/>
                      <a:pt x="9" y="35"/>
                    </a:cubicBezTo>
                    <a:cubicBezTo>
                      <a:pt x="0" y="39"/>
                      <a:pt x="0" y="39"/>
                      <a:pt x="0" y="39"/>
                    </a:cubicBezTo>
                    <a:cubicBezTo>
                      <a:pt x="1" y="29"/>
                      <a:pt x="1" y="29"/>
                      <a:pt x="1" y="29"/>
                    </a:cubicBezTo>
                    <a:cubicBezTo>
                      <a:pt x="12" y="23"/>
                      <a:pt x="12" y="23"/>
                      <a:pt x="12" y="23"/>
                    </a:cubicBezTo>
                    <a:cubicBezTo>
                      <a:pt x="15" y="21"/>
                      <a:pt x="17" y="20"/>
                      <a:pt x="18" y="19"/>
                    </a:cubicBezTo>
                    <a:cubicBezTo>
                      <a:pt x="19" y="18"/>
                      <a:pt x="20" y="18"/>
                      <a:pt x="20" y="17"/>
                    </a:cubicBezTo>
                    <a:cubicBezTo>
                      <a:pt x="21" y="16"/>
                      <a:pt x="21" y="14"/>
                      <a:pt x="21" y="12"/>
                    </a:cubicBezTo>
                    <a:cubicBezTo>
                      <a:pt x="22" y="11"/>
                      <a:pt x="22" y="11"/>
                      <a:pt x="22" y="11"/>
                    </a:cubicBezTo>
                    <a:cubicBezTo>
                      <a:pt x="3" y="9"/>
                      <a:pt x="3" y="9"/>
                      <a:pt x="3" y="9"/>
                    </a:cubicBezTo>
                    <a:lnTo>
                      <a:pt x="4" y="0"/>
                    </a:lnTo>
                    <a:close/>
                    <a:moveTo>
                      <a:pt x="29" y="11"/>
                    </a:moveTo>
                    <a:cubicBezTo>
                      <a:pt x="28" y="18"/>
                      <a:pt x="28" y="18"/>
                      <a:pt x="28" y="18"/>
                    </a:cubicBezTo>
                    <a:cubicBezTo>
                      <a:pt x="28" y="22"/>
                      <a:pt x="27" y="25"/>
                      <a:pt x="28" y="26"/>
                    </a:cubicBezTo>
                    <a:cubicBezTo>
                      <a:pt x="28" y="27"/>
                      <a:pt x="28" y="28"/>
                      <a:pt x="29" y="28"/>
                    </a:cubicBezTo>
                    <a:cubicBezTo>
                      <a:pt x="30" y="29"/>
                      <a:pt x="31" y="30"/>
                      <a:pt x="32" y="30"/>
                    </a:cubicBezTo>
                    <a:cubicBezTo>
                      <a:pt x="34" y="30"/>
                      <a:pt x="35" y="30"/>
                      <a:pt x="36" y="29"/>
                    </a:cubicBezTo>
                    <a:cubicBezTo>
                      <a:pt x="37" y="28"/>
                      <a:pt x="38" y="27"/>
                      <a:pt x="38" y="26"/>
                    </a:cubicBezTo>
                    <a:cubicBezTo>
                      <a:pt x="38" y="25"/>
                      <a:pt x="39" y="23"/>
                      <a:pt x="39" y="19"/>
                    </a:cubicBezTo>
                    <a:cubicBezTo>
                      <a:pt x="40" y="12"/>
                      <a:pt x="40" y="12"/>
                      <a:pt x="40" y="12"/>
                    </a:cubicBezTo>
                    <a:lnTo>
                      <a:pt x="29" y="11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1049659" name="îś1iḓê"/>
              <p:cNvSpPr/>
              <p:nvPr/>
            </p:nvSpPr>
            <p:spPr bwMode="auto">
              <a:xfrm>
                <a:off x="1641372" y="5312365"/>
                <a:ext cx="82550" cy="66675"/>
              </a:xfrm>
              <a:custGeom>
                <a:avLst/>
                <a:gdLst>
                  <a:gd name="T0" fmla="*/ 15 w 45"/>
                  <a:gd name="T1" fmla="*/ 0 h 36"/>
                  <a:gd name="T2" fmla="*/ 16 w 45"/>
                  <a:gd name="T3" fmla="*/ 8 h 36"/>
                  <a:gd name="T4" fmla="*/ 9 w 45"/>
                  <a:gd name="T5" fmla="*/ 12 h 36"/>
                  <a:gd name="T6" fmla="*/ 7 w 45"/>
                  <a:gd name="T7" fmla="*/ 18 h 36"/>
                  <a:gd name="T8" fmla="*/ 9 w 45"/>
                  <a:gd name="T9" fmla="*/ 25 h 36"/>
                  <a:gd name="T10" fmla="*/ 13 w 45"/>
                  <a:gd name="T11" fmla="*/ 27 h 36"/>
                  <a:gd name="T12" fmla="*/ 16 w 45"/>
                  <a:gd name="T13" fmla="*/ 26 h 36"/>
                  <a:gd name="T14" fmla="*/ 18 w 45"/>
                  <a:gd name="T15" fmla="*/ 23 h 36"/>
                  <a:gd name="T16" fmla="*/ 20 w 45"/>
                  <a:gd name="T17" fmla="*/ 15 h 36"/>
                  <a:gd name="T18" fmla="*/ 24 w 45"/>
                  <a:gd name="T19" fmla="*/ 5 h 36"/>
                  <a:gd name="T20" fmla="*/ 33 w 45"/>
                  <a:gd name="T21" fmla="*/ 1 h 36"/>
                  <a:gd name="T22" fmla="*/ 39 w 45"/>
                  <a:gd name="T23" fmla="*/ 3 h 36"/>
                  <a:gd name="T24" fmla="*/ 44 w 45"/>
                  <a:gd name="T25" fmla="*/ 9 h 36"/>
                  <a:gd name="T26" fmla="*/ 45 w 45"/>
                  <a:gd name="T27" fmla="*/ 17 h 36"/>
                  <a:gd name="T28" fmla="*/ 42 w 45"/>
                  <a:gd name="T29" fmla="*/ 30 h 36"/>
                  <a:gd name="T30" fmla="*/ 32 w 45"/>
                  <a:gd name="T31" fmla="*/ 34 h 36"/>
                  <a:gd name="T32" fmla="*/ 31 w 45"/>
                  <a:gd name="T33" fmla="*/ 25 h 36"/>
                  <a:gd name="T34" fmla="*/ 36 w 45"/>
                  <a:gd name="T35" fmla="*/ 23 h 36"/>
                  <a:gd name="T36" fmla="*/ 38 w 45"/>
                  <a:gd name="T37" fmla="*/ 17 h 36"/>
                  <a:gd name="T38" fmla="*/ 36 w 45"/>
                  <a:gd name="T39" fmla="*/ 11 h 36"/>
                  <a:gd name="T40" fmla="*/ 33 w 45"/>
                  <a:gd name="T41" fmla="*/ 10 h 36"/>
                  <a:gd name="T42" fmla="*/ 31 w 45"/>
                  <a:gd name="T43" fmla="*/ 11 h 36"/>
                  <a:gd name="T44" fmla="*/ 28 w 45"/>
                  <a:gd name="T45" fmla="*/ 19 h 36"/>
                  <a:gd name="T46" fmla="*/ 25 w 45"/>
                  <a:gd name="T47" fmla="*/ 29 h 36"/>
                  <a:gd name="T48" fmla="*/ 20 w 45"/>
                  <a:gd name="T49" fmla="*/ 34 h 36"/>
                  <a:gd name="T50" fmla="*/ 13 w 45"/>
                  <a:gd name="T51" fmla="*/ 36 h 36"/>
                  <a:gd name="T52" fmla="*/ 6 w 45"/>
                  <a:gd name="T53" fmla="*/ 33 h 36"/>
                  <a:gd name="T54" fmla="*/ 1 w 45"/>
                  <a:gd name="T55" fmla="*/ 28 h 36"/>
                  <a:gd name="T56" fmla="*/ 0 w 45"/>
                  <a:gd name="T57" fmla="*/ 18 h 36"/>
                  <a:gd name="T58" fmla="*/ 3 w 45"/>
                  <a:gd name="T59" fmla="*/ 5 h 36"/>
                  <a:gd name="T60" fmla="*/ 15 w 45"/>
                  <a:gd name="T61" fmla="*/ 0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45" h="36">
                    <a:moveTo>
                      <a:pt x="15" y="0"/>
                    </a:moveTo>
                    <a:cubicBezTo>
                      <a:pt x="16" y="8"/>
                      <a:pt x="16" y="8"/>
                      <a:pt x="16" y="8"/>
                    </a:cubicBezTo>
                    <a:cubicBezTo>
                      <a:pt x="13" y="9"/>
                      <a:pt x="10" y="10"/>
                      <a:pt x="9" y="12"/>
                    </a:cubicBezTo>
                    <a:cubicBezTo>
                      <a:pt x="8" y="13"/>
                      <a:pt x="7" y="15"/>
                      <a:pt x="7" y="18"/>
                    </a:cubicBezTo>
                    <a:cubicBezTo>
                      <a:pt x="7" y="21"/>
                      <a:pt x="8" y="23"/>
                      <a:pt x="9" y="25"/>
                    </a:cubicBezTo>
                    <a:cubicBezTo>
                      <a:pt x="10" y="26"/>
                      <a:pt x="12" y="27"/>
                      <a:pt x="13" y="27"/>
                    </a:cubicBezTo>
                    <a:cubicBezTo>
                      <a:pt x="14" y="27"/>
                      <a:pt x="15" y="26"/>
                      <a:pt x="16" y="26"/>
                    </a:cubicBezTo>
                    <a:cubicBezTo>
                      <a:pt x="17" y="25"/>
                      <a:pt x="17" y="24"/>
                      <a:pt x="18" y="23"/>
                    </a:cubicBezTo>
                    <a:cubicBezTo>
                      <a:pt x="18" y="22"/>
                      <a:pt x="19" y="19"/>
                      <a:pt x="20" y="15"/>
                    </a:cubicBezTo>
                    <a:cubicBezTo>
                      <a:pt x="21" y="11"/>
                      <a:pt x="22" y="7"/>
                      <a:pt x="24" y="5"/>
                    </a:cubicBezTo>
                    <a:cubicBezTo>
                      <a:pt x="26" y="3"/>
                      <a:pt x="29" y="1"/>
                      <a:pt x="33" y="1"/>
                    </a:cubicBezTo>
                    <a:cubicBezTo>
                      <a:pt x="35" y="1"/>
                      <a:pt x="37" y="2"/>
                      <a:pt x="39" y="3"/>
                    </a:cubicBezTo>
                    <a:cubicBezTo>
                      <a:pt x="41" y="4"/>
                      <a:pt x="43" y="6"/>
                      <a:pt x="44" y="9"/>
                    </a:cubicBezTo>
                    <a:cubicBezTo>
                      <a:pt x="45" y="11"/>
                      <a:pt x="45" y="14"/>
                      <a:pt x="45" y="17"/>
                    </a:cubicBezTo>
                    <a:cubicBezTo>
                      <a:pt x="45" y="23"/>
                      <a:pt x="44" y="27"/>
                      <a:pt x="42" y="30"/>
                    </a:cubicBezTo>
                    <a:cubicBezTo>
                      <a:pt x="39" y="33"/>
                      <a:pt x="36" y="34"/>
                      <a:pt x="32" y="34"/>
                    </a:cubicBezTo>
                    <a:cubicBezTo>
                      <a:pt x="31" y="25"/>
                      <a:pt x="31" y="25"/>
                      <a:pt x="31" y="25"/>
                    </a:cubicBezTo>
                    <a:cubicBezTo>
                      <a:pt x="34" y="25"/>
                      <a:pt x="35" y="24"/>
                      <a:pt x="36" y="23"/>
                    </a:cubicBezTo>
                    <a:cubicBezTo>
                      <a:pt x="37" y="22"/>
                      <a:pt x="38" y="20"/>
                      <a:pt x="38" y="17"/>
                    </a:cubicBezTo>
                    <a:cubicBezTo>
                      <a:pt x="38" y="15"/>
                      <a:pt x="37" y="13"/>
                      <a:pt x="36" y="11"/>
                    </a:cubicBezTo>
                    <a:cubicBezTo>
                      <a:pt x="35" y="10"/>
                      <a:pt x="35" y="10"/>
                      <a:pt x="33" y="10"/>
                    </a:cubicBezTo>
                    <a:cubicBezTo>
                      <a:pt x="32" y="10"/>
                      <a:pt x="31" y="10"/>
                      <a:pt x="31" y="11"/>
                    </a:cubicBezTo>
                    <a:cubicBezTo>
                      <a:pt x="30" y="12"/>
                      <a:pt x="29" y="15"/>
                      <a:pt x="28" y="19"/>
                    </a:cubicBezTo>
                    <a:cubicBezTo>
                      <a:pt x="27" y="24"/>
                      <a:pt x="26" y="27"/>
                      <a:pt x="25" y="29"/>
                    </a:cubicBezTo>
                    <a:cubicBezTo>
                      <a:pt x="24" y="31"/>
                      <a:pt x="22" y="33"/>
                      <a:pt x="20" y="34"/>
                    </a:cubicBezTo>
                    <a:cubicBezTo>
                      <a:pt x="18" y="35"/>
                      <a:pt x="16" y="36"/>
                      <a:pt x="13" y="36"/>
                    </a:cubicBezTo>
                    <a:cubicBezTo>
                      <a:pt x="11" y="36"/>
                      <a:pt x="8" y="35"/>
                      <a:pt x="6" y="33"/>
                    </a:cubicBezTo>
                    <a:cubicBezTo>
                      <a:pt x="4" y="32"/>
                      <a:pt x="2" y="30"/>
                      <a:pt x="1" y="28"/>
                    </a:cubicBezTo>
                    <a:cubicBezTo>
                      <a:pt x="0" y="25"/>
                      <a:pt x="0" y="22"/>
                      <a:pt x="0" y="18"/>
                    </a:cubicBezTo>
                    <a:cubicBezTo>
                      <a:pt x="0" y="12"/>
                      <a:pt x="1" y="8"/>
                      <a:pt x="3" y="5"/>
                    </a:cubicBezTo>
                    <a:cubicBezTo>
                      <a:pt x="6" y="2"/>
                      <a:pt x="10" y="0"/>
                      <a:pt x="15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1049660" name="íş1ïḓe"/>
              <p:cNvSpPr/>
              <p:nvPr/>
            </p:nvSpPr>
            <p:spPr bwMode="auto">
              <a:xfrm>
                <a:off x="1642959" y="5385390"/>
                <a:ext cx="84138" cy="22225"/>
              </a:xfrm>
              <a:custGeom>
                <a:avLst/>
                <a:gdLst>
                  <a:gd name="T0" fmla="*/ 0 w 53"/>
                  <a:gd name="T1" fmla="*/ 5 h 14"/>
                  <a:gd name="T2" fmla="*/ 51 w 53"/>
                  <a:gd name="T3" fmla="*/ 0 h 14"/>
                  <a:gd name="T4" fmla="*/ 53 w 53"/>
                  <a:gd name="T5" fmla="*/ 11 h 14"/>
                  <a:gd name="T6" fmla="*/ 1 w 53"/>
                  <a:gd name="T7" fmla="*/ 14 h 14"/>
                  <a:gd name="T8" fmla="*/ 0 w 53"/>
                  <a:gd name="T9" fmla="*/ 5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3" h="14">
                    <a:moveTo>
                      <a:pt x="0" y="5"/>
                    </a:moveTo>
                    <a:lnTo>
                      <a:pt x="51" y="0"/>
                    </a:lnTo>
                    <a:lnTo>
                      <a:pt x="53" y="11"/>
                    </a:lnTo>
                    <a:lnTo>
                      <a:pt x="1" y="14"/>
                    </a:lnTo>
                    <a:lnTo>
                      <a:pt x="0" y="5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1049661" name="ïṩlîḋè"/>
              <p:cNvSpPr/>
              <p:nvPr/>
            </p:nvSpPr>
            <p:spPr bwMode="auto">
              <a:xfrm>
                <a:off x="1649309" y="5407615"/>
                <a:ext cx="84138" cy="66675"/>
              </a:xfrm>
              <a:custGeom>
                <a:avLst/>
                <a:gdLst>
                  <a:gd name="T0" fmla="*/ 0 w 53"/>
                  <a:gd name="T1" fmla="*/ 22 h 42"/>
                  <a:gd name="T2" fmla="*/ 42 w 53"/>
                  <a:gd name="T3" fmla="*/ 17 h 42"/>
                  <a:gd name="T4" fmla="*/ 39 w 53"/>
                  <a:gd name="T5" fmla="*/ 1 h 42"/>
                  <a:gd name="T6" fmla="*/ 49 w 53"/>
                  <a:gd name="T7" fmla="*/ 0 h 42"/>
                  <a:gd name="T8" fmla="*/ 53 w 53"/>
                  <a:gd name="T9" fmla="*/ 41 h 42"/>
                  <a:gd name="T10" fmla="*/ 45 w 53"/>
                  <a:gd name="T11" fmla="*/ 42 h 42"/>
                  <a:gd name="T12" fmla="*/ 43 w 53"/>
                  <a:gd name="T13" fmla="*/ 27 h 42"/>
                  <a:gd name="T14" fmla="*/ 1 w 53"/>
                  <a:gd name="T15" fmla="*/ 33 h 42"/>
                  <a:gd name="T16" fmla="*/ 0 w 53"/>
                  <a:gd name="T17" fmla="*/ 22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3" h="42">
                    <a:moveTo>
                      <a:pt x="0" y="22"/>
                    </a:moveTo>
                    <a:lnTo>
                      <a:pt x="42" y="17"/>
                    </a:lnTo>
                    <a:lnTo>
                      <a:pt x="39" y="1"/>
                    </a:lnTo>
                    <a:lnTo>
                      <a:pt x="49" y="0"/>
                    </a:lnTo>
                    <a:lnTo>
                      <a:pt x="53" y="41"/>
                    </a:lnTo>
                    <a:lnTo>
                      <a:pt x="45" y="42"/>
                    </a:lnTo>
                    <a:lnTo>
                      <a:pt x="43" y="27"/>
                    </a:lnTo>
                    <a:lnTo>
                      <a:pt x="1" y="33"/>
                    </a:lnTo>
                    <a:lnTo>
                      <a:pt x="0" y="22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1049662" name="ïṣľîďe"/>
              <p:cNvSpPr/>
              <p:nvPr/>
            </p:nvSpPr>
            <p:spPr bwMode="auto">
              <a:xfrm>
                <a:off x="1662009" y="5471115"/>
                <a:ext cx="90488" cy="73025"/>
              </a:xfrm>
              <a:custGeom>
                <a:avLst/>
                <a:gdLst>
                  <a:gd name="T0" fmla="*/ 0 w 57"/>
                  <a:gd name="T1" fmla="*/ 29 h 46"/>
                  <a:gd name="T2" fmla="*/ 21 w 57"/>
                  <a:gd name="T3" fmla="*/ 24 h 46"/>
                  <a:gd name="T4" fmla="*/ 45 w 57"/>
                  <a:gd name="T5" fmla="*/ 0 h 46"/>
                  <a:gd name="T6" fmla="*/ 49 w 57"/>
                  <a:gd name="T7" fmla="*/ 11 h 46"/>
                  <a:gd name="T8" fmla="*/ 31 w 57"/>
                  <a:gd name="T9" fmla="*/ 28 h 46"/>
                  <a:gd name="T10" fmla="*/ 53 w 57"/>
                  <a:gd name="T11" fmla="*/ 35 h 46"/>
                  <a:gd name="T12" fmla="*/ 57 w 57"/>
                  <a:gd name="T13" fmla="*/ 46 h 46"/>
                  <a:gd name="T14" fmla="*/ 23 w 57"/>
                  <a:gd name="T15" fmla="*/ 35 h 46"/>
                  <a:gd name="T16" fmla="*/ 2 w 57"/>
                  <a:gd name="T17" fmla="*/ 39 h 46"/>
                  <a:gd name="T18" fmla="*/ 0 w 57"/>
                  <a:gd name="T19" fmla="*/ 29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57" h="46">
                    <a:moveTo>
                      <a:pt x="0" y="29"/>
                    </a:moveTo>
                    <a:lnTo>
                      <a:pt x="21" y="24"/>
                    </a:lnTo>
                    <a:lnTo>
                      <a:pt x="45" y="0"/>
                    </a:lnTo>
                    <a:lnTo>
                      <a:pt x="49" y="11"/>
                    </a:lnTo>
                    <a:lnTo>
                      <a:pt x="31" y="28"/>
                    </a:lnTo>
                    <a:lnTo>
                      <a:pt x="53" y="35"/>
                    </a:lnTo>
                    <a:lnTo>
                      <a:pt x="57" y="46"/>
                    </a:lnTo>
                    <a:lnTo>
                      <a:pt x="23" y="35"/>
                    </a:lnTo>
                    <a:lnTo>
                      <a:pt x="2" y="39"/>
                    </a:lnTo>
                    <a:lnTo>
                      <a:pt x="0" y="29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1049663" name="íśļiḓe"/>
              <p:cNvSpPr/>
              <p:nvPr/>
            </p:nvSpPr>
            <p:spPr bwMode="auto">
              <a:xfrm>
                <a:off x="1704872" y="5609228"/>
                <a:ext cx="85725" cy="80963"/>
              </a:xfrm>
              <a:custGeom>
                <a:avLst/>
                <a:gdLst>
                  <a:gd name="T0" fmla="*/ 15 w 47"/>
                  <a:gd name="T1" fmla="*/ 2 h 44"/>
                  <a:gd name="T2" fmla="*/ 26 w 47"/>
                  <a:gd name="T3" fmla="*/ 0 h 44"/>
                  <a:gd name="T4" fmla="*/ 33 w 47"/>
                  <a:gd name="T5" fmla="*/ 1 h 44"/>
                  <a:gd name="T6" fmla="*/ 39 w 47"/>
                  <a:gd name="T7" fmla="*/ 4 h 44"/>
                  <a:gd name="T8" fmla="*/ 44 w 47"/>
                  <a:gd name="T9" fmla="*/ 12 h 44"/>
                  <a:gd name="T10" fmla="*/ 45 w 47"/>
                  <a:gd name="T11" fmla="*/ 29 h 44"/>
                  <a:gd name="T12" fmla="*/ 32 w 47"/>
                  <a:gd name="T13" fmla="*/ 41 h 44"/>
                  <a:gd name="T14" fmla="*/ 15 w 47"/>
                  <a:gd name="T15" fmla="*/ 43 h 44"/>
                  <a:gd name="T16" fmla="*/ 3 w 47"/>
                  <a:gd name="T17" fmla="*/ 31 h 44"/>
                  <a:gd name="T18" fmla="*/ 2 w 47"/>
                  <a:gd name="T19" fmla="*/ 14 h 44"/>
                  <a:gd name="T20" fmla="*/ 15 w 47"/>
                  <a:gd name="T21" fmla="*/ 2 h 44"/>
                  <a:gd name="T22" fmla="*/ 19 w 47"/>
                  <a:gd name="T23" fmla="*/ 10 h 44"/>
                  <a:gd name="T24" fmla="*/ 10 w 47"/>
                  <a:gd name="T25" fmla="*/ 18 h 44"/>
                  <a:gd name="T26" fmla="*/ 10 w 47"/>
                  <a:gd name="T27" fmla="*/ 28 h 44"/>
                  <a:gd name="T28" fmla="*/ 17 w 47"/>
                  <a:gd name="T29" fmla="*/ 34 h 44"/>
                  <a:gd name="T30" fmla="*/ 29 w 47"/>
                  <a:gd name="T31" fmla="*/ 33 h 44"/>
                  <a:gd name="T32" fmla="*/ 38 w 47"/>
                  <a:gd name="T33" fmla="*/ 25 h 44"/>
                  <a:gd name="T34" fmla="*/ 37 w 47"/>
                  <a:gd name="T35" fmla="*/ 16 h 44"/>
                  <a:gd name="T36" fmla="*/ 30 w 47"/>
                  <a:gd name="T37" fmla="*/ 9 h 44"/>
                  <a:gd name="T38" fmla="*/ 19 w 47"/>
                  <a:gd name="T39" fmla="*/ 10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47" h="44">
                    <a:moveTo>
                      <a:pt x="15" y="2"/>
                    </a:moveTo>
                    <a:cubicBezTo>
                      <a:pt x="19" y="0"/>
                      <a:pt x="23" y="0"/>
                      <a:pt x="26" y="0"/>
                    </a:cubicBezTo>
                    <a:cubicBezTo>
                      <a:pt x="28" y="0"/>
                      <a:pt x="31" y="0"/>
                      <a:pt x="33" y="1"/>
                    </a:cubicBezTo>
                    <a:cubicBezTo>
                      <a:pt x="35" y="2"/>
                      <a:pt x="37" y="3"/>
                      <a:pt x="39" y="4"/>
                    </a:cubicBezTo>
                    <a:cubicBezTo>
                      <a:pt x="41" y="6"/>
                      <a:pt x="43" y="9"/>
                      <a:pt x="44" y="12"/>
                    </a:cubicBezTo>
                    <a:cubicBezTo>
                      <a:pt x="47" y="18"/>
                      <a:pt x="47" y="24"/>
                      <a:pt x="45" y="29"/>
                    </a:cubicBezTo>
                    <a:cubicBezTo>
                      <a:pt x="43" y="34"/>
                      <a:pt x="39" y="38"/>
                      <a:pt x="32" y="41"/>
                    </a:cubicBezTo>
                    <a:cubicBezTo>
                      <a:pt x="26" y="44"/>
                      <a:pt x="20" y="44"/>
                      <a:pt x="15" y="43"/>
                    </a:cubicBezTo>
                    <a:cubicBezTo>
                      <a:pt x="9" y="41"/>
                      <a:pt x="5" y="37"/>
                      <a:pt x="3" y="31"/>
                    </a:cubicBezTo>
                    <a:cubicBezTo>
                      <a:pt x="0" y="25"/>
                      <a:pt x="0" y="19"/>
                      <a:pt x="2" y="14"/>
                    </a:cubicBezTo>
                    <a:cubicBezTo>
                      <a:pt x="4" y="9"/>
                      <a:pt x="8" y="5"/>
                      <a:pt x="15" y="2"/>
                    </a:cubicBezTo>
                    <a:close/>
                    <a:moveTo>
                      <a:pt x="19" y="10"/>
                    </a:moveTo>
                    <a:cubicBezTo>
                      <a:pt x="14" y="12"/>
                      <a:pt x="11" y="15"/>
                      <a:pt x="10" y="18"/>
                    </a:cubicBezTo>
                    <a:cubicBezTo>
                      <a:pt x="8" y="21"/>
                      <a:pt x="8" y="24"/>
                      <a:pt x="10" y="28"/>
                    </a:cubicBezTo>
                    <a:cubicBezTo>
                      <a:pt x="11" y="31"/>
                      <a:pt x="13" y="33"/>
                      <a:pt x="17" y="34"/>
                    </a:cubicBezTo>
                    <a:cubicBezTo>
                      <a:pt x="20" y="35"/>
                      <a:pt x="24" y="35"/>
                      <a:pt x="29" y="33"/>
                    </a:cubicBezTo>
                    <a:cubicBezTo>
                      <a:pt x="33" y="31"/>
                      <a:pt x="36" y="28"/>
                      <a:pt x="38" y="25"/>
                    </a:cubicBezTo>
                    <a:cubicBezTo>
                      <a:pt x="39" y="22"/>
                      <a:pt x="39" y="19"/>
                      <a:pt x="37" y="16"/>
                    </a:cubicBezTo>
                    <a:cubicBezTo>
                      <a:pt x="36" y="12"/>
                      <a:pt x="34" y="10"/>
                      <a:pt x="30" y="9"/>
                    </a:cubicBezTo>
                    <a:cubicBezTo>
                      <a:pt x="27" y="8"/>
                      <a:pt x="23" y="8"/>
                      <a:pt x="19" y="1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1049664" name="î$ḷïďe"/>
              <p:cNvSpPr/>
              <p:nvPr/>
            </p:nvSpPr>
            <p:spPr bwMode="auto">
              <a:xfrm>
                <a:off x="1733447" y="5675903"/>
                <a:ext cx="98425" cy="66675"/>
              </a:xfrm>
              <a:custGeom>
                <a:avLst/>
                <a:gdLst>
                  <a:gd name="T0" fmla="*/ 0 w 62"/>
                  <a:gd name="T1" fmla="*/ 26 h 42"/>
                  <a:gd name="T2" fmla="*/ 45 w 62"/>
                  <a:gd name="T3" fmla="*/ 0 h 42"/>
                  <a:gd name="T4" fmla="*/ 62 w 62"/>
                  <a:gd name="T5" fmla="*/ 30 h 42"/>
                  <a:gd name="T6" fmla="*/ 55 w 62"/>
                  <a:gd name="T7" fmla="*/ 35 h 42"/>
                  <a:gd name="T8" fmla="*/ 43 w 62"/>
                  <a:gd name="T9" fmla="*/ 14 h 42"/>
                  <a:gd name="T10" fmla="*/ 32 w 62"/>
                  <a:gd name="T11" fmla="*/ 20 h 42"/>
                  <a:gd name="T12" fmla="*/ 43 w 62"/>
                  <a:gd name="T13" fmla="*/ 38 h 42"/>
                  <a:gd name="T14" fmla="*/ 35 w 62"/>
                  <a:gd name="T15" fmla="*/ 42 h 42"/>
                  <a:gd name="T16" fmla="*/ 25 w 62"/>
                  <a:gd name="T17" fmla="*/ 23 h 42"/>
                  <a:gd name="T18" fmla="*/ 6 w 62"/>
                  <a:gd name="T19" fmla="*/ 35 h 42"/>
                  <a:gd name="T20" fmla="*/ 0 w 62"/>
                  <a:gd name="T21" fmla="*/ 26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62" h="42">
                    <a:moveTo>
                      <a:pt x="0" y="26"/>
                    </a:moveTo>
                    <a:lnTo>
                      <a:pt x="45" y="0"/>
                    </a:lnTo>
                    <a:lnTo>
                      <a:pt x="62" y="30"/>
                    </a:lnTo>
                    <a:lnTo>
                      <a:pt x="55" y="35"/>
                    </a:lnTo>
                    <a:lnTo>
                      <a:pt x="43" y="14"/>
                    </a:lnTo>
                    <a:lnTo>
                      <a:pt x="32" y="20"/>
                    </a:lnTo>
                    <a:lnTo>
                      <a:pt x="43" y="38"/>
                    </a:lnTo>
                    <a:lnTo>
                      <a:pt x="35" y="42"/>
                    </a:lnTo>
                    <a:lnTo>
                      <a:pt x="25" y="23"/>
                    </a:lnTo>
                    <a:lnTo>
                      <a:pt x="6" y="35"/>
                    </a:lnTo>
                    <a:lnTo>
                      <a:pt x="0" y="26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1049665" name="îśḻîḍe"/>
              <p:cNvSpPr/>
              <p:nvPr/>
            </p:nvSpPr>
            <p:spPr bwMode="auto">
              <a:xfrm>
                <a:off x="1812822" y="5785440"/>
                <a:ext cx="85725" cy="82550"/>
              </a:xfrm>
              <a:custGeom>
                <a:avLst/>
                <a:gdLst>
                  <a:gd name="T0" fmla="*/ 6 w 46"/>
                  <a:gd name="T1" fmla="*/ 13 h 45"/>
                  <a:gd name="T2" fmla="*/ 12 w 46"/>
                  <a:gd name="T3" fmla="*/ 19 h 45"/>
                  <a:gd name="T4" fmla="*/ 9 w 46"/>
                  <a:gd name="T5" fmla="*/ 26 h 45"/>
                  <a:gd name="T6" fmla="*/ 11 w 46"/>
                  <a:gd name="T7" fmla="*/ 32 h 45"/>
                  <a:gd name="T8" fmla="*/ 17 w 46"/>
                  <a:gd name="T9" fmla="*/ 36 h 45"/>
                  <a:gd name="T10" fmla="*/ 22 w 46"/>
                  <a:gd name="T11" fmla="*/ 35 h 45"/>
                  <a:gd name="T12" fmla="*/ 23 w 46"/>
                  <a:gd name="T13" fmla="*/ 32 h 45"/>
                  <a:gd name="T14" fmla="*/ 22 w 46"/>
                  <a:gd name="T15" fmla="*/ 29 h 45"/>
                  <a:gd name="T16" fmla="*/ 19 w 46"/>
                  <a:gd name="T17" fmla="*/ 22 h 45"/>
                  <a:gd name="T18" fmla="*/ 16 w 46"/>
                  <a:gd name="T19" fmla="*/ 12 h 45"/>
                  <a:gd name="T20" fmla="*/ 21 w 46"/>
                  <a:gd name="T21" fmla="*/ 3 h 45"/>
                  <a:gd name="T22" fmla="*/ 27 w 46"/>
                  <a:gd name="T23" fmla="*/ 0 h 45"/>
                  <a:gd name="T24" fmla="*/ 34 w 46"/>
                  <a:gd name="T25" fmla="*/ 2 h 45"/>
                  <a:gd name="T26" fmla="*/ 40 w 46"/>
                  <a:gd name="T27" fmla="*/ 8 h 45"/>
                  <a:gd name="T28" fmla="*/ 45 w 46"/>
                  <a:gd name="T29" fmla="*/ 19 h 45"/>
                  <a:gd name="T30" fmla="*/ 41 w 46"/>
                  <a:gd name="T31" fmla="*/ 29 h 45"/>
                  <a:gd name="T32" fmla="*/ 35 w 46"/>
                  <a:gd name="T33" fmla="*/ 22 h 45"/>
                  <a:gd name="T34" fmla="*/ 37 w 46"/>
                  <a:gd name="T35" fmla="*/ 17 h 45"/>
                  <a:gd name="T36" fmla="*/ 35 w 46"/>
                  <a:gd name="T37" fmla="*/ 12 h 45"/>
                  <a:gd name="T38" fmla="*/ 30 w 46"/>
                  <a:gd name="T39" fmla="*/ 8 h 45"/>
                  <a:gd name="T40" fmla="*/ 27 w 46"/>
                  <a:gd name="T41" fmla="*/ 9 h 45"/>
                  <a:gd name="T42" fmla="*/ 25 w 46"/>
                  <a:gd name="T43" fmla="*/ 12 h 45"/>
                  <a:gd name="T44" fmla="*/ 28 w 46"/>
                  <a:gd name="T45" fmla="*/ 20 h 45"/>
                  <a:gd name="T46" fmla="*/ 32 w 46"/>
                  <a:gd name="T47" fmla="*/ 29 h 45"/>
                  <a:gd name="T48" fmla="*/ 31 w 46"/>
                  <a:gd name="T49" fmla="*/ 36 h 45"/>
                  <a:gd name="T50" fmla="*/ 27 w 46"/>
                  <a:gd name="T51" fmla="*/ 42 h 45"/>
                  <a:gd name="T52" fmla="*/ 20 w 46"/>
                  <a:gd name="T53" fmla="*/ 45 h 45"/>
                  <a:gd name="T54" fmla="*/ 13 w 46"/>
                  <a:gd name="T55" fmla="*/ 43 h 45"/>
                  <a:gd name="T56" fmla="*/ 6 w 46"/>
                  <a:gd name="T57" fmla="*/ 37 h 45"/>
                  <a:gd name="T58" fmla="*/ 0 w 46"/>
                  <a:gd name="T59" fmla="*/ 24 h 45"/>
                  <a:gd name="T60" fmla="*/ 6 w 46"/>
                  <a:gd name="T61" fmla="*/ 13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46" h="45">
                    <a:moveTo>
                      <a:pt x="6" y="13"/>
                    </a:moveTo>
                    <a:cubicBezTo>
                      <a:pt x="12" y="19"/>
                      <a:pt x="12" y="19"/>
                      <a:pt x="12" y="19"/>
                    </a:cubicBezTo>
                    <a:cubicBezTo>
                      <a:pt x="10" y="21"/>
                      <a:pt x="9" y="24"/>
                      <a:pt x="9" y="26"/>
                    </a:cubicBezTo>
                    <a:cubicBezTo>
                      <a:pt x="9" y="28"/>
                      <a:pt x="10" y="30"/>
                      <a:pt x="11" y="32"/>
                    </a:cubicBezTo>
                    <a:cubicBezTo>
                      <a:pt x="13" y="34"/>
                      <a:pt x="15" y="35"/>
                      <a:pt x="17" y="36"/>
                    </a:cubicBezTo>
                    <a:cubicBezTo>
                      <a:pt x="19" y="36"/>
                      <a:pt x="20" y="36"/>
                      <a:pt x="22" y="35"/>
                    </a:cubicBezTo>
                    <a:cubicBezTo>
                      <a:pt x="22" y="34"/>
                      <a:pt x="23" y="33"/>
                      <a:pt x="23" y="32"/>
                    </a:cubicBezTo>
                    <a:cubicBezTo>
                      <a:pt x="23" y="32"/>
                      <a:pt x="23" y="30"/>
                      <a:pt x="22" y="29"/>
                    </a:cubicBezTo>
                    <a:cubicBezTo>
                      <a:pt x="22" y="28"/>
                      <a:pt x="21" y="26"/>
                      <a:pt x="19" y="22"/>
                    </a:cubicBezTo>
                    <a:cubicBezTo>
                      <a:pt x="17" y="18"/>
                      <a:pt x="16" y="14"/>
                      <a:pt x="16" y="12"/>
                    </a:cubicBezTo>
                    <a:cubicBezTo>
                      <a:pt x="17" y="8"/>
                      <a:pt x="18" y="5"/>
                      <a:pt x="21" y="3"/>
                    </a:cubicBezTo>
                    <a:cubicBezTo>
                      <a:pt x="23" y="1"/>
                      <a:pt x="25" y="1"/>
                      <a:pt x="27" y="0"/>
                    </a:cubicBezTo>
                    <a:cubicBezTo>
                      <a:pt x="29" y="0"/>
                      <a:pt x="31" y="1"/>
                      <a:pt x="34" y="2"/>
                    </a:cubicBezTo>
                    <a:cubicBezTo>
                      <a:pt x="36" y="3"/>
                      <a:pt x="38" y="5"/>
                      <a:pt x="40" y="8"/>
                    </a:cubicBezTo>
                    <a:cubicBezTo>
                      <a:pt x="44" y="12"/>
                      <a:pt x="46" y="16"/>
                      <a:pt x="45" y="19"/>
                    </a:cubicBezTo>
                    <a:cubicBezTo>
                      <a:pt x="45" y="23"/>
                      <a:pt x="44" y="26"/>
                      <a:pt x="41" y="29"/>
                    </a:cubicBezTo>
                    <a:cubicBezTo>
                      <a:pt x="35" y="22"/>
                      <a:pt x="35" y="22"/>
                      <a:pt x="35" y="22"/>
                    </a:cubicBezTo>
                    <a:cubicBezTo>
                      <a:pt x="36" y="21"/>
                      <a:pt x="37" y="19"/>
                      <a:pt x="37" y="17"/>
                    </a:cubicBezTo>
                    <a:cubicBezTo>
                      <a:pt x="37" y="16"/>
                      <a:pt x="36" y="14"/>
                      <a:pt x="35" y="12"/>
                    </a:cubicBezTo>
                    <a:cubicBezTo>
                      <a:pt x="33" y="10"/>
                      <a:pt x="31" y="9"/>
                      <a:pt x="30" y="8"/>
                    </a:cubicBezTo>
                    <a:cubicBezTo>
                      <a:pt x="28" y="8"/>
                      <a:pt x="27" y="8"/>
                      <a:pt x="27" y="9"/>
                    </a:cubicBezTo>
                    <a:cubicBezTo>
                      <a:pt x="26" y="10"/>
                      <a:pt x="25" y="11"/>
                      <a:pt x="25" y="12"/>
                    </a:cubicBezTo>
                    <a:cubicBezTo>
                      <a:pt x="25" y="13"/>
                      <a:pt x="26" y="16"/>
                      <a:pt x="28" y="20"/>
                    </a:cubicBezTo>
                    <a:cubicBezTo>
                      <a:pt x="30" y="24"/>
                      <a:pt x="31" y="27"/>
                      <a:pt x="32" y="29"/>
                    </a:cubicBezTo>
                    <a:cubicBezTo>
                      <a:pt x="32" y="32"/>
                      <a:pt x="32" y="34"/>
                      <a:pt x="31" y="36"/>
                    </a:cubicBezTo>
                    <a:cubicBezTo>
                      <a:pt x="31" y="38"/>
                      <a:pt x="29" y="40"/>
                      <a:pt x="27" y="42"/>
                    </a:cubicBezTo>
                    <a:cubicBezTo>
                      <a:pt x="25" y="43"/>
                      <a:pt x="23" y="44"/>
                      <a:pt x="20" y="45"/>
                    </a:cubicBezTo>
                    <a:cubicBezTo>
                      <a:pt x="18" y="45"/>
                      <a:pt x="15" y="44"/>
                      <a:pt x="13" y="43"/>
                    </a:cubicBezTo>
                    <a:cubicBezTo>
                      <a:pt x="10" y="42"/>
                      <a:pt x="8" y="40"/>
                      <a:pt x="6" y="37"/>
                    </a:cubicBezTo>
                    <a:cubicBezTo>
                      <a:pt x="2" y="32"/>
                      <a:pt x="0" y="28"/>
                      <a:pt x="0" y="24"/>
                    </a:cubicBezTo>
                    <a:cubicBezTo>
                      <a:pt x="1" y="20"/>
                      <a:pt x="2" y="17"/>
                      <a:pt x="6" y="13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1049666" name="í$ļîḋê"/>
              <p:cNvSpPr/>
              <p:nvPr/>
            </p:nvSpPr>
            <p:spPr bwMode="auto">
              <a:xfrm>
                <a:off x="1868384" y="5844178"/>
                <a:ext cx="82550" cy="82550"/>
              </a:xfrm>
              <a:custGeom>
                <a:avLst/>
                <a:gdLst>
                  <a:gd name="T0" fmla="*/ 25 w 45"/>
                  <a:gd name="T1" fmla="*/ 33 h 45"/>
                  <a:gd name="T2" fmla="*/ 29 w 45"/>
                  <a:gd name="T3" fmla="*/ 41 h 45"/>
                  <a:gd name="T4" fmla="*/ 17 w 45"/>
                  <a:gd name="T5" fmla="*/ 44 h 45"/>
                  <a:gd name="T6" fmla="*/ 6 w 45"/>
                  <a:gd name="T7" fmla="*/ 38 h 45"/>
                  <a:gd name="T8" fmla="*/ 0 w 45"/>
                  <a:gd name="T9" fmla="*/ 24 h 45"/>
                  <a:gd name="T10" fmla="*/ 8 w 45"/>
                  <a:gd name="T11" fmla="*/ 8 h 45"/>
                  <a:gd name="T12" fmla="*/ 24 w 45"/>
                  <a:gd name="T13" fmla="*/ 0 h 45"/>
                  <a:gd name="T14" fmla="*/ 39 w 45"/>
                  <a:gd name="T15" fmla="*/ 7 h 45"/>
                  <a:gd name="T16" fmla="*/ 45 w 45"/>
                  <a:gd name="T17" fmla="*/ 19 h 45"/>
                  <a:gd name="T18" fmla="*/ 42 w 45"/>
                  <a:gd name="T19" fmla="*/ 28 h 45"/>
                  <a:gd name="T20" fmla="*/ 34 w 45"/>
                  <a:gd name="T21" fmla="*/ 23 h 45"/>
                  <a:gd name="T22" fmla="*/ 36 w 45"/>
                  <a:gd name="T23" fmla="*/ 17 h 45"/>
                  <a:gd name="T24" fmla="*/ 33 w 45"/>
                  <a:gd name="T25" fmla="*/ 12 h 45"/>
                  <a:gd name="T26" fmla="*/ 25 w 45"/>
                  <a:gd name="T27" fmla="*/ 9 h 45"/>
                  <a:gd name="T28" fmla="*/ 15 w 45"/>
                  <a:gd name="T29" fmla="*/ 14 h 45"/>
                  <a:gd name="T30" fmla="*/ 8 w 45"/>
                  <a:gd name="T31" fmla="*/ 25 h 45"/>
                  <a:gd name="T32" fmla="*/ 11 w 45"/>
                  <a:gd name="T33" fmla="*/ 33 h 45"/>
                  <a:gd name="T34" fmla="*/ 17 w 45"/>
                  <a:gd name="T35" fmla="*/ 36 h 45"/>
                  <a:gd name="T36" fmla="*/ 25 w 45"/>
                  <a:gd name="T37" fmla="*/ 33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45" h="45">
                    <a:moveTo>
                      <a:pt x="25" y="33"/>
                    </a:moveTo>
                    <a:cubicBezTo>
                      <a:pt x="29" y="41"/>
                      <a:pt x="29" y="41"/>
                      <a:pt x="29" y="41"/>
                    </a:cubicBezTo>
                    <a:cubicBezTo>
                      <a:pt x="25" y="44"/>
                      <a:pt x="21" y="45"/>
                      <a:pt x="17" y="44"/>
                    </a:cubicBezTo>
                    <a:cubicBezTo>
                      <a:pt x="13" y="44"/>
                      <a:pt x="9" y="42"/>
                      <a:pt x="6" y="38"/>
                    </a:cubicBezTo>
                    <a:cubicBezTo>
                      <a:pt x="2" y="34"/>
                      <a:pt x="0" y="29"/>
                      <a:pt x="0" y="24"/>
                    </a:cubicBezTo>
                    <a:cubicBezTo>
                      <a:pt x="0" y="19"/>
                      <a:pt x="3" y="13"/>
                      <a:pt x="8" y="8"/>
                    </a:cubicBezTo>
                    <a:cubicBezTo>
                      <a:pt x="13" y="3"/>
                      <a:pt x="18" y="1"/>
                      <a:pt x="24" y="0"/>
                    </a:cubicBezTo>
                    <a:cubicBezTo>
                      <a:pt x="29" y="0"/>
                      <a:pt x="34" y="2"/>
                      <a:pt x="39" y="7"/>
                    </a:cubicBezTo>
                    <a:cubicBezTo>
                      <a:pt x="42" y="10"/>
                      <a:pt x="44" y="15"/>
                      <a:pt x="45" y="19"/>
                    </a:cubicBezTo>
                    <a:cubicBezTo>
                      <a:pt x="45" y="22"/>
                      <a:pt x="44" y="25"/>
                      <a:pt x="42" y="28"/>
                    </a:cubicBezTo>
                    <a:cubicBezTo>
                      <a:pt x="34" y="23"/>
                      <a:pt x="34" y="23"/>
                      <a:pt x="34" y="23"/>
                    </a:cubicBezTo>
                    <a:cubicBezTo>
                      <a:pt x="36" y="21"/>
                      <a:pt x="36" y="19"/>
                      <a:pt x="36" y="17"/>
                    </a:cubicBezTo>
                    <a:cubicBezTo>
                      <a:pt x="36" y="15"/>
                      <a:pt x="35" y="13"/>
                      <a:pt x="33" y="12"/>
                    </a:cubicBezTo>
                    <a:cubicBezTo>
                      <a:pt x="31" y="9"/>
                      <a:pt x="28" y="8"/>
                      <a:pt x="25" y="9"/>
                    </a:cubicBezTo>
                    <a:cubicBezTo>
                      <a:pt x="22" y="9"/>
                      <a:pt x="18" y="11"/>
                      <a:pt x="15" y="14"/>
                    </a:cubicBezTo>
                    <a:cubicBezTo>
                      <a:pt x="11" y="18"/>
                      <a:pt x="9" y="22"/>
                      <a:pt x="8" y="25"/>
                    </a:cubicBezTo>
                    <a:cubicBezTo>
                      <a:pt x="8" y="28"/>
                      <a:pt x="9" y="31"/>
                      <a:pt x="11" y="33"/>
                    </a:cubicBezTo>
                    <a:cubicBezTo>
                      <a:pt x="13" y="35"/>
                      <a:pt x="15" y="36"/>
                      <a:pt x="17" y="36"/>
                    </a:cubicBezTo>
                    <a:cubicBezTo>
                      <a:pt x="20" y="36"/>
                      <a:pt x="22" y="35"/>
                      <a:pt x="25" y="33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1049667" name="íṩḷiḋé"/>
              <p:cNvSpPr/>
              <p:nvPr/>
            </p:nvSpPr>
            <p:spPr bwMode="auto">
              <a:xfrm>
                <a:off x="1916009" y="5887040"/>
                <a:ext cx="65088" cy="71438"/>
              </a:xfrm>
              <a:custGeom>
                <a:avLst/>
                <a:gdLst>
                  <a:gd name="T0" fmla="*/ 0 w 41"/>
                  <a:gd name="T1" fmla="*/ 38 h 45"/>
                  <a:gd name="T2" fmla="*/ 34 w 41"/>
                  <a:gd name="T3" fmla="*/ 0 h 45"/>
                  <a:gd name="T4" fmla="*/ 41 w 41"/>
                  <a:gd name="T5" fmla="*/ 6 h 45"/>
                  <a:gd name="T6" fmla="*/ 8 w 41"/>
                  <a:gd name="T7" fmla="*/ 45 h 45"/>
                  <a:gd name="T8" fmla="*/ 0 w 41"/>
                  <a:gd name="T9" fmla="*/ 38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1" h="45">
                    <a:moveTo>
                      <a:pt x="0" y="38"/>
                    </a:moveTo>
                    <a:lnTo>
                      <a:pt x="34" y="0"/>
                    </a:lnTo>
                    <a:lnTo>
                      <a:pt x="41" y="6"/>
                    </a:lnTo>
                    <a:lnTo>
                      <a:pt x="8" y="45"/>
                    </a:lnTo>
                    <a:lnTo>
                      <a:pt x="0" y="38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1049668" name="îsľïďé"/>
              <p:cNvSpPr/>
              <p:nvPr/>
            </p:nvSpPr>
            <p:spPr bwMode="auto">
              <a:xfrm>
                <a:off x="1941409" y="5904503"/>
                <a:ext cx="96838" cy="101600"/>
              </a:xfrm>
              <a:custGeom>
                <a:avLst/>
                <a:gdLst>
                  <a:gd name="T0" fmla="*/ 0 w 61"/>
                  <a:gd name="T1" fmla="*/ 41 h 64"/>
                  <a:gd name="T2" fmla="*/ 31 w 61"/>
                  <a:gd name="T3" fmla="*/ 0 h 64"/>
                  <a:gd name="T4" fmla="*/ 61 w 61"/>
                  <a:gd name="T5" fmla="*/ 22 h 64"/>
                  <a:gd name="T6" fmla="*/ 56 w 61"/>
                  <a:gd name="T7" fmla="*/ 29 h 64"/>
                  <a:gd name="T8" fmla="*/ 34 w 61"/>
                  <a:gd name="T9" fmla="*/ 13 h 64"/>
                  <a:gd name="T10" fmla="*/ 27 w 61"/>
                  <a:gd name="T11" fmla="*/ 22 h 64"/>
                  <a:gd name="T12" fmla="*/ 47 w 61"/>
                  <a:gd name="T13" fmla="*/ 37 h 64"/>
                  <a:gd name="T14" fmla="*/ 42 w 61"/>
                  <a:gd name="T15" fmla="*/ 44 h 64"/>
                  <a:gd name="T16" fmla="*/ 21 w 61"/>
                  <a:gd name="T17" fmla="*/ 29 h 64"/>
                  <a:gd name="T18" fmla="*/ 13 w 61"/>
                  <a:gd name="T19" fmla="*/ 40 h 64"/>
                  <a:gd name="T20" fmla="*/ 36 w 61"/>
                  <a:gd name="T21" fmla="*/ 57 h 64"/>
                  <a:gd name="T22" fmla="*/ 31 w 61"/>
                  <a:gd name="T23" fmla="*/ 64 h 64"/>
                  <a:gd name="T24" fmla="*/ 0 w 61"/>
                  <a:gd name="T25" fmla="*/ 41 h 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1" h="64">
                    <a:moveTo>
                      <a:pt x="0" y="41"/>
                    </a:moveTo>
                    <a:lnTo>
                      <a:pt x="31" y="0"/>
                    </a:lnTo>
                    <a:lnTo>
                      <a:pt x="61" y="22"/>
                    </a:lnTo>
                    <a:lnTo>
                      <a:pt x="56" y="29"/>
                    </a:lnTo>
                    <a:lnTo>
                      <a:pt x="34" y="13"/>
                    </a:lnTo>
                    <a:lnTo>
                      <a:pt x="27" y="22"/>
                    </a:lnTo>
                    <a:lnTo>
                      <a:pt x="47" y="37"/>
                    </a:lnTo>
                    <a:lnTo>
                      <a:pt x="42" y="44"/>
                    </a:lnTo>
                    <a:lnTo>
                      <a:pt x="21" y="29"/>
                    </a:lnTo>
                    <a:lnTo>
                      <a:pt x="13" y="40"/>
                    </a:lnTo>
                    <a:lnTo>
                      <a:pt x="36" y="57"/>
                    </a:lnTo>
                    <a:lnTo>
                      <a:pt x="31" y="64"/>
                    </a:lnTo>
                    <a:lnTo>
                      <a:pt x="0" y="41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1049669" name="íśliḋé"/>
              <p:cNvSpPr/>
              <p:nvPr/>
            </p:nvSpPr>
            <p:spPr bwMode="auto">
              <a:xfrm>
                <a:off x="2004909" y="5947365"/>
                <a:ext cx="96838" cy="101600"/>
              </a:xfrm>
              <a:custGeom>
                <a:avLst/>
                <a:gdLst>
                  <a:gd name="T0" fmla="*/ 0 w 61"/>
                  <a:gd name="T1" fmla="*/ 43 h 64"/>
                  <a:gd name="T2" fmla="*/ 27 w 61"/>
                  <a:gd name="T3" fmla="*/ 0 h 64"/>
                  <a:gd name="T4" fmla="*/ 35 w 61"/>
                  <a:gd name="T5" fmla="*/ 5 h 64"/>
                  <a:gd name="T6" fmla="*/ 36 w 61"/>
                  <a:gd name="T7" fmla="*/ 45 h 64"/>
                  <a:gd name="T8" fmla="*/ 53 w 61"/>
                  <a:gd name="T9" fmla="*/ 15 h 64"/>
                  <a:gd name="T10" fmla="*/ 61 w 61"/>
                  <a:gd name="T11" fmla="*/ 21 h 64"/>
                  <a:gd name="T12" fmla="*/ 35 w 61"/>
                  <a:gd name="T13" fmla="*/ 64 h 64"/>
                  <a:gd name="T14" fmla="*/ 27 w 61"/>
                  <a:gd name="T15" fmla="*/ 59 h 64"/>
                  <a:gd name="T16" fmla="*/ 25 w 61"/>
                  <a:gd name="T17" fmla="*/ 20 h 64"/>
                  <a:gd name="T18" fmla="*/ 8 w 61"/>
                  <a:gd name="T19" fmla="*/ 49 h 64"/>
                  <a:gd name="T20" fmla="*/ 0 w 61"/>
                  <a:gd name="T21" fmla="*/ 43 h 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61" h="64">
                    <a:moveTo>
                      <a:pt x="0" y="43"/>
                    </a:moveTo>
                    <a:lnTo>
                      <a:pt x="27" y="0"/>
                    </a:lnTo>
                    <a:lnTo>
                      <a:pt x="35" y="5"/>
                    </a:lnTo>
                    <a:lnTo>
                      <a:pt x="36" y="45"/>
                    </a:lnTo>
                    <a:lnTo>
                      <a:pt x="53" y="15"/>
                    </a:lnTo>
                    <a:lnTo>
                      <a:pt x="61" y="21"/>
                    </a:lnTo>
                    <a:lnTo>
                      <a:pt x="35" y="64"/>
                    </a:lnTo>
                    <a:lnTo>
                      <a:pt x="27" y="59"/>
                    </a:lnTo>
                    <a:lnTo>
                      <a:pt x="25" y="20"/>
                    </a:lnTo>
                    <a:lnTo>
                      <a:pt x="8" y="49"/>
                    </a:lnTo>
                    <a:lnTo>
                      <a:pt x="0" y="43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1049670" name="iSļiďê"/>
              <p:cNvSpPr/>
              <p:nvPr/>
            </p:nvSpPr>
            <p:spPr bwMode="auto">
              <a:xfrm>
                <a:off x="2087459" y="5993403"/>
                <a:ext cx="79375" cy="87313"/>
              </a:xfrm>
              <a:custGeom>
                <a:avLst/>
                <a:gdLst>
                  <a:gd name="T0" fmla="*/ 28 w 43"/>
                  <a:gd name="T1" fmla="*/ 33 h 47"/>
                  <a:gd name="T2" fmla="*/ 34 w 43"/>
                  <a:gd name="T3" fmla="*/ 39 h 47"/>
                  <a:gd name="T4" fmla="*/ 24 w 43"/>
                  <a:gd name="T5" fmla="*/ 46 h 47"/>
                  <a:gd name="T6" fmla="*/ 12 w 43"/>
                  <a:gd name="T7" fmla="*/ 44 h 47"/>
                  <a:gd name="T8" fmla="*/ 1 w 43"/>
                  <a:gd name="T9" fmla="*/ 33 h 47"/>
                  <a:gd name="T10" fmla="*/ 3 w 43"/>
                  <a:gd name="T11" fmla="*/ 15 h 47"/>
                  <a:gd name="T12" fmla="*/ 15 w 43"/>
                  <a:gd name="T13" fmla="*/ 2 h 47"/>
                  <a:gd name="T14" fmla="*/ 32 w 43"/>
                  <a:gd name="T15" fmla="*/ 3 h 47"/>
                  <a:gd name="T16" fmla="*/ 41 w 43"/>
                  <a:gd name="T17" fmla="*/ 13 h 47"/>
                  <a:gd name="T18" fmla="*/ 42 w 43"/>
                  <a:gd name="T19" fmla="*/ 22 h 47"/>
                  <a:gd name="T20" fmla="*/ 33 w 43"/>
                  <a:gd name="T21" fmla="*/ 20 h 47"/>
                  <a:gd name="T22" fmla="*/ 33 w 43"/>
                  <a:gd name="T23" fmla="*/ 14 h 47"/>
                  <a:gd name="T24" fmla="*/ 28 w 43"/>
                  <a:gd name="T25" fmla="*/ 10 h 47"/>
                  <a:gd name="T26" fmla="*/ 19 w 43"/>
                  <a:gd name="T27" fmla="*/ 10 h 47"/>
                  <a:gd name="T28" fmla="*/ 12 w 43"/>
                  <a:gd name="T29" fmla="*/ 19 h 47"/>
                  <a:gd name="T30" fmla="*/ 9 w 43"/>
                  <a:gd name="T31" fmla="*/ 31 h 47"/>
                  <a:gd name="T32" fmla="*/ 15 w 43"/>
                  <a:gd name="T33" fmla="*/ 37 h 47"/>
                  <a:gd name="T34" fmla="*/ 22 w 43"/>
                  <a:gd name="T35" fmla="*/ 38 h 47"/>
                  <a:gd name="T36" fmla="*/ 28 w 43"/>
                  <a:gd name="T37" fmla="*/ 33 h 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43" h="47">
                    <a:moveTo>
                      <a:pt x="28" y="33"/>
                    </a:moveTo>
                    <a:cubicBezTo>
                      <a:pt x="34" y="39"/>
                      <a:pt x="34" y="39"/>
                      <a:pt x="34" y="39"/>
                    </a:cubicBezTo>
                    <a:cubicBezTo>
                      <a:pt x="31" y="43"/>
                      <a:pt x="28" y="45"/>
                      <a:pt x="24" y="46"/>
                    </a:cubicBezTo>
                    <a:cubicBezTo>
                      <a:pt x="20" y="47"/>
                      <a:pt x="16" y="46"/>
                      <a:pt x="12" y="44"/>
                    </a:cubicBezTo>
                    <a:cubicBezTo>
                      <a:pt x="7" y="42"/>
                      <a:pt x="3" y="38"/>
                      <a:pt x="1" y="33"/>
                    </a:cubicBezTo>
                    <a:cubicBezTo>
                      <a:pt x="0" y="27"/>
                      <a:pt x="0" y="22"/>
                      <a:pt x="3" y="15"/>
                    </a:cubicBezTo>
                    <a:cubicBezTo>
                      <a:pt x="6" y="9"/>
                      <a:pt x="10" y="4"/>
                      <a:pt x="15" y="2"/>
                    </a:cubicBezTo>
                    <a:cubicBezTo>
                      <a:pt x="21" y="0"/>
                      <a:pt x="26" y="1"/>
                      <a:pt x="32" y="3"/>
                    </a:cubicBezTo>
                    <a:cubicBezTo>
                      <a:pt x="36" y="5"/>
                      <a:pt x="40" y="9"/>
                      <a:pt x="41" y="13"/>
                    </a:cubicBezTo>
                    <a:cubicBezTo>
                      <a:pt x="42" y="16"/>
                      <a:pt x="43" y="19"/>
                      <a:pt x="42" y="22"/>
                    </a:cubicBezTo>
                    <a:cubicBezTo>
                      <a:pt x="33" y="20"/>
                      <a:pt x="33" y="20"/>
                      <a:pt x="33" y="20"/>
                    </a:cubicBezTo>
                    <a:cubicBezTo>
                      <a:pt x="34" y="18"/>
                      <a:pt x="34" y="16"/>
                      <a:pt x="33" y="14"/>
                    </a:cubicBezTo>
                    <a:cubicBezTo>
                      <a:pt x="32" y="12"/>
                      <a:pt x="30" y="11"/>
                      <a:pt x="28" y="10"/>
                    </a:cubicBezTo>
                    <a:cubicBezTo>
                      <a:pt x="25" y="8"/>
                      <a:pt x="22" y="8"/>
                      <a:pt x="19" y="10"/>
                    </a:cubicBezTo>
                    <a:cubicBezTo>
                      <a:pt x="16" y="11"/>
                      <a:pt x="14" y="14"/>
                      <a:pt x="12" y="19"/>
                    </a:cubicBezTo>
                    <a:cubicBezTo>
                      <a:pt x="9" y="24"/>
                      <a:pt x="9" y="28"/>
                      <a:pt x="9" y="31"/>
                    </a:cubicBezTo>
                    <a:cubicBezTo>
                      <a:pt x="10" y="34"/>
                      <a:pt x="12" y="36"/>
                      <a:pt x="15" y="37"/>
                    </a:cubicBezTo>
                    <a:cubicBezTo>
                      <a:pt x="17" y="38"/>
                      <a:pt x="19" y="38"/>
                      <a:pt x="22" y="38"/>
                    </a:cubicBezTo>
                    <a:cubicBezTo>
                      <a:pt x="24" y="37"/>
                      <a:pt x="26" y="35"/>
                      <a:pt x="28" y="33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1049671" name="íSliḋé"/>
              <p:cNvSpPr/>
              <p:nvPr/>
            </p:nvSpPr>
            <p:spPr bwMode="auto">
              <a:xfrm>
                <a:off x="2157309" y="6017215"/>
                <a:ext cx="82550" cy="96838"/>
              </a:xfrm>
              <a:custGeom>
                <a:avLst/>
                <a:gdLst>
                  <a:gd name="T0" fmla="*/ 0 w 52"/>
                  <a:gd name="T1" fmla="*/ 49 h 61"/>
                  <a:gd name="T2" fmla="*/ 16 w 52"/>
                  <a:gd name="T3" fmla="*/ 0 h 61"/>
                  <a:gd name="T4" fmla="*/ 52 w 52"/>
                  <a:gd name="T5" fmla="*/ 13 h 61"/>
                  <a:gd name="T6" fmla="*/ 50 w 52"/>
                  <a:gd name="T7" fmla="*/ 21 h 61"/>
                  <a:gd name="T8" fmla="*/ 23 w 52"/>
                  <a:gd name="T9" fmla="*/ 12 h 61"/>
                  <a:gd name="T10" fmla="*/ 20 w 52"/>
                  <a:gd name="T11" fmla="*/ 22 h 61"/>
                  <a:gd name="T12" fmla="*/ 44 w 52"/>
                  <a:gd name="T13" fmla="*/ 30 h 61"/>
                  <a:gd name="T14" fmla="*/ 41 w 52"/>
                  <a:gd name="T15" fmla="*/ 38 h 61"/>
                  <a:gd name="T16" fmla="*/ 18 w 52"/>
                  <a:gd name="T17" fmla="*/ 30 h 61"/>
                  <a:gd name="T18" fmla="*/ 13 w 52"/>
                  <a:gd name="T19" fmla="*/ 43 h 61"/>
                  <a:gd name="T20" fmla="*/ 40 w 52"/>
                  <a:gd name="T21" fmla="*/ 52 h 61"/>
                  <a:gd name="T22" fmla="*/ 36 w 52"/>
                  <a:gd name="T23" fmla="*/ 61 h 61"/>
                  <a:gd name="T24" fmla="*/ 0 w 52"/>
                  <a:gd name="T25" fmla="*/ 49 h 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52" h="61">
                    <a:moveTo>
                      <a:pt x="0" y="49"/>
                    </a:moveTo>
                    <a:lnTo>
                      <a:pt x="16" y="0"/>
                    </a:lnTo>
                    <a:lnTo>
                      <a:pt x="52" y="13"/>
                    </a:lnTo>
                    <a:lnTo>
                      <a:pt x="50" y="21"/>
                    </a:lnTo>
                    <a:lnTo>
                      <a:pt x="23" y="12"/>
                    </a:lnTo>
                    <a:lnTo>
                      <a:pt x="20" y="22"/>
                    </a:lnTo>
                    <a:lnTo>
                      <a:pt x="44" y="30"/>
                    </a:lnTo>
                    <a:lnTo>
                      <a:pt x="41" y="38"/>
                    </a:lnTo>
                    <a:lnTo>
                      <a:pt x="18" y="30"/>
                    </a:lnTo>
                    <a:lnTo>
                      <a:pt x="13" y="43"/>
                    </a:lnTo>
                    <a:lnTo>
                      <a:pt x="40" y="52"/>
                    </a:lnTo>
                    <a:lnTo>
                      <a:pt x="36" y="61"/>
                    </a:lnTo>
                    <a:lnTo>
                      <a:pt x="0" y="49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1049672" name="îŝ1îḑè"/>
              <p:cNvSpPr/>
              <p:nvPr/>
            </p:nvSpPr>
            <p:spPr bwMode="auto">
              <a:xfrm>
                <a:off x="2663722" y="6026740"/>
                <a:ext cx="77788" cy="92075"/>
              </a:xfrm>
              <a:custGeom>
                <a:avLst/>
                <a:gdLst>
                  <a:gd name="T0" fmla="*/ 49 w 49"/>
                  <a:gd name="T1" fmla="*/ 42 h 58"/>
                  <a:gd name="T2" fmla="*/ 39 w 49"/>
                  <a:gd name="T3" fmla="*/ 45 h 58"/>
                  <a:gd name="T4" fmla="*/ 31 w 49"/>
                  <a:gd name="T5" fmla="*/ 36 h 58"/>
                  <a:gd name="T6" fmla="*/ 11 w 49"/>
                  <a:gd name="T7" fmla="*/ 43 h 58"/>
                  <a:gd name="T8" fmla="*/ 11 w 49"/>
                  <a:gd name="T9" fmla="*/ 55 h 58"/>
                  <a:gd name="T10" fmla="*/ 0 w 49"/>
                  <a:gd name="T11" fmla="*/ 58 h 58"/>
                  <a:gd name="T12" fmla="*/ 3 w 49"/>
                  <a:gd name="T13" fmla="*/ 3 h 58"/>
                  <a:gd name="T14" fmla="*/ 13 w 49"/>
                  <a:gd name="T15" fmla="*/ 0 h 58"/>
                  <a:gd name="T16" fmla="*/ 49 w 49"/>
                  <a:gd name="T17" fmla="*/ 42 h 58"/>
                  <a:gd name="T18" fmla="*/ 25 w 49"/>
                  <a:gd name="T19" fmla="*/ 29 h 58"/>
                  <a:gd name="T20" fmla="*/ 12 w 49"/>
                  <a:gd name="T21" fmla="*/ 14 h 58"/>
                  <a:gd name="T22" fmla="*/ 11 w 49"/>
                  <a:gd name="T23" fmla="*/ 34 h 58"/>
                  <a:gd name="T24" fmla="*/ 25 w 49"/>
                  <a:gd name="T25" fmla="*/ 29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49" h="58">
                    <a:moveTo>
                      <a:pt x="49" y="42"/>
                    </a:moveTo>
                    <a:lnTo>
                      <a:pt x="39" y="45"/>
                    </a:lnTo>
                    <a:lnTo>
                      <a:pt x="31" y="36"/>
                    </a:lnTo>
                    <a:lnTo>
                      <a:pt x="11" y="43"/>
                    </a:lnTo>
                    <a:lnTo>
                      <a:pt x="11" y="55"/>
                    </a:lnTo>
                    <a:lnTo>
                      <a:pt x="0" y="58"/>
                    </a:lnTo>
                    <a:lnTo>
                      <a:pt x="3" y="3"/>
                    </a:lnTo>
                    <a:lnTo>
                      <a:pt x="13" y="0"/>
                    </a:lnTo>
                    <a:lnTo>
                      <a:pt x="49" y="42"/>
                    </a:lnTo>
                    <a:close/>
                    <a:moveTo>
                      <a:pt x="25" y="29"/>
                    </a:moveTo>
                    <a:lnTo>
                      <a:pt x="12" y="14"/>
                    </a:lnTo>
                    <a:lnTo>
                      <a:pt x="11" y="34"/>
                    </a:lnTo>
                    <a:lnTo>
                      <a:pt x="25" y="29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1049673" name="íṩḻiḋê"/>
              <p:cNvSpPr/>
              <p:nvPr/>
            </p:nvSpPr>
            <p:spPr bwMode="auto">
              <a:xfrm>
                <a:off x="2714522" y="5990228"/>
                <a:ext cx="92075" cy="101600"/>
              </a:xfrm>
              <a:custGeom>
                <a:avLst/>
                <a:gdLst>
                  <a:gd name="T0" fmla="*/ 21 w 58"/>
                  <a:gd name="T1" fmla="*/ 64 h 64"/>
                  <a:gd name="T2" fmla="*/ 0 w 58"/>
                  <a:gd name="T3" fmla="*/ 17 h 64"/>
                  <a:gd name="T4" fmla="*/ 9 w 58"/>
                  <a:gd name="T5" fmla="*/ 12 h 64"/>
                  <a:gd name="T6" fmla="*/ 43 w 58"/>
                  <a:gd name="T7" fmla="*/ 36 h 64"/>
                  <a:gd name="T8" fmla="*/ 29 w 58"/>
                  <a:gd name="T9" fmla="*/ 4 h 64"/>
                  <a:gd name="T10" fmla="*/ 37 w 58"/>
                  <a:gd name="T11" fmla="*/ 0 h 64"/>
                  <a:gd name="T12" fmla="*/ 58 w 58"/>
                  <a:gd name="T13" fmla="*/ 46 h 64"/>
                  <a:gd name="T14" fmla="*/ 49 w 58"/>
                  <a:gd name="T15" fmla="*/ 51 h 64"/>
                  <a:gd name="T16" fmla="*/ 16 w 58"/>
                  <a:gd name="T17" fmla="*/ 29 h 64"/>
                  <a:gd name="T18" fmla="*/ 30 w 58"/>
                  <a:gd name="T19" fmla="*/ 59 h 64"/>
                  <a:gd name="T20" fmla="*/ 21 w 58"/>
                  <a:gd name="T21" fmla="*/ 64 h 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58" h="64">
                    <a:moveTo>
                      <a:pt x="21" y="64"/>
                    </a:moveTo>
                    <a:lnTo>
                      <a:pt x="0" y="17"/>
                    </a:lnTo>
                    <a:lnTo>
                      <a:pt x="9" y="12"/>
                    </a:lnTo>
                    <a:lnTo>
                      <a:pt x="43" y="36"/>
                    </a:lnTo>
                    <a:lnTo>
                      <a:pt x="29" y="4"/>
                    </a:lnTo>
                    <a:lnTo>
                      <a:pt x="37" y="0"/>
                    </a:lnTo>
                    <a:lnTo>
                      <a:pt x="58" y="46"/>
                    </a:lnTo>
                    <a:lnTo>
                      <a:pt x="49" y="51"/>
                    </a:lnTo>
                    <a:lnTo>
                      <a:pt x="16" y="29"/>
                    </a:lnTo>
                    <a:lnTo>
                      <a:pt x="30" y="59"/>
                    </a:lnTo>
                    <a:lnTo>
                      <a:pt x="21" y="64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1049674" name="îṧľíḍe"/>
              <p:cNvSpPr/>
              <p:nvPr/>
            </p:nvSpPr>
            <p:spPr bwMode="auto">
              <a:xfrm>
                <a:off x="2781197" y="5963240"/>
                <a:ext cx="85725" cy="95250"/>
              </a:xfrm>
              <a:custGeom>
                <a:avLst/>
                <a:gdLst>
                  <a:gd name="T0" fmla="*/ 0 w 47"/>
                  <a:gd name="T1" fmla="*/ 13 h 51"/>
                  <a:gd name="T2" fmla="*/ 14 w 47"/>
                  <a:gd name="T3" fmla="*/ 4 h 51"/>
                  <a:gd name="T4" fmla="*/ 22 w 47"/>
                  <a:gd name="T5" fmla="*/ 1 h 51"/>
                  <a:gd name="T6" fmla="*/ 29 w 47"/>
                  <a:gd name="T7" fmla="*/ 1 h 51"/>
                  <a:gd name="T8" fmla="*/ 37 w 47"/>
                  <a:gd name="T9" fmla="*/ 5 h 51"/>
                  <a:gd name="T10" fmla="*/ 43 w 47"/>
                  <a:gd name="T11" fmla="*/ 14 h 51"/>
                  <a:gd name="T12" fmla="*/ 47 w 47"/>
                  <a:gd name="T13" fmla="*/ 22 h 51"/>
                  <a:gd name="T14" fmla="*/ 46 w 47"/>
                  <a:gd name="T15" fmla="*/ 31 h 51"/>
                  <a:gd name="T16" fmla="*/ 43 w 47"/>
                  <a:gd name="T17" fmla="*/ 38 h 51"/>
                  <a:gd name="T18" fmla="*/ 36 w 47"/>
                  <a:gd name="T19" fmla="*/ 42 h 51"/>
                  <a:gd name="T20" fmla="*/ 22 w 47"/>
                  <a:gd name="T21" fmla="*/ 51 h 51"/>
                  <a:gd name="T22" fmla="*/ 0 w 47"/>
                  <a:gd name="T23" fmla="*/ 13 h 51"/>
                  <a:gd name="T24" fmla="*/ 11 w 47"/>
                  <a:gd name="T25" fmla="*/ 15 h 51"/>
                  <a:gd name="T26" fmla="*/ 26 w 47"/>
                  <a:gd name="T27" fmla="*/ 40 h 51"/>
                  <a:gd name="T28" fmla="*/ 32 w 47"/>
                  <a:gd name="T29" fmla="*/ 37 h 51"/>
                  <a:gd name="T30" fmla="*/ 36 w 47"/>
                  <a:gd name="T31" fmla="*/ 33 h 51"/>
                  <a:gd name="T32" fmla="*/ 38 w 47"/>
                  <a:gd name="T33" fmla="*/ 30 h 51"/>
                  <a:gd name="T34" fmla="*/ 38 w 47"/>
                  <a:gd name="T35" fmla="*/ 25 h 51"/>
                  <a:gd name="T36" fmla="*/ 35 w 47"/>
                  <a:gd name="T37" fmla="*/ 18 h 51"/>
                  <a:gd name="T38" fmla="*/ 30 w 47"/>
                  <a:gd name="T39" fmla="*/ 11 h 51"/>
                  <a:gd name="T40" fmla="*/ 26 w 47"/>
                  <a:gd name="T41" fmla="*/ 9 h 51"/>
                  <a:gd name="T42" fmla="*/ 21 w 47"/>
                  <a:gd name="T43" fmla="*/ 9 h 51"/>
                  <a:gd name="T44" fmla="*/ 15 w 47"/>
                  <a:gd name="T45" fmla="*/ 13 h 51"/>
                  <a:gd name="T46" fmla="*/ 11 w 47"/>
                  <a:gd name="T47" fmla="*/ 15 h 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47" h="51">
                    <a:moveTo>
                      <a:pt x="0" y="13"/>
                    </a:moveTo>
                    <a:cubicBezTo>
                      <a:pt x="14" y="4"/>
                      <a:pt x="14" y="4"/>
                      <a:pt x="14" y="4"/>
                    </a:cubicBezTo>
                    <a:cubicBezTo>
                      <a:pt x="17" y="3"/>
                      <a:pt x="20" y="1"/>
                      <a:pt x="22" y="1"/>
                    </a:cubicBezTo>
                    <a:cubicBezTo>
                      <a:pt x="24" y="0"/>
                      <a:pt x="27" y="0"/>
                      <a:pt x="29" y="1"/>
                    </a:cubicBezTo>
                    <a:cubicBezTo>
                      <a:pt x="32" y="2"/>
                      <a:pt x="34" y="3"/>
                      <a:pt x="37" y="5"/>
                    </a:cubicBezTo>
                    <a:cubicBezTo>
                      <a:pt x="39" y="7"/>
                      <a:pt x="41" y="10"/>
                      <a:pt x="43" y="14"/>
                    </a:cubicBezTo>
                    <a:cubicBezTo>
                      <a:pt x="45" y="17"/>
                      <a:pt x="46" y="20"/>
                      <a:pt x="47" y="22"/>
                    </a:cubicBezTo>
                    <a:cubicBezTo>
                      <a:pt x="47" y="26"/>
                      <a:pt x="47" y="29"/>
                      <a:pt x="46" y="31"/>
                    </a:cubicBezTo>
                    <a:cubicBezTo>
                      <a:pt x="46" y="34"/>
                      <a:pt x="45" y="36"/>
                      <a:pt x="43" y="38"/>
                    </a:cubicBezTo>
                    <a:cubicBezTo>
                      <a:pt x="41" y="39"/>
                      <a:pt x="39" y="41"/>
                      <a:pt x="36" y="42"/>
                    </a:cubicBezTo>
                    <a:cubicBezTo>
                      <a:pt x="22" y="51"/>
                      <a:pt x="22" y="51"/>
                      <a:pt x="22" y="51"/>
                    </a:cubicBezTo>
                    <a:lnTo>
                      <a:pt x="0" y="13"/>
                    </a:lnTo>
                    <a:close/>
                    <a:moveTo>
                      <a:pt x="11" y="15"/>
                    </a:moveTo>
                    <a:cubicBezTo>
                      <a:pt x="26" y="40"/>
                      <a:pt x="26" y="40"/>
                      <a:pt x="26" y="40"/>
                    </a:cubicBezTo>
                    <a:cubicBezTo>
                      <a:pt x="32" y="37"/>
                      <a:pt x="32" y="37"/>
                      <a:pt x="32" y="37"/>
                    </a:cubicBezTo>
                    <a:cubicBezTo>
                      <a:pt x="34" y="35"/>
                      <a:pt x="35" y="34"/>
                      <a:pt x="36" y="33"/>
                    </a:cubicBezTo>
                    <a:cubicBezTo>
                      <a:pt x="37" y="32"/>
                      <a:pt x="38" y="31"/>
                      <a:pt x="38" y="30"/>
                    </a:cubicBezTo>
                    <a:cubicBezTo>
                      <a:pt x="39" y="29"/>
                      <a:pt x="39" y="27"/>
                      <a:pt x="38" y="25"/>
                    </a:cubicBezTo>
                    <a:cubicBezTo>
                      <a:pt x="38" y="23"/>
                      <a:pt x="37" y="21"/>
                      <a:pt x="35" y="18"/>
                    </a:cubicBezTo>
                    <a:cubicBezTo>
                      <a:pt x="33" y="15"/>
                      <a:pt x="32" y="13"/>
                      <a:pt x="30" y="11"/>
                    </a:cubicBezTo>
                    <a:cubicBezTo>
                      <a:pt x="29" y="10"/>
                      <a:pt x="27" y="9"/>
                      <a:pt x="26" y="9"/>
                    </a:cubicBezTo>
                    <a:cubicBezTo>
                      <a:pt x="25" y="9"/>
                      <a:pt x="23" y="9"/>
                      <a:pt x="21" y="9"/>
                    </a:cubicBezTo>
                    <a:cubicBezTo>
                      <a:pt x="20" y="10"/>
                      <a:pt x="18" y="11"/>
                      <a:pt x="15" y="13"/>
                    </a:cubicBezTo>
                    <a:lnTo>
                      <a:pt x="11" y="15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1049675" name="ïṩḻiḍe"/>
              <p:cNvSpPr/>
              <p:nvPr/>
            </p:nvSpPr>
            <p:spPr bwMode="auto">
              <a:xfrm>
                <a:off x="2876447" y="5888628"/>
                <a:ext cx="80963" cy="88900"/>
              </a:xfrm>
              <a:custGeom>
                <a:avLst/>
                <a:gdLst>
                  <a:gd name="T0" fmla="*/ 43 w 51"/>
                  <a:gd name="T1" fmla="*/ 56 h 56"/>
                  <a:gd name="T2" fmla="*/ 16 w 51"/>
                  <a:gd name="T3" fmla="*/ 22 h 56"/>
                  <a:gd name="T4" fmla="*/ 5 w 51"/>
                  <a:gd name="T5" fmla="*/ 31 h 56"/>
                  <a:gd name="T6" fmla="*/ 0 w 51"/>
                  <a:gd name="T7" fmla="*/ 25 h 56"/>
                  <a:gd name="T8" fmla="*/ 31 w 51"/>
                  <a:gd name="T9" fmla="*/ 0 h 56"/>
                  <a:gd name="T10" fmla="*/ 37 w 51"/>
                  <a:gd name="T11" fmla="*/ 7 h 56"/>
                  <a:gd name="T12" fmla="*/ 24 w 51"/>
                  <a:gd name="T13" fmla="*/ 16 h 56"/>
                  <a:gd name="T14" fmla="*/ 51 w 51"/>
                  <a:gd name="T15" fmla="*/ 49 h 56"/>
                  <a:gd name="T16" fmla="*/ 43 w 51"/>
                  <a:gd name="T17" fmla="*/ 56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1" h="56">
                    <a:moveTo>
                      <a:pt x="43" y="56"/>
                    </a:moveTo>
                    <a:lnTo>
                      <a:pt x="16" y="22"/>
                    </a:lnTo>
                    <a:lnTo>
                      <a:pt x="5" y="31"/>
                    </a:lnTo>
                    <a:lnTo>
                      <a:pt x="0" y="25"/>
                    </a:lnTo>
                    <a:lnTo>
                      <a:pt x="31" y="0"/>
                    </a:lnTo>
                    <a:lnTo>
                      <a:pt x="37" y="7"/>
                    </a:lnTo>
                    <a:lnTo>
                      <a:pt x="24" y="16"/>
                    </a:lnTo>
                    <a:lnTo>
                      <a:pt x="51" y="49"/>
                    </a:lnTo>
                    <a:lnTo>
                      <a:pt x="43" y="56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1049676" name="íśļïḓè"/>
              <p:cNvSpPr/>
              <p:nvPr/>
            </p:nvSpPr>
            <p:spPr bwMode="auto">
              <a:xfrm>
                <a:off x="2925659" y="5845765"/>
                <a:ext cx="101600" cy="100013"/>
              </a:xfrm>
              <a:custGeom>
                <a:avLst/>
                <a:gdLst>
                  <a:gd name="T0" fmla="*/ 36 w 64"/>
                  <a:gd name="T1" fmla="*/ 63 h 63"/>
                  <a:gd name="T2" fmla="*/ 0 w 64"/>
                  <a:gd name="T3" fmla="*/ 26 h 63"/>
                  <a:gd name="T4" fmla="*/ 28 w 64"/>
                  <a:gd name="T5" fmla="*/ 0 h 63"/>
                  <a:gd name="T6" fmla="*/ 34 w 64"/>
                  <a:gd name="T7" fmla="*/ 6 h 63"/>
                  <a:gd name="T8" fmla="*/ 14 w 64"/>
                  <a:gd name="T9" fmla="*/ 26 h 63"/>
                  <a:gd name="T10" fmla="*/ 22 w 64"/>
                  <a:gd name="T11" fmla="*/ 34 h 63"/>
                  <a:gd name="T12" fmla="*/ 41 w 64"/>
                  <a:gd name="T13" fmla="*/ 16 h 63"/>
                  <a:gd name="T14" fmla="*/ 47 w 64"/>
                  <a:gd name="T15" fmla="*/ 22 h 63"/>
                  <a:gd name="T16" fmla="*/ 28 w 64"/>
                  <a:gd name="T17" fmla="*/ 39 h 63"/>
                  <a:gd name="T18" fmla="*/ 38 w 64"/>
                  <a:gd name="T19" fmla="*/ 50 h 63"/>
                  <a:gd name="T20" fmla="*/ 58 w 64"/>
                  <a:gd name="T21" fmla="*/ 30 h 63"/>
                  <a:gd name="T22" fmla="*/ 64 w 64"/>
                  <a:gd name="T23" fmla="*/ 36 h 63"/>
                  <a:gd name="T24" fmla="*/ 36 w 64"/>
                  <a:gd name="T25" fmla="*/ 63 h 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4" h="63">
                    <a:moveTo>
                      <a:pt x="36" y="63"/>
                    </a:moveTo>
                    <a:lnTo>
                      <a:pt x="0" y="26"/>
                    </a:lnTo>
                    <a:lnTo>
                      <a:pt x="28" y="0"/>
                    </a:lnTo>
                    <a:lnTo>
                      <a:pt x="34" y="6"/>
                    </a:lnTo>
                    <a:lnTo>
                      <a:pt x="14" y="26"/>
                    </a:lnTo>
                    <a:lnTo>
                      <a:pt x="22" y="34"/>
                    </a:lnTo>
                    <a:lnTo>
                      <a:pt x="41" y="16"/>
                    </a:lnTo>
                    <a:lnTo>
                      <a:pt x="47" y="22"/>
                    </a:lnTo>
                    <a:lnTo>
                      <a:pt x="28" y="39"/>
                    </a:lnTo>
                    <a:lnTo>
                      <a:pt x="38" y="50"/>
                    </a:lnTo>
                    <a:lnTo>
                      <a:pt x="58" y="30"/>
                    </a:lnTo>
                    <a:lnTo>
                      <a:pt x="64" y="36"/>
                    </a:lnTo>
                    <a:lnTo>
                      <a:pt x="36" y="63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1049677" name="íṩḻîde"/>
              <p:cNvSpPr/>
              <p:nvPr/>
            </p:nvSpPr>
            <p:spPr bwMode="auto">
              <a:xfrm>
                <a:off x="2985984" y="5801315"/>
                <a:ext cx="82550" cy="80963"/>
              </a:xfrm>
              <a:custGeom>
                <a:avLst/>
                <a:gdLst>
                  <a:gd name="T0" fmla="*/ 34 w 45"/>
                  <a:gd name="T1" fmla="*/ 19 h 44"/>
                  <a:gd name="T2" fmla="*/ 41 w 45"/>
                  <a:gd name="T3" fmla="*/ 14 h 44"/>
                  <a:gd name="T4" fmla="*/ 45 w 45"/>
                  <a:gd name="T5" fmla="*/ 26 h 44"/>
                  <a:gd name="T6" fmla="*/ 40 w 45"/>
                  <a:gd name="T7" fmla="*/ 37 h 44"/>
                  <a:gd name="T8" fmla="*/ 26 w 45"/>
                  <a:gd name="T9" fmla="*/ 44 h 44"/>
                  <a:gd name="T10" fmla="*/ 10 w 45"/>
                  <a:gd name="T11" fmla="*/ 38 h 44"/>
                  <a:gd name="T12" fmla="*/ 1 w 45"/>
                  <a:gd name="T13" fmla="*/ 22 h 44"/>
                  <a:gd name="T14" fmla="*/ 6 w 45"/>
                  <a:gd name="T15" fmla="*/ 7 h 44"/>
                  <a:gd name="T16" fmla="*/ 18 w 45"/>
                  <a:gd name="T17" fmla="*/ 0 h 44"/>
                  <a:gd name="T18" fmla="*/ 27 w 45"/>
                  <a:gd name="T19" fmla="*/ 2 h 44"/>
                  <a:gd name="T20" fmla="*/ 23 w 45"/>
                  <a:gd name="T21" fmla="*/ 10 h 44"/>
                  <a:gd name="T22" fmla="*/ 17 w 45"/>
                  <a:gd name="T23" fmla="*/ 9 h 44"/>
                  <a:gd name="T24" fmla="*/ 11 w 45"/>
                  <a:gd name="T25" fmla="*/ 12 h 44"/>
                  <a:gd name="T26" fmla="*/ 9 w 45"/>
                  <a:gd name="T27" fmla="*/ 21 h 44"/>
                  <a:gd name="T28" fmla="*/ 15 w 45"/>
                  <a:gd name="T29" fmla="*/ 30 h 44"/>
                  <a:gd name="T30" fmla="*/ 26 w 45"/>
                  <a:gd name="T31" fmla="*/ 36 h 44"/>
                  <a:gd name="T32" fmla="*/ 34 w 45"/>
                  <a:gd name="T33" fmla="*/ 32 h 44"/>
                  <a:gd name="T34" fmla="*/ 36 w 45"/>
                  <a:gd name="T35" fmla="*/ 26 h 44"/>
                  <a:gd name="T36" fmla="*/ 34 w 45"/>
                  <a:gd name="T37" fmla="*/ 19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45" h="44">
                    <a:moveTo>
                      <a:pt x="34" y="19"/>
                    </a:moveTo>
                    <a:cubicBezTo>
                      <a:pt x="41" y="14"/>
                      <a:pt x="41" y="14"/>
                      <a:pt x="41" y="14"/>
                    </a:cubicBezTo>
                    <a:cubicBezTo>
                      <a:pt x="44" y="18"/>
                      <a:pt x="45" y="22"/>
                      <a:pt x="45" y="26"/>
                    </a:cubicBezTo>
                    <a:cubicBezTo>
                      <a:pt x="45" y="30"/>
                      <a:pt x="43" y="34"/>
                      <a:pt x="40" y="37"/>
                    </a:cubicBezTo>
                    <a:cubicBezTo>
                      <a:pt x="36" y="42"/>
                      <a:pt x="31" y="44"/>
                      <a:pt x="26" y="44"/>
                    </a:cubicBezTo>
                    <a:cubicBezTo>
                      <a:pt x="21" y="44"/>
                      <a:pt x="15" y="42"/>
                      <a:pt x="10" y="38"/>
                    </a:cubicBezTo>
                    <a:cubicBezTo>
                      <a:pt x="4" y="33"/>
                      <a:pt x="1" y="28"/>
                      <a:pt x="1" y="22"/>
                    </a:cubicBezTo>
                    <a:cubicBezTo>
                      <a:pt x="0" y="17"/>
                      <a:pt x="2" y="12"/>
                      <a:pt x="6" y="7"/>
                    </a:cubicBezTo>
                    <a:cubicBezTo>
                      <a:pt x="10" y="3"/>
                      <a:pt x="14" y="1"/>
                      <a:pt x="18" y="0"/>
                    </a:cubicBezTo>
                    <a:cubicBezTo>
                      <a:pt x="21" y="0"/>
                      <a:pt x="24" y="1"/>
                      <a:pt x="27" y="2"/>
                    </a:cubicBezTo>
                    <a:cubicBezTo>
                      <a:pt x="23" y="10"/>
                      <a:pt x="23" y="10"/>
                      <a:pt x="23" y="10"/>
                    </a:cubicBezTo>
                    <a:cubicBezTo>
                      <a:pt x="21" y="9"/>
                      <a:pt x="19" y="9"/>
                      <a:pt x="17" y="9"/>
                    </a:cubicBezTo>
                    <a:cubicBezTo>
                      <a:pt x="15" y="9"/>
                      <a:pt x="13" y="11"/>
                      <a:pt x="11" y="12"/>
                    </a:cubicBezTo>
                    <a:cubicBezTo>
                      <a:pt x="9" y="15"/>
                      <a:pt x="8" y="18"/>
                      <a:pt x="9" y="21"/>
                    </a:cubicBezTo>
                    <a:cubicBezTo>
                      <a:pt x="9" y="24"/>
                      <a:pt x="12" y="27"/>
                      <a:pt x="15" y="30"/>
                    </a:cubicBezTo>
                    <a:cubicBezTo>
                      <a:pt x="20" y="34"/>
                      <a:pt x="23" y="36"/>
                      <a:pt x="26" y="36"/>
                    </a:cubicBezTo>
                    <a:cubicBezTo>
                      <a:pt x="29" y="36"/>
                      <a:pt x="32" y="35"/>
                      <a:pt x="34" y="32"/>
                    </a:cubicBezTo>
                    <a:cubicBezTo>
                      <a:pt x="36" y="31"/>
                      <a:pt x="36" y="29"/>
                      <a:pt x="36" y="26"/>
                    </a:cubicBezTo>
                    <a:cubicBezTo>
                      <a:pt x="36" y="24"/>
                      <a:pt x="35" y="22"/>
                      <a:pt x="34" y="1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1049678" name="îŝḷïḓê"/>
              <p:cNvSpPr/>
              <p:nvPr/>
            </p:nvSpPr>
            <p:spPr bwMode="auto">
              <a:xfrm>
                <a:off x="3022497" y="5733053"/>
                <a:ext cx="103188" cy="101600"/>
              </a:xfrm>
              <a:custGeom>
                <a:avLst/>
                <a:gdLst>
                  <a:gd name="T0" fmla="*/ 42 w 65"/>
                  <a:gd name="T1" fmla="*/ 64 h 64"/>
                  <a:gd name="T2" fmla="*/ 0 w 65"/>
                  <a:gd name="T3" fmla="*/ 34 h 64"/>
                  <a:gd name="T4" fmla="*/ 6 w 65"/>
                  <a:gd name="T5" fmla="*/ 26 h 64"/>
                  <a:gd name="T6" fmla="*/ 22 w 65"/>
                  <a:gd name="T7" fmla="*/ 37 h 64"/>
                  <a:gd name="T8" fmla="*/ 33 w 65"/>
                  <a:gd name="T9" fmla="*/ 21 h 64"/>
                  <a:gd name="T10" fmla="*/ 17 w 65"/>
                  <a:gd name="T11" fmla="*/ 9 h 64"/>
                  <a:gd name="T12" fmla="*/ 23 w 65"/>
                  <a:gd name="T13" fmla="*/ 0 h 64"/>
                  <a:gd name="T14" fmla="*/ 65 w 65"/>
                  <a:gd name="T15" fmla="*/ 30 h 64"/>
                  <a:gd name="T16" fmla="*/ 59 w 65"/>
                  <a:gd name="T17" fmla="*/ 38 h 64"/>
                  <a:gd name="T18" fmla="*/ 40 w 65"/>
                  <a:gd name="T19" fmla="*/ 26 h 64"/>
                  <a:gd name="T20" fmla="*/ 29 w 65"/>
                  <a:gd name="T21" fmla="*/ 42 h 64"/>
                  <a:gd name="T22" fmla="*/ 47 w 65"/>
                  <a:gd name="T23" fmla="*/ 55 h 64"/>
                  <a:gd name="T24" fmla="*/ 42 w 65"/>
                  <a:gd name="T25" fmla="*/ 64 h 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5" h="64">
                    <a:moveTo>
                      <a:pt x="42" y="64"/>
                    </a:moveTo>
                    <a:lnTo>
                      <a:pt x="0" y="34"/>
                    </a:lnTo>
                    <a:lnTo>
                      <a:pt x="6" y="26"/>
                    </a:lnTo>
                    <a:lnTo>
                      <a:pt x="22" y="37"/>
                    </a:lnTo>
                    <a:lnTo>
                      <a:pt x="33" y="21"/>
                    </a:lnTo>
                    <a:lnTo>
                      <a:pt x="17" y="9"/>
                    </a:lnTo>
                    <a:lnTo>
                      <a:pt x="23" y="0"/>
                    </a:lnTo>
                    <a:lnTo>
                      <a:pt x="65" y="30"/>
                    </a:lnTo>
                    <a:lnTo>
                      <a:pt x="59" y="38"/>
                    </a:lnTo>
                    <a:lnTo>
                      <a:pt x="40" y="26"/>
                    </a:lnTo>
                    <a:lnTo>
                      <a:pt x="29" y="42"/>
                    </a:lnTo>
                    <a:lnTo>
                      <a:pt x="47" y="55"/>
                    </a:lnTo>
                    <a:lnTo>
                      <a:pt x="42" y="64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1049679" name="îşḷîḑe"/>
              <p:cNvSpPr/>
              <p:nvPr/>
            </p:nvSpPr>
            <p:spPr bwMode="auto">
              <a:xfrm>
                <a:off x="3062184" y="5672728"/>
                <a:ext cx="103188" cy="95250"/>
              </a:xfrm>
              <a:custGeom>
                <a:avLst/>
                <a:gdLst>
                  <a:gd name="T0" fmla="*/ 44 w 65"/>
                  <a:gd name="T1" fmla="*/ 60 h 60"/>
                  <a:gd name="T2" fmla="*/ 0 w 65"/>
                  <a:gd name="T3" fmla="*/ 34 h 60"/>
                  <a:gd name="T4" fmla="*/ 5 w 65"/>
                  <a:gd name="T5" fmla="*/ 26 h 60"/>
                  <a:gd name="T6" fmla="*/ 46 w 65"/>
                  <a:gd name="T7" fmla="*/ 24 h 60"/>
                  <a:gd name="T8" fmla="*/ 15 w 65"/>
                  <a:gd name="T9" fmla="*/ 8 h 60"/>
                  <a:gd name="T10" fmla="*/ 20 w 65"/>
                  <a:gd name="T11" fmla="*/ 0 h 60"/>
                  <a:gd name="T12" fmla="*/ 65 w 65"/>
                  <a:gd name="T13" fmla="*/ 24 h 60"/>
                  <a:gd name="T14" fmla="*/ 59 w 65"/>
                  <a:gd name="T15" fmla="*/ 33 h 60"/>
                  <a:gd name="T16" fmla="*/ 20 w 65"/>
                  <a:gd name="T17" fmla="*/ 34 h 60"/>
                  <a:gd name="T18" fmla="*/ 49 w 65"/>
                  <a:gd name="T19" fmla="*/ 52 h 60"/>
                  <a:gd name="T20" fmla="*/ 44 w 65"/>
                  <a:gd name="T21" fmla="*/ 60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65" h="60">
                    <a:moveTo>
                      <a:pt x="44" y="60"/>
                    </a:moveTo>
                    <a:lnTo>
                      <a:pt x="0" y="34"/>
                    </a:lnTo>
                    <a:lnTo>
                      <a:pt x="5" y="26"/>
                    </a:lnTo>
                    <a:lnTo>
                      <a:pt x="46" y="24"/>
                    </a:lnTo>
                    <a:lnTo>
                      <a:pt x="15" y="8"/>
                    </a:lnTo>
                    <a:lnTo>
                      <a:pt x="20" y="0"/>
                    </a:lnTo>
                    <a:lnTo>
                      <a:pt x="65" y="24"/>
                    </a:lnTo>
                    <a:lnTo>
                      <a:pt x="59" y="33"/>
                    </a:lnTo>
                    <a:lnTo>
                      <a:pt x="20" y="34"/>
                    </a:lnTo>
                    <a:lnTo>
                      <a:pt x="49" y="52"/>
                    </a:lnTo>
                    <a:lnTo>
                      <a:pt x="44" y="60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1049680" name="îşḷïḋê"/>
              <p:cNvSpPr/>
              <p:nvPr/>
            </p:nvSpPr>
            <p:spPr bwMode="auto">
              <a:xfrm>
                <a:off x="3106634" y="5606053"/>
                <a:ext cx="87313" cy="84138"/>
              </a:xfrm>
              <a:custGeom>
                <a:avLst/>
                <a:gdLst>
                  <a:gd name="T0" fmla="*/ 15 w 47"/>
                  <a:gd name="T1" fmla="*/ 43 h 46"/>
                  <a:gd name="T2" fmla="*/ 5 w 47"/>
                  <a:gd name="T3" fmla="*/ 36 h 46"/>
                  <a:gd name="T4" fmla="*/ 2 w 47"/>
                  <a:gd name="T5" fmla="*/ 30 h 46"/>
                  <a:gd name="T6" fmla="*/ 0 w 47"/>
                  <a:gd name="T7" fmla="*/ 23 h 46"/>
                  <a:gd name="T8" fmla="*/ 2 w 47"/>
                  <a:gd name="T9" fmla="*/ 14 h 46"/>
                  <a:gd name="T10" fmla="*/ 14 w 47"/>
                  <a:gd name="T11" fmla="*/ 2 h 46"/>
                  <a:gd name="T12" fmla="*/ 32 w 47"/>
                  <a:gd name="T13" fmla="*/ 3 h 46"/>
                  <a:gd name="T14" fmla="*/ 45 w 47"/>
                  <a:gd name="T15" fmla="*/ 15 h 46"/>
                  <a:gd name="T16" fmla="*/ 44 w 47"/>
                  <a:gd name="T17" fmla="*/ 32 h 46"/>
                  <a:gd name="T18" fmla="*/ 32 w 47"/>
                  <a:gd name="T19" fmla="*/ 44 h 46"/>
                  <a:gd name="T20" fmla="*/ 15 w 47"/>
                  <a:gd name="T21" fmla="*/ 43 h 46"/>
                  <a:gd name="T22" fmla="*/ 18 w 47"/>
                  <a:gd name="T23" fmla="*/ 34 h 46"/>
                  <a:gd name="T24" fmla="*/ 30 w 47"/>
                  <a:gd name="T25" fmla="*/ 35 h 46"/>
                  <a:gd name="T26" fmla="*/ 37 w 47"/>
                  <a:gd name="T27" fmla="*/ 29 h 46"/>
                  <a:gd name="T28" fmla="*/ 37 w 47"/>
                  <a:gd name="T29" fmla="*/ 19 h 46"/>
                  <a:gd name="T30" fmla="*/ 28 w 47"/>
                  <a:gd name="T31" fmla="*/ 12 h 46"/>
                  <a:gd name="T32" fmla="*/ 16 w 47"/>
                  <a:gd name="T33" fmla="*/ 10 h 46"/>
                  <a:gd name="T34" fmla="*/ 9 w 47"/>
                  <a:gd name="T35" fmla="*/ 17 h 46"/>
                  <a:gd name="T36" fmla="*/ 9 w 47"/>
                  <a:gd name="T37" fmla="*/ 27 h 46"/>
                  <a:gd name="T38" fmla="*/ 18 w 47"/>
                  <a:gd name="T39" fmla="*/ 34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47" h="46">
                    <a:moveTo>
                      <a:pt x="15" y="43"/>
                    </a:moveTo>
                    <a:cubicBezTo>
                      <a:pt x="11" y="41"/>
                      <a:pt x="8" y="39"/>
                      <a:pt x="5" y="36"/>
                    </a:cubicBezTo>
                    <a:cubicBezTo>
                      <a:pt x="4" y="34"/>
                      <a:pt x="2" y="32"/>
                      <a:pt x="2" y="30"/>
                    </a:cubicBezTo>
                    <a:cubicBezTo>
                      <a:pt x="1" y="28"/>
                      <a:pt x="0" y="26"/>
                      <a:pt x="0" y="23"/>
                    </a:cubicBezTo>
                    <a:cubicBezTo>
                      <a:pt x="0" y="20"/>
                      <a:pt x="1" y="17"/>
                      <a:pt x="2" y="14"/>
                    </a:cubicBezTo>
                    <a:cubicBezTo>
                      <a:pt x="5" y="8"/>
                      <a:pt x="9" y="4"/>
                      <a:pt x="14" y="2"/>
                    </a:cubicBezTo>
                    <a:cubicBezTo>
                      <a:pt x="19" y="0"/>
                      <a:pt x="25" y="1"/>
                      <a:pt x="32" y="3"/>
                    </a:cubicBezTo>
                    <a:cubicBezTo>
                      <a:pt x="38" y="6"/>
                      <a:pt x="43" y="10"/>
                      <a:pt x="45" y="15"/>
                    </a:cubicBezTo>
                    <a:cubicBezTo>
                      <a:pt x="47" y="21"/>
                      <a:pt x="47" y="26"/>
                      <a:pt x="44" y="32"/>
                    </a:cubicBezTo>
                    <a:cubicBezTo>
                      <a:pt x="41" y="38"/>
                      <a:pt x="38" y="42"/>
                      <a:pt x="32" y="44"/>
                    </a:cubicBezTo>
                    <a:cubicBezTo>
                      <a:pt x="27" y="46"/>
                      <a:pt x="21" y="45"/>
                      <a:pt x="15" y="43"/>
                    </a:cubicBezTo>
                    <a:close/>
                    <a:moveTo>
                      <a:pt x="18" y="34"/>
                    </a:moveTo>
                    <a:cubicBezTo>
                      <a:pt x="23" y="36"/>
                      <a:pt x="27" y="37"/>
                      <a:pt x="30" y="35"/>
                    </a:cubicBezTo>
                    <a:cubicBezTo>
                      <a:pt x="33" y="34"/>
                      <a:pt x="36" y="32"/>
                      <a:pt x="37" y="29"/>
                    </a:cubicBezTo>
                    <a:cubicBezTo>
                      <a:pt x="39" y="26"/>
                      <a:pt x="39" y="23"/>
                      <a:pt x="37" y="19"/>
                    </a:cubicBezTo>
                    <a:cubicBezTo>
                      <a:pt x="36" y="16"/>
                      <a:pt x="33" y="14"/>
                      <a:pt x="28" y="12"/>
                    </a:cubicBezTo>
                    <a:cubicBezTo>
                      <a:pt x="23" y="10"/>
                      <a:pt x="19" y="9"/>
                      <a:pt x="16" y="10"/>
                    </a:cubicBezTo>
                    <a:cubicBezTo>
                      <a:pt x="13" y="11"/>
                      <a:pt x="11" y="14"/>
                      <a:pt x="9" y="17"/>
                    </a:cubicBezTo>
                    <a:cubicBezTo>
                      <a:pt x="8" y="20"/>
                      <a:pt x="8" y="23"/>
                      <a:pt x="9" y="27"/>
                    </a:cubicBezTo>
                    <a:cubicBezTo>
                      <a:pt x="11" y="30"/>
                      <a:pt x="14" y="32"/>
                      <a:pt x="18" y="3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1049681" name="îṣlïḍè"/>
              <p:cNvSpPr/>
              <p:nvPr/>
            </p:nvSpPr>
            <p:spPr bwMode="auto">
              <a:xfrm>
                <a:off x="3128859" y="5560015"/>
                <a:ext cx="93663" cy="57150"/>
              </a:xfrm>
              <a:custGeom>
                <a:avLst/>
                <a:gdLst>
                  <a:gd name="T0" fmla="*/ 49 w 59"/>
                  <a:gd name="T1" fmla="*/ 36 h 36"/>
                  <a:gd name="T2" fmla="*/ 0 w 59"/>
                  <a:gd name="T3" fmla="*/ 21 h 36"/>
                  <a:gd name="T4" fmla="*/ 4 w 59"/>
                  <a:gd name="T5" fmla="*/ 10 h 36"/>
                  <a:gd name="T6" fmla="*/ 43 w 59"/>
                  <a:gd name="T7" fmla="*/ 24 h 36"/>
                  <a:gd name="T8" fmla="*/ 51 w 59"/>
                  <a:gd name="T9" fmla="*/ 0 h 36"/>
                  <a:gd name="T10" fmla="*/ 59 w 59"/>
                  <a:gd name="T11" fmla="*/ 2 h 36"/>
                  <a:gd name="T12" fmla="*/ 49 w 59"/>
                  <a:gd name="T13" fmla="*/ 36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59" h="36">
                    <a:moveTo>
                      <a:pt x="49" y="36"/>
                    </a:moveTo>
                    <a:lnTo>
                      <a:pt x="0" y="21"/>
                    </a:lnTo>
                    <a:lnTo>
                      <a:pt x="4" y="10"/>
                    </a:lnTo>
                    <a:lnTo>
                      <a:pt x="43" y="24"/>
                    </a:lnTo>
                    <a:lnTo>
                      <a:pt x="51" y="0"/>
                    </a:lnTo>
                    <a:lnTo>
                      <a:pt x="59" y="2"/>
                    </a:lnTo>
                    <a:lnTo>
                      <a:pt x="49" y="36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1049682" name="ïṩḷîḓê"/>
              <p:cNvSpPr/>
              <p:nvPr/>
            </p:nvSpPr>
            <p:spPr bwMode="auto">
              <a:xfrm>
                <a:off x="3152672" y="5469528"/>
                <a:ext cx="85725" cy="80963"/>
              </a:xfrm>
              <a:custGeom>
                <a:avLst/>
                <a:gdLst>
                  <a:gd name="T0" fmla="*/ 18 w 46"/>
                  <a:gd name="T1" fmla="*/ 43 h 44"/>
                  <a:gd name="T2" fmla="*/ 8 w 46"/>
                  <a:gd name="T3" fmla="*/ 38 h 44"/>
                  <a:gd name="T4" fmla="*/ 3 w 46"/>
                  <a:gd name="T5" fmla="*/ 33 h 44"/>
                  <a:gd name="T6" fmla="*/ 0 w 46"/>
                  <a:gd name="T7" fmla="*/ 27 h 44"/>
                  <a:gd name="T8" fmla="*/ 1 w 46"/>
                  <a:gd name="T9" fmla="*/ 17 h 44"/>
                  <a:gd name="T10" fmla="*/ 10 w 46"/>
                  <a:gd name="T11" fmla="*/ 3 h 44"/>
                  <a:gd name="T12" fmla="*/ 28 w 46"/>
                  <a:gd name="T13" fmla="*/ 1 h 44"/>
                  <a:gd name="T14" fmla="*/ 43 w 46"/>
                  <a:gd name="T15" fmla="*/ 11 h 44"/>
                  <a:gd name="T16" fmla="*/ 45 w 46"/>
                  <a:gd name="T17" fmla="*/ 27 h 44"/>
                  <a:gd name="T18" fmla="*/ 36 w 46"/>
                  <a:gd name="T19" fmla="*/ 41 h 44"/>
                  <a:gd name="T20" fmla="*/ 18 w 46"/>
                  <a:gd name="T21" fmla="*/ 43 h 44"/>
                  <a:gd name="T22" fmla="*/ 20 w 46"/>
                  <a:gd name="T23" fmla="*/ 34 h 44"/>
                  <a:gd name="T24" fmla="*/ 32 w 46"/>
                  <a:gd name="T25" fmla="*/ 33 h 44"/>
                  <a:gd name="T26" fmla="*/ 38 w 46"/>
                  <a:gd name="T27" fmla="*/ 25 h 44"/>
                  <a:gd name="T28" fmla="*/ 36 w 46"/>
                  <a:gd name="T29" fmla="*/ 16 h 44"/>
                  <a:gd name="T30" fmla="*/ 25 w 46"/>
                  <a:gd name="T31" fmla="*/ 10 h 44"/>
                  <a:gd name="T32" fmla="*/ 14 w 46"/>
                  <a:gd name="T33" fmla="*/ 11 h 44"/>
                  <a:gd name="T34" fmla="*/ 8 w 46"/>
                  <a:gd name="T35" fmla="*/ 19 h 44"/>
                  <a:gd name="T36" fmla="*/ 10 w 46"/>
                  <a:gd name="T37" fmla="*/ 28 h 44"/>
                  <a:gd name="T38" fmla="*/ 20 w 46"/>
                  <a:gd name="T39" fmla="*/ 34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46" h="44">
                    <a:moveTo>
                      <a:pt x="18" y="43"/>
                    </a:moveTo>
                    <a:cubicBezTo>
                      <a:pt x="14" y="42"/>
                      <a:pt x="10" y="40"/>
                      <a:pt x="8" y="38"/>
                    </a:cubicBezTo>
                    <a:cubicBezTo>
                      <a:pt x="6" y="37"/>
                      <a:pt x="4" y="35"/>
                      <a:pt x="3" y="33"/>
                    </a:cubicBezTo>
                    <a:cubicBezTo>
                      <a:pt x="1" y="31"/>
                      <a:pt x="1" y="29"/>
                      <a:pt x="0" y="27"/>
                    </a:cubicBezTo>
                    <a:cubicBezTo>
                      <a:pt x="0" y="24"/>
                      <a:pt x="0" y="21"/>
                      <a:pt x="1" y="17"/>
                    </a:cubicBezTo>
                    <a:cubicBezTo>
                      <a:pt x="2" y="11"/>
                      <a:pt x="5" y="6"/>
                      <a:pt x="10" y="3"/>
                    </a:cubicBezTo>
                    <a:cubicBezTo>
                      <a:pt x="15" y="0"/>
                      <a:pt x="21" y="0"/>
                      <a:pt x="28" y="1"/>
                    </a:cubicBezTo>
                    <a:cubicBezTo>
                      <a:pt x="34" y="3"/>
                      <a:pt x="39" y="6"/>
                      <a:pt x="43" y="11"/>
                    </a:cubicBezTo>
                    <a:cubicBezTo>
                      <a:pt x="46" y="15"/>
                      <a:pt x="46" y="21"/>
                      <a:pt x="45" y="27"/>
                    </a:cubicBezTo>
                    <a:cubicBezTo>
                      <a:pt x="44" y="33"/>
                      <a:pt x="40" y="38"/>
                      <a:pt x="36" y="41"/>
                    </a:cubicBezTo>
                    <a:cubicBezTo>
                      <a:pt x="31" y="44"/>
                      <a:pt x="25" y="44"/>
                      <a:pt x="18" y="43"/>
                    </a:cubicBezTo>
                    <a:close/>
                    <a:moveTo>
                      <a:pt x="20" y="34"/>
                    </a:moveTo>
                    <a:cubicBezTo>
                      <a:pt x="25" y="35"/>
                      <a:pt x="29" y="35"/>
                      <a:pt x="32" y="33"/>
                    </a:cubicBezTo>
                    <a:cubicBezTo>
                      <a:pt x="35" y="31"/>
                      <a:pt x="37" y="29"/>
                      <a:pt x="38" y="25"/>
                    </a:cubicBezTo>
                    <a:cubicBezTo>
                      <a:pt x="38" y="22"/>
                      <a:pt x="38" y="19"/>
                      <a:pt x="36" y="16"/>
                    </a:cubicBezTo>
                    <a:cubicBezTo>
                      <a:pt x="34" y="13"/>
                      <a:pt x="30" y="11"/>
                      <a:pt x="25" y="10"/>
                    </a:cubicBezTo>
                    <a:cubicBezTo>
                      <a:pt x="20" y="9"/>
                      <a:pt x="16" y="9"/>
                      <a:pt x="14" y="11"/>
                    </a:cubicBezTo>
                    <a:cubicBezTo>
                      <a:pt x="11" y="13"/>
                      <a:pt x="9" y="15"/>
                      <a:pt x="8" y="19"/>
                    </a:cubicBezTo>
                    <a:cubicBezTo>
                      <a:pt x="7" y="22"/>
                      <a:pt x="8" y="25"/>
                      <a:pt x="10" y="28"/>
                    </a:cubicBezTo>
                    <a:cubicBezTo>
                      <a:pt x="12" y="31"/>
                      <a:pt x="15" y="33"/>
                      <a:pt x="20" y="3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1049683" name="ïSļiďé"/>
              <p:cNvSpPr/>
              <p:nvPr/>
            </p:nvSpPr>
            <p:spPr bwMode="auto">
              <a:xfrm>
                <a:off x="3165372" y="5390153"/>
                <a:ext cx="85725" cy="77788"/>
              </a:xfrm>
              <a:custGeom>
                <a:avLst/>
                <a:gdLst>
                  <a:gd name="T0" fmla="*/ 29 w 46"/>
                  <a:gd name="T1" fmla="*/ 21 h 42"/>
                  <a:gd name="T2" fmla="*/ 22 w 46"/>
                  <a:gd name="T3" fmla="*/ 20 h 42"/>
                  <a:gd name="T4" fmla="*/ 24 w 46"/>
                  <a:gd name="T5" fmla="*/ 1 h 42"/>
                  <a:gd name="T6" fmla="*/ 41 w 46"/>
                  <a:gd name="T7" fmla="*/ 3 h 42"/>
                  <a:gd name="T8" fmla="*/ 45 w 46"/>
                  <a:gd name="T9" fmla="*/ 11 h 42"/>
                  <a:gd name="T10" fmla="*/ 46 w 46"/>
                  <a:gd name="T11" fmla="*/ 22 h 42"/>
                  <a:gd name="T12" fmla="*/ 42 w 46"/>
                  <a:gd name="T13" fmla="*/ 34 h 42"/>
                  <a:gd name="T14" fmla="*/ 33 w 46"/>
                  <a:gd name="T15" fmla="*/ 41 h 42"/>
                  <a:gd name="T16" fmla="*/ 21 w 46"/>
                  <a:gd name="T17" fmla="*/ 42 h 42"/>
                  <a:gd name="T18" fmla="*/ 9 w 46"/>
                  <a:gd name="T19" fmla="*/ 38 h 42"/>
                  <a:gd name="T20" fmla="*/ 2 w 46"/>
                  <a:gd name="T21" fmla="*/ 28 h 42"/>
                  <a:gd name="T22" fmla="*/ 1 w 46"/>
                  <a:gd name="T23" fmla="*/ 18 h 42"/>
                  <a:gd name="T24" fmla="*/ 6 w 46"/>
                  <a:gd name="T25" fmla="*/ 5 h 42"/>
                  <a:gd name="T26" fmla="*/ 16 w 46"/>
                  <a:gd name="T27" fmla="*/ 0 h 42"/>
                  <a:gd name="T28" fmla="*/ 16 w 46"/>
                  <a:gd name="T29" fmla="*/ 9 h 42"/>
                  <a:gd name="T30" fmla="*/ 11 w 46"/>
                  <a:gd name="T31" fmla="*/ 12 h 42"/>
                  <a:gd name="T32" fmla="*/ 8 w 46"/>
                  <a:gd name="T33" fmla="*/ 18 h 42"/>
                  <a:gd name="T34" fmla="*/ 11 w 46"/>
                  <a:gd name="T35" fmla="*/ 28 h 42"/>
                  <a:gd name="T36" fmla="*/ 21 w 46"/>
                  <a:gd name="T37" fmla="*/ 33 h 42"/>
                  <a:gd name="T38" fmla="*/ 34 w 46"/>
                  <a:gd name="T39" fmla="*/ 31 h 42"/>
                  <a:gd name="T40" fmla="*/ 38 w 46"/>
                  <a:gd name="T41" fmla="*/ 22 h 42"/>
                  <a:gd name="T42" fmla="*/ 38 w 46"/>
                  <a:gd name="T43" fmla="*/ 16 h 42"/>
                  <a:gd name="T44" fmla="*/ 36 w 46"/>
                  <a:gd name="T45" fmla="*/ 11 h 42"/>
                  <a:gd name="T46" fmla="*/ 30 w 46"/>
                  <a:gd name="T47" fmla="*/ 11 h 42"/>
                  <a:gd name="T48" fmla="*/ 29 w 46"/>
                  <a:gd name="T49" fmla="*/ 21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46" h="42">
                    <a:moveTo>
                      <a:pt x="29" y="21"/>
                    </a:moveTo>
                    <a:cubicBezTo>
                      <a:pt x="22" y="20"/>
                      <a:pt x="22" y="20"/>
                      <a:pt x="22" y="20"/>
                    </a:cubicBezTo>
                    <a:cubicBezTo>
                      <a:pt x="24" y="1"/>
                      <a:pt x="24" y="1"/>
                      <a:pt x="24" y="1"/>
                    </a:cubicBezTo>
                    <a:cubicBezTo>
                      <a:pt x="41" y="3"/>
                      <a:pt x="41" y="3"/>
                      <a:pt x="41" y="3"/>
                    </a:cubicBezTo>
                    <a:cubicBezTo>
                      <a:pt x="43" y="5"/>
                      <a:pt x="44" y="8"/>
                      <a:pt x="45" y="11"/>
                    </a:cubicBezTo>
                    <a:cubicBezTo>
                      <a:pt x="46" y="15"/>
                      <a:pt x="46" y="19"/>
                      <a:pt x="46" y="22"/>
                    </a:cubicBezTo>
                    <a:cubicBezTo>
                      <a:pt x="46" y="27"/>
                      <a:pt x="44" y="31"/>
                      <a:pt x="42" y="34"/>
                    </a:cubicBezTo>
                    <a:cubicBezTo>
                      <a:pt x="39" y="37"/>
                      <a:pt x="36" y="39"/>
                      <a:pt x="33" y="41"/>
                    </a:cubicBezTo>
                    <a:cubicBezTo>
                      <a:pt x="29" y="42"/>
                      <a:pt x="25" y="42"/>
                      <a:pt x="21" y="42"/>
                    </a:cubicBezTo>
                    <a:cubicBezTo>
                      <a:pt x="16" y="41"/>
                      <a:pt x="12" y="40"/>
                      <a:pt x="9" y="38"/>
                    </a:cubicBezTo>
                    <a:cubicBezTo>
                      <a:pt x="6" y="35"/>
                      <a:pt x="3" y="32"/>
                      <a:pt x="2" y="28"/>
                    </a:cubicBezTo>
                    <a:cubicBezTo>
                      <a:pt x="1" y="25"/>
                      <a:pt x="0" y="22"/>
                      <a:pt x="1" y="18"/>
                    </a:cubicBezTo>
                    <a:cubicBezTo>
                      <a:pt x="1" y="12"/>
                      <a:pt x="3" y="8"/>
                      <a:pt x="6" y="5"/>
                    </a:cubicBezTo>
                    <a:cubicBezTo>
                      <a:pt x="8" y="2"/>
                      <a:pt x="12" y="1"/>
                      <a:pt x="16" y="0"/>
                    </a:cubicBezTo>
                    <a:cubicBezTo>
                      <a:pt x="16" y="9"/>
                      <a:pt x="16" y="9"/>
                      <a:pt x="16" y="9"/>
                    </a:cubicBezTo>
                    <a:cubicBezTo>
                      <a:pt x="14" y="10"/>
                      <a:pt x="12" y="11"/>
                      <a:pt x="11" y="12"/>
                    </a:cubicBezTo>
                    <a:cubicBezTo>
                      <a:pt x="10" y="14"/>
                      <a:pt x="9" y="16"/>
                      <a:pt x="8" y="18"/>
                    </a:cubicBezTo>
                    <a:cubicBezTo>
                      <a:pt x="8" y="22"/>
                      <a:pt x="9" y="25"/>
                      <a:pt x="11" y="28"/>
                    </a:cubicBezTo>
                    <a:cubicBezTo>
                      <a:pt x="13" y="31"/>
                      <a:pt x="17" y="32"/>
                      <a:pt x="21" y="33"/>
                    </a:cubicBezTo>
                    <a:cubicBezTo>
                      <a:pt x="27" y="33"/>
                      <a:pt x="31" y="33"/>
                      <a:pt x="34" y="31"/>
                    </a:cubicBezTo>
                    <a:cubicBezTo>
                      <a:pt x="36" y="29"/>
                      <a:pt x="38" y="26"/>
                      <a:pt x="38" y="22"/>
                    </a:cubicBezTo>
                    <a:cubicBezTo>
                      <a:pt x="39" y="20"/>
                      <a:pt x="39" y="18"/>
                      <a:pt x="38" y="16"/>
                    </a:cubicBezTo>
                    <a:cubicBezTo>
                      <a:pt x="37" y="14"/>
                      <a:pt x="37" y="13"/>
                      <a:pt x="36" y="11"/>
                    </a:cubicBezTo>
                    <a:cubicBezTo>
                      <a:pt x="30" y="11"/>
                      <a:pt x="30" y="11"/>
                      <a:pt x="30" y="11"/>
                    </a:cubicBezTo>
                    <a:lnTo>
                      <a:pt x="29" y="21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1049684" name="îSḷiḋè"/>
              <p:cNvSpPr/>
              <p:nvPr/>
            </p:nvSpPr>
            <p:spPr bwMode="auto">
              <a:xfrm>
                <a:off x="3173309" y="5313953"/>
                <a:ext cx="80963" cy="76200"/>
              </a:xfrm>
              <a:custGeom>
                <a:avLst/>
                <a:gdLst>
                  <a:gd name="T0" fmla="*/ 51 w 51"/>
                  <a:gd name="T1" fmla="*/ 30 h 48"/>
                  <a:gd name="T2" fmla="*/ 29 w 51"/>
                  <a:gd name="T3" fmla="*/ 29 h 48"/>
                  <a:gd name="T4" fmla="*/ 0 w 51"/>
                  <a:gd name="T5" fmla="*/ 48 h 48"/>
                  <a:gd name="T6" fmla="*/ 0 w 51"/>
                  <a:gd name="T7" fmla="*/ 36 h 48"/>
                  <a:gd name="T8" fmla="*/ 20 w 51"/>
                  <a:gd name="T9" fmla="*/ 24 h 48"/>
                  <a:gd name="T10" fmla="*/ 0 w 51"/>
                  <a:gd name="T11" fmla="*/ 12 h 48"/>
                  <a:gd name="T12" fmla="*/ 0 w 51"/>
                  <a:gd name="T13" fmla="*/ 0 h 48"/>
                  <a:gd name="T14" fmla="*/ 30 w 51"/>
                  <a:gd name="T15" fmla="*/ 20 h 48"/>
                  <a:gd name="T16" fmla="*/ 51 w 51"/>
                  <a:gd name="T17" fmla="*/ 20 h 48"/>
                  <a:gd name="T18" fmla="*/ 51 w 51"/>
                  <a:gd name="T19" fmla="*/ 30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51" h="48">
                    <a:moveTo>
                      <a:pt x="51" y="30"/>
                    </a:moveTo>
                    <a:lnTo>
                      <a:pt x="29" y="29"/>
                    </a:lnTo>
                    <a:lnTo>
                      <a:pt x="0" y="48"/>
                    </a:lnTo>
                    <a:lnTo>
                      <a:pt x="0" y="36"/>
                    </a:lnTo>
                    <a:lnTo>
                      <a:pt x="20" y="24"/>
                    </a:lnTo>
                    <a:lnTo>
                      <a:pt x="0" y="12"/>
                    </a:lnTo>
                    <a:lnTo>
                      <a:pt x="0" y="0"/>
                    </a:lnTo>
                    <a:lnTo>
                      <a:pt x="30" y="20"/>
                    </a:lnTo>
                    <a:lnTo>
                      <a:pt x="51" y="20"/>
                    </a:lnTo>
                    <a:lnTo>
                      <a:pt x="51" y="30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1049685" name="îṣḷíḋé"/>
              <p:cNvSpPr/>
              <p:nvPr/>
            </p:nvSpPr>
            <p:spPr bwMode="auto">
              <a:xfrm>
                <a:off x="3163784" y="5193303"/>
                <a:ext cx="87313" cy="76200"/>
              </a:xfrm>
              <a:custGeom>
                <a:avLst/>
                <a:gdLst>
                  <a:gd name="T0" fmla="*/ 4 w 47"/>
                  <a:gd name="T1" fmla="*/ 41 h 41"/>
                  <a:gd name="T2" fmla="*/ 1 w 47"/>
                  <a:gd name="T3" fmla="*/ 24 h 41"/>
                  <a:gd name="T4" fmla="*/ 0 w 47"/>
                  <a:gd name="T5" fmla="*/ 16 h 41"/>
                  <a:gd name="T6" fmla="*/ 2 w 47"/>
                  <a:gd name="T7" fmla="*/ 11 h 41"/>
                  <a:gd name="T8" fmla="*/ 5 w 47"/>
                  <a:gd name="T9" fmla="*/ 7 h 41"/>
                  <a:gd name="T10" fmla="*/ 10 w 47"/>
                  <a:gd name="T11" fmla="*/ 5 h 41"/>
                  <a:gd name="T12" fmla="*/ 16 w 47"/>
                  <a:gd name="T13" fmla="*/ 6 h 41"/>
                  <a:gd name="T14" fmla="*/ 20 w 47"/>
                  <a:gd name="T15" fmla="*/ 10 h 41"/>
                  <a:gd name="T16" fmla="*/ 23 w 47"/>
                  <a:gd name="T17" fmla="*/ 3 h 41"/>
                  <a:gd name="T18" fmla="*/ 29 w 47"/>
                  <a:gd name="T19" fmla="*/ 0 h 41"/>
                  <a:gd name="T20" fmla="*/ 35 w 47"/>
                  <a:gd name="T21" fmla="*/ 1 h 41"/>
                  <a:gd name="T22" fmla="*/ 40 w 47"/>
                  <a:gd name="T23" fmla="*/ 4 h 41"/>
                  <a:gd name="T24" fmla="*/ 43 w 47"/>
                  <a:gd name="T25" fmla="*/ 10 h 41"/>
                  <a:gd name="T26" fmla="*/ 45 w 47"/>
                  <a:gd name="T27" fmla="*/ 20 h 41"/>
                  <a:gd name="T28" fmla="*/ 47 w 47"/>
                  <a:gd name="T29" fmla="*/ 35 h 41"/>
                  <a:gd name="T30" fmla="*/ 4 w 47"/>
                  <a:gd name="T31" fmla="*/ 41 h 41"/>
                  <a:gd name="T32" fmla="*/ 10 w 47"/>
                  <a:gd name="T33" fmla="*/ 31 h 41"/>
                  <a:gd name="T34" fmla="*/ 20 w 47"/>
                  <a:gd name="T35" fmla="*/ 30 h 41"/>
                  <a:gd name="T36" fmla="*/ 19 w 47"/>
                  <a:gd name="T37" fmla="*/ 24 h 41"/>
                  <a:gd name="T38" fmla="*/ 18 w 47"/>
                  <a:gd name="T39" fmla="*/ 18 h 41"/>
                  <a:gd name="T40" fmla="*/ 16 w 47"/>
                  <a:gd name="T41" fmla="*/ 15 h 41"/>
                  <a:gd name="T42" fmla="*/ 12 w 47"/>
                  <a:gd name="T43" fmla="*/ 14 h 41"/>
                  <a:gd name="T44" fmla="*/ 9 w 47"/>
                  <a:gd name="T45" fmla="*/ 15 h 41"/>
                  <a:gd name="T46" fmla="*/ 8 w 47"/>
                  <a:gd name="T47" fmla="*/ 19 h 41"/>
                  <a:gd name="T48" fmla="*/ 9 w 47"/>
                  <a:gd name="T49" fmla="*/ 26 h 41"/>
                  <a:gd name="T50" fmla="*/ 10 w 47"/>
                  <a:gd name="T51" fmla="*/ 31 h 41"/>
                  <a:gd name="T52" fmla="*/ 27 w 47"/>
                  <a:gd name="T53" fmla="*/ 29 h 41"/>
                  <a:gd name="T54" fmla="*/ 39 w 47"/>
                  <a:gd name="T55" fmla="*/ 27 h 41"/>
                  <a:gd name="T56" fmla="*/ 37 w 47"/>
                  <a:gd name="T57" fmla="*/ 19 h 41"/>
                  <a:gd name="T58" fmla="*/ 36 w 47"/>
                  <a:gd name="T59" fmla="*/ 13 h 41"/>
                  <a:gd name="T60" fmla="*/ 34 w 47"/>
                  <a:gd name="T61" fmla="*/ 10 h 41"/>
                  <a:gd name="T62" fmla="*/ 30 w 47"/>
                  <a:gd name="T63" fmla="*/ 10 h 41"/>
                  <a:gd name="T64" fmla="*/ 27 w 47"/>
                  <a:gd name="T65" fmla="*/ 11 h 41"/>
                  <a:gd name="T66" fmla="*/ 25 w 47"/>
                  <a:gd name="T67" fmla="*/ 14 h 41"/>
                  <a:gd name="T68" fmla="*/ 26 w 47"/>
                  <a:gd name="T69" fmla="*/ 22 h 41"/>
                  <a:gd name="T70" fmla="*/ 27 w 47"/>
                  <a:gd name="T71" fmla="*/ 29 h 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47" h="41">
                    <a:moveTo>
                      <a:pt x="4" y="41"/>
                    </a:moveTo>
                    <a:cubicBezTo>
                      <a:pt x="1" y="24"/>
                      <a:pt x="1" y="24"/>
                      <a:pt x="1" y="24"/>
                    </a:cubicBezTo>
                    <a:cubicBezTo>
                      <a:pt x="1" y="20"/>
                      <a:pt x="0" y="18"/>
                      <a:pt x="0" y="16"/>
                    </a:cubicBezTo>
                    <a:cubicBezTo>
                      <a:pt x="1" y="14"/>
                      <a:pt x="1" y="13"/>
                      <a:pt x="2" y="11"/>
                    </a:cubicBezTo>
                    <a:cubicBezTo>
                      <a:pt x="2" y="10"/>
                      <a:pt x="3" y="9"/>
                      <a:pt x="5" y="7"/>
                    </a:cubicBezTo>
                    <a:cubicBezTo>
                      <a:pt x="6" y="6"/>
                      <a:pt x="8" y="6"/>
                      <a:pt x="10" y="5"/>
                    </a:cubicBezTo>
                    <a:cubicBezTo>
                      <a:pt x="12" y="5"/>
                      <a:pt x="14" y="5"/>
                      <a:pt x="16" y="6"/>
                    </a:cubicBezTo>
                    <a:cubicBezTo>
                      <a:pt x="17" y="7"/>
                      <a:pt x="19" y="8"/>
                      <a:pt x="20" y="10"/>
                    </a:cubicBezTo>
                    <a:cubicBezTo>
                      <a:pt x="20" y="7"/>
                      <a:pt x="21" y="5"/>
                      <a:pt x="23" y="3"/>
                    </a:cubicBezTo>
                    <a:cubicBezTo>
                      <a:pt x="25" y="2"/>
                      <a:pt x="27" y="1"/>
                      <a:pt x="29" y="0"/>
                    </a:cubicBezTo>
                    <a:cubicBezTo>
                      <a:pt x="31" y="0"/>
                      <a:pt x="33" y="0"/>
                      <a:pt x="35" y="1"/>
                    </a:cubicBezTo>
                    <a:cubicBezTo>
                      <a:pt x="37" y="2"/>
                      <a:pt x="39" y="3"/>
                      <a:pt x="40" y="4"/>
                    </a:cubicBezTo>
                    <a:cubicBezTo>
                      <a:pt x="42" y="5"/>
                      <a:pt x="43" y="7"/>
                      <a:pt x="43" y="10"/>
                    </a:cubicBezTo>
                    <a:cubicBezTo>
                      <a:pt x="44" y="11"/>
                      <a:pt x="44" y="15"/>
                      <a:pt x="45" y="20"/>
                    </a:cubicBezTo>
                    <a:cubicBezTo>
                      <a:pt x="47" y="35"/>
                      <a:pt x="47" y="35"/>
                      <a:pt x="47" y="35"/>
                    </a:cubicBezTo>
                    <a:lnTo>
                      <a:pt x="4" y="41"/>
                    </a:lnTo>
                    <a:close/>
                    <a:moveTo>
                      <a:pt x="10" y="31"/>
                    </a:moveTo>
                    <a:cubicBezTo>
                      <a:pt x="20" y="30"/>
                      <a:pt x="20" y="30"/>
                      <a:pt x="20" y="30"/>
                    </a:cubicBezTo>
                    <a:cubicBezTo>
                      <a:pt x="19" y="24"/>
                      <a:pt x="19" y="24"/>
                      <a:pt x="19" y="24"/>
                    </a:cubicBezTo>
                    <a:cubicBezTo>
                      <a:pt x="18" y="21"/>
                      <a:pt x="18" y="19"/>
                      <a:pt x="18" y="18"/>
                    </a:cubicBezTo>
                    <a:cubicBezTo>
                      <a:pt x="17" y="16"/>
                      <a:pt x="17" y="15"/>
                      <a:pt x="16" y="15"/>
                    </a:cubicBezTo>
                    <a:cubicBezTo>
                      <a:pt x="15" y="14"/>
                      <a:pt x="14" y="14"/>
                      <a:pt x="12" y="14"/>
                    </a:cubicBezTo>
                    <a:cubicBezTo>
                      <a:pt x="11" y="14"/>
                      <a:pt x="10" y="14"/>
                      <a:pt x="9" y="15"/>
                    </a:cubicBezTo>
                    <a:cubicBezTo>
                      <a:pt x="8" y="16"/>
                      <a:pt x="8" y="17"/>
                      <a:pt x="8" y="19"/>
                    </a:cubicBezTo>
                    <a:cubicBezTo>
                      <a:pt x="8" y="20"/>
                      <a:pt x="8" y="22"/>
                      <a:pt x="9" y="26"/>
                    </a:cubicBezTo>
                    <a:lnTo>
                      <a:pt x="10" y="31"/>
                    </a:lnTo>
                    <a:close/>
                    <a:moveTo>
                      <a:pt x="27" y="29"/>
                    </a:moveTo>
                    <a:cubicBezTo>
                      <a:pt x="39" y="27"/>
                      <a:pt x="39" y="27"/>
                      <a:pt x="39" y="27"/>
                    </a:cubicBezTo>
                    <a:cubicBezTo>
                      <a:pt x="37" y="19"/>
                      <a:pt x="37" y="19"/>
                      <a:pt x="37" y="19"/>
                    </a:cubicBezTo>
                    <a:cubicBezTo>
                      <a:pt x="37" y="16"/>
                      <a:pt x="37" y="14"/>
                      <a:pt x="36" y="13"/>
                    </a:cubicBezTo>
                    <a:cubicBezTo>
                      <a:pt x="36" y="12"/>
                      <a:pt x="35" y="11"/>
                      <a:pt x="34" y="10"/>
                    </a:cubicBezTo>
                    <a:cubicBezTo>
                      <a:pt x="33" y="10"/>
                      <a:pt x="32" y="9"/>
                      <a:pt x="30" y="10"/>
                    </a:cubicBezTo>
                    <a:cubicBezTo>
                      <a:pt x="29" y="10"/>
                      <a:pt x="28" y="10"/>
                      <a:pt x="27" y="11"/>
                    </a:cubicBezTo>
                    <a:cubicBezTo>
                      <a:pt x="26" y="12"/>
                      <a:pt x="26" y="13"/>
                      <a:pt x="25" y="14"/>
                    </a:cubicBezTo>
                    <a:cubicBezTo>
                      <a:pt x="25" y="15"/>
                      <a:pt x="25" y="18"/>
                      <a:pt x="26" y="22"/>
                    </a:cubicBezTo>
                    <a:lnTo>
                      <a:pt x="27" y="29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1049686" name="îṩliďè"/>
              <p:cNvSpPr/>
              <p:nvPr/>
            </p:nvSpPr>
            <p:spPr bwMode="auto">
              <a:xfrm>
                <a:off x="3146322" y="5120278"/>
                <a:ext cx="93663" cy="79375"/>
              </a:xfrm>
              <a:custGeom>
                <a:avLst/>
                <a:gdLst>
                  <a:gd name="T0" fmla="*/ 59 w 59"/>
                  <a:gd name="T1" fmla="*/ 37 h 50"/>
                  <a:gd name="T2" fmla="*/ 9 w 59"/>
                  <a:gd name="T3" fmla="*/ 50 h 50"/>
                  <a:gd name="T4" fmla="*/ 0 w 59"/>
                  <a:gd name="T5" fmla="*/ 13 h 50"/>
                  <a:gd name="T6" fmla="*/ 8 w 59"/>
                  <a:gd name="T7" fmla="*/ 10 h 50"/>
                  <a:gd name="T8" fmla="*/ 15 w 59"/>
                  <a:gd name="T9" fmla="*/ 37 h 50"/>
                  <a:gd name="T10" fmla="*/ 25 w 59"/>
                  <a:gd name="T11" fmla="*/ 35 h 50"/>
                  <a:gd name="T12" fmla="*/ 19 w 59"/>
                  <a:gd name="T13" fmla="*/ 9 h 50"/>
                  <a:gd name="T14" fmla="*/ 27 w 59"/>
                  <a:gd name="T15" fmla="*/ 8 h 50"/>
                  <a:gd name="T16" fmla="*/ 34 w 59"/>
                  <a:gd name="T17" fmla="*/ 32 h 50"/>
                  <a:gd name="T18" fmla="*/ 47 w 59"/>
                  <a:gd name="T19" fmla="*/ 29 h 50"/>
                  <a:gd name="T20" fmla="*/ 40 w 59"/>
                  <a:gd name="T21" fmla="*/ 1 h 50"/>
                  <a:gd name="T22" fmla="*/ 49 w 59"/>
                  <a:gd name="T23" fmla="*/ 0 h 50"/>
                  <a:gd name="T24" fmla="*/ 59 w 59"/>
                  <a:gd name="T25" fmla="*/ 37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59" h="50">
                    <a:moveTo>
                      <a:pt x="59" y="37"/>
                    </a:moveTo>
                    <a:lnTo>
                      <a:pt x="9" y="50"/>
                    </a:lnTo>
                    <a:lnTo>
                      <a:pt x="0" y="13"/>
                    </a:lnTo>
                    <a:lnTo>
                      <a:pt x="8" y="10"/>
                    </a:lnTo>
                    <a:lnTo>
                      <a:pt x="15" y="37"/>
                    </a:lnTo>
                    <a:lnTo>
                      <a:pt x="25" y="35"/>
                    </a:lnTo>
                    <a:lnTo>
                      <a:pt x="19" y="9"/>
                    </a:lnTo>
                    <a:lnTo>
                      <a:pt x="27" y="8"/>
                    </a:lnTo>
                    <a:lnTo>
                      <a:pt x="34" y="32"/>
                    </a:lnTo>
                    <a:lnTo>
                      <a:pt x="47" y="29"/>
                    </a:lnTo>
                    <a:lnTo>
                      <a:pt x="40" y="1"/>
                    </a:lnTo>
                    <a:lnTo>
                      <a:pt x="49" y="0"/>
                    </a:lnTo>
                    <a:lnTo>
                      <a:pt x="59" y="37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1049687" name="iṧlíḋè"/>
              <p:cNvSpPr/>
              <p:nvPr/>
            </p:nvSpPr>
            <p:spPr bwMode="auto">
              <a:xfrm>
                <a:off x="3138384" y="5096465"/>
                <a:ext cx="82550" cy="38100"/>
              </a:xfrm>
              <a:custGeom>
                <a:avLst/>
                <a:gdLst>
                  <a:gd name="T0" fmla="*/ 52 w 52"/>
                  <a:gd name="T1" fmla="*/ 9 h 24"/>
                  <a:gd name="T2" fmla="*/ 3 w 52"/>
                  <a:gd name="T3" fmla="*/ 24 h 24"/>
                  <a:gd name="T4" fmla="*/ 0 w 52"/>
                  <a:gd name="T5" fmla="*/ 15 h 24"/>
                  <a:gd name="T6" fmla="*/ 49 w 52"/>
                  <a:gd name="T7" fmla="*/ 0 h 24"/>
                  <a:gd name="T8" fmla="*/ 52 w 52"/>
                  <a:gd name="T9" fmla="*/ 9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2" h="24">
                    <a:moveTo>
                      <a:pt x="52" y="9"/>
                    </a:moveTo>
                    <a:lnTo>
                      <a:pt x="3" y="24"/>
                    </a:lnTo>
                    <a:lnTo>
                      <a:pt x="0" y="15"/>
                    </a:lnTo>
                    <a:lnTo>
                      <a:pt x="49" y="0"/>
                    </a:lnTo>
                    <a:lnTo>
                      <a:pt x="52" y="9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1049688" name="islïḓè"/>
              <p:cNvSpPr/>
              <p:nvPr/>
            </p:nvSpPr>
            <p:spPr bwMode="auto">
              <a:xfrm>
                <a:off x="3120922" y="5047253"/>
                <a:ext cx="88900" cy="52388"/>
              </a:xfrm>
              <a:custGeom>
                <a:avLst/>
                <a:gdLst>
                  <a:gd name="T0" fmla="*/ 3 w 48"/>
                  <a:gd name="T1" fmla="*/ 20 h 28"/>
                  <a:gd name="T2" fmla="*/ 0 w 48"/>
                  <a:gd name="T3" fmla="*/ 12 h 28"/>
                  <a:gd name="T4" fmla="*/ 26 w 48"/>
                  <a:gd name="T5" fmla="*/ 2 h 28"/>
                  <a:gd name="T6" fmla="*/ 34 w 48"/>
                  <a:gd name="T7" fmla="*/ 0 h 28"/>
                  <a:gd name="T8" fmla="*/ 42 w 48"/>
                  <a:gd name="T9" fmla="*/ 3 h 28"/>
                  <a:gd name="T10" fmla="*/ 47 w 48"/>
                  <a:gd name="T11" fmla="*/ 10 h 28"/>
                  <a:gd name="T12" fmla="*/ 47 w 48"/>
                  <a:gd name="T13" fmla="*/ 21 h 28"/>
                  <a:gd name="T14" fmla="*/ 38 w 48"/>
                  <a:gd name="T15" fmla="*/ 28 h 28"/>
                  <a:gd name="T16" fmla="*/ 34 w 48"/>
                  <a:gd name="T17" fmla="*/ 20 h 28"/>
                  <a:gd name="T18" fmla="*/ 39 w 48"/>
                  <a:gd name="T19" fmla="*/ 17 h 28"/>
                  <a:gd name="T20" fmla="*/ 40 w 48"/>
                  <a:gd name="T21" fmla="*/ 13 h 28"/>
                  <a:gd name="T22" fmla="*/ 37 w 48"/>
                  <a:gd name="T23" fmla="*/ 9 h 28"/>
                  <a:gd name="T24" fmla="*/ 30 w 48"/>
                  <a:gd name="T25" fmla="*/ 10 h 28"/>
                  <a:gd name="T26" fmla="*/ 3 w 48"/>
                  <a:gd name="T27" fmla="*/ 20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48" h="28">
                    <a:moveTo>
                      <a:pt x="3" y="20"/>
                    </a:moveTo>
                    <a:cubicBezTo>
                      <a:pt x="0" y="12"/>
                      <a:pt x="0" y="12"/>
                      <a:pt x="0" y="12"/>
                    </a:cubicBezTo>
                    <a:cubicBezTo>
                      <a:pt x="26" y="2"/>
                      <a:pt x="26" y="2"/>
                      <a:pt x="26" y="2"/>
                    </a:cubicBezTo>
                    <a:cubicBezTo>
                      <a:pt x="29" y="1"/>
                      <a:pt x="32" y="0"/>
                      <a:pt x="34" y="0"/>
                    </a:cubicBezTo>
                    <a:cubicBezTo>
                      <a:pt x="37" y="0"/>
                      <a:pt x="39" y="1"/>
                      <a:pt x="42" y="3"/>
                    </a:cubicBezTo>
                    <a:cubicBezTo>
                      <a:pt x="44" y="4"/>
                      <a:pt x="46" y="7"/>
                      <a:pt x="47" y="10"/>
                    </a:cubicBezTo>
                    <a:cubicBezTo>
                      <a:pt x="48" y="14"/>
                      <a:pt x="48" y="18"/>
                      <a:pt x="47" y="21"/>
                    </a:cubicBezTo>
                    <a:cubicBezTo>
                      <a:pt x="45" y="24"/>
                      <a:pt x="42" y="26"/>
                      <a:pt x="38" y="28"/>
                    </a:cubicBezTo>
                    <a:cubicBezTo>
                      <a:pt x="34" y="20"/>
                      <a:pt x="34" y="20"/>
                      <a:pt x="34" y="20"/>
                    </a:cubicBezTo>
                    <a:cubicBezTo>
                      <a:pt x="37" y="19"/>
                      <a:pt x="38" y="18"/>
                      <a:pt x="39" y="17"/>
                    </a:cubicBezTo>
                    <a:cubicBezTo>
                      <a:pt x="40" y="16"/>
                      <a:pt x="40" y="14"/>
                      <a:pt x="40" y="13"/>
                    </a:cubicBezTo>
                    <a:cubicBezTo>
                      <a:pt x="39" y="11"/>
                      <a:pt x="38" y="10"/>
                      <a:pt x="37" y="9"/>
                    </a:cubicBezTo>
                    <a:cubicBezTo>
                      <a:pt x="35" y="9"/>
                      <a:pt x="33" y="9"/>
                      <a:pt x="30" y="10"/>
                    </a:cubicBezTo>
                    <a:lnTo>
                      <a:pt x="3" y="20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1049689" name="íṥ1iḍe"/>
              <p:cNvSpPr/>
              <p:nvPr/>
            </p:nvSpPr>
            <p:spPr bwMode="auto">
              <a:xfrm>
                <a:off x="3112984" y="5017090"/>
                <a:ext cx="80963" cy="46038"/>
              </a:xfrm>
              <a:custGeom>
                <a:avLst/>
                <a:gdLst>
                  <a:gd name="T0" fmla="*/ 51 w 51"/>
                  <a:gd name="T1" fmla="*/ 9 h 29"/>
                  <a:gd name="T2" fmla="*/ 3 w 51"/>
                  <a:gd name="T3" fmla="*/ 29 h 29"/>
                  <a:gd name="T4" fmla="*/ 0 w 51"/>
                  <a:gd name="T5" fmla="*/ 19 h 29"/>
                  <a:gd name="T6" fmla="*/ 46 w 51"/>
                  <a:gd name="T7" fmla="*/ 0 h 29"/>
                  <a:gd name="T8" fmla="*/ 51 w 51"/>
                  <a:gd name="T9" fmla="*/ 9 h 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1" h="29">
                    <a:moveTo>
                      <a:pt x="51" y="9"/>
                    </a:moveTo>
                    <a:lnTo>
                      <a:pt x="3" y="29"/>
                    </a:lnTo>
                    <a:lnTo>
                      <a:pt x="0" y="19"/>
                    </a:lnTo>
                    <a:lnTo>
                      <a:pt x="46" y="0"/>
                    </a:lnTo>
                    <a:lnTo>
                      <a:pt x="51" y="9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1049690" name="iṥľîḋé"/>
              <p:cNvSpPr/>
              <p:nvPr/>
            </p:nvSpPr>
            <p:spPr bwMode="auto">
              <a:xfrm>
                <a:off x="3081234" y="4948828"/>
                <a:ext cx="101600" cy="93663"/>
              </a:xfrm>
              <a:custGeom>
                <a:avLst/>
                <a:gdLst>
                  <a:gd name="T0" fmla="*/ 64 w 64"/>
                  <a:gd name="T1" fmla="*/ 36 h 59"/>
                  <a:gd name="T2" fmla="*/ 18 w 64"/>
                  <a:gd name="T3" fmla="*/ 59 h 59"/>
                  <a:gd name="T4" fmla="*/ 14 w 64"/>
                  <a:gd name="T5" fmla="*/ 50 h 59"/>
                  <a:gd name="T6" fmla="*/ 35 w 64"/>
                  <a:gd name="T7" fmla="*/ 16 h 59"/>
                  <a:gd name="T8" fmla="*/ 3 w 64"/>
                  <a:gd name="T9" fmla="*/ 31 h 59"/>
                  <a:gd name="T10" fmla="*/ 0 w 64"/>
                  <a:gd name="T11" fmla="*/ 22 h 59"/>
                  <a:gd name="T12" fmla="*/ 45 w 64"/>
                  <a:gd name="T13" fmla="*/ 0 h 59"/>
                  <a:gd name="T14" fmla="*/ 50 w 64"/>
                  <a:gd name="T15" fmla="*/ 8 h 59"/>
                  <a:gd name="T16" fmla="*/ 29 w 64"/>
                  <a:gd name="T17" fmla="*/ 42 h 59"/>
                  <a:gd name="T18" fmla="*/ 59 w 64"/>
                  <a:gd name="T19" fmla="*/ 26 h 59"/>
                  <a:gd name="T20" fmla="*/ 64 w 64"/>
                  <a:gd name="T21" fmla="*/ 36 h 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64" h="59">
                    <a:moveTo>
                      <a:pt x="64" y="36"/>
                    </a:moveTo>
                    <a:lnTo>
                      <a:pt x="18" y="59"/>
                    </a:lnTo>
                    <a:lnTo>
                      <a:pt x="14" y="50"/>
                    </a:lnTo>
                    <a:lnTo>
                      <a:pt x="35" y="16"/>
                    </a:lnTo>
                    <a:lnTo>
                      <a:pt x="3" y="31"/>
                    </a:lnTo>
                    <a:lnTo>
                      <a:pt x="0" y="22"/>
                    </a:lnTo>
                    <a:lnTo>
                      <a:pt x="45" y="0"/>
                    </a:lnTo>
                    <a:lnTo>
                      <a:pt x="50" y="8"/>
                    </a:lnTo>
                    <a:lnTo>
                      <a:pt x="29" y="42"/>
                    </a:lnTo>
                    <a:lnTo>
                      <a:pt x="59" y="26"/>
                    </a:lnTo>
                    <a:lnTo>
                      <a:pt x="64" y="36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1049691" name="îślidè"/>
              <p:cNvSpPr/>
              <p:nvPr/>
            </p:nvSpPr>
            <p:spPr bwMode="auto">
              <a:xfrm>
                <a:off x="3047897" y="4877390"/>
                <a:ext cx="84138" cy="88900"/>
              </a:xfrm>
              <a:custGeom>
                <a:avLst/>
                <a:gdLst>
                  <a:gd name="T0" fmla="*/ 28 w 46"/>
                  <a:gd name="T1" fmla="*/ 21 h 48"/>
                  <a:gd name="T2" fmla="*/ 22 w 46"/>
                  <a:gd name="T3" fmla="*/ 25 h 48"/>
                  <a:gd name="T4" fmla="*/ 11 w 46"/>
                  <a:gd name="T5" fmla="*/ 9 h 48"/>
                  <a:gd name="T6" fmla="*/ 26 w 46"/>
                  <a:gd name="T7" fmla="*/ 0 h 48"/>
                  <a:gd name="T8" fmla="*/ 35 w 46"/>
                  <a:gd name="T9" fmla="*/ 4 h 48"/>
                  <a:gd name="T10" fmla="*/ 42 w 46"/>
                  <a:gd name="T11" fmla="*/ 12 h 48"/>
                  <a:gd name="T12" fmla="*/ 46 w 46"/>
                  <a:gd name="T13" fmla="*/ 24 h 48"/>
                  <a:gd name="T14" fmla="*/ 43 w 46"/>
                  <a:gd name="T15" fmla="*/ 35 h 48"/>
                  <a:gd name="T16" fmla="*/ 35 w 46"/>
                  <a:gd name="T17" fmla="*/ 43 h 48"/>
                  <a:gd name="T18" fmla="*/ 23 w 46"/>
                  <a:gd name="T19" fmla="*/ 47 h 48"/>
                  <a:gd name="T20" fmla="*/ 12 w 46"/>
                  <a:gd name="T21" fmla="*/ 45 h 48"/>
                  <a:gd name="T22" fmla="*/ 4 w 46"/>
                  <a:gd name="T23" fmla="*/ 37 h 48"/>
                  <a:gd name="T24" fmla="*/ 0 w 46"/>
                  <a:gd name="T25" fmla="*/ 24 h 48"/>
                  <a:gd name="T26" fmla="*/ 5 w 46"/>
                  <a:gd name="T27" fmla="*/ 14 h 48"/>
                  <a:gd name="T28" fmla="*/ 11 w 46"/>
                  <a:gd name="T29" fmla="*/ 21 h 48"/>
                  <a:gd name="T30" fmla="*/ 9 w 46"/>
                  <a:gd name="T31" fmla="*/ 27 h 48"/>
                  <a:gd name="T32" fmla="*/ 11 w 46"/>
                  <a:gd name="T33" fmla="*/ 33 h 48"/>
                  <a:gd name="T34" fmla="*/ 19 w 46"/>
                  <a:gd name="T35" fmla="*/ 39 h 48"/>
                  <a:gd name="T36" fmla="*/ 30 w 46"/>
                  <a:gd name="T37" fmla="*/ 36 h 48"/>
                  <a:gd name="T38" fmla="*/ 38 w 46"/>
                  <a:gd name="T39" fmla="*/ 26 h 48"/>
                  <a:gd name="T40" fmla="*/ 36 w 46"/>
                  <a:gd name="T41" fmla="*/ 17 h 48"/>
                  <a:gd name="T42" fmla="*/ 32 w 46"/>
                  <a:gd name="T43" fmla="*/ 13 h 48"/>
                  <a:gd name="T44" fmla="*/ 27 w 46"/>
                  <a:gd name="T45" fmla="*/ 10 h 48"/>
                  <a:gd name="T46" fmla="*/ 23 w 46"/>
                  <a:gd name="T47" fmla="*/ 13 h 48"/>
                  <a:gd name="T48" fmla="*/ 28 w 46"/>
                  <a:gd name="T49" fmla="*/ 21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46" h="48">
                    <a:moveTo>
                      <a:pt x="28" y="21"/>
                    </a:moveTo>
                    <a:cubicBezTo>
                      <a:pt x="22" y="25"/>
                      <a:pt x="22" y="25"/>
                      <a:pt x="22" y="25"/>
                    </a:cubicBezTo>
                    <a:cubicBezTo>
                      <a:pt x="11" y="9"/>
                      <a:pt x="11" y="9"/>
                      <a:pt x="11" y="9"/>
                    </a:cubicBezTo>
                    <a:cubicBezTo>
                      <a:pt x="26" y="0"/>
                      <a:pt x="26" y="0"/>
                      <a:pt x="26" y="0"/>
                    </a:cubicBezTo>
                    <a:cubicBezTo>
                      <a:pt x="29" y="1"/>
                      <a:pt x="31" y="2"/>
                      <a:pt x="35" y="4"/>
                    </a:cubicBezTo>
                    <a:cubicBezTo>
                      <a:pt x="38" y="6"/>
                      <a:pt x="40" y="9"/>
                      <a:pt x="42" y="12"/>
                    </a:cubicBezTo>
                    <a:cubicBezTo>
                      <a:pt x="45" y="16"/>
                      <a:pt x="46" y="20"/>
                      <a:pt x="46" y="24"/>
                    </a:cubicBezTo>
                    <a:cubicBezTo>
                      <a:pt x="46" y="28"/>
                      <a:pt x="45" y="31"/>
                      <a:pt x="43" y="35"/>
                    </a:cubicBezTo>
                    <a:cubicBezTo>
                      <a:pt x="41" y="38"/>
                      <a:pt x="38" y="41"/>
                      <a:pt x="35" y="43"/>
                    </a:cubicBezTo>
                    <a:cubicBezTo>
                      <a:pt x="31" y="46"/>
                      <a:pt x="27" y="47"/>
                      <a:pt x="23" y="47"/>
                    </a:cubicBezTo>
                    <a:cubicBezTo>
                      <a:pt x="19" y="48"/>
                      <a:pt x="15" y="47"/>
                      <a:pt x="12" y="45"/>
                    </a:cubicBezTo>
                    <a:cubicBezTo>
                      <a:pt x="9" y="43"/>
                      <a:pt x="6" y="41"/>
                      <a:pt x="4" y="37"/>
                    </a:cubicBezTo>
                    <a:cubicBezTo>
                      <a:pt x="1" y="32"/>
                      <a:pt x="0" y="28"/>
                      <a:pt x="0" y="24"/>
                    </a:cubicBezTo>
                    <a:cubicBezTo>
                      <a:pt x="0" y="21"/>
                      <a:pt x="2" y="17"/>
                      <a:pt x="5" y="14"/>
                    </a:cubicBezTo>
                    <a:cubicBezTo>
                      <a:pt x="11" y="21"/>
                      <a:pt x="11" y="21"/>
                      <a:pt x="11" y="21"/>
                    </a:cubicBezTo>
                    <a:cubicBezTo>
                      <a:pt x="10" y="23"/>
                      <a:pt x="9" y="24"/>
                      <a:pt x="9" y="27"/>
                    </a:cubicBezTo>
                    <a:cubicBezTo>
                      <a:pt x="8" y="29"/>
                      <a:pt x="9" y="31"/>
                      <a:pt x="11" y="33"/>
                    </a:cubicBezTo>
                    <a:cubicBezTo>
                      <a:pt x="13" y="36"/>
                      <a:pt x="15" y="38"/>
                      <a:pt x="19" y="39"/>
                    </a:cubicBezTo>
                    <a:cubicBezTo>
                      <a:pt x="22" y="39"/>
                      <a:pt x="26" y="38"/>
                      <a:pt x="30" y="36"/>
                    </a:cubicBezTo>
                    <a:cubicBezTo>
                      <a:pt x="34" y="33"/>
                      <a:pt x="37" y="30"/>
                      <a:pt x="38" y="26"/>
                    </a:cubicBezTo>
                    <a:cubicBezTo>
                      <a:pt x="39" y="23"/>
                      <a:pt x="38" y="20"/>
                      <a:pt x="36" y="17"/>
                    </a:cubicBezTo>
                    <a:cubicBezTo>
                      <a:pt x="35" y="15"/>
                      <a:pt x="34" y="14"/>
                      <a:pt x="32" y="13"/>
                    </a:cubicBezTo>
                    <a:cubicBezTo>
                      <a:pt x="30" y="11"/>
                      <a:pt x="29" y="10"/>
                      <a:pt x="27" y="10"/>
                    </a:cubicBezTo>
                    <a:cubicBezTo>
                      <a:pt x="23" y="13"/>
                      <a:pt x="23" y="13"/>
                      <a:pt x="23" y="13"/>
                    </a:cubicBezTo>
                    <a:lnTo>
                      <a:pt x="28" y="21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1049692" name="îŝ1ide"/>
              <p:cNvSpPr/>
              <p:nvPr/>
            </p:nvSpPr>
            <p:spPr bwMode="auto">
              <a:xfrm>
                <a:off x="1981097" y="4907553"/>
                <a:ext cx="931863" cy="969963"/>
              </a:xfrm>
              <a:custGeom>
                <a:avLst/>
                <a:gdLst>
                  <a:gd name="T0" fmla="*/ 488 w 506"/>
                  <a:gd name="T1" fmla="*/ 144 h 525"/>
                  <a:gd name="T2" fmla="*/ 449 w 506"/>
                  <a:gd name="T3" fmla="*/ 161 h 525"/>
                  <a:gd name="T4" fmla="*/ 473 w 506"/>
                  <a:gd name="T5" fmla="*/ 361 h 525"/>
                  <a:gd name="T6" fmla="*/ 434 w 506"/>
                  <a:gd name="T7" fmla="*/ 382 h 525"/>
                  <a:gd name="T8" fmla="*/ 463 w 506"/>
                  <a:gd name="T9" fmla="*/ 392 h 525"/>
                  <a:gd name="T10" fmla="*/ 434 w 506"/>
                  <a:gd name="T11" fmla="*/ 455 h 525"/>
                  <a:gd name="T12" fmla="*/ 418 w 506"/>
                  <a:gd name="T13" fmla="*/ 525 h 525"/>
                  <a:gd name="T14" fmla="*/ 328 w 506"/>
                  <a:gd name="T15" fmla="*/ 392 h 525"/>
                  <a:gd name="T16" fmla="*/ 200 w 506"/>
                  <a:gd name="T17" fmla="*/ 376 h 525"/>
                  <a:gd name="T18" fmla="*/ 179 w 506"/>
                  <a:gd name="T19" fmla="*/ 525 h 525"/>
                  <a:gd name="T20" fmla="*/ 72 w 506"/>
                  <a:gd name="T21" fmla="*/ 510 h 525"/>
                  <a:gd name="T22" fmla="*/ 44 w 506"/>
                  <a:gd name="T23" fmla="*/ 439 h 525"/>
                  <a:gd name="T24" fmla="*/ 72 w 506"/>
                  <a:gd name="T25" fmla="*/ 392 h 525"/>
                  <a:gd name="T26" fmla="*/ 57 w 506"/>
                  <a:gd name="T27" fmla="*/ 382 h 525"/>
                  <a:gd name="T28" fmla="*/ 18 w 506"/>
                  <a:gd name="T29" fmla="*/ 161 h 525"/>
                  <a:gd name="T30" fmla="*/ 56 w 506"/>
                  <a:gd name="T31" fmla="*/ 144 h 525"/>
                  <a:gd name="T32" fmla="*/ 0 w 506"/>
                  <a:gd name="T33" fmla="*/ 21 h 525"/>
                  <a:gd name="T34" fmla="*/ 92 w 506"/>
                  <a:gd name="T35" fmla="*/ 21 h 525"/>
                  <a:gd name="T36" fmla="*/ 403 w 506"/>
                  <a:gd name="T37" fmla="*/ 82 h 525"/>
                  <a:gd name="T38" fmla="*/ 457 w 506"/>
                  <a:gd name="T39" fmla="*/ 0 h 525"/>
                  <a:gd name="T40" fmla="*/ 461 w 506"/>
                  <a:gd name="T41" fmla="*/ 82 h 525"/>
                  <a:gd name="T42" fmla="*/ 455 w 506"/>
                  <a:gd name="T43" fmla="*/ 24 h 525"/>
                  <a:gd name="T44" fmla="*/ 435 w 506"/>
                  <a:gd name="T45" fmla="*/ 82 h 525"/>
                  <a:gd name="T46" fmla="*/ 454 w 506"/>
                  <a:gd name="T47" fmla="*/ 127 h 525"/>
                  <a:gd name="T48" fmla="*/ 49 w 506"/>
                  <a:gd name="T49" fmla="*/ 112 h 525"/>
                  <a:gd name="T50" fmla="*/ 78 w 506"/>
                  <a:gd name="T51" fmla="*/ 127 h 525"/>
                  <a:gd name="T52" fmla="*/ 81 w 506"/>
                  <a:gd name="T53" fmla="*/ 161 h 525"/>
                  <a:gd name="T54" fmla="*/ 426 w 506"/>
                  <a:gd name="T55" fmla="*/ 145 h 525"/>
                  <a:gd name="T56" fmla="*/ 454 w 506"/>
                  <a:gd name="T57" fmla="*/ 127 h 525"/>
                  <a:gd name="T58" fmla="*/ 450 w 506"/>
                  <a:gd name="T59" fmla="*/ 178 h 525"/>
                  <a:gd name="T60" fmla="*/ 65 w 506"/>
                  <a:gd name="T61" fmla="*/ 335 h 525"/>
                  <a:gd name="T62" fmla="*/ 421 w 506"/>
                  <a:gd name="T63" fmla="*/ 349 h 525"/>
                  <a:gd name="T64" fmla="*/ 398 w 506"/>
                  <a:gd name="T65" fmla="*/ 490 h 525"/>
                  <a:gd name="T66" fmla="*/ 356 w 506"/>
                  <a:gd name="T67" fmla="*/ 371 h 525"/>
                  <a:gd name="T68" fmla="*/ 389 w 506"/>
                  <a:gd name="T69" fmla="*/ 496 h 525"/>
                  <a:gd name="T70" fmla="*/ 150 w 506"/>
                  <a:gd name="T71" fmla="*/ 496 h 525"/>
                  <a:gd name="T72" fmla="*/ 108 w 506"/>
                  <a:gd name="T73" fmla="*/ 371 h 525"/>
                  <a:gd name="T74" fmla="*/ 117 w 506"/>
                  <a:gd name="T75" fmla="*/ 496 h 525"/>
                  <a:gd name="T76" fmla="*/ 71 w 506"/>
                  <a:gd name="T77" fmla="*/ 82 h 525"/>
                  <a:gd name="T78" fmla="*/ 51 w 506"/>
                  <a:gd name="T79" fmla="*/ 24 h 525"/>
                  <a:gd name="T80" fmla="*/ 45 w 506"/>
                  <a:gd name="T81" fmla="*/ 82 h 5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506" h="525">
                    <a:moveTo>
                      <a:pt x="506" y="21"/>
                    </a:moveTo>
                    <a:cubicBezTo>
                      <a:pt x="488" y="144"/>
                      <a:pt x="488" y="144"/>
                      <a:pt x="488" y="144"/>
                    </a:cubicBezTo>
                    <a:cubicBezTo>
                      <a:pt x="450" y="144"/>
                      <a:pt x="450" y="144"/>
                      <a:pt x="450" y="144"/>
                    </a:cubicBezTo>
                    <a:cubicBezTo>
                      <a:pt x="449" y="161"/>
                      <a:pt x="449" y="161"/>
                      <a:pt x="449" y="161"/>
                    </a:cubicBezTo>
                    <a:cubicBezTo>
                      <a:pt x="488" y="161"/>
                      <a:pt x="488" y="161"/>
                      <a:pt x="488" y="161"/>
                    </a:cubicBezTo>
                    <a:cubicBezTo>
                      <a:pt x="473" y="361"/>
                      <a:pt x="473" y="361"/>
                      <a:pt x="473" y="361"/>
                    </a:cubicBezTo>
                    <a:cubicBezTo>
                      <a:pt x="473" y="372"/>
                      <a:pt x="462" y="382"/>
                      <a:pt x="450" y="382"/>
                    </a:cubicBezTo>
                    <a:cubicBezTo>
                      <a:pt x="434" y="382"/>
                      <a:pt x="434" y="382"/>
                      <a:pt x="434" y="382"/>
                    </a:cubicBezTo>
                    <a:cubicBezTo>
                      <a:pt x="434" y="392"/>
                      <a:pt x="434" y="392"/>
                      <a:pt x="434" y="392"/>
                    </a:cubicBezTo>
                    <a:cubicBezTo>
                      <a:pt x="463" y="392"/>
                      <a:pt x="463" y="392"/>
                      <a:pt x="463" y="392"/>
                    </a:cubicBezTo>
                    <a:cubicBezTo>
                      <a:pt x="463" y="439"/>
                      <a:pt x="463" y="439"/>
                      <a:pt x="463" y="439"/>
                    </a:cubicBezTo>
                    <a:cubicBezTo>
                      <a:pt x="463" y="448"/>
                      <a:pt x="450" y="455"/>
                      <a:pt x="434" y="455"/>
                    </a:cubicBezTo>
                    <a:cubicBezTo>
                      <a:pt x="434" y="510"/>
                      <a:pt x="434" y="510"/>
                      <a:pt x="434" y="510"/>
                    </a:cubicBezTo>
                    <a:cubicBezTo>
                      <a:pt x="434" y="518"/>
                      <a:pt x="427" y="525"/>
                      <a:pt x="418" y="525"/>
                    </a:cubicBezTo>
                    <a:cubicBezTo>
                      <a:pt x="328" y="525"/>
                      <a:pt x="328" y="525"/>
                      <a:pt x="328" y="525"/>
                    </a:cubicBezTo>
                    <a:cubicBezTo>
                      <a:pt x="328" y="392"/>
                      <a:pt x="328" y="392"/>
                      <a:pt x="328" y="392"/>
                    </a:cubicBezTo>
                    <a:cubicBezTo>
                      <a:pt x="328" y="383"/>
                      <a:pt x="318" y="376"/>
                      <a:pt x="307" y="376"/>
                    </a:cubicBezTo>
                    <a:cubicBezTo>
                      <a:pt x="200" y="376"/>
                      <a:pt x="200" y="376"/>
                      <a:pt x="200" y="376"/>
                    </a:cubicBezTo>
                    <a:cubicBezTo>
                      <a:pt x="188" y="376"/>
                      <a:pt x="179" y="383"/>
                      <a:pt x="179" y="392"/>
                    </a:cubicBezTo>
                    <a:cubicBezTo>
                      <a:pt x="179" y="525"/>
                      <a:pt x="179" y="525"/>
                      <a:pt x="179" y="525"/>
                    </a:cubicBezTo>
                    <a:cubicBezTo>
                      <a:pt x="89" y="525"/>
                      <a:pt x="89" y="525"/>
                      <a:pt x="89" y="525"/>
                    </a:cubicBezTo>
                    <a:cubicBezTo>
                      <a:pt x="80" y="525"/>
                      <a:pt x="72" y="518"/>
                      <a:pt x="72" y="510"/>
                    </a:cubicBezTo>
                    <a:cubicBezTo>
                      <a:pt x="72" y="455"/>
                      <a:pt x="72" y="455"/>
                      <a:pt x="72" y="455"/>
                    </a:cubicBezTo>
                    <a:cubicBezTo>
                      <a:pt x="56" y="455"/>
                      <a:pt x="44" y="448"/>
                      <a:pt x="44" y="439"/>
                    </a:cubicBezTo>
                    <a:cubicBezTo>
                      <a:pt x="44" y="392"/>
                      <a:pt x="44" y="392"/>
                      <a:pt x="44" y="392"/>
                    </a:cubicBezTo>
                    <a:cubicBezTo>
                      <a:pt x="72" y="392"/>
                      <a:pt x="72" y="392"/>
                      <a:pt x="72" y="392"/>
                    </a:cubicBezTo>
                    <a:cubicBezTo>
                      <a:pt x="72" y="382"/>
                      <a:pt x="72" y="382"/>
                      <a:pt x="72" y="382"/>
                    </a:cubicBezTo>
                    <a:cubicBezTo>
                      <a:pt x="57" y="382"/>
                      <a:pt x="57" y="382"/>
                      <a:pt x="57" y="382"/>
                    </a:cubicBezTo>
                    <a:cubicBezTo>
                      <a:pt x="44" y="382"/>
                      <a:pt x="34" y="372"/>
                      <a:pt x="34" y="361"/>
                    </a:cubicBezTo>
                    <a:cubicBezTo>
                      <a:pt x="18" y="161"/>
                      <a:pt x="18" y="161"/>
                      <a:pt x="18" y="161"/>
                    </a:cubicBezTo>
                    <a:cubicBezTo>
                      <a:pt x="58" y="161"/>
                      <a:pt x="58" y="161"/>
                      <a:pt x="58" y="161"/>
                    </a:cubicBezTo>
                    <a:cubicBezTo>
                      <a:pt x="56" y="144"/>
                      <a:pt x="56" y="144"/>
                      <a:pt x="56" y="144"/>
                    </a:cubicBezTo>
                    <a:cubicBezTo>
                      <a:pt x="18" y="144"/>
                      <a:pt x="18" y="144"/>
                      <a:pt x="18" y="144"/>
                    </a:cubicBezTo>
                    <a:cubicBezTo>
                      <a:pt x="0" y="21"/>
                      <a:pt x="0" y="21"/>
                      <a:pt x="0" y="21"/>
                    </a:cubicBezTo>
                    <a:cubicBezTo>
                      <a:pt x="2" y="7"/>
                      <a:pt x="31" y="0"/>
                      <a:pt x="49" y="0"/>
                    </a:cubicBezTo>
                    <a:cubicBezTo>
                      <a:pt x="73" y="0"/>
                      <a:pt x="80" y="3"/>
                      <a:pt x="92" y="21"/>
                    </a:cubicBezTo>
                    <a:cubicBezTo>
                      <a:pt x="103" y="82"/>
                      <a:pt x="103" y="82"/>
                      <a:pt x="103" y="82"/>
                    </a:cubicBezTo>
                    <a:cubicBezTo>
                      <a:pt x="403" y="82"/>
                      <a:pt x="403" y="82"/>
                      <a:pt x="403" y="82"/>
                    </a:cubicBezTo>
                    <a:cubicBezTo>
                      <a:pt x="415" y="21"/>
                      <a:pt x="415" y="21"/>
                      <a:pt x="415" y="21"/>
                    </a:cubicBezTo>
                    <a:cubicBezTo>
                      <a:pt x="426" y="3"/>
                      <a:pt x="433" y="0"/>
                      <a:pt x="457" y="0"/>
                    </a:cubicBezTo>
                    <a:cubicBezTo>
                      <a:pt x="475" y="0"/>
                      <a:pt x="504" y="7"/>
                      <a:pt x="506" y="21"/>
                    </a:cubicBezTo>
                    <a:close/>
                    <a:moveTo>
                      <a:pt x="461" y="82"/>
                    </a:moveTo>
                    <a:cubicBezTo>
                      <a:pt x="469" y="32"/>
                      <a:pt x="469" y="32"/>
                      <a:pt x="469" y="32"/>
                    </a:cubicBezTo>
                    <a:cubicBezTo>
                      <a:pt x="469" y="24"/>
                      <a:pt x="463" y="24"/>
                      <a:pt x="455" y="24"/>
                    </a:cubicBezTo>
                    <a:cubicBezTo>
                      <a:pt x="450" y="24"/>
                      <a:pt x="447" y="26"/>
                      <a:pt x="445" y="32"/>
                    </a:cubicBezTo>
                    <a:cubicBezTo>
                      <a:pt x="435" y="82"/>
                      <a:pt x="435" y="82"/>
                      <a:pt x="435" y="82"/>
                    </a:cubicBezTo>
                    <a:lnTo>
                      <a:pt x="461" y="82"/>
                    </a:lnTo>
                    <a:close/>
                    <a:moveTo>
                      <a:pt x="454" y="127"/>
                    </a:moveTo>
                    <a:cubicBezTo>
                      <a:pt x="457" y="112"/>
                      <a:pt x="457" y="112"/>
                      <a:pt x="457" y="112"/>
                    </a:cubicBezTo>
                    <a:cubicBezTo>
                      <a:pt x="49" y="112"/>
                      <a:pt x="49" y="112"/>
                      <a:pt x="49" y="112"/>
                    </a:cubicBezTo>
                    <a:cubicBezTo>
                      <a:pt x="52" y="127"/>
                      <a:pt x="52" y="127"/>
                      <a:pt x="52" y="127"/>
                    </a:cubicBezTo>
                    <a:cubicBezTo>
                      <a:pt x="78" y="127"/>
                      <a:pt x="78" y="127"/>
                      <a:pt x="78" y="127"/>
                    </a:cubicBezTo>
                    <a:cubicBezTo>
                      <a:pt x="80" y="145"/>
                      <a:pt x="80" y="145"/>
                      <a:pt x="80" y="145"/>
                    </a:cubicBezTo>
                    <a:cubicBezTo>
                      <a:pt x="81" y="161"/>
                      <a:pt x="81" y="161"/>
                      <a:pt x="81" y="161"/>
                    </a:cubicBezTo>
                    <a:cubicBezTo>
                      <a:pt x="425" y="161"/>
                      <a:pt x="425" y="161"/>
                      <a:pt x="425" y="161"/>
                    </a:cubicBezTo>
                    <a:cubicBezTo>
                      <a:pt x="426" y="145"/>
                      <a:pt x="426" y="145"/>
                      <a:pt x="426" y="145"/>
                    </a:cubicBezTo>
                    <a:cubicBezTo>
                      <a:pt x="428" y="127"/>
                      <a:pt x="428" y="127"/>
                      <a:pt x="428" y="127"/>
                    </a:cubicBezTo>
                    <a:lnTo>
                      <a:pt x="454" y="127"/>
                    </a:lnTo>
                    <a:close/>
                    <a:moveTo>
                      <a:pt x="441" y="335"/>
                    </a:moveTo>
                    <a:cubicBezTo>
                      <a:pt x="450" y="178"/>
                      <a:pt x="450" y="178"/>
                      <a:pt x="450" y="178"/>
                    </a:cubicBezTo>
                    <a:cubicBezTo>
                      <a:pt x="56" y="178"/>
                      <a:pt x="56" y="178"/>
                      <a:pt x="56" y="178"/>
                    </a:cubicBezTo>
                    <a:cubicBezTo>
                      <a:pt x="65" y="335"/>
                      <a:pt x="65" y="335"/>
                      <a:pt x="65" y="335"/>
                    </a:cubicBezTo>
                    <a:cubicBezTo>
                      <a:pt x="65" y="343"/>
                      <a:pt x="74" y="349"/>
                      <a:pt x="85" y="349"/>
                    </a:cubicBezTo>
                    <a:cubicBezTo>
                      <a:pt x="421" y="349"/>
                      <a:pt x="421" y="349"/>
                      <a:pt x="421" y="349"/>
                    </a:cubicBezTo>
                    <a:cubicBezTo>
                      <a:pt x="432" y="349"/>
                      <a:pt x="441" y="343"/>
                      <a:pt x="441" y="335"/>
                    </a:cubicBezTo>
                    <a:close/>
                    <a:moveTo>
                      <a:pt x="398" y="490"/>
                    </a:moveTo>
                    <a:cubicBezTo>
                      <a:pt x="398" y="371"/>
                      <a:pt x="398" y="371"/>
                      <a:pt x="398" y="371"/>
                    </a:cubicBezTo>
                    <a:cubicBezTo>
                      <a:pt x="356" y="371"/>
                      <a:pt x="356" y="371"/>
                      <a:pt x="356" y="371"/>
                    </a:cubicBezTo>
                    <a:cubicBezTo>
                      <a:pt x="356" y="496"/>
                      <a:pt x="356" y="496"/>
                      <a:pt x="356" y="496"/>
                    </a:cubicBezTo>
                    <a:cubicBezTo>
                      <a:pt x="389" y="496"/>
                      <a:pt x="389" y="496"/>
                      <a:pt x="389" y="496"/>
                    </a:cubicBezTo>
                    <a:cubicBezTo>
                      <a:pt x="394" y="496"/>
                      <a:pt x="398" y="496"/>
                      <a:pt x="398" y="490"/>
                    </a:cubicBezTo>
                    <a:close/>
                    <a:moveTo>
                      <a:pt x="150" y="496"/>
                    </a:moveTo>
                    <a:cubicBezTo>
                      <a:pt x="150" y="371"/>
                      <a:pt x="150" y="371"/>
                      <a:pt x="150" y="371"/>
                    </a:cubicBezTo>
                    <a:cubicBezTo>
                      <a:pt x="108" y="371"/>
                      <a:pt x="108" y="371"/>
                      <a:pt x="108" y="371"/>
                    </a:cubicBezTo>
                    <a:cubicBezTo>
                      <a:pt x="108" y="490"/>
                      <a:pt x="108" y="490"/>
                      <a:pt x="108" y="490"/>
                    </a:cubicBezTo>
                    <a:cubicBezTo>
                      <a:pt x="108" y="496"/>
                      <a:pt x="112" y="496"/>
                      <a:pt x="117" y="496"/>
                    </a:cubicBezTo>
                    <a:lnTo>
                      <a:pt x="150" y="496"/>
                    </a:lnTo>
                    <a:close/>
                    <a:moveTo>
                      <a:pt x="71" y="82"/>
                    </a:moveTo>
                    <a:cubicBezTo>
                      <a:pt x="61" y="32"/>
                      <a:pt x="61" y="32"/>
                      <a:pt x="61" y="32"/>
                    </a:cubicBezTo>
                    <a:cubicBezTo>
                      <a:pt x="60" y="26"/>
                      <a:pt x="57" y="24"/>
                      <a:pt x="51" y="24"/>
                    </a:cubicBezTo>
                    <a:cubicBezTo>
                      <a:pt x="43" y="24"/>
                      <a:pt x="37" y="24"/>
                      <a:pt x="37" y="32"/>
                    </a:cubicBezTo>
                    <a:cubicBezTo>
                      <a:pt x="45" y="82"/>
                      <a:pt x="45" y="82"/>
                      <a:pt x="45" y="82"/>
                    </a:cubicBezTo>
                    <a:lnTo>
                      <a:pt x="71" y="82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1049693" name="í$ḻíde"/>
              <p:cNvSpPr/>
              <p:nvPr/>
            </p:nvSpPr>
            <p:spPr bwMode="auto">
              <a:xfrm>
                <a:off x="2144609" y="5142503"/>
                <a:ext cx="604838" cy="31750"/>
              </a:xfrm>
              <a:prstGeom prst="rect">
                <a:avLst/>
              </a:pr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</p:grpSp>
      </p:grpSp>
      <p:grpSp>
        <p:nvGrpSpPr>
          <p:cNvPr id="208" name="组合 180"/>
          <p:cNvGrpSpPr/>
          <p:nvPr userDrawn="1"/>
        </p:nvGrpSpPr>
        <p:grpSpPr>
          <a:xfrm>
            <a:off x="3989822" y="1457555"/>
            <a:ext cx="1164357" cy="320434"/>
            <a:chOff x="5180266" y="4756740"/>
            <a:chExt cx="5753100" cy="1187451"/>
          </a:xfrm>
          <a:solidFill>
            <a:srgbClr val="F2C68E"/>
          </a:solidFill>
        </p:grpSpPr>
        <p:sp>
          <p:nvSpPr>
            <p:cNvPr id="1049694" name="ïṩļîḑê"/>
            <p:cNvSpPr/>
            <p:nvPr/>
          </p:nvSpPr>
          <p:spPr bwMode="auto">
            <a:xfrm>
              <a:off x="10319003" y="4805953"/>
              <a:ext cx="600075" cy="771525"/>
            </a:xfrm>
            <a:custGeom>
              <a:avLst/>
              <a:gdLst>
                <a:gd name="T0" fmla="*/ 210 w 325"/>
                <a:gd name="T1" fmla="*/ 140 h 418"/>
                <a:gd name="T2" fmla="*/ 237 w 325"/>
                <a:gd name="T3" fmla="*/ 155 h 418"/>
                <a:gd name="T4" fmla="*/ 161 w 325"/>
                <a:gd name="T5" fmla="*/ 179 h 418"/>
                <a:gd name="T6" fmla="*/ 187 w 325"/>
                <a:gd name="T7" fmla="*/ 68 h 418"/>
                <a:gd name="T8" fmla="*/ 230 w 325"/>
                <a:gd name="T9" fmla="*/ 40 h 418"/>
                <a:gd name="T10" fmla="*/ 199 w 325"/>
                <a:gd name="T11" fmla="*/ 85 h 418"/>
                <a:gd name="T12" fmla="*/ 99 w 325"/>
                <a:gd name="T13" fmla="*/ 132 h 418"/>
                <a:gd name="T14" fmla="*/ 132 w 325"/>
                <a:gd name="T15" fmla="*/ 83 h 418"/>
                <a:gd name="T16" fmla="*/ 174 w 325"/>
                <a:gd name="T17" fmla="*/ 116 h 418"/>
                <a:gd name="T18" fmla="*/ 59 w 325"/>
                <a:gd name="T19" fmla="*/ 198 h 418"/>
                <a:gd name="T20" fmla="*/ 16 w 325"/>
                <a:gd name="T21" fmla="*/ 224 h 418"/>
                <a:gd name="T22" fmla="*/ 17 w 325"/>
                <a:gd name="T23" fmla="*/ 314 h 418"/>
                <a:gd name="T24" fmla="*/ 55 w 325"/>
                <a:gd name="T25" fmla="*/ 244 h 418"/>
                <a:gd name="T26" fmla="*/ 131 w 325"/>
                <a:gd name="T27" fmla="*/ 194 h 418"/>
                <a:gd name="T28" fmla="*/ 111 w 325"/>
                <a:gd name="T29" fmla="*/ 251 h 418"/>
                <a:gd name="T30" fmla="*/ 148 w 325"/>
                <a:gd name="T31" fmla="*/ 246 h 418"/>
                <a:gd name="T32" fmla="*/ 184 w 325"/>
                <a:gd name="T33" fmla="*/ 243 h 418"/>
                <a:gd name="T34" fmla="*/ 131 w 325"/>
                <a:gd name="T35" fmla="*/ 281 h 418"/>
                <a:gd name="T36" fmla="*/ 76 w 325"/>
                <a:gd name="T37" fmla="*/ 299 h 418"/>
                <a:gd name="T38" fmla="*/ 134 w 325"/>
                <a:gd name="T39" fmla="*/ 334 h 418"/>
                <a:gd name="T40" fmla="*/ 203 w 325"/>
                <a:gd name="T41" fmla="*/ 298 h 418"/>
                <a:gd name="T42" fmla="*/ 206 w 325"/>
                <a:gd name="T43" fmla="*/ 350 h 418"/>
                <a:gd name="T44" fmla="*/ 165 w 325"/>
                <a:gd name="T45" fmla="*/ 378 h 418"/>
                <a:gd name="T46" fmla="*/ 144 w 325"/>
                <a:gd name="T47" fmla="*/ 410 h 418"/>
                <a:gd name="T48" fmla="*/ 228 w 325"/>
                <a:gd name="T49" fmla="*/ 408 h 418"/>
                <a:gd name="T50" fmla="*/ 239 w 325"/>
                <a:gd name="T51" fmla="*/ 307 h 418"/>
                <a:gd name="T52" fmla="*/ 273 w 325"/>
                <a:gd name="T53" fmla="*/ 283 h 418"/>
                <a:gd name="T54" fmla="*/ 271 w 325"/>
                <a:gd name="T55" fmla="*/ 239 h 418"/>
                <a:gd name="T56" fmla="*/ 233 w 325"/>
                <a:gd name="T57" fmla="*/ 226 h 418"/>
                <a:gd name="T58" fmla="*/ 261 w 325"/>
                <a:gd name="T59" fmla="*/ 181 h 418"/>
                <a:gd name="T60" fmla="*/ 316 w 325"/>
                <a:gd name="T61" fmla="*/ 167 h 418"/>
                <a:gd name="T62" fmla="*/ 297 w 325"/>
                <a:gd name="T63" fmla="*/ 119 h 418"/>
                <a:gd name="T64" fmla="*/ 251 w 325"/>
                <a:gd name="T65" fmla="*/ 93 h 418"/>
                <a:gd name="T66" fmla="*/ 276 w 325"/>
                <a:gd name="T67" fmla="*/ 34 h 418"/>
                <a:gd name="T68" fmla="*/ 217 w 325"/>
                <a:gd name="T69" fmla="*/ 11 h 418"/>
                <a:gd name="T70" fmla="*/ 164 w 325"/>
                <a:gd name="T71" fmla="*/ 29 h 418"/>
                <a:gd name="T72" fmla="*/ 136 w 325"/>
                <a:gd name="T73" fmla="*/ 43 h 418"/>
                <a:gd name="T74" fmla="*/ 113 w 325"/>
                <a:gd name="T75" fmla="*/ 21 h 418"/>
                <a:gd name="T76" fmla="*/ 78 w 325"/>
                <a:gd name="T77" fmla="*/ 52 h 4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325" h="418">
                  <a:moveTo>
                    <a:pt x="161" y="179"/>
                  </a:moveTo>
                  <a:cubicBezTo>
                    <a:pt x="160" y="178"/>
                    <a:pt x="188" y="143"/>
                    <a:pt x="210" y="140"/>
                  </a:cubicBezTo>
                  <a:cubicBezTo>
                    <a:pt x="232" y="137"/>
                    <a:pt x="226" y="133"/>
                    <a:pt x="238" y="138"/>
                  </a:cubicBezTo>
                  <a:cubicBezTo>
                    <a:pt x="250" y="144"/>
                    <a:pt x="252" y="148"/>
                    <a:pt x="237" y="155"/>
                  </a:cubicBezTo>
                  <a:cubicBezTo>
                    <a:pt x="222" y="162"/>
                    <a:pt x="215" y="168"/>
                    <a:pt x="196" y="171"/>
                  </a:cubicBezTo>
                  <a:cubicBezTo>
                    <a:pt x="177" y="175"/>
                    <a:pt x="163" y="181"/>
                    <a:pt x="161" y="179"/>
                  </a:cubicBezTo>
                  <a:close/>
                  <a:moveTo>
                    <a:pt x="199" y="85"/>
                  </a:moveTo>
                  <a:cubicBezTo>
                    <a:pt x="197" y="87"/>
                    <a:pt x="186" y="79"/>
                    <a:pt x="187" y="68"/>
                  </a:cubicBezTo>
                  <a:cubicBezTo>
                    <a:pt x="188" y="57"/>
                    <a:pt x="197" y="38"/>
                    <a:pt x="211" y="34"/>
                  </a:cubicBezTo>
                  <a:cubicBezTo>
                    <a:pt x="225" y="30"/>
                    <a:pt x="230" y="30"/>
                    <a:pt x="230" y="40"/>
                  </a:cubicBezTo>
                  <a:cubicBezTo>
                    <a:pt x="229" y="51"/>
                    <a:pt x="229" y="62"/>
                    <a:pt x="219" y="71"/>
                  </a:cubicBezTo>
                  <a:cubicBezTo>
                    <a:pt x="210" y="80"/>
                    <a:pt x="201" y="84"/>
                    <a:pt x="199" y="85"/>
                  </a:cubicBezTo>
                  <a:close/>
                  <a:moveTo>
                    <a:pt x="79" y="112"/>
                  </a:moveTo>
                  <a:cubicBezTo>
                    <a:pt x="79" y="113"/>
                    <a:pt x="87" y="125"/>
                    <a:pt x="99" y="132"/>
                  </a:cubicBezTo>
                  <a:cubicBezTo>
                    <a:pt x="112" y="138"/>
                    <a:pt x="119" y="135"/>
                    <a:pt x="129" y="127"/>
                  </a:cubicBezTo>
                  <a:cubicBezTo>
                    <a:pt x="139" y="118"/>
                    <a:pt x="130" y="95"/>
                    <a:pt x="132" y="83"/>
                  </a:cubicBezTo>
                  <a:cubicBezTo>
                    <a:pt x="135" y="70"/>
                    <a:pt x="136" y="73"/>
                    <a:pt x="146" y="75"/>
                  </a:cubicBezTo>
                  <a:cubicBezTo>
                    <a:pt x="156" y="76"/>
                    <a:pt x="173" y="108"/>
                    <a:pt x="174" y="116"/>
                  </a:cubicBezTo>
                  <a:cubicBezTo>
                    <a:pt x="174" y="123"/>
                    <a:pt x="170" y="123"/>
                    <a:pt x="128" y="142"/>
                  </a:cubicBezTo>
                  <a:cubicBezTo>
                    <a:pt x="86" y="161"/>
                    <a:pt x="67" y="195"/>
                    <a:pt x="59" y="198"/>
                  </a:cubicBezTo>
                  <a:cubicBezTo>
                    <a:pt x="52" y="202"/>
                    <a:pt x="55" y="191"/>
                    <a:pt x="40" y="188"/>
                  </a:cubicBezTo>
                  <a:cubicBezTo>
                    <a:pt x="26" y="186"/>
                    <a:pt x="23" y="211"/>
                    <a:pt x="16" y="224"/>
                  </a:cubicBezTo>
                  <a:cubicBezTo>
                    <a:pt x="8" y="238"/>
                    <a:pt x="5" y="266"/>
                    <a:pt x="5" y="277"/>
                  </a:cubicBezTo>
                  <a:cubicBezTo>
                    <a:pt x="5" y="288"/>
                    <a:pt x="0" y="301"/>
                    <a:pt x="17" y="314"/>
                  </a:cubicBezTo>
                  <a:cubicBezTo>
                    <a:pt x="33" y="326"/>
                    <a:pt x="49" y="311"/>
                    <a:pt x="53" y="304"/>
                  </a:cubicBezTo>
                  <a:cubicBezTo>
                    <a:pt x="57" y="298"/>
                    <a:pt x="53" y="269"/>
                    <a:pt x="55" y="244"/>
                  </a:cubicBezTo>
                  <a:cubicBezTo>
                    <a:pt x="57" y="220"/>
                    <a:pt x="89" y="204"/>
                    <a:pt x="100" y="197"/>
                  </a:cubicBezTo>
                  <a:cubicBezTo>
                    <a:pt x="115" y="189"/>
                    <a:pt x="129" y="190"/>
                    <a:pt x="131" y="194"/>
                  </a:cubicBezTo>
                  <a:cubicBezTo>
                    <a:pt x="134" y="197"/>
                    <a:pt x="119" y="214"/>
                    <a:pt x="112" y="219"/>
                  </a:cubicBezTo>
                  <a:cubicBezTo>
                    <a:pt x="105" y="224"/>
                    <a:pt x="110" y="244"/>
                    <a:pt x="111" y="251"/>
                  </a:cubicBezTo>
                  <a:cubicBezTo>
                    <a:pt x="113" y="257"/>
                    <a:pt x="111" y="260"/>
                    <a:pt x="125" y="265"/>
                  </a:cubicBezTo>
                  <a:cubicBezTo>
                    <a:pt x="142" y="271"/>
                    <a:pt x="139" y="257"/>
                    <a:pt x="148" y="246"/>
                  </a:cubicBezTo>
                  <a:cubicBezTo>
                    <a:pt x="157" y="236"/>
                    <a:pt x="163" y="224"/>
                    <a:pt x="170" y="224"/>
                  </a:cubicBezTo>
                  <a:cubicBezTo>
                    <a:pt x="177" y="224"/>
                    <a:pt x="180" y="238"/>
                    <a:pt x="184" y="243"/>
                  </a:cubicBezTo>
                  <a:cubicBezTo>
                    <a:pt x="187" y="248"/>
                    <a:pt x="189" y="257"/>
                    <a:pt x="177" y="263"/>
                  </a:cubicBezTo>
                  <a:cubicBezTo>
                    <a:pt x="165" y="269"/>
                    <a:pt x="131" y="281"/>
                    <a:pt x="131" y="281"/>
                  </a:cubicBezTo>
                  <a:cubicBezTo>
                    <a:pt x="131" y="281"/>
                    <a:pt x="112" y="284"/>
                    <a:pt x="101" y="287"/>
                  </a:cubicBezTo>
                  <a:cubicBezTo>
                    <a:pt x="90" y="289"/>
                    <a:pt x="78" y="285"/>
                    <a:pt x="76" y="299"/>
                  </a:cubicBezTo>
                  <a:cubicBezTo>
                    <a:pt x="73" y="312"/>
                    <a:pt x="78" y="305"/>
                    <a:pt x="86" y="319"/>
                  </a:cubicBezTo>
                  <a:cubicBezTo>
                    <a:pt x="94" y="333"/>
                    <a:pt x="119" y="337"/>
                    <a:pt x="134" y="334"/>
                  </a:cubicBezTo>
                  <a:cubicBezTo>
                    <a:pt x="149" y="332"/>
                    <a:pt x="157" y="324"/>
                    <a:pt x="168" y="316"/>
                  </a:cubicBezTo>
                  <a:cubicBezTo>
                    <a:pt x="178" y="308"/>
                    <a:pt x="194" y="298"/>
                    <a:pt x="203" y="298"/>
                  </a:cubicBezTo>
                  <a:cubicBezTo>
                    <a:pt x="211" y="299"/>
                    <a:pt x="211" y="311"/>
                    <a:pt x="211" y="325"/>
                  </a:cubicBezTo>
                  <a:cubicBezTo>
                    <a:pt x="211" y="339"/>
                    <a:pt x="210" y="337"/>
                    <a:pt x="206" y="350"/>
                  </a:cubicBezTo>
                  <a:cubicBezTo>
                    <a:pt x="202" y="364"/>
                    <a:pt x="199" y="368"/>
                    <a:pt x="194" y="372"/>
                  </a:cubicBezTo>
                  <a:cubicBezTo>
                    <a:pt x="189" y="377"/>
                    <a:pt x="184" y="376"/>
                    <a:pt x="165" y="378"/>
                  </a:cubicBezTo>
                  <a:cubicBezTo>
                    <a:pt x="145" y="380"/>
                    <a:pt x="131" y="393"/>
                    <a:pt x="129" y="400"/>
                  </a:cubicBezTo>
                  <a:cubicBezTo>
                    <a:pt x="128" y="407"/>
                    <a:pt x="135" y="405"/>
                    <a:pt x="144" y="410"/>
                  </a:cubicBezTo>
                  <a:cubicBezTo>
                    <a:pt x="152" y="414"/>
                    <a:pt x="163" y="416"/>
                    <a:pt x="185" y="417"/>
                  </a:cubicBezTo>
                  <a:cubicBezTo>
                    <a:pt x="208" y="418"/>
                    <a:pt x="219" y="417"/>
                    <a:pt x="228" y="408"/>
                  </a:cubicBezTo>
                  <a:cubicBezTo>
                    <a:pt x="238" y="400"/>
                    <a:pt x="240" y="373"/>
                    <a:pt x="241" y="354"/>
                  </a:cubicBezTo>
                  <a:cubicBezTo>
                    <a:pt x="243" y="335"/>
                    <a:pt x="239" y="315"/>
                    <a:pt x="239" y="307"/>
                  </a:cubicBezTo>
                  <a:cubicBezTo>
                    <a:pt x="239" y="299"/>
                    <a:pt x="239" y="297"/>
                    <a:pt x="244" y="288"/>
                  </a:cubicBezTo>
                  <a:cubicBezTo>
                    <a:pt x="249" y="280"/>
                    <a:pt x="257" y="284"/>
                    <a:pt x="273" y="283"/>
                  </a:cubicBezTo>
                  <a:cubicBezTo>
                    <a:pt x="288" y="281"/>
                    <a:pt x="286" y="270"/>
                    <a:pt x="287" y="261"/>
                  </a:cubicBezTo>
                  <a:cubicBezTo>
                    <a:pt x="288" y="251"/>
                    <a:pt x="281" y="247"/>
                    <a:pt x="271" y="239"/>
                  </a:cubicBezTo>
                  <a:cubicBezTo>
                    <a:pt x="260" y="231"/>
                    <a:pt x="250" y="236"/>
                    <a:pt x="240" y="236"/>
                  </a:cubicBezTo>
                  <a:cubicBezTo>
                    <a:pt x="230" y="236"/>
                    <a:pt x="233" y="234"/>
                    <a:pt x="233" y="226"/>
                  </a:cubicBezTo>
                  <a:cubicBezTo>
                    <a:pt x="233" y="219"/>
                    <a:pt x="238" y="215"/>
                    <a:pt x="239" y="207"/>
                  </a:cubicBezTo>
                  <a:cubicBezTo>
                    <a:pt x="241" y="200"/>
                    <a:pt x="251" y="192"/>
                    <a:pt x="261" y="181"/>
                  </a:cubicBezTo>
                  <a:cubicBezTo>
                    <a:pt x="270" y="170"/>
                    <a:pt x="276" y="175"/>
                    <a:pt x="289" y="176"/>
                  </a:cubicBezTo>
                  <a:cubicBezTo>
                    <a:pt x="302" y="176"/>
                    <a:pt x="307" y="176"/>
                    <a:pt x="316" y="167"/>
                  </a:cubicBezTo>
                  <a:cubicBezTo>
                    <a:pt x="325" y="157"/>
                    <a:pt x="318" y="138"/>
                    <a:pt x="316" y="132"/>
                  </a:cubicBezTo>
                  <a:cubicBezTo>
                    <a:pt x="315" y="125"/>
                    <a:pt x="309" y="129"/>
                    <a:pt x="297" y="119"/>
                  </a:cubicBezTo>
                  <a:cubicBezTo>
                    <a:pt x="285" y="108"/>
                    <a:pt x="274" y="111"/>
                    <a:pt x="261" y="111"/>
                  </a:cubicBezTo>
                  <a:cubicBezTo>
                    <a:pt x="248" y="111"/>
                    <a:pt x="244" y="100"/>
                    <a:pt x="251" y="93"/>
                  </a:cubicBezTo>
                  <a:cubicBezTo>
                    <a:pt x="259" y="87"/>
                    <a:pt x="265" y="77"/>
                    <a:pt x="272" y="66"/>
                  </a:cubicBezTo>
                  <a:cubicBezTo>
                    <a:pt x="278" y="55"/>
                    <a:pt x="276" y="45"/>
                    <a:pt x="276" y="34"/>
                  </a:cubicBezTo>
                  <a:cubicBezTo>
                    <a:pt x="275" y="24"/>
                    <a:pt x="264" y="20"/>
                    <a:pt x="252" y="10"/>
                  </a:cubicBezTo>
                  <a:cubicBezTo>
                    <a:pt x="240" y="0"/>
                    <a:pt x="225" y="8"/>
                    <a:pt x="217" y="11"/>
                  </a:cubicBezTo>
                  <a:cubicBezTo>
                    <a:pt x="208" y="14"/>
                    <a:pt x="196" y="20"/>
                    <a:pt x="187" y="25"/>
                  </a:cubicBezTo>
                  <a:cubicBezTo>
                    <a:pt x="178" y="30"/>
                    <a:pt x="172" y="30"/>
                    <a:pt x="164" y="29"/>
                  </a:cubicBezTo>
                  <a:cubicBezTo>
                    <a:pt x="157" y="29"/>
                    <a:pt x="150" y="29"/>
                    <a:pt x="147" y="29"/>
                  </a:cubicBezTo>
                  <a:cubicBezTo>
                    <a:pt x="144" y="29"/>
                    <a:pt x="141" y="35"/>
                    <a:pt x="136" y="43"/>
                  </a:cubicBezTo>
                  <a:cubicBezTo>
                    <a:pt x="131" y="51"/>
                    <a:pt x="126" y="47"/>
                    <a:pt x="124" y="43"/>
                  </a:cubicBezTo>
                  <a:cubicBezTo>
                    <a:pt x="121" y="38"/>
                    <a:pt x="116" y="28"/>
                    <a:pt x="113" y="21"/>
                  </a:cubicBezTo>
                  <a:cubicBezTo>
                    <a:pt x="110" y="15"/>
                    <a:pt x="97" y="18"/>
                    <a:pt x="91" y="21"/>
                  </a:cubicBezTo>
                  <a:cubicBezTo>
                    <a:pt x="84" y="25"/>
                    <a:pt x="80" y="41"/>
                    <a:pt x="78" y="52"/>
                  </a:cubicBezTo>
                  <a:cubicBezTo>
                    <a:pt x="75" y="63"/>
                    <a:pt x="78" y="111"/>
                    <a:pt x="79" y="11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1049695" name="îşḷïḍe"/>
            <p:cNvSpPr/>
            <p:nvPr/>
          </p:nvSpPr>
          <p:spPr bwMode="auto">
            <a:xfrm>
              <a:off x="9461753" y="4939303"/>
              <a:ext cx="388938" cy="534988"/>
            </a:xfrm>
            <a:custGeom>
              <a:avLst/>
              <a:gdLst>
                <a:gd name="T0" fmla="*/ 4 w 211"/>
                <a:gd name="T1" fmla="*/ 137 h 290"/>
                <a:gd name="T2" fmla="*/ 41 w 211"/>
                <a:gd name="T3" fmla="*/ 117 h 290"/>
                <a:gd name="T4" fmla="*/ 75 w 211"/>
                <a:gd name="T5" fmla="*/ 83 h 290"/>
                <a:gd name="T6" fmla="*/ 82 w 211"/>
                <a:gd name="T7" fmla="*/ 29 h 290"/>
                <a:gd name="T8" fmla="*/ 94 w 211"/>
                <a:gd name="T9" fmla="*/ 6 h 290"/>
                <a:gd name="T10" fmla="*/ 126 w 211"/>
                <a:gd name="T11" fmla="*/ 27 h 290"/>
                <a:gd name="T12" fmla="*/ 145 w 211"/>
                <a:gd name="T13" fmla="*/ 65 h 290"/>
                <a:gd name="T14" fmla="*/ 170 w 211"/>
                <a:gd name="T15" fmla="*/ 93 h 290"/>
                <a:gd name="T16" fmla="*/ 164 w 211"/>
                <a:gd name="T17" fmla="*/ 119 h 290"/>
                <a:gd name="T18" fmla="*/ 127 w 211"/>
                <a:gd name="T19" fmla="*/ 151 h 290"/>
                <a:gd name="T20" fmla="*/ 123 w 211"/>
                <a:gd name="T21" fmla="*/ 165 h 290"/>
                <a:gd name="T22" fmla="*/ 181 w 211"/>
                <a:gd name="T23" fmla="*/ 187 h 290"/>
                <a:gd name="T24" fmla="*/ 210 w 211"/>
                <a:gd name="T25" fmla="*/ 231 h 290"/>
                <a:gd name="T26" fmla="*/ 202 w 211"/>
                <a:gd name="T27" fmla="*/ 281 h 290"/>
                <a:gd name="T28" fmla="*/ 185 w 211"/>
                <a:gd name="T29" fmla="*/ 289 h 290"/>
                <a:gd name="T30" fmla="*/ 162 w 211"/>
                <a:gd name="T31" fmla="*/ 267 h 290"/>
                <a:gd name="T32" fmla="*/ 158 w 211"/>
                <a:gd name="T33" fmla="*/ 217 h 290"/>
                <a:gd name="T34" fmla="*/ 134 w 211"/>
                <a:gd name="T35" fmla="*/ 188 h 290"/>
                <a:gd name="T36" fmla="*/ 117 w 211"/>
                <a:gd name="T37" fmla="*/ 183 h 290"/>
                <a:gd name="T38" fmla="*/ 105 w 211"/>
                <a:gd name="T39" fmla="*/ 191 h 290"/>
                <a:gd name="T40" fmla="*/ 95 w 211"/>
                <a:gd name="T41" fmla="*/ 225 h 290"/>
                <a:gd name="T42" fmla="*/ 92 w 211"/>
                <a:gd name="T43" fmla="*/ 251 h 290"/>
                <a:gd name="T44" fmla="*/ 58 w 211"/>
                <a:gd name="T45" fmla="*/ 261 h 290"/>
                <a:gd name="T46" fmla="*/ 37 w 211"/>
                <a:gd name="T47" fmla="*/ 235 h 290"/>
                <a:gd name="T48" fmla="*/ 39 w 211"/>
                <a:gd name="T49" fmla="*/ 205 h 290"/>
                <a:gd name="T50" fmla="*/ 45 w 211"/>
                <a:gd name="T51" fmla="*/ 177 h 290"/>
                <a:gd name="T52" fmla="*/ 18 w 211"/>
                <a:gd name="T53" fmla="*/ 155 h 290"/>
                <a:gd name="T54" fmla="*/ 0 w 211"/>
                <a:gd name="T55" fmla="*/ 147 h 290"/>
                <a:gd name="T56" fmla="*/ 4 w 211"/>
                <a:gd name="T57" fmla="*/ 137 h 2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211" h="290">
                  <a:moveTo>
                    <a:pt x="4" y="137"/>
                  </a:moveTo>
                  <a:cubicBezTo>
                    <a:pt x="4" y="137"/>
                    <a:pt x="32" y="120"/>
                    <a:pt x="41" y="117"/>
                  </a:cubicBezTo>
                  <a:cubicBezTo>
                    <a:pt x="50" y="115"/>
                    <a:pt x="69" y="103"/>
                    <a:pt x="75" y="83"/>
                  </a:cubicBezTo>
                  <a:cubicBezTo>
                    <a:pt x="81" y="63"/>
                    <a:pt x="82" y="39"/>
                    <a:pt x="82" y="29"/>
                  </a:cubicBezTo>
                  <a:cubicBezTo>
                    <a:pt x="82" y="19"/>
                    <a:pt x="76" y="0"/>
                    <a:pt x="94" y="6"/>
                  </a:cubicBezTo>
                  <a:cubicBezTo>
                    <a:pt x="112" y="12"/>
                    <a:pt x="124" y="15"/>
                    <a:pt x="126" y="27"/>
                  </a:cubicBezTo>
                  <a:cubicBezTo>
                    <a:pt x="129" y="39"/>
                    <a:pt x="131" y="55"/>
                    <a:pt x="145" y="65"/>
                  </a:cubicBezTo>
                  <a:cubicBezTo>
                    <a:pt x="159" y="75"/>
                    <a:pt x="168" y="83"/>
                    <a:pt x="170" y="93"/>
                  </a:cubicBezTo>
                  <a:cubicBezTo>
                    <a:pt x="172" y="103"/>
                    <a:pt x="172" y="114"/>
                    <a:pt x="164" y="119"/>
                  </a:cubicBezTo>
                  <a:cubicBezTo>
                    <a:pt x="157" y="123"/>
                    <a:pt x="132" y="147"/>
                    <a:pt x="127" y="151"/>
                  </a:cubicBezTo>
                  <a:cubicBezTo>
                    <a:pt x="121" y="154"/>
                    <a:pt x="119" y="165"/>
                    <a:pt x="123" y="165"/>
                  </a:cubicBezTo>
                  <a:cubicBezTo>
                    <a:pt x="127" y="165"/>
                    <a:pt x="163" y="172"/>
                    <a:pt x="181" y="187"/>
                  </a:cubicBezTo>
                  <a:cubicBezTo>
                    <a:pt x="198" y="202"/>
                    <a:pt x="209" y="216"/>
                    <a:pt x="210" y="231"/>
                  </a:cubicBezTo>
                  <a:cubicBezTo>
                    <a:pt x="211" y="247"/>
                    <a:pt x="210" y="273"/>
                    <a:pt x="202" y="281"/>
                  </a:cubicBezTo>
                  <a:cubicBezTo>
                    <a:pt x="194" y="288"/>
                    <a:pt x="192" y="290"/>
                    <a:pt x="185" y="289"/>
                  </a:cubicBezTo>
                  <a:cubicBezTo>
                    <a:pt x="178" y="288"/>
                    <a:pt x="164" y="279"/>
                    <a:pt x="162" y="267"/>
                  </a:cubicBezTo>
                  <a:cubicBezTo>
                    <a:pt x="160" y="255"/>
                    <a:pt x="164" y="239"/>
                    <a:pt x="158" y="217"/>
                  </a:cubicBezTo>
                  <a:cubicBezTo>
                    <a:pt x="153" y="196"/>
                    <a:pt x="139" y="191"/>
                    <a:pt x="134" y="188"/>
                  </a:cubicBezTo>
                  <a:cubicBezTo>
                    <a:pt x="129" y="186"/>
                    <a:pt x="117" y="183"/>
                    <a:pt x="117" y="183"/>
                  </a:cubicBezTo>
                  <a:cubicBezTo>
                    <a:pt x="117" y="183"/>
                    <a:pt x="108" y="182"/>
                    <a:pt x="105" y="191"/>
                  </a:cubicBezTo>
                  <a:cubicBezTo>
                    <a:pt x="102" y="199"/>
                    <a:pt x="96" y="215"/>
                    <a:pt x="95" y="225"/>
                  </a:cubicBezTo>
                  <a:cubicBezTo>
                    <a:pt x="94" y="235"/>
                    <a:pt x="96" y="247"/>
                    <a:pt x="92" y="251"/>
                  </a:cubicBezTo>
                  <a:cubicBezTo>
                    <a:pt x="87" y="256"/>
                    <a:pt x="77" y="267"/>
                    <a:pt x="58" y="261"/>
                  </a:cubicBezTo>
                  <a:cubicBezTo>
                    <a:pt x="39" y="255"/>
                    <a:pt x="41" y="238"/>
                    <a:pt x="37" y="235"/>
                  </a:cubicBezTo>
                  <a:cubicBezTo>
                    <a:pt x="33" y="231"/>
                    <a:pt x="39" y="211"/>
                    <a:pt x="39" y="205"/>
                  </a:cubicBezTo>
                  <a:cubicBezTo>
                    <a:pt x="39" y="200"/>
                    <a:pt x="47" y="182"/>
                    <a:pt x="45" y="177"/>
                  </a:cubicBezTo>
                  <a:cubicBezTo>
                    <a:pt x="44" y="173"/>
                    <a:pt x="25" y="153"/>
                    <a:pt x="18" y="155"/>
                  </a:cubicBezTo>
                  <a:cubicBezTo>
                    <a:pt x="11" y="157"/>
                    <a:pt x="1" y="155"/>
                    <a:pt x="0" y="147"/>
                  </a:cubicBezTo>
                  <a:cubicBezTo>
                    <a:pt x="0" y="140"/>
                    <a:pt x="4" y="137"/>
                    <a:pt x="4" y="13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1049696" name="îṧļíďe"/>
            <p:cNvSpPr/>
            <p:nvPr/>
          </p:nvSpPr>
          <p:spPr bwMode="auto">
            <a:xfrm>
              <a:off x="8326691" y="4823415"/>
              <a:ext cx="746125" cy="695325"/>
            </a:xfrm>
            <a:custGeom>
              <a:avLst/>
              <a:gdLst>
                <a:gd name="T0" fmla="*/ 159 w 405"/>
                <a:gd name="T1" fmla="*/ 229 h 377"/>
                <a:gd name="T2" fmla="*/ 218 w 405"/>
                <a:gd name="T3" fmla="*/ 183 h 377"/>
                <a:gd name="T4" fmla="*/ 234 w 405"/>
                <a:gd name="T5" fmla="*/ 247 h 377"/>
                <a:gd name="T6" fmla="*/ 260 w 405"/>
                <a:gd name="T7" fmla="*/ 269 h 377"/>
                <a:gd name="T8" fmla="*/ 209 w 405"/>
                <a:gd name="T9" fmla="*/ 247 h 377"/>
                <a:gd name="T10" fmla="*/ 108 w 405"/>
                <a:gd name="T11" fmla="*/ 215 h 377"/>
                <a:gd name="T12" fmla="*/ 73 w 405"/>
                <a:gd name="T13" fmla="*/ 283 h 377"/>
                <a:gd name="T14" fmla="*/ 43 w 405"/>
                <a:gd name="T15" fmla="*/ 350 h 377"/>
                <a:gd name="T16" fmla="*/ 91 w 405"/>
                <a:gd name="T17" fmla="*/ 347 h 377"/>
                <a:gd name="T18" fmla="*/ 118 w 405"/>
                <a:gd name="T19" fmla="*/ 372 h 377"/>
                <a:gd name="T20" fmla="*/ 136 w 405"/>
                <a:gd name="T21" fmla="*/ 328 h 377"/>
                <a:gd name="T22" fmla="*/ 147 w 405"/>
                <a:gd name="T23" fmla="*/ 265 h 377"/>
                <a:gd name="T24" fmla="*/ 242 w 405"/>
                <a:gd name="T25" fmla="*/ 306 h 377"/>
                <a:gd name="T26" fmla="*/ 186 w 405"/>
                <a:gd name="T27" fmla="*/ 337 h 377"/>
                <a:gd name="T28" fmla="*/ 172 w 405"/>
                <a:gd name="T29" fmla="*/ 367 h 377"/>
                <a:gd name="T30" fmla="*/ 272 w 405"/>
                <a:gd name="T31" fmla="*/ 328 h 377"/>
                <a:gd name="T32" fmla="*/ 352 w 405"/>
                <a:gd name="T33" fmla="*/ 373 h 377"/>
                <a:gd name="T34" fmla="*/ 389 w 405"/>
                <a:gd name="T35" fmla="*/ 333 h 377"/>
                <a:gd name="T36" fmla="*/ 292 w 405"/>
                <a:gd name="T37" fmla="*/ 299 h 377"/>
                <a:gd name="T38" fmla="*/ 291 w 405"/>
                <a:gd name="T39" fmla="*/ 217 h 377"/>
                <a:gd name="T40" fmla="*/ 261 w 405"/>
                <a:gd name="T41" fmla="*/ 173 h 377"/>
                <a:gd name="T42" fmla="*/ 297 w 405"/>
                <a:gd name="T43" fmla="*/ 107 h 377"/>
                <a:gd name="T44" fmla="*/ 283 w 405"/>
                <a:gd name="T45" fmla="*/ 43 h 377"/>
                <a:gd name="T46" fmla="*/ 241 w 405"/>
                <a:gd name="T47" fmla="*/ 1 h 377"/>
                <a:gd name="T48" fmla="*/ 241 w 405"/>
                <a:gd name="T49" fmla="*/ 35 h 377"/>
                <a:gd name="T50" fmla="*/ 245 w 405"/>
                <a:gd name="T51" fmla="*/ 97 h 377"/>
                <a:gd name="T52" fmla="*/ 194 w 405"/>
                <a:gd name="T53" fmla="*/ 129 h 377"/>
                <a:gd name="T54" fmla="*/ 161 w 405"/>
                <a:gd name="T55" fmla="*/ 121 h 377"/>
                <a:gd name="T56" fmla="*/ 150 w 405"/>
                <a:gd name="T57" fmla="*/ 33 h 377"/>
                <a:gd name="T58" fmla="*/ 122 w 405"/>
                <a:gd name="T59" fmla="*/ 56 h 377"/>
                <a:gd name="T60" fmla="*/ 121 w 405"/>
                <a:gd name="T61" fmla="*/ 133 h 377"/>
                <a:gd name="T62" fmla="*/ 30 w 405"/>
                <a:gd name="T63" fmla="*/ 180 h 377"/>
                <a:gd name="T64" fmla="*/ 22 w 405"/>
                <a:gd name="T65" fmla="*/ 219 h 3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05" h="377">
                  <a:moveTo>
                    <a:pt x="174" y="243"/>
                  </a:moveTo>
                  <a:cubicBezTo>
                    <a:pt x="172" y="243"/>
                    <a:pt x="154" y="236"/>
                    <a:pt x="159" y="229"/>
                  </a:cubicBezTo>
                  <a:cubicBezTo>
                    <a:pt x="163" y="221"/>
                    <a:pt x="190" y="187"/>
                    <a:pt x="199" y="183"/>
                  </a:cubicBezTo>
                  <a:cubicBezTo>
                    <a:pt x="208" y="178"/>
                    <a:pt x="215" y="172"/>
                    <a:pt x="218" y="183"/>
                  </a:cubicBezTo>
                  <a:cubicBezTo>
                    <a:pt x="221" y="193"/>
                    <a:pt x="215" y="230"/>
                    <a:pt x="220" y="236"/>
                  </a:cubicBezTo>
                  <a:cubicBezTo>
                    <a:pt x="225" y="241"/>
                    <a:pt x="227" y="248"/>
                    <a:pt x="234" y="247"/>
                  </a:cubicBezTo>
                  <a:cubicBezTo>
                    <a:pt x="241" y="246"/>
                    <a:pt x="256" y="238"/>
                    <a:pt x="260" y="245"/>
                  </a:cubicBezTo>
                  <a:cubicBezTo>
                    <a:pt x="263" y="252"/>
                    <a:pt x="268" y="259"/>
                    <a:pt x="260" y="269"/>
                  </a:cubicBezTo>
                  <a:cubicBezTo>
                    <a:pt x="253" y="278"/>
                    <a:pt x="247" y="281"/>
                    <a:pt x="239" y="274"/>
                  </a:cubicBezTo>
                  <a:cubicBezTo>
                    <a:pt x="230" y="267"/>
                    <a:pt x="221" y="250"/>
                    <a:pt x="209" y="247"/>
                  </a:cubicBezTo>
                  <a:cubicBezTo>
                    <a:pt x="198" y="245"/>
                    <a:pt x="176" y="243"/>
                    <a:pt x="174" y="243"/>
                  </a:cubicBezTo>
                  <a:close/>
                  <a:moveTo>
                    <a:pt x="108" y="215"/>
                  </a:moveTo>
                  <a:cubicBezTo>
                    <a:pt x="109" y="216"/>
                    <a:pt x="102" y="238"/>
                    <a:pt x="93" y="254"/>
                  </a:cubicBezTo>
                  <a:cubicBezTo>
                    <a:pt x="84" y="271"/>
                    <a:pt x="81" y="271"/>
                    <a:pt x="73" y="283"/>
                  </a:cubicBezTo>
                  <a:cubicBezTo>
                    <a:pt x="65" y="295"/>
                    <a:pt x="45" y="309"/>
                    <a:pt x="44" y="316"/>
                  </a:cubicBezTo>
                  <a:cubicBezTo>
                    <a:pt x="43" y="323"/>
                    <a:pt x="41" y="343"/>
                    <a:pt x="43" y="350"/>
                  </a:cubicBezTo>
                  <a:cubicBezTo>
                    <a:pt x="44" y="357"/>
                    <a:pt x="61" y="358"/>
                    <a:pt x="69" y="357"/>
                  </a:cubicBezTo>
                  <a:cubicBezTo>
                    <a:pt x="77" y="355"/>
                    <a:pt x="84" y="347"/>
                    <a:pt x="91" y="347"/>
                  </a:cubicBezTo>
                  <a:cubicBezTo>
                    <a:pt x="98" y="347"/>
                    <a:pt x="96" y="355"/>
                    <a:pt x="97" y="361"/>
                  </a:cubicBezTo>
                  <a:cubicBezTo>
                    <a:pt x="97" y="366"/>
                    <a:pt x="101" y="368"/>
                    <a:pt x="118" y="372"/>
                  </a:cubicBezTo>
                  <a:cubicBezTo>
                    <a:pt x="136" y="377"/>
                    <a:pt x="140" y="364"/>
                    <a:pt x="144" y="352"/>
                  </a:cubicBezTo>
                  <a:cubicBezTo>
                    <a:pt x="148" y="339"/>
                    <a:pt x="140" y="339"/>
                    <a:pt x="136" y="328"/>
                  </a:cubicBezTo>
                  <a:cubicBezTo>
                    <a:pt x="133" y="316"/>
                    <a:pt x="136" y="302"/>
                    <a:pt x="136" y="292"/>
                  </a:cubicBezTo>
                  <a:cubicBezTo>
                    <a:pt x="135" y="281"/>
                    <a:pt x="141" y="272"/>
                    <a:pt x="147" y="265"/>
                  </a:cubicBezTo>
                  <a:cubicBezTo>
                    <a:pt x="153" y="258"/>
                    <a:pt x="160" y="248"/>
                    <a:pt x="186" y="258"/>
                  </a:cubicBezTo>
                  <a:cubicBezTo>
                    <a:pt x="212" y="267"/>
                    <a:pt x="239" y="298"/>
                    <a:pt x="242" y="306"/>
                  </a:cubicBezTo>
                  <a:cubicBezTo>
                    <a:pt x="245" y="313"/>
                    <a:pt x="232" y="318"/>
                    <a:pt x="227" y="325"/>
                  </a:cubicBezTo>
                  <a:cubicBezTo>
                    <a:pt x="222" y="332"/>
                    <a:pt x="196" y="338"/>
                    <a:pt x="186" y="337"/>
                  </a:cubicBezTo>
                  <a:cubicBezTo>
                    <a:pt x="175" y="336"/>
                    <a:pt x="172" y="344"/>
                    <a:pt x="167" y="348"/>
                  </a:cubicBezTo>
                  <a:cubicBezTo>
                    <a:pt x="162" y="351"/>
                    <a:pt x="167" y="361"/>
                    <a:pt x="172" y="367"/>
                  </a:cubicBezTo>
                  <a:cubicBezTo>
                    <a:pt x="177" y="373"/>
                    <a:pt x="211" y="373"/>
                    <a:pt x="224" y="364"/>
                  </a:cubicBezTo>
                  <a:cubicBezTo>
                    <a:pt x="237" y="354"/>
                    <a:pt x="272" y="328"/>
                    <a:pt x="272" y="328"/>
                  </a:cubicBezTo>
                  <a:cubicBezTo>
                    <a:pt x="272" y="328"/>
                    <a:pt x="285" y="340"/>
                    <a:pt x="293" y="348"/>
                  </a:cubicBezTo>
                  <a:cubicBezTo>
                    <a:pt x="301" y="357"/>
                    <a:pt x="319" y="369"/>
                    <a:pt x="352" y="373"/>
                  </a:cubicBezTo>
                  <a:cubicBezTo>
                    <a:pt x="385" y="377"/>
                    <a:pt x="398" y="356"/>
                    <a:pt x="401" y="352"/>
                  </a:cubicBezTo>
                  <a:cubicBezTo>
                    <a:pt x="405" y="348"/>
                    <a:pt x="399" y="342"/>
                    <a:pt x="389" y="333"/>
                  </a:cubicBezTo>
                  <a:cubicBezTo>
                    <a:pt x="379" y="323"/>
                    <a:pt x="353" y="312"/>
                    <a:pt x="337" y="313"/>
                  </a:cubicBezTo>
                  <a:cubicBezTo>
                    <a:pt x="321" y="315"/>
                    <a:pt x="303" y="305"/>
                    <a:pt x="292" y="299"/>
                  </a:cubicBezTo>
                  <a:cubicBezTo>
                    <a:pt x="282" y="293"/>
                    <a:pt x="287" y="293"/>
                    <a:pt x="291" y="277"/>
                  </a:cubicBezTo>
                  <a:cubicBezTo>
                    <a:pt x="295" y="261"/>
                    <a:pt x="294" y="231"/>
                    <a:pt x="291" y="217"/>
                  </a:cubicBezTo>
                  <a:cubicBezTo>
                    <a:pt x="287" y="204"/>
                    <a:pt x="269" y="200"/>
                    <a:pt x="264" y="192"/>
                  </a:cubicBezTo>
                  <a:cubicBezTo>
                    <a:pt x="258" y="184"/>
                    <a:pt x="251" y="180"/>
                    <a:pt x="261" y="173"/>
                  </a:cubicBezTo>
                  <a:cubicBezTo>
                    <a:pt x="272" y="166"/>
                    <a:pt x="282" y="146"/>
                    <a:pt x="290" y="135"/>
                  </a:cubicBezTo>
                  <a:cubicBezTo>
                    <a:pt x="298" y="123"/>
                    <a:pt x="305" y="117"/>
                    <a:pt x="297" y="107"/>
                  </a:cubicBezTo>
                  <a:cubicBezTo>
                    <a:pt x="289" y="97"/>
                    <a:pt x="283" y="94"/>
                    <a:pt x="281" y="86"/>
                  </a:cubicBezTo>
                  <a:cubicBezTo>
                    <a:pt x="280" y="79"/>
                    <a:pt x="283" y="57"/>
                    <a:pt x="283" y="43"/>
                  </a:cubicBezTo>
                  <a:cubicBezTo>
                    <a:pt x="283" y="29"/>
                    <a:pt x="285" y="30"/>
                    <a:pt x="272" y="15"/>
                  </a:cubicBezTo>
                  <a:cubicBezTo>
                    <a:pt x="260" y="0"/>
                    <a:pt x="248" y="2"/>
                    <a:pt x="241" y="1"/>
                  </a:cubicBezTo>
                  <a:cubicBezTo>
                    <a:pt x="235" y="0"/>
                    <a:pt x="231" y="21"/>
                    <a:pt x="233" y="26"/>
                  </a:cubicBezTo>
                  <a:cubicBezTo>
                    <a:pt x="235" y="31"/>
                    <a:pt x="239" y="31"/>
                    <a:pt x="241" y="35"/>
                  </a:cubicBezTo>
                  <a:cubicBezTo>
                    <a:pt x="242" y="39"/>
                    <a:pt x="239" y="36"/>
                    <a:pt x="243" y="53"/>
                  </a:cubicBezTo>
                  <a:cubicBezTo>
                    <a:pt x="247" y="70"/>
                    <a:pt x="245" y="91"/>
                    <a:pt x="245" y="97"/>
                  </a:cubicBezTo>
                  <a:cubicBezTo>
                    <a:pt x="245" y="103"/>
                    <a:pt x="240" y="107"/>
                    <a:pt x="234" y="114"/>
                  </a:cubicBezTo>
                  <a:cubicBezTo>
                    <a:pt x="228" y="121"/>
                    <a:pt x="206" y="123"/>
                    <a:pt x="194" y="129"/>
                  </a:cubicBezTo>
                  <a:cubicBezTo>
                    <a:pt x="181" y="135"/>
                    <a:pt x="179" y="146"/>
                    <a:pt x="170" y="149"/>
                  </a:cubicBezTo>
                  <a:cubicBezTo>
                    <a:pt x="161" y="151"/>
                    <a:pt x="157" y="138"/>
                    <a:pt x="161" y="121"/>
                  </a:cubicBezTo>
                  <a:cubicBezTo>
                    <a:pt x="164" y="109"/>
                    <a:pt x="168" y="79"/>
                    <a:pt x="168" y="64"/>
                  </a:cubicBezTo>
                  <a:cubicBezTo>
                    <a:pt x="167" y="54"/>
                    <a:pt x="158" y="40"/>
                    <a:pt x="150" y="33"/>
                  </a:cubicBezTo>
                  <a:cubicBezTo>
                    <a:pt x="142" y="25"/>
                    <a:pt x="136" y="30"/>
                    <a:pt x="131" y="32"/>
                  </a:cubicBezTo>
                  <a:cubicBezTo>
                    <a:pt x="126" y="35"/>
                    <a:pt x="120" y="43"/>
                    <a:pt x="122" y="56"/>
                  </a:cubicBezTo>
                  <a:cubicBezTo>
                    <a:pt x="124" y="70"/>
                    <a:pt x="127" y="72"/>
                    <a:pt x="127" y="82"/>
                  </a:cubicBezTo>
                  <a:cubicBezTo>
                    <a:pt x="128" y="92"/>
                    <a:pt x="124" y="113"/>
                    <a:pt x="121" y="133"/>
                  </a:cubicBezTo>
                  <a:cubicBezTo>
                    <a:pt x="117" y="152"/>
                    <a:pt x="104" y="151"/>
                    <a:pt x="90" y="158"/>
                  </a:cubicBezTo>
                  <a:cubicBezTo>
                    <a:pt x="76" y="165"/>
                    <a:pt x="48" y="175"/>
                    <a:pt x="30" y="180"/>
                  </a:cubicBezTo>
                  <a:cubicBezTo>
                    <a:pt x="13" y="184"/>
                    <a:pt x="0" y="191"/>
                    <a:pt x="0" y="200"/>
                  </a:cubicBezTo>
                  <a:cubicBezTo>
                    <a:pt x="0" y="209"/>
                    <a:pt x="9" y="210"/>
                    <a:pt x="22" y="219"/>
                  </a:cubicBezTo>
                  <a:cubicBezTo>
                    <a:pt x="35" y="228"/>
                    <a:pt x="107" y="215"/>
                    <a:pt x="108" y="21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1049697" name="íŝļïḓè"/>
            <p:cNvSpPr/>
            <p:nvPr/>
          </p:nvSpPr>
          <p:spPr bwMode="auto">
            <a:xfrm>
              <a:off x="6220078" y="4756740"/>
              <a:ext cx="627063" cy="793750"/>
            </a:xfrm>
            <a:custGeom>
              <a:avLst/>
              <a:gdLst>
                <a:gd name="T0" fmla="*/ 194 w 340"/>
                <a:gd name="T1" fmla="*/ 225 h 430"/>
                <a:gd name="T2" fmla="*/ 189 w 340"/>
                <a:gd name="T3" fmla="*/ 204 h 430"/>
                <a:gd name="T4" fmla="*/ 222 w 340"/>
                <a:gd name="T5" fmla="*/ 196 h 430"/>
                <a:gd name="T6" fmla="*/ 234 w 340"/>
                <a:gd name="T7" fmla="*/ 215 h 430"/>
                <a:gd name="T8" fmla="*/ 217 w 340"/>
                <a:gd name="T9" fmla="*/ 231 h 430"/>
                <a:gd name="T10" fmla="*/ 194 w 340"/>
                <a:gd name="T11" fmla="*/ 225 h 430"/>
                <a:gd name="T12" fmla="*/ 33 w 340"/>
                <a:gd name="T13" fmla="*/ 228 h 430"/>
                <a:gd name="T14" fmla="*/ 67 w 340"/>
                <a:gd name="T15" fmla="*/ 224 h 430"/>
                <a:gd name="T16" fmla="*/ 105 w 340"/>
                <a:gd name="T17" fmla="*/ 194 h 430"/>
                <a:gd name="T18" fmla="*/ 164 w 340"/>
                <a:gd name="T19" fmla="*/ 151 h 430"/>
                <a:gd name="T20" fmla="*/ 170 w 340"/>
                <a:gd name="T21" fmla="*/ 163 h 430"/>
                <a:gd name="T22" fmla="*/ 144 w 340"/>
                <a:gd name="T23" fmla="*/ 203 h 430"/>
                <a:gd name="T24" fmla="*/ 142 w 340"/>
                <a:gd name="T25" fmla="*/ 250 h 430"/>
                <a:gd name="T26" fmla="*/ 166 w 340"/>
                <a:gd name="T27" fmla="*/ 278 h 430"/>
                <a:gd name="T28" fmla="*/ 170 w 340"/>
                <a:gd name="T29" fmla="*/ 300 h 430"/>
                <a:gd name="T30" fmla="*/ 132 w 340"/>
                <a:gd name="T31" fmla="*/ 347 h 430"/>
                <a:gd name="T32" fmla="*/ 133 w 340"/>
                <a:gd name="T33" fmla="*/ 397 h 430"/>
                <a:gd name="T34" fmla="*/ 181 w 340"/>
                <a:gd name="T35" fmla="*/ 410 h 430"/>
                <a:gd name="T36" fmla="*/ 184 w 340"/>
                <a:gd name="T37" fmla="*/ 375 h 430"/>
                <a:gd name="T38" fmla="*/ 198 w 340"/>
                <a:gd name="T39" fmla="*/ 374 h 430"/>
                <a:gd name="T40" fmla="*/ 215 w 340"/>
                <a:gd name="T41" fmla="*/ 416 h 430"/>
                <a:gd name="T42" fmla="*/ 240 w 340"/>
                <a:gd name="T43" fmla="*/ 406 h 430"/>
                <a:gd name="T44" fmla="*/ 230 w 340"/>
                <a:gd name="T45" fmla="*/ 341 h 430"/>
                <a:gd name="T46" fmla="*/ 250 w 340"/>
                <a:gd name="T47" fmla="*/ 322 h 430"/>
                <a:gd name="T48" fmla="*/ 268 w 340"/>
                <a:gd name="T49" fmla="*/ 373 h 430"/>
                <a:gd name="T50" fmla="*/ 316 w 340"/>
                <a:gd name="T51" fmla="*/ 385 h 430"/>
                <a:gd name="T52" fmla="*/ 295 w 340"/>
                <a:gd name="T53" fmla="*/ 310 h 430"/>
                <a:gd name="T54" fmla="*/ 263 w 340"/>
                <a:gd name="T55" fmla="*/ 288 h 430"/>
                <a:gd name="T56" fmla="*/ 264 w 340"/>
                <a:gd name="T57" fmla="*/ 259 h 430"/>
                <a:gd name="T58" fmla="*/ 265 w 340"/>
                <a:gd name="T59" fmla="*/ 233 h 430"/>
                <a:gd name="T60" fmla="*/ 300 w 340"/>
                <a:gd name="T61" fmla="*/ 199 h 430"/>
                <a:gd name="T62" fmla="*/ 275 w 340"/>
                <a:gd name="T63" fmla="*/ 161 h 430"/>
                <a:gd name="T64" fmla="*/ 217 w 340"/>
                <a:gd name="T65" fmla="*/ 159 h 430"/>
                <a:gd name="T66" fmla="*/ 270 w 340"/>
                <a:gd name="T67" fmla="*/ 132 h 430"/>
                <a:gd name="T68" fmla="*/ 316 w 340"/>
                <a:gd name="T69" fmla="*/ 126 h 430"/>
                <a:gd name="T70" fmla="*/ 332 w 340"/>
                <a:gd name="T71" fmla="*/ 110 h 430"/>
                <a:gd name="T72" fmla="*/ 321 w 340"/>
                <a:gd name="T73" fmla="*/ 75 h 430"/>
                <a:gd name="T74" fmla="*/ 256 w 340"/>
                <a:gd name="T75" fmla="*/ 74 h 430"/>
                <a:gd name="T76" fmla="*/ 240 w 340"/>
                <a:gd name="T77" fmla="*/ 51 h 430"/>
                <a:gd name="T78" fmla="*/ 212 w 340"/>
                <a:gd name="T79" fmla="*/ 9 h 430"/>
                <a:gd name="T80" fmla="*/ 190 w 340"/>
                <a:gd name="T81" fmla="*/ 6 h 430"/>
                <a:gd name="T82" fmla="*/ 174 w 340"/>
                <a:gd name="T83" fmla="*/ 34 h 430"/>
                <a:gd name="T84" fmla="*/ 183 w 340"/>
                <a:gd name="T85" fmla="*/ 70 h 430"/>
                <a:gd name="T86" fmla="*/ 172 w 340"/>
                <a:gd name="T87" fmla="*/ 98 h 430"/>
                <a:gd name="T88" fmla="*/ 65 w 340"/>
                <a:gd name="T89" fmla="*/ 161 h 430"/>
                <a:gd name="T90" fmla="*/ 21 w 340"/>
                <a:gd name="T91" fmla="*/ 171 h 430"/>
                <a:gd name="T92" fmla="*/ 10 w 340"/>
                <a:gd name="T93" fmla="*/ 198 h 430"/>
                <a:gd name="T94" fmla="*/ 33 w 340"/>
                <a:gd name="T95" fmla="*/ 228 h 4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340" h="430">
                  <a:moveTo>
                    <a:pt x="194" y="225"/>
                  </a:moveTo>
                  <a:cubicBezTo>
                    <a:pt x="194" y="225"/>
                    <a:pt x="178" y="212"/>
                    <a:pt x="189" y="204"/>
                  </a:cubicBezTo>
                  <a:cubicBezTo>
                    <a:pt x="201" y="196"/>
                    <a:pt x="211" y="188"/>
                    <a:pt x="222" y="196"/>
                  </a:cubicBezTo>
                  <a:cubicBezTo>
                    <a:pt x="234" y="203"/>
                    <a:pt x="238" y="207"/>
                    <a:pt x="234" y="215"/>
                  </a:cubicBezTo>
                  <a:cubicBezTo>
                    <a:pt x="230" y="222"/>
                    <a:pt x="228" y="229"/>
                    <a:pt x="217" y="231"/>
                  </a:cubicBezTo>
                  <a:cubicBezTo>
                    <a:pt x="204" y="230"/>
                    <a:pt x="194" y="225"/>
                    <a:pt x="194" y="225"/>
                  </a:cubicBezTo>
                  <a:close/>
                  <a:moveTo>
                    <a:pt x="33" y="228"/>
                  </a:moveTo>
                  <a:cubicBezTo>
                    <a:pt x="40" y="229"/>
                    <a:pt x="52" y="231"/>
                    <a:pt x="67" y="224"/>
                  </a:cubicBezTo>
                  <a:cubicBezTo>
                    <a:pt x="82" y="216"/>
                    <a:pt x="91" y="208"/>
                    <a:pt x="105" y="194"/>
                  </a:cubicBezTo>
                  <a:cubicBezTo>
                    <a:pt x="119" y="180"/>
                    <a:pt x="153" y="155"/>
                    <a:pt x="164" y="151"/>
                  </a:cubicBezTo>
                  <a:cubicBezTo>
                    <a:pt x="176" y="146"/>
                    <a:pt x="176" y="155"/>
                    <a:pt x="170" y="163"/>
                  </a:cubicBezTo>
                  <a:cubicBezTo>
                    <a:pt x="164" y="171"/>
                    <a:pt x="150" y="188"/>
                    <a:pt x="144" y="203"/>
                  </a:cubicBezTo>
                  <a:cubicBezTo>
                    <a:pt x="139" y="218"/>
                    <a:pt x="134" y="224"/>
                    <a:pt x="142" y="250"/>
                  </a:cubicBezTo>
                  <a:cubicBezTo>
                    <a:pt x="149" y="275"/>
                    <a:pt x="160" y="275"/>
                    <a:pt x="166" y="278"/>
                  </a:cubicBezTo>
                  <a:cubicBezTo>
                    <a:pt x="172" y="281"/>
                    <a:pt x="176" y="301"/>
                    <a:pt x="170" y="300"/>
                  </a:cubicBezTo>
                  <a:cubicBezTo>
                    <a:pt x="164" y="299"/>
                    <a:pt x="136" y="327"/>
                    <a:pt x="132" y="347"/>
                  </a:cubicBezTo>
                  <a:cubicBezTo>
                    <a:pt x="127" y="366"/>
                    <a:pt x="123" y="375"/>
                    <a:pt x="133" y="397"/>
                  </a:cubicBezTo>
                  <a:cubicBezTo>
                    <a:pt x="144" y="419"/>
                    <a:pt x="174" y="413"/>
                    <a:pt x="181" y="410"/>
                  </a:cubicBezTo>
                  <a:cubicBezTo>
                    <a:pt x="189" y="407"/>
                    <a:pt x="185" y="395"/>
                    <a:pt x="184" y="375"/>
                  </a:cubicBezTo>
                  <a:cubicBezTo>
                    <a:pt x="182" y="355"/>
                    <a:pt x="192" y="364"/>
                    <a:pt x="198" y="374"/>
                  </a:cubicBezTo>
                  <a:cubicBezTo>
                    <a:pt x="204" y="384"/>
                    <a:pt x="203" y="402"/>
                    <a:pt x="215" y="416"/>
                  </a:cubicBezTo>
                  <a:cubicBezTo>
                    <a:pt x="226" y="430"/>
                    <a:pt x="235" y="419"/>
                    <a:pt x="240" y="406"/>
                  </a:cubicBezTo>
                  <a:cubicBezTo>
                    <a:pt x="245" y="393"/>
                    <a:pt x="232" y="357"/>
                    <a:pt x="230" y="341"/>
                  </a:cubicBezTo>
                  <a:cubicBezTo>
                    <a:pt x="229" y="326"/>
                    <a:pt x="238" y="322"/>
                    <a:pt x="250" y="322"/>
                  </a:cubicBezTo>
                  <a:cubicBezTo>
                    <a:pt x="262" y="322"/>
                    <a:pt x="248" y="347"/>
                    <a:pt x="268" y="373"/>
                  </a:cubicBezTo>
                  <a:cubicBezTo>
                    <a:pt x="287" y="399"/>
                    <a:pt x="292" y="396"/>
                    <a:pt x="316" y="385"/>
                  </a:cubicBezTo>
                  <a:cubicBezTo>
                    <a:pt x="340" y="375"/>
                    <a:pt x="311" y="327"/>
                    <a:pt x="295" y="310"/>
                  </a:cubicBezTo>
                  <a:cubicBezTo>
                    <a:pt x="279" y="294"/>
                    <a:pt x="263" y="294"/>
                    <a:pt x="263" y="288"/>
                  </a:cubicBezTo>
                  <a:cubicBezTo>
                    <a:pt x="263" y="282"/>
                    <a:pt x="266" y="267"/>
                    <a:pt x="264" y="259"/>
                  </a:cubicBezTo>
                  <a:cubicBezTo>
                    <a:pt x="262" y="251"/>
                    <a:pt x="258" y="239"/>
                    <a:pt x="265" y="233"/>
                  </a:cubicBezTo>
                  <a:cubicBezTo>
                    <a:pt x="273" y="226"/>
                    <a:pt x="301" y="222"/>
                    <a:pt x="300" y="199"/>
                  </a:cubicBezTo>
                  <a:cubicBezTo>
                    <a:pt x="299" y="177"/>
                    <a:pt x="294" y="175"/>
                    <a:pt x="275" y="161"/>
                  </a:cubicBezTo>
                  <a:cubicBezTo>
                    <a:pt x="257" y="148"/>
                    <a:pt x="216" y="168"/>
                    <a:pt x="217" y="159"/>
                  </a:cubicBezTo>
                  <a:cubicBezTo>
                    <a:pt x="218" y="150"/>
                    <a:pt x="250" y="138"/>
                    <a:pt x="270" y="132"/>
                  </a:cubicBezTo>
                  <a:cubicBezTo>
                    <a:pt x="290" y="125"/>
                    <a:pt x="306" y="126"/>
                    <a:pt x="316" y="126"/>
                  </a:cubicBezTo>
                  <a:cubicBezTo>
                    <a:pt x="326" y="126"/>
                    <a:pt x="326" y="118"/>
                    <a:pt x="332" y="110"/>
                  </a:cubicBezTo>
                  <a:cubicBezTo>
                    <a:pt x="337" y="102"/>
                    <a:pt x="334" y="88"/>
                    <a:pt x="321" y="75"/>
                  </a:cubicBezTo>
                  <a:cubicBezTo>
                    <a:pt x="308" y="61"/>
                    <a:pt x="263" y="74"/>
                    <a:pt x="256" y="74"/>
                  </a:cubicBezTo>
                  <a:cubicBezTo>
                    <a:pt x="250" y="74"/>
                    <a:pt x="250" y="63"/>
                    <a:pt x="240" y="51"/>
                  </a:cubicBezTo>
                  <a:cubicBezTo>
                    <a:pt x="229" y="38"/>
                    <a:pt x="220" y="18"/>
                    <a:pt x="212" y="9"/>
                  </a:cubicBezTo>
                  <a:cubicBezTo>
                    <a:pt x="205" y="0"/>
                    <a:pt x="203" y="8"/>
                    <a:pt x="190" y="6"/>
                  </a:cubicBezTo>
                  <a:cubicBezTo>
                    <a:pt x="176" y="3"/>
                    <a:pt x="165" y="15"/>
                    <a:pt x="174" y="34"/>
                  </a:cubicBezTo>
                  <a:cubicBezTo>
                    <a:pt x="183" y="53"/>
                    <a:pt x="183" y="56"/>
                    <a:pt x="183" y="70"/>
                  </a:cubicBezTo>
                  <a:cubicBezTo>
                    <a:pt x="183" y="84"/>
                    <a:pt x="197" y="88"/>
                    <a:pt x="172" y="98"/>
                  </a:cubicBezTo>
                  <a:cubicBezTo>
                    <a:pt x="147" y="108"/>
                    <a:pt x="75" y="152"/>
                    <a:pt x="65" y="161"/>
                  </a:cubicBezTo>
                  <a:cubicBezTo>
                    <a:pt x="55" y="170"/>
                    <a:pt x="26" y="169"/>
                    <a:pt x="21" y="171"/>
                  </a:cubicBezTo>
                  <a:cubicBezTo>
                    <a:pt x="15" y="173"/>
                    <a:pt x="0" y="170"/>
                    <a:pt x="10" y="198"/>
                  </a:cubicBezTo>
                  <a:cubicBezTo>
                    <a:pt x="24" y="238"/>
                    <a:pt x="26" y="227"/>
                    <a:pt x="33" y="22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1049698" name="ïs1îḋè"/>
            <p:cNvSpPr/>
            <p:nvPr/>
          </p:nvSpPr>
          <p:spPr bwMode="auto">
            <a:xfrm>
              <a:off x="7263066" y="4780553"/>
              <a:ext cx="674688" cy="863600"/>
            </a:xfrm>
            <a:custGeom>
              <a:avLst/>
              <a:gdLst>
                <a:gd name="T0" fmla="*/ 258 w 366"/>
                <a:gd name="T1" fmla="*/ 136 h 468"/>
                <a:gd name="T2" fmla="*/ 270 w 366"/>
                <a:gd name="T3" fmla="*/ 115 h 468"/>
                <a:gd name="T4" fmla="*/ 287 w 366"/>
                <a:gd name="T5" fmla="*/ 153 h 468"/>
                <a:gd name="T6" fmla="*/ 200 w 366"/>
                <a:gd name="T7" fmla="*/ 103 h 468"/>
                <a:gd name="T8" fmla="*/ 227 w 366"/>
                <a:gd name="T9" fmla="*/ 122 h 468"/>
                <a:gd name="T10" fmla="*/ 225 w 366"/>
                <a:gd name="T11" fmla="*/ 167 h 468"/>
                <a:gd name="T12" fmla="*/ 215 w 366"/>
                <a:gd name="T13" fmla="*/ 201 h 468"/>
                <a:gd name="T14" fmla="*/ 197 w 366"/>
                <a:gd name="T15" fmla="*/ 167 h 468"/>
                <a:gd name="T16" fmla="*/ 204 w 366"/>
                <a:gd name="T17" fmla="*/ 133 h 468"/>
                <a:gd name="T18" fmla="*/ 200 w 366"/>
                <a:gd name="T19" fmla="*/ 103 h 468"/>
                <a:gd name="T20" fmla="*/ 271 w 366"/>
                <a:gd name="T21" fmla="*/ 175 h 468"/>
                <a:gd name="T22" fmla="*/ 286 w 366"/>
                <a:gd name="T23" fmla="*/ 190 h 468"/>
                <a:gd name="T24" fmla="*/ 146 w 366"/>
                <a:gd name="T25" fmla="*/ 109 h 468"/>
                <a:gd name="T26" fmla="*/ 87 w 366"/>
                <a:gd name="T27" fmla="*/ 173 h 468"/>
                <a:gd name="T28" fmla="*/ 7 w 366"/>
                <a:gd name="T29" fmla="*/ 236 h 468"/>
                <a:gd name="T30" fmla="*/ 111 w 366"/>
                <a:gd name="T31" fmla="*/ 239 h 468"/>
                <a:gd name="T32" fmla="*/ 108 w 366"/>
                <a:gd name="T33" fmla="*/ 279 h 468"/>
                <a:gd name="T34" fmla="*/ 110 w 366"/>
                <a:gd name="T35" fmla="*/ 332 h 468"/>
                <a:gd name="T36" fmla="*/ 139 w 366"/>
                <a:gd name="T37" fmla="*/ 316 h 468"/>
                <a:gd name="T38" fmla="*/ 159 w 366"/>
                <a:gd name="T39" fmla="*/ 326 h 468"/>
                <a:gd name="T40" fmla="*/ 189 w 366"/>
                <a:gd name="T41" fmla="*/ 330 h 468"/>
                <a:gd name="T42" fmla="*/ 217 w 366"/>
                <a:gd name="T43" fmla="*/ 281 h 468"/>
                <a:gd name="T44" fmla="*/ 284 w 366"/>
                <a:gd name="T45" fmla="*/ 237 h 468"/>
                <a:gd name="T46" fmla="*/ 287 w 366"/>
                <a:gd name="T47" fmla="*/ 396 h 468"/>
                <a:gd name="T48" fmla="*/ 284 w 366"/>
                <a:gd name="T49" fmla="*/ 461 h 468"/>
                <a:gd name="T50" fmla="*/ 319 w 366"/>
                <a:gd name="T51" fmla="*/ 393 h 468"/>
                <a:gd name="T52" fmla="*/ 327 w 366"/>
                <a:gd name="T53" fmla="*/ 227 h 468"/>
                <a:gd name="T54" fmla="*/ 363 w 366"/>
                <a:gd name="T55" fmla="*/ 202 h 468"/>
                <a:gd name="T56" fmla="*/ 324 w 366"/>
                <a:gd name="T57" fmla="*/ 162 h 468"/>
                <a:gd name="T58" fmla="*/ 330 w 366"/>
                <a:gd name="T59" fmla="*/ 85 h 468"/>
                <a:gd name="T60" fmla="*/ 324 w 366"/>
                <a:gd name="T61" fmla="*/ 23 h 468"/>
                <a:gd name="T62" fmla="*/ 275 w 366"/>
                <a:gd name="T63" fmla="*/ 29 h 468"/>
                <a:gd name="T64" fmla="*/ 286 w 366"/>
                <a:gd name="T65" fmla="*/ 69 h 468"/>
                <a:gd name="T66" fmla="*/ 253 w 366"/>
                <a:gd name="T67" fmla="*/ 65 h 468"/>
                <a:gd name="T68" fmla="*/ 212 w 366"/>
                <a:gd name="T69" fmla="*/ 52 h 468"/>
                <a:gd name="T70" fmla="*/ 115 w 366"/>
                <a:gd name="T71" fmla="*/ 68 h 468"/>
                <a:gd name="T72" fmla="*/ 30 w 366"/>
                <a:gd name="T73" fmla="*/ 163 h 468"/>
                <a:gd name="T74" fmla="*/ 96 w 366"/>
                <a:gd name="T75" fmla="*/ 132 h 4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366" h="468">
                  <a:moveTo>
                    <a:pt x="270" y="152"/>
                  </a:moveTo>
                  <a:cubicBezTo>
                    <a:pt x="270" y="152"/>
                    <a:pt x="273" y="146"/>
                    <a:pt x="258" y="136"/>
                  </a:cubicBezTo>
                  <a:cubicBezTo>
                    <a:pt x="242" y="126"/>
                    <a:pt x="247" y="126"/>
                    <a:pt x="254" y="122"/>
                  </a:cubicBezTo>
                  <a:cubicBezTo>
                    <a:pt x="261" y="119"/>
                    <a:pt x="262" y="114"/>
                    <a:pt x="270" y="115"/>
                  </a:cubicBezTo>
                  <a:cubicBezTo>
                    <a:pt x="279" y="116"/>
                    <a:pt x="285" y="112"/>
                    <a:pt x="287" y="120"/>
                  </a:cubicBezTo>
                  <a:cubicBezTo>
                    <a:pt x="289" y="128"/>
                    <a:pt x="291" y="151"/>
                    <a:pt x="287" y="153"/>
                  </a:cubicBezTo>
                  <a:cubicBezTo>
                    <a:pt x="284" y="155"/>
                    <a:pt x="271" y="153"/>
                    <a:pt x="270" y="152"/>
                  </a:cubicBezTo>
                  <a:close/>
                  <a:moveTo>
                    <a:pt x="200" y="103"/>
                  </a:moveTo>
                  <a:cubicBezTo>
                    <a:pt x="200" y="99"/>
                    <a:pt x="207" y="96"/>
                    <a:pt x="216" y="102"/>
                  </a:cubicBezTo>
                  <a:cubicBezTo>
                    <a:pt x="225" y="108"/>
                    <a:pt x="228" y="113"/>
                    <a:pt x="227" y="122"/>
                  </a:cubicBezTo>
                  <a:cubicBezTo>
                    <a:pt x="225" y="131"/>
                    <a:pt x="222" y="135"/>
                    <a:pt x="223" y="145"/>
                  </a:cubicBezTo>
                  <a:cubicBezTo>
                    <a:pt x="223" y="156"/>
                    <a:pt x="217" y="162"/>
                    <a:pt x="225" y="167"/>
                  </a:cubicBezTo>
                  <a:cubicBezTo>
                    <a:pt x="232" y="173"/>
                    <a:pt x="235" y="171"/>
                    <a:pt x="233" y="185"/>
                  </a:cubicBezTo>
                  <a:cubicBezTo>
                    <a:pt x="231" y="202"/>
                    <a:pt x="214" y="210"/>
                    <a:pt x="215" y="201"/>
                  </a:cubicBezTo>
                  <a:cubicBezTo>
                    <a:pt x="215" y="192"/>
                    <a:pt x="220" y="185"/>
                    <a:pt x="213" y="176"/>
                  </a:cubicBezTo>
                  <a:cubicBezTo>
                    <a:pt x="205" y="167"/>
                    <a:pt x="204" y="178"/>
                    <a:pt x="197" y="167"/>
                  </a:cubicBezTo>
                  <a:cubicBezTo>
                    <a:pt x="191" y="155"/>
                    <a:pt x="195" y="154"/>
                    <a:pt x="199" y="152"/>
                  </a:cubicBezTo>
                  <a:cubicBezTo>
                    <a:pt x="204" y="149"/>
                    <a:pt x="209" y="147"/>
                    <a:pt x="204" y="133"/>
                  </a:cubicBezTo>
                  <a:cubicBezTo>
                    <a:pt x="199" y="119"/>
                    <a:pt x="198" y="127"/>
                    <a:pt x="197" y="119"/>
                  </a:cubicBezTo>
                  <a:cubicBezTo>
                    <a:pt x="196" y="112"/>
                    <a:pt x="200" y="107"/>
                    <a:pt x="200" y="103"/>
                  </a:cubicBezTo>
                  <a:close/>
                  <a:moveTo>
                    <a:pt x="246" y="206"/>
                  </a:moveTo>
                  <a:cubicBezTo>
                    <a:pt x="243" y="205"/>
                    <a:pt x="264" y="181"/>
                    <a:pt x="271" y="175"/>
                  </a:cubicBezTo>
                  <a:cubicBezTo>
                    <a:pt x="277" y="170"/>
                    <a:pt x="289" y="166"/>
                    <a:pt x="288" y="173"/>
                  </a:cubicBezTo>
                  <a:cubicBezTo>
                    <a:pt x="287" y="180"/>
                    <a:pt x="291" y="185"/>
                    <a:pt x="286" y="190"/>
                  </a:cubicBezTo>
                  <a:cubicBezTo>
                    <a:pt x="282" y="195"/>
                    <a:pt x="250" y="207"/>
                    <a:pt x="246" y="206"/>
                  </a:cubicBezTo>
                  <a:close/>
                  <a:moveTo>
                    <a:pt x="146" y="109"/>
                  </a:moveTo>
                  <a:cubicBezTo>
                    <a:pt x="146" y="114"/>
                    <a:pt x="141" y="124"/>
                    <a:pt x="134" y="134"/>
                  </a:cubicBezTo>
                  <a:cubicBezTo>
                    <a:pt x="127" y="144"/>
                    <a:pt x="103" y="162"/>
                    <a:pt x="87" y="173"/>
                  </a:cubicBezTo>
                  <a:cubicBezTo>
                    <a:pt x="70" y="183"/>
                    <a:pt x="23" y="206"/>
                    <a:pt x="16" y="212"/>
                  </a:cubicBezTo>
                  <a:cubicBezTo>
                    <a:pt x="10" y="218"/>
                    <a:pt x="0" y="213"/>
                    <a:pt x="7" y="236"/>
                  </a:cubicBezTo>
                  <a:cubicBezTo>
                    <a:pt x="13" y="258"/>
                    <a:pt x="24" y="253"/>
                    <a:pt x="55" y="252"/>
                  </a:cubicBezTo>
                  <a:cubicBezTo>
                    <a:pt x="85" y="250"/>
                    <a:pt x="106" y="237"/>
                    <a:pt x="111" y="239"/>
                  </a:cubicBezTo>
                  <a:cubicBezTo>
                    <a:pt x="116" y="242"/>
                    <a:pt x="119" y="251"/>
                    <a:pt x="119" y="259"/>
                  </a:cubicBezTo>
                  <a:cubicBezTo>
                    <a:pt x="120" y="266"/>
                    <a:pt x="116" y="270"/>
                    <a:pt x="108" y="279"/>
                  </a:cubicBezTo>
                  <a:cubicBezTo>
                    <a:pt x="100" y="288"/>
                    <a:pt x="100" y="303"/>
                    <a:pt x="100" y="311"/>
                  </a:cubicBezTo>
                  <a:cubicBezTo>
                    <a:pt x="101" y="318"/>
                    <a:pt x="104" y="325"/>
                    <a:pt x="110" y="332"/>
                  </a:cubicBezTo>
                  <a:cubicBezTo>
                    <a:pt x="117" y="338"/>
                    <a:pt x="119" y="333"/>
                    <a:pt x="127" y="333"/>
                  </a:cubicBezTo>
                  <a:cubicBezTo>
                    <a:pt x="134" y="332"/>
                    <a:pt x="138" y="323"/>
                    <a:pt x="139" y="316"/>
                  </a:cubicBezTo>
                  <a:cubicBezTo>
                    <a:pt x="140" y="308"/>
                    <a:pt x="148" y="313"/>
                    <a:pt x="155" y="314"/>
                  </a:cubicBezTo>
                  <a:cubicBezTo>
                    <a:pt x="161" y="316"/>
                    <a:pt x="158" y="318"/>
                    <a:pt x="159" y="326"/>
                  </a:cubicBezTo>
                  <a:cubicBezTo>
                    <a:pt x="159" y="334"/>
                    <a:pt x="159" y="336"/>
                    <a:pt x="168" y="339"/>
                  </a:cubicBezTo>
                  <a:cubicBezTo>
                    <a:pt x="177" y="343"/>
                    <a:pt x="178" y="342"/>
                    <a:pt x="189" y="330"/>
                  </a:cubicBezTo>
                  <a:cubicBezTo>
                    <a:pt x="199" y="319"/>
                    <a:pt x="187" y="291"/>
                    <a:pt x="193" y="292"/>
                  </a:cubicBezTo>
                  <a:cubicBezTo>
                    <a:pt x="198" y="293"/>
                    <a:pt x="209" y="289"/>
                    <a:pt x="217" y="281"/>
                  </a:cubicBezTo>
                  <a:cubicBezTo>
                    <a:pt x="225" y="273"/>
                    <a:pt x="232" y="272"/>
                    <a:pt x="243" y="263"/>
                  </a:cubicBezTo>
                  <a:cubicBezTo>
                    <a:pt x="253" y="254"/>
                    <a:pt x="278" y="233"/>
                    <a:pt x="284" y="237"/>
                  </a:cubicBezTo>
                  <a:cubicBezTo>
                    <a:pt x="290" y="240"/>
                    <a:pt x="285" y="282"/>
                    <a:pt x="286" y="321"/>
                  </a:cubicBezTo>
                  <a:cubicBezTo>
                    <a:pt x="288" y="361"/>
                    <a:pt x="286" y="379"/>
                    <a:pt x="287" y="396"/>
                  </a:cubicBezTo>
                  <a:cubicBezTo>
                    <a:pt x="289" y="413"/>
                    <a:pt x="278" y="425"/>
                    <a:pt x="278" y="434"/>
                  </a:cubicBezTo>
                  <a:cubicBezTo>
                    <a:pt x="277" y="443"/>
                    <a:pt x="278" y="454"/>
                    <a:pt x="284" y="461"/>
                  </a:cubicBezTo>
                  <a:cubicBezTo>
                    <a:pt x="291" y="468"/>
                    <a:pt x="296" y="458"/>
                    <a:pt x="305" y="449"/>
                  </a:cubicBezTo>
                  <a:cubicBezTo>
                    <a:pt x="314" y="440"/>
                    <a:pt x="315" y="424"/>
                    <a:pt x="319" y="393"/>
                  </a:cubicBezTo>
                  <a:cubicBezTo>
                    <a:pt x="323" y="362"/>
                    <a:pt x="318" y="269"/>
                    <a:pt x="320" y="252"/>
                  </a:cubicBezTo>
                  <a:cubicBezTo>
                    <a:pt x="321" y="236"/>
                    <a:pt x="323" y="232"/>
                    <a:pt x="327" y="227"/>
                  </a:cubicBezTo>
                  <a:cubicBezTo>
                    <a:pt x="332" y="222"/>
                    <a:pt x="332" y="212"/>
                    <a:pt x="340" y="211"/>
                  </a:cubicBezTo>
                  <a:cubicBezTo>
                    <a:pt x="349" y="210"/>
                    <a:pt x="360" y="212"/>
                    <a:pt x="363" y="202"/>
                  </a:cubicBezTo>
                  <a:cubicBezTo>
                    <a:pt x="366" y="192"/>
                    <a:pt x="364" y="182"/>
                    <a:pt x="358" y="177"/>
                  </a:cubicBezTo>
                  <a:cubicBezTo>
                    <a:pt x="352" y="172"/>
                    <a:pt x="326" y="167"/>
                    <a:pt x="324" y="162"/>
                  </a:cubicBezTo>
                  <a:cubicBezTo>
                    <a:pt x="322" y="158"/>
                    <a:pt x="323" y="119"/>
                    <a:pt x="322" y="108"/>
                  </a:cubicBezTo>
                  <a:cubicBezTo>
                    <a:pt x="322" y="96"/>
                    <a:pt x="324" y="98"/>
                    <a:pt x="330" y="85"/>
                  </a:cubicBezTo>
                  <a:cubicBezTo>
                    <a:pt x="336" y="73"/>
                    <a:pt x="333" y="65"/>
                    <a:pt x="334" y="48"/>
                  </a:cubicBezTo>
                  <a:cubicBezTo>
                    <a:pt x="334" y="32"/>
                    <a:pt x="334" y="33"/>
                    <a:pt x="324" y="23"/>
                  </a:cubicBezTo>
                  <a:cubicBezTo>
                    <a:pt x="315" y="14"/>
                    <a:pt x="306" y="6"/>
                    <a:pt x="292" y="3"/>
                  </a:cubicBezTo>
                  <a:cubicBezTo>
                    <a:pt x="278" y="0"/>
                    <a:pt x="274" y="12"/>
                    <a:pt x="275" y="29"/>
                  </a:cubicBezTo>
                  <a:cubicBezTo>
                    <a:pt x="275" y="47"/>
                    <a:pt x="278" y="37"/>
                    <a:pt x="282" y="43"/>
                  </a:cubicBezTo>
                  <a:cubicBezTo>
                    <a:pt x="286" y="49"/>
                    <a:pt x="285" y="62"/>
                    <a:pt x="286" y="69"/>
                  </a:cubicBezTo>
                  <a:cubicBezTo>
                    <a:pt x="287" y="76"/>
                    <a:pt x="283" y="77"/>
                    <a:pt x="274" y="77"/>
                  </a:cubicBezTo>
                  <a:cubicBezTo>
                    <a:pt x="265" y="78"/>
                    <a:pt x="268" y="69"/>
                    <a:pt x="253" y="65"/>
                  </a:cubicBezTo>
                  <a:cubicBezTo>
                    <a:pt x="238" y="60"/>
                    <a:pt x="225" y="74"/>
                    <a:pt x="218" y="72"/>
                  </a:cubicBezTo>
                  <a:cubicBezTo>
                    <a:pt x="212" y="71"/>
                    <a:pt x="215" y="68"/>
                    <a:pt x="212" y="52"/>
                  </a:cubicBezTo>
                  <a:cubicBezTo>
                    <a:pt x="209" y="36"/>
                    <a:pt x="191" y="26"/>
                    <a:pt x="177" y="26"/>
                  </a:cubicBezTo>
                  <a:cubicBezTo>
                    <a:pt x="164" y="26"/>
                    <a:pt x="135" y="52"/>
                    <a:pt x="115" y="68"/>
                  </a:cubicBezTo>
                  <a:cubicBezTo>
                    <a:pt x="96" y="84"/>
                    <a:pt x="55" y="129"/>
                    <a:pt x="47" y="139"/>
                  </a:cubicBezTo>
                  <a:cubicBezTo>
                    <a:pt x="39" y="149"/>
                    <a:pt x="30" y="156"/>
                    <a:pt x="30" y="163"/>
                  </a:cubicBezTo>
                  <a:cubicBezTo>
                    <a:pt x="30" y="170"/>
                    <a:pt x="28" y="170"/>
                    <a:pt x="39" y="172"/>
                  </a:cubicBezTo>
                  <a:cubicBezTo>
                    <a:pt x="49" y="174"/>
                    <a:pt x="64" y="154"/>
                    <a:pt x="96" y="132"/>
                  </a:cubicBezTo>
                  <a:cubicBezTo>
                    <a:pt x="128" y="110"/>
                    <a:pt x="147" y="103"/>
                    <a:pt x="146" y="10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1049699" name="îš1ïdè"/>
            <p:cNvSpPr/>
            <p:nvPr/>
          </p:nvSpPr>
          <p:spPr bwMode="auto">
            <a:xfrm>
              <a:off x="5180266" y="4845640"/>
              <a:ext cx="635000" cy="660400"/>
            </a:xfrm>
            <a:custGeom>
              <a:avLst/>
              <a:gdLst>
                <a:gd name="T0" fmla="*/ 5 w 344"/>
                <a:gd name="T1" fmla="*/ 147 h 358"/>
                <a:gd name="T2" fmla="*/ 38 w 344"/>
                <a:gd name="T3" fmla="*/ 142 h 358"/>
                <a:gd name="T4" fmla="*/ 53 w 344"/>
                <a:gd name="T5" fmla="*/ 125 h 358"/>
                <a:gd name="T6" fmla="*/ 43 w 344"/>
                <a:gd name="T7" fmla="*/ 70 h 358"/>
                <a:gd name="T8" fmla="*/ 48 w 344"/>
                <a:gd name="T9" fmla="*/ 43 h 358"/>
                <a:gd name="T10" fmla="*/ 76 w 344"/>
                <a:gd name="T11" fmla="*/ 45 h 358"/>
                <a:gd name="T12" fmla="*/ 122 w 344"/>
                <a:gd name="T13" fmla="*/ 89 h 358"/>
                <a:gd name="T14" fmla="*/ 122 w 344"/>
                <a:gd name="T15" fmla="*/ 185 h 358"/>
                <a:gd name="T16" fmla="*/ 141 w 344"/>
                <a:gd name="T17" fmla="*/ 192 h 358"/>
                <a:gd name="T18" fmla="*/ 231 w 344"/>
                <a:gd name="T19" fmla="*/ 135 h 358"/>
                <a:gd name="T20" fmla="*/ 241 w 344"/>
                <a:gd name="T21" fmla="*/ 87 h 358"/>
                <a:gd name="T22" fmla="*/ 234 w 344"/>
                <a:gd name="T23" fmla="*/ 48 h 358"/>
                <a:gd name="T24" fmla="*/ 263 w 344"/>
                <a:gd name="T25" fmla="*/ 17 h 358"/>
                <a:gd name="T26" fmla="*/ 298 w 344"/>
                <a:gd name="T27" fmla="*/ 76 h 358"/>
                <a:gd name="T28" fmla="*/ 292 w 344"/>
                <a:gd name="T29" fmla="*/ 111 h 358"/>
                <a:gd name="T30" fmla="*/ 317 w 344"/>
                <a:gd name="T31" fmla="*/ 138 h 358"/>
                <a:gd name="T32" fmla="*/ 292 w 344"/>
                <a:gd name="T33" fmla="*/ 181 h 358"/>
                <a:gd name="T34" fmla="*/ 270 w 344"/>
                <a:gd name="T35" fmla="*/ 217 h 358"/>
                <a:gd name="T36" fmla="*/ 276 w 344"/>
                <a:gd name="T37" fmla="*/ 252 h 358"/>
                <a:gd name="T38" fmla="*/ 334 w 344"/>
                <a:gd name="T39" fmla="*/ 270 h 358"/>
                <a:gd name="T40" fmla="*/ 333 w 344"/>
                <a:gd name="T41" fmla="*/ 304 h 358"/>
                <a:gd name="T42" fmla="*/ 226 w 344"/>
                <a:gd name="T43" fmla="*/ 338 h 358"/>
                <a:gd name="T44" fmla="*/ 166 w 344"/>
                <a:gd name="T45" fmla="*/ 352 h 358"/>
                <a:gd name="T46" fmla="*/ 191 w 344"/>
                <a:gd name="T47" fmla="*/ 319 h 358"/>
                <a:gd name="T48" fmla="*/ 228 w 344"/>
                <a:gd name="T49" fmla="*/ 287 h 358"/>
                <a:gd name="T50" fmla="*/ 231 w 344"/>
                <a:gd name="T51" fmla="*/ 223 h 358"/>
                <a:gd name="T52" fmla="*/ 194 w 344"/>
                <a:gd name="T53" fmla="*/ 194 h 358"/>
                <a:gd name="T54" fmla="*/ 152 w 344"/>
                <a:gd name="T55" fmla="*/ 228 h 358"/>
                <a:gd name="T56" fmla="*/ 55 w 344"/>
                <a:gd name="T57" fmla="*/ 337 h 358"/>
                <a:gd name="T58" fmla="*/ 21 w 344"/>
                <a:gd name="T59" fmla="*/ 316 h 358"/>
                <a:gd name="T60" fmla="*/ 30 w 344"/>
                <a:gd name="T61" fmla="*/ 260 h 358"/>
                <a:gd name="T62" fmla="*/ 53 w 344"/>
                <a:gd name="T63" fmla="*/ 228 h 358"/>
                <a:gd name="T64" fmla="*/ 37 w 344"/>
                <a:gd name="T65" fmla="*/ 201 h 358"/>
                <a:gd name="T66" fmla="*/ 1 w 344"/>
                <a:gd name="T67" fmla="*/ 170 h 358"/>
                <a:gd name="T68" fmla="*/ 5 w 344"/>
                <a:gd name="T69" fmla="*/ 147 h 3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344" h="358">
                  <a:moveTo>
                    <a:pt x="5" y="147"/>
                  </a:moveTo>
                  <a:cubicBezTo>
                    <a:pt x="6" y="143"/>
                    <a:pt x="22" y="140"/>
                    <a:pt x="38" y="142"/>
                  </a:cubicBezTo>
                  <a:cubicBezTo>
                    <a:pt x="54" y="144"/>
                    <a:pt x="53" y="137"/>
                    <a:pt x="53" y="125"/>
                  </a:cubicBezTo>
                  <a:cubicBezTo>
                    <a:pt x="53" y="112"/>
                    <a:pt x="60" y="89"/>
                    <a:pt x="43" y="70"/>
                  </a:cubicBezTo>
                  <a:cubicBezTo>
                    <a:pt x="25" y="52"/>
                    <a:pt x="48" y="43"/>
                    <a:pt x="48" y="43"/>
                  </a:cubicBezTo>
                  <a:cubicBezTo>
                    <a:pt x="48" y="43"/>
                    <a:pt x="55" y="32"/>
                    <a:pt x="76" y="45"/>
                  </a:cubicBezTo>
                  <a:cubicBezTo>
                    <a:pt x="97" y="58"/>
                    <a:pt x="115" y="74"/>
                    <a:pt x="122" y="89"/>
                  </a:cubicBezTo>
                  <a:cubicBezTo>
                    <a:pt x="129" y="104"/>
                    <a:pt x="118" y="174"/>
                    <a:pt x="122" y="185"/>
                  </a:cubicBezTo>
                  <a:cubicBezTo>
                    <a:pt x="125" y="195"/>
                    <a:pt x="130" y="200"/>
                    <a:pt x="141" y="192"/>
                  </a:cubicBezTo>
                  <a:cubicBezTo>
                    <a:pt x="153" y="183"/>
                    <a:pt x="214" y="138"/>
                    <a:pt x="231" y="135"/>
                  </a:cubicBezTo>
                  <a:cubicBezTo>
                    <a:pt x="249" y="132"/>
                    <a:pt x="241" y="103"/>
                    <a:pt x="241" y="87"/>
                  </a:cubicBezTo>
                  <a:cubicBezTo>
                    <a:pt x="242" y="70"/>
                    <a:pt x="234" y="59"/>
                    <a:pt x="234" y="48"/>
                  </a:cubicBezTo>
                  <a:cubicBezTo>
                    <a:pt x="234" y="36"/>
                    <a:pt x="247" y="0"/>
                    <a:pt x="263" y="17"/>
                  </a:cubicBezTo>
                  <a:cubicBezTo>
                    <a:pt x="279" y="35"/>
                    <a:pt x="303" y="58"/>
                    <a:pt x="298" y="76"/>
                  </a:cubicBezTo>
                  <a:cubicBezTo>
                    <a:pt x="294" y="95"/>
                    <a:pt x="283" y="92"/>
                    <a:pt x="292" y="111"/>
                  </a:cubicBezTo>
                  <a:cubicBezTo>
                    <a:pt x="301" y="129"/>
                    <a:pt x="320" y="117"/>
                    <a:pt x="317" y="138"/>
                  </a:cubicBezTo>
                  <a:cubicBezTo>
                    <a:pt x="315" y="160"/>
                    <a:pt x="321" y="149"/>
                    <a:pt x="292" y="181"/>
                  </a:cubicBezTo>
                  <a:cubicBezTo>
                    <a:pt x="268" y="209"/>
                    <a:pt x="270" y="208"/>
                    <a:pt x="270" y="217"/>
                  </a:cubicBezTo>
                  <a:cubicBezTo>
                    <a:pt x="270" y="226"/>
                    <a:pt x="266" y="249"/>
                    <a:pt x="276" y="252"/>
                  </a:cubicBezTo>
                  <a:cubicBezTo>
                    <a:pt x="287" y="254"/>
                    <a:pt x="325" y="250"/>
                    <a:pt x="334" y="270"/>
                  </a:cubicBezTo>
                  <a:cubicBezTo>
                    <a:pt x="344" y="290"/>
                    <a:pt x="344" y="295"/>
                    <a:pt x="333" y="304"/>
                  </a:cubicBezTo>
                  <a:cubicBezTo>
                    <a:pt x="321" y="312"/>
                    <a:pt x="288" y="320"/>
                    <a:pt x="226" y="338"/>
                  </a:cubicBezTo>
                  <a:cubicBezTo>
                    <a:pt x="180" y="351"/>
                    <a:pt x="168" y="358"/>
                    <a:pt x="166" y="352"/>
                  </a:cubicBezTo>
                  <a:cubicBezTo>
                    <a:pt x="164" y="346"/>
                    <a:pt x="175" y="331"/>
                    <a:pt x="191" y="319"/>
                  </a:cubicBezTo>
                  <a:cubicBezTo>
                    <a:pt x="207" y="307"/>
                    <a:pt x="224" y="304"/>
                    <a:pt x="228" y="287"/>
                  </a:cubicBezTo>
                  <a:cubicBezTo>
                    <a:pt x="232" y="270"/>
                    <a:pt x="235" y="234"/>
                    <a:pt x="231" y="223"/>
                  </a:cubicBezTo>
                  <a:cubicBezTo>
                    <a:pt x="227" y="212"/>
                    <a:pt x="213" y="188"/>
                    <a:pt x="194" y="194"/>
                  </a:cubicBezTo>
                  <a:cubicBezTo>
                    <a:pt x="176" y="200"/>
                    <a:pt x="166" y="210"/>
                    <a:pt x="152" y="228"/>
                  </a:cubicBezTo>
                  <a:cubicBezTo>
                    <a:pt x="138" y="247"/>
                    <a:pt x="66" y="336"/>
                    <a:pt x="55" y="337"/>
                  </a:cubicBezTo>
                  <a:cubicBezTo>
                    <a:pt x="45" y="338"/>
                    <a:pt x="22" y="340"/>
                    <a:pt x="21" y="316"/>
                  </a:cubicBezTo>
                  <a:cubicBezTo>
                    <a:pt x="20" y="292"/>
                    <a:pt x="16" y="285"/>
                    <a:pt x="30" y="260"/>
                  </a:cubicBezTo>
                  <a:cubicBezTo>
                    <a:pt x="44" y="234"/>
                    <a:pt x="53" y="241"/>
                    <a:pt x="53" y="228"/>
                  </a:cubicBezTo>
                  <a:cubicBezTo>
                    <a:pt x="53" y="216"/>
                    <a:pt x="47" y="207"/>
                    <a:pt x="37" y="201"/>
                  </a:cubicBezTo>
                  <a:cubicBezTo>
                    <a:pt x="27" y="195"/>
                    <a:pt x="2" y="182"/>
                    <a:pt x="1" y="170"/>
                  </a:cubicBezTo>
                  <a:cubicBezTo>
                    <a:pt x="0" y="157"/>
                    <a:pt x="4" y="150"/>
                    <a:pt x="5" y="14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1049700" name="ï$líḋé"/>
            <p:cNvSpPr/>
            <p:nvPr/>
          </p:nvSpPr>
          <p:spPr bwMode="auto">
            <a:xfrm>
              <a:off x="5596191" y="5675903"/>
              <a:ext cx="25400" cy="30163"/>
            </a:xfrm>
            <a:prstGeom prst="rect">
              <a:avLst/>
            </a:pr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1049701" name="işḷíḓè"/>
            <p:cNvSpPr/>
            <p:nvPr/>
          </p:nvSpPr>
          <p:spPr bwMode="auto">
            <a:xfrm>
              <a:off x="5596191" y="5733053"/>
              <a:ext cx="25400" cy="149225"/>
            </a:xfrm>
            <a:prstGeom prst="rect">
              <a:avLst/>
            </a:pr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1049702" name="ïSḷîḋé"/>
            <p:cNvSpPr/>
            <p:nvPr/>
          </p:nvSpPr>
          <p:spPr bwMode="auto">
            <a:xfrm>
              <a:off x="5645403" y="5733053"/>
              <a:ext cx="136525" cy="149225"/>
            </a:xfrm>
            <a:custGeom>
              <a:avLst/>
              <a:gdLst>
                <a:gd name="T0" fmla="*/ 42 w 74"/>
                <a:gd name="T1" fmla="*/ 50 h 81"/>
                <a:gd name="T2" fmla="*/ 37 w 74"/>
                <a:gd name="T3" fmla="*/ 65 h 81"/>
                <a:gd name="T4" fmla="*/ 32 w 74"/>
                <a:gd name="T5" fmla="*/ 49 h 81"/>
                <a:gd name="T6" fmla="*/ 14 w 74"/>
                <a:gd name="T7" fmla="*/ 0 h 81"/>
                <a:gd name="T8" fmla="*/ 0 w 74"/>
                <a:gd name="T9" fmla="*/ 0 h 81"/>
                <a:gd name="T10" fmla="*/ 31 w 74"/>
                <a:gd name="T11" fmla="*/ 81 h 81"/>
                <a:gd name="T12" fmla="*/ 44 w 74"/>
                <a:gd name="T13" fmla="*/ 81 h 81"/>
                <a:gd name="T14" fmla="*/ 74 w 74"/>
                <a:gd name="T15" fmla="*/ 0 h 81"/>
                <a:gd name="T16" fmla="*/ 60 w 74"/>
                <a:gd name="T17" fmla="*/ 0 h 81"/>
                <a:gd name="T18" fmla="*/ 42 w 74"/>
                <a:gd name="T19" fmla="*/ 50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4" h="81">
                  <a:moveTo>
                    <a:pt x="42" y="50"/>
                  </a:moveTo>
                  <a:cubicBezTo>
                    <a:pt x="40" y="56"/>
                    <a:pt x="38" y="61"/>
                    <a:pt x="37" y="65"/>
                  </a:cubicBezTo>
                  <a:cubicBezTo>
                    <a:pt x="35" y="59"/>
                    <a:pt x="34" y="54"/>
                    <a:pt x="32" y="49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44" y="81"/>
                    <a:pt x="44" y="81"/>
                    <a:pt x="44" y="81"/>
                  </a:cubicBezTo>
                  <a:cubicBezTo>
                    <a:pt x="74" y="0"/>
                    <a:pt x="74" y="0"/>
                    <a:pt x="74" y="0"/>
                  </a:cubicBezTo>
                  <a:cubicBezTo>
                    <a:pt x="60" y="0"/>
                    <a:pt x="60" y="0"/>
                    <a:pt x="60" y="0"/>
                  </a:cubicBezTo>
                  <a:lnTo>
                    <a:pt x="42" y="5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1049703" name="išḷiḓé"/>
            <p:cNvSpPr/>
            <p:nvPr/>
          </p:nvSpPr>
          <p:spPr bwMode="auto">
            <a:xfrm>
              <a:off x="5796216" y="5729878"/>
              <a:ext cx="138113" cy="157163"/>
            </a:xfrm>
            <a:custGeom>
              <a:avLst/>
              <a:gdLst>
                <a:gd name="T0" fmla="*/ 38 w 75"/>
                <a:gd name="T1" fmla="*/ 0 h 85"/>
                <a:gd name="T2" fmla="*/ 10 w 75"/>
                <a:gd name="T3" fmla="*/ 12 h 85"/>
                <a:gd name="T4" fmla="*/ 0 w 75"/>
                <a:gd name="T5" fmla="*/ 43 h 85"/>
                <a:gd name="T6" fmla="*/ 10 w 75"/>
                <a:gd name="T7" fmla="*/ 74 h 85"/>
                <a:gd name="T8" fmla="*/ 39 w 75"/>
                <a:gd name="T9" fmla="*/ 85 h 85"/>
                <a:gd name="T10" fmla="*/ 62 w 75"/>
                <a:gd name="T11" fmla="*/ 78 h 85"/>
                <a:gd name="T12" fmla="*/ 74 w 75"/>
                <a:gd name="T13" fmla="*/ 59 h 85"/>
                <a:gd name="T14" fmla="*/ 60 w 75"/>
                <a:gd name="T15" fmla="*/ 57 h 85"/>
                <a:gd name="T16" fmla="*/ 52 w 75"/>
                <a:gd name="T17" fmla="*/ 70 h 85"/>
                <a:gd name="T18" fmla="*/ 39 w 75"/>
                <a:gd name="T19" fmla="*/ 74 h 85"/>
                <a:gd name="T20" fmla="*/ 22 w 75"/>
                <a:gd name="T21" fmla="*/ 67 h 85"/>
                <a:gd name="T22" fmla="*/ 14 w 75"/>
                <a:gd name="T23" fmla="*/ 46 h 85"/>
                <a:gd name="T24" fmla="*/ 75 w 75"/>
                <a:gd name="T25" fmla="*/ 46 h 85"/>
                <a:gd name="T26" fmla="*/ 75 w 75"/>
                <a:gd name="T27" fmla="*/ 43 h 85"/>
                <a:gd name="T28" fmla="*/ 64 w 75"/>
                <a:gd name="T29" fmla="*/ 11 h 85"/>
                <a:gd name="T30" fmla="*/ 38 w 75"/>
                <a:gd name="T31" fmla="*/ 0 h 85"/>
                <a:gd name="T32" fmla="*/ 15 w 75"/>
                <a:gd name="T33" fmla="*/ 35 h 85"/>
                <a:gd name="T34" fmla="*/ 22 w 75"/>
                <a:gd name="T35" fmla="*/ 18 h 85"/>
                <a:gd name="T36" fmla="*/ 38 w 75"/>
                <a:gd name="T37" fmla="*/ 12 h 85"/>
                <a:gd name="T38" fmla="*/ 55 w 75"/>
                <a:gd name="T39" fmla="*/ 20 h 85"/>
                <a:gd name="T40" fmla="*/ 60 w 75"/>
                <a:gd name="T41" fmla="*/ 35 h 85"/>
                <a:gd name="T42" fmla="*/ 15 w 75"/>
                <a:gd name="T43" fmla="*/ 35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75" h="85">
                  <a:moveTo>
                    <a:pt x="38" y="0"/>
                  </a:moveTo>
                  <a:cubicBezTo>
                    <a:pt x="27" y="0"/>
                    <a:pt x="17" y="4"/>
                    <a:pt x="10" y="12"/>
                  </a:cubicBezTo>
                  <a:cubicBezTo>
                    <a:pt x="3" y="19"/>
                    <a:pt x="0" y="30"/>
                    <a:pt x="0" y="43"/>
                  </a:cubicBezTo>
                  <a:cubicBezTo>
                    <a:pt x="0" y="57"/>
                    <a:pt x="3" y="67"/>
                    <a:pt x="10" y="74"/>
                  </a:cubicBezTo>
                  <a:cubicBezTo>
                    <a:pt x="17" y="81"/>
                    <a:pt x="27" y="85"/>
                    <a:pt x="39" y="85"/>
                  </a:cubicBezTo>
                  <a:cubicBezTo>
                    <a:pt x="48" y="85"/>
                    <a:pt x="56" y="83"/>
                    <a:pt x="62" y="78"/>
                  </a:cubicBezTo>
                  <a:cubicBezTo>
                    <a:pt x="68" y="74"/>
                    <a:pt x="72" y="67"/>
                    <a:pt x="74" y="59"/>
                  </a:cubicBezTo>
                  <a:cubicBezTo>
                    <a:pt x="60" y="57"/>
                    <a:pt x="60" y="57"/>
                    <a:pt x="60" y="57"/>
                  </a:cubicBezTo>
                  <a:cubicBezTo>
                    <a:pt x="58" y="63"/>
                    <a:pt x="55" y="67"/>
                    <a:pt x="52" y="70"/>
                  </a:cubicBezTo>
                  <a:cubicBezTo>
                    <a:pt x="48" y="73"/>
                    <a:pt x="44" y="74"/>
                    <a:pt x="39" y="74"/>
                  </a:cubicBezTo>
                  <a:cubicBezTo>
                    <a:pt x="32" y="74"/>
                    <a:pt x="26" y="71"/>
                    <a:pt x="22" y="67"/>
                  </a:cubicBezTo>
                  <a:cubicBezTo>
                    <a:pt x="17" y="62"/>
                    <a:pt x="15" y="55"/>
                    <a:pt x="14" y="46"/>
                  </a:cubicBezTo>
                  <a:cubicBezTo>
                    <a:pt x="75" y="46"/>
                    <a:pt x="75" y="46"/>
                    <a:pt x="75" y="46"/>
                  </a:cubicBezTo>
                  <a:cubicBezTo>
                    <a:pt x="75" y="45"/>
                    <a:pt x="75" y="43"/>
                    <a:pt x="75" y="43"/>
                  </a:cubicBezTo>
                  <a:cubicBezTo>
                    <a:pt x="75" y="29"/>
                    <a:pt x="71" y="19"/>
                    <a:pt x="64" y="11"/>
                  </a:cubicBezTo>
                  <a:cubicBezTo>
                    <a:pt x="58" y="4"/>
                    <a:pt x="49" y="0"/>
                    <a:pt x="38" y="0"/>
                  </a:cubicBezTo>
                  <a:close/>
                  <a:moveTo>
                    <a:pt x="15" y="35"/>
                  </a:moveTo>
                  <a:cubicBezTo>
                    <a:pt x="15" y="28"/>
                    <a:pt x="18" y="22"/>
                    <a:pt x="22" y="18"/>
                  </a:cubicBezTo>
                  <a:cubicBezTo>
                    <a:pt x="26" y="14"/>
                    <a:pt x="32" y="12"/>
                    <a:pt x="38" y="12"/>
                  </a:cubicBezTo>
                  <a:cubicBezTo>
                    <a:pt x="45" y="12"/>
                    <a:pt x="51" y="14"/>
                    <a:pt x="55" y="20"/>
                  </a:cubicBezTo>
                  <a:cubicBezTo>
                    <a:pt x="58" y="23"/>
                    <a:pt x="60" y="28"/>
                    <a:pt x="60" y="35"/>
                  </a:cubicBezTo>
                  <a:lnTo>
                    <a:pt x="15" y="35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1049704" name="iṩľidè"/>
            <p:cNvSpPr/>
            <p:nvPr/>
          </p:nvSpPr>
          <p:spPr bwMode="auto">
            <a:xfrm>
              <a:off x="5964491" y="5729878"/>
              <a:ext cx="82550" cy="152400"/>
            </a:xfrm>
            <a:custGeom>
              <a:avLst/>
              <a:gdLst>
                <a:gd name="T0" fmla="*/ 22 w 45"/>
                <a:gd name="T1" fmla="*/ 3 h 83"/>
                <a:gd name="T2" fmla="*/ 13 w 45"/>
                <a:gd name="T3" fmla="*/ 14 h 83"/>
                <a:gd name="T4" fmla="*/ 13 w 45"/>
                <a:gd name="T5" fmla="*/ 2 h 83"/>
                <a:gd name="T6" fmla="*/ 0 w 45"/>
                <a:gd name="T7" fmla="*/ 2 h 83"/>
                <a:gd name="T8" fmla="*/ 0 w 45"/>
                <a:gd name="T9" fmla="*/ 83 h 83"/>
                <a:gd name="T10" fmla="*/ 14 w 45"/>
                <a:gd name="T11" fmla="*/ 83 h 83"/>
                <a:gd name="T12" fmla="*/ 14 w 45"/>
                <a:gd name="T13" fmla="*/ 41 h 83"/>
                <a:gd name="T14" fmla="*/ 17 w 45"/>
                <a:gd name="T15" fmla="*/ 25 h 83"/>
                <a:gd name="T16" fmla="*/ 22 w 45"/>
                <a:gd name="T17" fmla="*/ 17 h 83"/>
                <a:gd name="T18" fmla="*/ 30 w 45"/>
                <a:gd name="T19" fmla="*/ 14 h 83"/>
                <a:gd name="T20" fmla="*/ 40 w 45"/>
                <a:gd name="T21" fmla="*/ 17 h 83"/>
                <a:gd name="T22" fmla="*/ 45 w 45"/>
                <a:gd name="T23" fmla="*/ 5 h 83"/>
                <a:gd name="T24" fmla="*/ 30 w 45"/>
                <a:gd name="T25" fmla="*/ 0 h 83"/>
                <a:gd name="T26" fmla="*/ 22 w 45"/>
                <a:gd name="T27" fmla="*/ 3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5" h="83">
                  <a:moveTo>
                    <a:pt x="22" y="3"/>
                  </a:moveTo>
                  <a:cubicBezTo>
                    <a:pt x="19" y="5"/>
                    <a:pt x="16" y="9"/>
                    <a:pt x="13" y="14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83"/>
                    <a:pt x="0" y="83"/>
                    <a:pt x="0" y="83"/>
                  </a:cubicBezTo>
                  <a:cubicBezTo>
                    <a:pt x="14" y="83"/>
                    <a:pt x="14" y="83"/>
                    <a:pt x="14" y="83"/>
                  </a:cubicBezTo>
                  <a:cubicBezTo>
                    <a:pt x="14" y="41"/>
                    <a:pt x="14" y="41"/>
                    <a:pt x="14" y="41"/>
                  </a:cubicBezTo>
                  <a:cubicBezTo>
                    <a:pt x="14" y="35"/>
                    <a:pt x="15" y="30"/>
                    <a:pt x="17" y="25"/>
                  </a:cubicBezTo>
                  <a:cubicBezTo>
                    <a:pt x="18" y="21"/>
                    <a:pt x="19" y="19"/>
                    <a:pt x="22" y="17"/>
                  </a:cubicBezTo>
                  <a:cubicBezTo>
                    <a:pt x="24" y="15"/>
                    <a:pt x="27" y="14"/>
                    <a:pt x="30" y="14"/>
                  </a:cubicBezTo>
                  <a:cubicBezTo>
                    <a:pt x="33" y="14"/>
                    <a:pt x="37" y="15"/>
                    <a:pt x="40" y="17"/>
                  </a:cubicBezTo>
                  <a:cubicBezTo>
                    <a:pt x="45" y="5"/>
                    <a:pt x="45" y="5"/>
                    <a:pt x="45" y="5"/>
                  </a:cubicBezTo>
                  <a:cubicBezTo>
                    <a:pt x="40" y="2"/>
                    <a:pt x="35" y="0"/>
                    <a:pt x="30" y="0"/>
                  </a:cubicBezTo>
                  <a:cubicBezTo>
                    <a:pt x="27" y="0"/>
                    <a:pt x="24" y="1"/>
                    <a:pt x="22" y="3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1049705" name="îṡļiḑe"/>
            <p:cNvSpPr/>
            <p:nvPr/>
          </p:nvSpPr>
          <p:spPr bwMode="auto">
            <a:xfrm>
              <a:off x="6050216" y="5729878"/>
              <a:ext cx="125413" cy="157163"/>
            </a:xfrm>
            <a:custGeom>
              <a:avLst/>
              <a:gdLst>
                <a:gd name="T0" fmla="*/ 55 w 68"/>
                <a:gd name="T1" fmla="*/ 40 h 85"/>
                <a:gd name="T2" fmla="*/ 35 w 68"/>
                <a:gd name="T3" fmla="*/ 34 h 85"/>
                <a:gd name="T4" fmla="*/ 23 w 68"/>
                <a:gd name="T5" fmla="*/ 31 h 85"/>
                <a:gd name="T6" fmla="*/ 18 w 68"/>
                <a:gd name="T7" fmla="*/ 27 h 85"/>
                <a:gd name="T8" fmla="*/ 16 w 68"/>
                <a:gd name="T9" fmla="*/ 22 h 85"/>
                <a:gd name="T10" fmla="*/ 20 w 68"/>
                <a:gd name="T11" fmla="*/ 15 h 85"/>
                <a:gd name="T12" fmla="*/ 34 w 68"/>
                <a:gd name="T13" fmla="*/ 12 h 85"/>
                <a:gd name="T14" fmla="*/ 46 w 68"/>
                <a:gd name="T15" fmla="*/ 15 h 85"/>
                <a:gd name="T16" fmla="*/ 51 w 68"/>
                <a:gd name="T17" fmla="*/ 25 h 85"/>
                <a:gd name="T18" fmla="*/ 65 w 68"/>
                <a:gd name="T19" fmla="*/ 23 h 85"/>
                <a:gd name="T20" fmla="*/ 60 w 68"/>
                <a:gd name="T21" fmla="*/ 10 h 85"/>
                <a:gd name="T22" fmla="*/ 49 w 68"/>
                <a:gd name="T23" fmla="*/ 3 h 85"/>
                <a:gd name="T24" fmla="*/ 33 w 68"/>
                <a:gd name="T25" fmla="*/ 0 h 85"/>
                <a:gd name="T26" fmla="*/ 21 w 68"/>
                <a:gd name="T27" fmla="*/ 2 h 85"/>
                <a:gd name="T28" fmla="*/ 12 w 68"/>
                <a:gd name="T29" fmla="*/ 6 h 85"/>
                <a:gd name="T30" fmla="*/ 5 w 68"/>
                <a:gd name="T31" fmla="*/ 14 h 85"/>
                <a:gd name="T32" fmla="*/ 3 w 68"/>
                <a:gd name="T33" fmla="*/ 24 h 85"/>
                <a:gd name="T34" fmla="*/ 6 w 68"/>
                <a:gd name="T35" fmla="*/ 35 h 85"/>
                <a:gd name="T36" fmla="*/ 15 w 68"/>
                <a:gd name="T37" fmla="*/ 42 h 85"/>
                <a:gd name="T38" fmla="*/ 36 w 68"/>
                <a:gd name="T39" fmla="*/ 49 h 85"/>
                <a:gd name="T40" fmla="*/ 50 w 68"/>
                <a:gd name="T41" fmla="*/ 54 h 85"/>
                <a:gd name="T42" fmla="*/ 54 w 68"/>
                <a:gd name="T43" fmla="*/ 61 h 85"/>
                <a:gd name="T44" fmla="*/ 49 w 68"/>
                <a:gd name="T45" fmla="*/ 70 h 85"/>
                <a:gd name="T46" fmla="*/ 35 w 68"/>
                <a:gd name="T47" fmla="*/ 74 h 85"/>
                <a:gd name="T48" fmla="*/ 20 w 68"/>
                <a:gd name="T49" fmla="*/ 69 h 85"/>
                <a:gd name="T50" fmla="*/ 14 w 68"/>
                <a:gd name="T51" fmla="*/ 57 h 85"/>
                <a:gd name="T52" fmla="*/ 0 w 68"/>
                <a:gd name="T53" fmla="*/ 59 h 85"/>
                <a:gd name="T54" fmla="*/ 11 w 68"/>
                <a:gd name="T55" fmla="*/ 79 h 85"/>
                <a:gd name="T56" fmla="*/ 35 w 68"/>
                <a:gd name="T57" fmla="*/ 85 h 85"/>
                <a:gd name="T58" fmla="*/ 52 w 68"/>
                <a:gd name="T59" fmla="*/ 82 h 85"/>
                <a:gd name="T60" fmla="*/ 64 w 68"/>
                <a:gd name="T61" fmla="*/ 72 h 85"/>
                <a:gd name="T62" fmla="*/ 68 w 68"/>
                <a:gd name="T63" fmla="*/ 59 h 85"/>
                <a:gd name="T64" fmla="*/ 65 w 68"/>
                <a:gd name="T65" fmla="*/ 48 h 85"/>
                <a:gd name="T66" fmla="*/ 55 w 68"/>
                <a:gd name="T67" fmla="*/ 40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68" h="85">
                  <a:moveTo>
                    <a:pt x="55" y="40"/>
                  </a:moveTo>
                  <a:cubicBezTo>
                    <a:pt x="52" y="39"/>
                    <a:pt x="45" y="37"/>
                    <a:pt x="35" y="34"/>
                  </a:cubicBezTo>
                  <a:cubicBezTo>
                    <a:pt x="28" y="32"/>
                    <a:pt x="24" y="31"/>
                    <a:pt x="23" y="31"/>
                  </a:cubicBezTo>
                  <a:cubicBezTo>
                    <a:pt x="20" y="30"/>
                    <a:pt x="19" y="28"/>
                    <a:pt x="18" y="27"/>
                  </a:cubicBezTo>
                  <a:cubicBezTo>
                    <a:pt x="16" y="25"/>
                    <a:pt x="16" y="24"/>
                    <a:pt x="16" y="22"/>
                  </a:cubicBezTo>
                  <a:cubicBezTo>
                    <a:pt x="16" y="19"/>
                    <a:pt x="17" y="17"/>
                    <a:pt x="20" y="15"/>
                  </a:cubicBezTo>
                  <a:cubicBezTo>
                    <a:pt x="23" y="13"/>
                    <a:pt x="27" y="12"/>
                    <a:pt x="34" y="12"/>
                  </a:cubicBezTo>
                  <a:cubicBezTo>
                    <a:pt x="39" y="12"/>
                    <a:pt x="43" y="13"/>
                    <a:pt x="46" y="15"/>
                  </a:cubicBezTo>
                  <a:cubicBezTo>
                    <a:pt x="49" y="17"/>
                    <a:pt x="51" y="21"/>
                    <a:pt x="51" y="25"/>
                  </a:cubicBezTo>
                  <a:cubicBezTo>
                    <a:pt x="65" y="23"/>
                    <a:pt x="65" y="23"/>
                    <a:pt x="65" y="23"/>
                  </a:cubicBezTo>
                  <a:cubicBezTo>
                    <a:pt x="64" y="18"/>
                    <a:pt x="62" y="14"/>
                    <a:pt x="60" y="10"/>
                  </a:cubicBezTo>
                  <a:cubicBezTo>
                    <a:pt x="58" y="7"/>
                    <a:pt x="54" y="5"/>
                    <a:pt x="49" y="3"/>
                  </a:cubicBezTo>
                  <a:cubicBezTo>
                    <a:pt x="44" y="1"/>
                    <a:pt x="39" y="0"/>
                    <a:pt x="33" y="0"/>
                  </a:cubicBezTo>
                  <a:cubicBezTo>
                    <a:pt x="28" y="0"/>
                    <a:pt x="24" y="1"/>
                    <a:pt x="21" y="2"/>
                  </a:cubicBezTo>
                  <a:cubicBezTo>
                    <a:pt x="17" y="3"/>
                    <a:pt x="14" y="4"/>
                    <a:pt x="12" y="6"/>
                  </a:cubicBezTo>
                  <a:cubicBezTo>
                    <a:pt x="9" y="8"/>
                    <a:pt x="7" y="10"/>
                    <a:pt x="5" y="14"/>
                  </a:cubicBezTo>
                  <a:cubicBezTo>
                    <a:pt x="3" y="17"/>
                    <a:pt x="3" y="20"/>
                    <a:pt x="3" y="24"/>
                  </a:cubicBezTo>
                  <a:cubicBezTo>
                    <a:pt x="3" y="28"/>
                    <a:pt x="4" y="31"/>
                    <a:pt x="6" y="35"/>
                  </a:cubicBezTo>
                  <a:cubicBezTo>
                    <a:pt x="8" y="38"/>
                    <a:pt x="11" y="40"/>
                    <a:pt x="15" y="42"/>
                  </a:cubicBezTo>
                  <a:cubicBezTo>
                    <a:pt x="18" y="44"/>
                    <a:pt x="25" y="46"/>
                    <a:pt x="36" y="49"/>
                  </a:cubicBezTo>
                  <a:cubicBezTo>
                    <a:pt x="43" y="51"/>
                    <a:pt x="48" y="52"/>
                    <a:pt x="50" y="54"/>
                  </a:cubicBezTo>
                  <a:cubicBezTo>
                    <a:pt x="52" y="55"/>
                    <a:pt x="54" y="58"/>
                    <a:pt x="54" y="61"/>
                  </a:cubicBezTo>
                  <a:cubicBezTo>
                    <a:pt x="54" y="64"/>
                    <a:pt x="52" y="67"/>
                    <a:pt x="49" y="70"/>
                  </a:cubicBezTo>
                  <a:cubicBezTo>
                    <a:pt x="46" y="73"/>
                    <a:pt x="41" y="74"/>
                    <a:pt x="35" y="74"/>
                  </a:cubicBezTo>
                  <a:cubicBezTo>
                    <a:pt x="29" y="74"/>
                    <a:pt x="24" y="72"/>
                    <a:pt x="20" y="69"/>
                  </a:cubicBezTo>
                  <a:cubicBezTo>
                    <a:pt x="17" y="67"/>
                    <a:pt x="15" y="62"/>
                    <a:pt x="14" y="57"/>
                  </a:cubicBezTo>
                  <a:cubicBezTo>
                    <a:pt x="0" y="59"/>
                    <a:pt x="0" y="59"/>
                    <a:pt x="0" y="59"/>
                  </a:cubicBezTo>
                  <a:cubicBezTo>
                    <a:pt x="2" y="68"/>
                    <a:pt x="5" y="74"/>
                    <a:pt x="11" y="79"/>
                  </a:cubicBezTo>
                  <a:cubicBezTo>
                    <a:pt x="16" y="83"/>
                    <a:pt x="24" y="85"/>
                    <a:pt x="35" y="85"/>
                  </a:cubicBezTo>
                  <a:cubicBezTo>
                    <a:pt x="41" y="85"/>
                    <a:pt x="47" y="84"/>
                    <a:pt x="52" y="82"/>
                  </a:cubicBezTo>
                  <a:cubicBezTo>
                    <a:pt x="57" y="80"/>
                    <a:pt x="61" y="76"/>
                    <a:pt x="64" y="72"/>
                  </a:cubicBezTo>
                  <a:cubicBezTo>
                    <a:pt x="66" y="68"/>
                    <a:pt x="68" y="64"/>
                    <a:pt x="68" y="59"/>
                  </a:cubicBezTo>
                  <a:cubicBezTo>
                    <a:pt x="68" y="55"/>
                    <a:pt x="67" y="51"/>
                    <a:pt x="65" y="48"/>
                  </a:cubicBezTo>
                  <a:cubicBezTo>
                    <a:pt x="62" y="45"/>
                    <a:pt x="59" y="42"/>
                    <a:pt x="55" y="4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1049706" name="ïśļíḓe"/>
            <p:cNvSpPr/>
            <p:nvPr/>
          </p:nvSpPr>
          <p:spPr bwMode="auto">
            <a:xfrm>
              <a:off x="6205791" y="5675903"/>
              <a:ext cx="25400" cy="30163"/>
            </a:xfrm>
            <a:prstGeom prst="rect">
              <a:avLst/>
            </a:pr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1049707" name="îṡľîdè"/>
            <p:cNvSpPr/>
            <p:nvPr/>
          </p:nvSpPr>
          <p:spPr bwMode="auto">
            <a:xfrm>
              <a:off x="6205791" y="5733053"/>
              <a:ext cx="25400" cy="149225"/>
            </a:xfrm>
            <a:prstGeom prst="rect">
              <a:avLst/>
            </a:pr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1049708" name="îś1iḋê"/>
            <p:cNvSpPr/>
            <p:nvPr/>
          </p:nvSpPr>
          <p:spPr bwMode="auto">
            <a:xfrm>
              <a:off x="6255003" y="5680665"/>
              <a:ext cx="74613" cy="203200"/>
            </a:xfrm>
            <a:custGeom>
              <a:avLst/>
              <a:gdLst>
                <a:gd name="T0" fmla="*/ 32 w 40"/>
                <a:gd name="T1" fmla="*/ 98 h 110"/>
                <a:gd name="T2" fmla="*/ 27 w 40"/>
                <a:gd name="T3" fmla="*/ 97 h 110"/>
                <a:gd name="T4" fmla="*/ 25 w 40"/>
                <a:gd name="T5" fmla="*/ 94 h 110"/>
                <a:gd name="T6" fmla="*/ 24 w 40"/>
                <a:gd name="T7" fmla="*/ 86 h 110"/>
                <a:gd name="T8" fmla="*/ 24 w 40"/>
                <a:gd name="T9" fmla="*/ 39 h 110"/>
                <a:gd name="T10" fmla="*/ 38 w 40"/>
                <a:gd name="T11" fmla="*/ 39 h 110"/>
                <a:gd name="T12" fmla="*/ 38 w 40"/>
                <a:gd name="T13" fmla="*/ 28 h 110"/>
                <a:gd name="T14" fmla="*/ 24 w 40"/>
                <a:gd name="T15" fmla="*/ 28 h 110"/>
                <a:gd name="T16" fmla="*/ 24 w 40"/>
                <a:gd name="T17" fmla="*/ 0 h 110"/>
                <a:gd name="T18" fmla="*/ 11 w 40"/>
                <a:gd name="T19" fmla="*/ 8 h 110"/>
                <a:gd name="T20" fmla="*/ 11 w 40"/>
                <a:gd name="T21" fmla="*/ 28 h 110"/>
                <a:gd name="T22" fmla="*/ 0 w 40"/>
                <a:gd name="T23" fmla="*/ 28 h 110"/>
                <a:gd name="T24" fmla="*/ 0 w 40"/>
                <a:gd name="T25" fmla="*/ 39 h 110"/>
                <a:gd name="T26" fmla="*/ 11 w 40"/>
                <a:gd name="T27" fmla="*/ 39 h 110"/>
                <a:gd name="T28" fmla="*/ 11 w 40"/>
                <a:gd name="T29" fmla="*/ 86 h 110"/>
                <a:gd name="T30" fmla="*/ 12 w 40"/>
                <a:gd name="T31" fmla="*/ 102 h 110"/>
                <a:gd name="T32" fmla="*/ 18 w 40"/>
                <a:gd name="T33" fmla="*/ 108 h 110"/>
                <a:gd name="T34" fmla="*/ 30 w 40"/>
                <a:gd name="T35" fmla="*/ 110 h 110"/>
                <a:gd name="T36" fmla="*/ 40 w 40"/>
                <a:gd name="T37" fmla="*/ 109 h 110"/>
                <a:gd name="T38" fmla="*/ 38 w 40"/>
                <a:gd name="T39" fmla="*/ 97 h 110"/>
                <a:gd name="T40" fmla="*/ 32 w 40"/>
                <a:gd name="T41" fmla="*/ 98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0" h="110">
                  <a:moveTo>
                    <a:pt x="32" y="98"/>
                  </a:moveTo>
                  <a:cubicBezTo>
                    <a:pt x="30" y="98"/>
                    <a:pt x="28" y="97"/>
                    <a:pt x="27" y="97"/>
                  </a:cubicBezTo>
                  <a:cubicBezTo>
                    <a:pt x="26" y="96"/>
                    <a:pt x="25" y="95"/>
                    <a:pt x="25" y="94"/>
                  </a:cubicBezTo>
                  <a:cubicBezTo>
                    <a:pt x="24" y="93"/>
                    <a:pt x="24" y="90"/>
                    <a:pt x="24" y="86"/>
                  </a:cubicBezTo>
                  <a:cubicBezTo>
                    <a:pt x="24" y="39"/>
                    <a:pt x="24" y="39"/>
                    <a:pt x="24" y="39"/>
                  </a:cubicBezTo>
                  <a:cubicBezTo>
                    <a:pt x="38" y="39"/>
                    <a:pt x="38" y="39"/>
                    <a:pt x="38" y="39"/>
                  </a:cubicBezTo>
                  <a:cubicBezTo>
                    <a:pt x="38" y="28"/>
                    <a:pt x="38" y="28"/>
                    <a:pt x="38" y="28"/>
                  </a:cubicBezTo>
                  <a:cubicBezTo>
                    <a:pt x="24" y="28"/>
                    <a:pt x="24" y="28"/>
                    <a:pt x="24" y="28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11" y="8"/>
                    <a:pt x="11" y="8"/>
                    <a:pt x="11" y="8"/>
                  </a:cubicBezTo>
                  <a:cubicBezTo>
                    <a:pt x="11" y="28"/>
                    <a:pt x="11" y="28"/>
                    <a:pt x="11" y="28"/>
                  </a:cubicBezTo>
                  <a:cubicBezTo>
                    <a:pt x="0" y="28"/>
                    <a:pt x="0" y="28"/>
                    <a:pt x="0" y="28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11" y="39"/>
                    <a:pt x="11" y="39"/>
                    <a:pt x="11" y="39"/>
                  </a:cubicBezTo>
                  <a:cubicBezTo>
                    <a:pt x="11" y="86"/>
                    <a:pt x="11" y="86"/>
                    <a:pt x="11" y="86"/>
                  </a:cubicBezTo>
                  <a:cubicBezTo>
                    <a:pt x="11" y="94"/>
                    <a:pt x="11" y="99"/>
                    <a:pt x="12" y="102"/>
                  </a:cubicBezTo>
                  <a:cubicBezTo>
                    <a:pt x="13" y="104"/>
                    <a:pt x="15" y="106"/>
                    <a:pt x="18" y="108"/>
                  </a:cubicBezTo>
                  <a:cubicBezTo>
                    <a:pt x="21" y="110"/>
                    <a:pt x="25" y="110"/>
                    <a:pt x="30" y="110"/>
                  </a:cubicBezTo>
                  <a:cubicBezTo>
                    <a:pt x="33" y="110"/>
                    <a:pt x="36" y="110"/>
                    <a:pt x="40" y="109"/>
                  </a:cubicBezTo>
                  <a:cubicBezTo>
                    <a:pt x="38" y="97"/>
                    <a:pt x="38" y="97"/>
                    <a:pt x="38" y="97"/>
                  </a:cubicBezTo>
                  <a:cubicBezTo>
                    <a:pt x="36" y="97"/>
                    <a:pt x="34" y="98"/>
                    <a:pt x="32" y="9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1049709" name="išľîḋê"/>
            <p:cNvSpPr/>
            <p:nvPr/>
          </p:nvSpPr>
          <p:spPr bwMode="auto">
            <a:xfrm>
              <a:off x="6335966" y="5733053"/>
              <a:ext cx="136525" cy="211138"/>
            </a:xfrm>
            <a:custGeom>
              <a:avLst/>
              <a:gdLst>
                <a:gd name="T0" fmla="*/ 43 w 74"/>
                <a:gd name="T1" fmla="*/ 47 h 114"/>
                <a:gd name="T2" fmla="*/ 37 w 74"/>
                <a:gd name="T3" fmla="*/ 66 h 114"/>
                <a:gd name="T4" fmla="*/ 32 w 74"/>
                <a:gd name="T5" fmla="*/ 47 h 114"/>
                <a:gd name="T6" fmla="*/ 15 w 74"/>
                <a:gd name="T7" fmla="*/ 0 h 114"/>
                <a:gd name="T8" fmla="*/ 0 w 74"/>
                <a:gd name="T9" fmla="*/ 0 h 114"/>
                <a:gd name="T10" fmla="*/ 31 w 74"/>
                <a:gd name="T11" fmla="*/ 81 h 114"/>
                <a:gd name="T12" fmla="*/ 29 w 74"/>
                <a:gd name="T13" fmla="*/ 85 h 114"/>
                <a:gd name="T14" fmla="*/ 25 w 74"/>
                <a:gd name="T15" fmla="*/ 95 h 114"/>
                <a:gd name="T16" fmla="*/ 21 w 74"/>
                <a:gd name="T17" fmla="*/ 99 h 114"/>
                <a:gd name="T18" fmla="*/ 13 w 74"/>
                <a:gd name="T19" fmla="*/ 101 h 114"/>
                <a:gd name="T20" fmla="*/ 5 w 74"/>
                <a:gd name="T21" fmla="*/ 100 h 114"/>
                <a:gd name="T22" fmla="*/ 7 w 74"/>
                <a:gd name="T23" fmla="*/ 113 h 114"/>
                <a:gd name="T24" fmla="*/ 16 w 74"/>
                <a:gd name="T25" fmla="*/ 114 h 114"/>
                <a:gd name="T26" fmla="*/ 27 w 74"/>
                <a:gd name="T27" fmla="*/ 111 h 114"/>
                <a:gd name="T28" fmla="*/ 36 w 74"/>
                <a:gd name="T29" fmla="*/ 101 h 114"/>
                <a:gd name="T30" fmla="*/ 43 w 74"/>
                <a:gd name="T31" fmla="*/ 83 h 114"/>
                <a:gd name="T32" fmla="*/ 74 w 74"/>
                <a:gd name="T33" fmla="*/ 0 h 114"/>
                <a:gd name="T34" fmla="*/ 60 w 74"/>
                <a:gd name="T35" fmla="*/ 0 h 114"/>
                <a:gd name="T36" fmla="*/ 43 w 74"/>
                <a:gd name="T37" fmla="*/ 47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74" h="114">
                  <a:moveTo>
                    <a:pt x="43" y="47"/>
                  </a:moveTo>
                  <a:cubicBezTo>
                    <a:pt x="41" y="53"/>
                    <a:pt x="39" y="60"/>
                    <a:pt x="37" y="66"/>
                  </a:cubicBezTo>
                  <a:cubicBezTo>
                    <a:pt x="36" y="59"/>
                    <a:pt x="34" y="53"/>
                    <a:pt x="32" y="47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0" y="83"/>
                    <a:pt x="30" y="84"/>
                    <a:pt x="29" y="85"/>
                  </a:cubicBezTo>
                  <a:cubicBezTo>
                    <a:pt x="27" y="90"/>
                    <a:pt x="26" y="94"/>
                    <a:pt x="25" y="95"/>
                  </a:cubicBezTo>
                  <a:cubicBezTo>
                    <a:pt x="24" y="97"/>
                    <a:pt x="22" y="98"/>
                    <a:pt x="21" y="99"/>
                  </a:cubicBezTo>
                  <a:cubicBezTo>
                    <a:pt x="19" y="100"/>
                    <a:pt x="16" y="101"/>
                    <a:pt x="13" y="101"/>
                  </a:cubicBezTo>
                  <a:cubicBezTo>
                    <a:pt x="11" y="101"/>
                    <a:pt x="8" y="101"/>
                    <a:pt x="5" y="100"/>
                  </a:cubicBezTo>
                  <a:cubicBezTo>
                    <a:pt x="7" y="113"/>
                    <a:pt x="7" y="113"/>
                    <a:pt x="7" y="113"/>
                  </a:cubicBezTo>
                  <a:cubicBezTo>
                    <a:pt x="10" y="114"/>
                    <a:pt x="13" y="114"/>
                    <a:pt x="16" y="114"/>
                  </a:cubicBezTo>
                  <a:cubicBezTo>
                    <a:pt x="20" y="114"/>
                    <a:pt x="24" y="113"/>
                    <a:pt x="27" y="111"/>
                  </a:cubicBezTo>
                  <a:cubicBezTo>
                    <a:pt x="30" y="109"/>
                    <a:pt x="33" y="106"/>
                    <a:pt x="36" y="101"/>
                  </a:cubicBezTo>
                  <a:cubicBezTo>
                    <a:pt x="37" y="98"/>
                    <a:pt x="40" y="92"/>
                    <a:pt x="43" y="83"/>
                  </a:cubicBezTo>
                  <a:cubicBezTo>
                    <a:pt x="74" y="0"/>
                    <a:pt x="74" y="0"/>
                    <a:pt x="74" y="0"/>
                  </a:cubicBezTo>
                  <a:cubicBezTo>
                    <a:pt x="60" y="0"/>
                    <a:pt x="60" y="0"/>
                    <a:pt x="60" y="0"/>
                  </a:cubicBezTo>
                  <a:lnTo>
                    <a:pt x="43" y="47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1049710" name="íSḷiḑè"/>
            <p:cNvSpPr/>
            <p:nvPr/>
          </p:nvSpPr>
          <p:spPr bwMode="auto">
            <a:xfrm>
              <a:off x="6564566" y="5729878"/>
              <a:ext cx="142875" cy="157163"/>
            </a:xfrm>
            <a:custGeom>
              <a:avLst/>
              <a:gdLst>
                <a:gd name="T0" fmla="*/ 38 w 77"/>
                <a:gd name="T1" fmla="*/ 0 h 85"/>
                <a:gd name="T2" fmla="*/ 13 w 77"/>
                <a:gd name="T3" fmla="*/ 9 h 85"/>
                <a:gd name="T4" fmla="*/ 0 w 77"/>
                <a:gd name="T5" fmla="*/ 43 h 85"/>
                <a:gd name="T6" fmla="*/ 11 w 77"/>
                <a:gd name="T7" fmla="*/ 74 h 85"/>
                <a:gd name="T8" fmla="*/ 38 w 77"/>
                <a:gd name="T9" fmla="*/ 85 h 85"/>
                <a:gd name="T10" fmla="*/ 58 w 77"/>
                <a:gd name="T11" fmla="*/ 80 h 85"/>
                <a:gd name="T12" fmla="*/ 72 w 77"/>
                <a:gd name="T13" fmla="*/ 66 h 85"/>
                <a:gd name="T14" fmla="*/ 77 w 77"/>
                <a:gd name="T15" fmla="*/ 42 h 85"/>
                <a:gd name="T16" fmla="*/ 66 w 77"/>
                <a:gd name="T17" fmla="*/ 11 h 85"/>
                <a:gd name="T18" fmla="*/ 38 w 77"/>
                <a:gd name="T19" fmla="*/ 0 h 85"/>
                <a:gd name="T20" fmla="*/ 56 w 77"/>
                <a:gd name="T21" fmla="*/ 66 h 85"/>
                <a:gd name="T22" fmla="*/ 38 w 77"/>
                <a:gd name="T23" fmla="*/ 74 h 85"/>
                <a:gd name="T24" fmla="*/ 21 w 77"/>
                <a:gd name="T25" fmla="*/ 66 h 85"/>
                <a:gd name="T26" fmla="*/ 15 w 77"/>
                <a:gd name="T27" fmla="*/ 43 h 85"/>
                <a:gd name="T28" fmla="*/ 21 w 77"/>
                <a:gd name="T29" fmla="*/ 19 h 85"/>
                <a:gd name="T30" fmla="*/ 38 w 77"/>
                <a:gd name="T31" fmla="*/ 12 h 85"/>
                <a:gd name="T32" fmla="*/ 56 w 77"/>
                <a:gd name="T33" fmla="*/ 19 h 85"/>
                <a:gd name="T34" fmla="*/ 62 w 77"/>
                <a:gd name="T35" fmla="*/ 42 h 85"/>
                <a:gd name="T36" fmla="*/ 56 w 77"/>
                <a:gd name="T37" fmla="*/ 66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77" h="85">
                  <a:moveTo>
                    <a:pt x="38" y="0"/>
                  </a:moveTo>
                  <a:cubicBezTo>
                    <a:pt x="28" y="0"/>
                    <a:pt x="20" y="3"/>
                    <a:pt x="13" y="9"/>
                  </a:cubicBezTo>
                  <a:cubicBezTo>
                    <a:pt x="5" y="16"/>
                    <a:pt x="0" y="28"/>
                    <a:pt x="0" y="43"/>
                  </a:cubicBezTo>
                  <a:cubicBezTo>
                    <a:pt x="0" y="56"/>
                    <a:pt x="4" y="67"/>
                    <a:pt x="11" y="74"/>
                  </a:cubicBezTo>
                  <a:cubicBezTo>
                    <a:pt x="18" y="82"/>
                    <a:pt x="27" y="85"/>
                    <a:pt x="38" y="85"/>
                  </a:cubicBezTo>
                  <a:cubicBezTo>
                    <a:pt x="46" y="85"/>
                    <a:pt x="52" y="84"/>
                    <a:pt x="58" y="80"/>
                  </a:cubicBezTo>
                  <a:cubicBezTo>
                    <a:pt x="64" y="77"/>
                    <a:pt x="69" y="72"/>
                    <a:pt x="72" y="66"/>
                  </a:cubicBezTo>
                  <a:cubicBezTo>
                    <a:pt x="75" y="60"/>
                    <a:pt x="77" y="52"/>
                    <a:pt x="77" y="42"/>
                  </a:cubicBezTo>
                  <a:cubicBezTo>
                    <a:pt x="77" y="29"/>
                    <a:pt x="73" y="19"/>
                    <a:pt x="66" y="11"/>
                  </a:cubicBezTo>
                  <a:cubicBezTo>
                    <a:pt x="59" y="4"/>
                    <a:pt x="50" y="0"/>
                    <a:pt x="38" y="0"/>
                  </a:cubicBezTo>
                  <a:close/>
                  <a:moveTo>
                    <a:pt x="56" y="66"/>
                  </a:moveTo>
                  <a:cubicBezTo>
                    <a:pt x="51" y="71"/>
                    <a:pt x="45" y="74"/>
                    <a:pt x="38" y="74"/>
                  </a:cubicBezTo>
                  <a:cubicBezTo>
                    <a:pt x="32" y="74"/>
                    <a:pt x="26" y="71"/>
                    <a:pt x="21" y="66"/>
                  </a:cubicBezTo>
                  <a:cubicBezTo>
                    <a:pt x="17" y="61"/>
                    <a:pt x="15" y="53"/>
                    <a:pt x="15" y="43"/>
                  </a:cubicBezTo>
                  <a:cubicBezTo>
                    <a:pt x="15" y="32"/>
                    <a:pt x="17" y="24"/>
                    <a:pt x="21" y="19"/>
                  </a:cubicBezTo>
                  <a:cubicBezTo>
                    <a:pt x="26" y="14"/>
                    <a:pt x="32" y="12"/>
                    <a:pt x="38" y="12"/>
                  </a:cubicBezTo>
                  <a:cubicBezTo>
                    <a:pt x="45" y="12"/>
                    <a:pt x="51" y="14"/>
                    <a:pt x="56" y="19"/>
                  </a:cubicBezTo>
                  <a:cubicBezTo>
                    <a:pt x="60" y="25"/>
                    <a:pt x="62" y="32"/>
                    <a:pt x="62" y="42"/>
                  </a:cubicBezTo>
                  <a:cubicBezTo>
                    <a:pt x="62" y="53"/>
                    <a:pt x="60" y="61"/>
                    <a:pt x="56" y="66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1049711" name="ïṣľïḑe"/>
            <p:cNvSpPr/>
            <p:nvPr/>
          </p:nvSpPr>
          <p:spPr bwMode="auto">
            <a:xfrm>
              <a:off x="6720141" y="5672728"/>
              <a:ext cx="85725" cy="209550"/>
            </a:xfrm>
            <a:custGeom>
              <a:avLst/>
              <a:gdLst>
                <a:gd name="T0" fmla="*/ 20 w 47"/>
                <a:gd name="T1" fmla="*/ 4 h 114"/>
                <a:gd name="T2" fmla="*/ 13 w 47"/>
                <a:gd name="T3" fmla="*/ 12 h 114"/>
                <a:gd name="T4" fmla="*/ 12 w 47"/>
                <a:gd name="T5" fmla="*/ 24 h 114"/>
                <a:gd name="T6" fmla="*/ 12 w 47"/>
                <a:gd name="T7" fmla="*/ 33 h 114"/>
                <a:gd name="T8" fmla="*/ 0 w 47"/>
                <a:gd name="T9" fmla="*/ 33 h 114"/>
                <a:gd name="T10" fmla="*/ 0 w 47"/>
                <a:gd name="T11" fmla="*/ 44 h 114"/>
                <a:gd name="T12" fmla="*/ 12 w 47"/>
                <a:gd name="T13" fmla="*/ 44 h 114"/>
                <a:gd name="T14" fmla="*/ 12 w 47"/>
                <a:gd name="T15" fmla="*/ 114 h 114"/>
                <a:gd name="T16" fmla="*/ 26 w 47"/>
                <a:gd name="T17" fmla="*/ 114 h 114"/>
                <a:gd name="T18" fmla="*/ 26 w 47"/>
                <a:gd name="T19" fmla="*/ 44 h 114"/>
                <a:gd name="T20" fmla="*/ 41 w 47"/>
                <a:gd name="T21" fmla="*/ 44 h 114"/>
                <a:gd name="T22" fmla="*/ 41 w 47"/>
                <a:gd name="T23" fmla="*/ 33 h 114"/>
                <a:gd name="T24" fmla="*/ 26 w 47"/>
                <a:gd name="T25" fmla="*/ 33 h 114"/>
                <a:gd name="T26" fmla="*/ 26 w 47"/>
                <a:gd name="T27" fmla="*/ 26 h 114"/>
                <a:gd name="T28" fmla="*/ 28 w 47"/>
                <a:gd name="T29" fmla="*/ 16 h 114"/>
                <a:gd name="T30" fmla="*/ 37 w 47"/>
                <a:gd name="T31" fmla="*/ 13 h 114"/>
                <a:gd name="T32" fmla="*/ 45 w 47"/>
                <a:gd name="T33" fmla="*/ 14 h 114"/>
                <a:gd name="T34" fmla="*/ 47 w 47"/>
                <a:gd name="T35" fmla="*/ 2 h 114"/>
                <a:gd name="T36" fmla="*/ 34 w 47"/>
                <a:gd name="T37" fmla="*/ 0 h 114"/>
                <a:gd name="T38" fmla="*/ 20 w 47"/>
                <a:gd name="T39" fmla="*/ 4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47" h="114">
                  <a:moveTo>
                    <a:pt x="20" y="4"/>
                  </a:moveTo>
                  <a:cubicBezTo>
                    <a:pt x="17" y="6"/>
                    <a:pt x="15" y="9"/>
                    <a:pt x="13" y="12"/>
                  </a:cubicBezTo>
                  <a:cubicBezTo>
                    <a:pt x="12" y="15"/>
                    <a:pt x="12" y="19"/>
                    <a:pt x="12" y="24"/>
                  </a:cubicBezTo>
                  <a:cubicBezTo>
                    <a:pt x="12" y="33"/>
                    <a:pt x="12" y="33"/>
                    <a:pt x="12" y="33"/>
                  </a:cubicBezTo>
                  <a:cubicBezTo>
                    <a:pt x="0" y="33"/>
                    <a:pt x="0" y="33"/>
                    <a:pt x="0" y="33"/>
                  </a:cubicBezTo>
                  <a:cubicBezTo>
                    <a:pt x="0" y="44"/>
                    <a:pt x="0" y="44"/>
                    <a:pt x="0" y="44"/>
                  </a:cubicBezTo>
                  <a:cubicBezTo>
                    <a:pt x="12" y="44"/>
                    <a:pt x="12" y="44"/>
                    <a:pt x="12" y="44"/>
                  </a:cubicBezTo>
                  <a:cubicBezTo>
                    <a:pt x="12" y="114"/>
                    <a:pt x="12" y="114"/>
                    <a:pt x="12" y="114"/>
                  </a:cubicBezTo>
                  <a:cubicBezTo>
                    <a:pt x="26" y="114"/>
                    <a:pt x="26" y="114"/>
                    <a:pt x="26" y="114"/>
                  </a:cubicBezTo>
                  <a:cubicBezTo>
                    <a:pt x="26" y="44"/>
                    <a:pt x="26" y="44"/>
                    <a:pt x="26" y="44"/>
                  </a:cubicBezTo>
                  <a:cubicBezTo>
                    <a:pt x="41" y="44"/>
                    <a:pt x="41" y="44"/>
                    <a:pt x="41" y="44"/>
                  </a:cubicBezTo>
                  <a:cubicBezTo>
                    <a:pt x="41" y="33"/>
                    <a:pt x="41" y="33"/>
                    <a:pt x="41" y="33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26" y="26"/>
                    <a:pt x="26" y="26"/>
                    <a:pt x="26" y="26"/>
                  </a:cubicBezTo>
                  <a:cubicBezTo>
                    <a:pt x="26" y="21"/>
                    <a:pt x="27" y="17"/>
                    <a:pt x="28" y="16"/>
                  </a:cubicBezTo>
                  <a:cubicBezTo>
                    <a:pt x="30" y="14"/>
                    <a:pt x="33" y="13"/>
                    <a:pt x="37" y="13"/>
                  </a:cubicBezTo>
                  <a:cubicBezTo>
                    <a:pt x="40" y="13"/>
                    <a:pt x="42" y="13"/>
                    <a:pt x="45" y="14"/>
                  </a:cubicBezTo>
                  <a:cubicBezTo>
                    <a:pt x="47" y="2"/>
                    <a:pt x="47" y="2"/>
                    <a:pt x="47" y="2"/>
                  </a:cubicBezTo>
                  <a:cubicBezTo>
                    <a:pt x="43" y="1"/>
                    <a:pt x="38" y="0"/>
                    <a:pt x="34" y="0"/>
                  </a:cubicBezTo>
                  <a:cubicBezTo>
                    <a:pt x="28" y="0"/>
                    <a:pt x="24" y="1"/>
                    <a:pt x="20" y="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1049712" name="ïš1îḍè"/>
            <p:cNvSpPr/>
            <p:nvPr/>
          </p:nvSpPr>
          <p:spPr bwMode="auto">
            <a:xfrm>
              <a:off x="6890003" y="5672728"/>
              <a:ext cx="165100" cy="214313"/>
            </a:xfrm>
            <a:custGeom>
              <a:avLst/>
              <a:gdLst>
                <a:gd name="T0" fmla="*/ 71 w 90"/>
                <a:gd name="T1" fmla="*/ 55 h 116"/>
                <a:gd name="T2" fmla="*/ 46 w 90"/>
                <a:gd name="T3" fmla="*/ 48 h 116"/>
                <a:gd name="T4" fmla="*/ 23 w 90"/>
                <a:gd name="T5" fmla="*/ 40 h 116"/>
                <a:gd name="T6" fmla="*/ 19 w 90"/>
                <a:gd name="T7" fmla="*/ 30 h 116"/>
                <a:gd name="T8" fmla="*/ 25 w 90"/>
                <a:gd name="T9" fmla="*/ 18 h 116"/>
                <a:gd name="T10" fmla="*/ 45 w 90"/>
                <a:gd name="T11" fmla="*/ 13 h 116"/>
                <a:gd name="T12" fmla="*/ 64 w 90"/>
                <a:gd name="T13" fmla="*/ 19 h 116"/>
                <a:gd name="T14" fmla="*/ 72 w 90"/>
                <a:gd name="T15" fmla="*/ 35 h 116"/>
                <a:gd name="T16" fmla="*/ 86 w 90"/>
                <a:gd name="T17" fmla="*/ 34 h 116"/>
                <a:gd name="T18" fmla="*/ 81 w 90"/>
                <a:gd name="T19" fmla="*/ 16 h 116"/>
                <a:gd name="T20" fmla="*/ 66 w 90"/>
                <a:gd name="T21" fmla="*/ 4 h 116"/>
                <a:gd name="T22" fmla="*/ 44 w 90"/>
                <a:gd name="T23" fmla="*/ 0 h 116"/>
                <a:gd name="T24" fmla="*/ 24 w 90"/>
                <a:gd name="T25" fmla="*/ 4 h 116"/>
                <a:gd name="T26" fmla="*/ 10 w 90"/>
                <a:gd name="T27" fmla="*/ 15 h 116"/>
                <a:gd name="T28" fmla="*/ 5 w 90"/>
                <a:gd name="T29" fmla="*/ 31 h 116"/>
                <a:gd name="T30" fmla="*/ 9 w 90"/>
                <a:gd name="T31" fmla="*/ 45 h 116"/>
                <a:gd name="T32" fmla="*/ 21 w 90"/>
                <a:gd name="T33" fmla="*/ 56 h 116"/>
                <a:gd name="T34" fmla="*/ 42 w 90"/>
                <a:gd name="T35" fmla="*/ 63 h 116"/>
                <a:gd name="T36" fmla="*/ 62 w 90"/>
                <a:gd name="T37" fmla="*/ 68 h 116"/>
                <a:gd name="T38" fmla="*/ 72 w 90"/>
                <a:gd name="T39" fmla="*/ 75 h 116"/>
                <a:gd name="T40" fmla="*/ 75 w 90"/>
                <a:gd name="T41" fmla="*/ 84 h 116"/>
                <a:gd name="T42" fmla="*/ 72 w 90"/>
                <a:gd name="T43" fmla="*/ 93 h 116"/>
                <a:gd name="T44" fmla="*/ 63 w 90"/>
                <a:gd name="T45" fmla="*/ 100 h 116"/>
                <a:gd name="T46" fmla="*/ 48 w 90"/>
                <a:gd name="T47" fmla="*/ 103 h 116"/>
                <a:gd name="T48" fmla="*/ 30 w 90"/>
                <a:gd name="T49" fmla="*/ 100 h 116"/>
                <a:gd name="T50" fmla="*/ 19 w 90"/>
                <a:gd name="T51" fmla="*/ 91 h 116"/>
                <a:gd name="T52" fmla="*/ 14 w 90"/>
                <a:gd name="T53" fmla="*/ 77 h 116"/>
                <a:gd name="T54" fmla="*/ 0 w 90"/>
                <a:gd name="T55" fmla="*/ 78 h 116"/>
                <a:gd name="T56" fmla="*/ 7 w 90"/>
                <a:gd name="T57" fmla="*/ 98 h 116"/>
                <a:gd name="T58" fmla="*/ 23 w 90"/>
                <a:gd name="T59" fmla="*/ 112 h 116"/>
                <a:gd name="T60" fmla="*/ 48 w 90"/>
                <a:gd name="T61" fmla="*/ 116 h 116"/>
                <a:gd name="T62" fmla="*/ 70 w 90"/>
                <a:gd name="T63" fmla="*/ 112 h 116"/>
                <a:gd name="T64" fmla="*/ 85 w 90"/>
                <a:gd name="T65" fmla="*/ 100 h 116"/>
                <a:gd name="T66" fmla="*/ 90 w 90"/>
                <a:gd name="T67" fmla="*/ 83 h 116"/>
                <a:gd name="T68" fmla="*/ 85 w 90"/>
                <a:gd name="T69" fmla="*/ 67 h 116"/>
                <a:gd name="T70" fmla="*/ 71 w 90"/>
                <a:gd name="T71" fmla="*/ 55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90" h="116">
                  <a:moveTo>
                    <a:pt x="71" y="55"/>
                  </a:moveTo>
                  <a:cubicBezTo>
                    <a:pt x="66" y="53"/>
                    <a:pt x="58" y="51"/>
                    <a:pt x="46" y="48"/>
                  </a:cubicBezTo>
                  <a:cubicBezTo>
                    <a:pt x="34" y="45"/>
                    <a:pt x="26" y="43"/>
                    <a:pt x="23" y="40"/>
                  </a:cubicBezTo>
                  <a:cubicBezTo>
                    <a:pt x="21" y="38"/>
                    <a:pt x="19" y="34"/>
                    <a:pt x="19" y="30"/>
                  </a:cubicBezTo>
                  <a:cubicBezTo>
                    <a:pt x="19" y="26"/>
                    <a:pt x="21" y="22"/>
                    <a:pt x="25" y="18"/>
                  </a:cubicBezTo>
                  <a:cubicBezTo>
                    <a:pt x="29" y="15"/>
                    <a:pt x="36" y="13"/>
                    <a:pt x="45" y="13"/>
                  </a:cubicBezTo>
                  <a:cubicBezTo>
                    <a:pt x="53" y="13"/>
                    <a:pt x="60" y="15"/>
                    <a:pt x="64" y="19"/>
                  </a:cubicBezTo>
                  <a:cubicBezTo>
                    <a:pt x="69" y="22"/>
                    <a:pt x="71" y="28"/>
                    <a:pt x="72" y="35"/>
                  </a:cubicBezTo>
                  <a:cubicBezTo>
                    <a:pt x="86" y="34"/>
                    <a:pt x="86" y="34"/>
                    <a:pt x="86" y="34"/>
                  </a:cubicBezTo>
                  <a:cubicBezTo>
                    <a:pt x="86" y="27"/>
                    <a:pt x="84" y="21"/>
                    <a:pt x="81" y="16"/>
                  </a:cubicBezTo>
                  <a:cubicBezTo>
                    <a:pt x="77" y="11"/>
                    <a:pt x="73" y="7"/>
                    <a:pt x="66" y="4"/>
                  </a:cubicBezTo>
                  <a:cubicBezTo>
                    <a:pt x="60" y="2"/>
                    <a:pt x="53" y="0"/>
                    <a:pt x="44" y="0"/>
                  </a:cubicBezTo>
                  <a:cubicBezTo>
                    <a:pt x="37" y="0"/>
                    <a:pt x="30" y="1"/>
                    <a:pt x="24" y="4"/>
                  </a:cubicBezTo>
                  <a:cubicBezTo>
                    <a:pt x="17" y="7"/>
                    <a:pt x="13" y="10"/>
                    <a:pt x="10" y="15"/>
                  </a:cubicBezTo>
                  <a:cubicBezTo>
                    <a:pt x="6" y="20"/>
                    <a:pt x="5" y="25"/>
                    <a:pt x="5" y="31"/>
                  </a:cubicBezTo>
                  <a:cubicBezTo>
                    <a:pt x="5" y="36"/>
                    <a:pt x="6" y="41"/>
                    <a:pt x="9" y="45"/>
                  </a:cubicBezTo>
                  <a:cubicBezTo>
                    <a:pt x="11" y="49"/>
                    <a:pt x="15" y="53"/>
                    <a:pt x="21" y="56"/>
                  </a:cubicBezTo>
                  <a:cubicBezTo>
                    <a:pt x="25" y="58"/>
                    <a:pt x="32" y="60"/>
                    <a:pt x="42" y="63"/>
                  </a:cubicBezTo>
                  <a:cubicBezTo>
                    <a:pt x="53" y="65"/>
                    <a:pt x="59" y="67"/>
                    <a:pt x="62" y="68"/>
                  </a:cubicBezTo>
                  <a:cubicBezTo>
                    <a:pt x="67" y="70"/>
                    <a:pt x="70" y="72"/>
                    <a:pt x="72" y="75"/>
                  </a:cubicBezTo>
                  <a:cubicBezTo>
                    <a:pt x="74" y="77"/>
                    <a:pt x="75" y="80"/>
                    <a:pt x="75" y="84"/>
                  </a:cubicBezTo>
                  <a:cubicBezTo>
                    <a:pt x="75" y="87"/>
                    <a:pt x="74" y="91"/>
                    <a:pt x="72" y="93"/>
                  </a:cubicBezTo>
                  <a:cubicBezTo>
                    <a:pt x="70" y="96"/>
                    <a:pt x="67" y="99"/>
                    <a:pt x="63" y="100"/>
                  </a:cubicBezTo>
                  <a:cubicBezTo>
                    <a:pt x="58" y="102"/>
                    <a:pt x="53" y="103"/>
                    <a:pt x="48" y="103"/>
                  </a:cubicBezTo>
                  <a:cubicBezTo>
                    <a:pt x="41" y="103"/>
                    <a:pt x="35" y="102"/>
                    <a:pt x="30" y="100"/>
                  </a:cubicBezTo>
                  <a:cubicBezTo>
                    <a:pt x="25" y="97"/>
                    <a:pt x="22" y="94"/>
                    <a:pt x="19" y="91"/>
                  </a:cubicBezTo>
                  <a:cubicBezTo>
                    <a:pt x="17" y="87"/>
                    <a:pt x="15" y="83"/>
                    <a:pt x="14" y="77"/>
                  </a:cubicBezTo>
                  <a:cubicBezTo>
                    <a:pt x="0" y="78"/>
                    <a:pt x="0" y="78"/>
                    <a:pt x="0" y="78"/>
                  </a:cubicBezTo>
                  <a:cubicBezTo>
                    <a:pt x="1" y="86"/>
                    <a:pt x="3" y="93"/>
                    <a:pt x="7" y="98"/>
                  </a:cubicBezTo>
                  <a:cubicBezTo>
                    <a:pt x="11" y="104"/>
                    <a:pt x="16" y="109"/>
                    <a:pt x="23" y="112"/>
                  </a:cubicBezTo>
                  <a:cubicBezTo>
                    <a:pt x="30" y="115"/>
                    <a:pt x="38" y="116"/>
                    <a:pt x="48" y="116"/>
                  </a:cubicBezTo>
                  <a:cubicBezTo>
                    <a:pt x="56" y="116"/>
                    <a:pt x="64" y="115"/>
                    <a:pt x="70" y="112"/>
                  </a:cubicBezTo>
                  <a:cubicBezTo>
                    <a:pt x="76" y="109"/>
                    <a:pt x="81" y="105"/>
                    <a:pt x="85" y="100"/>
                  </a:cubicBezTo>
                  <a:cubicBezTo>
                    <a:pt x="88" y="94"/>
                    <a:pt x="90" y="89"/>
                    <a:pt x="90" y="83"/>
                  </a:cubicBezTo>
                  <a:cubicBezTo>
                    <a:pt x="90" y="77"/>
                    <a:pt x="88" y="71"/>
                    <a:pt x="85" y="67"/>
                  </a:cubicBezTo>
                  <a:cubicBezTo>
                    <a:pt x="82" y="62"/>
                    <a:pt x="77" y="58"/>
                    <a:pt x="71" y="5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1049713" name="iṥľïḍê"/>
            <p:cNvSpPr/>
            <p:nvPr/>
          </p:nvSpPr>
          <p:spPr bwMode="auto">
            <a:xfrm>
              <a:off x="7080503" y="5729878"/>
              <a:ext cx="131763" cy="157163"/>
            </a:xfrm>
            <a:custGeom>
              <a:avLst/>
              <a:gdLst>
                <a:gd name="T0" fmla="*/ 50 w 71"/>
                <a:gd name="T1" fmla="*/ 69 h 85"/>
                <a:gd name="T2" fmla="*/ 37 w 71"/>
                <a:gd name="T3" fmla="*/ 74 h 85"/>
                <a:gd name="T4" fmla="*/ 21 w 71"/>
                <a:gd name="T5" fmla="*/ 66 h 85"/>
                <a:gd name="T6" fmla="*/ 14 w 71"/>
                <a:gd name="T7" fmla="*/ 43 h 85"/>
                <a:gd name="T8" fmla="*/ 21 w 71"/>
                <a:gd name="T9" fmla="*/ 19 h 85"/>
                <a:gd name="T10" fmla="*/ 38 w 71"/>
                <a:gd name="T11" fmla="*/ 12 h 85"/>
                <a:gd name="T12" fmla="*/ 49 w 71"/>
                <a:gd name="T13" fmla="*/ 16 h 85"/>
                <a:gd name="T14" fmla="*/ 56 w 71"/>
                <a:gd name="T15" fmla="*/ 28 h 85"/>
                <a:gd name="T16" fmla="*/ 70 w 71"/>
                <a:gd name="T17" fmla="*/ 26 h 85"/>
                <a:gd name="T18" fmla="*/ 59 w 71"/>
                <a:gd name="T19" fmla="*/ 7 h 85"/>
                <a:gd name="T20" fmla="*/ 37 w 71"/>
                <a:gd name="T21" fmla="*/ 0 h 85"/>
                <a:gd name="T22" fmla="*/ 18 w 71"/>
                <a:gd name="T23" fmla="*/ 5 h 85"/>
                <a:gd name="T24" fmla="*/ 4 w 71"/>
                <a:gd name="T25" fmla="*/ 20 h 85"/>
                <a:gd name="T26" fmla="*/ 0 w 71"/>
                <a:gd name="T27" fmla="*/ 43 h 85"/>
                <a:gd name="T28" fmla="*/ 10 w 71"/>
                <a:gd name="T29" fmla="*/ 74 h 85"/>
                <a:gd name="T30" fmla="*/ 37 w 71"/>
                <a:gd name="T31" fmla="*/ 85 h 85"/>
                <a:gd name="T32" fmla="*/ 60 w 71"/>
                <a:gd name="T33" fmla="*/ 77 h 85"/>
                <a:gd name="T34" fmla="*/ 71 w 71"/>
                <a:gd name="T35" fmla="*/ 55 h 85"/>
                <a:gd name="T36" fmla="*/ 57 w 71"/>
                <a:gd name="T37" fmla="*/ 54 h 85"/>
                <a:gd name="T38" fmla="*/ 50 w 71"/>
                <a:gd name="T39" fmla="*/ 69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71" h="85">
                  <a:moveTo>
                    <a:pt x="50" y="69"/>
                  </a:moveTo>
                  <a:cubicBezTo>
                    <a:pt x="47" y="72"/>
                    <a:pt x="42" y="74"/>
                    <a:pt x="37" y="74"/>
                  </a:cubicBezTo>
                  <a:cubicBezTo>
                    <a:pt x="30" y="74"/>
                    <a:pt x="25" y="71"/>
                    <a:pt x="21" y="66"/>
                  </a:cubicBezTo>
                  <a:cubicBezTo>
                    <a:pt x="16" y="61"/>
                    <a:pt x="14" y="54"/>
                    <a:pt x="14" y="43"/>
                  </a:cubicBezTo>
                  <a:cubicBezTo>
                    <a:pt x="14" y="32"/>
                    <a:pt x="16" y="24"/>
                    <a:pt x="21" y="19"/>
                  </a:cubicBezTo>
                  <a:cubicBezTo>
                    <a:pt x="25" y="14"/>
                    <a:pt x="31" y="12"/>
                    <a:pt x="38" y="12"/>
                  </a:cubicBezTo>
                  <a:cubicBezTo>
                    <a:pt x="42" y="12"/>
                    <a:pt x="46" y="13"/>
                    <a:pt x="49" y="16"/>
                  </a:cubicBezTo>
                  <a:cubicBezTo>
                    <a:pt x="53" y="18"/>
                    <a:pt x="55" y="23"/>
                    <a:pt x="56" y="28"/>
                  </a:cubicBezTo>
                  <a:cubicBezTo>
                    <a:pt x="70" y="26"/>
                    <a:pt x="70" y="26"/>
                    <a:pt x="70" y="26"/>
                  </a:cubicBezTo>
                  <a:cubicBezTo>
                    <a:pt x="68" y="18"/>
                    <a:pt x="64" y="11"/>
                    <a:pt x="59" y="7"/>
                  </a:cubicBezTo>
                  <a:cubicBezTo>
                    <a:pt x="53" y="2"/>
                    <a:pt x="46" y="0"/>
                    <a:pt x="37" y="0"/>
                  </a:cubicBezTo>
                  <a:cubicBezTo>
                    <a:pt x="30" y="0"/>
                    <a:pt x="24" y="2"/>
                    <a:pt x="18" y="5"/>
                  </a:cubicBezTo>
                  <a:cubicBezTo>
                    <a:pt x="12" y="8"/>
                    <a:pt x="7" y="13"/>
                    <a:pt x="4" y="20"/>
                  </a:cubicBezTo>
                  <a:cubicBezTo>
                    <a:pt x="2" y="27"/>
                    <a:pt x="0" y="34"/>
                    <a:pt x="0" y="43"/>
                  </a:cubicBezTo>
                  <a:cubicBezTo>
                    <a:pt x="0" y="57"/>
                    <a:pt x="3" y="67"/>
                    <a:pt x="10" y="74"/>
                  </a:cubicBezTo>
                  <a:cubicBezTo>
                    <a:pt x="17" y="82"/>
                    <a:pt x="26" y="85"/>
                    <a:pt x="37" y="85"/>
                  </a:cubicBezTo>
                  <a:cubicBezTo>
                    <a:pt x="46" y="85"/>
                    <a:pt x="53" y="83"/>
                    <a:pt x="60" y="77"/>
                  </a:cubicBezTo>
                  <a:cubicBezTo>
                    <a:pt x="66" y="72"/>
                    <a:pt x="69" y="65"/>
                    <a:pt x="71" y="55"/>
                  </a:cubicBezTo>
                  <a:cubicBezTo>
                    <a:pt x="57" y="54"/>
                    <a:pt x="57" y="54"/>
                    <a:pt x="57" y="54"/>
                  </a:cubicBezTo>
                  <a:cubicBezTo>
                    <a:pt x="56" y="60"/>
                    <a:pt x="54" y="66"/>
                    <a:pt x="50" y="6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1049714" name="íṥ1ïdê"/>
            <p:cNvSpPr/>
            <p:nvPr/>
          </p:nvSpPr>
          <p:spPr bwMode="auto">
            <a:xfrm>
              <a:off x="7234491" y="5675903"/>
              <a:ext cx="25400" cy="30163"/>
            </a:xfrm>
            <a:prstGeom prst="rect">
              <a:avLst/>
            </a:pr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1049715" name="îṡ1îďé"/>
            <p:cNvSpPr/>
            <p:nvPr/>
          </p:nvSpPr>
          <p:spPr bwMode="auto">
            <a:xfrm>
              <a:off x="7234491" y="5733053"/>
              <a:ext cx="25400" cy="149225"/>
            </a:xfrm>
            <a:prstGeom prst="rect">
              <a:avLst/>
            </a:pr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1049716" name="íṩḷïḑé"/>
            <p:cNvSpPr/>
            <p:nvPr/>
          </p:nvSpPr>
          <p:spPr bwMode="auto">
            <a:xfrm>
              <a:off x="7290053" y="5729878"/>
              <a:ext cx="138113" cy="157163"/>
            </a:xfrm>
            <a:custGeom>
              <a:avLst/>
              <a:gdLst>
                <a:gd name="T0" fmla="*/ 38 w 75"/>
                <a:gd name="T1" fmla="*/ 0 h 85"/>
                <a:gd name="T2" fmla="*/ 10 w 75"/>
                <a:gd name="T3" fmla="*/ 12 h 85"/>
                <a:gd name="T4" fmla="*/ 0 w 75"/>
                <a:gd name="T5" fmla="*/ 43 h 85"/>
                <a:gd name="T6" fmla="*/ 10 w 75"/>
                <a:gd name="T7" fmla="*/ 74 h 85"/>
                <a:gd name="T8" fmla="*/ 39 w 75"/>
                <a:gd name="T9" fmla="*/ 85 h 85"/>
                <a:gd name="T10" fmla="*/ 62 w 75"/>
                <a:gd name="T11" fmla="*/ 78 h 85"/>
                <a:gd name="T12" fmla="*/ 74 w 75"/>
                <a:gd name="T13" fmla="*/ 59 h 85"/>
                <a:gd name="T14" fmla="*/ 60 w 75"/>
                <a:gd name="T15" fmla="*/ 57 h 85"/>
                <a:gd name="T16" fmla="*/ 52 w 75"/>
                <a:gd name="T17" fmla="*/ 70 h 85"/>
                <a:gd name="T18" fmla="*/ 39 w 75"/>
                <a:gd name="T19" fmla="*/ 74 h 85"/>
                <a:gd name="T20" fmla="*/ 22 w 75"/>
                <a:gd name="T21" fmla="*/ 67 h 85"/>
                <a:gd name="T22" fmla="*/ 14 w 75"/>
                <a:gd name="T23" fmla="*/ 46 h 85"/>
                <a:gd name="T24" fmla="*/ 75 w 75"/>
                <a:gd name="T25" fmla="*/ 46 h 85"/>
                <a:gd name="T26" fmla="*/ 75 w 75"/>
                <a:gd name="T27" fmla="*/ 43 h 85"/>
                <a:gd name="T28" fmla="*/ 65 w 75"/>
                <a:gd name="T29" fmla="*/ 11 h 85"/>
                <a:gd name="T30" fmla="*/ 38 w 75"/>
                <a:gd name="T31" fmla="*/ 0 h 85"/>
                <a:gd name="T32" fmla="*/ 15 w 75"/>
                <a:gd name="T33" fmla="*/ 35 h 85"/>
                <a:gd name="T34" fmla="*/ 22 w 75"/>
                <a:gd name="T35" fmla="*/ 18 h 85"/>
                <a:gd name="T36" fmla="*/ 38 w 75"/>
                <a:gd name="T37" fmla="*/ 12 h 85"/>
                <a:gd name="T38" fmla="*/ 55 w 75"/>
                <a:gd name="T39" fmla="*/ 20 h 85"/>
                <a:gd name="T40" fmla="*/ 60 w 75"/>
                <a:gd name="T41" fmla="*/ 35 h 85"/>
                <a:gd name="T42" fmla="*/ 15 w 75"/>
                <a:gd name="T43" fmla="*/ 35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75" h="85">
                  <a:moveTo>
                    <a:pt x="38" y="0"/>
                  </a:moveTo>
                  <a:cubicBezTo>
                    <a:pt x="27" y="0"/>
                    <a:pt x="18" y="4"/>
                    <a:pt x="10" y="12"/>
                  </a:cubicBezTo>
                  <a:cubicBezTo>
                    <a:pt x="3" y="19"/>
                    <a:pt x="0" y="30"/>
                    <a:pt x="0" y="43"/>
                  </a:cubicBezTo>
                  <a:cubicBezTo>
                    <a:pt x="0" y="57"/>
                    <a:pt x="3" y="67"/>
                    <a:pt x="10" y="74"/>
                  </a:cubicBezTo>
                  <a:cubicBezTo>
                    <a:pt x="17" y="81"/>
                    <a:pt x="27" y="85"/>
                    <a:pt x="39" y="85"/>
                  </a:cubicBezTo>
                  <a:cubicBezTo>
                    <a:pt x="48" y="85"/>
                    <a:pt x="56" y="83"/>
                    <a:pt x="62" y="78"/>
                  </a:cubicBezTo>
                  <a:cubicBezTo>
                    <a:pt x="68" y="74"/>
                    <a:pt x="72" y="67"/>
                    <a:pt x="74" y="59"/>
                  </a:cubicBezTo>
                  <a:cubicBezTo>
                    <a:pt x="60" y="57"/>
                    <a:pt x="60" y="57"/>
                    <a:pt x="60" y="57"/>
                  </a:cubicBezTo>
                  <a:cubicBezTo>
                    <a:pt x="58" y="63"/>
                    <a:pt x="55" y="67"/>
                    <a:pt x="52" y="70"/>
                  </a:cubicBezTo>
                  <a:cubicBezTo>
                    <a:pt x="48" y="73"/>
                    <a:pt x="44" y="74"/>
                    <a:pt x="39" y="74"/>
                  </a:cubicBezTo>
                  <a:cubicBezTo>
                    <a:pt x="32" y="74"/>
                    <a:pt x="26" y="71"/>
                    <a:pt x="22" y="67"/>
                  </a:cubicBezTo>
                  <a:cubicBezTo>
                    <a:pt x="17" y="62"/>
                    <a:pt x="15" y="55"/>
                    <a:pt x="14" y="46"/>
                  </a:cubicBezTo>
                  <a:cubicBezTo>
                    <a:pt x="75" y="46"/>
                    <a:pt x="75" y="46"/>
                    <a:pt x="75" y="46"/>
                  </a:cubicBezTo>
                  <a:cubicBezTo>
                    <a:pt x="75" y="45"/>
                    <a:pt x="75" y="43"/>
                    <a:pt x="75" y="43"/>
                  </a:cubicBezTo>
                  <a:cubicBezTo>
                    <a:pt x="75" y="29"/>
                    <a:pt x="71" y="19"/>
                    <a:pt x="65" y="11"/>
                  </a:cubicBezTo>
                  <a:cubicBezTo>
                    <a:pt x="58" y="4"/>
                    <a:pt x="49" y="0"/>
                    <a:pt x="38" y="0"/>
                  </a:cubicBezTo>
                  <a:close/>
                  <a:moveTo>
                    <a:pt x="15" y="35"/>
                  </a:moveTo>
                  <a:cubicBezTo>
                    <a:pt x="15" y="28"/>
                    <a:pt x="18" y="22"/>
                    <a:pt x="22" y="18"/>
                  </a:cubicBezTo>
                  <a:cubicBezTo>
                    <a:pt x="26" y="14"/>
                    <a:pt x="32" y="12"/>
                    <a:pt x="38" y="12"/>
                  </a:cubicBezTo>
                  <a:cubicBezTo>
                    <a:pt x="45" y="12"/>
                    <a:pt x="51" y="14"/>
                    <a:pt x="55" y="20"/>
                  </a:cubicBezTo>
                  <a:cubicBezTo>
                    <a:pt x="58" y="23"/>
                    <a:pt x="60" y="28"/>
                    <a:pt x="60" y="35"/>
                  </a:cubicBezTo>
                  <a:lnTo>
                    <a:pt x="15" y="35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1049717" name="ïşḷiḋè"/>
            <p:cNvSpPr/>
            <p:nvPr/>
          </p:nvSpPr>
          <p:spPr bwMode="auto">
            <a:xfrm>
              <a:off x="7458328" y="5729878"/>
              <a:ext cx="122238" cy="152400"/>
            </a:xfrm>
            <a:custGeom>
              <a:avLst/>
              <a:gdLst>
                <a:gd name="T0" fmla="*/ 61 w 66"/>
                <a:gd name="T1" fmla="*/ 10 h 83"/>
                <a:gd name="T2" fmla="*/ 51 w 66"/>
                <a:gd name="T3" fmla="*/ 3 h 83"/>
                <a:gd name="T4" fmla="*/ 38 w 66"/>
                <a:gd name="T5" fmla="*/ 0 h 83"/>
                <a:gd name="T6" fmla="*/ 12 w 66"/>
                <a:gd name="T7" fmla="*/ 14 h 83"/>
                <a:gd name="T8" fmla="*/ 12 w 66"/>
                <a:gd name="T9" fmla="*/ 2 h 83"/>
                <a:gd name="T10" fmla="*/ 0 w 66"/>
                <a:gd name="T11" fmla="*/ 2 h 83"/>
                <a:gd name="T12" fmla="*/ 0 w 66"/>
                <a:gd name="T13" fmla="*/ 83 h 83"/>
                <a:gd name="T14" fmla="*/ 13 w 66"/>
                <a:gd name="T15" fmla="*/ 83 h 83"/>
                <a:gd name="T16" fmla="*/ 13 w 66"/>
                <a:gd name="T17" fmla="*/ 39 h 83"/>
                <a:gd name="T18" fmla="*/ 20 w 66"/>
                <a:gd name="T19" fmla="*/ 18 h 83"/>
                <a:gd name="T20" fmla="*/ 35 w 66"/>
                <a:gd name="T21" fmla="*/ 12 h 83"/>
                <a:gd name="T22" fmla="*/ 45 w 66"/>
                <a:gd name="T23" fmla="*/ 15 h 83"/>
                <a:gd name="T24" fmla="*/ 50 w 66"/>
                <a:gd name="T25" fmla="*/ 21 h 83"/>
                <a:gd name="T26" fmla="*/ 52 w 66"/>
                <a:gd name="T27" fmla="*/ 34 h 83"/>
                <a:gd name="T28" fmla="*/ 52 w 66"/>
                <a:gd name="T29" fmla="*/ 83 h 83"/>
                <a:gd name="T30" fmla="*/ 66 w 66"/>
                <a:gd name="T31" fmla="*/ 83 h 83"/>
                <a:gd name="T32" fmla="*/ 66 w 66"/>
                <a:gd name="T33" fmla="*/ 33 h 83"/>
                <a:gd name="T34" fmla="*/ 65 w 66"/>
                <a:gd name="T35" fmla="*/ 20 h 83"/>
                <a:gd name="T36" fmla="*/ 61 w 66"/>
                <a:gd name="T37" fmla="*/ 10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6" h="83">
                  <a:moveTo>
                    <a:pt x="61" y="10"/>
                  </a:moveTo>
                  <a:cubicBezTo>
                    <a:pt x="59" y="7"/>
                    <a:pt x="56" y="5"/>
                    <a:pt x="51" y="3"/>
                  </a:cubicBezTo>
                  <a:cubicBezTo>
                    <a:pt x="47" y="1"/>
                    <a:pt x="43" y="0"/>
                    <a:pt x="38" y="0"/>
                  </a:cubicBezTo>
                  <a:cubicBezTo>
                    <a:pt x="27" y="0"/>
                    <a:pt x="18" y="5"/>
                    <a:pt x="12" y="14"/>
                  </a:cubicBezTo>
                  <a:cubicBezTo>
                    <a:pt x="12" y="2"/>
                    <a:pt x="12" y="2"/>
                    <a:pt x="12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83"/>
                    <a:pt x="0" y="83"/>
                    <a:pt x="0" y="83"/>
                  </a:cubicBezTo>
                  <a:cubicBezTo>
                    <a:pt x="13" y="83"/>
                    <a:pt x="13" y="83"/>
                    <a:pt x="13" y="83"/>
                  </a:cubicBezTo>
                  <a:cubicBezTo>
                    <a:pt x="13" y="39"/>
                    <a:pt x="13" y="39"/>
                    <a:pt x="13" y="39"/>
                  </a:cubicBezTo>
                  <a:cubicBezTo>
                    <a:pt x="13" y="29"/>
                    <a:pt x="16" y="21"/>
                    <a:pt x="20" y="18"/>
                  </a:cubicBezTo>
                  <a:cubicBezTo>
                    <a:pt x="24" y="14"/>
                    <a:pt x="29" y="12"/>
                    <a:pt x="35" y="12"/>
                  </a:cubicBezTo>
                  <a:cubicBezTo>
                    <a:pt x="39" y="12"/>
                    <a:pt x="42" y="13"/>
                    <a:pt x="45" y="15"/>
                  </a:cubicBezTo>
                  <a:cubicBezTo>
                    <a:pt x="47" y="16"/>
                    <a:pt x="49" y="19"/>
                    <a:pt x="50" y="21"/>
                  </a:cubicBezTo>
                  <a:cubicBezTo>
                    <a:pt x="51" y="24"/>
                    <a:pt x="52" y="28"/>
                    <a:pt x="52" y="34"/>
                  </a:cubicBezTo>
                  <a:cubicBezTo>
                    <a:pt x="52" y="83"/>
                    <a:pt x="52" y="83"/>
                    <a:pt x="52" y="83"/>
                  </a:cubicBezTo>
                  <a:cubicBezTo>
                    <a:pt x="66" y="83"/>
                    <a:pt x="66" y="83"/>
                    <a:pt x="66" y="83"/>
                  </a:cubicBezTo>
                  <a:cubicBezTo>
                    <a:pt x="66" y="33"/>
                    <a:pt x="66" y="33"/>
                    <a:pt x="66" y="33"/>
                  </a:cubicBezTo>
                  <a:cubicBezTo>
                    <a:pt x="66" y="27"/>
                    <a:pt x="65" y="23"/>
                    <a:pt x="65" y="20"/>
                  </a:cubicBezTo>
                  <a:cubicBezTo>
                    <a:pt x="64" y="16"/>
                    <a:pt x="63" y="13"/>
                    <a:pt x="61" y="1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1049718" name="îṩľiḍé"/>
            <p:cNvSpPr/>
            <p:nvPr/>
          </p:nvSpPr>
          <p:spPr bwMode="auto">
            <a:xfrm>
              <a:off x="7612316" y="5729878"/>
              <a:ext cx="128588" cy="157163"/>
            </a:xfrm>
            <a:custGeom>
              <a:avLst/>
              <a:gdLst>
                <a:gd name="T0" fmla="*/ 50 w 70"/>
                <a:gd name="T1" fmla="*/ 69 h 85"/>
                <a:gd name="T2" fmla="*/ 36 w 70"/>
                <a:gd name="T3" fmla="*/ 74 h 85"/>
                <a:gd name="T4" fmla="*/ 20 w 70"/>
                <a:gd name="T5" fmla="*/ 66 h 85"/>
                <a:gd name="T6" fmla="*/ 14 w 70"/>
                <a:gd name="T7" fmla="*/ 43 h 85"/>
                <a:gd name="T8" fmla="*/ 20 w 70"/>
                <a:gd name="T9" fmla="*/ 19 h 85"/>
                <a:gd name="T10" fmla="*/ 37 w 70"/>
                <a:gd name="T11" fmla="*/ 12 h 85"/>
                <a:gd name="T12" fmla="*/ 49 w 70"/>
                <a:gd name="T13" fmla="*/ 16 h 85"/>
                <a:gd name="T14" fmla="*/ 56 w 70"/>
                <a:gd name="T15" fmla="*/ 28 h 85"/>
                <a:gd name="T16" fmla="*/ 69 w 70"/>
                <a:gd name="T17" fmla="*/ 26 h 85"/>
                <a:gd name="T18" fmla="*/ 58 w 70"/>
                <a:gd name="T19" fmla="*/ 7 h 85"/>
                <a:gd name="T20" fmla="*/ 37 w 70"/>
                <a:gd name="T21" fmla="*/ 0 h 85"/>
                <a:gd name="T22" fmla="*/ 17 w 70"/>
                <a:gd name="T23" fmla="*/ 5 h 85"/>
                <a:gd name="T24" fmla="*/ 4 w 70"/>
                <a:gd name="T25" fmla="*/ 20 h 85"/>
                <a:gd name="T26" fmla="*/ 0 w 70"/>
                <a:gd name="T27" fmla="*/ 43 h 85"/>
                <a:gd name="T28" fmla="*/ 10 w 70"/>
                <a:gd name="T29" fmla="*/ 74 h 85"/>
                <a:gd name="T30" fmla="*/ 37 w 70"/>
                <a:gd name="T31" fmla="*/ 85 h 85"/>
                <a:gd name="T32" fmla="*/ 59 w 70"/>
                <a:gd name="T33" fmla="*/ 77 h 85"/>
                <a:gd name="T34" fmla="*/ 70 w 70"/>
                <a:gd name="T35" fmla="*/ 55 h 85"/>
                <a:gd name="T36" fmla="*/ 57 w 70"/>
                <a:gd name="T37" fmla="*/ 54 h 85"/>
                <a:gd name="T38" fmla="*/ 50 w 70"/>
                <a:gd name="T39" fmla="*/ 69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70" h="85">
                  <a:moveTo>
                    <a:pt x="50" y="69"/>
                  </a:moveTo>
                  <a:cubicBezTo>
                    <a:pt x="46" y="72"/>
                    <a:pt x="42" y="74"/>
                    <a:pt x="36" y="74"/>
                  </a:cubicBezTo>
                  <a:cubicBezTo>
                    <a:pt x="30" y="74"/>
                    <a:pt x="24" y="71"/>
                    <a:pt x="20" y="66"/>
                  </a:cubicBezTo>
                  <a:cubicBezTo>
                    <a:pt x="16" y="61"/>
                    <a:pt x="14" y="54"/>
                    <a:pt x="14" y="43"/>
                  </a:cubicBezTo>
                  <a:cubicBezTo>
                    <a:pt x="14" y="32"/>
                    <a:pt x="16" y="24"/>
                    <a:pt x="20" y="19"/>
                  </a:cubicBezTo>
                  <a:cubicBezTo>
                    <a:pt x="25" y="14"/>
                    <a:pt x="30" y="12"/>
                    <a:pt x="37" y="12"/>
                  </a:cubicBezTo>
                  <a:cubicBezTo>
                    <a:pt x="42" y="12"/>
                    <a:pt x="46" y="13"/>
                    <a:pt x="49" y="16"/>
                  </a:cubicBezTo>
                  <a:cubicBezTo>
                    <a:pt x="52" y="18"/>
                    <a:pt x="54" y="23"/>
                    <a:pt x="56" y="28"/>
                  </a:cubicBezTo>
                  <a:cubicBezTo>
                    <a:pt x="69" y="26"/>
                    <a:pt x="69" y="26"/>
                    <a:pt x="69" y="26"/>
                  </a:cubicBezTo>
                  <a:cubicBezTo>
                    <a:pt x="68" y="18"/>
                    <a:pt x="64" y="11"/>
                    <a:pt x="58" y="7"/>
                  </a:cubicBezTo>
                  <a:cubicBezTo>
                    <a:pt x="53" y="2"/>
                    <a:pt x="46" y="0"/>
                    <a:pt x="37" y="0"/>
                  </a:cubicBezTo>
                  <a:cubicBezTo>
                    <a:pt x="30" y="0"/>
                    <a:pt x="23" y="2"/>
                    <a:pt x="17" y="5"/>
                  </a:cubicBezTo>
                  <a:cubicBezTo>
                    <a:pt x="11" y="8"/>
                    <a:pt x="7" y="13"/>
                    <a:pt x="4" y="20"/>
                  </a:cubicBezTo>
                  <a:cubicBezTo>
                    <a:pt x="1" y="27"/>
                    <a:pt x="0" y="34"/>
                    <a:pt x="0" y="43"/>
                  </a:cubicBezTo>
                  <a:cubicBezTo>
                    <a:pt x="0" y="57"/>
                    <a:pt x="3" y="67"/>
                    <a:pt x="10" y="74"/>
                  </a:cubicBezTo>
                  <a:cubicBezTo>
                    <a:pt x="17" y="82"/>
                    <a:pt x="26" y="85"/>
                    <a:pt x="37" y="85"/>
                  </a:cubicBezTo>
                  <a:cubicBezTo>
                    <a:pt x="45" y="85"/>
                    <a:pt x="53" y="83"/>
                    <a:pt x="59" y="77"/>
                  </a:cubicBezTo>
                  <a:cubicBezTo>
                    <a:pt x="65" y="72"/>
                    <a:pt x="69" y="65"/>
                    <a:pt x="70" y="55"/>
                  </a:cubicBezTo>
                  <a:cubicBezTo>
                    <a:pt x="57" y="54"/>
                    <a:pt x="57" y="54"/>
                    <a:pt x="57" y="54"/>
                  </a:cubicBezTo>
                  <a:cubicBezTo>
                    <a:pt x="56" y="60"/>
                    <a:pt x="54" y="66"/>
                    <a:pt x="50" y="6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1049719" name="íṡḷïďe"/>
            <p:cNvSpPr/>
            <p:nvPr/>
          </p:nvSpPr>
          <p:spPr bwMode="auto">
            <a:xfrm>
              <a:off x="7755191" y="5729878"/>
              <a:ext cx="138113" cy="157163"/>
            </a:xfrm>
            <a:custGeom>
              <a:avLst/>
              <a:gdLst>
                <a:gd name="T0" fmla="*/ 38 w 75"/>
                <a:gd name="T1" fmla="*/ 0 h 85"/>
                <a:gd name="T2" fmla="*/ 10 w 75"/>
                <a:gd name="T3" fmla="*/ 12 h 85"/>
                <a:gd name="T4" fmla="*/ 0 w 75"/>
                <a:gd name="T5" fmla="*/ 43 h 85"/>
                <a:gd name="T6" fmla="*/ 10 w 75"/>
                <a:gd name="T7" fmla="*/ 74 h 85"/>
                <a:gd name="T8" fmla="*/ 38 w 75"/>
                <a:gd name="T9" fmla="*/ 85 h 85"/>
                <a:gd name="T10" fmla="*/ 62 w 75"/>
                <a:gd name="T11" fmla="*/ 78 h 85"/>
                <a:gd name="T12" fmla="*/ 74 w 75"/>
                <a:gd name="T13" fmla="*/ 59 h 85"/>
                <a:gd name="T14" fmla="*/ 60 w 75"/>
                <a:gd name="T15" fmla="*/ 57 h 85"/>
                <a:gd name="T16" fmla="*/ 51 w 75"/>
                <a:gd name="T17" fmla="*/ 70 h 85"/>
                <a:gd name="T18" fmla="*/ 38 w 75"/>
                <a:gd name="T19" fmla="*/ 74 h 85"/>
                <a:gd name="T20" fmla="*/ 21 w 75"/>
                <a:gd name="T21" fmla="*/ 67 h 85"/>
                <a:gd name="T22" fmla="*/ 14 w 75"/>
                <a:gd name="T23" fmla="*/ 46 h 85"/>
                <a:gd name="T24" fmla="*/ 75 w 75"/>
                <a:gd name="T25" fmla="*/ 46 h 85"/>
                <a:gd name="T26" fmla="*/ 75 w 75"/>
                <a:gd name="T27" fmla="*/ 43 h 85"/>
                <a:gd name="T28" fmla="*/ 64 w 75"/>
                <a:gd name="T29" fmla="*/ 11 h 85"/>
                <a:gd name="T30" fmla="*/ 38 w 75"/>
                <a:gd name="T31" fmla="*/ 0 h 85"/>
                <a:gd name="T32" fmla="*/ 15 w 75"/>
                <a:gd name="T33" fmla="*/ 35 h 85"/>
                <a:gd name="T34" fmla="*/ 22 w 75"/>
                <a:gd name="T35" fmla="*/ 18 h 85"/>
                <a:gd name="T36" fmla="*/ 38 w 75"/>
                <a:gd name="T37" fmla="*/ 12 h 85"/>
                <a:gd name="T38" fmla="*/ 55 w 75"/>
                <a:gd name="T39" fmla="*/ 20 h 85"/>
                <a:gd name="T40" fmla="*/ 60 w 75"/>
                <a:gd name="T41" fmla="*/ 35 h 85"/>
                <a:gd name="T42" fmla="*/ 15 w 75"/>
                <a:gd name="T43" fmla="*/ 35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75" h="85">
                  <a:moveTo>
                    <a:pt x="38" y="0"/>
                  </a:moveTo>
                  <a:cubicBezTo>
                    <a:pt x="26" y="0"/>
                    <a:pt x="17" y="4"/>
                    <a:pt x="10" y="12"/>
                  </a:cubicBezTo>
                  <a:cubicBezTo>
                    <a:pt x="3" y="19"/>
                    <a:pt x="0" y="30"/>
                    <a:pt x="0" y="43"/>
                  </a:cubicBezTo>
                  <a:cubicBezTo>
                    <a:pt x="0" y="57"/>
                    <a:pt x="3" y="67"/>
                    <a:pt x="10" y="74"/>
                  </a:cubicBezTo>
                  <a:cubicBezTo>
                    <a:pt x="17" y="81"/>
                    <a:pt x="26" y="85"/>
                    <a:pt x="38" y="85"/>
                  </a:cubicBezTo>
                  <a:cubicBezTo>
                    <a:pt x="48" y="85"/>
                    <a:pt x="56" y="83"/>
                    <a:pt x="62" y="78"/>
                  </a:cubicBezTo>
                  <a:cubicBezTo>
                    <a:pt x="68" y="74"/>
                    <a:pt x="72" y="67"/>
                    <a:pt x="74" y="59"/>
                  </a:cubicBezTo>
                  <a:cubicBezTo>
                    <a:pt x="60" y="57"/>
                    <a:pt x="60" y="57"/>
                    <a:pt x="60" y="57"/>
                  </a:cubicBezTo>
                  <a:cubicBezTo>
                    <a:pt x="58" y="63"/>
                    <a:pt x="55" y="67"/>
                    <a:pt x="51" y="70"/>
                  </a:cubicBezTo>
                  <a:cubicBezTo>
                    <a:pt x="48" y="73"/>
                    <a:pt x="43" y="74"/>
                    <a:pt x="38" y="74"/>
                  </a:cubicBezTo>
                  <a:cubicBezTo>
                    <a:pt x="32" y="74"/>
                    <a:pt x="26" y="71"/>
                    <a:pt x="21" y="67"/>
                  </a:cubicBezTo>
                  <a:cubicBezTo>
                    <a:pt x="17" y="62"/>
                    <a:pt x="14" y="55"/>
                    <a:pt x="14" y="46"/>
                  </a:cubicBezTo>
                  <a:cubicBezTo>
                    <a:pt x="75" y="46"/>
                    <a:pt x="75" y="46"/>
                    <a:pt x="75" y="46"/>
                  </a:cubicBezTo>
                  <a:cubicBezTo>
                    <a:pt x="75" y="45"/>
                    <a:pt x="75" y="43"/>
                    <a:pt x="75" y="43"/>
                  </a:cubicBezTo>
                  <a:cubicBezTo>
                    <a:pt x="75" y="29"/>
                    <a:pt x="71" y="19"/>
                    <a:pt x="64" y="11"/>
                  </a:cubicBezTo>
                  <a:cubicBezTo>
                    <a:pt x="57" y="4"/>
                    <a:pt x="48" y="0"/>
                    <a:pt x="38" y="0"/>
                  </a:cubicBezTo>
                  <a:close/>
                  <a:moveTo>
                    <a:pt x="15" y="35"/>
                  </a:moveTo>
                  <a:cubicBezTo>
                    <a:pt x="15" y="28"/>
                    <a:pt x="17" y="22"/>
                    <a:pt x="22" y="18"/>
                  </a:cubicBezTo>
                  <a:cubicBezTo>
                    <a:pt x="26" y="14"/>
                    <a:pt x="31" y="12"/>
                    <a:pt x="38" y="12"/>
                  </a:cubicBezTo>
                  <a:cubicBezTo>
                    <a:pt x="45" y="12"/>
                    <a:pt x="50" y="14"/>
                    <a:pt x="55" y="20"/>
                  </a:cubicBezTo>
                  <a:cubicBezTo>
                    <a:pt x="58" y="23"/>
                    <a:pt x="59" y="28"/>
                    <a:pt x="60" y="35"/>
                  </a:cubicBezTo>
                  <a:lnTo>
                    <a:pt x="15" y="35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1049720" name="í$ľîde"/>
            <p:cNvSpPr/>
            <p:nvPr/>
          </p:nvSpPr>
          <p:spPr bwMode="auto">
            <a:xfrm>
              <a:off x="7994903" y="5729878"/>
              <a:ext cx="138113" cy="157163"/>
            </a:xfrm>
            <a:custGeom>
              <a:avLst/>
              <a:gdLst>
                <a:gd name="T0" fmla="*/ 71 w 75"/>
                <a:gd name="T1" fmla="*/ 49 h 85"/>
                <a:gd name="T2" fmla="*/ 71 w 75"/>
                <a:gd name="T3" fmla="*/ 31 h 85"/>
                <a:gd name="T4" fmla="*/ 70 w 75"/>
                <a:gd name="T5" fmla="*/ 18 h 85"/>
                <a:gd name="T6" fmla="*/ 66 w 75"/>
                <a:gd name="T7" fmla="*/ 9 h 85"/>
                <a:gd name="T8" fmla="*/ 56 w 75"/>
                <a:gd name="T9" fmla="*/ 3 h 85"/>
                <a:gd name="T10" fmla="*/ 39 w 75"/>
                <a:gd name="T11" fmla="*/ 0 h 85"/>
                <a:gd name="T12" fmla="*/ 21 w 75"/>
                <a:gd name="T13" fmla="*/ 3 h 85"/>
                <a:gd name="T14" fmla="*/ 9 w 75"/>
                <a:gd name="T15" fmla="*/ 11 h 85"/>
                <a:gd name="T16" fmla="*/ 3 w 75"/>
                <a:gd name="T17" fmla="*/ 25 h 85"/>
                <a:gd name="T18" fmla="*/ 16 w 75"/>
                <a:gd name="T19" fmla="*/ 27 h 85"/>
                <a:gd name="T20" fmla="*/ 23 w 75"/>
                <a:gd name="T21" fmla="*/ 15 h 85"/>
                <a:gd name="T22" fmla="*/ 37 w 75"/>
                <a:gd name="T23" fmla="*/ 12 h 85"/>
                <a:gd name="T24" fmla="*/ 53 w 75"/>
                <a:gd name="T25" fmla="*/ 16 h 85"/>
                <a:gd name="T26" fmla="*/ 57 w 75"/>
                <a:gd name="T27" fmla="*/ 28 h 85"/>
                <a:gd name="T28" fmla="*/ 57 w 75"/>
                <a:gd name="T29" fmla="*/ 32 h 85"/>
                <a:gd name="T30" fmla="*/ 32 w 75"/>
                <a:gd name="T31" fmla="*/ 36 h 85"/>
                <a:gd name="T32" fmla="*/ 20 w 75"/>
                <a:gd name="T33" fmla="*/ 39 h 85"/>
                <a:gd name="T34" fmla="*/ 10 w 75"/>
                <a:gd name="T35" fmla="*/ 43 h 85"/>
                <a:gd name="T36" fmla="*/ 3 w 75"/>
                <a:gd name="T37" fmla="*/ 51 h 85"/>
                <a:gd name="T38" fmla="*/ 0 w 75"/>
                <a:gd name="T39" fmla="*/ 62 h 85"/>
                <a:gd name="T40" fmla="*/ 7 w 75"/>
                <a:gd name="T41" fmla="*/ 79 h 85"/>
                <a:gd name="T42" fmla="*/ 28 w 75"/>
                <a:gd name="T43" fmla="*/ 85 h 85"/>
                <a:gd name="T44" fmla="*/ 43 w 75"/>
                <a:gd name="T45" fmla="*/ 82 h 85"/>
                <a:gd name="T46" fmla="*/ 58 w 75"/>
                <a:gd name="T47" fmla="*/ 73 h 85"/>
                <a:gd name="T48" fmla="*/ 61 w 75"/>
                <a:gd name="T49" fmla="*/ 83 h 85"/>
                <a:gd name="T50" fmla="*/ 75 w 75"/>
                <a:gd name="T51" fmla="*/ 83 h 85"/>
                <a:gd name="T52" fmla="*/ 72 w 75"/>
                <a:gd name="T53" fmla="*/ 74 h 85"/>
                <a:gd name="T54" fmla="*/ 71 w 75"/>
                <a:gd name="T55" fmla="*/ 49 h 85"/>
                <a:gd name="T56" fmla="*/ 57 w 75"/>
                <a:gd name="T57" fmla="*/ 48 h 85"/>
                <a:gd name="T58" fmla="*/ 55 w 75"/>
                <a:gd name="T59" fmla="*/ 61 h 85"/>
                <a:gd name="T60" fmla="*/ 46 w 75"/>
                <a:gd name="T61" fmla="*/ 71 h 85"/>
                <a:gd name="T62" fmla="*/ 31 w 75"/>
                <a:gd name="T63" fmla="*/ 74 h 85"/>
                <a:gd name="T64" fmla="*/ 19 w 75"/>
                <a:gd name="T65" fmla="*/ 71 h 85"/>
                <a:gd name="T66" fmla="*/ 15 w 75"/>
                <a:gd name="T67" fmla="*/ 62 h 85"/>
                <a:gd name="T68" fmla="*/ 17 w 75"/>
                <a:gd name="T69" fmla="*/ 55 h 85"/>
                <a:gd name="T70" fmla="*/ 22 w 75"/>
                <a:gd name="T71" fmla="*/ 50 h 85"/>
                <a:gd name="T72" fmla="*/ 34 w 75"/>
                <a:gd name="T73" fmla="*/ 48 h 85"/>
                <a:gd name="T74" fmla="*/ 57 w 75"/>
                <a:gd name="T75" fmla="*/ 43 h 85"/>
                <a:gd name="T76" fmla="*/ 57 w 75"/>
                <a:gd name="T77" fmla="*/ 48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75" h="85">
                  <a:moveTo>
                    <a:pt x="71" y="49"/>
                  </a:moveTo>
                  <a:cubicBezTo>
                    <a:pt x="71" y="31"/>
                    <a:pt x="71" y="31"/>
                    <a:pt x="71" y="31"/>
                  </a:cubicBezTo>
                  <a:cubicBezTo>
                    <a:pt x="71" y="25"/>
                    <a:pt x="71" y="21"/>
                    <a:pt x="70" y="18"/>
                  </a:cubicBezTo>
                  <a:cubicBezTo>
                    <a:pt x="69" y="14"/>
                    <a:pt x="68" y="11"/>
                    <a:pt x="66" y="9"/>
                  </a:cubicBezTo>
                  <a:cubicBezTo>
                    <a:pt x="64" y="6"/>
                    <a:pt x="61" y="4"/>
                    <a:pt x="56" y="3"/>
                  </a:cubicBezTo>
                  <a:cubicBezTo>
                    <a:pt x="52" y="1"/>
                    <a:pt x="46" y="0"/>
                    <a:pt x="39" y="0"/>
                  </a:cubicBezTo>
                  <a:cubicBezTo>
                    <a:pt x="32" y="0"/>
                    <a:pt x="26" y="1"/>
                    <a:pt x="21" y="3"/>
                  </a:cubicBezTo>
                  <a:cubicBezTo>
                    <a:pt x="16" y="5"/>
                    <a:pt x="12" y="8"/>
                    <a:pt x="9" y="11"/>
                  </a:cubicBezTo>
                  <a:cubicBezTo>
                    <a:pt x="6" y="15"/>
                    <a:pt x="4" y="19"/>
                    <a:pt x="3" y="25"/>
                  </a:cubicBezTo>
                  <a:cubicBezTo>
                    <a:pt x="16" y="27"/>
                    <a:pt x="16" y="27"/>
                    <a:pt x="16" y="27"/>
                  </a:cubicBezTo>
                  <a:cubicBezTo>
                    <a:pt x="18" y="21"/>
                    <a:pt x="20" y="17"/>
                    <a:pt x="23" y="15"/>
                  </a:cubicBezTo>
                  <a:cubicBezTo>
                    <a:pt x="26" y="13"/>
                    <a:pt x="31" y="12"/>
                    <a:pt x="37" y="12"/>
                  </a:cubicBezTo>
                  <a:cubicBezTo>
                    <a:pt x="44" y="12"/>
                    <a:pt x="50" y="13"/>
                    <a:pt x="53" y="16"/>
                  </a:cubicBezTo>
                  <a:cubicBezTo>
                    <a:pt x="56" y="19"/>
                    <a:pt x="57" y="23"/>
                    <a:pt x="57" y="28"/>
                  </a:cubicBezTo>
                  <a:cubicBezTo>
                    <a:pt x="57" y="29"/>
                    <a:pt x="57" y="30"/>
                    <a:pt x="57" y="32"/>
                  </a:cubicBezTo>
                  <a:cubicBezTo>
                    <a:pt x="52" y="34"/>
                    <a:pt x="43" y="35"/>
                    <a:pt x="32" y="36"/>
                  </a:cubicBezTo>
                  <a:cubicBezTo>
                    <a:pt x="27" y="37"/>
                    <a:pt x="23" y="38"/>
                    <a:pt x="20" y="39"/>
                  </a:cubicBezTo>
                  <a:cubicBezTo>
                    <a:pt x="16" y="40"/>
                    <a:pt x="13" y="41"/>
                    <a:pt x="10" y="43"/>
                  </a:cubicBezTo>
                  <a:cubicBezTo>
                    <a:pt x="7" y="45"/>
                    <a:pt x="5" y="48"/>
                    <a:pt x="3" y="51"/>
                  </a:cubicBezTo>
                  <a:cubicBezTo>
                    <a:pt x="1" y="54"/>
                    <a:pt x="0" y="58"/>
                    <a:pt x="0" y="62"/>
                  </a:cubicBezTo>
                  <a:cubicBezTo>
                    <a:pt x="0" y="69"/>
                    <a:pt x="3" y="74"/>
                    <a:pt x="7" y="79"/>
                  </a:cubicBezTo>
                  <a:cubicBezTo>
                    <a:pt x="12" y="83"/>
                    <a:pt x="19" y="85"/>
                    <a:pt x="28" y="85"/>
                  </a:cubicBezTo>
                  <a:cubicBezTo>
                    <a:pt x="33" y="85"/>
                    <a:pt x="39" y="84"/>
                    <a:pt x="43" y="82"/>
                  </a:cubicBezTo>
                  <a:cubicBezTo>
                    <a:pt x="48" y="81"/>
                    <a:pt x="53" y="78"/>
                    <a:pt x="58" y="73"/>
                  </a:cubicBezTo>
                  <a:cubicBezTo>
                    <a:pt x="58" y="77"/>
                    <a:pt x="59" y="80"/>
                    <a:pt x="61" y="83"/>
                  </a:cubicBezTo>
                  <a:cubicBezTo>
                    <a:pt x="75" y="83"/>
                    <a:pt x="75" y="83"/>
                    <a:pt x="75" y="83"/>
                  </a:cubicBezTo>
                  <a:cubicBezTo>
                    <a:pt x="73" y="80"/>
                    <a:pt x="72" y="77"/>
                    <a:pt x="72" y="74"/>
                  </a:cubicBezTo>
                  <a:cubicBezTo>
                    <a:pt x="71" y="70"/>
                    <a:pt x="71" y="62"/>
                    <a:pt x="71" y="49"/>
                  </a:cubicBezTo>
                  <a:close/>
                  <a:moveTo>
                    <a:pt x="57" y="48"/>
                  </a:moveTo>
                  <a:cubicBezTo>
                    <a:pt x="57" y="54"/>
                    <a:pt x="56" y="58"/>
                    <a:pt x="55" y="61"/>
                  </a:cubicBezTo>
                  <a:cubicBezTo>
                    <a:pt x="53" y="65"/>
                    <a:pt x="50" y="69"/>
                    <a:pt x="46" y="71"/>
                  </a:cubicBezTo>
                  <a:cubicBezTo>
                    <a:pt x="41" y="73"/>
                    <a:pt x="37" y="74"/>
                    <a:pt x="31" y="74"/>
                  </a:cubicBezTo>
                  <a:cubicBezTo>
                    <a:pt x="26" y="74"/>
                    <a:pt x="22" y="73"/>
                    <a:pt x="19" y="71"/>
                  </a:cubicBezTo>
                  <a:cubicBezTo>
                    <a:pt x="16" y="68"/>
                    <a:pt x="15" y="65"/>
                    <a:pt x="15" y="62"/>
                  </a:cubicBezTo>
                  <a:cubicBezTo>
                    <a:pt x="15" y="59"/>
                    <a:pt x="16" y="57"/>
                    <a:pt x="17" y="55"/>
                  </a:cubicBezTo>
                  <a:cubicBezTo>
                    <a:pt x="18" y="53"/>
                    <a:pt x="20" y="52"/>
                    <a:pt x="22" y="50"/>
                  </a:cubicBezTo>
                  <a:cubicBezTo>
                    <a:pt x="25" y="49"/>
                    <a:pt x="29" y="49"/>
                    <a:pt x="34" y="48"/>
                  </a:cubicBezTo>
                  <a:cubicBezTo>
                    <a:pt x="44" y="46"/>
                    <a:pt x="52" y="45"/>
                    <a:pt x="57" y="43"/>
                  </a:cubicBezTo>
                  <a:lnTo>
                    <a:pt x="57" y="4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1049721" name="ï$ḻíḋê"/>
            <p:cNvSpPr/>
            <p:nvPr/>
          </p:nvSpPr>
          <p:spPr bwMode="auto">
            <a:xfrm>
              <a:off x="8164766" y="5729878"/>
              <a:ext cx="122238" cy="152400"/>
            </a:xfrm>
            <a:custGeom>
              <a:avLst/>
              <a:gdLst>
                <a:gd name="T0" fmla="*/ 61 w 66"/>
                <a:gd name="T1" fmla="*/ 10 h 83"/>
                <a:gd name="T2" fmla="*/ 52 w 66"/>
                <a:gd name="T3" fmla="*/ 3 h 83"/>
                <a:gd name="T4" fmla="*/ 38 w 66"/>
                <a:gd name="T5" fmla="*/ 0 h 83"/>
                <a:gd name="T6" fmla="*/ 13 w 66"/>
                <a:gd name="T7" fmla="*/ 14 h 83"/>
                <a:gd name="T8" fmla="*/ 13 w 66"/>
                <a:gd name="T9" fmla="*/ 2 h 83"/>
                <a:gd name="T10" fmla="*/ 0 w 66"/>
                <a:gd name="T11" fmla="*/ 2 h 83"/>
                <a:gd name="T12" fmla="*/ 0 w 66"/>
                <a:gd name="T13" fmla="*/ 83 h 83"/>
                <a:gd name="T14" fmla="*/ 14 w 66"/>
                <a:gd name="T15" fmla="*/ 83 h 83"/>
                <a:gd name="T16" fmla="*/ 14 w 66"/>
                <a:gd name="T17" fmla="*/ 39 h 83"/>
                <a:gd name="T18" fmla="*/ 20 w 66"/>
                <a:gd name="T19" fmla="*/ 18 h 83"/>
                <a:gd name="T20" fmla="*/ 36 w 66"/>
                <a:gd name="T21" fmla="*/ 12 h 83"/>
                <a:gd name="T22" fmla="*/ 45 w 66"/>
                <a:gd name="T23" fmla="*/ 15 h 83"/>
                <a:gd name="T24" fmla="*/ 51 w 66"/>
                <a:gd name="T25" fmla="*/ 21 h 83"/>
                <a:gd name="T26" fmla="*/ 52 w 66"/>
                <a:gd name="T27" fmla="*/ 34 h 83"/>
                <a:gd name="T28" fmla="*/ 52 w 66"/>
                <a:gd name="T29" fmla="*/ 83 h 83"/>
                <a:gd name="T30" fmla="*/ 66 w 66"/>
                <a:gd name="T31" fmla="*/ 83 h 83"/>
                <a:gd name="T32" fmla="*/ 66 w 66"/>
                <a:gd name="T33" fmla="*/ 33 h 83"/>
                <a:gd name="T34" fmla="*/ 65 w 66"/>
                <a:gd name="T35" fmla="*/ 20 h 83"/>
                <a:gd name="T36" fmla="*/ 61 w 66"/>
                <a:gd name="T37" fmla="*/ 10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6" h="83">
                  <a:moveTo>
                    <a:pt x="61" y="10"/>
                  </a:moveTo>
                  <a:cubicBezTo>
                    <a:pt x="59" y="7"/>
                    <a:pt x="56" y="5"/>
                    <a:pt x="52" y="3"/>
                  </a:cubicBezTo>
                  <a:cubicBezTo>
                    <a:pt x="48" y="1"/>
                    <a:pt x="43" y="0"/>
                    <a:pt x="38" y="0"/>
                  </a:cubicBezTo>
                  <a:cubicBezTo>
                    <a:pt x="27" y="0"/>
                    <a:pt x="19" y="5"/>
                    <a:pt x="13" y="14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83"/>
                    <a:pt x="0" y="83"/>
                    <a:pt x="0" y="83"/>
                  </a:cubicBezTo>
                  <a:cubicBezTo>
                    <a:pt x="14" y="83"/>
                    <a:pt x="14" y="83"/>
                    <a:pt x="14" y="83"/>
                  </a:cubicBezTo>
                  <a:cubicBezTo>
                    <a:pt x="14" y="39"/>
                    <a:pt x="14" y="39"/>
                    <a:pt x="14" y="39"/>
                  </a:cubicBezTo>
                  <a:cubicBezTo>
                    <a:pt x="14" y="29"/>
                    <a:pt x="16" y="21"/>
                    <a:pt x="20" y="18"/>
                  </a:cubicBezTo>
                  <a:cubicBezTo>
                    <a:pt x="25" y="14"/>
                    <a:pt x="30" y="12"/>
                    <a:pt x="36" y="12"/>
                  </a:cubicBezTo>
                  <a:cubicBezTo>
                    <a:pt x="39" y="12"/>
                    <a:pt x="42" y="13"/>
                    <a:pt x="45" y="15"/>
                  </a:cubicBezTo>
                  <a:cubicBezTo>
                    <a:pt x="48" y="16"/>
                    <a:pt x="50" y="19"/>
                    <a:pt x="51" y="21"/>
                  </a:cubicBezTo>
                  <a:cubicBezTo>
                    <a:pt x="52" y="24"/>
                    <a:pt x="52" y="28"/>
                    <a:pt x="52" y="34"/>
                  </a:cubicBezTo>
                  <a:cubicBezTo>
                    <a:pt x="52" y="83"/>
                    <a:pt x="52" y="83"/>
                    <a:pt x="52" y="83"/>
                  </a:cubicBezTo>
                  <a:cubicBezTo>
                    <a:pt x="66" y="83"/>
                    <a:pt x="66" y="83"/>
                    <a:pt x="66" y="83"/>
                  </a:cubicBezTo>
                  <a:cubicBezTo>
                    <a:pt x="66" y="33"/>
                    <a:pt x="66" y="33"/>
                    <a:pt x="66" y="33"/>
                  </a:cubicBezTo>
                  <a:cubicBezTo>
                    <a:pt x="66" y="27"/>
                    <a:pt x="66" y="23"/>
                    <a:pt x="65" y="20"/>
                  </a:cubicBezTo>
                  <a:cubicBezTo>
                    <a:pt x="65" y="16"/>
                    <a:pt x="63" y="13"/>
                    <a:pt x="61" y="1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1049722" name="îśḻïďè"/>
            <p:cNvSpPr/>
            <p:nvPr/>
          </p:nvSpPr>
          <p:spPr bwMode="auto">
            <a:xfrm>
              <a:off x="8315578" y="5675903"/>
              <a:ext cx="131763" cy="211138"/>
            </a:xfrm>
            <a:custGeom>
              <a:avLst/>
              <a:gdLst>
                <a:gd name="T0" fmla="*/ 57 w 71"/>
                <a:gd name="T1" fmla="*/ 40 h 114"/>
                <a:gd name="T2" fmla="*/ 48 w 71"/>
                <a:gd name="T3" fmla="*/ 32 h 114"/>
                <a:gd name="T4" fmla="*/ 35 w 71"/>
                <a:gd name="T5" fmla="*/ 29 h 114"/>
                <a:gd name="T6" fmla="*/ 17 w 71"/>
                <a:gd name="T7" fmla="*/ 35 h 114"/>
                <a:gd name="T8" fmla="*/ 4 w 71"/>
                <a:gd name="T9" fmla="*/ 50 h 114"/>
                <a:gd name="T10" fmla="*/ 0 w 71"/>
                <a:gd name="T11" fmla="*/ 72 h 114"/>
                <a:gd name="T12" fmla="*/ 5 w 71"/>
                <a:gd name="T13" fmla="*/ 94 h 114"/>
                <a:gd name="T14" fmla="*/ 17 w 71"/>
                <a:gd name="T15" fmla="*/ 109 h 114"/>
                <a:gd name="T16" fmla="*/ 35 w 71"/>
                <a:gd name="T17" fmla="*/ 114 h 114"/>
                <a:gd name="T18" fmla="*/ 58 w 71"/>
                <a:gd name="T19" fmla="*/ 102 h 114"/>
                <a:gd name="T20" fmla="*/ 58 w 71"/>
                <a:gd name="T21" fmla="*/ 112 h 114"/>
                <a:gd name="T22" fmla="*/ 71 w 71"/>
                <a:gd name="T23" fmla="*/ 112 h 114"/>
                <a:gd name="T24" fmla="*/ 71 w 71"/>
                <a:gd name="T25" fmla="*/ 0 h 114"/>
                <a:gd name="T26" fmla="*/ 57 w 71"/>
                <a:gd name="T27" fmla="*/ 0 h 114"/>
                <a:gd name="T28" fmla="*/ 57 w 71"/>
                <a:gd name="T29" fmla="*/ 40 h 114"/>
                <a:gd name="T30" fmla="*/ 52 w 71"/>
                <a:gd name="T31" fmla="*/ 95 h 114"/>
                <a:gd name="T32" fmla="*/ 37 w 71"/>
                <a:gd name="T33" fmla="*/ 103 h 114"/>
                <a:gd name="T34" fmla="*/ 21 w 71"/>
                <a:gd name="T35" fmla="*/ 95 h 114"/>
                <a:gd name="T36" fmla="*/ 15 w 71"/>
                <a:gd name="T37" fmla="*/ 72 h 114"/>
                <a:gd name="T38" fmla="*/ 21 w 71"/>
                <a:gd name="T39" fmla="*/ 48 h 114"/>
                <a:gd name="T40" fmla="*/ 36 w 71"/>
                <a:gd name="T41" fmla="*/ 41 h 114"/>
                <a:gd name="T42" fmla="*/ 52 w 71"/>
                <a:gd name="T43" fmla="*/ 48 h 114"/>
                <a:gd name="T44" fmla="*/ 58 w 71"/>
                <a:gd name="T45" fmla="*/ 73 h 114"/>
                <a:gd name="T46" fmla="*/ 52 w 71"/>
                <a:gd name="T47" fmla="*/ 95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71" h="114">
                  <a:moveTo>
                    <a:pt x="57" y="40"/>
                  </a:moveTo>
                  <a:cubicBezTo>
                    <a:pt x="55" y="37"/>
                    <a:pt x="52" y="34"/>
                    <a:pt x="48" y="32"/>
                  </a:cubicBezTo>
                  <a:cubicBezTo>
                    <a:pt x="44" y="30"/>
                    <a:pt x="40" y="29"/>
                    <a:pt x="35" y="29"/>
                  </a:cubicBezTo>
                  <a:cubicBezTo>
                    <a:pt x="28" y="29"/>
                    <a:pt x="22" y="31"/>
                    <a:pt x="17" y="35"/>
                  </a:cubicBezTo>
                  <a:cubicBezTo>
                    <a:pt x="11" y="38"/>
                    <a:pt x="7" y="43"/>
                    <a:pt x="4" y="50"/>
                  </a:cubicBezTo>
                  <a:cubicBezTo>
                    <a:pt x="2" y="56"/>
                    <a:pt x="0" y="64"/>
                    <a:pt x="0" y="72"/>
                  </a:cubicBezTo>
                  <a:cubicBezTo>
                    <a:pt x="0" y="80"/>
                    <a:pt x="2" y="87"/>
                    <a:pt x="5" y="94"/>
                  </a:cubicBezTo>
                  <a:cubicBezTo>
                    <a:pt x="8" y="100"/>
                    <a:pt x="12" y="105"/>
                    <a:pt x="17" y="109"/>
                  </a:cubicBezTo>
                  <a:cubicBezTo>
                    <a:pt x="23" y="112"/>
                    <a:pt x="29" y="114"/>
                    <a:pt x="35" y="114"/>
                  </a:cubicBezTo>
                  <a:cubicBezTo>
                    <a:pt x="45" y="114"/>
                    <a:pt x="53" y="110"/>
                    <a:pt x="58" y="102"/>
                  </a:cubicBezTo>
                  <a:cubicBezTo>
                    <a:pt x="58" y="112"/>
                    <a:pt x="58" y="112"/>
                    <a:pt x="58" y="112"/>
                  </a:cubicBezTo>
                  <a:cubicBezTo>
                    <a:pt x="71" y="112"/>
                    <a:pt x="71" y="112"/>
                    <a:pt x="71" y="112"/>
                  </a:cubicBezTo>
                  <a:cubicBezTo>
                    <a:pt x="71" y="0"/>
                    <a:pt x="71" y="0"/>
                    <a:pt x="71" y="0"/>
                  </a:cubicBezTo>
                  <a:cubicBezTo>
                    <a:pt x="57" y="0"/>
                    <a:pt x="57" y="0"/>
                    <a:pt x="57" y="0"/>
                  </a:cubicBezTo>
                  <a:lnTo>
                    <a:pt x="57" y="40"/>
                  </a:lnTo>
                  <a:close/>
                  <a:moveTo>
                    <a:pt x="52" y="95"/>
                  </a:moveTo>
                  <a:cubicBezTo>
                    <a:pt x="48" y="100"/>
                    <a:pt x="43" y="103"/>
                    <a:pt x="37" y="103"/>
                  </a:cubicBezTo>
                  <a:cubicBezTo>
                    <a:pt x="31" y="103"/>
                    <a:pt x="25" y="100"/>
                    <a:pt x="21" y="95"/>
                  </a:cubicBezTo>
                  <a:cubicBezTo>
                    <a:pt x="17" y="90"/>
                    <a:pt x="15" y="82"/>
                    <a:pt x="15" y="72"/>
                  </a:cubicBezTo>
                  <a:cubicBezTo>
                    <a:pt x="15" y="61"/>
                    <a:pt x="17" y="53"/>
                    <a:pt x="21" y="48"/>
                  </a:cubicBezTo>
                  <a:cubicBezTo>
                    <a:pt x="25" y="43"/>
                    <a:pt x="30" y="41"/>
                    <a:pt x="36" y="41"/>
                  </a:cubicBezTo>
                  <a:cubicBezTo>
                    <a:pt x="42" y="41"/>
                    <a:pt x="48" y="43"/>
                    <a:pt x="52" y="48"/>
                  </a:cubicBezTo>
                  <a:cubicBezTo>
                    <a:pt x="56" y="54"/>
                    <a:pt x="58" y="62"/>
                    <a:pt x="58" y="73"/>
                  </a:cubicBezTo>
                  <a:cubicBezTo>
                    <a:pt x="58" y="83"/>
                    <a:pt x="56" y="91"/>
                    <a:pt x="52" y="9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1049723" name="iṡľîdé"/>
            <p:cNvSpPr/>
            <p:nvPr/>
          </p:nvSpPr>
          <p:spPr bwMode="auto">
            <a:xfrm>
              <a:off x="8550528" y="5675903"/>
              <a:ext cx="163513" cy="206375"/>
            </a:xfrm>
            <a:custGeom>
              <a:avLst/>
              <a:gdLst>
                <a:gd name="T0" fmla="*/ 103 w 103"/>
                <a:gd name="T1" fmla="*/ 0 h 130"/>
                <a:gd name="T2" fmla="*/ 0 w 103"/>
                <a:gd name="T3" fmla="*/ 0 h 130"/>
                <a:gd name="T4" fmla="*/ 0 w 103"/>
                <a:gd name="T5" fmla="*/ 15 h 130"/>
                <a:gd name="T6" fmla="*/ 43 w 103"/>
                <a:gd name="T7" fmla="*/ 15 h 130"/>
                <a:gd name="T8" fmla="*/ 43 w 103"/>
                <a:gd name="T9" fmla="*/ 130 h 130"/>
                <a:gd name="T10" fmla="*/ 59 w 103"/>
                <a:gd name="T11" fmla="*/ 130 h 130"/>
                <a:gd name="T12" fmla="*/ 59 w 103"/>
                <a:gd name="T13" fmla="*/ 15 h 130"/>
                <a:gd name="T14" fmla="*/ 103 w 103"/>
                <a:gd name="T15" fmla="*/ 15 h 130"/>
                <a:gd name="T16" fmla="*/ 103 w 103"/>
                <a:gd name="T17" fmla="*/ 0 h 1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3" h="130">
                  <a:moveTo>
                    <a:pt x="103" y="0"/>
                  </a:moveTo>
                  <a:lnTo>
                    <a:pt x="0" y="0"/>
                  </a:lnTo>
                  <a:lnTo>
                    <a:pt x="0" y="15"/>
                  </a:lnTo>
                  <a:lnTo>
                    <a:pt x="43" y="15"/>
                  </a:lnTo>
                  <a:lnTo>
                    <a:pt x="43" y="130"/>
                  </a:lnTo>
                  <a:lnTo>
                    <a:pt x="59" y="130"/>
                  </a:lnTo>
                  <a:lnTo>
                    <a:pt x="59" y="15"/>
                  </a:lnTo>
                  <a:lnTo>
                    <a:pt x="103" y="15"/>
                  </a:lnTo>
                  <a:lnTo>
                    <a:pt x="103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1049724" name="íṥḻíḋé"/>
            <p:cNvSpPr/>
            <p:nvPr/>
          </p:nvSpPr>
          <p:spPr bwMode="auto">
            <a:xfrm>
              <a:off x="8698166" y="5729878"/>
              <a:ext cx="138113" cy="157163"/>
            </a:xfrm>
            <a:custGeom>
              <a:avLst/>
              <a:gdLst>
                <a:gd name="T0" fmla="*/ 38 w 75"/>
                <a:gd name="T1" fmla="*/ 0 h 85"/>
                <a:gd name="T2" fmla="*/ 11 w 75"/>
                <a:gd name="T3" fmla="*/ 12 h 85"/>
                <a:gd name="T4" fmla="*/ 0 w 75"/>
                <a:gd name="T5" fmla="*/ 43 h 85"/>
                <a:gd name="T6" fmla="*/ 10 w 75"/>
                <a:gd name="T7" fmla="*/ 74 h 85"/>
                <a:gd name="T8" fmla="*/ 39 w 75"/>
                <a:gd name="T9" fmla="*/ 85 h 85"/>
                <a:gd name="T10" fmla="*/ 62 w 75"/>
                <a:gd name="T11" fmla="*/ 78 h 85"/>
                <a:gd name="T12" fmla="*/ 74 w 75"/>
                <a:gd name="T13" fmla="*/ 59 h 85"/>
                <a:gd name="T14" fmla="*/ 60 w 75"/>
                <a:gd name="T15" fmla="*/ 57 h 85"/>
                <a:gd name="T16" fmla="*/ 52 w 75"/>
                <a:gd name="T17" fmla="*/ 70 h 85"/>
                <a:gd name="T18" fmla="*/ 39 w 75"/>
                <a:gd name="T19" fmla="*/ 74 h 85"/>
                <a:gd name="T20" fmla="*/ 22 w 75"/>
                <a:gd name="T21" fmla="*/ 67 h 85"/>
                <a:gd name="T22" fmla="*/ 14 w 75"/>
                <a:gd name="T23" fmla="*/ 46 h 85"/>
                <a:gd name="T24" fmla="*/ 75 w 75"/>
                <a:gd name="T25" fmla="*/ 46 h 85"/>
                <a:gd name="T26" fmla="*/ 75 w 75"/>
                <a:gd name="T27" fmla="*/ 43 h 85"/>
                <a:gd name="T28" fmla="*/ 65 w 75"/>
                <a:gd name="T29" fmla="*/ 11 h 85"/>
                <a:gd name="T30" fmla="*/ 38 w 75"/>
                <a:gd name="T31" fmla="*/ 0 h 85"/>
                <a:gd name="T32" fmla="*/ 15 w 75"/>
                <a:gd name="T33" fmla="*/ 35 h 85"/>
                <a:gd name="T34" fmla="*/ 22 w 75"/>
                <a:gd name="T35" fmla="*/ 18 h 85"/>
                <a:gd name="T36" fmla="*/ 38 w 75"/>
                <a:gd name="T37" fmla="*/ 12 h 85"/>
                <a:gd name="T38" fmla="*/ 55 w 75"/>
                <a:gd name="T39" fmla="*/ 20 h 85"/>
                <a:gd name="T40" fmla="*/ 60 w 75"/>
                <a:gd name="T41" fmla="*/ 35 h 85"/>
                <a:gd name="T42" fmla="*/ 15 w 75"/>
                <a:gd name="T43" fmla="*/ 35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75" h="85">
                  <a:moveTo>
                    <a:pt x="38" y="0"/>
                  </a:moveTo>
                  <a:cubicBezTo>
                    <a:pt x="27" y="0"/>
                    <a:pt x="18" y="4"/>
                    <a:pt x="11" y="12"/>
                  </a:cubicBezTo>
                  <a:cubicBezTo>
                    <a:pt x="4" y="19"/>
                    <a:pt x="0" y="30"/>
                    <a:pt x="0" y="43"/>
                  </a:cubicBezTo>
                  <a:cubicBezTo>
                    <a:pt x="0" y="57"/>
                    <a:pt x="3" y="67"/>
                    <a:pt x="10" y="74"/>
                  </a:cubicBezTo>
                  <a:cubicBezTo>
                    <a:pt x="17" y="81"/>
                    <a:pt x="27" y="85"/>
                    <a:pt x="39" y="85"/>
                  </a:cubicBezTo>
                  <a:cubicBezTo>
                    <a:pt x="48" y="85"/>
                    <a:pt x="56" y="83"/>
                    <a:pt x="62" y="78"/>
                  </a:cubicBezTo>
                  <a:cubicBezTo>
                    <a:pt x="68" y="74"/>
                    <a:pt x="72" y="67"/>
                    <a:pt x="74" y="59"/>
                  </a:cubicBezTo>
                  <a:cubicBezTo>
                    <a:pt x="60" y="57"/>
                    <a:pt x="60" y="57"/>
                    <a:pt x="60" y="57"/>
                  </a:cubicBezTo>
                  <a:cubicBezTo>
                    <a:pt x="58" y="63"/>
                    <a:pt x="55" y="67"/>
                    <a:pt x="52" y="70"/>
                  </a:cubicBezTo>
                  <a:cubicBezTo>
                    <a:pt x="48" y="73"/>
                    <a:pt x="44" y="74"/>
                    <a:pt x="39" y="74"/>
                  </a:cubicBezTo>
                  <a:cubicBezTo>
                    <a:pt x="32" y="74"/>
                    <a:pt x="26" y="71"/>
                    <a:pt x="22" y="67"/>
                  </a:cubicBezTo>
                  <a:cubicBezTo>
                    <a:pt x="17" y="62"/>
                    <a:pt x="15" y="55"/>
                    <a:pt x="14" y="46"/>
                  </a:cubicBezTo>
                  <a:cubicBezTo>
                    <a:pt x="75" y="46"/>
                    <a:pt x="75" y="46"/>
                    <a:pt x="75" y="46"/>
                  </a:cubicBezTo>
                  <a:cubicBezTo>
                    <a:pt x="75" y="45"/>
                    <a:pt x="75" y="43"/>
                    <a:pt x="75" y="43"/>
                  </a:cubicBezTo>
                  <a:cubicBezTo>
                    <a:pt x="75" y="29"/>
                    <a:pt x="72" y="19"/>
                    <a:pt x="65" y="11"/>
                  </a:cubicBezTo>
                  <a:cubicBezTo>
                    <a:pt x="58" y="4"/>
                    <a:pt x="49" y="0"/>
                    <a:pt x="38" y="0"/>
                  </a:cubicBezTo>
                  <a:close/>
                  <a:moveTo>
                    <a:pt x="15" y="35"/>
                  </a:moveTo>
                  <a:cubicBezTo>
                    <a:pt x="15" y="28"/>
                    <a:pt x="18" y="22"/>
                    <a:pt x="22" y="18"/>
                  </a:cubicBezTo>
                  <a:cubicBezTo>
                    <a:pt x="26" y="14"/>
                    <a:pt x="32" y="12"/>
                    <a:pt x="38" y="12"/>
                  </a:cubicBezTo>
                  <a:cubicBezTo>
                    <a:pt x="45" y="12"/>
                    <a:pt x="51" y="14"/>
                    <a:pt x="55" y="20"/>
                  </a:cubicBezTo>
                  <a:cubicBezTo>
                    <a:pt x="58" y="23"/>
                    <a:pt x="60" y="28"/>
                    <a:pt x="60" y="35"/>
                  </a:cubicBezTo>
                  <a:lnTo>
                    <a:pt x="15" y="35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1049725" name="ïṡļïḍè"/>
            <p:cNvSpPr/>
            <p:nvPr/>
          </p:nvSpPr>
          <p:spPr bwMode="auto">
            <a:xfrm>
              <a:off x="8860091" y="5729878"/>
              <a:ext cx="128588" cy="157163"/>
            </a:xfrm>
            <a:custGeom>
              <a:avLst/>
              <a:gdLst>
                <a:gd name="T0" fmla="*/ 50 w 70"/>
                <a:gd name="T1" fmla="*/ 69 h 85"/>
                <a:gd name="T2" fmla="*/ 36 w 70"/>
                <a:gd name="T3" fmla="*/ 74 h 85"/>
                <a:gd name="T4" fmla="*/ 20 w 70"/>
                <a:gd name="T5" fmla="*/ 66 h 85"/>
                <a:gd name="T6" fmla="*/ 14 w 70"/>
                <a:gd name="T7" fmla="*/ 43 h 85"/>
                <a:gd name="T8" fmla="*/ 20 w 70"/>
                <a:gd name="T9" fmla="*/ 19 h 85"/>
                <a:gd name="T10" fmla="*/ 37 w 70"/>
                <a:gd name="T11" fmla="*/ 12 h 85"/>
                <a:gd name="T12" fmla="*/ 49 w 70"/>
                <a:gd name="T13" fmla="*/ 16 h 85"/>
                <a:gd name="T14" fmla="*/ 56 w 70"/>
                <a:gd name="T15" fmla="*/ 28 h 85"/>
                <a:gd name="T16" fmla="*/ 69 w 70"/>
                <a:gd name="T17" fmla="*/ 26 h 85"/>
                <a:gd name="T18" fmla="*/ 58 w 70"/>
                <a:gd name="T19" fmla="*/ 7 h 85"/>
                <a:gd name="T20" fmla="*/ 37 w 70"/>
                <a:gd name="T21" fmla="*/ 0 h 85"/>
                <a:gd name="T22" fmla="*/ 17 w 70"/>
                <a:gd name="T23" fmla="*/ 5 h 85"/>
                <a:gd name="T24" fmla="*/ 4 w 70"/>
                <a:gd name="T25" fmla="*/ 20 h 85"/>
                <a:gd name="T26" fmla="*/ 0 w 70"/>
                <a:gd name="T27" fmla="*/ 43 h 85"/>
                <a:gd name="T28" fmla="*/ 10 w 70"/>
                <a:gd name="T29" fmla="*/ 74 h 85"/>
                <a:gd name="T30" fmla="*/ 37 w 70"/>
                <a:gd name="T31" fmla="*/ 85 h 85"/>
                <a:gd name="T32" fmla="*/ 59 w 70"/>
                <a:gd name="T33" fmla="*/ 77 h 85"/>
                <a:gd name="T34" fmla="*/ 70 w 70"/>
                <a:gd name="T35" fmla="*/ 55 h 85"/>
                <a:gd name="T36" fmla="*/ 57 w 70"/>
                <a:gd name="T37" fmla="*/ 54 h 85"/>
                <a:gd name="T38" fmla="*/ 50 w 70"/>
                <a:gd name="T39" fmla="*/ 69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70" h="85">
                  <a:moveTo>
                    <a:pt x="50" y="69"/>
                  </a:moveTo>
                  <a:cubicBezTo>
                    <a:pt x="46" y="72"/>
                    <a:pt x="42" y="74"/>
                    <a:pt x="36" y="74"/>
                  </a:cubicBezTo>
                  <a:cubicBezTo>
                    <a:pt x="30" y="74"/>
                    <a:pt x="24" y="71"/>
                    <a:pt x="20" y="66"/>
                  </a:cubicBezTo>
                  <a:cubicBezTo>
                    <a:pt x="16" y="61"/>
                    <a:pt x="14" y="54"/>
                    <a:pt x="14" y="43"/>
                  </a:cubicBezTo>
                  <a:cubicBezTo>
                    <a:pt x="14" y="32"/>
                    <a:pt x="16" y="24"/>
                    <a:pt x="20" y="19"/>
                  </a:cubicBezTo>
                  <a:cubicBezTo>
                    <a:pt x="25" y="14"/>
                    <a:pt x="30" y="12"/>
                    <a:pt x="37" y="12"/>
                  </a:cubicBezTo>
                  <a:cubicBezTo>
                    <a:pt x="42" y="12"/>
                    <a:pt x="46" y="13"/>
                    <a:pt x="49" y="16"/>
                  </a:cubicBezTo>
                  <a:cubicBezTo>
                    <a:pt x="52" y="18"/>
                    <a:pt x="54" y="23"/>
                    <a:pt x="56" y="28"/>
                  </a:cubicBezTo>
                  <a:cubicBezTo>
                    <a:pt x="69" y="26"/>
                    <a:pt x="69" y="26"/>
                    <a:pt x="69" y="26"/>
                  </a:cubicBezTo>
                  <a:cubicBezTo>
                    <a:pt x="67" y="18"/>
                    <a:pt x="64" y="11"/>
                    <a:pt x="58" y="7"/>
                  </a:cubicBezTo>
                  <a:cubicBezTo>
                    <a:pt x="53" y="2"/>
                    <a:pt x="45" y="0"/>
                    <a:pt x="37" y="0"/>
                  </a:cubicBezTo>
                  <a:cubicBezTo>
                    <a:pt x="30" y="0"/>
                    <a:pt x="23" y="2"/>
                    <a:pt x="17" y="5"/>
                  </a:cubicBezTo>
                  <a:cubicBezTo>
                    <a:pt x="11" y="8"/>
                    <a:pt x="7" y="13"/>
                    <a:pt x="4" y="20"/>
                  </a:cubicBezTo>
                  <a:cubicBezTo>
                    <a:pt x="1" y="27"/>
                    <a:pt x="0" y="34"/>
                    <a:pt x="0" y="43"/>
                  </a:cubicBezTo>
                  <a:cubicBezTo>
                    <a:pt x="0" y="57"/>
                    <a:pt x="3" y="67"/>
                    <a:pt x="10" y="74"/>
                  </a:cubicBezTo>
                  <a:cubicBezTo>
                    <a:pt x="16" y="82"/>
                    <a:pt x="25" y="85"/>
                    <a:pt x="37" y="85"/>
                  </a:cubicBezTo>
                  <a:cubicBezTo>
                    <a:pt x="45" y="85"/>
                    <a:pt x="53" y="83"/>
                    <a:pt x="59" y="77"/>
                  </a:cubicBezTo>
                  <a:cubicBezTo>
                    <a:pt x="65" y="72"/>
                    <a:pt x="69" y="65"/>
                    <a:pt x="70" y="55"/>
                  </a:cubicBezTo>
                  <a:cubicBezTo>
                    <a:pt x="57" y="54"/>
                    <a:pt x="57" y="54"/>
                    <a:pt x="57" y="54"/>
                  </a:cubicBezTo>
                  <a:cubicBezTo>
                    <a:pt x="56" y="60"/>
                    <a:pt x="54" y="66"/>
                    <a:pt x="50" y="6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1049726" name="iṩḷídê"/>
            <p:cNvSpPr/>
            <p:nvPr/>
          </p:nvSpPr>
          <p:spPr bwMode="auto">
            <a:xfrm>
              <a:off x="9010903" y="5675903"/>
              <a:ext cx="122238" cy="206375"/>
            </a:xfrm>
            <a:custGeom>
              <a:avLst/>
              <a:gdLst>
                <a:gd name="T0" fmla="*/ 54 w 66"/>
                <a:gd name="T1" fmla="*/ 33 h 112"/>
                <a:gd name="T2" fmla="*/ 38 w 66"/>
                <a:gd name="T3" fmla="*/ 29 h 112"/>
                <a:gd name="T4" fmla="*/ 14 w 66"/>
                <a:gd name="T5" fmla="*/ 40 h 112"/>
                <a:gd name="T6" fmla="*/ 14 w 66"/>
                <a:gd name="T7" fmla="*/ 0 h 112"/>
                <a:gd name="T8" fmla="*/ 0 w 66"/>
                <a:gd name="T9" fmla="*/ 0 h 112"/>
                <a:gd name="T10" fmla="*/ 0 w 66"/>
                <a:gd name="T11" fmla="*/ 112 h 112"/>
                <a:gd name="T12" fmla="*/ 14 w 66"/>
                <a:gd name="T13" fmla="*/ 112 h 112"/>
                <a:gd name="T14" fmla="*/ 14 w 66"/>
                <a:gd name="T15" fmla="*/ 68 h 112"/>
                <a:gd name="T16" fmla="*/ 16 w 66"/>
                <a:gd name="T17" fmla="*/ 53 h 112"/>
                <a:gd name="T18" fmla="*/ 24 w 66"/>
                <a:gd name="T19" fmla="*/ 44 h 112"/>
                <a:gd name="T20" fmla="*/ 35 w 66"/>
                <a:gd name="T21" fmla="*/ 41 h 112"/>
                <a:gd name="T22" fmla="*/ 48 w 66"/>
                <a:gd name="T23" fmla="*/ 46 h 112"/>
                <a:gd name="T24" fmla="*/ 53 w 66"/>
                <a:gd name="T25" fmla="*/ 61 h 112"/>
                <a:gd name="T26" fmla="*/ 53 w 66"/>
                <a:gd name="T27" fmla="*/ 112 h 112"/>
                <a:gd name="T28" fmla="*/ 66 w 66"/>
                <a:gd name="T29" fmla="*/ 112 h 112"/>
                <a:gd name="T30" fmla="*/ 66 w 66"/>
                <a:gd name="T31" fmla="*/ 61 h 112"/>
                <a:gd name="T32" fmla="*/ 63 w 66"/>
                <a:gd name="T33" fmla="*/ 43 h 112"/>
                <a:gd name="T34" fmla="*/ 54 w 66"/>
                <a:gd name="T35" fmla="*/ 33 h 1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66" h="112">
                  <a:moveTo>
                    <a:pt x="54" y="33"/>
                  </a:moveTo>
                  <a:cubicBezTo>
                    <a:pt x="50" y="30"/>
                    <a:pt x="44" y="29"/>
                    <a:pt x="38" y="29"/>
                  </a:cubicBezTo>
                  <a:cubicBezTo>
                    <a:pt x="28" y="29"/>
                    <a:pt x="20" y="33"/>
                    <a:pt x="14" y="40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12"/>
                    <a:pt x="0" y="112"/>
                    <a:pt x="0" y="112"/>
                  </a:cubicBezTo>
                  <a:cubicBezTo>
                    <a:pt x="14" y="112"/>
                    <a:pt x="14" y="112"/>
                    <a:pt x="14" y="112"/>
                  </a:cubicBezTo>
                  <a:cubicBezTo>
                    <a:pt x="14" y="68"/>
                    <a:pt x="14" y="68"/>
                    <a:pt x="14" y="68"/>
                  </a:cubicBezTo>
                  <a:cubicBezTo>
                    <a:pt x="14" y="61"/>
                    <a:pt x="15" y="56"/>
                    <a:pt x="16" y="53"/>
                  </a:cubicBezTo>
                  <a:cubicBezTo>
                    <a:pt x="18" y="49"/>
                    <a:pt x="20" y="46"/>
                    <a:pt x="24" y="44"/>
                  </a:cubicBezTo>
                  <a:cubicBezTo>
                    <a:pt x="28" y="42"/>
                    <a:pt x="31" y="41"/>
                    <a:pt x="35" y="41"/>
                  </a:cubicBezTo>
                  <a:cubicBezTo>
                    <a:pt x="41" y="41"/>
                    <a:pt x="45" y="43"/>
                    <a:pt x="48" y="46"/>
                  </a:cubicBezTo>
                  <a:cubicBezTo>
                    <a:pt x="51" y="49"/>
                    <a:pt x="53" y="54"/>
                    <a:pt x="53" y="61"/>
                  </a:cubicBezTo>
                  <a:cubicBezTo>
                    <a:pt x="53" y="112"/>
                    <a:pt x="53" y="112"/>
                    <a:pt x="53" y="112"/>
                  </a:cubicBezTo>
                  <a:cubicBezTo>
                    <a:pt x="66" y="112"/>
                    <a:pt x="66" y="112"/>
                    <a:pt x="66" y="112"/>
                  </a:cubicBezTo>
                  <a:cubicBezTo>
                    <a:pt x="66" y="61"/>
                    <a:pt x="66" y="61"/>
                    <a:pt x="66" y="61"/>
                  </a:cubicBezTo>
                  <a:cubicBezTo>
                    <a:pt x="66" y="53"/>
                    <a:pt x="65" y="47"/>
                    <a:pt x="63" y="43"/>
                  </a:cubicBezTo>
                  <a:cubicBezTo>
                    <a:pt x="62" y="38"/>
                    <a:pt x="58" y="35"/>
                    <a:pt x="54" y="33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1049727" name="íslîḍe"/>
            <p:cNvSpPr/>
            <p:nvPr/>
          </p:nvSpPr>
          <p:spPr bwMode="auto">
            <a:xfrm>
              <a:off x="9171241" y="5729878"/>
              <a:ext cx="122238" cy="152400"/>
            </a:xfrm>
            <a:custGeom>
              <a:avLst/>
              <a:gdLst>
                <a:gd name="T0" fmla="*/ 61 w 66"/>
                <a:gd name="T1" fmla="*/ 10 h 83"/>
                <a:gd name="T2" fmla="*/ 52 w 66"/>
                <a:gd name="T3" fmla="*/ 3 h 83"/>
                <a:gd name="T4" fmla="*/ 39 w 66"/>
                <a:gd name="T5" fmla="*/ 0 h 83"/>
                <a:gd name="T6" fmla="*/ 13 w 66"/>
                <a:gd name="T7" fmla="*/ 14 h 83"/>
                <a:gd name="T8" fmla="*/ 13 w 66"/>
                <a:gd name="T9" fmla="*/ 2 h 83"/>
                <a:gd name="T10" fmla="*/ 0 w 66"/>
                <a:gd name="T11" fmla="*/ 2 h 83"/>
                <a:gd name="T12" fmla="*/ 0 w 66"/>
                <a:gd name="T13" fmla="*/ 83 h 83"/>
                <a:gd name="T14" fmla="*/ 14 w 66"/>
                <a:gd name="T15" fmla="*/ 83 h 83"/>
                <a:gd name="T16" fmla="*/ 14 w 66"/>
                <a:gd name="T17" fmla="*/ 39 h 83"/>
                <a:gd name="T18" fmla="*/ 20 w 66"/>
                <a:gd name="T19" fmla="*/ 18 h 83"/>
                <a:gd name="T20" fmla="*/ 36 w 66"/>
                <a:gd name="T21" fmla="*/ 12 h 83"/>
                <a:gd name="T22" fmla="*/ 45 w 66"/>
                <a:gd name="T23" fmla="*/ 15 h 83"/>
                <a:gd name="T24" fmla="*/ 51 w 66"/>
                <a:gd name="T25" fmla="*/ 21 h 83"/>
                <a:gd name="T26" fmla="*/ 53 w 66"/>
                <a:gd name="T27" fmla="*/ 34 h 83"/>
                <a:gd name="T28" fmla="*/ 53 w 66"/>
                <a:gd name="T29" fmla="*/ 83 h 83"/>
                <a:gd name="T30" fmla="*/ 66 w 66"/>
                <a:gd name="T31" fmla="*/ 83 h 83"/>
                <a:gd name="T32" fmla="*/ 66 w 66"/>
                <a:gd name="T33" fmla="*/ 33 h 83"/>
                <a:gd name="T34" fmla="*/ 66 w 66"/>
                <a:gd name="T35" fmla="*/ 20 h 83"/>
                <a:gd name="T36" fmla="*/ 61 w 66"/>
                <a:gd name="T37" fmla="*/ 10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6" h="83">
                  <a:moveTo>
                    <a:pt x="61" y="10"/>
                  </a:moveTo>
                  <a:cubicBezTo>
                    <a:pt x="59" y="7"/>
                    <a:pt x="56" y="5"/>
                    <a:pt x="52" y="3"/>
                  </a:cubicBezTo>
                  <a:cubicBezTo>
                    <a:pt x="48" y="1"/>
                    <a:pt x="43" y="0"/>
                    <a:pt x="39" y="0"/>
                  </a:cubicBezTo>
                  <a:cubicBezTo>
                    <a:pt x="27" y="0"/>
                    <a:pt x="19" y="5"/>
                    <a:pt x="13" y="14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83"/>
                    <a:pt x="0" y="83"/>
                    <a:pt x="0" y="83"/>
                  </a:cubicBezTo>
                  <a:cubicBezTo>
                    <a:pt x="14" y="83"/>
                    <a:pt x="14" y="83"/>
                    <a:pt x="14" y="83"/>
                  </a:cubicBezTo>
                  <a:cubicBezTo>
                    <a:pt x="14" y="39"/>
                    <a:pt x="14" y="39"/>
                    <a:pt x="14" y="39"/>
                  </a:cubicBezTo>
                  <a:cubicBezTo>
                    <a:pt x="14" y="29"/>
                    <a:pt x="16" y="21"/>
                    <a:pt x="20" y="18"/>
                  </a:cubicBezTo>
                  <a:cubicBezTo>
                    <a:pt x="25" y="14"/>
                    <a:pt x="30" y="12"/>
                    <a:pt x="36" y="12"/>
                  </a:cubicBezTo>
                  <a:cubicBezTo>
                    <a:pt x="39" y="12"/>
                    <a:pt x="43" y="13"/>
                    <a:pt x="45" y="15"/>
                  </a:cubicBezTo>
                  <a:cubicBezTo>
                    <a:pt x="48" y="16"/>
                    <a:pt x="50" y="19"/>
                    <a:pt x="51" y="21"/>
                  </a:cubicBezTo>
                  <a:cubicBezTo>
                    <a:pt x="52" y="24"/>
                    <a:pt x="53" y="28"/>
                    <a:pt x="53" y="34"/>
                  </a:cubicBezTo>
                  <a:cubicBezTo>
                    <a:pt x="53" y="83"/>
                    <a:pt x="53" y="83"/>
                    <a:pt x="53" y="83"/>
                  </a:cubicBezTo>
                  <a:cubicBezTo>
                    <a:pt x="66" y="83"/>
                    <a:pt x="66" y="83"/>
                    <a:pt x="66" y="83"/>
                  </a:cubicBezTo>
                  <a:cubicBezTo>
                    <a:pt x="66" y="33"/>
                    <a:pt x="66" y="33"/>
                    <a:pt x="66" y="33"/>
                  </a:cubicBezTo>
                  <a:cubicBezTo>
                    <a:pt x="66" y="27"/>
                    <a:pt x="66" y="23"/>
                    <a:pt x="66" y="20"/>
                  </a:cubicBezTo>
                  <a:cubicBezTo>
                    <a:pt x="65" y="16"/>
                    <a:pt x="63" y="13"/>
                    <a:pt x="61" y="1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1049728" name="ïṣľíḓè"/>
            <p:cNvSpPr/>
            <p:nvPr/>
          </p:nvSpPr>
          <p:spPr bwMode="auto">
            <a:xfrm>
              <a:off x="9322053" y="5729878"/>
              <a:ext cx="142875" cy="157163"/>
            </a:xfrm>
            <a:custGeom>
              <a:avLst/>
              <a:gdLst>
                <a:gd name="T0" fmla="*/ 38 w 77"/>
                <a:gd name="T1" fmla="*/ 0 h 85"/>
                <a:gd name="T2" fmla="*/ 13 w 77"/>
                <a:gd name="T3" fmla="*/ 9 h 85"/>
                <a:gd name="T4" fmla="*/ 0 w 77"/>
                <a:gd name="T5" fmla="*/ 43 h 85"/>
                <a:gd name="T6" fmla="*/ 11 w 77"/>
                <a:gd name="T7" fmla="*/ 74 h 85"/>
                <a:gd name="T8" fmla="*/ 38 w 77"/>
                <a:gd name="T9" fmla="*/ 85 h 85"/>
                <a:gd name="T10" fmla="*/ 58 w 77"/>
                <a:gd name="T11" fmla="*/ 80 h 85"/>
                <a:gd name="T12" fmla="*/ 72 w 77"/>
                <a:gd name="T13" fmla="*/ 66 h 85"/>
                <a:gd name="T14" fmla="*/ 77 w 77"/>
                <a:gd name="T15" fmla="*/ 42 h 85"/>
                <a:gd name="T16" fmla="*/ 66 w 77"/>
                <a:gd name="T17" fmla="*/ 11 h 85"/>
                <a:gd name="T18" fmla="*/ 38 w 77"/>
                <a:gd name="T19" fmla="*/ 0 h 85"/>
                <a:gd name="T20" fmla="*/ 56 w 77"/>
                <a:gd name="T21" fmla="*/ 66 h 85"/>
                <a:gd name="T22" fmla="*/ 38 w 77"/>
                <a:gd name="T23" fmla="*/ 74 h 85"/>
                <a:gd name="T24" fmla="*/ 21 w 77"/>
                <a:gd name="T25" fmla="*/ 66 h 85"/>
                <a:gd name="T26" fmla="*/ 15 w 77"/>
                <a:gd name="T27" fmla="*/ 43 h 85"/>
                <a:gd name="T28" fmla="*/ 21 w 77"/>
                <a:gd name="T29" fmla="*/ 19 h 85"/>
                <a:gd name="T30" fmla="*/ 38 w 77"/>
                <a:gd name="T31" fmla="*/ 12 h 85"/>
                <a:gd name="T32" fmla="*/ 56 w 77"/>
                <a:gd name="T33" fmla="*/ 19 h 85"/>
                <a:gd name="T34" fmla="*/ 62 w 77"/>
                <a:gd name="T35" fmla="*/ 42 h 85"/>
                <a:gd name="T36" fmla="*/ 56 w 77"/>
                <a:gd name="T37" fmla="*/ 66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77" h="85">
                  <a:moveTo>
                    <a:pt x="38" y="0"/>
                  </a:moveTo>
                  <a:cubicBezTo>
                    <a:pt x="28" y="0"/>
                    <a:pt x="20" y="3"/>
                    <a:pt x="13" y="9"/>
                  </a:cubicBezTo>
                  <a:cubicBezTo>
                    <a:pt x="5" y="16"/>
                    <a:pt x="0" y="28"/>
                    <a:pt x="0" y="43"/>
                  </a:cubicBezTo>
                  <a:cubicBezTo>
                    <a:pt x="0" y="56"/>
                    <a:pt x="4" y="67"/>
                    <a:pt x="11" y="74"/>
                  </a:cubicBezTo>
                  <a:cubicBezTo>
                    <a:pt x="18" y="82"/>
                    <a:pt x="27" y="85"/>
                    <a:pt x="38" y="85"/>
                  </a:cubicBezTo>
                  <a:cubicBezTo>
                    <a:pt x="46" y="85"/>
                    <a:pt x="52" y="84"/>
                    <a:pt x="58" y="80"/>
                  </a:cubicBezTo>
                  <a:cubicBezTo>
                    <a:pt x="64" y="77"/>
                    <a:pt x="69" y="72"/>
                    <a:pt x="72" y="66"/>
                  </a:cubicBezTo>
                  <a:cubicBezTo>
                    <a:pt x="75" y="60"/>
                    <a:pt x="77" y="52"/>
                    <a:pt x="77" y="42"/>
                  </a:cubicBezTo>
                  <a:cubicBezTo>
                    <a:pt x="77" y="29"/>
                    <a:pt x="73" y="19"/>
                    <a:pt x="66" y="11"/>
                  </a:cubicBezTo>
                  <a:cubicBezTo>
                    <a:pt x="59" y="4"/>
                    <a:pt x="50" y="0"/>
                    <a:pt x="38" y="0"/>
                  </a:cubicBezTo>
                  <a:close/>
                  <a:moveTo>
                    <a:pt x="56" y="66"/>
                  </a:moveTo>
                  <a:cubicBezTo>
                    <a:pt x="51" y="71"/>
                    <a:pt x="45" y="74"/>
                    <a:pt x="38" y="74"/>
                  </a:cubicBezTo>
                  <a:cubicBezTo>
                    <a:pt x="32" y="74"/>
                    <a:pt x="26" y="71"/>
                    <a:pt x="21" y="66"/>
                  </a:cubicBezTo>
                  <a:cubicBezTo>
                    <a:pt x="17" y="61"/>
                    <a:pt x="15" y="53"/>
                    <a:pt x="15" y="43"/>
                  </a:cubicBezTo>
                  <a:cubicBezTo>
                    <a:pt x="15" y="32"/>
                    <a:pt x="17" y="24"/>
                    <a:pt x="21" y="19"/>
                  </a:cubicBezTo>
                  <a:cubicBezTo>
                    <a:pt x="26" y="14"/>
                    <a:pt x="32" y="12"/>
                    <a:pt x="38" y="12"/>
                  </a:cubicBezTo>
                  <a:cubicBezTo>
                    <a:pt x="45" y="12"/>
                    <a:pt x="51" y="14"/>
                    <a:pt x="56" y="19"/>
                  </a:cubicBezTo>
                  <a:cubicBezTo>
                    <a:pt x="60" y="25"/>
                    <a:pt x="62" y="32"/>
                    <a:pt x="62" y="42"/>
                  </a:cubicBezTo>
                  <a:cubicBezTo>
                    <a:pt x="62" y="53"/>
                    <a:pt x="60" y="61"/>
                    <a:pt x="56" y="66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1049729" name="îš1ïḋé"/>
            <p:cNvSpPr/>
            <p:nvPr/>
          </p:nvSpPr>
          <p:spPr bwMode="auto">
            <a:xfrm>
              <a:off x="9491916" y="5675903"/>
              <a:ext cx="25400" cy="206375"/>
            </a:xfrm>
            <a:prstGeom prst="rect">
              <a:avLst/>
            </a:pr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1049730" name="íŝḻíḍê"/>
            <p:cNvSpPr/>
            <p:nvPr/>
          </p:nvSpPr>
          <p:spPr bwMode="auto">
            <a:xfrm>
              <a:off x="9547478" y="5729878"/>
              <a:ext cx="141288" cy="157163"/>
            </a:xfrm>
            <a:custGeom>
              <a:avLst/>
              <a:gdLst>
                <a:gd name="T0" fmla="*/ 38 w 77"/>
                <a:gd name="T1" fmla="*/ 0 h 85"/>
                <a:gd name="T2" fmla="*/ 13 w 77"/>
                <a:gd name="T3" fmla="*/ 9 h 85"/>
                <a:gd name="T4" fmla="*/ 0 w 77"/>
                <a:gd name="T5" fmla="*/ 43 h 85"/>
                <a:gd name="T6" fmla="*/ 11 w 77"/>
                <a:gd name="T7" fmla="*/ 74 h 85"/>
                <a:gd name="T8" fmla="*/ 38 w 77"/>
                <a:gd name="T9" fmla="*/ 85 h 85"/>
                <a:gd name="T10" fmla="*/ 58 w 77"/>
                <a:gd name="T11" fmla="*/ 80 h 85"/>
                <a:gd name="T12" fmla="*/ 72 w 77"/>
                <a:gd name="T13" fmla="*/ 66 h 85"/>
                <a:gd name="T14" fmla="*/ 77 w 77"/>
                <a:gd name="T15" fmla="*/ 42 h 85"/>
                <a:gd name="T16" fmla="*/ 66 w 77"/>
                <a:gd name="T17" fmla="*/ 11 h 85"/>
                <a:gd name="T18" fmla="*/ 38 w 77"/>
                <a:gd name="T19" fmla="*/ 0 h 85"/>
                <a:gd name="T20" fmla="*/ 56 w 77"/>
                <a:gd name="T21" fmla="*/ 66 h 85"/>
                <a:gd name="T22" fmla="*/ 38 w 77"/>
                <a:gd name="T23" fmla="*/ 74 h 85"/>
                <a:gd name="T24" fmla="*/ 21 w 77"/>
                <a:gd name="T25" fmla="*/ 66 h 85"/>
                <a:gd name="T26" fmla="*/ 15 w 77"/>
                <a:gd name="T27" fmla="*/ 43 h 85"/>
                <a:gd name="T28" fmla="*/ 21 w 77"/>
                <a:gd name="T29" fmla="*/ 19 h 85"/>
                <a:gd name="T30" fmla="*/ 38 w 77"/>
                <a:gd name="T31" fmla="*/ 12 h 85"/>
                <a:gd name="T32" fmla="*/ 56 w 77"/>
                <a:gd name="T33" fmla="*/ 19 h 85"/>
                <a:gd name="T34" fmla="*/ 62 w 77"/>
                <a:gd name="T35" fmla="*/ 42 h 85"/>
                <a:gd name="T36" fmla="*/ 56 w 77"/>
                <a:gd name="T37" fmla="*/ 66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77" h="85">
                  <a:moveTo>
                    <a:pt x="38" y="0"/>
                  </a:moveTo>
                  <a:cubicBezTo>
                    <a:pt x="28" y="0"/>
                    <a:pt x="20" y="3"/>
                    <a:pt x="13" y="9"/>
                  </a:cubicBezTo>
                  <a:cubicBezTo>
                    <a:pt x="5" y="16"/>
                    <a:pt x="0" y="28"/>
                    <a:pt x="0" y="43"/>
                  </a:cubicBezTo>
                  <a:cubicBezTo>
                    <a:pt x="0" y="56"/>
                    <a:pt x="4" y="67"/>
                    <a:pt x="11" y="74"/>
                  </a:cubicBezTo>
                  <a:cubicBezTo>
                    <a:pt x="18" y="82"/>
                    <a:pt x="27" y="85"/>
                    <a:pt x="38" y="85"/>
                  </a:cubicBezTo>
                  <a:cubicBezTo>
                    <a:pt x="46" y="85"/>
                    <a:pt x="52" y="84"/>
                    <a:pt x="58" y="80"/>
                  </a:cubicBezTo>
                  <a:cubicBezTo>
                    <a:pt x="64" y="77"/>
                    <a:pt x="69" y="72"/>
                    <a:pt x="72" y="66"/>
                  </a:cubicBezTo>
                  <a:cubicBezTo>
                    <a:pt x="75" y="60"/>
                    <a:pt x="77" y="52"/>
                    <a:pt x="77" y="42"/>
                  </a:cubicBezTo>
                  <a:cubicBezTo>
                    <a:pt x="77" y="29"/>
                    <a:pt x="73" y="19"/>
                    <a:pt x="66" y="11"/>
                  </a:cubicBezTo>
                  <a:cubicBezTo>
                    <a:pt x="59" y="4"/>
                    <a:pt x="50" y="0"/>
                    <a:pt x="38" y="0"/>
                  </a:cubicBezTo>
                  <a:close/>
                  <a:moveTo>
                    <a:pt x="56" y="66"/>
                  </a:moveTo>
                  <a:cubicBezTo>
                    <a:pt x="51" y="71"/>
                    <a:pt x="45" y="74"/>
                    <a:pt x="38" y="74"/>
                  </a:cubicBezTo>
                  <a:cubicBezTo>
                    <a:pt x="32" y="74"/>
                    <a:pt x="26" y="71"/>
                    <a:pt x="21" y="66"/>
                  </a:cubicBezTo>
                  <a:cubicBezTo>
                    <a:pt x="17" y="61"/>
                    <a:pt x="15" y="53"/>
                    <a:pt x="15" y="43"/>
                  </a:cubicBezTo>
                  <a:cubicBezTo>
                    <a:pt x="15" y="32"/>
                    <a:pt x="17" y="24"/>
                    <a:pt x="21" y="19"/>
                  </a:cubicBezTo>
                  <a:cubicBezTo>
                    <a:pt x="26" y="14"/>
                    <a:pt x="32" y="12"/>
                    <a:pt x="38" y="12"/>
                  </a:cubicBezTo>
                  <a:cubicBezTo>
                    <a:pt x="45" y="12"/>
                    <a:pt x="51" y="14"/>
                    <a:pt x="56" y="19"/>
                  </a:cubicBezTo>
                  <a:cubicBezTo>
                    <a:pt x="60" y="25"/>
                    <a:pt x="62" y="32"/>
                    <a:pt x="62" y="42"/>
                  </a:cubicBezTo>
                  <a:cubicBezTo>
                    <a:pt x="62" y="53"/>
                    <a:pt x="60" y="61"/>
                    <a:pt x="56" y="66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1049731" name="íṧḷíḓé"/>
            <p:cNvSpPr/>
            <p:nvPr/>
          </p:nvSpPr>
          <p:spPr bwMode="auto">
            <a:xfrm>
              <a:off x="9707816" y="5729878"/>
              <a:ext cx="131763" cy="214313"/>
            </a:xfrm>
            <a:custGeom>
              <a:avLst/>
              <a:gdLst>
                <a:gd name="T0" fmla="*/ 59 w 72"/>
                <a:gd name="T1" fmla="*/ 12 h 116"/>
                <a:gd name="T2" fmla="*/ 36 w 72"/>
                <a:gd name="T3" fmla="*/ 0 h 116"/>
                <a:gd name="T4" fmla="*/ 17 w 72"/>
                <a:gd name="T5" fmla="*/ 6 h 116"/>
                <a:gd name="T6" fmla="*/ 5 w 72"/>
                <a:gd name="T7" fmla="*/ 21 h 116"/>
                <a:gd name="T8" fmla="*/ 0 w 72"/>
                <a:gd name="T9" fmla="*/ 42 h 116"/>
                <a:gd name="T10" fmla="*/ 10 w 72"/>
                <a:gd name="T11" fmla="*/ 71 h 116"/>
                <a:gd name="T12" fmla="*/ 36 w 72"/>
                <a:gd name="T13" fmla="*/ 83 h 116"/>
                <a:gd name="T14" fmla="*/ 58 w 72"/>
                <a:gd name="T15" fmla="*/ 73 h 116"/>
                <a:gd name="T16" fmla="*/ 57 w 72"/>
                <a:gd name="T17" fmla="*/ 90 h 116"/>
                <a:gd name="T18" fmla="*/ 50 w 72"/>
                <a:gd name="T19" fmla="*/ 101 h 116"/>
                <a:gd name="T20" fmla="*/ 35 w 72"/>
                <a:gd name="T21" fmla="*/ 105 h 116"/>
                <a:gd name="T22" fmla="*/ 21 w 72"/>
                <a:gd name="T23" fmla="*/ 101 h 116"/>
                <a:gd name="T24" fmla="*/ 17 w 72"/>
                <a:gd name="T25" fmla="*/ 92 h 116"/>
                <a:gd name="T26" fmla="*/ 3 w 72"/>
                <a:gd name="T27" fmla="*/ 90 h 116"/>
                <a:gd name="T28" fmla="*/ 12 w 72"/>
                <a:gd name="T29" fmla="*/ 110 h 116"/>
                <a:gd name="T30" fmla="*/ 35 w 72"/>
                <a:gd name="T31" fmla="*/ 116 h 116"/>
                <a:gd name="T32" fmla="*/ 56 w 72"/>
                <a:gd name="T33" fmla="*/ 112 h 116"/>
                <a:gd name="T34" fmla="*/ 68 w 72"/>
                <a:gd name="T35" fmla="*/ 99 h 116"/>
                <a:gd name="T36" fmla="*/ 72 w 72"/>
                <a:gd name="T37" fmla="*/ 72 h 116"/>
                <a:gd name="T38" fmla="*/ 72 w 72"/>
                <a:gd name="T39" fmla="*/ 2 h 116"/>
                <a:gd name="T40" fmla="*/ 59 w 72"/>
                <a:gd name="T41" fmla="*/ 2 h 116"/>
                <a:gd name="T42" fmla="*/ 59 w 72"/>
                <a:gd name="T43" fmla="*/ 12 h 116"/>
                <a:gd name="T44" fmla="*/ 53 w 72"/>
                <a:gd name="T45" fmla="*/ 65 h 116"/>
                <a:gd name="T46" fmla="*/ 37 w 72"/>
                <a:gd name="T47" fmla="*/ 72 h 116"/>
                <a:gd name="T48" fmla="*/ 21 w 72"/>
                <a:gd name="T49" fmla="*/ 65 h 116"/>
                <a:gd name="T50" fmla="*/ 15 w 72"/>
                <a:gd name="T51" fmla="*/ 41 h 116"/>
                <a:gd name="T52" fmla="*/ 21 w 72"/>
                <a:gd name="T53" fmla="*/ 19 h 116"/>
                <a:gd name="T54" fmla="*/ 37 w 72"/>
                <a:gd name="T55" fmla="*/ 12 h 116"/>
                <a:gd name="T56" fmla="*/ 53 w 72"/>
                <a:gd name="T57" fmla="*/ 19 h 116"/>
                <a:gd name="T58" fmla="*/ 59 w 72"/>
                <a:gd name="T59" fmla="*/ 42 h 116"/>
                <a:gd name="T60" fmla="*/ 53 w 72"/>
                <a:gd name="T61" fmla="*/ 65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72" h="116">
                  <a:moveTo>
                    <a:pt x="59" y="12"/>
                  </a:moveTo>
                  <a:cubicBezTo>
                    <a:pt x="53" y="4"/>
                    <a:pt x="45" y="0"/>
                    <a:pt x="36" y="0"/>
                  </a:cubicBezTo>
                  <a:cubicBezTo>
                    <a:pt x="28" y="0"/>
                    <a:pt x="22" y="2"/>
                    <a:pt x="17" y="6"/>
                  </a:cubicBezTo>
                  <a:cubicBezTo>
                    <a:pt x="11" y="9"/>
                    <a:pt x="7" y="14"/>
                    <a:pt x="5" y="21"/>
                  </a:cubicBezTo>
                  <a:cubicBezTo>
                    <a:pt x="2" y="27"/>
                    <a:pt x="0" y="34"/>
                    <a:pt x="0" y="42"/>
                  </a:cubicBezTo>
                  <a:cubicBezTo>
                    <a:pt x="0" y="53"/>
                    <a:pt x="3" y="63"/>
                    <a:pt x="10" y="71"/>
                  </a:cubicBezTo>
                  <a:cubicBezTo>
                    <a:pt x="16" y="79"/>
                    <a:pt x="24" y="83"/>
                    <a:pt x="36" y="83"/>
                  </a:cubicBezTo>
                  <a:cubicBezTo>
                    <a:pt x="45" y="83"/>
                    <a:pt x="52" y="80"/>
                    <a:pt x="58" y="73"/>
                  </a:cubicBezTo>
                  <a:cubicBezTo>
                    <a:pt x="58" y="82"/>
                    <a:pt x="58" y="88"/>
                    <a:pt x="57" y="90"/>
                  </a:cubicBezTo>
                  <a:cubicBezTo>
                    <a:pt x="56" y="95"/>
                    <a:pt x="53" y="99"/>
                    <a:pt x="50" y="101"/>
                  </a:cubicBezTo>
                  <a:cubicBezTo>
                    <a:pt x="47" y="104"/>
                    <a:pt x="42" y="105"/>
                    <a:pt x="35" y="105"/>
                  </a:cubicBezTo>
                  <a:cubicBezTo>
                    <a:pt x="29" y="105"/>
                    <a:pt x="25" y="104"/>
                    <a:pt x="21" y="101"/>
                  </a:cubicBezTo>
                  <a:cubicBezTo>
                    <a:pt x="19" y="99"/>
                    <a:pt x="17" y="96"/>
                    <a:pt x="17" y="92"/>
                  </a:cubicBezTo>
                  <a:cubicBezTo>
                    <a:pt x="3" y="90"/>
                    <a:pt x="3" y="90"/>
                    <a:pt x="3" y="90"/>
                  </a:cubicBezTo>
                  <a:cubicBezTo>
                    <a:pt x="3" y="99"/>
                    <a:pt x="6" y="105"/>
                    <a:pt x="12" y="110"/>
                  </a:cubicBezTo>
                  <a:cubicBezTo>
                    <a:pt x="18" y="114"/>
                    <a:pt x="26" y="116"/>
                    <a:pt x="35" y="116"/>
                  </a:cubicBezTo>
                  <a:cubicBezTo>
                    <a:pt x="43" y="116"/>
                    <a:pt x="50" y="115"/>
                    <a:pt x="56" y="112"/>
                  </a:cubicBezTo>
                  <a:cubicBezTo>
                    <a:pt x="62" y="109"/>
                    <a:pt x="66" y="104"/>
                    <a:pt x="68" y="99"/>
                  </a:cubicBezTo>
                  <a:cubicBezTo>
                    <a:pt x="71" y="94"/>
                    <a:pt x="72" y="85"/>
                    <a:pt x="72" y="72"/>
                  </a:cubicBezTo>
                  <a:cubicBezTo>
                    <a:pt x="72" y="2"/>
                    <a:pt x="72" y="2"/>
                    <a:pt x="72" y="2"/>
                  </a:cubicBezTo>
                  <a:cubicBezTo>
                    <a:pt x="59" y="2"/>
                    <a:pt x="59" y="2"/>
                    <a:pt x="59" y="2"/>
                  </a:cubicBezTo>
                  <a:lnTo>
                    <a:pt x="59" y="12"/>
                  </a:lnTo>
                  <a:close/>
                  <a:moveTo>
                    <a:pt x="53" y="65"/>
                  </a:moveTo>
                  <a:cubicBezTo>
                    <a:pt x="48" y="69"/>
                    <a:pt x="43" y="72"/>
                    <a:pt x="37" y="72"/>
                  </a:cubicBezTo>
                  <a:cubicBezTo>
                    <a:pt x="30" y="72"/>
                    <a:pt x="25" y="69"/>
                    <a:pt x="21" y="65"/>
                  </a:cubicBezTo>
                  <a:cubicBezTo>
                    <a:pt x="17" y="60"/>
                    <a:pt x="15" y="52"/>
                    <a:pt x="15" y="41"/>
                  </a:cubicBezTo>
                  <a:cubicBezTo>
                    <a:pt x="15" y="31"/>
                    <a:pt x="17" y="24"/>
                    <a:pt x="21" y="19"/>
                  </a:cubicBezTo>
                  <a:cubicBezTo>
                    <a:pt x="25" y="14"/>
                    <a:pt x="30" y="12"/>
                    <a:pt x="37" y="12"/>
                  </a:cubicBezTo>
                  <a:cubicBezTo>
                    <a:pt x="43" y="12"/>
                    <a:pt x="48" y="14"/>
                    <a:pt x="53" y="19"/>
                  </a:cubicBezTo>
                  <a:cubicBezTo>
                    <a:pt x="57" y="24"/>
                    <a:pt x="59" y="32"/>
                    <a:pt x="59" y="42"/>
                  </a:cubicBezTo>
                  <a:cubicBezTo>
                    <a:pt x="59" y="52"/>
                    <a:pt x="57" y="60"/>
                    <a:pt x="53" y="6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1049732" name="îŝlíde"/>
            <p:cNvSpPr/>
            <p:nvPr/>
          </p:nvSpPr>
          <p:spPr bwMode="auto">
            <a:xfrm>
              <a:off x="9864978" y="5733053"/>
              <a:ext cx="138113" cy="211138"/>
            </a:xfrm>
            <a:custGeom>
              <a:avLst/>
              <a:gdLst>
                <a:gd name="T0" fmla="*/ 43 w 75"/>
                <a:gd name="T1" fmla="*/ 47 h 114"/>
                <a:gd name="T2" fmla="*/ 38 w 75"/>
                <a:gd name="T3" fmla="*/ 66 h 114"/>
                <a:gd name="T4" fmla="*/ 32 w 75"/>
                <a:gd name="T5" fmla="*/ 47 h 114"/>
                <a:gd name="T6" fmla="*/ 15 w 75"/>
                <a:gd name="T7" fmla="*/ 0 h 114"/>
                <a:gd name="T8" fmla="*/ 0 w 75"/>
                <a:gd name="T9" fmla="*/ 0 h 114"/>
                <a:gd name="T10" fmla="*/ 31 w 75"/>
                <a:gd name="T11" fmla="*/ 81 h 114"/>
                <a:gd name="T12" fmla="*/ 30 w 75"/>
                <a:gd name="T13" fmla="*/ 85 h 114"/>
                <a:gd name="T14" fmla="*/ 25 w 75"/>
                <a:gd name="T15" fmla="*/ 95 h 114"/>
                <a:gd name="T16" fmla="*/ 21 w 75"/>
                <a:gd name="T17" fmla="*/ 99 h 114"/>
                <a:gd name="T18" fmla="*/ 14 w 75"/>
                <a:gd name="T19" fmla="*/ 101 h 114"/>
                <a:gd name="T20" fmla="*/ 6 w 75"/>
                <a:gd name="T21" fmla="*/ 100 h 114"/>
                <a:gd name="T22" fmla="*/ 7 w 75"/>
                <a:gd name="T23" fmla="*/ 113 h 114"/>
                <a:gd name="T24" fmla="*/ 16 w 75"/>
                <a:gd name="T25" fmla="*/ 114 h 114"/>
                <a:gd name="T26" fmla="*/ 27 w 75"/>
                <a:gd name="T27" fmla="*/ 111 h 114"/>
                <a:gd name="T28" fmla="*/ 36 w 75"/>
                <a:gd name="T29" fmla="*/ 101 h 114"/>
                <a:gd name="T30" fmla="*/ 44 w 75"/>
                <a:gd name="T31" fmla="*/ 83 h 114"/>
                <a:gd name="T32" fmla="*/ 75 w 75"/>
                <a:gd name="T33" fmla="*/ 0 h 114"/>
                <a:gd name="T34" fmla="*/ 61 w 75"/>
                <a:gd name="T35" fmla="*/ 0 h 114"/>
                <a:gd name="T36" fmla="*/ 43 w 75"/>
                <a:gd name="T37" fmla="*/ 47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75" h="114">
                  <a:moveTo>
                    <a:pt x="43" y="47"/>
                  </a:moveTo>
                  <a:cubicBezTo>
                    <a:pt x="41" y="53"/>
                    <a:pt x="39" y="60"/>
                    <a:pt x="38" y="66"/>
                  </a:cubicBezTo>
                  <a:cubicBezTo>
                    <a:pt x="36" y="59"/>
                    <a:pt x="34" y="53"/>
                    <a:pt x="32" y="47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0" y="83"/>
                    <a:pt x="30" y="84"/>
                    <a:pt x="30" y="85"/>
                  </a:cubicBezTo>
                  <a:cubicBezTo>
                    <a:pt x="28" y="90"/>
                    <a:pt x="26" y="94"/>
                    <a:pt x="25" y="95"/>
                  </a:cubicBezTo>
                  <a:cubicBezTo>
                    <a:pt x="24" y="97"/>
                    <a:pt x="23" y="98"/>
                    <a:pt x="21" y="99"/>
                  </a:cubicBezTo>
                  <a:cubicBezTo>
                    <a:pt x="19" y="100"/>
                    <a:pt x="17" y="101"/>
                    <a:pt x="14" y="101"/>
                  </a:cubicBezTo>
                  <a:cubicBezTo>
                    <a:pt x="11" y="101"/>
                    <a:pt x="9" y="101"/>
                    <a:pt x="6" y="100"/>
                  </a:cubicBezTo>
                  <a:cubicBezTo>
                    <a:pt x="7" y="113"/>
                    <a:pt x="7" y="113"/>
                    <a:pt x="7" y="113"/>
                  </a:cubicBezTo>
                  <a:cubicBezTo>
                    <a:pt x="11" y="114"/>
                    <a:pt x="13" y="114"/>
                    <a:pt x="16" y="114"/>
                  </a:cubicBezTo>
                  <a:cubicBezTo>
                    <a:pt x="21" y="114"/>
                    <a:pt x="24" y="113"/>
                    <a:pt x="27" y="111"/>
                  </a:cubicBezTo>
                  <a:cubicBezTo>
                    <a:pt x="31" y="109"/>
                    <a:pt x="33" y="106"/>
                    <a:pt x="36" y="101"/>
                  </a:cubicBezTo>
                  <a:cubicBezTo>
                    <a:pt x="38" y="98"/>
                    <a:pt x="40" y="92"/>
                    <a:pt x="44" y="83"/>
                  </a:cubicBezTo>
                  <a:cubicBezTo>
                    <a:pt x="75" y="0"/>
                    <a:pt x="75" y="0"/>
                    <a:pt x="75" y="0"/>
                  </a:cubicBezTo>
                  <a:cubicBezTo>
                    <a:pt x="61" y="0"/>
                    <a:pt x="61" y="0"/>
                    <a:pt x="61" y="0"/>
                  </a:cubicBezTo>
                  <a:lnTo>
                    <a:pt x="43" y="47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1049733" name="íṧ1ïḍé"/>
            <p:cNvSpPr/>
            <p:nvPr/>
          </p:nvSpPr>
          <p:spPr bwMode="auto">
            <a:xfrm>
              <a:off x="10106278" y="5675903"/>
              <a:ext cx="155575" cy="206375"/>
            </a:xfrm>
            <a:custGeom>
              <a:avLst/>
              <a:gdLst>
                <a:gd name="T0" fmla="*/ 64 w 85"/>
                <a:gd name="T1" fmla="*/ 53 h 112"/>
                <a:gd name="T2" fmla="*/ 75 w 85"/>
                <a:gd name="T3" fmla="*/ 42 h 112"/>
                <a:gd name="T4" fmla="*/ 79 w 85"/>
                <a:gd name="T5" fmla="*/ 29 h 112"/>
                <a:gd name="T6" fmla="*/ 75 w 85"/>
                <a:gd name="T7" fmla="*/ 14 h 112"/>
                <a:gd name="T8" fmla="*/ 63 w 85"/>
                <a:gd name="T9" fmla="*/ 4 h 112"/>
                <a:gd name="T10" fmla="*/ 42 w 85"/>
                <a:gd name="T11" fmla="*/ 0 h 112"/>
                <a:gd name="T12" fmla="*/ 0 w 85"/>
                <a:gd name="T13" fmla="*/ 0 h 112"/>
                <a:gd name="T14" fmla="*/ 0 w 85"/>
                <a:gd name="T15" fmla="*/ 112 h 112"/>
                <a:gd name="T16" fmla="*/ 43 w 85"/>
                <a:gd name="T17" fmla="*/ 112 h 112"/>
                <a:gd name="T18" fmla="*/ 61 w 85"/>
                <a:gd name="T19" fmla="*/ 110 h 112"/>
                <a:gd name="T20" fmla="*/ 73 w 85"/>
                <a:gd name="T21" fmla="*/ 105 h 112"/>
                <a:gd name="T22" fmla="*/ 81 w 85"/>
                <a:gd name="T23" fmla="*/ 94 h 112"/>
                <a:gd name="T24" fmla="*/ 85 w 85"/>
                <a:gd name="T25" fmla="*/ 80 h 112"/>
                <a:gd name="T26" fmla="*/ 79 w 85"/>
                <a:gd name="T27" fmla="*/ 63 h 112"/>
                <a:gd name="T28" fmla="*/ 64 w 85"/>
                <a:gd name="T29" fmla="*/ 53 h 112"/>
                <a:gd name="T30" fmla="*/ 15 w 85"/>
                <a:gd name="T31" fmla="*/ 13 h 112"/>
                <a:gd name="T32" fmla="*/ 37 w 85"/>
                <a:gd name="T33" fmla="*/ 13 h 112"/>
                <a:gd name="T34" fmla="*/ 54 w 85"/>
                <a:gd name="T35" fmla="*/ 15 h 112"/>
                <a:gd name="T36" fmla="*/ 62 w 85"/>
                <a:gd name="T37" fmla="*/ 21 h 112"/>
                <a:gd name="T38" fmla="*/ 65 w 85"/>
                <a:gd name="T39" fmla="*/ 31 h 112"/>
                <a:gd name="T40" fmla="*/ 62 w 85"/>
                <a:gd name="T41" fmla="*/ 40 h 112"/>
                <a:gd name="T42" fmla="*/ 53 w 85"/>
                <a:gd name="T43" fmla="*/ 46 h 112"/>
                <a:gd name="T44" fmla="*/ 39 w 85"/>
                <a:gd name="T45" fmla="*/ 47 h 112"/>
                <a:gd name="T46" fmla="*/ 15 w 85"/>
                <a:gd name="T47" fmla="*/ 47 h 112"/>
                <a:gd name="T48" fmla="*/ 15 w 85"/>
                <a:gd name="T49" fmla="*/ 13 h 112"/>
                <a:gd name="T50" fmla="*/ 67 w 85"/>
                <a:gd name="T51" fmla="*/ 89 h 112"/>
                <a:gd name="T52" fmla="*/ 61 w 85"/>
                <a:gd name="T53" fmla="*/ 95 h 112"/>
                <a:gd name="T54" fmla="*/ 53 w 85"/>
                <a:gd name="T55" fmla="*/ 99 h 112"/>
                <a:gd name="T56" fmla="*/ 43 w 85"/>
                <a:gd name="T57" fmla="*/ 99 h 112"/>
                <a:gd name="T58" fmla="*/ 15 w 85"/>
                <a:gd name="T59" fmla="*/ 99 h 112"/>
                <a:gd name="T60" fmla="*/ 15 w 85"/>
                <a:gd name="T61" fmla="*/ 61 h 112"/>
                <a:gd name="T62" fmla="*/ 41 w 85"/>
                <a:gd name="T63" fmla="*/ 61 h 112"/>
                <a:gd name="T64" fmla="*/ 57 w 85"/>
                <a:gd name="T65" fmla="*/ 62 h 112"/>
                <a:gd name="T66" fmla="*/ 66 w 85"/>
                <a:gd name="T67" fmla="*/ 69 h 112"/>
                <a:gd name="T68" fmla="*/ 69 w 85"/>
                <a:gd name="T69" fmla="*/ 80 h 112"/>
                <a:gd name="T70" fmla="*/ 67 w 85"/>
                <a:gd name="T71" fmla="*/ 89 h 1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85" h="112">
                  <a:moveTo>
                    <a:pt x="64" y="53"/>
                  </a:moveTo>
                  <a:cubicBezTo>
                    <a:pt x="69" y="50"/>
                    <a:pt x="73" y="47"/>
                    <a:pt x="75" y="42"/>
                  </a:cubicBezTo>
                  <a:cubicBezTo>
                    <a:pt x="78" y="38"/>
                    <a:pt x="79" y="34"/>
                    <a:pt x="79" y="29"/>
                  </a:cubicBezTo>
                  <a:cubicBezTo>
                    <a:pt x="79" y="24"/>
                    <a:pt x="78" y="19"/>
                    <a:pt x="75" y="14"/>
                  </a:cubicBezTo>
                  <a:cubicBezTo>
                    <a:pt x="72" y="9"/>
                    <a:pt x="68" y="6"/>
                    <a:pt x="63" y="4"/>
                  </a:cubicBezTo>
                  <a:cubicBezTo>
                    <a:pt x="57" y="1"/>
                    <a:pt x="51" y="0"/>
                    <a:pt x="42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12"/>
                    <a:pt x="0" y="112"/>
                    <a:pt x="0" y="112"/>
                  </a:cubicBezTo>
                  <a:cubicBezTo>
                    <a:pt x="43" y="112"/>
                    <a:pt x="43" y="112"/>
                    <a:pt x="43" y="112"/>
                  </a:cubicBezTo>
                  <a:cubicBezTo>
                    <a:pt x="50" y="112"/>
                    <a:pt x="56" y="112"/>
                    <a:pt x="61" y="110"/>
                  </a:cubicBezTo>
                  <a:cubicBezTo>
                    <a:pt x="66" y="109"/>
                    <a:pt x="70" y="107"/>
                    <a:pt x="73" y="105"/>
                  </a:cubicBezTo>
                  <a:cubicBezTo>
                    <a:pt x="76" y="102"/>
                    <a:pt x="79" y="99"/>
                    <a:pt x="81" y="94"/>
                  </a:cubicBezTo>
                  <a:cubicBezTo>
                    <a:pt x="84" y="90"/>
                    <a:pt x="85" y="85"/>
                    <a:pt x="85" y="80"/>
                  </a:cubicBezTo>
                  <a:cubicBezTo>
                    <a:pt x="85" y="73"/>
                    <a:pt x="83" y="68"/>
                    <a:pt x="79" y="63"/>
                  </a:cubicBezTo>
                  <a:cubicBezTo>
                    <a:pt x="76" y="58"/>
                    <a:pt x="70" y="55"/>
                    <a:pt x="64" y="53"/>
                  </a:cubicBezTo>
                  <a:close/>
                  <a:moveTo>
                    <a:pt x="15" y="13"/>
                  </a:moveTo>
                  <a:cubicBezTo>
                    <a:pt x="37" y="13"/>
                    <a:pt x="37" y="13"/>
                    <a:pt x="37" y="13"/>
                  </a:cubicBezTo>
                  <a:cubicBezTo>
                    <a:pt x="45" y="13"/>
                    <a:pt x="51" y="14"/>
                    <a:pt x="54" y="15"/>
                  </a:cubicBezTo>
                  <a:cubicBezTo>
                    <a:pt x="58" y="16"/>
                    <a:pt x="60" y="18"/>
                    <a:pt x="62" y="21"/>
                  </a:cubicBezTo>
                  <a:cubicBezTo>
                    <a:pt x="64" y="24"/>
                    <a:pt x="65" y="27"/>
                    <a:pt x="65" y="31"/>
                  </a:cubicBezTo>
                  <a:cubicBezTo>
                    <a:pt x="65" y="35"/>
                    <a:pt x="64" y="38"/>
                    <a:pt x="62" y="40"/>
                  </a:cubicBezTo>
                  <a:cubicBezTo>
                    <a:pt x="60" y="43"/>
                    <a:pt x="57" y="45"/>
                    <a:pt x="53" y="46"/>
                  </a:cubicBezTo>
                  <a:cubicBezTo>
                    <a:pt x="50" y="47"/>
                    <a:pt x="46" y="47"/>
                    <a:pt x="39" y="47"/>
                  </a:cubicBezTo>
                  <a:cubicBezTo>
                    <a:pt x="15" y="47"/>
                    <a:pt x="15" y="47"/>
                    <a:pt x="15" y="47"/>
                  </a:cubicBezTo>
                  <a:lnTo>
                    <a:pt x="15" y="13"/>
                  </a:lnTo>
                  <a:close/>
                  <a:moveTo>
                    <a:pt x="67" y="89"/>
                  </a:moveTo>
                  <a:cubicBezTo>
                    <a:pt x="66" y="92"/>
                    <a:pt x="64" y="94"/>
                    <a:pt x="61" y="95"/>
                  </a:cubicBezTo>
                  <a:cubicBezTo>
                    <a:pt x="59" y="97"/>
                    <a:pt x="56" y="98"/>
                    <a:pt x="53" y="99"/>
                  </a:cubicBezTo>
                  <a:cubicBezTo>
                    <a:pt x="51" y="99"/>
                    <a:pt x="48" y="99"/>
                    <a:pt x="43" y="99"/>
                  </a:cubicBezTo>
                  <a:cubicBezTo>
                    <a:pt x="15" y="99"/>
                    <a:pt x="15" y="99"/>
                    <a:pt x="15" y="99"/>
                  </a:cubicBezTo>
                  <a:cubicBezTo>
                    <a:pt x="15" y="61"/>
                    <a:pt x="15" y="61"/>
                    <a:pt x="15" y="61"/>
                  </a:cubicBezTo>
                  <a:cubicBezTo>
                    <a:pt x="41" y="61"/>
                    <a:pt x="41" y="61"/>
                    <a:pt x="41" y="61"/>
                  </a:cubicBezTo>
                  <a:cubicBezTo>
                    <a:pt x="48" y="61"/>
                    <a:pt x="53" y="61"/>
                    <a:pt x="57" y="62"/>
                  </a:cubicBezTo>
                  <a:cubicBezTo>
                    <a:pt x="61" y="64"/>
                    <a:pt x="64" y="66"/>
                    <a:pt x="66" y="69"/>
                  </a:cubicBezTo>
                  <a:cubicBezTo>
                    <a:pt x="68" y="72"/>
                    <a:pt x="69" y="76"/>
                    <a:pt x="69" y="80"/>
                  </a:cubicBezTo>
                  <a:cubicBezTo>
                    <a:pt x="69" y="83"/>
                    <a:pt x="69" y="87"/>
                    <a:pt x="67" y="8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1049734" name="iŝļidé"/>
            <p:cNvSpPr/>
            <p:nvPr/>
          </p:nvSpPr>
          <p:spPr bwMode="auto">
            <a:xfrm>
              <a:off x="10288841" y="5729878"/>
              <a:ext cx="138113" cy="157163"/>
            </a:xfrm>
            <a:custGeom>
              <a:avLst/>
              <a:gdLst>
                <a:gd name="T0" fmla="*/ 38 w 75"/>
                <a:gd name="T1" fmla="*/ 0 h 85"/>
                <a:gd name="T2" fmla="*/ 10 w 75"/>
                <a:gd name="T3" fmla="*/ 12 h 85"/>
                <a:gd name="T4" fmla="*/ 0 w 75"/>
                <a:gd name="T5" fmla="*/ 43 h 85"/>
                <a:gd name="T6" fmla="*/ 10 w 75"/>
                <a:gd name="T7" fmla="*/ 74 h 85"/>
                <a:gd name="T8" fmla="*/ 38 w 75"/>
                <a:gd name="T9" fmla="*/ 85 h 85"/>
                <a:gd name="T10" fmla="*/ 62 w 75"/>
                <a:gd name="T11" fmla="*/ 78 h 85"/>
                <a:gd name="T12" fmla="*/ 74 w 75"/>
                <a:gd name="T13" fmla="*/ 59 h 85"/>
                <a:gd name="T14" fmla="*/ 60 w 75"/>
                <a:gd name="T15" fmla="*/ 57 h 85"/>
                <a:gd name="T16" fmla="*/ 51 w 75"/>
                <a:gd name="T17" fmla="*/ 70 h 85"/>
                <a:gd name="T18" fmla="*/ 39 w 75"/>
                <a:gd name="T19" fmla="*/ 74 h 85"/>
                <a:gd name="T20" fmla="*/ 22 w 75"/>
                <a:gd name="T21" fmla="*/ 67 h 85"/>
                <a:gd name="T22" fmla="*/ 14 w 75"/>
                <a:gd name="T23" fmla="*/ 46 h 85"/>
                <a:gd name="T24" fmla="*/ 75 w 75"/>
                <a:gd name="T25" fmla="*/ 46 h 85"/>
                <a:gd name="T26" fmla="*/ 75 w 75"/>
                <a:gd name="T27" fmla="*/ 43 h 85"/>
                <a:gd name="T28" fmla="*/ 64 w 75"/>
                <a:gd name="T29" fmla="*/ 11 h 85"/>
                <a:gd name="T30" fmla="*/ 38 w 75"/>
                <a:gd name="T31" fmla="*/ 0 h 85"/>
                <a:gd name="T32" fmla="*/ 15 w 75"/>
                <a:gd name="T33" fmla="*/ 35 h 85"/>
                <a:gd name="T34" fmla="*/ 22 w 75"/>
                <a:gd name="T35" fmla="*/ 18 h 85"/>
                <a:gd name="T36" fmla="*/ 38 w 75"/>
                <a:gd name="T37" fmla="*/ 12 h 85"/>
                <a:gd name="T38" fmla="*/ 55 w 75"/>
                <a:gd name="T39" fmla="*/ 20 h 85"/>
                <a:gd name="T40" fmla="*/ 60 w 75"/>
                <a:gd name="T41" fmla="*/ 35 h 85"/>
                <a:gd name="T42" fmla="*/ 15 w 75"/>
                <a:gd name="T43" fmla="*/ 35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75" h="85">
                  <a:moveTo>
                    <a:pt x="38" y="0"/>
                  </a:moveTo>
                  <a:cubicBezTo>
                    <a:pt x="26" y="0"/>
                    <a:pt x="17" y="4"/>
                    <a:pt x="10" y="12"/>
                  </a:cubicBezTo>
                  <a:cubicBezTo>
                    <a:pt x="3" y="19"/>
                    <a:pt x="0" y="30"/>
                    <a:pt x="0" y="43"/>
                  </a:cubicBezTo>
                  <a:cubicBezTo>
                    <a:pt x="0" y="57"/>
                    <a:pt x="3" y="67"/>
                    <a:pt x="10" y="74"/>
                  </a:cubicBezTo>
                  <a:cubicBezTo>
                    <a:pt x="17" y="81"/>
                    <a:pt x="27" y="85"/>
                    <a:pt x="38" y="85"/>
                  </a:cubicBezTo>
                  <a:cubicBezTo>
                    <a:pt x="48" y="85"/>
                    <a:pt x="56" y="83"/>
                    <a:pt x="62" y="78"/>
                  </a:cubicBezTo>
                  <a:cubicBezTo>
                    <a:pt x="68" y="74"/>
                    <a:pt x="72" y="67"/>
                    <a:pt x="74" y="59"/>
                  </a:cubicBezTo>
                  <a:cubicBezTo>
                    <a:pt x="60" y="57"/>
                    <a:pt x="60" y="57"/>
                    <a:pt x="60" y="57"/>
                  </a:cubicBezTo>
                  <a:cubicBezTo>
                    <a:pt x="58" y="63"/>
                    <a:pt x="55" y="67"/>
                    <a:pt x="51" y="70"/>
                  </a:cubicBezTo>
                  <a:cubicBezTo>
                    <a:pt x="48" y="73"/>
                    <a:pt x="44" y="74"/>
                    <a:pt x="39" y="74"/>
                  </a:cubicBezTo>
                  <a:cubicBezTo>
                    <a:pt x="32" y="74"/>
                    <a:pt x="26" y="71"/>
                    <a:pt x="22" y="67"/>
                  </a:cubicBezTo>
                  <a:cubicBezTo>
                    <a:pt x="17" y="62"/>
                    <a:pt x="14" y="55"/>
                    <a:pt x="14" y="46"/>
                  </a:cubicBezTo>
                  <a:cubicBezTo>
                    <a:pt x="75" y="46"/>
                    <a:pt x="75" y="46"/>
                    <a:pt x="75" y="46"/>
                  </a:cubicBezTo>
                  <a:cubicBezTo>
                    <a:pt x="75" y="45"/>
                    <a:pt x="75" y="43"/>
                    <a:pt x="75" y="43"/>
                  </a:cubicBezTo>
                  <a:cubicBezTo>
                    <a:pt x="75" y="29"/>
                    <a:pt x="71" y="19"/>
                    <a:pt x="64" y="11"/>
                  </a:cubicBezTo>
                  <a:cubicBezTo>
                    <a:pt x="57" y="4"/>
                    <a:pt x="49" y="0"/>
                    <a:pt x="38" y="0"/>
                  </a:cubicBezTo>
                  <a:close/>
                  <a:moveTo>
                    <a:pt x="15" y="35"/>
                  </a:moveTo>
                  <a:cubicBezTo>
                    <a:pt x="15" y="28"/>
                    <a:pt x="18" y="22"/>
                    <a:pt x="22" y="18"/>
                  </a:cubicBezTo>
                  <a:cubicBezTo>
                    <a:pt x="26" y="14"/>
                    <a:pt x="32" y="12"/>
                    <a:pt x="38" y="12"/>
                  </a:cubicBezTo>
                  <a:cubicBezTo>
                    <a:pt x="45" y="12"/>
                    <a:pt x="51" y="14"/>
                    <a:pt x="55" y="20"/>
                  </a:cubicBezTo>
                  <a:cubicBezTo>
                    <a:pt x="58" y="23"/>
                    <a:pt x="60" y="28"/>
                    <a:pt x="60" y="35"/>
                  </a:cubicBezTo>
                  <a:lnTo>
                    <a:pt x="15" y="35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1049735" name="í$lidè"/>
            <p:cNvSpPr/>
            <p:nvPr/>
          </p:nvSpPr>
          <p:spPr bwMode="auto">
            <a:xfrm>
              <a:off x="10457116" y="5675903"/>
              <a:ext cx="25400" cy="30163"/>
            </a:xfrm>
            <a:prstGeom prst="rect">
              <a:avLst/>
            </a:pr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1049736" name="iSļiḋé"/>
            <p:cNvSpPr/>
            <p:nvPr/>
          </p:nvSpPr>
          <p:spPr bwMode="auto">
            <a:xfrm>
              <a:off x="10457116" y="5733053"/>
              <a:ext cx="25400" cy="149225"/>
            </a:xfrm>
            <a:prstGeom prst="rect">
              <a:avLst/>
            </a:pr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1049737" name="íṩḷïḑe"/>
            <p:cNvSpPr/>
            <p:nvPr/>
          </p:nvSpPr>
          <p:spPr bwMode="auto">
            <a:xfrm>
              <a:off x="10520616" y="5675903"/>
              <a:ext cx="25400" cy="30163"/>
            </a:xfrm>
            <a:prstGeom prst="rect">
              <a:avLst/>
            </a:pr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1049738" name="i$ḷïḍè"/>
            <p:cNvSpPr/>
            <p:nvPr/>
          </p:nvSpPr>
          <p:spPr bwMode="auto">
            <a:xfrm>
              <a:off x="10488866" y="5733053"/>
              <a:ext cx="57150" cy="211138"/>
            </a:xfrm>
            <a:custGeom>
              <a:avLst/>
              <a:gdLst>
                <a:gd name="T0" fmla="*/ 17 w 31"/>
                <a:gd name="T1" fmla="*/ 85 h 114"/>
                <a:gd name="T2" fmla="*/ 15 w 31"/>
                <a:gd name="T3" fmla="*/ 99 h 114"/>
                <a:gd name="T4" fmla="*/ 9 w 31"/>
                <a:gd name="T5" fmla="*/ 102 h 114"/>
                <a:gd name="T6" fmla="*/ 2 w 31"/>
                <a:gd name="T7" fmla="*/ 101 h 114"/>
                <a:gd name="T8" fmla="*/ 0 w 31"/>
                <a:gd name="T9" fmla="*/ 113 h 114"/>
                <a:gd name="T10" fmla="*/ 11 w 31"/>
                <a:gd name="T11" fmla="*/ 114 h 114"/>
                <a:gd name="T12" fmla="*/ 27 w 31"/>
                <a:gd name="T13" fmla="*/ 107 h 114"/>
                <a:gd name="T14" fmla="*/ 31 w 31"/>
                <a:gd name="T15" fmla="*/ 86 h 114"/>
                <a:gd name="T16" fmla="*/ 31 w 31"/>
                <a:gd name="T17" fmla="*/ 0 h 114"/>
                <a:gd name="T18" fmla="*/ 17 w 31"/>
                <a:gd name="T19" fmla="*/ 0 h 114"/>
                <a:gd name="T20" fmla="*/ 17 w 31"/>
                <a:gd name="T21" fmla="*/ 85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1" h="114">
                  <a:moveTo>
                    <a:pt x="17" y="85"/>
                  </a:moveTo>
                  <a:cubicBezTo>
                    <a:pt x="17" y="93"/>
                    <a:pt x="17" y="98"/>
                    <a:pt x="15" y="99"/>
                  </a:cubicBezTo>
                  <a:cubicBezTo>
                    <a:pt x="14" y="101"/>
                    <a:pt x="12" y="102"/>
                    <a:pt x="9" y="102"/>
                  </a:cubicBezTo>
                  <a:cubicBezTo>
                    <a:pt x="7" y="102"/>
                    <a:pt x="5" y="102"/>
                    <a:pt x="2" y="101"/>
                  </a:cubicBezTo>
                  <a:cubicBezTo>
                    <a:pt x="0" y="113"/>
                    <a:pt x="0" y="113"/>
                    <a:pt x="0" y="113"/>
                  </a:cubicBezTo>
                  <a:cubicBezTo>
                    <a:pt x="3" y="114"/>
                    <a:pt x="7" y="114"/>
                    <a:pt x="11" y="114"/>
                  </a:cubicBezTo>
                  <a:cubicBezTo>
                    <a:pt x="18" y="114"/>
                    <a:pt x="24" y="112"/>
                    <a:pt x="27" y="107"/>
                  </a:cubicBezTo>
                  <a:cubicBezTo>
                    <a:pt x="30" y="103"/>
                    <a:pt x="31" y="96"/>
                    <a:pt x="31" y="86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17" y="0"/>
                    <a:pt x="17" y="0"/>
                    <a:pt x="17" y="0"/>
                  </a:cubicBezTo>
                  <a:lnTo>
                    <a:pt x="17" y="85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1049739" name="íṩliḋé"/>
            <p:cNvSpPr/>
            <p:nvPr/>
          </p:nvSpPr>
          <p:spPr bwMode="auto">
            <a:xfrm>
              <a:off x="10585703" y="5675903"/>
              <a:ext cx="25400" cy="30163"/>
            </a:xfrm>
            <a:prstGeom prst="rect">
              <a:avLst/>
            </a:pr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1049740" name="ísḷiďé"/>
            <p:cNvSpPr/>
            <p:nvPr/>
          </p:nvSpPr>
          <p:spPr bwMode="auto">
            <a:xfrm>
              <a:off x="10585703" y="5733053"/>
              <a:ext cx="25400" cy="149225"/>
            </a:xfrm>
            <a:prstGeom prst="rect">
              <a:avLst/>
            </a:pr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1049741" name="íṩļïḍe"/>
            <p:cNvSpPr/>
            <p:nvPr/>
          </p:nvSpPr>
          <p:spPr bwMode="auto">
            <a:xfrm>
              <a:off x="10649203" y="5729878"/>
              <a:ext cx="122238" cy="152400"/>
            </a:xfrm>
            <a:custGeom>
              <a:avLst/>
              <a:gdLst>
                <a:gd name="T0" fmla="*/ 65 w 66"/>
                <a:gd name="T1" fmla="*/ 20 h 83"/>
                <a:gd name="T2" fmla="*/ 61 w 66"/>
                <a:gd name="T3" fmla="*/ 10 h 83"/>
                <a:gd name="T4" fmla="*/ 52 w 66"/>
                <a:gd name="T5" fmla="*/ 3 h 83"/>
                <a:gd name="T6" fmla="*/ 38 w 66"/>
                <a:gd name="T7" fmla="*/ 0 h 83"/>
                <a:gd name="T8" fmla="*/ 12 w 66"/>
                <a:gd name="T9" fmla="*/ 14 h 83"/>
                <a:gd name="T10" fmla="*/ 12 w 66"/>
                <a:gd name="T11" fmla="*/ 2 h 83"/>
                <a:gd name="T12" fmla="*/ 0 w 66"/>
                <a:gd name="T13" fmla="*/ 2 h 83"/>
                <a:gd name="T14" fmla="*/ 0 w 66"/>
                <a:gd name="T15" fmla="*/ 83 h 83"/>
                <a:gd name="T16" fmla="*/ 14 w 66"/>
                <a:gd name="T17" fmla="*/ 83 h 83"/>
                <a:gd name="T18" fmla="*/ 14 w 66"/>
                <a:gd name="T19" fmla="*/ 39 h 83"/>
                <a:gd name="T20" fmla="*/ 20 w 66"/>
                <a:gd name="T21" fmla="*/ 18 h 83"/>
                <a:gd name="T22" fmla="*/ 35 w 66"/>
                <a:gd name="T23" fmla="*/ 12 h 83"/>
                <a:gd name="T24" fmla="*/ 45 w 66"/>
                <a:gd name="T25" fmla="*/ 15 h 83"/>
                <a:gd name="T26" fmla="*/ 51 w 66"/>
                <a:gd name="T27" fmla="*/ 21 h 83"/>
                <a:gd name="T28" fmla="*/ 52 w 66"/>
                <a:gd name="T29" fmla="*/ 34 h 83"/>
                <a:gd name="T30" fmla="*/ 52 w 66"/>
                <a:gd name="T31" fmla="*/ 83 h 83"/>
                <a:gd name="T32" fmla="*/ 66 w 66"/>
                <a:gd name="T33" fmla="*/ 83 h 83"/>
                <a:gd name="T34" fmla="*/ 66 w 66"/>
                <a:gd name="T35" fmla="*/ 33 h 83"/>
                <a:gd name="T36" fmla="*/ 65 w 66"/>
                <a:gd name="T37" fmla="*/ 20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6" h="83">
                  <a:moveTo>
                    <a:pt x="65" y="20"/>
                  </a:moveTo>
                  <a:cubicBezTo>
                    <a:pt x="64" y="16"/>
                    <a:pt x="63" y="13"/>
                    <a:pt x="61" y="10"/>
                  </a:cubicBezTo>
                  <a:cubicBezTo>
                    <a:pt x="59" y="7"/>
                    <a:pt x="56" y="5"/>
                    <a:pt x="52" y="3"/>
                  </a:cubicBezTo>
                  <a:cubicBezTo>
                    <a:pt x="48" y="1"/>
                    <a:pt x="43" y="0"/>
                    <a:pt x="38" y="0"/>
                  </a:cubicBezTo>
                  <a:cubicBezTo>
                    <a:pt x="27" y="0"/>
                    <a:pt x="18" y="5"/>
                    <a:pt x="12" y="14"/>
                  </a:cubicBezTo>
                  <a:cubicBezTo>
                    <a:pt x="12" y="2"/>
                    <a:pt x="12" y="2"/>
                    <a:pt x="12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83"/>
                    <a:pt x="0" y="83"/>
                    <a:pt x="0" y="83"/>
                  </a:cubicBezTo>
                  <a:cubicBezTo>
                    <a:pt x="14" y="83"/>
                    <a:pt x="14" y="83"/>
                    <a:pt x="14" y="83"/>
                  </a:cubicBezTo>
                  <a:cubicBezTo>
                    <a:pt x="14" y="39"/>
                    <a:pt x="14" y="39"/>
                    <a:pt x="14" y="39"/>
                  </a:cubicBezTo>
                  <a:cubicBezTo>
                    <a:pt x="14" y="29"/>
                    <a:pt x="16" y="21"/>
                    <a:pt x="20" y="18"/>
                  </a:cubicBezTo>
                  <a:cubicBezTo>
                    <a:pt x="24" y="14"/>
                    <a:pt x="29" y="12"/>
                    <a:pt x="35" y="12"/>
                  </a:cubicBezTo>
                  <a:cubicBezTo>
                    <a:pt x="39" y="12"/>
                    <a:pt x="42" y="13"/>
                    <a:pt x="45" y="15"/>
                  </a:cubicBezTo>
                  <a:cubicBezTo>
                    <a:pt x="48" y="16"/>
                    <a:pt x="50" y="19"/>
                    <a:pt x="51" y="21"/>
                  </a:cubicBezTo>
                  <a:cubicBezTo>
                    <a:pt x="52" y="24"/>
                    <a:pt x="52" y="28"/>
                    <a:pt x="52" y="34"/>
                  </a:cubicBezTo>
                  <a:cubicBezTo>
                    <a:pt x="52" y="83"/>
                    <a:pt x="52" y="83"/>
                    <a:pt x="52" y="83"/>
                  </a:cubicBezTo>
                  <a:cubicBezTo>
                    <a:pt x="66" y="83"/>
                    <a:pt x="66" y="83"/>
                    <a:pt x="66" y="83"/>
                  </a:cubicBezTo>
                  <a:cubicBezTo>
                    <a:pt x="66" y="33"/>
                    <a:pt x="66" y="33"/>
                    <a:pt x="66" y="33"/>
                  </a:cubicBezTo>
                  <a:cubicBezTo>
                    <a:pt x="66" y="27"/>
                    <a:pt x="66" y="23"/>
                    <a:pt x="65" y="2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1049742" name="í$ľíḍê"/>
            <p:cNvSpPr/>
            <p:nvPr/>
          </p:nvSpPr>
          <p:spPr bwMode="auto">
            <a:xfrm>
              <a:off x="10800016" y="5729878"/>
              <a:ext cx="133350" cy="214313"/>
            </a:xfrm>
            <a:custGeom>
              <a:avLst/>
              <a:gdLst>
                <a:gd name="T0" fmla="*/ 59 w 72"/>
                <a:gd name="T1" fmla="*/ 2 h 116"/>
                <a:gd name="T2" fmla="*/ 59 w 72"/>
                <a:gd name="T3" fmla="*/ 12 h 116"/>
                <a:gd name="T4" fmla="*/ 35 w 72"/>
                <a:gd name="T5" fmla="*/ 0 h 116"/>
                <a:gd name="T6" fmla="*/ 16 w 72"/>
                <a:gd name="T7" fmla="*/ 6 h 116"/>
                <a:gd name="T8" fmla="*/ 4 w 72"/>
                <a:gd name="T9" fmla="*/ 21 h 116"/>
                <a:gd name="T10" fmla="*/ 0 w 72"/>
                <a:gd name="T11" fmla="*/ 42 h 116"/>
                <a:gd name="T12" fmla="*/ 9 w 72"/>
                <a:gd name="T13" fmla="*/ 71 h 116"/>
                <a:gd name="T14" fmla="*/ 35 w 72"/>
                <a:gd name="T15" fmla="*/ 83 h 116"/>
                <a:gd name="T16" fmla="*/ 58 w 72"/>
                <a:gd name="T17" fmla="*/ 73 h 116"/>
                <a:gd name="T18" fmla="*/ 57 w 72"/>
                <a:gd name="T19" fmla="*/ 90 h 116"/>
                <a:gd name="T20" fmla="*/ 49 w 72"/>
                <a:gd name="T21" fmla="*/ 101 h 116"/>
                <a:gd name="T22" fmla="*/ 35 w 72"/>
                <a:gd name="T23" fmla="*/ 105 h 116"/>
                <a:gd name="T24" fmla="*/ 21 w 72"/>
                <a:gd name="T25" fmla="*/ 101 h 116"/>
                <a:gd name="T26" fmla="*/ 16 w 72"/>
                <a:gd name="T27" fmla="*/ 92 h 116"/>
                <a:gd name="T28" fmla="*/ 3 w 72"/>
                <a:gd name="T29" fmla="*/ 90 h 116"/>
                <a:gd name="T30" fmla="*/ 11 w 72"/>
                <a:gd name="T31" fmla="*/ 110 h 116"/>
                <a:gd name="T32" fmla="*/ 35 w 72"/>
                <a:gd name="T33" fmla="*/ 116 h 116"/>
                <a:gd name="T34" fmla="*/ 55 w 72"/>
                <a:gd name="T35" fmla="*/ 112 h 116"/>
                <a:gd name="T36" fmla="*/ 68 w 72"/>
                <a:gd name="T37" fmla="*/ 99 h 116"/>
                <a:gd name="T38" fmla="*/ 72 w 72"/>
                <a:gd name="T39" fmla="*/ 72 h 116"/>
                <a:gd name="T40" fmla="*/ 72 w 72"/>
                <a:gd name="T41" fmla="*/ 2 h 116"/>
                <a:gd name="T42" fmla="*/ 59 w 72"/>
                <a:gd name="T43" fmla="*/ 2 h 116"/>
                <a:gd name="T44" fmla="*/ 52 w 72"/>
                <a:gd name="T45" fmla="*/ 65 h 116"/>
                <a:gd name="T46" fmla="*/ 36 w 72"/>
                <a:gd name="T47" fmla="*/ 72 h 116"/>
                <a:gd name="T48" fmla="*/ 20 w 72"/>
                <a:gd name="T49" fmla="*/ 65 h 116"/>
                <a:gd name="T50" fmla="*/ 14 w 72"/>
                <a:gd name="T51" fmla="*/ 41 h 116"/>
                <a:gd name="T52" fmla="*/ 20 w 72"/>
                <a:gd name="T53" fmla="*/ 19 h 116"/>
                <a:gd name="T54" fmla="*/ 36 w 72"/>
                <a:gd name="T55" fmla="*/ 12 h 116"/>
                <a:gd name="T56" fmla="*/ 52 w 72"/>
                <a:gd name="T57" fmla="*/ 19 h 116"/>
                <a:gd name="T58" fmla="*/ 59 w 72"/>
                <a:gd name="T59" fmla="*/ 42 h 116"/>
                <a:gd name="T60" fmla="*/ 52 w 72"/>
                <a:gd name="T61" fmla="*/ 65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72" h="116">
                  <a:moveTo>
                    <a:pt x="59" y="2"/>
                  </a:moveTo>
                  <a:cubicBezTo>
                    <a:pt x="59" y="12"/>
                    <a:pt x="59" y="12"/>
                    <a:pt x="59" y="12"/>
                  </a:cubicBezTo>
                  <a:cubicBezTo>
                    <a:pt x="53" y="4"/>
                    <a:pt x="45" y="0"/>
                    <a:pt x="35" y="0"/>
                  </a:cubicBezTo>
                  <a:cubicBezTo>
                    <a:pt x="28" y="0"/>
                    <a:pt x="22" y="2"/>
                    <a:pt x="16" y="6"/>
                  </a:cubicBezTo>
                  <a:cubicBezTo>
                    <a:pt x="11" y="9"/>
                    <a:pt x="7" y="14"/>
                    <a:pt x="4" y="21"/>
                  </a:cubicBezTo>
                  <a:cubicBezTo>
                    <a:pt x="1" y="27"/>
                    <a:pt x="0" y="34"/>
                    <a:pt x="0" y="42"/>
                  </a:cubicBezTo>
                  <a:cubicBezTo>
                    <a:pt x="0" y="53"/>
                    <a:pt x="3" y="63"/>
                    <a:pt x="9" y="71"/>
                  </a:cubicBezTo>
                  <a:cubicBezTo>
                    <a:pt x="15" y="79"/>
                    <a:pt x="24" y="83"/>
                    <a:pt x="35" y="83"/>
                  </a:cubicBezTo>
                  <a:cubicBezTo>
                    <a:pt x="44" y="83"/>
                    <a:pt x="51" y="80"/>
                    <a:pt x="58" y="73"/>
                  </a:cubicBezTo>
                  <a:cubicBezTo>
                    <a:pt x="58" y="82"/>
                    <a:pt x="57" y="88"/>
                    <a:pt x="57" y="90"/>
                  </a:cubicBezTo>
                  <a:cubicBezTo>
                    <a:pt x="55" y="95"/>
                    <a:pt x="53" y="99"/>
                    <a:pt x="49" y="101"/>
                  </a:cubicBezTo>
                  <a:cubicBezTo>
                    <a:pt x="46" y="104"/>
                    <a:pt x="41" y="105"/>
                    <a:pt x="35" y="105"/>
                  </a:cubicBezTo>
                  <a:cubicBezTo>
                    <a:pt x="29" y="105"/>
                    <a:pt x="24" y="104"/>
                    <a:pt x="21" y="101"/>
                  </a:cubicBezTo>
                  <a:cubicBezTo>
                    <a:pt x="18" y="99"/>
                    <a:pt x="17" y="96"/>
                    <a:pt x="16" y="92"/>
                  </a:cubicBezTo>
                  <a:cubicBezTo>
                    <a:pt x="3" y="90"/>
                    <a:pt x="3" y="90"/>
                    <a:pt x="3" y="90"/>
                  </a:cubicBezTo>
                  <a:cubicBezTo>
                    <a:pt x="2" y="99"/>
                    <a:pt x="5" y="105"/>
                    <a:pt x="11" y="110"/>
                  </a:cubicBezTo>
                  <a:cubicBezTo>
                    <a:pt x="17" y="114"/>
                    <a:pt x="25" y="116"/>
                    <a:pt x="35" y="116"/>
                  </a:cubicBezTo>
                  <a:cubicBezTo>
                    <a:pt x="43" y="116"/>
                    <a:pt x="50" y="115"/>
                    <a:pt x="55" y="112"/>
                  </a:cubicBezTo>
                  <a:cubicBezTo>
                    <a:pt x="61" y="109"/>
                    <a:pt x="65" y="104"/>
                    <a:pt x="68" y="99"/>
                  </a:cubicBezTo>
                  <a:cubicBezTo>
                    <a:pt x="70" y="94"/>
                    <a:pt x="72" y="85"/>
                    <a:pt x="72" y="72"/>
                  </a:cubicBezTo>
                  <a:cubicBezTo>
                    <a:pt x="72" y="2"/>
                    <a:pt x="72" y="2"/>
                    <a:pt x="72" y="2"/>
                  </a:cubicBezTo>
                  <a:lnTo>
                    <a:pt x="59" y="2"/>
                  </a:lnTo>
                  <a:close/>
                  <a:moveTo>
                    <a:pt x="52" y="65"/>
                  </a:moveTo>
                  <a:cubicBezTo>
                    <a:pt x="48" y="69"/>
                    <a:pt x="43" y="72"/>
                    <a:pt x="36" y="72"/>
                  </a:cubicBezTo>
                  <a:cubicBezTo>
                    <a:pt x="30" y="72"/>
                    <a:pt x="25" y="69"/>
                    <a:pt x="20" y="65"/>
                  </a:cubicBezTo>
                  <a:cubicBezTo>
                    <a:pt x="16" y="60"/>
                    <a:pt x="14" y="52"/>
                    <a:pt x="14" y="41"/>
                  </a:cubicBezTo>
                  <a:cubicBezTo>
                    <a:pt x="14" y="31"/>
                    <a:pt x="16" y="24"/>
                    <a:pt x="20" y="19"/>
                  </a:cubicBezTo>
                  <a:cubicBezTo>
                    <a:pt x="25" y="14"/>
                    <a:pt x="30" y="12"/>
                    <a:pt x="36" y="12"/>
                  </a:cubicBezTo>
                  <a:cubicBezTo>
                    <a:pt x="42" y="12"/>
                    <a:pt x="48" y="14"/>
                    <a:pt x="52" y="19"/>
                  </a:cubicBezTo>
                  <a:cubicBezTo>
                    <a:pt x="56" y="24"/>
                    <a:pt x="59" y="32"/>
                    <a:pt x="59" y="42"/>
                  </a:cubicBezTo>
                  <a:cubicBezTo>
                    <a:pt x="59" y="52"/>
                    <a:pt x="57" y="60"/>
                    <a:pt x="52" y="6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1049743" name="î$1ïḍè"/>
            <p:cNvSpPr/>
            <p:nvPr/>
          </p:nvSpPr>
          <p:spPr bwMode="auto">
            <a:xfrm>
              <a:off x="5231066" y="5675903"/>
              <a:ext cx="161925" cy="211138"/>
            </a:xfrm>
            <a:custGeom>
              <a:avLst/>
              <a:gdLst>
                <a:gd name="T0" fmla="*/ 73 w 88"/>
                <a:gd name="T1" fmla="*/ 65 h 114"/>
                <a:gd name="T2" fmla="*/ 66 w 88"/>
                <a:gd name="T3" fmla="*/ 93 h 114"/>
                <a:gd name="T4" fmla="*/ 43 w 88"/>
                <a:gd name="T5" fmla="*/ 101 h 114"/>
                <a:gd name="T6" fmla="*/ 27 w 88"/>
                <a:gd name="T7" fmla="*/ 97 h 114"/>
                <a:gd name="T8" fmla="*/ 17 w 88"/>
                <a:gd name="T9" fmla="*/ 86 h 114"/>
                <a:gd name="T10" fmla="*/ 15 w 88"/>
                <a:gd name="T11" fmla="*/ 65 h 114"/>
                <a:gd name="T12" fmla="*/ 15 w 88"/>
                <a:gd name="T13" fmla="*/ 0 h 114"/>
                <a:gd name="T14" fmla="*/ 0 w 88"/>
                <a:gd name="T15" fmla="*/ 0 h 114"/>
                <a:gd name="T16" fmla="*/ 0 w 88"/>
                <a:gd name="T17" fmla="*/ 65 h 114"/>
                <a:gd name="T18" fmla="*/ 4 w 88"/>
                <a:gd name="T19" fmla="*/ 93 h 114"/>
                <a:gd name="T20" fmla="*/ 18 w 88"/>
                <a:gd name="T21" fmla="*/ 109 h 114"/>
                <a:gd name="T22" fmla="*/ 44 w 88"/>
                <a:gd name="T23" fmla="*/ 114 h 114"/>
                <a:gd name="T24" fmla="*/ 70 w 88"/>
                <a:gd name="T25" fmla="*/ 108 h 114"/>
                <a:gd name="T26" fmla="*/ 84 w 88"/>
                <a:gd name="T27" fmla="*/ 92 h 114"/>
                <a:gd name="T28" fmla="*/ 88 w 88"/>
                <a:gd name="T29" fmla="*/ 65 h 114"/>
                <a:gd name="T30" fmla="*/ 88 w 88"/>
                <a:gd name="T31" fmla="*/ 0 h 114"/>
                <a:gd name="T32" fmla="*/ 73 w 88"/>
                <a:gd name="T33" fmla="*/ 0 h 114"/>
                <a:gd name="T34" fmla="*/ 73 w 88"/>
                <a:gd name="T35" fmla="*/ 65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88" h="114">
                  <a:moveTo>
                    <a:pt x="73" y="65"/>
                  </a:moveTo>
                  <a:cubicBezTo>
                    <a:pt x="73" y="79"/>
                    <a:pt x="71" y="88"/>
                    <a:pt x="66" y="93"/>
                  </a:cubicBezTo>
                  <a:cubicBezTo>
                    <a:pt x="62" y="98"/>
                    <a:pt x="54" y="101"/>
                    <a:pt x="43" y="101"/>
                  </a:cubicBezTo>
                  <a:cubicBezTo>
                    <a:pt x="37" y="101"/>
                    <a:pt x="31" y="100"/>
                    <a:pt x="27" y="97"/>
                  </a:cubicBezTo>
                  <a:cubicBezTo>
                    <a:pt x="22" y="95"/>
                    <a:pt x="19" y="91"/>
                    <a:pt x="17" y="86"/>
                  </a:cubicBezTo>
                  <a:cubicBezTo>
                    <a:pt x="16" y="82"/>
                    <a:pt x="15" y="75"/>
                    <a:pt x="15" y="65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65"/>
                    <a:pt x="0" y="65"/>
                    <a:pt x="0" y="65"/>
                  </a:cubicBezTo>
                  <a:cubicBezTo>
                    <a:pt x="0" y="77"/>
                    <a:pt x="1" y="86"/>
                    <a:pt x="4" y="93"/>
                  </a:cubicBezTo>
                  <a:cubicBezTo>
                    <a:pt x="7" y="100"/>
                    <a:pt x="12" y="105"/>
                    <a:pt x="18" y="109"/>
                  </a:cubicBezTo>
                  <a:cubicBezTo>
                    <a:pt x="25" y="112"/>
                    <a:pt x="34" y="114"/>
                    <a:pt x="44" y="114"/>
                  </a:cubicBezTo>
                  <a:cubicBezTo>
                    <a:pt x="55" y="114"/>
                    <a:pt x="64" y="112"/>
                    <a:pt x="70" y="108"/>
                  </a:cubicBezTo>
                  <a:cubicBezTo>
                    <a:pt x="77" y="104"/>
                    <a:pt x="82" y="98"/>
                    <a:pt x="84" y="92"/>
                  </a:cubicBezTo>
                  <a:cubicBezTo>
                    <a:pt x="87" y="85"/>
                    <a:pt x="88" y="76"/>
                    <a:pt x="88" y="65"/>
                  </a:cubicBezTo>
                  <a:cubicBezTo>
                    <a:pt x="88" y="0"/>
                    <a:pt x="88" y="0"/>
                    <a:pt x="88" y="0"/>
                  </a:cubicBezTo>
                  <a:cubicBezTo>
                    <a:pt x="73" y="0"/>
                    <a:pt x="73" y="0"/>
                    <a:pt x="73" y="0"/>
                  </a:cubicBezTo>
                  <a:lnTo>
                    <a:pt x="73" y="65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1049744" name="ïṡļîḑê"/>
            <p:cNvSpPr/>
            <p:nvPr/>
          </p:nvSpPr>
          <p:spPr bwMode="auto">
            <a:xfrm>
              <a:off x="5435853" y="5729878"/>
              <a:ext cx="120650" cy="152400"/>
            </a:xfrm>
            <a:custGeom>
              <a:avLst/>
              <a:gdLst>
                <a:gd name="T0" fmla="*/ 61 w 66"/>
                <a:gd name="T1" fmla="*/ 10 h 83"/>
                <a:gd name="T2" fmla="*/ 52 w 66"/>
                <a:gd name="T3" fmla="*/ 3 h 83"/>
                <a:gd name="T4" fmla="*/ 38 w 66"/>
                <a:gd name="T5" fmla="*/ 0 h 83"/>
                <a:gd name="T6" fmla="*/ 12 w 66"/>
                <a:gd name="T7" fmla="*/ 14 h 83"/>
                <a:gd name="T8" fmla="*/ 12 w 66"/>
                <a:gd name="T9" fmla="*/ 2 h 83"/>
                <a:gd name="T10" fmla="*/ 0 w 66"/>
                <a:gd name="T11" fmla="*/ 2 h 83"/>
                <a:gd name="T12" fmla="*/ 0 w 66"/>
                <a:gd name="T13" fmla="*/ 83 h 83"/>
                <a:gd name="T14" fmla="*/ 14 w 66"/>
                <a:gd name="T15" fmla="*/ 83 h 83"/>
                <a:gd name="T16" fmla="*/ 14 w 66"/>
                <a:gd name="T17" fmla="*/ 39 h 83"/>
                <a:gd name="T18" fmla="*/ 20 w 66"/>
                <a:gd name="T19" fmla="*/ 18 h 83"/>
                <a:gd name="T20" fmla="*/ 35 w 66"/>
                <a:gd name="T21" fmla="*/ 12 h 83"/>
                <a:gd name="T22" fmla="*/ 45 w 66"/>
                <a:gd name="T23" fmla="*/ 15 h 83"/>
                <a:gd name="T24" fmla="*/ 51 w 66"/>
                <a:gd name="T25" fmla="*/ 21 h 83"/>
                <a:gd name="T26" fmla="*/ 52 w 66"/>
                <a:gd name="T27" fmla="*/ 34 h 83"/>
                <a:gd name="T28" fmla="*/ 52 w 66"/>
                <a:gd name="T29" fmla="*/ 83 h 83"/>
                <a:gd name="T30" fmla="*/ 66 w 66"/>
                <a:gd name="T31" fmla="*/ 83 h 83"/>
                <a:gd name="T32" fmla="*/ 66 w 66"/>
                <a:gd name="T33" fmla="*/ 33 h 83"/>
                <a:gd name="T34" fmla="*/ 65 w 66"/>
                <a:gd name="T35" fmla="*/ 20 h 83"/>
                <a:gd name="T36" fmla="*/ 61 w 66"/>
                <a:gd name="T37" fmla="*/ 10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6" h="83">
                  <a:moveTo>
                    <a:pt x="61" y="10"/>
                  </a:moveTo>
                  <a:cubicBezTo>
                    <a:pt x="59" y="7"/>
                    <a:pt x="56" y="5"/>
                    <a:pt x="52" y="3"/>
                  </a:cubicBezTo>
                  <a:cubicBezTo>
                    <a:pt x="48" y="1"/>
                    <a:pt x="43" y="0"/>
                    <a:pt x="38" y="0"/>
                  </a:cubicBezTo>
                  <a:cubicBezTo>
                    <a:pt x="27" y="0"/>
                    <a:pt x="18" y="5"/>
                    <a:pt x="12" y="14"/>
                  </a:cubicBezTo>
                  <a:cubicBezTo>
                    <a:pt x="12" y="2"/>
                    <a:pt x="12" y="2"/>
                    <a:pt x="12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83"/>
                    <a:pt x="0" y="83"/>
                    <a:pt x="0" y="83"/>
                  </a:cubicBezTo>
                  <a:cubicBezTo>
                    <a:pt x="14" y="83"/>
                    <a:pt x="14" y="83"/>
                    <a:pt x="14" y="83"/>
                  </a:cubicBezTo>
                  <a:cubicBezTo>
                    <a:pt x="14" y="39"/>
                    <a:pt x="14" y="39"/>
                    <a:pt x="14" y="39"/>
                  </a:cubicBezTo>
                  <a:cubicBezTo>
                    <a:pt x="14" y="29"/>
                    <a:pt x="16" y="21"/>
                    <a:pt x="20" y="18"/>
                  </a:cubicBezTo>
                  <a:cubicBezTo>
                    <a:pt x="25" y="14"/>
                    <a:pt x="30" y="12"/>
                    <a:pt x="35" y="12"/>
                  </a:cubicBezTo>
                  <a:cubicBezTo>
                    <a:pt x="39" y="12"/>
                    <a:pt x="42" y="13"/>
                    <a:pt x="45" y="15"/>
                  </a:cubicBezTo>
                  <a:cubicBezTo>
                    <a:pt x="48" y="16"/>
                    <a:pt x="50" y="19"/>
                    <a:pt x="51" y="21"/>
                  </a:cubicBezTo>
                  <a:cubicBezTo>
                    <a:pt x="52" y="24"/>
                    <a:pt x="52" y="28"/>
                    <a:pt x="52" y="34"/>
                  </a:cubicBezTo>
                  <a:cubicBezTo>
                    <a:pt x="52" y="83"/>
                    <a:pt x="52" y="83"/>
                    <a:pt x="52" y="83"/>
                  </a:cubicBezTo>
                  <a:cubicBezTo>
                    <a:pt x="66" y="83"/>
                    <a:pt x="66" y="83"/>
                    <a:pt x="66" y="83"/>
                  </a:cubicBezTo>
                  <a:cubicBezTo>
                    <a:pt x="66" y="33"/>
                    <a:pt x="66" y="33"/>
                    <a:pt x="66" y="33"/>
                  </a:cubicBezTo>
                  <a:cubicBezTo>
                    <a:pt x="66" y="27"/>
                    <a:pt x="66" y="23"/>
                    <a:pt x="65" y="20"/>
                  </a:cubicBezTo>
                  <a:cubicBezTo>
                    <a:pt x="65" y="16"/>
                    <a:pt x="63" y="13"/>
                    <a:pt x="61" y="1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 sz="1350"/>
            </a:p>
          </p:txBody>
        </p:sp>
      </p:grpSp>
      <p:sp>
        <p:nvSpPr>
          <p:cNvPr id="1049745" name="文本框 117"/>
          <p:cNvSpPr txBox="1"/>
          <p:nvPr userDrawn="1"/>
        </p:nvSpPr>
        <p:spPr>
          <a:xfrm>
            <a:off x="4107180" y="6441440"/>
            <a:ext cx="929640" cy="2527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zh-CN" altLang="en-US" sz="1050" spc="300" dirty="0">
                <a:gradFill>
                  <a:gsLst>
                    <a:gs pos="0">
                      <a:srgbClr val="A22B17">
                        <a:lumMod val="90000"/>
                        <a:lumOff val="10000"/>
                      </a:srgbClr>
                    </a:gs>
                    <a:gs pos="100000">
                      <a:srgbClr val="A22B17">
                        <a:alpha val="92000"/>
                        <a:lumMod val="75000"/>
                        <a:lumOff val="25000"/>
                      </a:srgbClr>
                    </a:gs>
                  </a:gsLst>
                  <a:lin ang="0" scaled="1"/>
                </a:gradFill>
                <a:latin typeface="优设标题黑" panose="00000500000000000000" pitchFamily="2" charset="-122"/>
                <a:ea typeface="优设标题黑" panose="00000500000000000000" pitchFamily="2" charset="-122"/>
              </a:rPr>
              <a:t>求实鼎新</a:t>
            </a:r>
            <a:endParaRPr lang="zh-CN" altLang="en-US" sz="1050" spc="300" dirty="0">
              <a:gradFill>
                <a:gsLst>
                  <a:gs pos="0">
                    <a:srgbClr val="A22B17">
                      <a:lumMod val="90000"/>
                      <a:lumOff val="10000"/>
                    </a:srgbClr>
                  </a:gs>
                  <a:gs pos="100000">
                    <a:srgbClr val="A22B17">
                      <a:alpha val="92000"/>
                      <a:lumMod val="75000"/>
                      <a:lumOff val="25000"/>
                    </a:srgbClr>
                  </a:gs>
                </a:gsLst>
                <a:lin ang="0" scaled="1"/>
              </a:gradFill>
              <a:latin typeface="优设标题黑" panose="00000500000000000000" pitchFamily="2" charset="-122"/>
              <a:ea typeface="优设标题黑" panose="00000500000000000000" pitchFamily="2" charset="-122"/>
            </a:endParaRPr>
          </a:p>
        </p:txBody>
      </p:sp>
    </p:spTree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9381" name="标题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1049382" name="图片占位符 2"/>
          <p:cNvSpPr>
            <a:spLocks noGrp="1"/>
          </p:cNvSpPr>
          <p:nvPr>
            <p:ph type="pic" idx="1"/>
          </p:nvPr>
        </p:nvSpPr>
        <p:spPr>
          <a:xfrm>
            <a:off x="3887391" y="987425"/>
            <a:ext cx="462915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zh-CN" altLang="en-US"/>
          </a:p>
        </p:txBody>
      </p:sp>
      <p:sp>
        <p:nvSpPr>
          <p:cNvPr id="1049383" name="文本占位符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</p:txBody>
      </p:sp>
      <p:sp>
        <p:nvSpPr>
          <p:cNvPr id="1049384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97B5FA-0921-464F-AAE1-844C04324D75}" type="datetimeFigureOut">
              <a:rPr lang="zh-CN" altLang="en-US" smtClean="0"/>
            </a:fld>
            <a:endParaRPr lang="zh-CN" altLang="en-US"/>
          </a:p>
        </p:txBody>
      </p:sp>
      <p:sp>
        <p:nvSpPr>
          <p:cNvPr id="1049385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1049386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5CE74E-AB26-4998-AD42-012C4C1AD076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9624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1049625" name="竖排文字占位符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zh-CN" altLang="en-US"/>
          </a:p>
        </p:txBody>
      </p:sp>
      <p:sp>
        <p:nvSpPr>
          <p:cNvPr id="1049626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97B5FA-0921-464F-AAE1-844C04324D75}" type="datetimeFigureOut">
              <a:rPr lang="zh-CN" altLang="en-US" smtClean="0"/>
            </a:fld>
            <a:endParaRPr lang="zh-CN" altLang="en-US"/>
          </a:p>
        </p:txBody>
      </p:sp>
      <p:sp>
        <p:nvSpPr>
          <p:cNvPr id="1049627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1049628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5CE74E-AB26-4998-AD42-012C4C1AD076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垂直排列标题与&#10;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9376" name="竖排标题 1"/>
          <p:cNvSpPr>
            <a:spLocks noGrp="1"/>
          </p:cNvSpPr>
          <p:nvPr>
            <p:ph type="title" orient="vert"/>
          </p:nvPr>
        </p:nvSpPr>
        <p:spPr>
          <a:xfrm>
            <a:off x="6543675" y="365125"/>
            <a:ext cx="1971675" cy="5811838"/>
          </a:xfrm>
        </p:spPr>
        <p:txBody>
          <a:bodyPr vert="eaVert"/>
          <a:lstStyle/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1049377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628650" y="365125"/>
            <a:ext cx="5800725" cy="5811838"/>
          </a:xfrm>
        </p:spPr>
        <p:txBody>
          <a:bodyPr vert="eaVert"/>
          <a:lstStyle/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zh-CN" altLang="en-US"/>
          </a:p>
        </p:txBody>
      </p:sp>
      <p:sp>
        <p:nvSpPr>
          <p:cNvPr id="1049378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97B5FA-0921-464F-AAE1-844C04324D75}" type="datetimeFigureOut">
              <a:rPr lang="zh-CN" altLang="en-US" smtClean="0"/>
            </a:fld>
            <a:endParaRPr lang="zh-CN" altLang="en-US"/>
          </a:p>
        </p:txBody>
      </p:sp>
      <p:sp>
        <p:nvSpPr>
          <p:cNvPr id="1049379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1049380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5CE74E-AB26-4998-AD42-012C4C1AD076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9752" name="文本框 68"/>
          <p:cNvSpPr txBox="1"/>
          <p:nvPr userDrawn="1"/>
        </p:nvSpPr>
        <p:spPr>
          <a:xfrm>
            <a:off x="5385803" y="1469569"/>
            <a:ext cx="780842" cy="17081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30000"/>
              </a:lnSpc>
            </a:pPr>
            <a:r>
              <a:rPr lang="zh-CN" altLang="en-US" sz="100" dirty="0">
                <a:solidFill>
                  <a:schemeClr val="bg1">
                    <a:alpha val="0"/>
                  </a:schemeClr>
                </a:solidFill>
                <a:latin typeface="思源宋体 CN Heavy" panose="02020900000000000000" pitchFamily="18" charset="-122"/>
                <a:ea typeface="思源宋体 CN Heavy" panose="02020900000000000000" pitchFamily="18" charset="-122"/>
              </a:rPr>
              <a:t>您好！我是本套</a:t>
            </a:r>
            <a:r>
              <a:rPr lang="en-US" altLang="zh-CN" sz="100" dirty="0">
                <a:solidFill>
                  <a:schemeClr val="bg1">
                    <a:alpha val="0"/>
                  </a:schemeClr>
                </a:solidFill>
                <a:latin typeface="思源宋体 CN Heavy" panose="02020900000000000000" pitchFamily="18" charset="-122"/>
                <a:ea typeface="思源宋体 CN Heavy" panose="02020900000000000000" pitchFamily="18" charset="-122"/>
              </a:rPr>
              <a:t>PPT</a:t>
            </a:r>
            <a:r>
              <a:rPr lang="zh-CN" altLang="en-US" sz="100" dirty="0">
                <a:solidFill>
                  <a:schemeClr val="bg1">
                    <a:alpha val="0"/>
                  </a:schemeClr>
                </a:solidFill>
                <a:latin typeface="思源宋体 CN Heavy" panose="02020900000000000000" pitchFamily="18" charset="-122"/>
                <a:ea typeface="思源宋体 CN Heavy" panose="02020900000000000000" pitchFamily="18" charset="-122"/>
              </a:rPr>
              <a:t>模板的作者王奕博，本套</a:t>
            </a:r>
            <a:r>
              <a:rPr lang="en-US" altLang="zh-CN" sz="100" dirty="0">
                <a:solidFill>
                  <a:schemeClr val="bg1">
                    <a:alpha val="0"/>
                  </a:schemeClr>
                </a:solidFill>
                <a:latin typeface="思源宋体 CN Heavy" panose="02020900000000000000" pitchFamily="18" charset="-122"/>
                <a:ea typeface="思源宋体 CN Heavy" panose="02020900000000000000" pitchFamily="18" charset="-122"/>
              </a:rPr>
              <a:t>PPT</a:t>
            </a:r>
            <a:r>
              <a:rPr lang="zh-CN" altLang="en-US" sz="100" dirty="0">
                <a:solidFill>
                  <a:schemeClr val="bg1">
                    <a:alpha val="0"/>
                  </a:schemeClr>
                </a:solidFill>
                <a:latin typeface="思源宋体 CN Heavy" panose="02020900000000000000" pitchFamily="18" charset="-122"/>
                <a:ea typeface="思源宋体 CN Heavy" panose="02020900000000000000" pitchFamily="18" charset="-122"/>
              </a:rPr>
              <a:t>模板是特别为北京科技大学同学朋友制作，方便各位的答辩工作。本模板内使用图片来自北京科技大学官方微信公众号</a:t>
            </a:r>
            <a:r>
              <a:rPr lang="en-US" altLang="zh-CN" sz="100" dirty="0">
                <a:solidFill>
                  <a:schemeClr val="bg1">
                    <a:alpha val="0"/>
                  </a:schemeClr>
                </a:solidFill>
                <a:latin typeface="思源宋体 CN Heavy" panose="02020900000000000000" pitchFamily="18" charset="-122"/>
                <a:ea typeface="思源宋体 CN Heavy" panose="02020900000000000000" pitchFamily="18" charset="-122"/>
              </a:rPr>
              <a:t>,</a:t>
            </a:r>
            <a:r>
              <a:rPr lang="zh-CN" altLang="en-US" sz="100" dirty="0">
                <a:solidFill>
                  <a:schemeClr val="bg1">
                    <a:alpha val="0"/>
                  </a:schemeClr>
                </a:solidFill>
                <a:latin typeface="思源宋体 CN Heavy" panose="02020900000000000000" pitchFamily="18" charset="-122"/>
                <a:ea typeface="思源宋体 CN Heavy" panose="02020900000000000000" pitchFamily="18" charset="-122"/>
              </a:rPr>
              <a:t>模板文案仅供参考，官方信息以北京科技大学官网为准。恶意修改、诋毁、扭曲北京科技大学形象的行为后果自负。</a:t>
            </a:r>
            <a:endParaRPr lang="en-US" altLang="zh-CN" sz="100" dirty="0">
              <a:solidFill>
                <a:schemeClr val="bg1">
                  <a:alpha val="0"/>
                </a:schemeClr>
              </a:solidFill>
              <a:latin typeface="思源宋体 CN Heavy" panose="02020900000000000000" pitchFamily="18" charset="-122"/>
              <a:ea typeface="思源宋体 CN Heavy" panose="02020900000000000000" pitchFamily="18" charset="-122"/>
            </a:endParaRPr>
          </a:p>
          <a:p>
            <a:pPr>
              <a:lnSpc>
                <a:spcPct val="130000"/>
              </a:lnSpc>
            </a:pPr>
            <a:r>
              <a:rPr lang="zh-CN" altLang="en-US" sz="100" dirty="0">
                <a:solidFill>
                  <a:schemeClr val="bg1">
                    <a:alpha val="0"/>
                  </a:schemeClr>
                </a:solidFill>
                <a:latin typeface="思源宋体 CN Heavy" panose="02020900000000000000" pitchFamily="18" charset="-122"/>
                <a:ea typeface="思源宋体 CN Heavy" panose="02020900000000000000" pitchFamily="18" charset="-122"/>
              </a:rPr>
              <a:t>最后，祝您答辩顺利，前程似锦！</a:t>
            </a:r>
            <a:endParaRPr lang="zh-CN" altLang="en-US" sz="100" dirty="0">
              <a:solidFill>
                <a:schemeClr val="bg1">
                  <a:alpha val="0"/>
                </a:schemeClr>
              </a:solidFill>
              <a:latin typeface="思源宋体 CN Heavy" panose="02020900000000000000" pitchFamily="18" charset="-122"/>
              <a:ea typeface="思源宋体 CN Heavy" panose="02020900000000000000" pitchFamily="18" charset="-122"/>
            </a:endParaRPr>
          </a:p>
        </p:txBody>
      </p:sp>
      <p:grpSp>
        <p:nvGrpSpPr>
          <p:cNvPr id="211" name="组合 7"/>
          <p:cNvGrpSpPr/>
          <p:nvPr/>
        </p:nvGrpSpPr>
        <p:grpSpPr>
          <a:xfrm>
            <a:off x="-1097308" y="-15557"/>
            <a:ext cx="5372351" cy="7169530"/>
            <a:chOff x="1560409" y="2069897"/>
            <a:chExt cx="1776413" cy="1778000"/>
          </a:xfrm>
        </p:grpSpPr>
        <p:sp>
          <p:nvSpPr>
            <p:cNvPr id="1049753" name="îS1îḋé"/>
            <p:cNvSpPr/>
            <p:nvPr/>
          </p:nvSpPr>
          <p:spPr bwMode="auto">
            <a:xfrm>
              <a:off x="1560409" y="2069897"/>
              <a:ext cx="1776413" cy="1778000"/>
            </a:xfrm>
            <a:prstGeom prst="ellipse">
              <a:avLst/>
            </a:prstGeom>
            <a:noFill/>
            <a:ln w="98425" cap="flat">
              <a:solidFill>
                <a:schemeClr val="bg1">
                  <a:lumMod val="95000"/>
                  <a:alpha val="21000"/>
                </a:schemeClr>
              </a:solidFill>
              <a:prstDash val="solid"/>
              <a:miter lim="800000"/>
            </a:ln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1049754" name="îṣḷïďé"/>
            <p:cNvSpPr/>
            <p:nvPr/>
          </p:nvSpPr>
          <p:spPr bwMode="auto">
            <a:xfrm>
              <a:off x="1779484" y="2288972"/>
              <a:ext cx="1336675" cy="1338263"/>
            </a:xfrm>
            <a:prstGeom prst="ellipse">
              <a:avLst/>
            </a:prstGeom>
            <a:noFill/>
            <a:ln w="19050" cap="flat">
              <a:solidFill>
                <a:schemeClr val="bg1">
                  <a:alpha val="21000"/>
                </a:schemeClr>
              </a:solidFill>
              <a:prstDash val="solid"/>
              <a:miter lim="800000"/>
            </a:ln>
          </p:spPr>
          <p:txBody>
            <a:bodyPr anchor="ctr"/>
            <a:lstStyle/>
            <a:p>
              <a:pPr algn="ctr"/>
              <a:endParaRPr sz="1350"/>
            </a:p>
          </p:txBody>
        </p:sp>
      </p:grpSp>
      <p:grpSp>
        <p:nvGrpSpPr>
          <p:cNvPr id="212" name="组合 8"/>
          <p:cNvGrpSpPr/>
          <p:nvPr/>
        </p:nvGrpSpPr>
        <p:grpSpPr>
          <a:xfrm>
            <a:off x="-852456" y="218094"/>
            <a:ext cx="4877843" cy="6702232"/>
            <a:chOff x="1641372" y="4491628"/>
            <a:chExt cx="1612900" cy="1662113"/>
          </a:xfrm>
          <a:solidFill>
            <a:schemeClr val="bg1">
              <a:lumMod val="95000"/>
              <a:alpha val="21000"/>
            </a:schemeClr>
          </a:solidFill>
        </p:grpSpPr>
        <p:sp>
          <p:nvSpPr>
            <p:cNvPr id="1049755" name="ïś1íďê"/>
            <p:cNvSpPr/>
            <p:nvPr/>
          </p:nvSpPr>
          <p:spPr bwMode="auto">
            <a:xfrm>
              <a:off x="2889147" y="4701178"/>
              <a:ext cx="153988" cy="138113"/>
            </a:xfrm>
            <a:custGeom>
              <a:avLst/>
              <a:gdLst>
                <a:gd name="T0" fmla="*/ 62 w 83"/>
                <a:gd name="T1" fmla="*/ 8 h 75"/>
                <a:gd name="T2" fmla="*/ 53 w 83"/>
                <a:gd name="T3" fmla="*/ 10 h 75"/>
                <a:gd name="T4" fmla="*/ 57 w 83"/>
                <a:gd name="T5" fmla="*/ 0 h 75"/>
                <a:gd name="T6" fmla="*/ 44 w 83"/>
                <a:gd name="T7" fmla="*/ 21 h 75"/>
                <a:gd name="T8" fmla="*/ 58 w 83"/>
                <a:gd name="T9" fmla="*/ 11 h 75"/>
                <a:gd name="T10" fmla="*/ 54 w 83"/>
                <a:gd name="T11" fmla="*/ 18 h 75"/>
                <a:gd name="T12" fmla="*/ 28 w 83"/>
                <a:gd name="T13" fmla="*/ 18 h 75"/>
                <a:gd name="T14" fmla="*/ 19 w 83"/>
                <a:gd name="T15" fmla="*/ 17 h 75"/>
                <a:gd name="T16" fmla="*/ 25 w 83"/>
                <a:gd name="T17" fmla="*/ 12 h 75"/>
                <a:gd name="T18" fmla="*/ 1 w 83"/>
                <a:gd name="T19" fmla="*/ 30 h 75"/>
                <a:gd name="T20" fmla="*/ 13 w 83"/>
                <a:gd name="T21" fmla="*/ 24 h 75"/>
                <a:gd name="T22" fmla="*/ 36 w 83"/>
                <a:gd name="T23" fmla="*/ 28 h 75"/>
                <a:gd name="T24" fmla="*/ 22 w 83"/>
                <a:gd name="T25" fmla="*/ 35 h 75"/>
                <a:gd name="T26" fmla="*/ 45 w 83"/>
                <a:gd name="T27" fmla="*/ 41 h 75"/>
                <a:gd name="T28" fmla="*/ 42 w 83"/>
                <a:gd name="T29" fmla="*/ 41 h 75"/>
                <a:gd name="T30" fmla="*/ 35 w 83"/>
                <a:gd name="T31" fmla="*/ 40 h 75"/>
                <a:gd name="T32" fmla="*/ 37 w 83"/>
                <a:gd name="T33" fmla="*/ 45 h 75"/>
                <a:gd name="T34" fmla="*/ 12 w 83"/>
                <a:gd name="T35" fmla="*/ 34 h 75"/>
                <a:gd name="T36" fmla="*/ 9 w 83"/>
                <a:gd name="T37" fmla="*/ 35 h 75"/>
                <a:gd name="T38" fmla="*/ 20 w 83"/>
                <a:gd name="T39" fmla="*/ 64 h 75"/>
                <a:gd name="T40" fmla="*/ 0 w 83"/>
                <a:gd name="T41" fmla="*/ 57 h 75"/>
                <a:gd name="T42" fmla="*/ 35 w 83"/>
                <a:gd name="T43" fmla="*/ 58 h 75"/>
                <a:gd name="T44" fmla="*/ 46 w 83"/>
                <a:gd name="T45" fmla="*/ 57 h 75"/>
                <a:gd name="T46" fmla="*/ 42 w 83"/>
                <a:gd name="T47" fmla="*/ 48 h 75"/>
                <a:gd name="T48" fmla="*/ 62 w 83"/>
                <a:gd name="T49" fmla="*/ 57 h 75"/>
                <a:gd name="T50" fmla="*/ 61 w 83"/>
                <a:gd name="T51" fmla="*/ 35 h 75"/>
                <a:gd name="T52" fmla="*/ 62 w 83"/>
                <a:gd name="T53" fmla="*/ 34 h 75"/>
                <a:gd name="T54" fmla="*/ 66 w 83"/>
                <a:gd name="T55" fmla="*/ 16 h 75"/>
                <a:gd name="T56" fmla="*/ 63 w 83"/>
                <a:gd name="T57" fmla="*/ 44 h 75"/>
                <a:gd name="T58" fmla="*/ 54 w 83"/>
                <a:gd name="T59" fmla="*/ 32 h 75"/>
                <a:gd name="T60" fmla="*/ 60 w 83"/>
                <a:gd name="T61" fmla="*/ 27 h 75"/>
                <a:gd name="T62" fmla="*/ 67 w 83"/>
                <a:gd name="T63" fmla="*/ 18 h 75"/>
                <a:gd name="T64" fmla="*/ 77 w 83"/>
                <a:gd name="T65" fmla="*/ 23 h 75"/>
                <a:gd name="T66" fmla="*/ 60 w 83"/>
                <a:gd name="T67" fmla="*/ 27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83" h="75">
                  <a:moveTo>
                    <a:pt x="66" y="16"/>
                  </a:moveTo>
                  <a:cubicBezTo>
                    <a:pt x="65" y="13"/>
                    <a:pt x="63" y="11"/>
                    <a:pt x="62" y="8"/>
                  </a:cubicBezTo>
                  <a:cubicBezTo>
                    <a:pt x="59" y="9"/>
                    <a:pt x="57" y="9"/>
                    <a:pt x="54" y="10"/>
                  </a:cubicBezTo>
                  <a:cubicBezTo>
                    <a:pt x="54" y="10"/>
                    <a:pt x="53" y="10"/>
                    <a:pt x="53" y="10"/>
                  </a:cubicBezTo>
                  <a:cubicBezTo>
                    <a:pt x="54" y="7"/>
                    <a:pt x="57" y="6"/>
                    <a:pt x="59" y="3"/>
                  </a:cubicBezTo>
                  <a:cubicBezTo>
                    <a:pt x="58" y="2"/>
                    <a:pt x="58" y="1"/>
                    <a:pt x="57" y="0"/>
                  </a:cubicBezTo>
                  <a:cubicBezTo>
                    <a:pt x="48" y="1"/>
                    <a:pt x="37" y="9"/>
                    <a:pt x="42" y="19"/>
                  </a:cubicBezTo>
                  <a:cubicBezTo>
                    <a:pt x="42" y="19"/>
                    <a:pt x="43" y="20"/>
                    <a:pt x="44" y="21"/>
                  </a:cubicBezTo>
                  <a:cubicBezTo>
                    <a:pt x="47" y="19"/>
                    <a:pt x="48" y="15"/>
                    <a:pt x="51" y="14"/>
                  </a:cubicBezTo>
                  <a:cubicBezTo>
                    <a:pt x="53" y="13"/>
                    <a:pt x="55" y="13"/>
                    <a:pt x="58" y="11"/>
                  </a:cubicBezTo>
                  <a:cubicBezTo>
                    <a:pt x="58" y="11"/>
                    <a:pt x="59" y="11"/>
                    <a:pt x="59" y="11"/>
                  </a:cubicBezTo>
                  <a:cubicBezTo>
                    <a:pt x="57" y="14"/>
                    <a:pt x="56" y="16"/>
                    <a:pt x="54" y="18"/>
                  </a:cubicBezTo>
                  <a:cubicBezTo>
                    <a:pt x="54" y="21"/>
                    <a:pt x="55" y="24"/>
                    <a:pt x="54" y="27"/>
                  </a:cubicBezTo>
                  <a:cubicBezTo>
                    <a:pt x="54" y="27"/>
                    <a:pt x="30" y="18"/>
                    <a:pt x="28" y="18"/>
                  </a:cubicBezTo>
                  <a:cubicBezTo>
                    <a:pt x="25" y="17"/>
                    <a:pt x="22" y="17"/>
                    <a:pt x="20" y="17"/>
                  </a:cubicBezTo>
                  <a:cubicBezTo>
                    <a:pt x="19" y="17"/>
                    <a:pt x="19" y="17"/>
                    <a:pt x="19" y="17"/>
                  </a:cubicBezTo>
                  <a:cubicBezTo>
                    <a:pt x="22" y="15"/>
                    <a:pt x="23" y="15"/>
                    <a:pt x="25" y="13"/>
                  </a:cubicBezTo>
                  <a:cubicBezTo>
                    <a:pt x="25" y="12"/>
                    <a:pt x="25" y="12"/>
                    <a:pt x="25" y="12"/>
                  </a:cubicBezTo>
                  <a:cubicBezTo>
                    <a:pt x="18" y="12"/>
                    <a:pt x="11" y="16"/>
                    <a:pt x="4" y="18"/>
                  </a:cubicBezTo>
                  <a:cubicBezTo>
                    <a:pt x="0" y="22"/>
                    <a:pt x="0" y="25"/>
                    <a:pt x="1" y="30"/>
                  </a:cubicBezTo>
                  <a:cubicBezTo>
                    <a:pt x="3" y="31"/>
                    <a:pt x="3" y="31"/>
                    <a:pt x="3" y="31"/>
                  </a:cubicBezTo>
                  <a:cubicBezTo>
                    <a:pt x="6" y="29"/>
                    <a:pt x="9" y="26"/>
                    <a:pt x="13" y="24"/>
                  </a:cubicBezTo>
                  <a:cubicBezTo>
                    <a:pt x="19" y="20"/>
                    <a:pt x="30" y="22"/>
                    <a:pt x="37" y="27"/>
                  </a:cubicBezTo>
                  <a:cubicBezTo>
                    <a:pt x="37" y="28"/>
                    <a:pt x="36" y="28"/>
                    <a:pt x="36" y="28"/>
                  </a:cubicBezTo>
                  <a:cubicBezTo>
                    <a:pt x="31" y="29"/>
                    <a:pt x="28" y="28"/>
                    <a:pt x="22" y="32"/>
                  </a:cubicBezTo>
                  <a:cubicBezTo>
                    <a:pt x="22" y="33"/>
                    <a:pt x="22" y="34"/>
                    <a:pt x="22" y="35"/>
                  </a:cubicBezTo>
                  <a:cubicBezTo>
                    <a:pt x="22" y="37"/>
                    <a:pt x="22" y="37"/>
                    <a:pt x="24" y="39"/>
                  </a:cubicBezTo>
                  <a:cubicBezTo>
                    <a:pt x="31" y="37"/>
                    <a:pt x="37" y="36"/>
                    <a:pt x="45" y="41"/>
                  </a:cubicBezTo>
                  <a:cubicBezTo>
                    <a:pt x="44" y="41"/>
                    <a:pt x="44" y="41"/>
                    <a:pt x="44" y="41"/>
                  </a:cubicBezTo>
                  <a:cubicBezTo>
                    <a:pt x="43" y="41"/>
                    <a:pt x="42" y="41"/>
                    <a:pt x="42" y="41"/>
                  </a:cubicBezTo>
                  <a:cubicBezTo>
                    <a:pt x="41" y="40"/>
                    <a:pt x="40" y="39"/>
                    <a:pt x="39" y="39"/>
                  </a:cubicBezTo>
                  <a:cubicBezTo>
                    <a:pt x="37" y="41"/>
                    <a:pt x="37" y="41"/>
                    <a:pt x="35" y="40"/>
                  </a:cubicBezTo>
                  <a:cubicBezTo>
                    <a:pt x="35" y="40"/>
                    <a:pt x="34" y="41"/>
                    <a:pt x="34" y="41"/>
                  </a:cubicBezTo>
                  <a:cubicBezTo>
                    <a:pt x="35" y="43"/>
                    <a:pt x="35" y="43"/>
                    <a:pt x="37" y="45"/>
                  </a:cubicBezTo>
                  <a:cubicBezTo>
                    <a:pt x="36" y="46"/>
                    <a:pt x="36" y="47"/>
                    <a:pt x="35" y="48"/>
                  </a:cubicBezTo>
                  <a:cubicBezTo>
                    <a:pt x="27" y="44"/>
                    <a:pt x="20" y="40"/>
                    <a:pt x="12" y="34"/>
                  </a:cubicBezTo>
                  <a:cubicBezTo>
                    <a:pt x="11" y="34"/>
                    <a:pt x="11" y="34"/>
                    <a:pt x="10" y="34"/>
                  </a:cubicBezTo>
                  <a:cubicBezTo>
                    <a:pt x="9" y="34"/>
                    <a:pt x="9" y="35"/>
                    <a:pt x="9" y="35"/>
                  </a:cubicBezTo>
                  <a:cubicBezTo>
                    <a:pt x="11" y="55"/>
                    <a:pt x="20" y="44"/>
                    <a:pt x="31" y="54"/>
                  </a:cubicBezTo>
                  <a:cubicBezTo>
                    <a:pt x="27" y="58"/>
                    <a:pt x="23" y="61"/>
                    <a:pt x="20" y="64"/>
                  </a:cubicBezTo>
                  <a:cubicBezTo>
                    <a:pt x="15" y="63"/>
                    <a:pt x="6" y="55"/>
                    <a:pt x="1" y="56"/>
                  </a:cubicBezTo>
                  <a:cubicBezTo>
                    <a:pt x="1" y="56"/>
                    <a:pt x="1" y="56"/>
                    <a:pt x="0" y="57"/>
                  </a:cubicBezTo>
                  <a:cubicBezTo>
                    <a:pt x="2" y="62"/>
                    <a:pt x="7" y="67"/>
                    <a:pt x="9" y="72"/>
                  </a:cubicBezTo>
                  <a:cubicBezTo>
                    <a:pt x="17" y="75"/>
                    <a:pt x="26" y="66"/>
                    <a:pt x="35" y="58"/>
                  </a:cubicBezTo>
                  <a:cubicBezTo>
                    <a:pt x="37" y="60"/>
                    <a:pt x="39" y="63"/>
                    <a:pt x="42" y="65"/>
                  </a:cubicBezTo>
                  <a:cubicBezTo>
                    <a:pt x="46" y="63"/>
                    <a:pt x="46" y="60"/>
                    <a:pt x="46" y="57"/>
                  </a:cubicBezTo>
                  <a:cubicBezTo>
                    <a:pt x="45" y="54"/>
                    <a:pt x="43" y="53"/>
                    <a:pt x="40" y="50"/>
                  </a:cubicBezTo>
                  <a:cubicBezTo>
                    <a:pt x="41" y="49"/>
                    <a:pt x="42" y="48"/>
                    <a:pt x="42" y="48"/>
                  </a:cubicBezTo>
                  <a:cubicBezTo>
                    <a:pt x="46" y="48"/>
                    <a:pt x="49" y="48"/>
                    <a:pt x="53" y="46"/>
                  </a:cubicBezTo>
                  <a:cubicBezTo>
                    <a:pt x="56" y="49"/>
                    <a:pt x="59" y="53"/>
                    <a:pt x="62" y="57"/>
                  </a:cubicBezTo>
                  <a:cubicBezTo>
                    <a:pt x="65" y="56"/>
                    <a:pt x="68" y="55"/>
                    <a:pt x="70" y="52"/>
                  </a:cubicBezTo>
                  <a:cubicBezTo>
                    <a:pt x="72" y="47"/>
                    <a:pt x="66" y="40"/>
                    <a:pt x="61" y="35"/>
                  </a:cubicBezTo>
                  <a:cubicBezTo>
                    <a:pt x="61" y="35"/>
                    <a:pt x="61" y="35"/>
                    <a:pt x="61" y="35"/>
                  </a:cubicBezTo>
                  <a:cubicBezTo>
                    <a:pt x="62" y="34"/>
                    <a:pt x="62" y="34"/>
                    <a:pt x="62" y="34"/>
                  </a:cubicBezTo>
                  <a:cubicBezTo>
                    <a:pt x="69" y="34"/>
                    <a:pt x="72" y="37"/>
                    <a:pt x="79" y="32"/>
                  </a:cubicBezTo>
                  <a:cubicBezTo>
                    <a:pt x="83" y="17"/>
                    <a:pt x="74" y="21"/>
                    <a:pt x="66" y="16"/>
                  </a:cubicBezTo>
                  <a:close/>
                  <a:moveTo>
                    <a:pt x="63" y="44"/>
                  </a:moveTo>
                  <a:cubicBezTo>
                    <a:pt x="63" y="44"/>
                    <a:pt x="63" y="44"/>
                    <a:pt x="63" y="44"/>
                  </a:cubicBezTo>
                  <a:cubicBezTo>
                    <a:pt x="55" y="42"/>
                    <a:pt x="46" y="34"/>
                    <a:pt x="38" y="32"/>
                  </a:cubicBezTo>
                  <a:cubicBezTo>
                    <a:pt x="43" y="28"/>
                    <a:pt x="48" y="31"/>
                    <a:pt x="54" y="32"/>
                  </a:cubicBezTo>
                  <a:cubicBezTo>
                    <a:pt x="57" y="36"/>
                    <a:pt x="60" y="40"/>
                    <a:pt x="63" y="44"/>
                  </a:cubicBezTo>
                  <a:close/>
                  <a:moveTo>
                    <a:pt x="60" y="27"/>
                  </a:moveTo>
                  <a:cubicBezTo>
                    <a:pt x="60" y="27"/>
                    <a:pt x="60" y="26"/>
                    <a:pt x="59" y="26"/>
                  </a:cubicBezTo>
                  <a:cubicBezTo>
                    <a:pt x="61" y="23"/>
                    <a:pt x="63" y="20"/>
                    <a:pt x="67" y="18"/>
                  </a:cubicBezTo>
                  <a:cubicBezTo>
                    <a:pt x="69" y="19"/>
                    <a:pt x="71" y="19"/>
                    <a:pt x="74" y="20"/>
                  </a:cubicBezTo>
                  <a:cubicBezTo>
                    <a:pt x="75" y="21"/>
                    <a:pt x="76" y="22"/>
                    <a:pt x="77" y="23"/>
                  </a:cubicBezTo>
                  <a:cubicBezTo>
                    <a:pt x="77" y="24"/>
                    <a:pt x="77" y="24"/>
                    <a:pt x="77" y="25"/>
                  </a:cubicBezTo>
                  <a:cubicBezTo>
                    <a:pt x="72" y="29"/>
                    <a:pt x="66" y="27"/>
                    <a:pt x="60" y="2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1049756" name="ïṩḻîḓé"/>
            <p:cNvSpPr/>
            <p:nvPr/>
          </p:nvSpPr>
          <p:spPr bwMode="auto">
            <a:xfrm>
              <a:off x="2728809" y="4582115"/>
              <a:ext cx="101600" cy="147638"/>
            </a:xfrm>
            <a:custGeom>
              <a:avLst/>
              <a:gdLst>
                <a:gd name="T0" fmla="*/ 47 w 55"/>
                <a:gd name="T1" fmla="*/ 0 h 80"/>
                <a:gd name="T2" fmla="*/ 49 w 55"/>
                <a:gd name="T3" fmla="*/ 20 h 80"/>
                <a:gd name="T4" fmla="*/ 51 w 55"/>
                <a:gd name="T5" fmla="*/ 34 h 80"/>
                <a:gd name="T6" fmla="*/ 28 w 55"/>
                <a:gd name="T7" fmla="*/ 38 h 80"/>
                <a:gd name="T8" fmla="*/ 41 w 55"/>
                <a:gd name="T9" fmla="*/ 68 h 80"/>
                <a:gd name="T10" fmla="*/ 25 w 55"/>
                <a:gd name="T11" fmla="*/ 74 h 80"/>
                <a:gd name="T12" fmla="*/ 26 w 55"/>
                <a:gd name="T13" fmla="*/ 39 h 80"/>
                <a:gd name="T14" fmla="*/ 23 w 55"/>
                <a:gd name="T15" fmla="*/ 40 h 80"/>
                <a:gd name="T16" fmla="*/ 7 w 55"/>
                <a:gd name="T17" fmla="*/ 54 h 80"/>
                <a:gd name="T18" fmla="*/ 0 w 55"/>
                <a:gd name="T19" fmla="*/ 43 h 80"/>
                <a:gd name="T20" fmla="*/ 14 w 55"/>
                <a:gd name="T21" fmla="*/ 28 h 80"/>
                <a:gd name="T22" fmla="*/ 6 w 55"/>
                <a:gd name="T23" fmla="*/ 15 h 80"/>
                <a:gd name="T24" fmla="*/ 7 w 55"/>
                <a:gd name="T25" fmla="*/ 15 h 80"/>
                <a:gd name="T26" fmla="*/ 26 w 55"/>
                <a:gd name="T27" fmla="*/ 18 h 80"/>
                <a:gd name="T28" fmla="*/ 47 w 55"/>
                <a:gd name="T29" fmla="*/ 0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55" h="80">
                  <a:moveTo>
                    <a:pt x="47" y="0"/>
                  </a:moveTo>
                  <a:cubicBezTo>
                    <a:pt x="55" y="7"/>
                    <a:pt x="49" y="11"/>
                    <a:pt x="49" y="20"/>
                  </a:cubicBezTo>
                  <a:cubicBezTo>
                    <a:pt x="49" y="25"/>
                    <a:pt x="55" y="25"/>
                    <a:pt x="51" y="34"/>
                  </a:cubicBezTo>
                  <a:cubicBezTo>
                    <a:pt x="44" y="37"/>
                    <a:pt x="34" y="32"/>
                    <a:pt x="28" y="38"/>
                  </a:cubicBezTo>
                  <a:cubicBezTo>
                    <a:pt x="38" y="44"/>
                    <a:pt x="45" y="59"/>
                    <a:pt x="41" y="68"/>
                  </a:cubicBezTo>
                  <a:cubicBezTo>
                    <a:pt x="39" y="74"/>
                    <a:pt x="28" y="80"/>
                    <a:pt x="25" y="74"/>
                  </a:cubicBezTo>
                  <a:cubicBezTo>
                    <a:pt x="19" y="62"/>
                    <a:pt x="39" y="55"/>
                    <a:pt x="26" y="39"/>
                  </a:cubicBezTo>
                  <a:cubicBezTo>
                    <a:pt x="25" y="39"/>
                    <a:pt x="25" y="39"/>
                    <a:pt x="23" y="40"/>
                  </a:cubicBezTo>
                  <a:cubicBezTo>
                    <a:pt x="17" y="44"/>
                    <a:pt x="14" y="52"/>
                    <a:pt x="7" y="54"/>
                  </a:cubicBezTo>
                  <a:cubicBezTo>
                    <a:pt x="2" y="51"/>
                    <a:pt x="2" y="48"/>
                    <a:pt x="0" y="43"/>
                  </a:cubicBezTo>
                  <a:cubicBezTo>
                    <a:pt x="3" y="39"/>
                    <a:pt x="14" y="30"/>
                    <a:pt x="14" y="28"/>
                  </a:cubicBezTo>
                  <a:cubicBezTo>
                    <a:pt x="14" y="25"/>
                    <a:pt x="7" y="19"/>
                    <a:pt x="6" y="15"/>
                  </a:cubicBezTo>
                  <a:cubicBezTo>
                    <a:pt x="6" y="15"/>
                    <a:pt x="7" y="15"/>
                    <a:pt x="7" y="15"/>
                  </a:cubicBezTo>
                  <a:cubicBezTo>
                    <a:pt x="13" y="15"/>
                    <a:pt x="20" y="18"/>
                    <a:pt x="26" y="18"/>
                  </a:cubicBezTo>
                  <a:cubicBezTo>
                    <a:pt x="34" y="17"/>
                    <a:pt x="41" y="5"/>
                    <a:pt x="47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1049757" name="išḷïḓe"/>
            <p:cNvSpPr/>
            <p:nvPr/>
          </p:nvSpPr>
          <p:spPr bwMode="auto">
            <a:xfrm>
              <a:off x="2490684" y="4510678"/>
              <a:ext cx="144463" cy="160338"/>
            </a:xfrm>
            <a:custGeom>
              <a:avLst/>
              <a:gdLst>
                <a:gd name="T0" fmla="*/ 55 w 78"/>
                <a:gd name="T1" fmla="*/ 64 h 87"/>
                <a:gd name="T2" fmla="*/ 62 w 78"/>
                <a:gd name="T3" fmla="*/ 50 h 87"/>
                <a:gd name="T4" fmla="*/ 54 w 78"/>
                <a:gd name="T5" fmla="*/ 43 h 87"/>
                <a:gd name="T6" fmla="*/ 69 w 78"/>
                <a:gd name="T7" fmla="*/ 29 h 87"/>
                <a:gd name="T8" fmla="*/ 67 w 78"/>
                <a:gd name="T9" fmla="*/ 21 h 87"/>
                <a:gd name="T10" fmla="*/ 70 w 78"/>
                <a:gd name="T11" fmla="*/ 11 h 87"/>
                <a:gd name="T12" fmla="*/ 69 w 78"/>
                <a:gd name="T13" fmla="*/ 3 h 87"/>
                <a:gd name="T14" fmla="*/ 64 w 78"/>
                <a:gd name="T15" fmla="*/ 0 h 87"/>
                <a:gd name="T16" fmla="*/ 63 w 78"/>
                <a:gd name="T17" fmla="*/ 0 h 87"/>
                <a:gd name="T18" fmla="*/ 63 w 78"/>
                <a:gd name="T19" fmla="*/ 12 h 87"/>
                <a:gd name="T20" fmla="*/ 42 w 78"/>
                <a:gd name="T21" fmla="*/ 25 h 87"/>
                <a:gd name="T22" fmla="*/ 42 w 78"/>
                <a:gd name="T23" fmla="*/ 33 h 87"/>
                <a:gd name="T24" fmla="*/ 33 w 78"/>
                <a:gd name="T25" fmla="*/ 36 h 87"/>
                <a:gd name="T26" fmla="*/ 39 w 78"/>
                <a:gd name="T27" fmla="*/ 33 h 87"/>
                <a:gd name="T28" fmla="*/ 39 w 78"/>
                <a:gd name="T29" fmla="*/ 23 h 87"/>
                <a:gd name="T30" fmla="*/ 36 w 78"/>
                <a:gd name="T31" fmla="*/ 0 h 87"/>
                <a:gd name="T32" fmla="*/ 36 w 78"/>
                <a:gd name="T33" fmla="*/ 0 h 87"/>
                <a:gd name="T34" fmla="*/ 36 w 78"/>
                <a:gd name="T35" fmla="*/ 8 h 87"/>
                <a:gd name="T36" fmla="*/ 30 w 78"/>
                <a:gd name="T37" fmla="*/ 24 h 87"/>
                <a:gd name="T38" fmla="*/ 1 w 78"/>
                <a:gd name="T39" fmla="*/ 29 h 87"/>
                <a:gd name="T40" fmla="*/ 0 w 78"/>
                <a:gd name="T41" fmla="*/ 31 h 87"/>
                <a:gd name="T42" fmla="*/ 18 w 78"/>
                <a:gd name="T43" fmla="*/ 39 h 87"/>
                <a:gd name="T44" fmla="*/ 25 w 78"/>
                <a:gd name="T45" fmla="*/ 36 h 87"/>
                <a:gd name="T46" fmla="*/ 25 w 78"/>
                <a:gd name="T47" fmla="*/ 36 h 87"/>
                <a:gd name="T48" fmla="*/ 3 w 78"/>
                <a:gd name="T49" fmla="*/ 62 h 87"/>
                <a:gd name="T50" fmla="*/ 5 w 78"/>
                <a:gd name="T51" fmla="*/ 67 h 87"/>
                <a:gd name="T52" fmla="*/ 12 w 78"/>
                <a:gd name="T53" fmla="*/ 66 h 87"/>
                <a:gd name="T54" fmla="*/ 22 w 78"/>
                <a:gd name="T55" fmla="*/ 74 h 87"/>
                <a:gd name="T56" fmla="*/ 25 w 78"/>
                <a:gd name="T57" fmla="*/ 61 h 87"/>
                <a:gd name="T58" fmla="*/ 30 w 78"/>
                <a:gd name="T59" fmla="*/ 49 h 87"/>
                <a:gd name="T60" fmla="*/ 48 w 78"/>
                <a:gd name="T61" fmla="*/ 63 h 87"/>
                <a:gd name="T62" fmla="*/ 24 w 78"/>
                <a:gd name="T63" fmla="*/ 71 h 87"/>
                <a:gd name="T64" fmla="*/ 48 w 78"/>
                <a:gd name="T65" fmla="*/ 71 h 87"/>
                <a:gd name="T66" fmla="*/ 51 w 78"/>
                <a:gd name="T67" fmla="*/ 69 h 87"/>
                <a:gd name="T68" fmla="*/ 77 w 78"/>
                <a:gd name="T69" fmla="*/ 87 h 87"/>
                <a:gd name="T70" fmla="*/ 78 w 78"/>
                <a:gd name="T71" fmla="*/ 86 h 87"/>
                <a:gd name="T72" fmla="*/ 55 w 78"/>
                <a:gd name="T73" fmla="*/ 64 h 87"/>
                <a:gd name="T74" fmla="*/ 15 w 78"/>
                <a:gd name="T75" fmla="*/ 64 h 87"/>
                <a:gd name="T76" fmla="*/ 15 w 78"/>
                <a:gd name="T77" fmla="*/ 65 h 87"/>
                <a:gd name="T78" fmla="*/ 11 w 78"/>
                <a:gd name="T79" fmla="*/ 63 h 87"/>
                <a:gd name="T80" fmla="*/ 12 w 78"/>
                <a:gd name="T81" fmla="*/ 60 h 87"/>
                <a:gd name="T82" fmla="*/ 15 w 78"/>
                <a:gd name="T83" fmla="*/ 57 h 87"/>
                <a:gd name="T84" fmla="*/ 17 w 78"/>
                <a:gd name="T85" fmla="*/ 58 h 87"/>
                <a:gd name="T86" fmla="*/ 15 w 78"/>
                <a:gd name="T87" fmla="*/ 64 h 87"/>
                <a:gd name="T88" fmla="*/ 32 w 78"/>
                <a:gd name="T89" fmla="*/ 46 h 87"/>
                <a:gd name="T90" fmla="*/ 44 w 78"/>
                <a:gd name="T91" fmla="*/ 34 h 87"/>
                <a:gd name="T92" fmla="*/ 52 w 78"/>
                <a:gd name="T93" fmla="*/ 35 h 87"/>
                <a:gd name="T94" fmla="*/ 46 w 78"/>
                <a:gd name="T95" fmla="*/ 50 h 87"/>
                <a:gd name="T96" fmla="*/ 48 w 78"/>
                <a:gd name="T97" fmla="*/ 52 h 87"/>
                <a:gd name="T98" fmla="*/ 56 w 78"/>
                <a:gd name="T99" fmla="*/ 50 h 87"/>
                <a:gd name="T100" fmla="*/ 52 w 78"/>
                <a:gd name="T101" fmla="*/ 61 h 87"/>
                <a:gd name="T102" fmla="*/ 32 w 78"/>
                <a:gd name="T103" fmla="*/ 46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78" h="87">
                  <a:moveTo>
                    <a:pt x="55" y="64"/>
                  </a:moveTo>
                  <a:cubicBezTo>
                    <a:pt x="58" y="60"/>
                    <a:pt x="60" y="55"/>
                    <a:pt x="62" y="50"/>
                  </a:cubicBezTo>
                  <a:cubicBezTo>
                    <a:pt x="61" y="47"/>
                    <a:pt x="58" y="44"/>
                    <a:pt x="54" y="43"/>
                  </a:cubicBezTo>
                  <a:cubicBezTo>
                    <a:pt x="57" y="36"/>
                    <a:pt x="64" y="33"/>
                    <a:pt x="69" y="29"/>
                  </a:cubicBezTo>
                  <a:cubicBezTo>
                    <a:pt x="69" y="25"/>
                    <a:pt x="67" y="24"/>
                    <a:pt x="67" y="21"/>
                  </a:cubicBezTo>
                  <a:cubicBezTo>
                    <a:pt x="68" y="18"/>
                    <a:pt x="69" y="15"/>
                    <a:pt x="70" y="11"/>
                  </a:cubicBezTo>
                  <a:cubicBezTo>
                    <a:pt x="70" y="9"/>
                    <a:pt x="69" y="6"/>
                    <a:pt x="69" y="3"/>
                  </a:cubicBezTo>
                  <a:cubicBezTo>
                    <a:pt x="68" y="2"/>
                    <a:pt x="67" y="1"/>
                    <a:pt x="64" y="0"/>
                  </a:cubicBezTo>
                  <a:cubicBezTo>
                    <a:pt x="64" y="0"/>
                    <a:pt x="63" y="0"/>
                    <a:pt x="63" y="0"/>
                  </a:cubicBezTo>
                  <a:cubicBezTo>
                    <a:pt x="61" y="5"/>
                    <a:pt x="63" y="8"/>
                    <a:pt x="63" y="12"/>
                  </a:cubicBezTo>
                  <a:cubicBezTo>
                    <a:pt x="63" y="24"/>
                    <a:pt x="52" y="26"/>
                    <a:pt x="42" y="25"/>
                  </a:cubicBezTo>
                  <a:cubicBezTo>
                    <a:pt x="41" y="28"/>
                    <a:pt x="41" y="31"/>
                    <a:pt x="42" y="33"/>
                  </a:cubicBezTo>
                  <a:cubicBezTo>
                    <a:pt x="39" y="34"/>
                    <a:pt x="36" y="35"/>
                    <a:pt x="33" y="36"/>
                  </a:cubicBezTo>
                  <a:cubicBezTo>
                    <a:pt x="34" y="32"/>
                    <a:pt x="36" y="32"/>
                    <a:pt x="39" y="33"/>
                  </a:cubicBezTo>
                  <a:cubicBezTo>
                    <a:pt x="41" y="29"/>
                    <a:pt x="38" y="27"/>
                    <a:pt x="39" y="23"/>
                  </a:cubicBezTo>
                  <a:cubicBezTo>
                    <a:pt x="39" y="14"/>
                    <a:pt x="53" y="6"/>
                    <a:pt x="36" y="0"/>
                  </a:cubicBezTo>
                  <a:cubicBezTo>
                    <a:pt x="36" y="0"/>
                    <a:pt x="36" y="0"/>
                    <a:pt x="36" y="0"/>
                  </a:cubicBezTo>
                  <a:cubicBezTo>
                    <a:pt x="35" y="3"/>
                    <a:pt x="36" y="5"/>
                    <a:pt x="36" y="8"/>
                  </a:cubicBezTo>
                  <a:cubicBezTo>
                    <a:pt x="34" y="14"/>
                    <a:pt x="32" y="19"/>
                    <a:pt x="30" y="24"/>
                  </a:cubicBezTo>
                  <a:cubicBezTo>
                    <a:pt x="22" y="26"/>
                    <a:pt x="9" y="26"/>
                    <a:pt x="1" y="29"/>
                  </a:cubicBezTo>
                  <a:cubicBezTo>
                    <a:pt x="1" y="30"/>
                    <a:pt x="1" y="30"/>
                    <a:pt x="0" y="31"/>
                  </a:cubicBezTo>
                  <a:cubicBezTo>
                    <a:pt x="1" y="35"/>
                    <a:pt x="12" y="39"/>
                    <a:pt x="18" y="39"/>
                  </a:cubicBezTo>
                  <a:cubicBezTo>
                    <a:pt x="20" y="38"/>
                    <a:pt x="22" y="37"/>
                    <a:pt x="25" y="36"/>
                  </a:cubicBezTo>
                  <a:cubicBezTo>
                    <a:pt x="25" y="36"/>
                    <a:pt x="25" y="36"/>
                    <a:pt x="25" y="36"/>
                  </a:cubicBezTo>
                  <a:cubicBezTo>
                    <a:pt x="21" y="52"/>
                    <a:pt x="9" y="50"/>
                    <a:pt x="3" y="62"/>
                  </a:cubicBezTo>
                  <a:cubicBezTo>
                    <a:pt x="4" y="63"/>
                    <a:pt x="4" y="65"/>
                    <a:pt x="5" y="67"/>
                  </a:cubicBezTo>
                  <a:cubicBezTo>
                    <a:pt x="7" y="67"/>
                    <a:pt x="10" y="67"/>
                    <a:pt x="12" y="66"/>
                  </a:cubicBezTo>
                  <a:cubicBezTo>
                    <a:pt x="17" y="68"/>
                    <a:pt x="17" y="72"/>
                    <a:pt x="22" y="74"/>
                  </a:cubicBezTo>
                  <a:cubicBezTo>
                    <a:pt x="25" y="71"/>
                    <a:pt x="24" y="66"/>
                    <a:pt x="25" y="61"/>
                  </a:cubicBezTo>
                  <a:cubicBezTo>
                    <a:pt x="25" y="56"/>
                    <a:pt x="28" y="52"/>
                    <a:pt x="30" y="49"/>
                  </a:cubicBezTo>
                  <a:cubicBezTo>
                    <a:pt x="40" y="53"/>
                    <a:pt x="42" y="58"/>
                    <a:pt x="48" y="63"/>
                  </a:cubicBezTo>
                  <a:cubicBezTo>
                    <a:pt x="44" y="74"/>
                    <a:pt x="29" y="63"/>
                    <a:pt x="24" y="71"/>
                  </a:cubicBezTo>
                  <a:cubicBezTo>
                    <a:pt x="39" y="78"/>
                    <a:pt x="36" y="74"/>
                    <a:pt x="48" y="71"/>
                  </a:cubicBezTo>
                  <a:cubicBezTo>
                    <a:pt x="49" y="70"/>
                    <a:pt x="50" y="70"/>
                    <a:pt x="51" y="69"/>
                  </a:cubicBezTo>
                  <a:cubicBezTo>
                    <a:pt x="58" y="79"/>
                    <a:pt x="58" y="87"/>
                    <a:pt x="77" y="87"/>
                  </a:cubicBezTo>
                  <a:cubicBezTo>
                    <a:pt x="77" y="87"/>
                    <a:pt x="78" y="86"/>
                    <a:pt x="78" y="86"/>
                  </a:cubicBezTo>
                  <a:cubicBezTo>
                    <a:pt x="74" y="76"/>
                    <a:pt x="60" y="73"/>
                    <a:pt x="55" y="64"/>
                  </a:cubicBezTo>
                  <a:close/>
                  <a:moveTo>
                    <a:pt x="15" y="64"/>
                  </a:moveTo>
                  <a:cubicBezTo>
                    <a:pt x="15" y="65"/>
                    <a:pt x="15" y="65"/>
                    <a:pt x="15" y="65"/>
                  </a:cubicBezTo>
                  <a:cubicBezTo>
                    <a:pt x="14" y="64"/>
                    <a:pt x="13" y="64"/>
                    <a:pt x="11" y="63"/>
                  </a:cubicBezTo>
                  <a:cubicBezTo>
                    <a:pt x="11" y="62"/>
                    <a:pt x="12" y="61"/>
                    <a:pt x="12" y="60"/>
                  </a:cubicBezTo>
                  <a:cubicBezTo>
                    <a:pt x="13" y="59"/>
                    <a:pt x="14" y="58"/>
                    <a:pt x="15" y="57"/>
                  </a:cubicBezTo>
                  <a:cubicBezTo>
                    <a:pt x="16" y="57"/>
                    <a:pt x="16" y="58"/>
                    <a:pt x="17" y="58"/>
                  </a:cubicBezTo>
                  <a:cubicBezTo>
                    <a:pt x="16" y="60"/>
                    <a:pt x="16" y="62"/>
                    <a:pt x="15" y="64"/>
                  </a:cubicBezTo>
                  <a:close/>
                  <a:moveTo>
                    <a:pt x="32" y="46"/>
                  </a:moveTo>
                  <a:cubicBezTo>
                    <a:pt x="35" y="43"/>
                    <a:pt x="44" y="37"/>
                    <a:pt x="44" y="34"/>
                  </a:cubicBezTo>
                  <a:cubicBezTo>
                    <a:pt x="47" y="34"/>
                    <a:pt x="49" y="35"/>
                    <a:pt x="52" y="35"/>
                  </a:cubicBezTo>
                  <a:cubicBezTo>
                    <a:pt x="50" y="40"/>
                    <a:pt x="45" y="44"/>
                    <a:pt x="46" y="50"/>
                  </a:cubicBezTo>
                  <a:cubicBezTo>
                    <a:pt x="46" y="51"/>
                    <a:pt x="47" y="51"/>
                    <a:pt x="48" y="52"/>
                  </a:cubicBezTo>
                  <a:cubicBezTo>
                    <a:pt x="50" y="51"/>
                    <a:pt x="53" y="49"/>
                    <a:pt x="56" y="50"/>
                  </a:cubicBezTo>
                  <a:cubicBezTo>
                    <a:pt x="55" y="54"/>
                    <a:pt x="53" y="57"/>
                    <a:pt x="52" y="61"/>
                  </a:cubicBezTo>
                  <a:cubicBezTo>
                    <a:pt x="45" y="56"/>
                    <a:pt x="44" y="49"/>
                    <a:pt x="32" y="46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1049758" name="ï$ľíḍe"/>
            <p:cNvSpPr/>
            <p:nvPr/>
          </p:nvSpPr>
          <p:spPr bwMode="auto">
            <a:xfrm>
              <a:off x="2255734" y="4491628"/>
              <a:ext cx="136525" cy="174625"/>
            </a:xfrm>
            <a:custGeom>
              <a:avLst/>
              <a:gdLst>
                <a:gd name="T0" fmla="*/ 74 w 74"/>
                <a:gd name="T1" fmla="*/ 41 h 94"/>
                <a:gd name="T2" fmla="*/ 64 w 74"/>
                <a:gd name="T3" fmla="*/ 35 h 94"/>
                <a:gd name="T4" fmla="*/ 51 w 74"/>
                <a:gd name="T5" fmla="*/ 5 h 94"/>
                <a:gd name="T6" fmla="*/ 58 w 74"/>
                <a:gd name="T7" fmla="*/ 39 h 94"/>
                <a:gd name="T8" fmla="*/ 47 w 74"/>
                <a:gd name="T9" fmla="*/ 47 h 94"/>
                <a:gd name="T10" fmla="*/ 55 w 74"/>
                <a:gd name="T11" fmla="*/ 34 h 94"/>
                <a:gd name="T12" fmla="*/ 47 w 74"/>
                <a:gd name="T13" fmla="*/ 29 h 94"/>
                <a:gd name="T14" fmla="*/ 54 w 74"/>
                <a:gd name="T15" fmla="*/ 22 h 94"/>
                <a:gd name="T16" fmla="*/ 54 w 74"/>
                <a:gd name="T17" fmla="*/ 20 h 94"/>
                <a:gd name="T18" fmla="*/ 54 w 74"/>
                <a:gd name="T19" fmla="*/ 19 h 94"/>
                <a:gd name="T20" fmla="*/ 41 w 74"/>
                <a:gd name="T21" fmla="*/ 19 h 94"/>
                <a:gd name="T22" fmla="*/ 44 w 74"/>
                <a:gd name="T23" fmla="*/ 22 h 94"/>
                <a:gd name="T24" fmla="*/ 44 w 74"/>
                <a:gd name="T25" fmla="*/ 32 h 94"/>
                <a:gd name="T26" fmla="*/ 48 w 74"/>
                <a:gd name="T27" fmla="*/ 37 h 94"/>
                <a:gd name="T28" fmla="*/ 40 w 74"/>
                <a:gd name="T29" fmla="*/ 58 h 94"/>
                <a:gd name="T30" fmla="*/ 44 w 74"/>
                <a:gd name="T31" fmla="*/ 61 h 94"/>
                <a:gd name="T32" fmla="*/ 59 w 74"/>
                <a:gd name="T33" fmla="*/ 46 h 94"/>
                <a:gd name="T34" fmla="*/ 59 w 74"/>
                <a:gd name="T35" fmla="*/ 46 h 94"/>
                <a:gd name="T36" fmla="*/ 66 w 74"/>
                <a:gd name="T37" fmla="*/ 93 h 94"/>
                <a:gd name="T38" fmla="*/ 68 w 74"/>
                <a:gd name="T39" fmla="*/ 93 h 94"/>
                <a:gd name="T40" fmla="*/ 65 w 74"/>
                <a:gd name="T41" fmla="*/ 42 h 94"/>
                <a:gd name="T42" fmla="*/ 73 w 74"/>
                <a:gd name="T43" fmla="*/ 41 h 94"/>
                <a:gd name="T44" fmla="*/ 74 w 74"/>
                <a:gd name="T45" fmla="*/ 41 h 94"/>
                <a:gd name="T46" fmla="*/ 43 w 74"/>
                <a:gd name="T47" fmla="*/ 42 h 94"/>
                <a:gd name="T48" fmla="*/ 35 w 74"/>
                <a:gd name="T49" fmla="*/ 48 h 94"/>
                <a:gd name="T50" fmla="*/ 39 w 74"/>
                <a:gd name="T51" fmla="*/ 38 h 94"/>
                <a:gd name="T52" fmla="*/ 37 w 74"/>
                <a:gd name="T53" fmla="*/ 29 h 94"/>
                <a:gd name="T54" fmla="*/ 40 w 74"/>
                <a:gd name="T55" fmla="*/ 27 h 94"/>
                <a:gd name="T56" fmla="*/ 34 w 74"/>
                <a:gd name="T57" fmla="*/ 16 h 94"/>
                <a:gd name="T58" fmla="*/ 32 w 74"/>
                <a:gd name="T59" fmla="*/ 15 h 94"/>
                <a:gd name="T60" fmla="*/ 4 w 74"/>
                <a:gd name="T61" fmla="*/ 46 h 94"/>
                <a:gd name="T62" fmla="*/ 30 w 74"/>
                <a:gd name="T63" fmla="*/ 29 h 94"/>
                <a:gd name="T64" fmla="*/ 8 w 74"/>
                <a:gd name="T65" fmla="*/ 52 h 94"/>
                <a:gd name="T66" fmla="*/ 0 w 74"/>
                <a:gd name="T67" fmla="*/ 56 h 94"/>
                <a:gd name="T68" fmla="*/ 3 w 74"/>
                <a:gd name="T69" fmla="*/ 61 h 94"/>
                <a:gd name="T70" fmla="*/ 23 w 74"/>
                <a:gd name="T71" fmla="*/ 54 h 94"/>
                <a:gd name="T72" fmla="*/ 25 w 74"/>
                <a:gd name="T73" fmla="*/ 53 h 94"/>
                <a:gd name="T74" fmla="*/ 25 w 74"/>
                <a:gd name="T75" fmla="*/ 53 h 94"/>
                <a:gd name="T76" fmla="*/ 20 w 74"/>
                <a:gd name="T77" fmla="*/ 72 h 94"/>
                <a:gd name="T78" fmla="*/ 25 w 74"/>
                <a:gd name="T79" fmla="*/ 76 h 94"/>
                <a:gd name="T80" fmla="*/ 26 w 74"/>
                <a:gd name="T81" fmla="*/ 76 h 94"/>
                <a:gd name="T82" fmla="*/ 30 w 74"/>
                <a:gd name="T83" fmla="*/ 67 h 94"/>
                <a:gd name="T84" fmla="*/ 31 w 74"/>
                <a:gd name="T85" fmla="*/ 66 h 94"/>
                <a:gd name="T86" fmla="*/ 32 w 74"/>
                <a:gd name="T87" fmla="*/ 75 h 94"/>
                <a:gd name="T88" fmla="*/ 35 w 74"/>
                <a:gd name="T89" fmla="*/ 76 h 94"/>
                <a:gd name="T90" fmla="*/ 38 w 74"/>
                <a:gd name="T91" fmla="*/ 76 h 94"/>
                <a:gd name="T92" fmla="*/ 35 w 74"/>
                <a:gd name="T93" fmla="*/ 61 h 94"/>
                <a:gd name="T94" fmla="*/ 43 w 74"/>
                <a:gd name="T95" fmla="*/ 42 h 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74" h="94">
                  <a:moveTo>
                    <a:pt x="74" y="41"/>
                  </a:moveTo>
                  <a:cubicBezTo>
                    <a:pt x="73" y="36"/>
                    <a:pt x="70" y="34"/>
                    <a:pt x="64" y="35"/>
                  </a:cubicBezTo>
                  <a:cubicBezTo>
                    <a:pt x="63" y="24"/>
                    <a:pt x="67" y="0"/>
                    <a:pt x="51" y="5"/>
                  </a:cubicBezTo>
                  <a:cubicBezTo>
                    <a:pt x="50" y="9"/>
                    <a:pt x="61" y="31"/>
                    <a:pt x="58" y="39"/>
                  </a:cubicBezTo>
                  <a:cubicBezTo>
                    <a:pt x="58" y="39"/>
                    <a:pt x="47" y="47"/>
                    <a:pt x="47" y="47"/>
                  </a:cubicBezTo>
                  <a:cubicBezTo>
                    <a:pt x="48" y="41"/>
                    <a:pt x="53" y="39"/>
                    <a:pt x="55" y="34"/>
                  </a:cubicBezTo>
                  <a:cubicBezTo>
                    <a:pt x="56" y="30"/>
                    <a:pt x="49" y="31"/>
                    <a:pt x="47" y="29"/>
                  </a:cubicBezTo>
                  <a:cubicBezTo>
                    <a:pt x="48" y="26"/>
                    <a:pt x="51" y="23"/>
                    <a:pt x="54" y="22"/>
                  </a:cubicBezTo>
                  <a:cubicBezTo>
                    <a:pt x="54" y="21"/>
                    <a:pt x="54" y="21"/>
                    <a:pt x="54" y="20"/>
                  </a:cubicBezTo>
                  <a:cubicBezTo>
                    <a:pt x="54" y="20"/>
                    <a:pt x="54" y="19"/>
                    <a:pt x="54" y="19"/>
                  </a:cubicBezTo>
                  <a:cubicBezTo>
                    <a:pt x="50" y="17"/>
                    <a:pt x="45" y="17"/>
                    <a:pt x="41" y="19"/>
                  </a:cubicBezTo>
                  <a:cubicBezTo>
                    <a:pt x="41" y="22"/>
                    <a:pt x="42" y="22"/>
                    <a:pt x="44" y="22"/>
                  </a:cubicBezTo>
                  <a:cubicBezTo>
                    <a:pt x="44" y="26"/>
                    <a:pt x="44" y="29"/>
                    <a:pt x="44" y="32"/>
                  </a:cubicBezTo>
                  <a:cubicBezTo>
                    <a:pt x="45" y="34"/>
                    <a:pt x="47" y="35"/>
                    <a:pt x="48" y="37"/>
                  </a:cubicBezTo>
                  <a:cubicBezTo>
                    <a:pt x="46" y="41"/>
                    <a:pt x="35" y="51"/>
                    <a:pt x="40" y="58"/>
                  </a:cubicBezTo>
                  <a:cubicBezTo>
                    <a:pt x="41" y="60"/>
                    <a:pt x="42" y="60"/>
                    <a:pt x="44" y="61"/>
                  </a:cubicBezTo>
                  <a:cubicBezTo>
                    <a:pt x="49" y="55"/>
                    <a:pt x="51" y="50"/>
                    <a:pt x="59" y="46"/>
                  </a:cubicBezTo>
                  <a:cubicBezTo>
                    <a:pt x="59" y="46"/>
                    <a:pt x="59" y="46"/>
                    <a:pt x="59" y="46"/>
                  </a:cubicBezTo>
                  <a:cubicBezTo>
                    <a:pt x="61" y="60"/>
                    <a:pt x="59" y="83"/>
                    <a:pt x="66" y="93"/>
                  </a:cubicBezTo>
                  <a:cubicBezTo>
                    <a:pt x="67" y="94"/>
                    <a:pt x="67" y="93"/>
                    <a:pt x="68" y="93"/>
                  </a:cubicBezTo>
                  <a:cubicBezTo>
                    <a:pt x="68" y="78"/>
                    <a:pt x="67" y="60"/>
                    <a:pt x="65" y="42"/>
                  </a:cubicBezTo>
                  <a:cubicBezTo>
                    <a:pt x="68" y="42"/>
                    <a:pt x="72" y="42"/>
                    <a:pt x="73" y="41"/>
                  </a:cubicBezTo>
                  <a:cubicBezTo>
                    <a:pt x="74" y="41"/>
                    <a:pt x="74" y="41"/>
                    <a:pt x="74" y="41"/>
                  </a:cubicBezTo>
                  <a:close/>
                  <a:moveTo>
                    <a:pt x="43" y="42"/>
                  </a:moveTo>
                  <a:cubicBezTo>
                    <a:pt x="39" y="44"/>
                    <a:pt x="38" y="46"/>
                    <a:pt x="35" y="48"/>
                  </a:cubicBezTo>
                  <a:cubicBezTo>
                    <a:pt x="35" y="42"/>
                    <a:pt x="39" y="42"/>
                    <a:pt x="39" y="38"/>
                  </a:cubicBezTo>
                  <a:cubicBezTo>
                    <a:pt x="40" y="35"/>
                    <a:pt x="37" y="33"/>
                    <a:pt x="37" y="29"/>
                  </a:cubicBezTo>
                  <a:cubicBezTo>
                    <a:pt x="38" y="28"/>
                    <a:pt x="39" y="28"/>
                    <a:pt x="40" y="27"/>
                  </a:cubicBezTo>
                  <a:cubicBezTo>
                    <a:pt x="41" y="24"/>
                    <a:pt x="36" y="16"/>
                    <a:pt x="34" y="16"/>
                  </a:cubicBezTo>
                  <a:cubicBezTo>
                    <a:pt x="33" y="16"/>
                    <a:pt x="32" y="15"/>
                    <a:pt x="32" y="15"/>
                  </a:cubicBezTo>
                  <a:cubicBezTo>
                    <a:pt x="22" y="28"/>
                    <a:pt x="10" y="30"/>
                    <a:pt x="4" y="46"/>
                  </a:cubicBezTo>
                  <a:cubicBezTo>
                    <a:pt x="13" y="41"/>
                    <a:pt x="17" y="31"/>
                    <a:pt x="30" y="29"/>
                  </a:cubicBezTo>
                  <a:cubicBezTo>
                    <a:pt x="29" y="39"/>
                    <a:pt x="16" y="48"/>
                    <a:pt x="8" y="52"/>
                  </a:cubicBezTo>
                  <a:cubicBezTo>
                    <a:pt x="4" y="54"/>
                    <a:pt x="2" y="52"/>
                    <a:pt x="0" y="56"/>
                  </a:cubicBezTo>
                  <a:cubicBezTo>
                    <a:pt x="0" y="59"/>
                    <a:pt x="1" y="60"/>
                    <a:pt x="3" y="61"/>
                  </a:cubicBezTo>
                  <a:cubicBezTo>
                    <a:pt x="10" y="63"/>
                    <a:pt x="22" y="58"/>
                    <a:pt x="23" y="54"/>
                  </a:cubicBezTo>
                  <a:cubicBezTo>
                    <a:pt x="24" y="54"/>
                    <a:pt x="24" y="53"/>
                    <a:pt x="25" y="53"/>
                  </a:cubicBezTo>
                  <a:cubicBezTo>
                    <a:pt x="25" y="53"/>
                    <a:pt x="25" y="53"/>
                    <a:pt x="25" y="53"/>
                  </a:cubicBezTo>
                  <a:cubicBezTo>
                    <a:pt x="23" y="59"/>
                    <a:pt x="22" y="66"/>
                    <a:pt x="20" y="72"/>
                  </a:cubicBezTo>
                  <a:cubicBezTo>
                    <a:pt x="21" y="74"/>
                    <a:pt x="23" y="75"/>
                    <a:pt x="25" y="76"/>
                  </a:cubicBezTo>
                  <a:cubicBezTo>
                    <a:pt x="25" y="76"/>
                    <a:pt x="26" y="76"/>
                    <a:pt x="26" y="76"/>
                  </a:cubicBezTo>
                  <a:cubicBezTo>
                    <a:pt x="28" y="73"/>
                    <a:pt x="29" y="70"/>
                    <a:pt x="30" y="67"/>
                  </a:cubicBezTo>
                  <a:cubicBezTo>
                    <a:pt x="31" y="67"/>
                    <a:pt x="31" y="67"/>
                    <a:pt x="31" y="66"/>
                  </a:cubicBezTo>
                  <a:cubicBezTo>
                    <a:pt x="32" y="69"/>
                    <a:pt x="32" y="72"/>
                    <a:pt x="32" y="75"/>
                  </a:cubicBezTo>
                  <a:cubicBezTo>
                    <a:pt x="33" y="75"/>
                    <a:pt x="34" y="76"/>
                    <a:pt x="35" y="76"/>
                  </a:cubicBezTo>
                  <a:cubicBezTo>
                    <a:pt x="36" y="76"/>
                    <a:pt x="37" y="76"/>
                    <a:pt x="38" y="76"/>
                  </a:cubicBezTo>
                  <a:cubicBezTo>
                    <a:pt x="37" y="71"/>
                    <a:pt x="36" y="66"/>
                    <a:pt x="35" y="61"/>
                  </a:cubicBezTo>
                  <a:cubicBezTo>
                    <a:pt x="38" y="54"/>
                    <a:pt x="40" y="48"/>
                    <a:pt x="43" y="4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1049759" name="î$ḻîḑe"/>
            <p:cNvSpPr/>
            <p:nvPr/>
          </p:nvSpPr>
          <p:spPr bwMode="auto">
            <a:xfrm>
              <a:off x="2055709" y="4566240"/>
              <a:ext cx="136525" cy="150813"/>
            </a:xfrm>
            <a:custGeom>
              <a:avLst/>
              <a:gdLst>
                <a:gd name="T0" fmla="*/ 55 w 74"/>
                <a:gd name="T1" fmla="*/ 53 h 82"/>
                <a:gd name="T2" fmla="*/ 54 w 74"/>
                <a:gd name="T3" fmla="*/ 51 h 82"/>
                <a:gd name="T4" fmla="*/ 57 w 74"/>
                <a:gd name="T5" fmla="*/ 49 h 82"/>
                <a:gd name="T6" fmla="*/ 56 w 74"/>
                <a:gd name="T7" fmla="*/ 45 h 82"/>
                <a:gd name="T8" fmla="*/ 52 w 74"/>
                <a:gd name="T9" fmla="*/ 45 h 82"/>
                <a:gd name="T10" fmla="*/ 51 w 74"/>
                <a:gd name="T11" fmla="*/ 44 h 82"/>
                <a:gd name="T12" fmla="*/ 60 w 74"/>
                <a:gd name="T13" fmla="*/ 32 h 82"/>
                <a:gd name="T14" fmla="*/ 60 w 74"/>
                <a:gd name="T15" fmla="*/ 30 h 82"/>
                <a:gd name="T16" fmla="*/ 34 w 74"/>
                <a:gd name="T17" fmla="*/ 38 h 82"/>
                <a:gd name="T18" fmla="*/ 33 w 74"/>
                <a:gd name="T19" fmla="*/ 38 h 82"/>
                <a:gd name="T20" fmla="*/ 60 w 74"/>
                <a:gd name="T21" fmla="*/ 16 h 82"/>
                <a:gd name="T22" fmla="*/ 61 w 74"/>
                <a:gd name="T23" fmla="*/ 10 h 82"/>
                <a:gd name="T24" fmla="*/ 42 w 74"/>
                <a:gd name="T25" fmla="*/ 11 h 82"/>
                <a:gd name="T26" fmla="*/ 27 w 74"/>
                <a:gd name="T27" fmla="*/ 0 h 82"/>
                <a:gd name="T28" fmla="*/ 24 w 74"/>
                <a:gd name="T29" fmla="*/ 0 h 82"/>
                <a:gd name="T30" fmla="*/ 29 w 74"/>
                <a:gd name="T31" fmla="*/ 21 h 82"/>
                <a:gd name="T32" fmla="*/ 11 w 74"/>
                <a:gd name="T33" fmla="*/ 39 h 82"/>
                <a:gd name="T34" fmla="*/ 1 w 74"/>
                <a:gd name="T35" fmla="*/ 44 h 82"/>
                <a:gd name="T36" fmla="*/ 0 w 74"/>
                <a:gd name="T37" fmla="*/ 47 h 82"/>
                <a:gd name="T38" fmla="*/ 35 w 74"/>
                <a:gd name="T39" fmla="*/ 26 h 82"/>
                <a:gd name="T40" fmla="*/ 35 w 74"/>
                <a:gd name="T41" fmla="*/ 26 h 82"/>
                <a:gd name="T42" fmla="*/ 30 w 74"/>
                <a:gd name="T43" fmla="*/ 48 h 82"/>
                <a:gd name="T44" fmla="*/ 40 w 74"/>
                <a:gd name="T45" fmla="*/ 57 h 82"/>
                <a:gd name="T46" fmla="*/ 35 w 74"/>
                <a:gd name="T47" fmla="*/ 78 h 82"/>
                <a:gd name="T48" fmla="*/ 45 w 74"/>
                <a:gd name="T49" fmla="*/ 82 h 82"/>
                <a:gd name="T50" fmla="*/ 47 w 74"/>
                <a:gd name="T51" fmla="*/ 80 h 82"/>
                <a:gd name="T52" fmla="*/ 46 w 74"/>
                <a:gd name="T53" fmla="*/ 67 h 82"/>
                <a:gd name="T54" fmla="*/ 47 w 74"/>
                <a:gd name="T55" fmla="*/ 66 h 82"/>
                <a:gd name="T56" fmla="*/ 50 w 74"/>
                <a:gd name="T57" fmla="*/ 73 h 82"/>
                <a:gd name="T58" fmla="*/ 58 w 74"/>
                <a:gd name="T59" fmla="*/ 79 h 82"/>
                <a:gd name="T60" fmla="*/ 59 w 74"/>
                <a:gd name="T61" fmla="*/ 79 h 82"/>
                <a:gd name="T62" fmla="*/ 53 w 74"/>
                <a:gd name="T63" fmla="*/ 57 h 82"/>
                <a:gd name="T64" fmla="*/ 56 w 74"/>
                <a:gd name="T65" fmla="*/ 55 h 82"/>
                <a:gd name="T66" fmla="*/ 56 w 74"/>
                <a:gd name="T67" fmla="*/ 55 h 82"/>
                <a:gd name="T68" fmla="*/ 69 w 74"/>
                <a:gd name="T69" fmla="*/ 69 h 82"/>
                <a:gd name="T70" fmla="*/ 74 w 74"/>
                <a:gd name="T71" fmla="*/ 64 h 82"/>
                <a:gd name="T72" fmla="*/ 55 w 74"/>
                <a:gd name="T73" fmla="*/ 53 h 82"/>
                <a:gd name="T74" fmla="*/ 40 w 74"/>
                <a:gd name="T75" fmla="*/ 46 h 82"/>
                <a:gd name="T76" fmla="*/ 39 w 74"/>
                <a:gd name="T77" fmla="*/ 46 h 82"/>
                <a:gd name="T78" fmla="*/ 38 w 74"/>
                <a:gd name="T79" fmla="*/ 46 h 82"/>
                <a:gd name="T80" fmla="*/ 37 w 74"/>
                <a:gd name="T81" fmla="*/ 44 h 82"/>
                <a:gd name="T82" fmla="*/ 44 w 74"/>
                <a:gd name="T83" fmla="*/ 36 h 82"/>
                <a:gd name="T84" fmla="*/ 46 w 74"/>
                <a:gd name="T85" fmla="*/ 35 h 82"/>
                <a:gd name="T86" fmla="*/ 46 w 74"/>
                <a:gd name="T87" fmla="*/ 35 h 82"/>
                <a:gd name="T88" fmla="*/ 40 w 74"/>
                <a:gd name="T89" fmla="*/ 46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74" h="82">
                  <a:moveTo>
                    <a:pt x="55" y="53"/>
                  </a:moveTo>
                  <a:cubicBezTo>
                    <a:pt x="55" y="53"/>
                    <a:pt x="54" y="52"/>
                    <a:pt x="54" y="51"/>
                  </a:cubicBezTo>
                  <a:cubicBezTo>
                    <a:pt x="55" y="51"/>
                    <a:pt x="56" y="50"/>
                    <a:pt x="57" y="49"/>
                  </a:cubicBezTo>
                  <a:cubicBezTo>
                    <a:pt x="57" y="48"/>
                    <a:pt x="56" y="47"/>
                    <a:pt x="56" y="45"/>
                  </a:cubicBezTo>
                  <a:cubicBezTo>
                    <a:pt x="54" y="45"/>
                    <a:pt x="53" y="45"/>
                    <a:pt x="52" y="45"/>
                  </a:cubicBezTo>
                  <a:cubicBezTo>
                    <a:pt x="51" y="45"/>
                    <a:pt x="51" y="44"/>
                    <a:pt x="51" y="44"/>
                  </a:cubicBezTo>
                  <a:cubicBezTo>
                    <a:pt x="53" y="40"/>
                    <a:pt x="59" y="36"/>
                    <a:pt x="60" y="32"/>
                  </a:cubicBezTo>
                  <a:cubicBezTo>
                    <a:pt x="60" y="31"/>
                    <a:pt x="60" y="31"/>
                    <a:pt x="60" y="30"/>
                  </a:cubicBezTo>
                  <a:cubicBezTo>
                    <a:pt x="50" y="21"/>
                    <a:pt x="41" y="31"/>
                    <a:pt x="34" y="38"/>
                  </a:cubicBezTo>
                  <a:cubicBezTo>
                    <a:pt x="33" y="38"/>
                    <a:pt x="33" y="38"/>
                    <a:pt x="33" y="38"/>
                  </a:cubicBezTo>
                  <a:cubicBezTo>
                    <a:pt x="34" y="30"/>
                    <a:pt x="48" y="16"/>
                    <a:pt x="60" y="16"/>
                  </a:cubicBezTo>
                  <a:cubicBezTo>
                    <a:pt x="61" y="14"/>
                    <a:pt x="61" y="12"/>
                    <a:pt x="61" y="10"/>
                  </a:cubicBezTo>
                  <a:cubicBezTo>
                    <a:pt x="50" y="3"/>
                    <a:pt x="52" y="11"/>
                    <a:pt x="42" y="11"/>
                  </a:cubicBezTo>
                  <a:cubicBezTo>
                    <a:pt x="38" y="10"/>
                    <a:pt x="32" y="1"/>
                    <a:pt x="27" y="0"/>
                  </a:cubicBezTo>
                  <a:cubicBezTo>
                    <a:pt x="26" y="0"/>
                    <a:pt x="25" y="0"/>
                    <a:pt x="24" y="0"/>
                  </a:cubicBezTo>
                  <a:cubicBezTo>
                    <a:pt x="21" y="5"/>
                    <a:pt x="30" y="14"/>
                    <a:pt x="29" y="21"/>
                  </a:cubicBezTo>
                  <a:cubicBezTo>
                    <a:pt x="19" y="27"/>
                    <a:pt x="17" y="33"/>
                    <a:pt x="11" y="39"/>
                  </a:cubicBezTo>
                  <a:cubicBezTo>
                    <a:pt x="8" y="42"/>
                    <a:pt x="4" y="42"/>
                    <a:pt x="1" y="44"/>
                  </a:cubicBezTo>
                  <a:cubicBezTo>
                    <a:pt x="1" y="45"/>
                    <a:pt x="0" y="46"/>
                    <a:pt x="0" y="47"/>
                  </a:cubicBezTo>
                  <a:cubicBezTo>
                    <a:pt x="11" y="69"/>
                    <a:pt x="23" y="30"/>
                    <a:pt x="35" y="26"/>
                  </a:cubicBezTo>
                  <a:cubicBezTo>
                    <a:pt x="35" y="26"/>
                    <a:pt x="35" y="26"/>
                    <a:pt x="35" y="26"/>
                  </a:cubicBezTo>
                  <a:cubicBezTo>
                    <a:pt x="33" y="33"/>
                    <a:pt x="28" y="39"/>
                    <a:pt x="30" y="48"/>
                  </a:cubicBezTo>
                  <a:cubicBezTo>
                    <a:pt x="30" y="51"/>
                    <a:pt x="37" y="56"/>
                    <a:pt x="40" y="57"/>
                  </a:cubicBezTo>
                  <a:cubicBezTo>
                    <a:pt x="37" y="64"/>
                    <a:pt x="32" y="69"/>
                    <a:pt x="35" y="78"/>
                  </a:cubicBezTo>
                  <a:cubicBezTo>
                    <a:pt x="39" y="79"/>
                    <a:pt x="42" y="80"/>
                    <a:pt x="45" y="82"/>
                  </a:cubicBezTo>
                  <a:cubicBezTo>
                    <a:pt x="46" y="81"/>
                    <a:pt x="46" y="81"/>
                    <a:pt x="47" y="80"/>
                  </a:cubicBezTo>
                  <a:cubicBezTo>
                    <a:pt x="49" y="77"/>
                    <a:pt x="45" y="70"/>
                    <a:pt x="46" y="67"/>
                  </a:cubicBezTo>
                  <a:cubicBezTo>
                    <a:pt x="46" y="66"/>
                    <a:pt x="46" y="66"/>
                    <a:pt x="47" y="66"/>
                  </a:cubicBezTo>
                  <a:cubicBezTo>
                    <a:pt x="48" y="67"/>
                    <a:pt x="49" y="71"/>
                    <a:pt x="50" y="73"/>
                  </a:cubicBezTo>
                  <a:cubicBezTo>
                    <a:pt x="52" y="76"/>
                    <a:pt x="55" y="77"/>
                    <a:pt x="58" y="79"/>
                  </a:cubicBezTo>
                  <a:cubicBezTo>
                    <a:pt x="58" y="79"/>
                    <a:pt x="58" y="79"/>
                    <a:pt x="59" y="79"/>
                  </a:cubicBezTo>
                  <a:cubicBezTo>
                    <a:pt x="60" y="72"/>
                    <a:pt x="53" y="64"/>
                    <a:pt x="53" y="57"/>
                  </a:cubicBezTo>
                  <a:cubicBezTo>
                    <a:pt x="54" y="56"/>
                    <a:pt x="55" y="56"/>
                    <a:pt x="56" y="55"/>
                  </a:cubicBezTo>
                  <a:cubicBezTo>
                    <a:pt x="56" y="55"/>
                    <a:pt x="56" y="55"/>
                    <a:pt x="56" y="55"/>
                  </a:cubicBezTo>
                  <a:cubicBezTo>
                    <a:pt x="63" y="60"/>
                    <a:pt x="59" y="67"/>
                    <a:pt x="69" y="69"/>
                  </a:cubicBezTo>
                  <a:cubicBezTo>
                    <a:pt x="71" y="67"/>
                    <a:pt x="72" y="66"/>
                    <a:pt x="74" y="64"/>
                  </a:cubicBezTo>
                  <a:cubicBezTo>
                    <a:pt x="71" y="56"/>
                    <a:pt x="63" y="51"/>
                    <a:pt x="55" y="53"/>
                  </a:cubicBezTo>
                  <a:close/>
                  <a:moveTo>
                    <a:pt x="40" y="46"/>
                  </a:moveTo>
                  <a:cubicBezTo>
                    <a:pt x="40" y="46"/>
                    <a:pt x="39" y="46"/>
                    <a:pt x="39" y="46"/>
                  </a:cubicBezTo>
                  <a:cubicBezTo>
                    <a:pt x="38" y="46"/>
                    <a:pt x="38" y="46"/>
                    <a:pt x="38" y="46"/>
                  </a:cubicBezTo>
                  <a:cubicBezTo>
                    <a:pt x="38" y="45"/>
                    <a:pt x="37" y="45"/>
                    <a:pt x="37" y="44"/>
                  </a:cubicBezTo>
                  <a:cubicBezTo>
                    <a:pt x="39" y="41"/>
                    <a:pt x="42" y="39"/>
                    <a:pt x="44" y="36"/>
                  </a:cubicBezTo>
                  <a:cubicBezTo>
                    <a:pt x="45" y="36"/>
                    <a:pt x="45" y="35"/>
                    <a:pt x="46" y="35"/>
                  </a:cubicBezTo>
                  <a:cubicBezTo>
                    <a:pt x="46" y="35"/>
                    <a:pt x="46" y="35"/>
                    <a:pt x="46" y="35"/>
                  </a:cubicBezTo>
                  <a:cubicBezTo>
                    <a:pt x="44" y="39"/>
                    <a:pt x="42" y="42"/>
                    <a:pt x="40" y="46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1049760" name="ïşḻíḍe"/>
            <p:cNvSpPr/>
            <p:nvPr/>
          </p:nvSpPr>
          <p:spPr bwMode="auto">
            <a:xfrm>
              <a:off x="1882672" y="4669428"/>
              <a:ext cx="160338" cy="169863"/>
            </a:xfrm>
            <a:custGeom>
              <a:avLst/>
              <a:gdLst>
                <a:gd name="T0" fmla="*/ 29 w 87"/>
                <a:gd name="T1" fmla="*/ 8 h 92"/>
                <a:gd name="T2" fmla="*/ 52 w 87"/>
                <a:gd name="T3" fmla="*/ 17 h 92"/>
                <a:gd name="T4" fmla="*/ 61 w 87"/>
                <a:gd name="T5" fmla="*/ 16 h 92"/>
                <a:gd name="T6" fmla="*/ 62 w 87"/>
                <a:gd name="T7" fmla="*/ 17 h 92"/>
                <a:gd name="T8" fmla="*/ 69 w 87"/>
                <a:gd name="T9" fmla="*/ 42 h 92"/>
                <a:gd name="T10" fmla="*/ 86 w 87"/>
                <a:gd name="T11" fmla="*/ 35 h 92"/>
                <a:gd name="T12" fmla="*/ 87 w 87"/>
                <a:gd name="T13" fmla="*/ 39 h 92"/>
                <a:gd name="T14" fmla="*/ 76 w 87"/>
                <a:gd name="T15" fmla="*/ 55 h 92"/>
                <a:gd name="T16" fmla="*/ 67 w 87"/>
                <a:gd name="T17" fmla="*/ 76 h 92"/>
                <a:gd name="T18" fmla="*/ 65 w 87"/>
                <a:gd name="T19" fmla="*/ 74 h 92"/>
                <a:gd name="T20" fmla="*/ 69 w 87"/>
                <a:gd name="T21" fmla="*/ 53 h 92"/>
                <a:gd name="T22" fmla="*/ 55 w 87"/>
                <a:gd name="T23" fmla="*/ 40 h 92"/>
                <a:gd name="T24" fmla="*/ 45 w 87"/>
                <a:gd name="T25" fmla="*/ 44 h 92"/>
                <a:gd name="T26" fmla="*/ 46 w 87"/>
                <a:gd name="T27" fmla="*/ 89 h 92"/>
                <a:gd name="T28" fmla="*/ 38 w 87"/>
                <a:gd name="T29" fmla="*/ 92 h 92"/>
                <a:gd name="T30" fmla="*/ 27 w 87"/>
                <a:gd name="T31" fmla="*/ 68 h 92"/>
                <a:gd name="T32" fmla="*/ 14 w 87"/>
                <a:gd name="T33" fmla="*/ 70 h 92"/>
                <a:gd name="T34" fmla="*/ 12 w 87"/>
                <a:gd name="T35" fmla="*/ 65 h 92"/>
                <a:gd name="T36" fmla="*/ 18 w 87"/>
                <a:gd name="T37" fmla="*/ 58 h 92"/>
                <a:gd name="T38" fmla="*/ 0 w 87"/>
                <a:gd name="T39" fmla="*/ 42 h 92"/>
                <a:gd name="T40" fmla="*/ 0 w 87"/>
                <a:gd name="T41" fmla="*/ 42 h 92"/>
                <a:gd name="T42" fmla="*/ 21 w 87"/>
                <a:gd name="T43" fmla="*/ 39 h 92"/>
                <a:gd name="T44" fmla="*/ 27 w 87"/>
                <a:gd name="T45" fmla="*/ 48 h 92"/>
                <a:gd name="T46" fmla="*/ 34 w 87"/>
                <a:gd name="T47" fmla="*/ 52 h 92"/>
                <a:gd name="T48" fmla="*/ 36 w 87"/>
                <a:gd name="T49" fmla="*/ 62 h 92"/>
                <a:gd name="T50" fmla="*/ 39 w 87"/>
                <a:gd name="T51" fmla="*/ 44 h 92"/>
                <a:gd name="T52" fmla="*/ 46 w 87"/>
                <a:gd name="T53" fmla="*/ 28 h 92"/>
                <a:gd name="T54" fmla="*/ 29 w 87"/>
                <a:gd name="T55" fmla="*/ 8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87" h="92">
                  <a:moveTo>
                    <a:pt x="29" y="8"/>
                  </a:moveTo>
                  <a:cubicBezTo>
                    <a:pt x="42" y="0"/>
                    <a:pt x="43" y="12"/>
                    <a:pt x="52" y="17"/>
                  </a:cubicBezTo>
                  <a:cubicBezTo>
                    <a:pt x="55" y="15"/>
                    <a:pt x="58" y="15"/>
                    <a:pt x="61" y="16"/>
                  </a:cubicBezTo>
                  <a:cubicBezTo>
                    <a:pt x="61" y="16"/>
                    <a:pt x="62" y="17"/>
                    <a:pt x="62" y="17"/>
                  </a:cubicBezTo>
                  <a:cubicBezTo>
                    <a:pt x="62" y="26"/>
                    <a:pt x="58" y="33"/>
                    <a:pt x="69" y="42"/>
                  </a:cubicBezTo>
                  <a:cubicBezTo>
                    <a:pt x="75" y="35"/>
                    <a:pt x="80" y="33"/>
                    <a:pt x="86" y="35"/>
                  </a:cubicBezTo>
                  <a:cubicBezTo>
                    <a:pt x="87" y="36"/>
                    <a:pt x="87" y="38"/>
                    <a:pt x="87" y="39"/>
                  </a:cubicBezTo>
                  <a:cubicBezTo>
                    <a:pt x="83" y="45"/>
                    <a:pt x="80" y="50"/>
                    <a:pt x="76" y="55"/>
                  </a:cubicBezTo>
                  <a:cubicBezTo>
                    <a:pt x="71" y="62"/>
                    <a:pt x="71" y="70"/>
                    <a:pt x="67" y="76"/>
                  </a:cubicBezTo>
                  <a:cubicBezTo>
                    <a:pt x="66" y="75"/>
                    <a:pt x="66" y="75"/>
                    <a:pt x="65" y="74"/>
                  </a:cubicBezTo>
                  <a:cubicBezTo>
                    <a:pt x="63" y="66"/>
                    <a:pt x="67" y="60"/>
                    <a:pt x="69" y="53"/>
                  </a:cubicBezTo>
                  <a:cubicBezTo>
                    <a:pt x="64" y="51"/>
                    <a:pt x="60" y="46"/>
                    <a:pt x="55" y="40"/>
                  </a:cubicBezTo>
                  <a:cubicBezTo>
                    <a:pt x="52" y="42"/>
                    <a:pt x="49" y="41"/>
                    <a:pt x="45" y="44"/>
                  </a:cubicBezTo>
                  <a:cubicBezTo>
                    <a:pt x="40" y="59"/>
                    <a:pt x="48" y="75"/>
                    <a:pt x="46" y="89"/>
                  </a:cubicBezTo>
                  <a:cubicBezTo>
                    <a:pt x="43" y="92"/>
                    <a:pt x="41" y="91"/>
                    <a:pt x="38" y="92"/>
                  </a:cubicBezTo>
                  <a:cubicBezTo>
                    <a:pt x="31" y="83"/>
                    <a:pt x="33" y="76"/>
                    <a:pt x="27" y="68"/>
                  </a:cubicBezTo>
                  <a:cubicBezTo>
                    <a:pt x="23" y="71"/>
                    <a:pt x="18" y="71"/>
                    <a:pt x="14" y="70"/>
                  </a:cubicBezTo>
                  <a:cubicBezTo>
                    <a:pt x="12" y="68"/>
                    <a:pt x="12" y="67"/>
                    <a:pt x="12" y="65"/>
                  </a:cubicBezTo>
                  <a:cubicBezTo>
                    <a:pt x="14" y="63"/>
                    <a:pt x="16" y="60"/>
                    <a:pt x="18" y="58"/>
                  </a:cubicBezTo>
                  <a:cubicBezTo>
                    <a:pt x="13" y="49"/>
                    <a:pt x="3" y="48"/>
                    <a:pt x="0" y="42"/>
                  </a:cubicBezTo>
                  <a:cubicBezTo>
                    <a:pt x="0" y="42"/>
                    <a:pt x="0" y="42"/>
                    <a:pt x="0" y="42"/>
                  </a:cubicBezTo>
                  <a:cubicBezTo>
                    <a:pt x="6" y="39"/>
                    <a:pt x="15" y="35"/>
                    <a:pt x="21" y="39"/>
                  </a:cubicBezTo>
                  <a:cubicBezTo>
                    <a:pt x="23" y="42"/>
                    <a:pt x="25" y="45"/>
                    <a:pt x="27" y="48"/>
                  </a:cubicBezTo>
                  <a:cubicBezTo>
                    <a:pt x="29" y="50"/>
                    <a:pt x="31" y="51"/>
                    <a:pt x="34" y="52"/>
                  </a:cubicBezTo>
                  <a:cubicBezTo>
                    <a:pt x="34" y="55"/>
                    <a:pt x="35" y="58"/>
                    <a:pt x="36" y="62"/>
                  </a:cubicBezTo>
                  <a:cubicBezTo>
                    <a:pt x="39" y="56"/>
                    <a:pt x="38" y="50"/>
                    <a:pt x="39" y="44"/>
                  </a:cubicBezTo>
                  <a:cubicBezTo>
                    <a:pt x="42" y="39"/>
                    <a:pt x="44" y="34"/>
                    <a:pt x="46" y="28"/>
                  </a:cubicBezTo>
                  <a:cubicBezTo>
                    <a:pt x="42" y="22"/>
                    <a:pt x="31" y="15"/>
                    <a:pt x="29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1049761" name="íṩľíḑè"/>
            <p:cNvSpPr/>
            <p:nvPr/>
          </p:nvSpPr>
          <p:spPr bwMode="auto">
            <a:xfrm>
              <a:off x="2243034" y="6066428"/>
              <a:ext cx="22225" cy="25400"/>
            </a:xfrm>
            <a:custGeom>
              <a:avLst/>
              <a:gdLst>
                <a:gd name="T0" fmla="*/ 0 w 14"/>
                <a:gd name="T1" fmla="*/ 12 h 16"/>
                <a:gd name="T2" fmla="*/ 2 w 14"/>
                <a:gd name="T3" fmla="*/ 0 h 16"/>
                <a:gd name="T4" fmla="*/ 14 w 14"/>
                <a:gd name="T5" fmla="*/ 4 h 16"/>
                <a:gd name="T6" fmla="*/ 11 w 14"/>
                <a:gd name="T7" fmla="*/ 16 h 16"/>
                <a:gd name="T8" fmla="*/ 0 w 14"/>
                <a:gd name="T9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" h="16">
                  <a:moveTo>
                    <a:pt x="0" y="12"/>
                  </a:moveTo>
                  <a:lnTo>
                    <a:pt x="2" y="0"/>
                  </a:lnTo>
                  <a:lnTo>
                    <a:pt x="14" y="4"/>
                  </a:lnTo>
                  <a:lnTo>
                    <a:pt x="11" y="16"/>
                  </a:lnTo>
                  <a:lnTo>
                    <a:pt x="0" y="1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1049762" name="îṣḷïḓê"/>
            <p:cNvSpPr/>
            <p:nvPr/>
          </p:nvSpPr>
          <p:spPr bwMode="auto">
            <a:xfrm>
              <a:off x="2292247" y="6042615"/>
              <a:ext cx="49213" cy="100013"/>
            </a:xfrm>
            <a:custGeom>
              <a:avLst/>
              <a:gdLst>
                <a:gd name="T0" fmla="*/ 17 w 27"/>
                <a:gd name="T1" fmla="*/ 54 h 54"/>
                <a:gd name="T2" fmla="*/ 7 w 27"/>
                <a:gd name="T3" fmla="*/ 52 h 54"/>
                <a:gd name="T4" fmla="*/ 14 w 27"/>
                <a:gd name="T5" fmla="*/ 15 h 54"/>
                <a:gd name="T6" fmla="*/ 0 w 27"/>
                <a:gd name="T7" fmla="*/ 20 h 54"/>
                <a:gd name="T8" fmla="*/ 1 w 27"/>
                <a:gd name="T9" fmla="*/ 11 h 54"/>
                <a:gd name="T10" fmla="*/ 11 w 27"/>
                <a:gd name="T11" fmla="*/ 7 h 54"/>
                <a:gd name="T12" fmla="*/ 18 w 27"/>
                <a:gd name="T13" fmla="*/ 0 h 54"/>
                <a:gd name="T14" fmla="*/ 27 w 27"/>
                <a:gd name="T15" fmla="*/ 2 h 54"/>
                <a:gd name="T16" fmla="*/ 17 w 27"/>
                <a:gd name="T17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7" h="54">
                  <a:moveTo>
                    <a:pt x="17" y="54"/>
                  </a:moveTo>
                  <a:cubicBezTo>
                    <a:pt x="7" y="52"/>
                    <a:pt x="7" y="52"/>
                    <a:pt x="7" y="52"/>
                  </a:cubicBezTo>
                  <a:cubicBezTo>
                    <a:pt x="14" y="15"/>
                    <a:pt x="14" y="15"/>
                    <a:pt x="14" y="15"/>
                  </a:cubicBezTo>
                  <a:cubicBezTo>
                    <a:pt x="10" y="17"/>
                    <a:pt x="5" y="19"/>
                    <a:pt x="0" y="20"/>
                  </a:cubicBezTo>
                  <a:cubicBezTo>
                    <a:pt x="1" y="11"/>
                    <a:pt x="1" y="11"/>
                    <a:pt x="1" y="11"/>
                  </a:cubicBezTo>
                  <a:cubicBezTo>
                    <a:pt x="4" y="10"/>
                    <a:pt x="7" y="9"/>
                    <a:pt x="11" y="7"/>
                  </a:cubicBezTo>
                  <a:cubicBezTo>
                    <a:pt x="14" y="6"/>
                    <a:pt x="17" y="3"/>
                    <a:pt x="18" y="0"/>
                  </a:cubicBezTo>
                  <a:cubicBezTo>
                    <a:pt x="27" y="2"/>
                    <a:pt x="27" y="2"/>
                    <a:pt x="27" y="2"/>
                  </a:cubicBezTo>
                  <a:lnTo>
                    <a:pt x="17" y="5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1049763" name="i$ḻîḓé"/>
            <p:cNvSpPr/>
            <p:nvPr/>
          </p:nvSpPr>
          <p:spPr bwMode="auto">
            <a:xfrm>
              <a:off x="2363684" y="6052140"/>
              <a:ext cx="66675" cy="100013"/>
            </a:xfrm>
            <a:custGeom>
              <a:avLst/>
              <a:gdLst>
                <a:gd name="T0" fmla="*/ 0 w 36"/>
                <a:gd name="T1" fmla="*/ 40 h 54"/>
                <a:gd name="T2" fmla="*/ 10 w 36"/>
                <a:gd name="T3" fmla="*/ 39 h 54"/>
                <a:gd name="T4" fmla="*/ 11 w 36"/>
                <a:gd name="T5" fmla="*/ 44 h 54"/>
                <a:gd name="T6" fmla="*/ 15 w 36"/>
                <a:gd name="T7" fmla="*/ 46 h 54"/>
                <a:gd name="T8" fmla="*/ 21 w 36"/>
                <a:gd name="T9" fmla="*/ 43 h 54"/>
                <a:gd name="T10" fmla="*/ 24 w 36"/>
                <a:gd name="T11" fmla="*/ 31 h 54"/>
                <a:gd name="T12" fmla="*/ 15 w 36"/>
                <a:gd name="T13" fmla="*/ 35 h 54"/>
                <a:gd name="T14" fmla="*/ 4 w 36"/>
                <a:gd name="T15" fmla="*/ 30 h 54"/>
                <a:gd name="T16" fmla="*/ 0 w 36"/>
                <a:gd name="T17" fmla="*/ 17 h 54"/>
                <a:gd name="T18" fmla="*/ 6 w 36"/>
                <a:gd name="T19" fmla="*/ 4 h 54"/>
                <a:gd name="T20" fmla="*/ 19 w 36"/>
                <a:gd name="T21" fmla="*/ 0 h 54"/>
                <a:gd name="T22" fmla="*/ 31 w 36"/>
                <a:gd name="T23" fmla="*/ 7 h 54"/>
                <a:gd name="T24" fmla="*/ 35 w 36"/>
                <a:gd name="T25" fmla="*/ 28 h 54"/>
                <a:gd name="T26" fmla="*/ 28 w 36"/>
                <a:gd name="T27" fmla="*/ 49 h 54"/>
                <a:gd name="T28" fmla="*/ 14 w 36"/>
                <a:gd name="T29" fmla="*/ 54 h 54"/>
                <a:gd name="T30" fmla="*/ 4 w 36"/>
                <a:gd name="T31" fmla="*/ 50 h 54"/>
                <a:gd name="T32" fmla="*/ 0 w 36"/>
                <a:gd name="T33" fmla="*/ 40 h 54"/>
                <a:gd name="T34" fmla="*/ 24 w 36"/>
                <a:gd name="T35" fmla="*/ 19 h 54"/>
                <a:gd name="T36" fmla="*/ 23 w 36"/>
                <a:gd name="T37" fmla="*/ 11 h 54"/>
                <a:gd name="T38" fmla="*/ 18 w 36"/>
                <a:gd name="T39" fmla="*/ 8 h 54"/>
                <a:gd name="T40" fmla="*/ 13 w 36"/>
                <a:gd name="T41" fmla="*/ 10 h 54"/>
                <a:gd name="T42" fmla="*/ 10 w 36"/>
                <a:gd name="T43" fmla="*/ 17 h 54"/>
                <a:gd name="T44" fmla="*/ 12 w 36"/>
                <a:gd name="T45" fmla="*/ 25 h 54"/>
                <a:gd name="T46" fmla="*/ 17 w 36"/>
                <a:gd name="T47" fmla="*/ 28 h 54"/>
                <a:gd name="T48" fmla="*/ 22 w 36"/>
                <a:gd name="T49" fmla="*/ 26 h 54"/>
                <a:gd name="T50" fmla="*/ 24 w 36"/>
                <a:gd name="T51" fmla="*/ 19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36" h="54">
                  <a:moveTo>
                    <a:pt x="0" y="40"/>
                  </a:moveTo>
                  <a:cubicBezTo>
                    <a:pt x="10" y="39"/>
                    <a:pt x="10" y="39"/>
                    <a:pt x="10" y="39"/>
                  </a:cubicBezTo>
                  <a:cubicBezTo>
                    <a:pt x="10" y="41"/>
                    <a:pt x="10" y="43"/>
                    <a:pt x="11" y="44"/>
                  </a:cubicBezTo>
                  <a:cubicBezTo>
                    <a:pt x="12" y="45"/>
                    <a:pt x="14" y="46"/>
                    <a:pt x="15" y="46"/>
                  </a:cubicBezTo>
                  <a:cubicBezTo>
                    <a:pt x="17" y="46"/>
                    <a:pt x="19" y="45"/>
                    <a:pt x="21" y="43"/>
                  </a:cubicBezTo>
                  <a:cubicBezTo>
                    <a:pt x="22" y="41"/>
                    <a:pt x="24" y="37"/>
                    <a:pt x="24" y="31"/>
                  </a:cubicBezTo>
                  <a:cubicBezTo>
                    <a:pt x="22" y="34"/>
                    <a:pt x="18" y="35"/>
                    <a:pt x="15" y="35"/>
                  </a:cubicBezTo>
                  <a:cubicBezTo>
                    <a:pt x="10" y="35"/>
                    <a:pt x="7" y="33"/>
                    <a:pt x="4" y="30"/>
                  </a:cubicBezTo>
                  <a:cubicBezTo>
                    <a:pt x="1" y="26"/>
                    <a:pt x="0" y="22"/>
                    <a:pt x="0" y="17"/>
                  </a:cubicBezTo>
                  <a:cubicBezTo>
                    <a:pt x="1" y="11"/>
                    <a:pt x="3" y="7"/>
                    <a:pt x="6" y="4"/>
                  </a:cubicBezTo>
                  <a:cubicBezTo>
                    <a:pt x="10" y="1"/>
                    <a:pt x="14" y="0"/>
                    <a:pt x="19" y="0"/>
                  </a:cubicBezTo>
                  <a:cubicBezTo>
                    <a:pt x="24" y="0"/>
                    <a:pt x="28" y="3"/>
                    <a:pt x="31" y="7"/>
                  </a:cubicBezTo>
                  <a:cubicBezTo>
                    <a:pt x="35" y="12"/>
                    <a:pt x="36" y="19"/>
                    <a:pt x="35" y="28"/>
                  </a:cubicBezTo>
                  <a:cubicBezTo>
                    <a:pt x="34" y="38"/>
                    <a:pt x="32" y="44"/>
                    <a:pt x="28" y="49"/>
                  </a:cubicBezTo>
                  <a:cubicBezTo>
                    <a:pt x="24" y="53"/>
                    <a:pt x="20" y="54"/>
                    <a:pt x="14" y="54"/>
                  </a:cubicBezTo>
                  <a:cubicBezTo>
                    <a:pt x="10" y="54"/>
                    <a:pt x="7" y="52"/>
                    <a:pt x="4" y="50"/>
                  </a:cubicBezTo>
                  <a:cubicBezTo>
                    <a:pt x="2" y="48"/>
                    <a:pt x="0" y="44"/>
                    <a:pt x="0" y="40"/>
                  </a:cubicBezTo>
                  <a:close/>
                  <a:moveTo>
                    <a:pt x="24" y="19"/>
                  </a:moveTo>
                  <a:cubicBezTo>
                    <a:pt x="25" y="16"/>
                    <a:pt x="24" y="13"/>
                    <a:pt x="23" y="11"/>
                  </a:cubicBezTo>
                  <a:cubicBezTo>
                    <a:pt x="21" y="10"/>
                    <a:pt x="20" y="9"/>
                    <a:pt x="18" y="8"/>
                  </a:cubicBezTo>
                  <a:cubicBezTo>
                    <a:pt x="16" y="8"/>
                    <a:pt x="14" y="9"/>
                    <a:pt x="13" y="10"/>
                  </a:cubicBezTo>
                  <a:cubicBezTo>
                    <a:pt x="11" y="12"/>
                    <a:pt x="11" y="14"/>
                    <a:pt x="10" y="17"/>
                  </a:cubicBezTo>
                  <a:cubicBezTo>
                    <a:pt x="10" y="21"/>
                    <a:pt x="11" y="23"/>
                    <a:pt x="12" y="25"/>
                  </a:cubicBezTo>
                  <a:cubicBezTo>
                    <a:pt x="13" y="27"/>
                    <a:pt x="15" y="28"/>
                    <a:pt x="17" y="28"/>
                  </a:cubicBezTo>
                  <a:cubicBezTo>
                    <a:pt x="19" y="28"/>
                    <a:pt x="20" y="27"/>
                    <a:pt x="22" y="26"/>
                  </a:cubicBezTo>
                  <a:cubicBezTo>
                    <a:pt x="23" y="24"/>
                    <a:pt x="24" y="22"/>
                    <a:pt x="24" y="1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1049764" name="îṧľîḋé"/>
            <p:cNvSpPr/>
            <p:nvPr/>
          </p:nvSpPr>
          <p:spPr bwMode="auto">
            <a:xfrm>
              <a:off x="2446234" y="6053728"/>
              <a:ext cx="66675" cy="100013"/>
            </a:xfrm>
            <a:custGeom>
              <a:avLst/>
              <a:gdLst>
                <a:gd name="T0" fmla="*/ 0 w 36"/>
                <a:gd name="T1" fmla="*/ 40 h 54"/>
                <a:gd name="T2" fmla="*/ 10 w 36"/>
                <a:gd name="T3" fmla="*/ 39 h 54"/>
                <a:gd name="T4" fmla="*/ 13 w 36"/>
                <a:gd name="T5" fmla="*/ 44 h 54"/>
                <a:gd name="T6" fmla="*/ 18 w 36"/>
                <a:gd name="T7" fmla="*/ 46 h 54"/>
                <a:gd name="T8" fmla="*/ 23 w 36"/>
                <a:gd name="T9" fmla="*/ 43 h 54"/>
                <a:gd name="T10" fmla="*/ 25 w 36"/>
                <a:gd name="T11" fmla="*/ 35 h 54"/>
                <a:gd name="T12" fmla="*/ 23 w 36"/>
                <a:gd name="T13" fmla="*/ 28 h 54"/>
                <a:gd name="T14" fmla="*/ 17 w 36"/>
                <a:gd name="T15" fmla="*/ 26 h 54"/>
                <a:gd name="T16" fmla="*/ 9 w 36"/>
                <a:gd name="T17" fmla="*/ 30 h 54"/>
                <a:gd name="T18" fmla="*/ 1 w 36"/>
                <a:gd name="T19" fmla="*/ 29 h 54"/>
                <a:gd name="T20" fmla="*/ 5 w 36"/>
                <a:gd name="T21" fmla="*/ 1 h 54"/>
                <a:gd name="T22" fmla="*/ 32 w 36"/>
                <a:gd name="T23" fmla="*/ 0 h 54"/>
                <a:gd name="T24" fmla="*/ 32 w 36"/>
                <a:gd name="T25" fmla="*/ 10 h 54"/>
                <a:gd name="T26" fmla="*/ 13 w 36"/>
                <a:gd name="T27" fmla="*/ 10 h 54"/>
                <a:gd name="T28" fmla="*/ 12 w 36"/>
                <a:gd name="T29" fmla="*/ 19 h 54"/>
                <a:gd name="T30" fmla="*/ 19 w 36"/>
                <a:gd name="T31" fmla="*/ 17 h 54"/>
                <a:gd name="T32" fmla="*/ 30 w 36"/>
                <a:gd name="T33" fmla="*/ 22 h 54"/>
                <a:gd name="T34" fmla="*/ 36 w 36"/>
                <a:gd name="T35" fmla="*/ 34 h 54"/>
                <a:gd name="T36" fmla="*/ 32 w 36"/>
                <a:gd name="T37" fmla="*/ 46 h 54"/>
                <a:gd name="T38" fmla="*/ 18 w 36"/>
                <a:gd name="T39" fmla="*/ 54 h 54"/>
                <a:gd name="T40" fmla="*/ 6 w 36"/>
                <a:gd name="T41" fmla="*/ 50 h 54"/>
                <a:gd name="T42" fmla="*/ 0 w 36"/>
                <a:gd name="T43" fmla="*/ 40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36" h="54">
                  <a:moveTo>
                    <a:pt x="0" y="40"/>
                  </a:moveTo>
                  <a:cubicBezTo>
                    <a:pt x="10" y="39"/>
                    <a:pt x="10" y="39"/>
                    <a:pt x="10" y="39"/>
                  </a:cubicBezTo>
                  <a:cubicBezTo>
                    <a:pt x="11" y="41"/>
                    <a:pt x="11" y="43"/>
                    <a:pt x="13" y="44"/>
                  </a:cubicBezTo>
                  <a:cubicBezTo>
                    <a:pt x="14" y="45"/>
                    <a:pt x="16" y="46"/>
                    <a:pt x="18" y="46"/>
                  </a:cubicBezTo>
                  <a:cubicBezTo>
                    <a:pt x="20" y="46"/>
                    <a:pt x="22" y="45"/>
                    <a:pt x="23" y="43"/>
                  </a:cubicBezTo>
                  <a:cubicBezTo>
                    <a:pt x="25" y="41"/>
                    <a:pt x="25" y="38"/>
                    <a:pt x="25" y="35"/>
                  </a:cubicBezTo>
                  <a:cubicBezTo>
                    <a:pt x="25" y="32"/>
                    <a:pt x="24" y="29"/>
                    <a:pt x="23" y="28"/>
                  </a:cubicBezTo>
                  <a:cubicBezTo>
                    <a:pt x="21" y="26"/>
                    <a:pt x="19" y="25"/>
                    <a:pt x="17" y="26"/>
                  </a:cubicBezTo>
                  <a:cubicBezTo>
                    <a:pt x="14" y="26"/>
                    <a:pt x="11" y="27"/>
                    <a:pt x="9" y="30"/>
                  </a:cubicBezTo>
                  <a:cubicBezTo>
                    <a:pt x="1" y="29"/>
                    <a:pt x="1" y="29"/>
                    <a:pt x="1" y="29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2" y="10"/>
                    <a:pt x="32" y="10"/>
                    <a:pt x="32" y="10"/>
                  </a:cubicBezTo>
                  <a:cubicBezTo>
                    <a:pt x="13" y="10"/>
                    <a:pt x="13" y="10"/>
                    <a:pt x="13" y="10"/>
                  </a:cubicBezTo>
                  <a:cubicBezTo>
                    <a:pt x="12" y="19"/>
                    <a:pt x="12" y="19"/>
                    <a:pt x="12" y="19"/>
                  </a:cubicBezTo>
                  <a:cubicBezTo>
                    <a:pt x="14" y="18"/>
                    <a:pt x="16" y="17"/>
                    <a:pt x="19" y="17"/>
                  </a:cubicBezTo>
                  <a:cubicBezTo>
                    <a:pt x="23" y="17"/>
                    <a:pt x="27" y="19"/>
                    <a:pt x="30" y="22"/>
                  </a:cubicBezTo>
                  <a:cubicBezTo>
                    <a:pt x="34" y="25"/>
                    <a:pt x="35" y="29"/>
                    <a:pt x="36" y="34"/>
                  </a:cubicBezTo>
                  <a:cubicBezTo>
                    <a:pt x="36" y="39"/>
                    <a:pt x="35" y="43"/>
                    <a:pt x="32" y="46"/>
                  </a:cubicBezTo>
                  <a:cubicBezTo>
                    <a:pt x="29" y="51"/>
                    <a:pt x="24" y="54"/>
                    <a:pt x="18" y="54"/>
                  </a:cubicBezTo>
                  <a:cubicBezTo>
                    <a:pt x="13" y="54"/>
                    <a:pt x="9" y="53"/>
                    <a:pt x="6" y="50"/>
                  </a:cubicBezTo>
                  <a:cubicBezTo>
                    <a:pt x="3" y="48"/>
                    <a:pt x="1" y="44"/>
                    <a:pt x="0" y="4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1049765" name="i$ḻïḑê"/>
            <p:cNvSpPr/>
            <p:nvPr/>
          </p:nvSpPr>
          <p:spPr bwMode="auto">
            <a:xfrm>
              <a:off x="2522434" y="6045790"/>
              <a:ext cx="74613" cy="103188"/>
            </a:xfrm>
            <a:custGeom>
              <a:avLst/>
              <a:gdLst>
                <a:gd name="T0" fmla="*/ 39 w 40"/>
                <a:gd name="T1" fmla="*/ 42 h 56"/>
                <a:gd name="T2" fmla="*/ 40 w 40"/>
                <a:gd name="T3" fmla="*/ 51 h 56"/>
                <a:gd name="T4" fmla="*/ 5 w 40"/>
                <a:gd name="T5" fmla="*/ 56 h 56"/>
                <a:gd name="T6" fmla="*/ 7 w 40"/>
                <a:gd name="T7" fmla="*/ 46 h 56"/>
                <a:gd name="T8" fmla="*/ 16 w 40"/>
                <a:gd name="T9" fmla="*/ 32 h 56"/>
                <a:gd name="T10" fmla="*/ 23 w 40"/>
                <a:gd name="T11" fmla="*/ 22 h 56"/>
                <a:gd name="T12" fmla="*/ 24 w 40"/>
                <a:gd name="T13" fmla="*/ 15 h 56"/>
                <a:gd name="T14" fmla="*/ 22 w 40"/>
                <a:gd name="T15" fmla="*/ 10 h 56"/>
                <a:gd name="T16" fmla="*/ 17 w 40"/>
                <a:gd name="T17" fmla="*/ 9 h 56"/>
                <a:gd name="T18" fmla="*/ 12 w 40"/>
                <a:gd name="T19" fmla="*/ 12 h 56"/>
                <a:gd name="T20" fmla="*/ 11 w 40"/>
                <a:gd name="T21" fmla="*/ 19 h 56"/>
                <a:gd name="T22" fmla="*/ 1 w 40"/>
                <a:gd name="T23" fmla="*/ 19 h 56"/>
                <a:gd name="T24" fmla="*/ 4 w 40"/>
                <a:gd name="T25" fmla="*/ 6 h 56"/>
                <a:gd name="T26" fmla="*/ 16 w 40"/>
                <a:gd name="T27" fmla="*/ 1 h 56"/>
                <a:gd name="T28" fmla="*/ 28 w 40"/>
                <a:gd name="T29" fmla="*/ 3 h 56"/>
                <a:gd name="T30" fmla="*/ 34 w 40"/>
                <a:gd name="T31" fmla="*/ 13 h 56"/>
                <a:gd name="T32" fmla="*/ 34 w 40"/>
                <a:gd name="T33" fmla="*/ 20 h 56"/>
                <a:gd name="T34" fmla="*/ 31 w 40"/>
                <a:gd name="T35" fmla="*/ 27 h 56"/>
                <a:gd name="T36" fmla="*/ 26 w 40"/>
                <a:gd name="T37" fmla="*/ 35 h 56"/>
                <a:gd name="T38" fmla="*/ 20 w 40"/>
                <a:gd name="T39" fmla="*/ 42 h 56"/>
                <a:gd name="T40" fmla="*/ 19 w 40"/>
                <a:gd name="T41" fmla="*/ 45 h 56"/>
                <a:gd name="T42" fmla="*/ 39 w 40"/>
                <a:gd name="T43" fmla="*/ 42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40" h="56">
                  <a:moveTo>
                    <a:pt x="39" y="42"/>
                  </a:moveTo>
                  <a:cubicBezTo>
                    <a:pt x="40" y="51"/>
                    <a:pt x="40" y="51"/>
                    <a:pt x="40" y="51"/>
                  </a:cubicBezTo>
                  <a:cubicBezTo>
                    <a:pt x="5" y="56"/>
                    <a:pt x="5" y="56"/>
                    <a:pt x="5" y="56"/>
                  </a:cubicBezTo>
                  <a:cubicBezTo>
                    <a:pt x="5" y="53"/>
                    <a:pt x="5" y="49"/>
                    <a:pt x="7" y="46"/>
                  </a:cubicBezTo>
                  <a:cubicBezTo>
                    <a:pt x="8" y="42"/>
                    <a:pt x="11" y="38"/>
                    <a:pt x="16" y="32"/>
                  </a:cubicBezTo>
                  <a:cubicBezTo>
                    <a:pt x="20" y="27"/>
                    <a:pt x="22" y="23"/>
                    <a:pt x="23" y="22"/>
                  </a:cubicBezTo>
                  <a:cubicBezTo>
                    <a:pt x="24" y="19"/>
                    <a:pt x="25" y="17"/>
                    <a:pt x="24" y="15"/>
                  </a:cubicBezTo>
                  <a:cubicBezTo>
                    <a:pt x="24" y="13"/>
                    <a:pt x="23" y="11"/>
                    <a:pt x="22" y="10"/>
                  </a:cubicBezTo>
                  <a:cubicBezTo>
                    <a:pt x="21" y="9"/>
                    <a:pt x="19" y="9"/>
                    <a:pt x="17" y="9"/>
                  </a:cubicBezTo>
                  <a:cubicBezTo>
                    <a:pt x="15" y="10"/>
                    <a:pt x="13" y="11"/>
                    <a:pt x="12" y="12"/>
                  </a:cubicBezTo>
                  <a:cubicBezTo>
                    <a:pt x="11" y="13"/>
                    <a:pt x="10" y="16"/>
                    <a:pt x="11" y="19"/>
                  </a:cubicBezTo>
                  <a:cubicBezTo>
                    <a:pt x="1" y="19"/>
                    <a:pt x="1" y="19"/>
                    <a:pt x="1" y="19"/>
                  </a:cubicBezTo>
                  <a:cubicBezTo>
                    <a:pt x="0" y="13"/>
                    <a:pt x="2" y="9"/>
                    <a:pt x="4" y="6"/>
                  </a:cubicBezTo>
                  <a:cubicBezTo>
                    <a:pt x="7" y="3"/>
                    <a:pt x="11" y="2"/>
                    <a:pt x="16" y="1"/>
                  </a:cubicBezTo>
                  <a:cubicBezTo>
                    <a:pt x="21" y="0"/>
                    <a:pt x="25" y="1"/>
                    <a:pt x="28" y="3"/>
                  </a:cubicBezTo>
                  <a:cubicBezTo>
                    <a:pt x="32" y="6"/>
                    <a:pt x="34" y="9"/>
                    <a:pt x="34" y="13"/>
                  </a:cubicBezTo>
                  <a:cubicBezTo>
                    <a:pt x="35" y="15"/>
                    <a:pt x="35" y="18"/>
                    <a:pt x="34" y="20"/>
                  </a:cubicBezTo>
                  <a:cubicBezTo>
                    <a:pt x="34" y="22"/>
                    <a:pt x="33" y="25"/>
                    <a:pt x="31" y="27"/>
                  </a:cubicBezTo>
                  <a:cubicBezTo>
                    <a:pt x="30" y="29"/>
                    <a:pt x="28" y="32"/>
                    <a:pt x="26" y="35"/>
                  </a:cubicBezTo>
                  <a:cubicBezTo>
                    <a:pt x="23" y="38"/>
                    <a:pt x="21" y="41"/>
                    <a:pt x="20" y="42"/>
                  </a:cubicBezTo>
                  <a:cubicBezTo>
                    <a:pt x="20" y="43"/>
                    <a:pt x="19" y="44"/>
                    <a:pt x="19" y="45"/>
                  </a:cubicBezTo>
                  <a:lnTo>
                    <a:pt x="39" y="4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1049766" name="íṧlíḍe"/>
            <p:cNvSpPr/>
            <p:nvPr/>
          </p:nvSpPr>
          <p:spPr bwMode="auto">
            <a:xfrm>
              <a:off x="2611334" y="6072778"/>
              <a:ext cx="22225" cy="23813"/>
            </a:xfrm>
            <a:custGeom>
              <a:avLst/>
              <a:gdLst>
                <a:gd name="T0" fmla="*/ 3 w 14"/>
                <a:gd name="T1" fmla="*/ 15 h 15"/>
                <a:gd name="T2" fmla="*/ 0 w 14"/>
                <a:gd name="T3" fmla="*/ 3 h 15"/>
                <a:gd name="T4" fmla="*/ 11 w 14"/>
                <a:gd name="T5" fmla="*/ 0 h 15"/>
                <a:gd name="T6" fmla="*/ 14 w 14"/>
                <a:gd name="T7" fmla="*/ 12 h 15"/>
                <a:gd name="T8" fmla="*/ 3 w 14"/>
                <a:gd name="T9" fmla="*/ 15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" h="15">
                  <a:moveTo>
                    <a:pt x="3" y="15"/>
                  </a:moveTo>
                  <a:lnTo>
                    <a:pt x="0" y="3"/>
                  </a:lnTo>
                  <a:lnTo>
                    <a:pt x="11" y="0"/>
                  </a:lnTo>
                  <a:lnTo>
                    <a:pt x="14" y="12"/>
                  </a:lnTo>
                  <a:lnTo>
                    <a:pt x="3" y="15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1049767" name="îŝľîḓê"/>
            <p:cNvSpPr/>
            <p:nvPr/>
          </p:nvSpPr>
          <p:spPr bwMode="auto">
            <a:xfrm>
              <a:off x="2108097" y="5261565"/>
              <a:ext cx="141288" cy="257175"/>
            </a:xfrm>
            <a:custGeom>
              <a:avLst/>
              <a:gdLst>
                <a:gd name="T0" fmla="*/ 12 w 77"/>
                <a:gd name="T1" fmla="*/ 25 h 139"/>
                <a:gd name="T2" fmla="*/ 9 w 77"/>
                <a:gd name="T3" fmla="*/ 21 h 139"/>
                <a:gd name="T4" fmla="*/ 12 w 77"/>
                <a:gd name="T5" fmla="*/ 17 h 139"/>
                <a:gd name="T6" fmla="*/ 39 w 77"/>
                <a:gd name="T7" fmla="*/ 21 h 139"/>
                <a:gd name="T8" fmla="*/ 46 w 77"/>
                <a:gd name="T9" fmla="*/ 36 h 139"/>
                <a:gd name="T10" fmla="*/ 46 w 77"/>
                <a:gd name="T11" fmla="*/ 39 h 139"/>
                <a:gd name="T12" fmla="*/ 61 w 77"/>
                <a:gd name="T13" fmla="*/ 33 h 139"/>
                <a:gd name="T14" fmla="*/ 57 w 77"/>
                <a:gd name="T15" fmla="*/ 16 h 139"/>
                <a:gd name="T16" fmla="*/ 35 w 77"/>
                <a:gd name="T17" fmla="*/ 9 h 139"/>
                <a:gd name="T18" fmla="*/ 27 w 77"/>
                <a:gd name="T19" fmla="*/ 3 h 139"/>
                <a:gd name="T20" fmla="*/ 32 w 77"/>
                <a:gd name="T21" fmla="*/ 0 h 139"/>
                <a:gd name="T22" fmla="*/ 61 w 77"/>
                <a:gd name="T23" fmla="*/ 9 h 139"/>
                <a:gd name="T24" fmla="*/ 72 w 77"/>
                <a:gd name="T25" fmla="*/ 30 h 139"/>
                <a:gd name="T26" fmla="*/ 48 w 77"/>
                <a:gd name="T27" fmla="*/ 45 h 139"/>
                <a:gd name="T28" fmla="*/ 45 w 77"/>
                <a:gd name="T29" fmla="*/ 46 h 139"/>
                <a:gd name="T30" fmla="*/ 45 w 77"/>
                <a:gd name="T31" fmla="*/ 54 h 139"/>
                <a:gd name="T32" fmla="*/ 59 w 77"/>
                <a:gd name="T33" fmla="*/ 61 h 139"/>
                <a:gd name="T34" fmla="*/ 77 w 77"/>
                <a:gd name="T35" fmla="*/ 80 h 139"/>
                <a:gd name="T36" fmla="*/ 75 w 77"/>
                <a:gd name="T37" fmla="*/ 84 h 139"/>
                <a:gd name="T38" fmla="*/ 71 w 77"/>
                <a:gd name="T39" fmla="*/ 83 h 139"/>
                <a:gd name="T40" fmla="*/ 59 w 77"/>
                <a:gd name="T41" fmla="*/ 70 h 139"/>
                <a:gd name="T42" fmla="*/ 45 w 77"/>
                <a:gd name="T43" fmla="*/ 63 h 139"/>
                <a:gd name="T44" fmla="*/ 45 w 77"/>
                <a:gd name="T45" fmla="*/ 77 h 139"/>
                <a:gd name="T46" fmla="*/ 53 w 77"/>
                <a:gd name="T47" fmla="*/ 83 h 139"/>
                <a:gd name="T48" fmla="*/ 66 w 77"/>
                <a:gd name="T49" fmla="*/ 102 h 139"/>
                <a:gd name="T50" fmla="*/ 72 w 77"/>
                <a:gd name="T51" fmla="*/ 121 h 139"/>
                <a:gd name="T52" fmla="*/ 70 w 77"/>
                <a:gd name="T53" fmla="*/ 124 h 139"/>
                <a:gd name="T54" fmla="*/ 67 w 77"/>
                <a:gd name="T55" fmla="*/ 122 h 139"/>
                <a:gd name="T56" fmla="*/ 64 w 77"/>
                <a:gd name="T57" fmla="*/ 115 h 139"/>
                <a:gd name="T58" fmla="*/ 55 w 77"/>
                <a:gd name="T59" fmla="*/ 97 h 139"/>
                <a:gd name="T60" fmla="*/ 45 w 77"/>
                <a:gd name="T61" fmla="*/ 87 h 139"/>
                <a:gd name="T62" fmla="*/ 45 w 77"/>
                <a:gd name="T63" fmla="*/ 102 h 139"/>
                <a:gd name="T64" fmla="*/ 44 w 77"/>
                <a:gd name="T65" fmla="*/ 136 h 139"/>
                <a:gd name="T66" fmla="*/ 41 w 77"/>
                <a:gd name="T67" fmla="*/ 139 h 139"/>
                <a:gd name="T68" fmla="*/ 38 w 77"/>
                <a:gd name="T69" fmla="*/ 137 h 139"/>
                <a:gd name="T70" fmla="*/ 37 w 77"/>
                <a:gd name="T71" fmla="*/ 103 h 139"/>
                <a:gd name="T72" fmla="*/ 37 w 77"/>
                <a:gd name="T73" fmla="*/ 86 h 139"/>
                <a:gd name="T74" fmla="*/ 28 w 77"/>
                <a:gd name="T75" fmla="*/ 92 h 139"/>
                <a:gd name="T76" fmla="*/ 19 w 77"/>
                <a:gd name="T77" fmla="*/ 109 h 139"/>
                <a:gd name="T78" fmla="*/ 12 w 77"/>
                <a:gd name="T79" fmla="*/ 121 h 139"/>
                <a:gd name="T80" fmla="*/ 8 w 77"/>
                <a:gd name="T81" fmla="*/ 122 h 139"/>
                <a:gd name="T82" fmla="*/ 7 w 77"/>
                <a:gd name="T83" fmla="*/ 120 h 139"/>
                <a:gd name="T84" fmla="*/ 8 w 77"/>
                <a:gd name="T85" fmla="*/ 117 h 139"/>
                <a:gd name="T86" fmla="*/ 11 w 77"/>
                <a:gd name="T87" fmla="*/ 106 h 139"/>
                <a:gd name="T88" fmla="*/ 22 w 77"/>
                <a:gd name="T89" fmla="*/ 86 h 139"/>
                <a:gd name="T90" fmla="*/ 37 w 77"/>
                <a:gd name="T91" fmla="*/ 76 h 139"/>
                <a:gd name="T92" fmla="*/ 37 w 77"/>
                <a:gd name="T93" fmla="*/ 68 h 139"/>
                <a:gd name="T94" fmla="*/ 37 w 77"/>
                <a:gd name="T95" fmla="*/ 63 h 139"/>
                <a:gd name="T96" fmla="*/ 24 w 77"/>
                <a:gd name="T97" fmla="*/ 69 h 139"/>
                <a:gd name="T98" fmla="*/ 16 w 77"/>
                <a:gd name="T99" fmla="*/ 77 h 139"/>
                <a:gd name="T100" fmla="*/ 9 w 77"/>
                <a:gd name="T101" fmla="*/ 85 h 139"/>
                <a:gd name="T102" fmla="*/ 6 w 77"/>
                <a:gd name="T103" fmla="*/ 86 h 139"/>
                <a:gd name="T104" fmla="*/ 5 w 77"/>
                <a:gd name="T105" fmla="*/ 82 h 139"/>
                <a:gd name="T106" fmla="*/ 22 w 77"/>
                <a:gd name="T107" fmla="*/ 60 h 139"/>
                <a:gd name="T108" fmla="*/ 37 w 77"/>
                <a:gd name="T109" fmla="*/ 54 h 139"/>
                <a:gd name="T110" fmla="*/ 37 w 77"/>
                <a:gd name="T111" fmla="*/ 47 h 139"/>
                <a:gd name="T112" fmla="*/ 3 w 77"/>
                <a:gd name="T113" fmla="*/ 45 h 139"/>
                <a:gd name="T114" fmla="*/ 0 w 77"/>
                <a:gd name="T115" fmla="*/ 40 h 139"/>
                <a:gd name="T116" fmla="*/ 5 w 77"/>
                <a:gd name="T117" fmla="*/ 38 h 139"/>
                <a:gd name="T118" fmla="*/ 37 w 77"/>
                <a:gd name="T119" fmla="*/ 39 h 139"/>
                <a:gd name="T120" fmla="*/ 37 w 77"/>
                <a:gd name="T121" fmla="*/ 39 h 139"/>
                <a:gd name="T122" fmla="*/ 33 w 77"/>
                <a:gd name="T123" fmla="*/ 28 h 139"/>
                <a:gd name="T124" fmla="*/ 12 w 77"/>
                <a:gd name="T125" fmla="*/ 25 h 1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77" h="139">
                  <a:moveTo>
                    <a:pt x="12" y="25"/>
                  </a:moveTo>
                  <a:cubicBezTo>
                    <a:pt x="10" y="25"/>
                    <a:pt x="9" y="24"/>
                    <a:pt x="9" y="21"/>
                  </a:cubicBezTo>
                  <a:cubicBezTo>
                    <a:pt x="9" y="18"/>
                    <a:pt x="10" y="17"/>
                    <a:pt x="12" y="17"/>
                  </a:cubicBezTo>
                  <a:cubicBezTo>
                    <a:pt x="24" y="17"/>
                    <a:pt x="33" y="18"/>
                    <a:pt x="39" y="21"/>
                  </a:cubicBezTo>
                  <a:cubicBezTo>
                    <a:pt x="45" y="24"/>
                    <a:pt x="47" y="28"/>
                    <a:pt x="46" y="36"/>
                  </a:cubicBezTo>
                  <a:cubicBezTo>
                    <a:pt x="46" y="37"/>
                    <a:pt x="46" y="38"/>
                    <a:pt x="46" y="39"/>
                  </a:cubicBezTo>
                  <a:cubicBezTo>
                    <a:pt x="53" y="38"/>
                    <a:pt x="58" y="35"/>
                    <a:pt x="61" y="33"/>
                  </a:cubicBezTo>
                  <a:cubicBezTo>
                    <a:pt x="65" y="27"/>
                    <a:pt x="64" y="22"/>
                    <a:pt x="57" y="16"/>
                  </a:cubicBezTo>
                  <a:cubicBezTo>
                    <a:pt x="52" y="12"/>
                    <a:pt x="44" y="9"/>
                    <a:pt x="35" y="9"/>
                  </a:cubicBezTo>
                  <a:cubicBezTo>
                    <a:pt x="30" y="8"/>
                    <a:pt x="28" y="6"/>
                    <a:pt x="27" y="3"/>
                  </a:cubicBezTo>
                  <a:cubicBezTo>
                    <a:pt x="27" y="1"/>
                    <a:pt x="29" y="0"/>
                    <a:pt x="32" y="0"/>
                  </a:cubicBezTo>
                  <a:cubicBezTo>
                    <a:pt x="44" y="0"/>
                    <a:pt x="53" y="3"/>
                    <a:pt x="61" y="9"/>
                  </a:cubicBezTo>
                  <a:cubicBezTo>
                    <a:pt x="69" y="16"/>
                    <a:pt x="73" y="23"/>
                    <a:pt x="72" y="30"/>
                  </a:cubicBezTo>
                  <a:cubicBezTo>
                    <a:pt x="68" y="37"/>
                    <a:pt x="60" y="43"/>
                    <a:pt x="48" y="45"/>
                  </a:cubicBezTo>
                  <a:cubicBezTo>
                    <a:pt x="47" y="46"/>
                    <a:pt x="46" y="46"/>
                    <a:pt x="45" y="46"/>
                  </a:cubicBezTo>
                  <a:cubicBezTo>
                    <a:pt x="45" y="48"/>
                    <a:pt x="45" y="51"/>
                    <a:pt x="45" y="54"/>
                  </a:cubicBezTo>
                  <a:cubicBezTo>
                    <a:pt x="49" y="54"/>
                    <a:pt x="54" y="57"/>
                    <a:pt x="59" y="61"/>
                  </a:cubicBezTo>
                  <a:cubicBezTo>
                    <a:pt x="66" y="66"/>
                    <a:pt x="72" y="72"/>
                    <a:pt x="77" y="80"/>
                  </a:cubicBezTo>
                  <a:cubicBezTo>
                    <a:pt x="77" y="82"/>
                    <a:pt x="77" y="83"/>
                    <a:pt x="75" y="84"/>
                  </a:cubicBezTo>
                  <a:cubicBezTo>
                    <a:pt x="74" y="85"/>
                    <a:pt x="72" y="85"/>
                    <a:pt x="71" y="83"/>
                  </a:cubicBezTo>
                  <a:cubicBezTo>
                    <a:pt x="69" y="80"/>
                    <a:pt x="65" y="76"/>
                    <a:pt x="59" y="70"/>
                  </a:cubicBezTo>
                  <a:cubicBezTo>
                    <a:pt x="54" y="66"/>
                    <a:pt x="49" y="64"/>
                    <a:pt x="45" y="63"/>
                  </a:cubicBezTo>
                  <a:cubicBezTo>
                    <a:pt x="45" y="77"/>
                    <a:pt x="45" y="77"/>
                    <a:pt x="45" y="77"/>
                  </a:cubicBezTo>
                  <a:cubicBezTo>
                    <a:pt x="48" y="78"/>
                    <a:pt x="51" y="80"/>
                    <a:pt x="53" y="83"/>
                  </a:cubicBezTo>
                  <a:cubicBezTo>
                    <a:pt x="59" y="88"/>
                    <a:pt x="63" y="94"/>
                    <a:pt x="66" y="102"/>
                  </a:cubicBezTo>
                  <a:cubicBezTo>
                    <a:pt x="71" y="109"/>
                    <a:pt x="73" y="116"/>
                    <a:pt x="72" y="121"/>
                  </a:cubicBezTo>
                  <a:cubicBezTo>
                    <a:pt x="72" y="122"/>
                    <a:pt x="72" y="123"/>
                    <a:pt x="70" y="124"/>
                  </a:cubicBezTo>
                  <a:cubicBezTo>
                    <a:pt x="69" y="124"/>
                    <a:pt x="68" y="124"/>
                    <a:pt x="67" y="122"/>
                  </a:cubicBezTo>
                  <a:cubicBezTo>
                    <a:pt x="67" y="121"/>
                    <a:pt x="66" y="118"/>
                    <a:pt x="64" y="115"/>
                  </a:cubicBezTo>
                  <a:cubicBezTo>
                    <a:pt x="60" y="107"/>
                    <a:pt x="57" y="102"/>
                    <a:pt x="55" y="97"/>
                  </a:cubicBezTo>
                  <a:cubicBezTo>
                    <a:pt x="51" y="91"/>
                    <a:pt x="48" y="88"/>
                    <a:pt x="45" y="87"/>
                  </a:cubicBezTo>
                  <a:cubicBezTo>
                    <a:pt x="45" y="102"/>
                    <a:pt x="45" y="102"/>
                    <a:pt x="45" y="102"/>
                  </a:cubicBezTo>
                  <a:cubicBezTo>
                    <a:pt x="45" y="117"/>
                    <a:pt x="45" y="128"/>
                    <a:pt x="44" y="136"/>
                  </a:cubicBezTo>
                  <a:cubicBezTo>
                    <a:pt x="43" y="137"/>
                    <a:pt x="42" y="138"/>
                    <a:pt x="41" y="139"/>
                  </a:cubicBezTo>
                  <a:cubicBezTo>
                    <a:pt x="40" y="139"/>
                    <a:pt x="39" y="139"/>
                    <a:pt x="38" y="137"/>
                  </a:cubicBezTo>
                  <a:cubicBezTo>
                    <a:pt x="37" y="135"/>
                    <a:pt x="37" y="123"/>
                    <a:pt x="37" y="103"/>
                  </a:cubicBezTo>
                  <a:cubicBezTo>
                    <a:pt x="37" y="97"/>
                    <a:pt x="37" y="92"/>
                    <a:pt x="37" y="86"/>
                  </a:cubicBezTo>
                  <a:cubicBezTo>
                    <a:pt x="34" y="87"/>
                    <a:pt x="31" y="89"/>
                    <a:pt x="28" y="92"/>
                  </a:cubicBezTo>
                  <a:cubicBezTo>
                    <a:pt x="24" y="98"/>
                    <a:pt x="21" y="103"/>
                    <a:pt x="19" y="109"/>
                  </a:cubicBezTo>
                  <a:cubicBezTo>
                    <a:pt x="17" y="113"/>
                    <a:pt x="15" y="117"/>
                    <a:pt x="12" y="121"/>
                  </a:cubicBezTo>
                  <a:cubicBezTo>
                    <a:pt x="11" y="122"/>
                    <a:pt x="9" y="122"/>
                    <a:pt x="8" y="122"/>
                  </a:cubicBezTo>
                  <a:cubicBezTo>
                    <a:pt x="7" y="122"/>
                    <a:pt x="7" y="121"/>
                    <a:pt x="7" y="120"/>
                  </a:cubicBezTo>
                  <a:cubicBezTo>
                    <a:pt x="7" y="119"/>
                    <a:pt x="7" y="118"/>
                    <a:pt x="8" y="117"/>
                  </a:cubicBezTo>
                  <a:cubicBezTo>
                    <a:pt x="9" y="112"/>
                    <a:pt x="10" y="108"/>
                    <a:pt x="11" y="106"/>
                  </a:cubicBezTo>
                  <a:cubicBezTo>
                    <a:pt x="13" y="101"/>
                    <a:pt x="17" y="94"/>
                    <a:pt x="22" y="86"/>
                  </a:cubicBezTo>
                  <a:cubicBezTo>
                    <a:pt x="27" y="80"/>
                    <a:pt x="32" y="77"/>
                    <a:pt x="37" y="76"/>
                  </a:cubicBezTo>
                  <a:cubicBezTo>
                    <a:pt x="37" y="68"/>
                    <a:pt x="37" y="68"/>
                    <a:pt x="37" y="68"/>
                  </a:cubicBezTo>
                  <a:cubicBezTo>
                    <a:pt x="37" y="63"/>
                    <a:pt x="37" y="63"/>
                    <a:pt x="37" y="63"/>
                  </a:cubicBezTo>
                  <a:cubicBezTo>
                    <a:pt x="33" y="64"/>
                    <a:pt x="29" y="66"/>
                    <a:pt x="24" y="69"/>
                  </a:cubicBezTo>
                  <a:cubicBezTo>
                    <a:pt x="23" y="70"/>
                    <a:pt x="20" y="72"/>
                    <a:pt x="16" y="77"/>
                  </a:cubicBezTo>
                  <a:cubicBezTo>
                    <a:pt x="13" y="81"/>
                    <a:pt x="11" y="83"/>
                    <a:pt x="9" y="85"/>
                  </a:cubicBezTo>
                  <a:cubicBezTo>
                    <a:pt x="8" y="86"/>
                    <a:pt x="7" y="87"/>
                    <a:pt x="6" y="86"/>
                  </a:cubicBezTo>
                  <a:cubicBezTo>
                    <a:pt x="5" y="86"/>
                    <a:pt x="5" y="84"/>
                    <a:pt x="5" y="82"/>
                  </a:cubicBezTo>
                  <a:cubicBezTo>
                    <a:pt x="10" y="73"/>
                    <a:pt x="15" y="65"/>
                    <a:pt x="22" y="60"/>
                  </a:cubicBezTo>
                  <a:cubicBezTo>
                    <a:pt x="27" y="56"/>
                    <a:pt x="32" y="54"/>
                    <a:pt x="37" y="54"/>
                  </a:cubicBezTo>
                  <a:cubicBezTo>
                    <a:pt x="37" y="47"/>
                    <a:pt x="37" y="47"/>
                    <a:pt x="37" y="47"/>
                  </a:cubicBezTo>
                  <a:cubicBezTo>
                    <a:pt x="22" y="49"/>
                    <a:pt x="10" y="48"/>
                    <a:pt x="3" y="45"/>
                  </a:cubicBezTo>
                  <a:cubicBezTo>
                    <a:pt x="1" y="44"/>
                    <a:pt x="0" y="42"/>
                    <a:pt x="0" y="40"/>
                  </a:cubicBezTo>
                  <a:cubicBezTo>
                    <a:pt x="1" y="38"/>
                    <a:pt x="3" y="38"/>
                    <a:pt x="5" y="38"/>
                  </a:cubicBezTo>
                  <a:cubicBezTo>
                    <a:pt x="12" y="40"/>
                    <a:pt x="22" y="40"/>
                    <a:pt x="37" y="39"/>
                  </a:cubicBezTo>
                  <a:cubicBezTo>
                    <a:pt x="37" y="39"/>
                    <a:pt x="37" y="39"/>
                    <a:pt x="37" y="39"/>
                  </a:cubicBezTo>
                  <a:cubicBezTo>
                    <a:pt x="38" y="32"/>
                    <a:pt x="36" y="29"/>
                    <a:pt x="33" y="28"/>
                  </a:cubicBezTo>
                  <a:cubicBezTo>
                    <a:pt x="26" y="25"/>
                    <a:pt x="19" y="24"/>
                    <a:pt x="12" y="2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1049768" name="íṣlíḑe"/>
            <p:cNvSpPr/>
            <p:nvPr/>
          </p:nvSpPr>
          <p:spPr bwMode="auto">
            <a:xfrm>
              <a:off x="2273197" y="5255215"/>
              <a:ext cx="163513" cy="263525"/>
            </a:xfrm>
            <a:custGeom>
              <a:avLst/>
              <a:gdLst>
                <a:gd name="T0" fmla="*/ 47 w 88"/>
                <a:gd name="T1" fmla="*/ 8 h 143"/>
                <a:gd name="T2" fmla="*/ 74 w 88"/>
                <a:gd name="T3" fmla="*/ 14 h 143"/>
                <a:gd name="T4" fmla="*/ 82 w 88"/>
                <a:gd name="T5" fmla="*/ 26 h 143"/>
                <a:gd name="T6" fmla="*/ 79 w 88"/>
                <a:gd name="T7" fmla="*/ 75 h 143"/>
                <a:gd name="T8" fmla="*/ 86 w 88"/>
                <a:gd name="T9" fmla="*/ 136 h 143"/>
                <a:gd name="T10" fmla="*/ 73 w 88"/>
                <a:gd name="T11" fmla="*/ 45 h 143"/>
                <a:gd name="T12" fmla="*/ 67 w 88"/>
                <a:gd name="T13" fmla="*/ 44 h 143"/>
                <a:gd name="T14" fmla="*/ 54 w 88"/>
                <a:gd name="T15" fmla="*/ 58 h 143"/>
                <a:gd name="T16" fmla="*/ 22 w 88"/>
                <a:gd name="T17" fmla="*/ 54 h 143"/>
                <a:gd name="T18" fmla="*/ 15 w 88"/>
                <a:gd name="T19" fmla="*/ 45 h 143"/>
                <a:gd name="T20" fmla="*/ 11 w 88"/>
                <a:gd name="T21" fmla="*/ 91 h 143"/>
                <a:gd name="T22" fmla="*/ 9 w 88"/>
                <a:gd name="T23" fmla="*/ 118 h 143"/>
                <a:gd name="T24" fmla="*/ 2 w 88"/>
                <a:gd name="T25" fmla="*/ 139 h 143"/>
                <a:gd name="T26" fmla="*/ 6 w 88"/>
                <a:gd name="T27" fmla="*/ 80 h 143"/>
                <a:gd name="T28" fmla="*/ 2 w 88"/>
                <a:gd name="T29" fmla="*/ 26 h 143"/>
                <a:gd name="T30" fmla="*/ 32 w 88"/>
                <a:gd name="T31" fmla="*/ 10 h 143"/>
                <a:gd name="T32" fmla="*/ 39 w 88"/>
                <a:gd name="T33" fmla="*/ 0 h 143"/>
                <a:gd name="T34" fmla="*/ 24 w 88"/>
                <a:gd name="T35" fmla="*/ 23 h 143"/>
                <a:gd name="T36" fmla="*/ 66 w 88"/>
                <a:gd name="T37" fmla="*/ 29 h 143"/>
                <a:gd name="T38" fmla="*/ 67 w 88"/>
                <a:gd name="T39" fmla="*/ 37 h 143"/>
                <a:gd name="T40" fmla="*/ 73 w 88"/>
                <a:gd name="T41" fmla="*/ 34 h 143"/>
                <a:gd name="T42" fmla="*/ 66 w 88"/>
                <a:gd name="T43" fmla="*/ 20 h 143"/>
                <a:gd name="T44" fmla="*/ 13 w 88"/>
                <a:gd name="T45" fmla="*/ 21 h 143"/>
                <a:gd name="T46" fmla="*/ 12 w 88"/>
                <a:gd name="T47" fmla="*/ 32 h 143"/>
                <a:gd name="T48" fmla="*/ 17 w 88"/>
                <a:gd name="T49" fmla="*/ 38 h 143"/>
                <a:gd name="T50" fmla="*/ 24 w 88"/>
                <a:gd name="T51" fmla="*/ 23 h 143"/>
                <a:gd name="T52" fmla="*/ 61 w 88"/>
                <a:gd name="T53" fmla="*/ 64 h 143"/>
                <a:gd name="T54" fmla="*/ 66 w 88"/>
                <a:gd name="T55" fmla="*/ 96 h 143"/>
                <a:gd name="T56" fmla="*/ 61 w 88"/>
                <a:gd name="T57" fmla="*/ 136 h 143"/>
                <a:gd name="T58" fmla="*/ 59 w 88"/>
                <a:gd name="T59" fmla="*/ 143 h 143"/>
                <a:gd name="T60" fmla="*/ 46 w 88"/>
                <a:gd name="T61" fmla="*/ 105 h 143"/>
                <a:gd name="T62" fmla="*/ 30 w 88"/>
                <a:gd name="T63" fmla="*/ 140 h 143"/>
                <a:gd name="T64" fmla="*/ 26 w 88"/>
                <a:gd name="T65" fmla="*/ 137 h 143"/>
                <a:gd name="T66" fmla="*/ 32 w 88"/>
                <a:gd name="T67" fmla="*/ 121 h 143"/>
                <a:gd name="T68" fmla="*/ 35 w 88"/>
                <a:gd name="T69" fmla="*/ 105 h 143"/>
                <a:gd name="T70" fmla="*/ 18 w 88"/>
                <a:gd name="T71" fmla="*/ 75 h 143"/>
                <a:gd name="T72" fmla="*/ 24 w 88"/>
                <a:gd name="T73" fmla="*/ 35 h 143"/>
                <a:gd name="T74" fmla="*/ 39 w 88"/>
                <a:gd name="T75" fmla="*/ 37 h 143"/>
                <a:gd name="T76" fmla="*/ 34 w 88"/>
                <a:gd name="T77" fmla="*/ 29 h 143"/>
                <a:gd name="T78" fmla="*/ 24 w 88"/>
                <a:gd name="T79" fmla="*/ 35 h 143"/>
                <a:gd name="T80" fmla="*/ 62 w 88"/>
                <a:gd name="T81" fmla="*/ 84 h 143"/>
                <a:gd name="T82" fmla="*/ 43 w 88"/>
                <a:gd name="T83" fmla="*/ 81 h 143"/>
                <a:gd name="T84" fmla="*/ 25 w 88"/>
                <a:gd name="T85" fmla="*/ 87 h 143"/>
                <a:gd name="T86" fmla="*/ 26 w 88"/>
                <a:gd name="T87" fmla="*/ 48 h 143"/>
                <a:gd name="T88" fmla="*/ 38 w 88"/>
                <a:gd name="T89" fmla="*/ 52 h 143"/>
                <a:gd name="T90" fmla="*/ 25 w 88"/>
                <a:gd name="T91" fmla="*/ 44 h 143"/>
                <a:gd name="T92" fmla="*/ 32 w 88"/>
                <a:gd name="T93" fmla="*/ 69 h 143"/>
                <a:gd name="T94" fmla="*/ 41 w 88"/>
                <a:gd name="T95" fmla="*/ 75 h 143"/>
                <a:gd name="T96" fmla="*/ 57 w 88"/>
                <a:gd name="T97" fmla="*/ 70 h 143"/>
                <a:gd name="T98" fmla="*/ 56 w 88"/>
                <a:gd name="T99" fmla="*/ 98 h 143"/>
                <a:gd name="T100" fmla="*/ 54 w 88"/>
                <a:gd name="T101" fmla="*/ 93 h 143"/>
                <a:gd name="T102" fmla="*/ 36 w 88"/>
                <a:gd name="T103" fmla="*/ 93 h 143"/>
                <a:gd name="T104" fmla="*/ 32 w 88"/>
                <a:gd name="T105" fmla="*/ 98 h 143"/>
                <a:gd name="T106" fmla="*/ 56 w 88"/>
                <a:gd name="T107" fmla="*/ 29 h 143"/>
                <a:gd name="T108" fmla="*/ 46 w 88"/>
                <a:gd name="T109" fmla="*/ 29 h 143"/>
                <a:gd name="T110" fmla="*/ 60 w 88"/>
                <a:gd name="T111" fmla="*/ 37 h 143"/>
                <a:gd name="T112" fmla="*/ 56 w 88"/>
                <a:gd name="T113" fmla="*/ 29 h 143"/>
                <a:gd name="T114" fmla="*/ 60 w 88"/>
                <a:gd name="T115" fmla="*/ 43 h 143"/>
                <a:gd name="T116" fmla="*/ 46 w 88"/>
                <a:gd name="T117" fmla="*/ 52 h 143"/>
                <a:gd name="T118" fmla="*/ 59 w 88"/>
                <a:gd name="T119" fmla="*/ 48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88" h="143">
                  <a:moveTo>
                    <a:pt x="43" y="2"/>
                  </a:moveTo>
                  <a:cubicBezTo>
                    <a:pt x="45" y="3"/>
                    <a:pt x="47" y="6"/>
                    <a:pt x="47" y="8"/>
                  </a:cubicBezTo>
                  <a:cubicBezTo>
                    <a:pt x="47" y="9"/>
                    <a:pt x="48" y="10"/>
                    <a:pt x="49" y="10"/>
                  </a:cubicBezTo>
                  <a:cubicBezTo>
                    <a:pt x="57" y="10"/>
                    <a:pt x="66" y="12"/>
                    <a:pt x="74" y="14"/>
                  </a:cubicBezTo>
                  <a:cubicBezTo>
                    <a:pt x="78" y="16"/>
                    <a:pt x="81" y="18"/>
                    <a:pt x="81" y="19"/>
                  </a:cubicBezTo>
                  <a:cubicBezTo>
                    <a:pt x="82" y="21"/>
                    <a:pt x="82" y="24"/>
                    <a:pt x="82" y="26"/>
                  </a:cubicBezTo>
                  <a:cubicBezTo>
                    <a:pt x="82" y="27"/>
                    <a:pt x="82" y="27"/>
                    <a:pt x="82" y="28"/>
                  </a:cubicBezTo>
                  <a:cubicBezTo>
                    <a:pt x="79" y="39"/>
                    <a:pt x="78" y="55"/>
                    <a:pt x="79" y="75"/>
                  </a:cubicBezTo>
                  <a:cubicBezTo>
                    <a:pt x="80" y="87"/>
                    <a:pt x="83" y="106"/>
                    <a:pt x="87" y="131"/>
                  </a:cubicBezTo>
                  <a:cubicBezTo>
                    <a:pt x="88" y="134"/>
                    <a:pt x="87" y="135"/>
                    <a:pt x="86" y="136"/>
                  </a:cubicBezTo>
                  <a:cubicBezTo>
                    <a:pt x="84" y="137"/>
                    <a:pt x="82" y="136"/>
                    <a:pt x="82" y="133"/>
                  </a:cubicBezTo>
                  <a:cubicBezTo>
                    <a:pt x="74" y="106"/>
                    <a:pt x="71" y="76"/>
                    <a:pt x="73" y="45"/>
                  </a:cubicBezTo>
                  <a:cubicBezTo>
                    <a:pt x="72" y="45"/>
                    <a:pt x="71" y="44"/>
                    <a:pt x="70" y="44"/>
                  </a:cubicBezTo>
                  <a:cubicBezTo>
                    <a:pt x="69" y="44"/>
                    <a:pt x="68" y="44"/>
                    <a:pt x="67" y="44"/>
                  </a:cubicBezTo>
                  <a:cubicBezTo>
                    <a:pt x="67" y="48"/>
                    <a:pt x="66" y="51"/>
                    <a:pt x="64" y="54"/>
                  </a:cubicBezTo>
                  <a:cubicBezTo>
                    <a:pt x="62" y="57"/>
                    <a:pt x="59" y="59"/>
                    <a:pt x="54" y="58"/>
                  </a:cubicBezTo>
                  <a:cubicBezTo>
                    <a:pt x="47" y="58"/>
                    <a:pt x="39" y="58"/>
                    <a:pt x="32" y="58"/>
                  </a:cubicBezTo>
                  <a:cubicBezTo>
                    <a:pt x="28" y="59"/>
                    <a:pt x="25" y="58"/>
                    <a:pt x="22" y="54"/>
                  </a:cubicBezTo>
                  <a:cubicBezTo>
                    <a:pt x="20" y="51"/>
                    <a:pt x="19" y="48"/>
                    <a:pt x="18" y="45"/>
                  </a:cubicBezTo>
                  <a:cubicBezTo>
                    <a:pt x="17" y="45"/>
                    <a:pt x="16" y="45"/>
                    <a:pt x="15" y="45"/>
                  </a:cubicBezTo>
                  <a:cubicBezTo>
                    <a:pt x="14" y="45"/>
                    <a:pt x="13" y="45"/>
                    <a:pt x="13" y="45"/>
                  </a:cubicBezTo>
                  <a:cubicBezTo>
                    <a:pt x="13" y="60"/>
                    <a:pt x="13" y="75"/>
                    <a:pt x="11" y="91"/>
                  </a:cubicBezTo>
                  <a:cubicBezTo>
                    <a:pt x="11" y="95"/>
                    <a:pt x="11" y="102"/>
                    <a:pt x="10" y="111"/>
                  </a:cubicBezTo>
                  <a:cubicBezTo>
                    <a:pt x="10" y="108"/>
                    <a:pt x="10" y="111"/>
                    <a:pt x="9" y="118"/>
                  </a:cubicBezTo>
                  <a:cubicBezTo>
                    <a:pt x="9" y="124"/>
                    <a:pt x="8" y="130"/>
                    <a:pt x="6" y="134"/>
                  </a:cubicBezTo>
                  <a:cubicBezTo>
                    <a:pt x="5" y="138"/>
                    <a:pt x="3" y="139"/>
                    <a:pt x="2" y="139"/>
                  </a:cubicBezTo>
                  <a:cubicBezTo>
                    <a:pt x="0" y="139"/>
                    <a:pt x="0" y="137"/>
                    <a:pt x="0" y="133"/>
                  </a:cubicBezTo>
                  <a:cubicBezTo>
                    <a:pt x="3" y="112"/>
                    <a:pt x="5" y="94"/>
                    <a:pt x="6" y="80"/>
                  </a:cubicBezTo>
                  <a:cubicBezTo>
                    <a:pt x="8" y="64"/>
                    <a:pt x="7" y="51"/>
                    <a:pt x="6" y="38"/>
                  </a:cubicBezTo>
                  <a:cubicBezTo>
                    <a:pt x="5" y="34"/>
                    <a:pt x="4" y="30"/>
                    <a:pt x="2" y="26"/>
                  </a:cubicBezTo>
                  <a:cubicBezTo>
                    <a:pt x="0" y="21"/>
                    <a:pt x="1" y="17"/>
                    <a:pt x="6" y="16"/>
                  </a:cubicBezTo>
                  <a:cubicBezTo>
                    <a:pt x="14" y="12"/>
                    <a:pt x="23" y="11"/>
                    <a:pt x="32" y="10"/>
                  </a:cubicBezTo>
                  <a:cubicBezTo>
                    <a:pt x="36" y="9"/>
                    <a:pt x="38" y="7"/>
                    <a:pt x="38" y="4"/>
                  </a:cubicBezTo>
                  <a:cubicBezTo>
                    <a:pt x="38" y="2"/>
                    <a:pt x="38" y="1"/>
                    <a:pt x="39" y="0"/>
                  </a:cubicBezTo>
                  <a:cubicBezTo>
                    <a:pt x="41" y="0"/>
                    <a:pt x="42" y="0"/>
                    <a:pt x="43" y="2"/>
                  </a:cubicBezTo>
                  <a:close/>
                  <a:moveTo>
                    <a:pt x="24" y="23"/>
                  </a:moveTo>
                  <a:cubicBezTo>
                    <a:pt x="33" y="22"/>
                    <a:pt x="44" y="22"/>
                    <a:pt x="58" y="23"/>
                  </a:cubicBezTo>
                  <a:cubicBezTo>
                    <a:pt x="63" y="24"/>
                    <a:pt x="66" y="26"/>
                    <a:pt x="66" y="29"/>
                  </a:cubicBezTo>
                  <a:cubicBezTo>
                    <a:pt x="66" y="30"/>
                    <a:pt x="66" y="30"/>
                    <a:pt x="67" y="31"/>
                  </a:cubicBezTo>
                  <a:cubicBezTo>
                    <a:pt x="67" y="33"/>
                    <a:pt x="67" y="35"/>
                    <a:pt x="67" y="37"/>
                  </a:cubicBezTo>
                  <a:cubicBezTo>
                    <a:pt x="69" y="38"/>
                    <a:pt x="71" y="38"/>
                    <a:pt x="73" y="38"/>
                  </a:cubicBezTo>
                  <a:cubicBezTo>
                    <a:pt x="73" y="37"/>
                    <a:pt x="73" y="36"/>
                    <a:pt x="73" y="34"/>
                  </a:cubicBezTo>
                  <a:cubicBezTo>
                    <a:pt x="73" y="32"/>
                    <a:pt x="73" y="30"/>
                    <a:pt x="74" y="29"/>
                  </a:cubicBezTo>
                  <a:cubicBezTo>
                    <a:pt x="75" y="25"/>
                    <a:pt x="72" y="21"/>
                    <a:pt x="66" y="20"/>
                  </a:cubicBezTo>
                  <a:cubicBezTo>
                    <a:pt x="58" y="17"/>
                    <a:pt x="50" y="16"/>
                    <a:pt x="40" y="16"/>
                  </a:cubicBezTo>
                  <a:cubicBezTo>
                    <a:pt x="29" y="16"/>
                    <a:pt x="20" y="18"/>
                    <a:pt x="13" y="21"/>
                  </a:cubicBezTo>
                  <a:cubicBezTo>
                    <a:pt x="11" y="22"/>
                    <a:pt x="11" y="24"/>
                    <a:pt x="11" y="26"/>
                  </a:cubicBezTo>
                  <a:cubicBezTo>
                    <a:pt x="11" y="28"/>
                    <a:pt x="12" y="30"/>
                    <a:pt x="12" y="32"/>
                  </a:cubicBezTo>
                  <a:cubicBezTo>
                    <a:pt x="12" y="35"/>
                    <a:pt x="12" y="37"/>
                    <a:pt x="12" y="38"/>
                  </a:cubicBezTo>
                  <a:cubicBezTo>
                    <a:pt x="14" y="38"/>
                    <a:pt x="15" y="38"/>
                    <a:pt x="17" y="38"/>
                  </a:cubicBezTo>
                  <a:cubicBezTo>
                    <a:pt x="17" y="35"/>
                    <a:pt x="17" y="32"/>
                    <a:pt x="17" y="30"/>
                  </a:cubicBezTo>
                  <a:cubicBezTo>
                    <a:pt x="18" y="26"/>
                    <a:pt x="20" y="24"/>
                    <a:pt x="24" y="23"/>
                  </a:cubicBezTo>
                  <a:close/>
                  <a:moveTo>
                    <a:pt x="28" y="64"/>
                  </a:moveTo>
                  <a:cubicBezTo>
                    <a:pt x="39" y="62"/>
                    <a:pt x="50" y="62"/>
                    <a:pt x="61" y="64"/>
                  </a:cubicBezTo>
                  <a:cubicBezTo>
                    <a:pt x="65" y="65"/>
                    <a:pt x="67" y="67"/>
                    <a:pt x="67" y="71"/>
                  </a:cubicBezTo>
                  <a:cubicBezTo>
                    <a:pt x="69" y="79"/>
                    <a:pt x="68" y="88"/>
                    <a:pt x="66" y="96"/>
                  </a:cubicBezTo>
                  <a:cubicBezTo>
                    <a:pt x="65" y="102"/>
                    <a:pt x="61" y="105"/>
                    <a:pt x="54" y="105"/>
                  </a:cubicBezTo>
                  <a:cubicBezTo>
                    <a:pt x="55" y="115"/>
                    <a:pt x="57" y="125"/>
                    <a:pt x="61" y="136"/>
                  </a:cubicBezTo>
                  <a:cubicBezTo>
                    <a:pt x="63" y="138"/>
                    <a:pt x="63" y="140"/>
                    <a:pt x="61" y="142"/>
                  </a:cubicBezTo>
                  <a:cubicBezTo>
                    <a:pt x="60" y="142"/>
                    <a:pt x="59" y="143"/>
                    <a:pt x="59" y="143"/>
                  </a:cubicBezTo>
                  <a:cubicBezTo>
                    <a:pt x="58" y="143"/>
                    <a:pt x="57" y="142"/>
                    <a:pt x="57" y="141"/>
                  </a:cubicBezTo>
                  <a:cubicBezTo>
                    <a:pt x="52" y="131"/>
                    <a:pt x="48" y="120"/>
                    <a:pt x="46" y="105"/>
                  </a:cubicBezTo>
                  <a:cubicBezTo>
                    <a:pt x="41" y="105"/>
                    <a:pt x="41" y="105"/>
                    <a:pt x="41" y="105"/>
                  </a:cubicBezTo>
                  <a:cubicBezTo>
                    <a:pt x="40" y="120"/>
                    <a:pt x="37" y="131"/>
                    <a:pt x="30" y="140"/>
                  </a:cubicBezTo>
                  <a:cubicBezTo>
                    <a:pt x="29" y="141"/>
                    <a:pt x="27" y="142"/>
                    <a:pt x="26" y="142"/>
                  </a:cubicBezTo>
                  <a:cubicBezTo>
                    <a:pt x="25" y="141"/>
                    <a:pt x="25" y="139"/>
                    <a:pt x="26" y="137"/>
                  </a:cubicBezTo>
                  <a:cubicBezTo>
                    <a:pt x="26" y="137"/>
                    <a:pt x="26" y="135"/>
                    <a:pt x="28" y="132"/>
                  </a:cubicBezTo>
                  <a:cubicBezTo>
                    <a:pt x="30" y="127"/>
                    <a:pt x="32" y="123"/>
                    <a:pt x="32" y="121"/>
                  </a:cubicBezTo>
                  <a:cubicBezTo>
                    <a:pt x="33" y="118"/>
                    <a:pt x="34" y="113"/>
                    <a:pt x="35" y="107"/>
                  </a:cubicBezTo>
                  <a:cubicBezTo>
                    <a:pt x="35" y="106"/>
                    <a:pt x="35" y="106"/>
                    <a:pt x="35" y="105"/>
                  </a:cubicBezTo>
                  <a:cubicBezTo>
                    <a:pt x="29" y="105"/>
                    <a:pt x="25" y="103"/>
                    <a:pt x="22" y="98"/>
                  </a:cubicBezTo>
                  <a:cubicBezTo>
                    <a:pt x="19" y="93"/>
                    <a:pt x="17" y="85"/>
                    <a:pt x="18" y="75"/>
                  </a:cubicBezTo>
                  <a:cubicBezTo>
                    <a:pt x="19" y="68"/>
                    <a:pt x="22" y="65"/>
                    <a:pt x="28" y="64"/>
                  </a:cubicBezTo>
                  <a:close/>
                  <a:moveTo>
                    <a:pt x="24" y="35"/>
                  </a:moveTo>
                  <a:cubicBezTo>
                    <a:pt x="24" y="36"/>
                    <a:pt x="24" y="36"/>
                    <a:pt x="24" y="37"/>
                  </a:cubicBezTo>
                  <a:cubicBezTo>
                    <a:pt x="29" y="37"/>
                    <a:pt x="34" y="37"/>
                    <a:pt x="39" y="37"/>
                  </a:cubicBezTo>
                  <a:cubicBezTo>
                    <a:pt x="39" y="34"/>
                    <a:pt x="38" y="31"/>
                    <a:pt x="38" y="29"/>
                  </a:cubicBezTo>
                  <a:cubicBezTo>
                    <a:pt x="37" y="29"/>
                    <a:pt x="36" y="29"/>
                    <a:pt x="34" y="29"/>
                  </a:cubicBezTo>
                  <a:cubicBezTo>
                    <a:pt x="31" y="29"/>
                    <a:pt x="30" y="29"/>
                    <a:pt x="28" y="29"/>
                  </a:cubicBezTo>
                  <a:cubicBezTo>
                    <a:pt x="25" y="31"/>
                    <a:pt x="24" y="32"/>
                    <a:pt x="24" y="35"/>
                  </a:cubicBezTo>
                  <a:close/>
                  <a:moveTo>
                    <a:pt x="61" y="87"/>
                  </a:moveTo>
                  <a:cubicBezTo>
                    <a:pt x="61" y="86"/>
                    <a:pt x="62" y="85"/>
                    <a:pt x="62" y="84"/>
                  </a:cubicBezTo>
                  <a:cubicBezTo>
                    <a:pt x="62" y="83"/>
                    <a:pt x="62" y="82"/>
                    <a:pt x="62" y="82"/>
                  </a:cubicBezTo>
                  <a:cubicBezTo>
                    <a:pt x="56" y="81"/>
                    <a:pt x="50" y="80"/>
                    <a:pt x="43" y="81"/>
                  </a:cubicBezTo>
                  <a:cubicBezTo>
                    <a:pt x="37" y="81"/>
                    <a:pt x="31" y="82"/>
                    <a:pt x="24" y="83"/>
                  </a:cubicBezTo>
                  <a:cubicBezTo>
                    <a:pt x="25" y="87"/>
                    <a:pt x="25" y="87"/>
                    <a:pt x="25" y="87"/>
                  </a:cubicBezTo>
                  <a:cubicBezTo>
                    <a:pt x="35" y="86"/>
                    <a:pt x="48" y="86"/>
                    <a:pt x="61" y="87"/>
                  </a:cubicBezTo>
                  <a:close/>
                  <a:moveTo>
                    <a:pt x="26" y="48"/>
                  </a:moveTo>
                  <a:cubicBezTo>
                    <a:pt x="28" y="51"/>
                    <a:pt x="30" y="52"/>
                    <a:pt x="35" y="52"/>
                  </a:cubicBezTo>
                  <a:cubicBezTo>
                    <a:pt x="38" y="52"/>
                    <a:pt x="38" y="52"/>
                    <a:pt x="38" y="52"/>
                  </a:cubicBezTo>
                  <a:cubicBezTo>
                    <a:pt x="38" y="49"/>
                    <a:pt x="39" y="46"/>
                    <a:pt x="39" y="44"/>
                  </a:cubicBezTo>
                  <a:cubicBezTo>
                    <a:pt x="34" y="44"/>
                    <a:pt x="30" y="44"/>
                    <a:pt x="25" y="44"/>
                  </a:cubicBezTo>
                  <a:cubicBezTo>
                    <a:pt x="25" y="46"/>
                    <a:pt x="25" y="47"/>
                    <a:pt x="26" y="48"/>
                  </a:cubicBezTo>
                  <a:close/>
                  <a:moveTo>
                    <a:pt x="32" y="69"/>
                  </a:moveTo>
                  <a:cubicBezTo>
                    <a:pt x="28" y="70"/>
                    <a:pt x="25" y="72"/>
                    <a:pt x="25" y="76"/>
                  </a:cubicBezTo>
                  <a:cubicBezTo>
                    <a:pt x="30" y="75"/>
                    <a:pt x="35" y="75"/>
                    <a:pt x="41" y="75"/>
                  </a:cubicBezTo>
                  <a:cubicBezTo>
                    <a:pt x="46" y="74"/>
                    <a:pt x="53" y="74"/>
                    <a:pt x="61" y="75"/>
                  </a:cubicBezTo>
                  <a:cubicBezTo>
                    <a:pt x="61" y="72"/>
                    <a:pt x="59" y="71"/>
                    <a:pt x="57" y="70"/>
                  </a:cubicBezTo>
                  <a:cubicBezTo>
                    <a:pt x="49" y="68"/>
                    <a:pt x="40" y="68"/>
                    <a:pt x="32" y="69"/>
                  </a:cubicBezTo>
                  <a:close/>
                  <a:moveTo>
                    <a:pt x="56" y="98"/>
                  </a:moveTo>
                  <a:cubicBezTo>
                    <a:pt x="59" y="97"/>
                    <a:pt x="60" y="96"/>
                    <a:pt x="61" y="93"/>
                  </a:cubicBezTo>
                  <a:cubicBezTo>
                    <a:pt x="60" y="93"/>
                    <a:pt x="57" y="93"/>
                    <a:pt x="54" y="93"/>
                  </a:cubicBezTo>
                  <a:cubicBezTo>
                    <a:pt x="48" y="92"/>
                    <a:pt x="44" y="92"/>
                    <a:pt x="41" y="92"/>
                  </a:cubicBezTo>
                  <a:cubicBezTo>
                    <a:pt x="40" y="92"/>
                    <a:pt x="38" y="92"/>
                    <a:pt x="36" y="93"/>
                  </a:cubicBezTo>
                  <a:cubicBezTo>
                    <a:pt x="31" y="93"/>
                    <a:pt x="28" y="94"/>
                    <a:pt x="26" y="94"/>
                  </a:cubicBezTo>
                  <a:cubicBezTo>
                    <a:pt x="27" y="96"/>
                    <a:pt x="29" y="98"/>
                    <a:pt x="32" y="98"/>
                  </a:cubicBezTo>
                  <a:cubicBezTo>
                    <a:pt x="39" y="99"/>
                    <a:pt x="47" y="99"/>
                    <a:pt x="56" y="98"/>
                  </a:cubicBezTo>
                  <a:close/>
                  <a:moveTo>
                    <a:pt x="56" y="29"/>
                  </a:moveTo>
                  <a:cubicBezTo>
                    <a:pt x="55" y="29"/>
                    <a:pt x="53" y="29"/>
                    <a:pt x="51" y="29"/>
                  </a:cubicBezTo>
                  <a:cubicBezTo>
                    <a:pt x="49" y="29"/>
                    <a:pt x="47" y="29"/>
                    <a:pt x="46" y="29"/>
                  </a:cubicBezTo>
                  <a:cubicBezTo>
                    <a:pt x="46" y="31"/>
                    <a:pt x="46" y="34"/>
                    <a:pt x="46" y="37"/>
                  </a:cubicBezTo>
                  <a:cubicBezTo>
                    <a:pt x="50" y="37"/>
                    <a:pt x="55" y="37"/>
                    <a:pt x="60" y="37"/>
                  </a:cubicBezTo>
                  <a:cubicBezTo>
                    <a:pt x="60" y="35"/>
                    <a:pt x="60" y="35"/>
                    <a:pt x="60" y="35"/>
                  </a:cubicBezTo>
                  <a:cubicBezTo>
                    <a:pt x="60" y="32"/>
                    <a:pt x="58" y="30"/>
                    <a:pt x="56" y="29"/>
                  </a:cubicBezTo>
                  <a:close/>
                  <a:moveTo>
                    <a:pt x="59" y="48"/>
                  </a:moveTo>
                  <a:cubicBezTo>
                    <a:pt x="59" y="47"/>
                    <a:pt x="59" y="45"/>
                    <a:pt x="60" y="43"/>
                  </a:cubicBezTo>
                  <a:cubicBezTo>
                    <a:pt x="55" y="43"/>
                    <a:pt x="51" y="43"/>
                    <a:pt x="46" y="43"/>
                  </a:cubicBezTo>
                  <a:cubicBezTo>
                    <a:pt x="46" y="52"/>
                    <a:pt x="46" y="52"/>
                    <a:pt x="46" y="52"/>
                  </a:cubicBezTo>
                  <a:cubicBezTo>
                    <a:pt x="48" y="52"/>
                    <a:pt x="51" y="52"/>
                    <a:pt x="54" y="52"/>
                  </a:cubicBezTo>
                  <a:cubicBezTo>
                    <a:pt x="57" y="51"/>
                    <a:pt x="59" y="49"/>
                    <a:pt x="59" y="4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1049769" name="îSḻide"/>
            <p:cNvSpPr/>
            <p:nvPr/>
          </p:nvSpPr>
          <p:spPr bwMode="auto">
            <a:xfrm>
              <a:off x="2449409" y="5256803"/>
              <a:ext cx="139700" cy="265113"/>
            </a:xfrm>
            <a:custGeom>
              <a:avLst/>
              <a:gdLst>
                <a:gd name="T0" fmla="*/ 56 w 76"/>
                <a:gd name="T1" fmla="*/ 3 h 144"/>
                <a:gd name="T2" fmla="*/ 61 w 76"/>
                <a:gd name="T3" fmla="*/ 45 h 144"/>
                <a:gd name="T4" fmla="*/ 50 w 76"/>
                <a:gd name="T5" fmla="*/ 74 h 144"/>
                <a:gd name="T6" fmla="*/ 68 w 76"/>
                <a:gd name="T7" fmla="*/ 65 h 144"/>
                <a:gd name="T8" fmla="*/ 70 w 76"/>
                <a:gd name="T9" fmla="*/ 31 h 144"/>
                <a:gd name="T10" fmla="*/ 74 w 76"/>
                <a:gd name="T11" fmla="*/ 31 h 144"/>
                <a:gd name="T12" fmla="*/ 74 w 76"/>
                <a:gd name="T13" fmla="*/ 64 h 144"/>
                <a:gd name="T14" fmla="*/ 50 w 76"/>
                <a:gd name="T15" fmla="*/ 81 h 144"/>
                <a:gd name="T16" fmla="*/ 69 w 76"/>
                <a:gd name="T17" fmla="*/ 103 h 144"/>
                <a:gd name="T18" fmla="*/ 74 w 76"/>
                <a:gd name="T19" fmla="*/ 140 h 144"/>
                <a:gd name="T20" fmla="*/ 63 w 76"/>
                <a:gd name="T21" fmla="*/ 105 h 144"/>
                <a:gd name="T22" fmla="*/ 52 w 76"/>
                <a:gd name="T23" fmla="*/ 138 h 144"/>
                <a:gd name="T24" fmla="*/ 46 w 76"/>
                <a:gd name="T25" fmla="*/ 139 h 144"/>
                <a:gd name="T26" fmla="*/ 42 w 76"/>
                <a:gd name="T27" fmla="*/ 57 h 144"/>
                <a:gd name="T28" fmla="*/ 35 w 76"/>
                <a:gd name="T29" fmla="*/ 132 h 144"/>
                <a:gd name="T30" fmla="*/ 27 w 76"/>
                <a:gd name="T31" fmla="*/ 136 h 144"/>
                <a:gd name="T32" fmla="*/ 29 w 76"/>
                <a:gd name="T33" fmla="*/ 95 h 144"/>
                <a:gd name="T34" fmla="*/ 5 w 76"/>
                <a:gd name="T35" fmla="*/ 135 h 144"/>
                <a:gd name="T36" fmla="*/ 0 w 76"/>
                <a:gd name="T37" fmla="*/ 135 h 144"/>
                <a:gd name="T38" fmla="*/ 30 w 76"/>
                <a:gd name="T39" fmla="*/ 86 h 144"/>
                <a:gd name="T40" fmla="*/ 26 w 76"/>
                <a:gd name="T41" fmla="*/ 80 h 144"/>
                <a:gd name="T42" fmla="*/ 5 w 76"/>
                <a:gd name="T43" fmla="*/ 66 h 144"/>
                <a:gd name="T44" fmla="*/ 3 w 76"/>
                <a:gd name="T45" fmla="*/ 29 h 144"/>
                <a:gd name="T46" fmla="*/ 9 w 76"/>
                <a:gd name="T47" fmla="*/ 59 h 144"/>
                <a:gd name="T48" fmla="*/ 31 w 76"/>
                <a:gd name="T49" fmla="*/ 74 h 144"/>
                <a:gd name="T50" fmla="*/ 32 w 76"/>
                <a:gd name="T51" fmla="*/ 57 h 144"/>
                <a:gd name="T52" fmla="*/ 16 w 76"/>
                <a:gd name="T53" fmla="*/ 14 h 144"/>
                <a:gd name="T54" fmla="*/ 22 w 76"/>
                <a:gd name="T55" fmla="*/ 19 h 144"/>
                <a:gd name="T56" fmla="*/ 57 w 76"/>
                <a:gd name="T57" fmla="*/ 19 h 144"/>
                <a:gd name="T58" fmla="*/ 50 w 76"/>
                <a:gd name="T59" fmla="*/ 9 h 144"/>
                <a:gd name="T60" fmla="*/ 22 w 76"/>
                <a:gd name="T61" fmla="*/ 19 h 144"/>
                <a:gd name="T62" fmla="*/ 23 w 76"/>
                <a:gd name="T63" fmla="*/ 31 h 144"/>
                <a:gd name="T64" fmla="*/ 57 w 76"/>
                <a:gd name="T65" fmla="*/ 34 h 144"/>
                <a:gd name="T66" fmla="*/ 22 w 76"/>
                <a:gd name="T67" fmla="*/ 27 h 144"/>
                <a:gd name="T68" fmla="*/ 48 w 76"/>
                <a:gd name="T69" fmla="*/ 50 h 144"/>
                <a:gd name="T70" fmla="*/ 57 w 76"/>
                <a:gd name="T71" fmla="*/ 41 h 144"/>
                <a:gd name="T72" fmla="*/ 25 w 76"/>
                <a:gd name="T73" fmla="*/ 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76" h="144">
                  <a:moveTo>
                    <a:pt x="27" y="2"/>
                  </a:moveTo>
                  <a:cubicBezTo>
                    <a:pt x="37" y="0"/>
                    <a:pt x="47" y="0"/>
                    <a:pt x="56" y="3"/>
                  </a:cubicBezTo>
                  <a:cubicBezTo>
                    <a:pt x="60" y="3"/>
                    <a:pt x="62" y="7"/>
                    <a:pt x="63" y="15"/>
                  </a:cubicBezTo>
                  <a:cubicBezTo>
                    <a:pt x="65" y="25"/>
                    <a:pt x="64" y="35"/>
                    <a:pt x="61" y="45"/>
                  </a:cubicBezTo>
                  <a:cubicBezTo>
                    <a:pt x="60" y="53"/>
                    <a:pt x="55" y="56"/>
                    <a:pt x="49" y="57"/>
                  </a:cubicBezTo>
                  <a:cubicBezTo>
                    <a:pt x="49" y="62"/>
                    <a:pt x="50" y="68"/>
                    <a:pt x="50" y="74"/>
                  </a:cubicBezTo>
                  <a:cubicBezTo>
                    <a:pt x="53" y="74"/>
                    <a:pt x="56" y="74"/>
                    <a:pt x="58" y="74"/>
                  </a:cubicBezTo>
                  <a:cubicBezTo>
                    <a:pt x="62" y="75"/>
                    <a:pt x="66" y="72"/>
                    <a:pt x="68" y="65"/>
                  </a:cubicBezTo>
                  <a:cubicBezTo>
                    <a:pt x="69" y="62"/>
                    <a:pt x="70" y="53"/>
                    <a:pt x="70" y="39"/>
                  </a:cubicBezTo>
                  <a:cubicBezTo>
                    <a:pt x="70" y="35"/>
                    <a:pt x="70" y="32"/>
                    <a:pt x="70" y="31"/>
                  </a:cubicBezTo>
                  <a:cubicBezTo>
                    <a:pt x="71" y="31"/>
                    <a:pt x="71" y="30"/>
                    <a:pt x="72" y="30"/>
                  </a:cubicBezTo>
                  <a:cubicBezTo>
                    <a:pt x="73" y="30"/>
                    <a:pt x="74" y="30"/>
                    <a:pt x="74" y="31"/>
                  </a:cubicBezTo>
                  <a:cubicBezTo>
                    <a:pt x="75" y="33"/>
                    <a:pt x="76" y="36"/>
                    <a:pt x="76" y="41"/>
                  </a:cubicBezTo>
                  <a:cubicBezTo>
                    <a:pt x="76" y="49"/>
                    <a:pt x="75" y="56"/>
                    <a:pt x="74" y="64"/>
                  </a:cubicBezTo>
                  <a:cubicBezTo>
                    <a:pt x="72" y="75"/>
                    <a:pt x="67" y="81"/>
                    <a:pt x="58" y="81"/>
                  </a:cubicBezTo>
                  <a:cubicBezTo>
                    <a:pt x="50" y="81"/>
                    <a:pt x="50" y="81"/>
                    <a:pt x="50" y="81"/>
                  </a:cubicBezTo>
                  <a:cubicBezTo>
                    <a:pt x="50" y="87"/>
                    <a:pt x="50" y="87"/>
                    <a:pt x="50" y="87"/>
                  </a:cubicBezTo>
                  <a:cubicBezTo>
                    <a:pt x="60" y="87"/>
                    <a:pt x="66" y="92"/>
                    <a:pt x="69" y="103"/>
                  </a:cubicBezTo>
                  <a:cubicBezTo>
                    <a:pt x="72" y="112"/>
                    <a:pt x="74" y="122"/>
                    <a:pt x="76" y="134"/>
                  </a:cubicBezTo>
                  <a:cubicBezTo>
                    <a:pt x="76" y="138"/>
                    <a:pt x="75" y="140"/>
                    <a:pt x="74" y="140"/>
                  </a:cubicBezTo>
                  <a:cubicBezTo>
                    <a:pt x="72" y="141"/>
                    <a:pt x="71" y="139"/>
                    <a:pt x="70" y="136"/>
                  </a:cubicBezTo>
                  <a:cubicBezTo>
                    <a:pt x="68" y="126"/>
                    <a:pt x="66" y="116"/>
                    <a:pt x="63" y="105"/>
                  </a:cubicBezTo>
                  <a:cubicBezTo>
                    <a:pt x="61" y="98"/>
                    <a:pt x="57" y="95"/>
                    <a:pt x="50" y="95"/>
                  </a:cubicBezTo>
                  <a:cubicBezTo>
                    <a:pt x="50" y="109"/>
                    <a:pt x="51" y="123"/>
                    <a:pt x="52" y="138"/>
                  </a:cubicBezTo>
                  <a:cubicBezTo>
                    <a:pt x="52" y="141"/>
                    <a:pt x="51" y="143"/>
                    <a:pt x="49" y="144"/>
                  </a:cubicBezTo>
                  <a:cubicBezTo>
                    <a:pt x="47" y="144"/>
                    <a:pt x="46" y="142"/>
                    <a:pt x="46" y="139"/>
                  </a:cubicBezTo>
                  <a:cubicBezTo>
                    <a:pt x="44" y="134"/>
                    <a:pt x="43" y="118"/>
                    <a:pt x="43" y="92"/>
                  </a:cubicBezTo>
                  <a:cubicBezTo>
                    <a:pt x="43" y="76"/>
                    <a:pt x="43" y="64"/>
                    <a:pt x="42" y="57"/>
                  </a:cubicBezTo>
                  <a:cubicBezTo>
                    <a:pt x="38" y="57"/>
                    <a:pt x="38" y="57"/>
                    <a:pt x="38" y="57"/>
                  </a:cubicBezTo>
                  <a:cubicBezTo>
                    <a:pt x="36" y="88"/>
                    <a:pt x="35" y="113"/>
                    <a:pt x="35" y="132"/>
                  </a:cubicBezTo>
                  <a:cubicBezTo>
                    <a:pt x="35" y="138"/>
                    <a:pt x="33" y="142"/>
                    <a:pt x="31" y="142"/>
                  </a:cubicBezTo>
                  <a:cubicBezTo>
                    <a:pt x="29" y="142"/>
                    <a:pt x="27" y="140"/>
                    <a:pt x="27" y="136"/>
                  </a:cubicBezTo>
                  <a:cubicBezTo>
                    <a:pt x="27" y="136"/>
                    <a:pt x="27" y="134"/>
                    <a:pt x="27" y="132"/>
                  </a:cubicBezTo>
                  <a:cubicBezTo>
                    <a:pt x="28" y="118"/>
                    <a:pt x="29" y="105"/>
                    <a:pt x="29" y="95"/>
                  </a:cubicBezTo>
                  <a:cubicBezTo>
                    <a:pt x="19" y="95"/>
                    <a:pt x="14" y="98"/>
                    <a:pt x="13" y="105"/>
                  </a:cubicBezTo>
                  <a:cubicBezTo>
                    <a:pt x="10" y="114"/>
                    <a:pt x="7" y="124"/>
                    <a:pt x="5" y="135"/>
                  </a:cubicBezTo>
                  <a:cubicBezTo>
                    <a:pt x="4" y="137"/>
                    <a:pt x="3" y="139"/>
                    <a:pt x="2" y="139"/>
                  </a:cubicBezTo>
                  <a:cubicBezTo>
                    <a:pt x="1" y="140"/>
                    <a:pt x="0" y="138"/>
                    <a:pt x="0" y="135"/>
                  </a:cubicBezTo>
                  <a:cubicBezTo>
                    <a:pt x="0" y="125"/>
                    <a:pt x="2" y="115"/>
                    <a:pt x="7" y="104"/>
                  </a:cubicBezTo>
                  <a:cubicBezTo>
                    <a:pt x="11" y="92"/>
                    <a:pt x="18" y="86"/>
                    <a:pt x="30" y="86"/>
                  </a:cubicBezTo>
                  <a:cubicBezTo>
                    <a:pt x="30" y="85"/>
                    <a:pt x="30" y="83"/>
                    <a:pt x="31" y="80"/>
                  </a:cubicBezTo>
                  <a:cubicBezTo>
                    <a:pt x="29" y="81"/>
                    <a:pt x="28" y="81"/>
                    <a:pt x="26" y="80"/>
                  </a:cubicBezTo>
                  <a:cubicBezTo>
                    <a:pt x="24" y="80"/>
                    <a:pt x="23" y="80"/>
                    <a:pt x="22" y="80"/>
                  </a:cubicBezTo>
                  <a:cubicBezTo>
                    <a:pt x="14" y="81"/>
                    <a:pt x="8" y="76"/>
                    <a:pt x="5" y="66"/>
                  </a:cubicBezTo>
                  <a:cubicBezTo>
                    <a:pt x="2" y="59"/>
                    <a:pt x="0" y="49"/>
                    <a:pt x="0" y="37"/>
                  </a:cubicBezTo>
                  <a:cubicBezTo>
                    <a:pt x="0" y="32"/>
                    <a:pt x="1" y="29"/>
                    <a:pt x="3" y="29"/>
                  </a:cubicBezTo>
                  <a:cubicBezTo>
                    <a:pt x="6" y="31"/>
                    <a:pt x="8" y="35"/>
                    <a:pt x="8" y="39"/>
                  </a:cubicBezTo>
                  <a:cubicBezTo>
                    <a:pt x="7" y="45"/>
                    <a:pt x="7" y="52"/>
                    <a:pt x="9" y="59"/>
                  </a:cubicBezTo>
                  <a:cubicBezTo>
                    <a:pt x="10" y="68"/>
                    <a:pt x="16" y="73"/>
                    <a:pt x="24" y="74"/>
                  </a:cubicBezTo>
                  <a:cubicBezTo>
                    <a:pt x="26" y="74"/>
                    <a:pt x="29" y="74"/>
                    <a:pt x="31" y="74"/>
                  </a:cubicBezTo>
                  <a:cubicBezTo>
                    <a:pt x="31" y="72"/>
                    <a:pt x="31" y="69"/>
                    <a:pt x="31" y="65"/>
                  </a:cubicBezTo>
                  <a:cubicBezTo>
                    <a:pt x="31" y="61"/>
                    <a:pt x="32" y="58"/>
                    <a:pt x="32" y="57"/>
                  </a:cubicBezTo>
                  <a:cubicBezTo>
                    <a:pt x="25" y="56"/>
                    <a:pt x="20" y="53"/>
                    <a:pt x="19" y="48"/>
                  </a:cubicBezTo>
                  <a:cubicBezTo>
                    <a:pt x="15" y="36"/>
                    <a:pt x="14" y="25"/>
                    <a:pt x="16" y="14"/>
                  </a:cubicBezTo>
                  <a:cubicBezTo>
                    <a:pt x="17" y="6"/>
                    <a:pt x="21" y="2"/>
                    <a:pt x="27" y="2"/>
                  </a:cubicBezTo>
                  <a:close/>
                  <a:moveTo>
                    <a:pt x="22" y="19"/>
                  </a:moveTo>
                  <a:cubicBezTo>
                    <a:pt x="22" y="20"/>
                    <a:pt x="22" y="20"/>
                    <a:pt x="22" y="20"/>
                  </a:cubicBezTo>
                  <a:cubicBezTo>
                    <a:pt x="30" y="20"/>
                    <a:pt x="42" y="19"/>
                    <a:pt x="57" y="19"/>
                  </a:cubicBezTo>
                  <a:cubicBezTo>
                    <a:pt x="57" y="18"/>
                    <a:pt x="57" y="17"/>
                    <a:pt x="57" y="16"/>
                  </a:cubicBezTo>
                  <a:cubicBezTo>
                    <a:pt x="56" y="13"/>
                    <a:pt x="54" y="10"/>
                    <a:pt x="50" y="9"/>
                  </a:cubicBezTo>
                  <a:cubicBezTo>
                    <a:pt x="44" y="8"/>
                    <a:pt x="37" y="7"/>
                    <a:pt x="31" y="9"/>
                  </a:cubicBezTo>
                  <a:cubicBezTo>
                    <a:pt x="25" y="11"/>
                    <a:pt x="22" y="14"/>
                    <a:pt x="22" y="19"/>
                  </a:cubicBezTo>
                  <a:close/>
                  <a:moveTo>
                    <a:pt x="22" y="27"/>
                  </a:moveTo>
                  <a:cubicBezTo>
                    <a:pt x="22" y="28"/>
                    <a:pt x="22" y="29"/>
                    <a:pt x="23" y="31"/>
                  </a:cubicBezTo>
                  <a:cubicBezTo>
                    <a:pt x="23" y="32"/>
                    <a:pt x="23" y="33"/>
                    <a:pt x="23" y="34"/>
                  </a:cubicBezTo>
                  <a:cubicBezTo>
                    <a:pt x="57" y="34"/>
                    <a:pt x="57" y="34"/>
                    <a:pt x="57" y="34"/>
                  </a:cubicBezTo>
                  <a:cubicBezTo>
                    <a:pt x="57" y="27"/>
                    <a:pt x="57" y="27"/>
                    <a:pt x="57" y="27"/>
                  </a:cubicBezTo>
                  <a:cubicBezTo>
                    <a:pt x="45" y="26"/>
                    <a:pt x="33" y="26"/>
                    <a:pt x="22" y="27"/>
                  </a:cubicBezTo>
                  <a:close/>
                  <a:moveTo>
                    <a:pt x="35" y="50"/>
                  </a:moveTo>
                  <a:cubicBezTo>
                    <a:pt x="48" y="50"/>
                    <a:pt x="48" y="50"/>
                    <a:pt x="48" y="50"/>
                  </a:cubicBezTo>
                  <a:cubicBezTo>
                    <a:pt x="53" y="50"/>
                    <a:pt x="55" y="47"/>
                    <a:pt x="57" y="42"/>
                  </a:cubicBezTo>
                  <a:cubicBezTo>
                    <a:pt x="57" y="41"/>
                    <a:pt x="57" y="41"/>
                    <a:pt x="57" y="41"/>
                  </a:cubicBezTo>
                  <a:cubicBezTo>
                    <a:pt x="43" y="41"/>
                    <a:pt x="32" y="41"/>
                    <a:pt x="24" y="42"/>
                  </a:cubicBezTo>
                  <a:cubicBezTo>
                    <a:pt x="24" y="43"/>
                    <a:pt x="24" y="43"/>
                    <a:pt x="25" y="44"/>
                  </a:cubicBezTo>
                  <a:cubicBezTo>
                    <a:pt x="27" y="48"/>
                    <a:pt x="30" y="50"/>
                    <a:pt x="35" y="5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1049770" name="iṣlîḋè"/>
            <p:cNvSpPr/>
            <p:nvPr/>
          </p:nvSpPr>
          <p:spPr bwMode="auto">
            <a:xfrm>
              <a:off x="2604984" y="5259978"/>
              <a:ext cx="177800" cy="255588"/>
            </a:xfrm>
            <a:custGeom>
              <a:avLst/>
              <a:gdLst>
                <a:gd name="T0" fmla="*/ 5 w 96"/>
                <a:gd name="T1" fmla="*/ 37 h 138"/>
                <a:gd name="T2" fmla="*/ 24 w 96"/>
                <a:gd name="T3" fmla="*/ 49 h 138"/>
                <a:gd name="T4" fmla="*/ 7 w 96"/>
                <a:gd name="T5" fmla="*/ 26 h 138"/>
                <a:gd name="T6" fmla="*/ 0 w 96"/>
                <a:gd name="T7" fmla="*/ 22 h 138"/>
                <a:gd name="T8" fmla="*/ 44 w 96"/>
                <a:gd name="T9" fmla="*/ 19 h 138"/>
                <a:gd name="T10" fmla="*/ 40 w 96"/>
                <a:gd name="T11" fmla="*/ 26 h 138"/>
                <a:gd name="T12" fmla="*/ 29 w 96"/>
                <a:gd name="T13" fmla="*/ 49 h 138"/>
                <a:gd name="T14" fmla="*/ 42 w 96"/>
                <a:gd name="T15" fmla="*/ 39 h 138"/>
                <a:gd name="T16" fmla="*/ 36 w 96"/>
                <a:gd name="T17" fmla="*/ 64 h 138"/>
                <a:gd name="T18" fmla="*/ 44 w 96"/>
                <a:gd name="T19" fmla="*/ 70 h 138"/>
                <a:gd name="T20" fmla="*/ 30 w 96"/>
                <a:gd name="T21" fmla="*/ 78 h 138"/>
                <a:gd name="T22" fmla="*/ 48 w 96"/>
                <a:gd name="T23" fmla="*/ 111 h 138"/>
                <a:gd name="T24" fmla="*/ 42 w 96"/>
                <a:gd name="T25" fmla="*/ 124 h 138"/>
                <a:gd name="T26" fmla="*/ 33 w 96"/>
                <a:gd name="T27" fmla="*/ 93 h 138"/>
                <a:gd name="T28" fmla="*/ 30 w 96"/>
                <a:gd name="T29" fmla="*/ 116 h 138"/>
                <a:gd name="T30" fmla="*/ 24 w 96"/>
                <a:gd name="T31" fmla="*/ 133 h 138"/>
                <a:gd name="T32" fmla="*/ 20 w 96"/>
                <a:gd name="T33" fmla="*/ 93 h 138"/>
                <a:gd name="T34" fmla="*/ 11 w 96"/>
                <a:gd name="T35" fmla="*/ 122 h 138"/>
                <a:gd name="T36" fmla="*/ 8 w 96"/>
                <a:gd name="T37" fmla="*/ 102 h 138"/>
                <a:gd name="T38" fmla="*/ 24 w 96"/>
                <a:gd name="T39" fmla="*/ 81 h 138"/>
                <a:gd name="T40" fmla="*/ 3 w 96"/>
                <a:gd name="T41" fmla="*/ 77 h 138"/>
                <a:gd name="T42" fmla="*/ 14 w 96"/>
                <a:gd name="T43" fmla="*/ 70 h 138"/>
                <a:gd name="T44" fmla="*/ 20 w 96"/>
                <a:gd name="T45" fmla="*/ 65 h 138"/>
                <a:gd name="T46" fmla="*/ 2 w 96"/>
                <a:gd name="T47" fmla="*/ 37 h 138"/>
                <a:gd name="T48" fmla="*/ 40 w 96"/>
                <a:gd name="T49" fmla="*/ 3 h 138"/>
                <a:gd name="T50" fmla="*/ 14 w 96"/>
                <a:gd name="T51" fmla="*/ 11 h 138"/>
                <a:gd name="T52" fmla="*/ 5 w 96"/>
                <a:gd name="T53" fmla="*/ 6 h 138"/>
                <a:gd name="T54" fmla="*/ 33 w 96"/>
                <a:gd name="T55" fmla="*/ 26 h 138"/>
                <a:gd name="T56" fmla="*/ 27 w 96"/>
                <a:gd name="T57" fmla="*/ 45 h 138"/>
                <a:gd name="T58" fmla="*/ 54 w 96"/>
                <a:gd name="T59" fmla="*/ 2 h 138"/>
                <a:gd name="T60" fmla="*/ 58 w 96"/>
                <a:gd name="T61" fmla="*/ 10 h 138"/>
                <a:gd name="T62" fmla="*/ 88 w 96"/>
                <a:gd name="T63" fmla="*/ 22 h 138"/>
                <a:gd name="T64" fmla="*/ 74 w 96"/>
                <a:gd name="T65" fmla="*/ 37 h 138"/>
                <a:gd name="T66" fmla="*/ 62 w 96"/>
                <a:gd name="T67" fmla="*/ 66 h 138"/>
                <a:gd name="T68" fmla="*/ 53 w 96"/>
                <a:gd name="T69" fmla="*/ 136 h 138"/>
                <a:gd name="T70" fmla="*/ 48 w 96"/>
                <a:gd name="T71" fmla="*/ 130 h 138"/>
                <a:gd name="T72" fmla="*/ 55 w 96"/>
                <a:gd name="T73" fmla="*/ 48 h 138"/>
                <a:gd name="T74" fmla="*/ 76 w 96"/>
                <a:gd name="T75" fmla="*/ 31 h 138"/>
                <a:gd name="T76" fmla="*/ 65 w 96"/>
                <a:gd name="T77" fmla="*/ 18 h 138"/>
                <a:gd name="T78" fmla="*/ 52 w 96"/>
                <a:gd name="T79" fmla="*/ 13 h 138"/>
                <a:gd name="T80" fmla="*/ 94 w 96"/>
                <a:gd name="T81" fmla="*/ 74 h 138"/>
                <a:gd name="T82" fmla="*/ 76 w 96"/>
                <a:gd name="T83" fmla="*/ 54 h 138"/>
                <a:gd name="T84" fmla="*/ 83 w 96"/>
                <a:gd name="T85" fmla="*/ 119 h 138"/>
                <a:gd name="T86" fmla="*/ 88 w 96"/>
                <a:gd name="T87" fmla="*/ 133 h 138"/>
                <a:gd name="T88" fmla="*/ 70 w 96"/>
                <a:gd name="T89" fmla="*/ 93 h 138"/>
                <a:gd name="T90" fmla="*/ 70 w 96"/>
                <a:gd name="T91" fmla="*/ 42 h 138"/>
                <a:gd name="T92" fmla="*/ 95 w 96"/>
                <a:gd name="T93" fmla="*/ 70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96" h="138">
                  <a:moveTo>
                    <a:pt x="2" y="37"/>
                  </a:moveTo>
                  <a:cubicBezTo>
                    <a:pt x="2" y="36"/>
                    <a:pt x="2" y="35"/>
                    <a:pt x="3" y="35"/>
                  </a:cubicBezTo>
                  <a:cubicBezTo>
                    <a:pt x="4" y="35"/>
                    <a:pt x="5" y="36"/>
                    <a:pt x="5" y="37"/>
                  </a:cubicBezTo>
                  <a:cubicBezTo>
                    <a:pt x="9" y="49"/>
                    <a:pt x="14" y="56"/>
                    <a:pt x="21" y="59"/>
                  </a:cubicBezTo>
                  <a:cubicBezTo>
                    <a:pt x="21" y="59"/>
                    <a:pt x="22" y="60"/>
                    <a:pt x="24" y="60"/>
                  </a:cubicBezTo>
                  <a:cubicBezTo>
                    <a:pt x="24" y="56"/>
                    <a:pt x="24" y="53"/>
                    <a:pt x="24" y="49"/>
                  </a:cubicBezTo>
                  <a:cubicBezTo>
                    <a:pt x="21" y="48"/>
                    <a:pt x="18" y="46"/>
                    <a:pt x="16" y="42"/>
                  </a:cubicBezTo>
                  <a:cubicBezTo>
                    <a:pt x="13" y="38"/>
                    <a:pt x="12" y="33"/>
                    <a:pt x="12" y="26"/>
                  </a:cubicBezTo>
                  <a:cubicBezTo>
                    <a:pt x="9" y="26"/>
                    <a:pt x="8" y="26"/>
                    <a:pt x="7" y="26"/>
                  </a:cubicBezTo>
                  <a:cubicBezTo>
                    <a:pt x="4" y="27"/>
                    <a:pt x="2" y="27"/>
                    <a:pt x="1" y="25"/>
                  </a:cubicBezTo>
                  <a:cubicBezTo>
                    <a:pt x="0" y="24"/>
                    <a:pt x="0" y="23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1" y="19"/>
                    <a:pt x="2" y="18"/>
                    <a:pt x="4" y="19"/>
                  </a:cubicBezTo>
                  <a:cubicBezTo>
                    <a:pt x="6" y="19"/>
                    <a:pt x="8" y="19"/>
                    <a:pt x="11" y="19"/>
                  </a:cubicBezTo>
                  <a:cubicBezTo>
                    <a:pt x="44" y="19"/>
                    <a:pt x="44" y="19"/>
                    <a:pt x="44" y="19"/>
                  </a:cubicBezTo>
                  <a:cubicBezTo>
                    <a:pt x="46" y="19"/>
                    <a:pt x="48" y="20"/>
                    <a:pt x="48" y="23"/>
                  </a:cubicBezTo>
                  <a:cubicBezTo>
                    <a:pt x="47" y="25"/>
                    <a:pt x="45" y="26"/>
                    <a:pt x="42" y="26"/>
                  </a:cubicBezTo>
                  <a:cubicBezTo>
                    <a:pt x="42" y="26"/>
                    <a:pt x="41" y="26"/>
                    <a:pt x="40" y="26"/>
                  </a:cubicBezTo>
                  <a:cubicBezTo>
                    <a:pt x="40" y="26"/>
                    <a:pt x="40" y="26"/>
                    <a:pt x="40" y="26"/>
                  </a:cubicBezTo>
                  <a:cubicBezTo>
                    <a:pt x="39" y="34"/>
                    <a:pt x="38" y="39"/>
                    <a:pt x="37" y="42"/>
                  </a:cubicBezTo>
                  <a:cubicBezTo>
                    <a:pt x="34" y="46"/>
                    <a:pt x="32" y="49"/>
                    <a:pt x="29" y="49"/>
                  </a:cubicBezTo>
                  <a:cubicBezTo>
                    <a:pt x="30" y="53"/>
                    <a:pt x="30" y="56"/>
                    <a:pt x="30" y="60"/>
                  </a:cubicBezTo>
                  <a:cubicBezTo>
                    <a:pt x="31" y="60"/>
                    <a:pt x="32" y="59"/>
                    <a:pt x="33" y="58"/>
                  </a:cubicBezTo>
                  <a:cubicBezTo>
                    <a:pt x="39" y="56"/>
                    <a:pt x="42" y="49"/>
                    <a:pt x="42" y="39"/>
                  </a:cubicBezTo>
                  <a:cubicBezTo>
                    <a:pt x="43" y="37"/>
                    <a:pt x="44" y="36"/>
                    <a:pt x="46" y="36"/>
                  </a:cubicBezTo>
                  <a:cubicBezTo>
                    <a:pt x="47" y="36"/>
                    <a:pt x="48" y="37"/>
                    <a:pt x="48" y="39"/>
                  </a:cubicBezTo>
                  <a:cubicBezTo>
                    <a:pt x="49" y="49"/>
                    <a:pt x="45" y="57"/>
                    <a:pt x="36" y="64"/>
                  </a:cubicBezTo>
                  <a:cubicBezTo>
                    <a:pt x="34" y="65"/>
                    <a:pt x="32" y="66"/>
                    <a:pt x="30" y="66"/>
                  </a:cubicBezTo>
                  <a:cubicBezTo>
                    <a:pt x="30" y="70"/>
                    <a:pt x="30" y="70"/>
                    <a:pt x="30" y="70"/>
                  </a:cubicBezTo>
                  <a:cubicBezTo>
                    <a:pt x="44" y="70"/>
                    <a:pt x="44" y="70"/>
                    <a:pt x="44" y="70"/>
                  </a:cubicBezTo>
                  <a:cubicBezTo>
                    <a:pt x="47" y="70"/>
                    <a:pt x="49" y="71"/>
                    <a:pt x="49" y="73"/>
                  </a:cubicBezTo>
                  <a:cubicBezTo>
                    <a:pt x="49" y="76"/>
                    <a:pt x="47" y="77"/>
                    <a:pt x="43" y="77"/>
                  </a:cubicBezTo>
                  <a:cubicBezTo>
                    <a:pt x="37" y="77"/>
                    <a:pt x="33" y="77"/>
                    <a:pt x="30" y="78"/>
                  </a:cubicBezTo>
                  <a:cubicBezTo>
                    <a:pt x="30" y="80"/>
                    <a:pt x="30" y="82"/>
                    <a:pt x="30" y="84"/>
                  </a:cubicBezTo>
                  <a:cubicBezTo>
                    <a:pt x="34" y="84"/>
                    <a:pt x="37" y="87"/>
                    <a:pt x="40" y="91"/>
                  </a:cubicBezTo>
                  <a:cubicBezTo>
                    <a:pt x="44" y="96"/>
                    <a:pt x="46" y="103"/>
                    <a:pt x="48" y="111"/>
                  </a:cubicBezTo>
                  <a:cubicBezTo>
                    <a:pt x="49" y="116"/>
                    <a:pt x="49" y="120"/>
                    <a:pt x="48" y="124"/>
                  </a:cubicBezTo>
                  <a:cubicBezTo>
                    <a:pt x="47" y="125"/>
                    <a:pt x="46" y="125"/>
                    <a:pt x="45" y="125"/>
                  </a:cubicBezTo>
                  <a:cubicBezTo>
                    <a:pt x="44" y="125"/>
                    <a:pt x="43" y="125"/>
                    <a:pt x="42" y="124"/>
                  </a:cubicBezTo>
                  <a:cubicBezTo>
                    <a:pt x="42" y="123"/>
                    <a:pt x="42" y="121"/>
                    <a:pt x="42" y="118"/>
                  </a:cubicBezTo>
                  <a:cubicBezTo>
                    <a:pt x="41" y="116"/>
                    <a:pt x="41" y="114"/>
                    <a:pt x="41" y="113"/>
                  </a:cubicBezTo>
                  <a:cubicBezTo>
                    <a:pt x="40" y="104"/>
                    <a:pt x="37" y="97"/>
                    <a:pt x="33" y="93"/>
                  </a:cubicBezTo>
                  <a:cubicBezTo>
                    <a:pt x="33" y="92"/>
                    <a:pt x="32" y="91"/>
                    <a:pt x="30" y="91"/>
                  </a:cubicBezTo>
                  <a:cubicBezTo>
                    <a:pt x="31" y="97"/>
                    <a:pt x="31" y="101"/>
                    <a:pt x="31" y="105"/>
                  </a:cubicBezTo>
                  <a:cubicBezTo>
                    <a:pt x="31" y="107"/>
                    <a:pt x="31" y="111"/>
                    <a:pt x="30" y="116"/>
                  </a:cubicBezTo>
                  <a:cubicBezTo>
                    <a:pt x="30" y="124"/>
                    <a:pt x="30" y="129"/>
                    <a:pt x="29" y="133"/>
                  </a:cubicBezTo>
                  <a:cubicBezTo>
                    <a:pt x="29" y="136"/>
                    <a:pt x="28" y="137"/>
                    <a:pt x="27" y="137"/>
                  </a:cubicBezTo>
                  <a:cubicBezTo>
                    <a:pt x="26" y="137"/>
                    <a:pt x="25" y="136"/>
                    <a:pt x="24" y="133"/>
                  </a:cubicBezTo>
                  <a:cubicBezTo>
                    <a:pt x="24" y="120"/>
                    <a:pt x="24" y="111"/>
                    <a:pt x="24" y="105"/>
                  </a:cubicBezTo>
                  <a:cubicBezTo>
                    <a:pt x="24" y="100"/>
                    <a:pt x="24" y="95"/>
                    <a:pt x="24" y="90"/>
                  </a:cubicBezTo>
                  <a:cubicBezTo>
                    <a:pt x="22" y="91"/>
                    <a:pt x="21" y="92"/>
                    <a:pt x="20" y="93"/>
                  </a:cubicBezTo>
                  <a:cubicBezTo>
                    <a:pt x="18" y="94"/>
                    <a:pt x="16" y="98"/>
                    <a:pt x="14" y="102"/>
                  </a:cubicBezTo>
                  <a:cubicBezTo>
                    <a:pt x="13" y="104"/>
                    <a:pt x="13" y="104"/>
                    <a:pt x="13" y="104"/>
                  </a:cubicBezTo>
                  <a:cubicBezTo>
                    <a:pt x="12" y="108"/>
                    <a:pt x="11" y="114"/>
                    <a:pt x="11" y="122"/>
                  </a:cubicBezTo>
                  <a:cubicBezTo>
                    <a:pt x="10" y="124"/>
                    <a:pt x="9" y="125"/>
                    <a:pt x="7" y="125"/>
                  </a:cubicBezTo>
                  <a:cubicBezTo>
                    <a:pt x="6" y="125"/>
                    <a:pt x="5" y="124"/>
                    <a:pt x="5" y="122"/>
                  </a:cubicBezTo>
                  <a:cubicBezTo>
                    <a:pt x="6" y="115"/>
                    <a:pt x="7" y="108"/>
                    <a:pt x="8" y="102"/>
                  </a:cubicBezTo>
                  <a:cubicBezTo>
                    <a:pt x="9" y="97"/>
                    <a:pt x="11" y="92"/>
                    <a:pt x="14" y="89"/>
                  </a:cubicBezTo>
                  <a:cubicBezTo>
                    <a:pt x="17" y="86"/>
                    <a:pt x="20" y="84"/>
                    <a:pt x="24" y="84"/>
                  </a:cubicBezTo>
                  <a:cubicBezTo>
                    <a:pt x="24" y="81"/>
                    <a:pt x="24" y="81"/>
                    <a:pt x="24" y="81"/>
                  </a:cubicBezTo>
                  <a:cubicBezTo>
                    <a:pt x="24" y="80"/>
                    <a:pt x="24" y="79"/>
                    <a:pt x="24" y="78"/>
                  </a:cubicBezTo>
                  <a:cubicBezTo>
                    <a:pt x="14" y="78"/>
                    <a:pt x="9" y="78"/>
                    <a:pt x="9" y="78"/>
                  </a:cubicBezTo>
                  <a:cubicBezTo>
                    <a:pt x="6" y="79"/>
                    <a:pt x="4" y="79"/>
                    <a:pt x="3" y="77"/>
                  </a:cubicBezTo>
                  <a:cubicBezTo>
                    <a:pt x="2" y="76"/>
                    <a:pt x="2" y="74"/>
                    <a:pt x="3" y="72"/>
                  </a:cubicBezTo>
                  <a:cubicBezTo>
                    <a:pt x="3" y="70"/>
                    <a:pt x="4" y="70"/>
                    <a:pt x="7" y="70"/>
                  </a:cubicBezTo>
                  <a:cubicBezTo>
                    <a:pt x="8" y="70"/>
                    <a:pt x="10" y="70"/>
                    <a:pt x="14" y="70"/>
                  </a:cubicBezTo>
                  <a:cubicBezTo>
                    <a:pt x="24" y="70"/>
                    <a:pt x="24" y="70"/>
                    <a:pt x="24" y="70"/>
                  </a:cubicBezTo>
                  <a:cubicBezTo>
                    <a:pt x="24" y="66"/>
                    <a:pt x="24" y="66"/>
                    <a:pt x="24" y="66"/>
                  </a:cubicBezTo>
                  <a:cubicBezTo>
                    <a:pt x="22" y="66"/>
                    <a:pt x="21" y="66"/>
                    <a:pt x="20" y="65"/>
                  </a:cubicBezTo>
                  <a:cubicBezTo>
                    <a:pt x="12" y="62"/>
                    <a:pt x="6" y="56"/>
                    <a:pt x="2" y="46"/>
                  </a:cubicBezTo>
                  <a:cubicBezTo>
                    <a:pt x="2" y="46"/>
                    <a:pt x="2" y="43"/>
                    <a:pt x="2" y="40"/>
                  </a:cubicBezTo>
                  <a:cubicBezTo>
                    <a:pt x="2" y="39"/>
                    <a:pt x="2" y="38"/>
                    <a:pt x="2" y="37"/>
                  </a:cubicBezTo>
                  <a:close/>
                  <a:moveTo>
                    <a:pt x="9" y="3"/>
                  </a:moveTo>
                  <a:cubicBezTo>
                    <a:pt x="11" y="3"/>
                    <a:pt x="15" y="3"/>
                    <a:pt x="19" y="3"/>
                  </a:cubicBezTo>
                  <a:cubicBezTo>
                    <a:pt x="40" y="3"/>
                    <a:pt x="40" y="3"/>
                    <a:pt x="40" y="3"/>
                  </a:cubicBezTo>
                  <a:cubicBezTo>
                    <a:pt x="43" y="3"/>
                    <a:pt x="44" y="5"/>
                    <a:pt x="44" y="7"/>
                  </a:cubicBezTo>
                  <a:cubicBezTo>
                    <a:pt x="44" y="9"/>
                    <a:pt x="42" y="10"/>
                    <a:pt x="39" y="10"/>
                  </a:cubicBezTo>
                  <a:cubicBezTo>
                    <a:pt x="34" y="10"/>
                    <a:pt x="25" y="10"/>
                    <a:pt x="14" y="11"/>
                  </a:cubicBezTo>
                  <a:cubicBezTo>
                    <a:pt x="13" y="11"/>
                    <a:pt x="12" y="11"/>
                    <a:pt x="11" y="11"/>
                  </a:cubicBezTo>
                  <a:cubicBezTo>
                    <a:pt x="7" y="11"/>
                    <a:pt x="5" y="11"/>
                    <a:pt x="5" y="9"/>
                  </a:cubicBezTo>
                  <a:cubicBezTo>
                    <a:pt x="5" y="9"/>
                    <a:pt x="4" y="8"/>
                    <a:pt x="5" y="6"/>
                  </a:cubicBezTo>
                  <a:cubicBezTo>
                    <a:pt x="5" y="5"/>
                    <a:pt x="5" y="5"/>
                    <a:pt x="5" y="5"/>
                  </a:cubicBezTo>
                  <a:cubicBezTo>
                    <a:pt x="5" y="3"/>
                    <a:pt x="6" y="3"/>
                    <a:pt x="9" y="3"/>
                  </a:cubicBezTo>
                  <a:close/>
                  <a:moveTo>
                    <a:pt x="33" y="26"/>
                  </a:moveTo>
                  <a:cubicBezTo>
                    <a:pt x="28" y="26"/>
                    <a:pt x="23" y="26"/>
                    <a:pt x="17" y="26"/>
                  </a:cubicBezTo>
                  <a:cubicBezTo>
                    <a:pt x="18" y="32"/>
                    <a:pt x="20" y="38"/>
                    <a:pt x="24" y="42"/>
                  </a:cubicBezTo>
                  <a:cubicBezTo>
                    <a:pt x="25" y="44"/>
                    <a:pt x="26" y="45"/>
                    <a:pt x="27" y="45"/>
                  </a:cubicBezTo>
                  <a:cubicBezTo>
                    <a:pt x="28" y="45"/>
                    <a:pt x="29" y="44"/>
                    <a:pt x="29" y="42"/>
                  </a:cubicBezTo>
                  <a:cubicBezTo>
                    <a:pt x="32" y="38"/>
                    <a:pt x="33" y="33"/>
                    <a:pt x="33" y="26"/>
                  </a:cubicBezTo>
                  <a:close/>
                  <a:moveTo>
                    <a:pt x="54" y="2"/>
                  </a:moveTo>
                  <a:cubicBezTo>
                    <a:pt x="55" y="0"/>
                    <a:pt x="57" y="0"/>
                    <a:pt x="58" y="1"/>
                  </a:cubicBezTo>
                  <a:cubicBezTo>
                    <a:pt x="59" y="2"/>
                    <a:pt x="60" y="4"/>
                    <a:pt x="59" y="6"/>
                  </a:cubicBezTo>
                  <a:cubicBezTo>
                    <a:pt x="57" y="8"/>
                    <a:pt x="57" y="9"/>
                    <a:pt x="58" y="10"/>
                  </a:cubicBezTo>
                  <a:cubicBezTo>
                    <a:pt x="59" y="11"/>
                    <a:pt x="61" y="12"/>
                    <a:pt x="63" y="11"/>
                  </a:cubicBezTo>
                  <a:cubicBezTo>
                    <a:pt x="67" y="9"/>
                    <a:pt x="73" y="9"/>
                    <a:pt x="80" y="11"/>
                  </a:cubicBezTo>
                  <a:cubicBezTo>
                    <a:pt x="84" y="13"/>
                    <a:pt x="87" y="16"/>
                    <a:pt x="88" y="22"/>
                  </a:cubicBezTo>
                  <a:cubicBezTo>
                    <a:pt x="89" y="27"/>
                    <a:pt x="88" y="32"/>
                    <a:pt x="85" y="35"/>
                  </a:cubicBezTo>
                  <a:cubicBezTo>
                    <a:pt x="84" y="38"/>
                    <a:pt x="81" y="39"/>
                    <a:pt x="75" y="37"/>
                  </a:cubicBezTo>
                  <a:cubicBezTo>
                    <a:pt x="75" y="37"/>
                    <a:pt x="74" y="37"/>
                    <a:pt x="74" y="37"/>
                  </a:cubicBezTo>
                  <a:cubicBezTo>
                    <a:pt x="69" y="37"/>
                    <a:pt x="66" y="37"/>
                    <a:pt x="63" y="38"/>
                  </a:cubicBezTo>
                  <a:cubicBezTo>
                    <a:pt x="62" y="38"/>
                    <a:pt x="61" y="40"/>
                    <a:pt x="61" y="43"/>
                  </a:cubicBezTo>
                  <a:cubicBezTo>
                    <a:pt x="62" y="48"/>
                    <a:pt x="62" y="56"/>
                    <a:pt x="62" y="66"/>
                  </a:cubicBezTo>
                  <a:cubicBezTo>
                    <a:pt x="62" y="70"/>
                    <a:pt x="61" y="76"/>
                    <a:pt x="61" y="84"/>
                  </a:cubicBezTo>
                  <a:cubicBezTo>
                    <a:pt x="59" y="99"/>
                    <a:pt x="58" y="110"/>
                    <a:pt x="57" y="116"/>
                  </a:cubicBezTo>
                  <a:cubicBezTo>
                    <a:pt x="57" y="122"/>
                    <a:pt x="55" y="128"/>
                    <a:pt x="53" y="136"/>
                  </a:cubicBezTo>
                  <a:cubicBezTo>
                    <a:pt x="52" y="137"/>
                    <a:pt x="51" y="138"/>
                    <a:pt x="50" y="138"/>
                  </a:cubicBezTo>
                  <a:cubicBezTo>
                    <a:pt x="48" y="138"/>
                    <a:pt x="48" y="137"/>
                    <a:pt x="48" y="136"/>
                  </a:cubicBezTo>
                  <a:cubicBezTo>
                    <a:pt x="48" y="135"/>
                    <a:pt x="48" y="133"/>
                    <a:pt x="48" y="130"/>
                  </a:cubicBezTo>
                  <a:cubicBezTo>
                    <a:pt x="49" y="127"/>
                    <a:pt x="49" y="126"/>
                    <a:pt x="49" y="125"/>
                  </a:cubicBezTo>
                  <a:cubicBezTo>
                    <a:pt x="53" y="104"/>
                    <a:pt x="55" y="85"/>
                    <a:pt x="55" y="68"/>
                  </a:cubicBezTo>
                  <a:cubicBezTo>
                    <a:pt x="56" y="60"/>
                    <a:pt x="56" y="54"/>
                    <a:pt x="55" y="48"/>
                  </a:cubicBezTo>
                  <a:cubicBezTo>
                    <a:pt x="54" y="45"/>
                    <a:pt x="53" y="42"/>
                    <a:pt x="52" y="40"/>
                  </a:cubicBezTo>
                  <a:cubicBezTo>
                    <a:pt x="50" y="38"/>
                    <a:pt x="51" y="36"/>
                    <a:pt x="54" y="34"/>
                  </a:cubicBezTo>
                  <a:cubicBezTo>
                    <a:pt x="58" y="30"/>
                    <a:pt x="66" y="29"/>
                    <a:pt x="76" y="31"/>
                  </a:cubicBezTo>
                  <a:cubicBezTo>
                    <a:pt x="81" y="32"/>
                    <a:pt x="83" y="30"/>
                    <a:pt x="83" y="25"/>
                  </a:cubicBezTo>
                  <a:cubicBezTo>
                    <a:pt x="83" y="21"/>
                    <a:pt x="81" y="18"/>
                    <a:pt x="77" y="18"/>
                  </a:cubicBezTo>
                  <a:cubicBezTo>
                    <a:pt x="70" y="17"/>
                    <a:pt x="66" y="17"/>
                    <a:pt x="65" y="18"/>
                  </a:cubicBezTo>
                  <a:cubicBezTo>
                    <a:pt x="63" y="19"/>
                    <a:pt x="60" y="19"/>
                    <a:pt x="57" y="19"/>
                  </a:cubicBezTo>
                  <a:cubicBezTo>
                    <a:pt x="57" y="18"/>
                    <a:pt x="55" y="17"/>
                    <a:pt x="53" y="15"/>
                  </a:cubicBezTo>
                  <a:cubicBezTo>
                    <a:pt x="53" y="14"/>
                    <a:pt x="52" y="14"/>
                    <a:pt x="52" y="13"/>
                  </a:cubicBezTo>
                  <a:cubicBezTo>
                    <a:pt x="50" y="10"/>
                    <a:pt x="51" y="6"/>
                    <a:pt x="54" y="2"/>
                  </a:cubicBezTo>
                  <a:close/>
                  <a:moveTo>
                    <a:pt x="95" y="70"/>
                  </a:moveTo>
                  <a:cubicBezTo>
                    <a:pt x="96" y="72"/>
                    <a:pt x="95" y="73"/>
                    <a:pt x="94" y="74"/>
                  </a:cubicBezTo>
                  <a:cubicBezTo>
                    <a:pt x="92" y="74"/>
                    <a:pt x="91" y="74"/>
                    <a:pt x="90" y="72"/>
                  </a:cubicBezTo>
                  <a:cubicBezTo>
                    <a:pt x="88" y="67"/>
                    <a:pt x="84" y="62"/>
                    <a:pt x="78" y="56"/>
                  </a:cubicBezTo>
                  <a:cubicBezTo>
                    <a:pt x="77" y="55"/>
                    <a:pt x="76" y="54"/>
                    <a:pt x="76" y="54"/>
                  </a:cubicBezTo>
                  <a:cubicBezTo>
                    <a:pt x="75" y="56"/>
                    <a:pt x="75" y="56"/>
                    <a:pt x="75" y="56"/>
                  </a:cubicBezTo>
                  <a:cubicBezTo>
                    <a:pt x="75" y="61"/>
                    <a:pt x="75" y="73"/>
                    <a:pt x="77" y="93"/>
                  </a:cubicBezTo>
                  <a:cubicBezTo>
                    <a:pt x="78" y="99"/>
                    <a:pt x="80" y="107"/>
                    <a:pt x="83" y="119"/>
                  </a:cubicBezTo>
                  <a:cubicBezTo>
                    <a:pt x="84" y="122"/>
                    <a:pt x="85" y="124"/>
                    <a:pt x="85" y="124"/>
                  </a:cubicBezTo>
                  <a:cubicBezTo>
                    <a:pt x="86" y="126"/>
                    <a:pt x="86" y="128"/>
                    <a:pt x="87" y="131"/>
                  </a:cubicBezTo>
                  <a:cubicBezTo>
                    <a:pt x="88" y="132"/>
                    <a:pt x="88" y="133"/>
                    <a:pt x="88" y="133"/>
                  </a:cubicBezTo>
                  <a:cubicBezTo>
                    <a:pt x="88" y="135"/>
                    <a:pt x="88" y="136"/>
                    <a:pt x="86" y="136"/>
                  </a:cubicBezTo>
                  <a:cubicBezTo>
                    <a:pt x="84" y="136"/>
                    <a:pt x="83" y="135"/>
                    <a:pt x="82" y="133"/>
                  </a:cubicBezTo>
                  <a:cubicBezTo>
                    <a:pt x="77" y="123"/>
                    <a:pt x="73" y="110"/>
                    <a:pt x="70" y="93"/>
                  </a:cubicBezTo>
                  <a:cubicBezTo>
                    <a:pt x="69" y="79"/>
                    <a:pt x="68" y="68"/>
                    <a:pt x="68" y="58"/>
                  </a:cubicBezTo>
                  <a:cubicBezTo>
                    <a:pt x="68" y="51"/>
                    <a:pt x="68" y="46"/>
                    <a:pt x="68" y="44"/>
                  </a:cubicBezTo>
                  <a:cubicBezTo>
                    <a:pt x="68" y="43"/>
                    <a:pt x="69" y="42"/>
                    <a:pt x="70" y="42"/>
                  </a:cubicBezTo>
                  <a:cubicBezTo>
                    <a:pt x="71" y="41"/>
                    <a:pt x="71" y="41"/>
                    <a:pt x="72" y="42"/>
                  </a:cubicBezTo>
                  <a:cubicBezTo>
                    <a:pt x="76" y="45"/>
                    <a:pt x="78" y="48"/>
                    <a:pt x="80" y="49"/>
                  </a:cubicBezTo>
                  <a:cubicBezTo>
                    <a:pt x="86" y="54"/>
                    <a:pt x="91" y="61"/>
                    <a:pt x="95" y="7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1049771" name="íṣ1ïḑe"/>
            <p:cNvSpPr/>
            <p:nvPr/>
          </p:nvSpPr>
          <p:spPr bwMode="auto">
            <a:xfrm>
              <a:off x="1750909" y="4905965"/>
              <a:ext cx="93663" cy="87313"/>
            </a:xfrm>
            <a:custGeom>
              <a:avLst/>
              <a:gdLst>
                <a:gd name="T0" fmla="*/ 51 w 51"/>
                <a:gd name="T1" fmla="*/ 17 h 47"/>
                <a:gd name="T2" fmla="*/ 46 w 51"/>
                <a:gd name="T3" fmla="*/ 25 h 47"/>
                <a:gd name="T4" fmla="*/ 26 w 51"/>
                <a:gd name="T5" fmla="*/ 13 h 47"/>
                <a:gd name="T6" fmla="*/ 20 w 51"/>
                <a:gd name="T7" fmla="*/ 9 h 47"/>
                <a:gd name="T8" fmla="*/ 14 w 51"/>
                <a:gd name="T9" fmla="*/ 9 h 47"/>
                <a:gd name="T10" fmla="*/ 10 w 51"/>
                <a:gd name="T11" fmla="*/ 13 h 47"/>
                <a:gd name="T12" fmla="*/ 8 w 51"/>
                <a:gd name="T13" fmla="*/ 19 h 47"/>
                <a:gd name="T14" fmla="*/ 10 w 51"/>
                <a:gd name="T15" fmla="*/ 23 h 47"/>
                <a:gd name="T16" fmla="*/ 17 w 51"/>
                <a:gd name="T17" fmla="*/ 27 h 47"/>
                <a:gd name="T18" fmla="*/ 37 w 51"/>
                <a:gd name="T19" fmla="*/ 40 h 47"/>
                <a:gd name="T20" fmla="*/ 33 w 51"/>
                <a:gd name="T21" fmla="*/ 47 h 47"/>
                <a:gd name="T22" fmla="*/ 13 w 51"/>
                <a:gd name="T23" fmla="*/ 35 h 47"/>
                <a:gd name="T24" fmla="*/ 4 w 51"/>
                <a:gd name="T25" fmla="*/ 29 h 47"/>
                <a:gd name="T26" fmla="*/ 1 w 51"/>
                <a:gd name="T27" fmla="*/ 24 h 47"/>
                <a:gd name="T28" fmla="*/ 0 w 51"/>
                <a:gd name="T29" fmla="*/ 18 h 47"/>
                <a:gd name="T30" fmla="*/ 3 w 51"/>
                <a:gd name="T31" fmla="*/ 10 h 47"/>
                <a:gd name="T32" fmla="*/ 10 w 51"/>
                <a:gd name="T33" fmla="*/ 2 h 47"/>
                <a:gd name="T34" fmla="*/ 15 w 51"/>
                <a:gd name="T35" fmla="*/ 0 h 47"/>
                <a:gd name="T36" fmla="*/ 21 w 51"/>
                <a:gd name="T37" fmla="*/ 0 h 47"/>
                <a:gd name="T38" fmla="*/ 31 w 51"/>
                <a:gd name="T39" fmla="*/ 5 h 47"/>
                <a:gd name="T40" fmla="*/ 51 w 51"/>
                <a:gd name="T41" fmla="*/ 17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51" h="47">
                  <a:moveTo>
                    <a:pt x="51" y="17"/>
                  </a:moveTo>
                  <a:cubicBezTo>
                    <a:pt x="46" y="25"/>
                    <a:pt x="46" y="25"/>
                    <a:pt x="46" y="25"/>
                  </a:cubicBezTo>
                  <a:cubicBezTo>
                    <a:pt x="26" y="13"/>
                    <a:pt x="26" y="13"/>
                    <a:pt x="26" y="13"/>
                  </a:cubicBezTo>
                  <a:cubicBezTo>
                    <a:pt x="23" y="11"/>
                    <a:pt x="21" y="10"/>
                    <a:pt x="20" y="9"/>
                  </a:cubicBezTo>
                  <a:cubicBezTo>
                    <a:pt x="18" y="9"/>
                    <a:pt x="16" y="9"/>
                    <a:pt x="14" y="9"/>
                  </a:cubicBezTo>
                  <a:cubicBezTo>
                    <a:pt x="13" y="10"/>
                    <a:pt x="11" y="11"/>
                    <a:pt x="10" y="13"/>
                  </a:cubicBezTo>
                  <a:cubicBezTo>
                    <a:pt x="9" y="16"/>
                    <a:pt x="8" y="17"/>
                    <a:pt x="8" y="19"/>
                  </a:cubicBezTo>
                  <a:cubicBezTo>
                    <a:pt x="9" y="21"/>
                    <a:pt x="9" y="22"/>
                    <a:pt x="10" y="23"/>
                  </a:cubicBezTo>
                  <a:cubicBezTo>
                    <a:pt x="12" y="24"/>
                    <a:pt x="14" y="25"/>
                    <a:pt x="17" y="27"/>
                  </a:cubicBezTo>
                  <a:cubicBezTo>
                    <a:pt x="37" y="40"/>
                    <a:pt x="37" y="40"/>
                    <a:pt x="37" y="40"/>
                  </a:cubicBezTo>
                  <a:cubicBezTo>
                    <a:pt x="33" y="47"/>
                    <a:pt x="33" y="47"/>
                    <a:pt x="33" y="47"/>
                  </a:cubicBezTo>
                  <a:cubicBezTo>
                    <a:pt x="13" y="35"/>
                    <a:pt x="13" y="35"/>
                    <a:pt x="13" y="35"/>
                  </a:cubicBezTo>
                  <a:cubicBezTo>
                    <a:pt x="9" y="33"/>
                    <a:pt x="6" y="31"/>
                    <a:pt x="4" y="29"/>
                  </a:cubicBezTo>
                  <a:cubicBezTo>
                    <a:pt x="2" y="28"/>
                    <a:pt x="1" y="26"/>
                    <a:pt x="1" y="24"/>
                  </a:cubicBezTo>
                  <a:cubicBezTo>
                    <a:pt x="0" y="22"/>
                    <a:pt x="0" y="20"/>
                    <a:pt x="0" y="18"/>
                  </a:cubicBezTo>
                  <a:cubicBezTo>
                    <a:pt x="0" y="15"/>
                    <a:pt x="2" y="13"/>
                    <a:pt x="3" y="10"/>
                  </a:cubicBezTo>
                  <a:cubicBezTo>
                    <a:pt x="6" y="6"/>
                    <a:pt x="8" y="4"/>
                    <a:pt x="10" y="2"/>
                  </a:cubicBezTo>
                  <a:cubicBezTo>
                    <a:pt x="11" y="1"/>
                    <a:pt x="13" y="0"/>
                    <a:pt x="15" y="0"/>
                  </a:cubicBezTo>
                  <a:cubicBezTo>
                    <a:pt x="17" y="0"/>
                    <a:pt x="19" y="0"/>
                    <a:pt x="21" y="0"/>
                  </a:cubicBezTo>
                  <a:cubicBezTo>
                    <a:pt x="23" y="1"/>
                    <a:pt x="27" y="3"/>
                    <a:pt x="31" y="5"/>
                  </a:cubicBezTo>
                  <a:lnTo>
                    <a:pt x="51" y="17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1049772" name="íṧḷîde"/>
            <p:cNvSpPr/>
            <p:nvPr/>
          </p:nvSpPr>
          <p:spPr bwMode="auto">
            <a:xfrm>
              <a:off x="1704872" y="4971053"/>
              <a:ext cx="100013" cy="92075"/>
            </a:xfrm>
            <a:custGeom>
              <a:avLst/>
              <a:gdLst>
                <a:gd name="T0" fmla="*/ 17 w 63"/>
                <a:gd name="T1" fmla="*/ 0 h 58"/>
                <a:gd name="T2" fmla="*/ 63 w 63"/>
                <a:gd name="T3" fmla="*/ 21 h 58"/>
                <a:gd name="T4" fmla="*/ 59 w 63"/>
                <a:gd name="T5" fmla="*/ 30 h 58"/>
                <a:gd name="T6" fmla="*/ 19 w 63"/>
                <a:gd name="T7" fmla="*/ 35 h 58"/>
                <a:gd name="T8" fmla="*/ 50 w 63"/>
                <a:gd name="T9" fmla="*/ 50 h 58"/>
                <a:gd name="T10" fmla="*/ 46 w 63"/>
                <a:gd name="T11" fmla="*/ 58 h 58"/>
                <a:gd name="T12" fmla="*/ 0 w 63"/>
                <a:gd name="T13" fmla="*/ 37 h 58"/>
                <a:gd name="T14" fmla="*/ 4 w 63"/>
                <a:gd name="T15" fmla="*/ 26 h 58"/>
                <a:gd name="T16" fmla="*/ 43 w 63"/>
                <a:gd name="T17" fmla="*/ 22 h 58"/>
                <a:gd name="T18" fmla="*/ 12 w 63"/>
                <a:gd name="T19" fmla="*/ 8 h 58"/>
                <a:gd name="T20" fmla="*/ 17 w 63"/>
                <a:gd name="T21" fmla="*/ 0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63" h="58">
                  <a:moveTo>
                    <a:pt x="17" y="0"/>
                  </a:moveTo>
                  <a:lnTo>
                    <a:pt x="63" y="21"/>
                  </a:lnTo>
                  <a:lnTo>
                    <a:pt x="59" y="30"/>
                  </a:lnTo>
                  <a:lnTo>
                    <a:pt x="19" y="35"/>
                  </a:lnTo>
                  <a:lnTo>
                    <a:pt x="50" y="50"/>
                  </a:lnTo>
                  <a:lnTo>
                    <a:pt x="46" y="58"/>
                  </a:lnTo>
                  <a:lnTo>
                    <a:pt x="0" y="37"/>
                  </a:lnTo>
                  <a:lnTo>
                    <a:pt x="4" y="26"/>
                  </a:lnTo>
                  <a:lnTo>
                    <a:pt x="43" y="22"/>
                  </a:lnTo>
                  <a:lnTo>
                    <a:pt x="12" y="8"/>
                  </a:lnTo>
                  <a:lnTo>
                    <a:pt x="17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1049773" name="íS1îḍé"/>
            <p:cNvSpPr/>
            <p:nvPr/>
          </p:nvSpPr>
          <p:spPr bwMode="auto">
            <a:xfrm>
              <a:off x="1690584" y="5045665"/>
              <a:ext cx="84138" cy="44450"/>
            </a:xfrm>
            <a:custGeom>
              <a:avLst/>
              <a:gdLst>
                <a:gd name="T0" fmla="*/ 5 w 53"/>
                <a:gd name="T1" fmla="*/ 0 h 28"/>
                <a:gd name="T2" fmla="*/ 53 w 53"/>
                <a:gd name="T3" fmla="*/ 19 h 28"/>
                <a:gd name="T4" fmla="*/ 49 w 53"/>
                <a:gd name="T5" fmla="*/ 28 h 28"/>
                <a:gd name="T6" fmla="*/ 0 w 53"/>
                <a:gd name="T7" fmla="*/ 10 h 28"/>
                <a:gd name="T8" fmla="*/ 5 w 53"/>
                <a:gd name="T9" fmla="*/ 0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3" h="28">
                  <a:moveTo>
                    <a:pt x="5" y="0"/>
                  </a:moveTo>
                  <a:lnTo>
                    <a:pt x="53" y="19"/>
                  </a:lnTo>
                  <a:lnTo>
                    <a:pt x="49" y="28"/>
                  </a:lnTo>
                  <a:lnTo>
                    <a:pt x="0" y="10"/>
                  </a:lnTo>
                  <a:lnTo>
                    <a:pt x="5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1049774" name="íṧļïḋè"/>
            <p:cNvSpPr/>
            <p:nvPr/>
          </p:nvSpPr>
          <p:spPr bwMode="auto">
            <a:xfrm>
              <a:off x="1674709" y="5091703"/>
              <a:ext cx="92075" cy="73025"/>
            </a:xfrm>
            <a:custGeom>
              <a:avLst/>
              <a:gdLst>
                <a:gd name="T0" fmla="*/ 4 w 58"/>
                <a:gd name="T1" fmla="*/ 3 h 46"/>
                <a:gd name="T2" fmla="*/ 58 w 58"/>
                <a:gd name="T3" fmla="*/ 0 h 46"/>
                <a:gd name="T4" fmla="*/ 55 w 58"/>
                <a:gd name="T5" fmla="*/ 11 h 46"/>
                <a:gd name="T6" fmla="*/ 14 w 58"/>
                <a:gd name="T7" fmla="*/ 13 h 46"/>
                <a:gd name="T8" fmla="*/ 46 w 58"/>
                <a:gd name="T9" fmla="*/ 35 h 46"/>
                <a:gd name="T10" fmla="*/ 44 w 58"/>
                <a:gd name="T11" fmla="*/ 46 h 46"/>
                <a:gd name="T12" fmla="*/ 0 w 58"/>
                <a:gd name="T13" fmla="*/ 14 h 46"/>
                <a:gd name="T14" fmla="*/ 4 w 58"/>
                <a:gd name="T15" fmla="*/ 3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8" h="46">
                  <a:moveTo>
                    <a:pt x="4" y="3"/>
                  </a:moveTo>
                  <a:lnTo>
                    <a:pt x="58" y="0"/>
                  </a:lnTo>
                  <a:lnTo>
                    <a:pt x="55" y="11"/>
                  </a:lnTo>
                  <a:lnTo>
                    <a:pt x="14" y="13"/>
                  </a:lnTo>
                  <a:lnTo>
                    <a:pt x="46" y="35"/>
                  </a:lnTo>
                  <a:lnTo>
                    <a:pt x="44" y="46"/>
                  </a:lnTo>
                  <a:lnTo>
                    <a:pt x="0" y="14"/>
                  </a:lnTo>
                  <a:lnTo>
                    <a:pt x="4" y="3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1049775" name="ïṡḷiḋé"/>
            <p:cNvSpPr/>
            <p:nvPr/>
          </p:nvSpPr>
          <p:spPr bwMode="auto">
            <a:xfrm>
              <a:off x="1652484" y="5153615"/>
              <a:ext cx="90488" cy="73025"/>
            </a:xfrm>
            <a:custGeom>
              <a:avLst/>
              <a:gdLst>
                <a:gd name="T0" fmla="*/ 7 w 57"/>
                <a:gd name="T1" fmla="*/ 0 h 46"/>
                <a:gd name="T2" fmla="*/ 57 w 57"/>
                <a:gd name="T3" fmla="*/ 10 h 46"/>
                <a:gd name="T4" fmla="*/ 50 w 57"/>
                <a:gd name="T5" fmla="*/ 46 h 46"/>
                <a:gd name="T6" fmla="*/ 42 w 57"/>
                <a:gd name="T7" fmla="*/ 45 h 46"/>
                <a:gd name="T8" fmla="*/ 47 w 57"/>
                <a:gd name="T9" fmla="*/ 18 h 46"/>
                <a:gd name="T10" fmla="*/ 36 w 57"/>
                <a:gd name="T11" fmla="*/ 16 h 46"/>
                <a:gd name="T12" fmla="*/ 30 w 57"/>
                <a:gd name="T13" fmla="*/ 40 h 46"/>
                <a:gd name="T14" fmla="*/ 22 w 57"/>
                <a:gd name="T15" fmla="*/ 39 h 46"/>
                <a:gd name="T16" fmla="*/ 27 w 57"/>
                <a:gd name="T17" fmla="*/ 14 h 46"/>
                <a:gd name="T18" fmla="*/ 14 w 57"/>
                <a:gd name="T19" fmla="*/ 11 h 46"/>
                <a:gd name="T20" fmla="*/ 8 w 57"/>
                <a:gd name="T21" fmla="*/ 39 h 46"/>
                <a:gd name="T22" fmla="*/ 0 w 57"/>
                <a:gd name="T23" fmla="*/ 38 h 46"/>
                <a:gd name="T24" fmla="*/ 7 w 57"/>
                <a:gd name="T25" fmla="*/ 0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57" h="46">
                  <a:moveTo>
                    <a:pt x="7" y="0"/>
                  </a:moveTo>
                  <a:lnTo>
                    <a:pt x="57" y="10"/>
                  </a:lnTo>
                  <a:lnTo>
                    <a:pt x="50" y="46"/>
                  </a:lnTo>
                  <a:lnTo>
                    <a:pt x="42" y="45"/>
                  </a:lnTo>
                  <a:lnTo>
                    <a:pt x="47" y="18"/>
                  </a:lnTo>
                  <a:lnTo>
                    <a:pt x="36" y="16"/>
                  </a:lnTo>
                  <a:lnTo>
                    <a:pt x="30" y="40"/>
                  </a:lnTo>
                  <a:lnTo>
                    <a:pt x="22" y="39"/>
                  </a:lnTo>
                  <a:lnTo>
                    <a:pt x="27" y="14"/>
                  </a:lnTo>
                  <a:lnTo>
                    <a:pt x="14" y="11"/>
                  </a:lnTo>
                  <a:lnTo>
                    <a:pt x="8" y="39"/>
                  </a:lnTo>
                  <a:lnTo>
                    <a:pt x="0" y="38"/>
                  </a:lnTo>
                  <a:lnTo>
                    <a:pt x="7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1049776" name="ïşļiḋe"/>
            <p:cNvSpPr/>
            <p:nvPr/>
          </p:nvSpPr>
          <p:spPr bwMode="auto">
            <a:xfrm>
              <a:off x="1641372" y="5231403"/>
              <a:ext cx="88900" cy="71438"/>
            </a:xfrm>
            <a:custGeom>
              <a:avLst/>
              <a:gdLst>
                <a:gd name="T0" fmla="*/ 4 w 48"/>
                <a:gd name="T1" fmla="*/ 0 h 39"/>
                <a:gd name="T2" fmla="*/ 48 w 48"/>
                <a:gd name="T3" fmla="*/ 4 h 39"/>
                <a:gd name="T4" fmla="*/ 46 w 48"/>
                <a:gd name="T5" fmla="*/ 23 h 39"/>
                <a:gd name="T6" fmla="*/ 44 w 48"/>
                <a:gd name="T7" fmla="*/ 33 h 39"/>
                <a:gd name="T8" fmla="*/ 39 w 48"/>
                <a:gd name="T9" fmla="*/ 38 h 39"/>
                <a:gd name="T10" fmla="*/ 32 w 48"/>
                <a:gd name="T11" fmla="*/ 39 h 39"/>
                <a:gd name="T12" fmla="*/ 24 w 48"/>
                <a:gd name="T13" fmla="*/ 35 h 39"/>
                <a:gd name="T14" fmla="*/ 21 w 48"/>
                <a:gd name="T15" fmla="*/ 26 h 39"/>
                <a:gd name="T16" fmla="*/ 17 w 48"/>
                <a:gd name="T17" fmla="*/ 30 h 39"/>
                <a:gd name="T18" fmla="*/ 9 w 48"/>
                <a:gd name="T19" fmla="*/ 35 h 39"/>
                <a:gd name="T20" fmla="*/ 0 w 48"/>
                <a:gd name="T21" fmla="*/ 39 h 39"/>
                <a:gd name="T22" fmla="*/ 1 w 48"/>
                <a:gd name="T23" fmla="*/ 29 h 39"/>
                <a:gd name="T24" fmla="*/ 12 w 48"/>
                <a:gd name="T25" fmla="*/ 23 h 39"/>
                <a:gd name="T26" fmla="*/ 18 w 48"/>
                <a:gd name="T27" fmla="*/ 19 h 39"/>
                <a:gd name="T28" fmla="*/ 20 w 48"/>
                <a:gd name="T29" fmla="*/ 17 h 39"/>
                <a:gd name="T30" fmla="*/ 21 w 48"/>
                <a:gd name="T31" fmla="*/ 12 h 39"/>
                <a:gd name="T32" fmla="*/ 22 w 48"/>
                <a:gd name="T33" fmla="*/ 11 h 39"/>
                <a:gd name="T34" fmla="*/ 3 w 48"/>
                <a:gd name="T35" fmla="*/ 9 h 39"/>
                <a:gd name="T36" fmla="*/ 4 w 48"/>
                <a:gd name="T37" fmla="*/ 0 h 39"/>
                <a:gd name="T38" fmla="*/ 29 w 48"/>
                <a:gd name="T39" fmla="*/ 11 h 39"/>
                <a:gd name="T40" fmla="*/ 28 w 48"/>
                <a:gd name="T41" fmla="*/ 18 h 39"/>
                <a:gd name="T42" fmla="*/ 28 w 48"/>
                <a:gd name="T43" fmla="*/ 26 h 39"/>
                <a:gd name="T44" fmla="*/ 29 w 48"/>
                <a:gd name="T45" fmla="*/ 28 h 39"/>
                <a:gd name="T46" fmla="*/ 32 w 48"/>
                <a:gd name="T47" fmla="*/ 30 h 39"/>
                <a:gd name="T48" fmla="*/ 36 w 48"/>
                <a:gd name="T49" fmla="*/ 29 h 39"/>
                <a:gd name="T50" fmla="*/ 38 w 48"/>
                <a:gd name="T51" fmla="*/ 26 h 39"/>
                <a:gd name="T52" fmla="*/ 39 w 48"/>
                <a:gd name="T53" fmla="*/ 19 h 39"/>
                <a:gd name="T54" fmla="*/ 40 w 48"/>
                <a:gd name="T55" fmla="*/ 12 h 39"/>
                <a:gd name="T56" fmla="*/ 29 w 48"/>
                <a:gd name="T57" fmla="*/ 11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48" h="39">
                  <a:moveTo>
                    <a:pt x="4" y="0"/>
                  </a:moveTo>
                  <a:cubicBezTo>
                    <a:pt x="48" y="4"/>
                    <a:pt x="48" y="4"/>
                    <a:pt x="48" y="4"/>
                  </a:cubicBezTo>
                  <a:cubicBezTo>
                    <a:pt x="46" y="23"/>
                    <a:pt x="46" y="23"/>
                    <a:pt x="46" y="23"/>
                  </a:cubicBezTo>
                  <a:cubicBezTo>
                    <a:pt x="46" y="27"/>
                    <a:pt x="45" y="31"/>
                    <a:pt x="44" y="33"/>
                  </a:cubicBezTo>
                  <a:cubicBezTo>
                    <a:pt x="43" y="35"/>
                    <a:pt x="41" y="36"/>
                    <a:pt x="39" y="38"/>
                  </a:cubicBezTo>
                  <a:cubicBezTo>
                    <a:pt x="37" y="39"/>
                    <a:pt x="35" y="39"/>
                    <a:pt x="32" y="39"/>
                  </a:cubicBezTo>
                  <a:cubicBezTo>
                    <a:pt x="29" y="38"/>
                    <a:pt x="26" y="37"/>
                    <a:pt x="24" y="35"/>
                  </a:cubicBezTo>
                  <a:cubicBezTo>
                    <a:pt x="22" y="33"/>
                    <a:pt x="21" y="30"/>
                    <a:pt x="21" y="26"/>
                  </a:cubicBezTo>
                  <a:cubicBezTo>
                    <a:pt x="20" y="28"/>
                    <a:pt x="18" y="29"/>
                    <a:pt x="17" y="30"/>
                  </a:cubicBezTo>
                  <a:cubicBezTo>
                    <a:pt x="16" y="32"/>
                    <a:pt x="13" y="33"/>
                    <a:pt x="9" y="35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1" y="29"/>
                    <a:pt x="1" y="29"/>
                    <a:pt x="1" y="29"/>
                  </a:cubicBezTo>
                  <a:cubicBezTo>
                    <a:pt x="12" y="23"/>
                    <a:pt x="12" y="23"/>
                    <a:pt x="12" y="23"/>
                  </a:cubicBezTo>
                  <a:cubicBezTo>
                    <a:pt x="15" y="21"/>
                    <a:pt x="17" y="20"/>
                    <a:pt x="18" y="19"/>
                  </a:cubicBezTo>
                  <a:cubicBezTo>
                    <a:pt x="19" y="18"/>
                    <a:pt x="20" y="18"/>
                    <a:pt x="20" y="17"/>
                  </a:cubicBezTo>
                  <a:cubicBezTo>
                    <a:pt x="21" y="16"/>
                    <a:pt x="21" y="14"/>
                    <a:pt x="21" y="12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3" y="9"/>
                    <a:pt x="3" y="9"/>
                    <a:pt x="3" y="9"/>
                  </a:cubicBezTo>
                  <a:lnTo>
                    <a:pt x="4" y="0"/>
                  </a:lnTo>
                  <a:close/>
                  <a:moveTo>
                    <a:pt x="29" y="11"/>
                  </a:moveTo>
                  <a:cubicBezTo>
                    <a:pt x="28" y="18"/>
                    <a:pt x="28" y="18"/>
                    <a:pt x="28" y="18"/>
                  </a:cubicBezTo>
                  <a:cubicBezTo>
                    <a:pt x="28" y="22"/>
                    <a:pt x="27" y="25"/>
                    <a:pt x="28" y="26"/>
                  </a:cubicBezTo>
                  <a:cubicBezTo>
                    <a:pt x="28" y="27"/>
                    <a:pt x="28" y="28"/>
                    <a:pt x="29" y="28"/>
                  </a:cubicBezTo>
                  <a:cubicBezTo>
                    <a:pt x="30" y="29"/>
                    <a:pt x="31" y="30"/>
                    <a:pt x="32" y="30"/>
                  </a:cubicBezTo>
                  <a:cubicBezTo>
                    <a:pt x="34" y="30"/>
                    <a:pt x="35" y="30"/>
                    <a:pt x="36" y="29"/>
                  </a:cubicBezTo>
                  <a:cubicBezTo>
                    <a:pt x="37" y="28"/>
                    <a:pt x="38" y="27"/>
                    <a:pt x="38" y="26"/>
                  </a:cubicBezTo>
                  <a:cubicBezTo>
                    <a:pt x="38" y="25"/>
                    <a:pt x="39" y="23"/>
                    <a:pt x="39" y="19"/>
                  </a:cubicBezTo>
                  <a:cubicBezTo>
                    <a:pt x="40" y="12"/>
                    <a:pt x="40" y="12"/>
                    <a:pt x="40" y="12"/>
                  </a:cubicBezTo>
                  <a:lnTo>
                    <a:pt x="29" y="1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1049777" name="îś1iḓê"/>
            <p:cNvSpPr/>
            <p:nvPr/>
          </p:nvSpPr>
          <p:spPr bwMode="auto">
            <a:xfrm>
              <a:off x="1641372" y="5312365"/>
              <a:ext cx="82550" cy="66675"/>
            </a:xfrm>
            <a:custGeom>
              <a:avLst/>
              <a:gdLst>
                <a:gd name="T0" fmla="*/ 15 w 45"/>
                <a:gd name="T1" fmla="*/ 0 h 36"/>
                <a:gd name="T2" fmla="*/ 16 w 45"/>
                <a:gd name="T3" fmla="*/ 8 h 36"/>
                <a:gd name="T4" fmla="*/ 9 w 45"/>
                <a:gd name="T5" fmla="*/ 12 h 36"/>
                <a:gd name="T6" fmla="*/ 7 w 45"/>
                <a:gd name="T7" fmla="*/ 18 h 36"/>
                <a:gd name="T8" fmla="*/ 9 w 45"/>
                <a:gd name="T9" fmla="*/ 25 h 36"/>
                <a:gd name="T10" fmla="*/ 13 w 45"/>
                <a:gd name="T11" fmla="*/ 27 h 36"/>
                <a:gd name="T12" fmla="*/ 16 w 45"/>
                <a:gd name="T13" fmla="*/ 26 h 36"/>
                <a:gd name="T14" fmla="*/ 18 w 45"/>
                <a:gd name="T15" fmla="*/ 23 h 36"/>
                <a:gd name="T16" fmla="*/ 20 w 45"/>
                <a:gd name="T17" fmla="*/ 15 h 36"/>
                <a:gd name="T18" fmla="*/ 24 w 45"/>
                <a:gd name="T19" fmla="*/ 5 h 36"/>
                <a:gd name="T20" fmla="*/ 33 w 45"/>
                <a:gd name="T21" fmla="*/ 1 h 36"/>
                <a:gd name="T22" fmla="*/ 39 w 45"/>
                <a:gd name="T23" fmla="*/ 3 h 36"/>
                <a:gd name="T24" fmla="*/ 44 w 45"/>
                <a:gd name="T25" fmla="*/ 9 h 36"/>
                <a:gd name="T26" fmla="*/ 45 w 45"/>
                <a:gd name="T27" fmla="*/ 17 h 36"/>
                <a:gd name="T28" fmla="*/ 42 w 45"/>
                <a:gd name="T29" fmla="*/ 30 h 36"/>
                <a:gd name="T30" fmla="*/ 32 w 45"/>
                <a:gd name="T31" fmla="*/ 34 h 36"/>
                <a:gd name="T32" fmla="*/ 31 w 45"/>
                <a:gd name="T33" fmla="*/ 25 h 36"/>
                <a:gd name="T34" fmla="*/ 36 w 45"/>
                <a:gd name="T35" fmla="*/ 23 h 36"/>
                <a:gd name="T36" fmla="*/ 38 w 45"/>
                <a:gd name="T37" fmla="*/ 17 h 36"/>
                <a:gd name="T38" fmla="*/ 36 w 45"/>
                <a:gd name="T39" fmla="*/ 11 h 36"/>
                <a:gd name="T40" fmla="*/ 33 w 45"/>
                <a:gd name="T41" fmla="*/ 10 h 36"/>
                <a:gd name="T42" fmla="*/ 31 w 45"/>
                <a:gd name="T43" fmla="*/ 11 h 36"/>
                <a:gd name="T44" fmla="*/ 28 w 45"/>
                <a:gd name="T45" fmla="*/ 19 h 36"/>
                <a:gd name="T46" fmla="*/ 25 w 45"/>
                <a:gd name="T47" fmla="*/ 29 h 36"/>
                <a:gd name="T48" fmla="*/ 20 w 45"/>
                <a:gd name="T49" fmla="*/ 34 h 36"/>
                <a:gd name="T50" fmla="*/ 13 w 45"/>
                <a:gd name="T51" fmla="*/ 36 h 36"/>
                <a:gd name="T52" fmla="*/ 6 w 45"/>
                <a:gd name="T53" fmla="*/ 33 h 36"/>
                <a:gd name="T54" fmla="*/ 1 w 45"/>
                <a:gd name="T55" fmla="*/ 28 h 36"/>
                <a:gd name="T56" fmla="*/ 0 w 45"/>
                <a:gd name="T57" fmla="*/ 18 h 36"/>
                <a:gd name="T58" fmla="*/ 3 w 45"/>
                <a:gd name="T59" fmla="*/ 5 h 36"/>
                <a:gd name="T60" fmla="*/ 15 w 45"/>
                <a:gd name="T61" fmla="*/ 0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45" h="36">
                  <a:moveTo>
                    <a:pt x="15" y="0"/>
                  </a:moveTo>
                  <a:cubicBezTo>
                    <a:pt x="16" y="8"/>
                    <a:pt x="16" y="8"/>
                    <a:pt x="16" y="8"/>
                  </a:cubicBezTo>
                  <a:cubicBezTo>
                    <a:pt x="13" y="9"/>
                    <a:pt x="10" y="10"/>
                    <a:pt x="9" y="12"/>
                  </a:cubicBezTo>
                  <a:cubicBezTo>
                    <a:pt x="8" y="13"/>
                    <a:pt x="7" y="15"/>
                    <a:pt x="7" y="18"/>
                  </a:cubicBezTo>
                  <a:cubicBezTo>
                    <a:pt x="7" y="21"/>
                    <a:pt x="8" y="23"/>
                    <a:pt x="9" y="25"/>
                  </a:cubicBezTo>
                  <a:cubicBezTo>
                    <a:pt x="10" y="26"/>
                    <a:pt x="12" y="27"/>
                    <a:pt x="13" y="27"/>
                  </a:cubicBezTo>
                  <a:cubicBezTo>
                    <a:pt x="14" y="27"/>
                    <a:pt x="15" y="26"/>
                    <a:pt x="16" y="26"/>
                  </a:cubicBezTo>
                  <a:cubicBezTo>
                    <a:pt x="17" y="25"/>
                    <a:pt x="17" y="24"/>
                    <a:pt x="18" y="23"/>
                  </a:cubicBezTo>
                  <a:cubicBezTo>
                    <a:pt x="18" y="22"/>
                    <a:pt x="19" y="19"/>
                    <a:pt x="20" y="15"/>
                  </a:cubicBezTo>
                  <a:cubicBezTo>
                    <a:pt x="21" y="11"/>
                    <a:pt x="22" y="7"/>
                    <a:pt x="24" y="5"/>
                  </a:cubicBezTo>
                  <a:cubicBezTo>
                    <a:pt x="26" y="3"/>
                    <a:pt x="29" y="1"/>
                    <a:pt x="33" y="1"/>
                  </a:cubicBezTo>
                  <a:cubicBezTo>
                    <a:pt x="35" y="1"/>
                    <a:pt x="37" y="2"/>
                    <a:pt x="39" y="3"/>
                  </a:cubicBezTo>
                  <a:cubicBezTo>
                    <a:pt x="41" y="4"/>
                    <a:pt x="43" y="6"/>
                    <a:pt x="44" y="9"/>
                  </a:cubicBezTo>
                  <a:cubicBezTo>
                    <a:pt x="45" y="11"/>
                    <a:pt x="45" y="14"/>
                    <a:pt x="45" y="17"/>
                  </a:cubicBezTo>
                  <a:cubicBezTo>
                    <a:pt x="45" y="23"/>
                    <a:pt x="44" y="27"/>
                    <a:pt x="42" y="30"/>
                  </a:cubicBezTo>
                  <a:cubicBezTo>
                    <a:pt x="39" y="33"/>
                    <a:pt x="36" y="34"/>
                    <a:pt x="32" y="34"/>
                  </a:cubicBezTo>
                  <a:cubicBezTo>
                    <a:pt x="31" y="25"/>
                    <a:pt x="31" y="25"/>
                    <a:pt x="31" y="25"/>
                  </a:cubicBezTo>
                  <a:cubicBezTo>
                    <a:pt x="34" y="25"/>
                    <a:pt x="35" y="24"/>
                    <a:pt x="36" y="23"/>
                  </a:cubicBezTo>
                  <a:cubicBezTo>
                    <a:pt x="37" y="22"/>
                    <a:pt x="38" y="20"/>
                    <a:pt x="38" y="17"/>
                  </a:cubicBezTo>
                  <a:cubicBezTo>
                    <a:pt x="38" y="15"/>
                    <a:pt x="37" y="13"/>
                    <a:pt x="36" y="11"/>
                  </a:cubicBezTo>
                  <a:cubicBezTo>
                    <a:pt x="35" y="10"/>
                    <a:pt x="35" y="10"/>
                    <a:pt x="33" y="10"/>
                  </a:cubicBezTo>
                  <a:cubicBezTo>
                    <a:pt x="32" y="10"/>
                    <a:pt x="31" y="10"/>
                    <a:pt x="31" y="11"/>
                  </a:cubicBezTo>
                  <a:cubicBezTo>
                    <a:pt x="30" y="12"/>
                    <a:pt x="29" y="15"/>
                    <a:pt x="28" y="19"/>
                  </a:cubicBezTo>
                  <a:cubicBezTo>
                    <a:pt x="27" y="24"/>
                    <a:pt x="26" y="27"/>
                    <a:pt x="25" y="29"/>
                  </a:cubicBezTo>
                  <a:cubicBezTo>
                    <a:pt x="24" y="31"/>
                    <a:pt x="22" y="33"/>
                    <a:pt x="20" y="34"/>
                  </a:cubicBezTo>
                  <a:cubicBezTo>
                    <a:pt x="18" y="35"/>
                    <a:pt x="16" y="36"/>
                    <a:pt x="13" y="36"/>
                  </a:cubicBezTo>
                  <a:cubicBezTo>
                    <a:pt x="11" y="36"/>
                    <a:pt x="8" y="35"/>
                    <a:pt x="6" y="33"/>
                  </a:cubicBezTo>
                  <a:cubicBezTo>
                    <a:pt x="4" y="32"/>
                    <a:pt x="2" y="30"/>
                    <a:pt x="1" y="28"/>
                  </a:cubicBezTo>
                  <a:cubicBezTo>
                    <a:pt x="0" y="25"/>
                    <a:pt x="0" y="22"/>
                    <a:pt x="0" y="18"/>
                  </a:cubicBezTo>
                  <a:cubicBezTo>
                    <a:pt x="0" y="12"/>
                    <a:pt x="1" y="8"/>
                    <a:pt x="3" y="5"/>
                  </a:cubicBezTo>
                  <a:cubicBezTo>
                    <a:pt x="6" y="2"/>
                    <a:pt x="10" y="0"/>
                    <a:pt x="15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1049778" name="íş1ïḓe"/>
            <p:cNvSpPr/>
            <p:nvPr/>
          </p:nvSpPr>
          <p:spPr bwMode="auto">
            <a:xfrm>
              <a:off x="1642959" y="5385390"/>
              <a:ext cx="84138" cy="22225"/>
            </a:xfrm>
            <a:custGeom>
              <a:avLst/>
              <a:gdLst>
                <a:gd name="T0" fmla="*/ 0 w 53"/>
                <a:gd name="T1" fmla="*/ 5 h 14"/>
                <a:gd name="T2" fmla="*/ 51 w 53"/>
                <a:gd name="T3" fmla="*/ 0 h 14"/>
                <a:gd name="T4" fmla="*/ 53 w 53"/>
                <a:gd name="T5" fmla="*/ 11 h 14"/>
                <a:gd name="T6" fmla="*/ 1 w 53"/>
                <a:gd name="T7" fmla="*/ 14 h 14"/>
                <a:gd name="T8" fmla="*/ 0 w 53"/>
                <a:gd name="T9" fmla="*/ 5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3" h="14">
                  <a:moveTo>
                    <a:pt x="0" y="5"/>
                  </a:moveTo>
                  <a:lnTo>
                    <a:pt x="51" y="0"/>
                  </a:lnTo>
                  <a:lnTo>
                    <a:pt x="53" y="11"/>
                  </a:lnTo>
                  <a:lnTo>
                    <a:pt x="1" y="14"/>
                  </a:lnTo>
                  <a:lnTo>
                    <a:pt x="0" y="5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1049779" name="ïṩlîḋè"/>
            <p:cNvSpPr/>
            <p:nvPr/>
          </p:nvSpPr>
          <p:spPr bwMode="auto">
            <a:xfrm>
              <a:off x="1649309" y="5407615"/>
              <a:ext cx="84138" cy="66675"/>
            </a:xfrm>
            <a:custGeom>
              <a:avLst/>
              <a:gdLst>
                <a:gd name="T0" fmla="*/ 0 w 53"/>
                <a:gd name="T1" fmla="*/ 22 h 42"/>
                <a:gd name="T2" fmla="*/ 42 w 53"/>
                <a:gd name="T3" fmla="*/ 17 h 42"/>
                <a:gd name="T4" fmla="*/ 39 w 53"/>
                <a:gd name="T5" fmla="*/ 1 h 42"/>
                <a:gd name="T6" fmla="*/ 49 w 53"/>
                <a:gd name="T7" fmla="*/ 0 h 42"/>
                <a:gd name="T8" fmla="*/ 53 w 53"/>
                <a:gd name="T9" fmla="*/ 41 h 42"/>
                <a:gd name="T10" fmla="*/ 45 w 53"/>
                <a:gd name="T11" fmla="*/ 42 h 42"/>
                <a:gd name="T12" fmla="*/ 43 w 53"/>
                <a:gd name="T13" fmla="*/ 27 h 42"/>
                <a:gd name="T14" fmla="*/ 1 w 53"/>
                <a:gd name="T15" fmla="*/ 33 h 42"/>
                <a:gd name="T16" fmla="*/ 0 w 53"/>
                <a:gd name="T17" fmla="*/ 22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3" h="42">
                  <a:moveTo>
                    <a:pt x="0" y="22"/>
                  </a:moveTo>
                  <a:lnTo>
                    <a:pt x="42" y="17"/>
                  </a:lnTo>
                  <a:lnTo>
                    <a:pt x="39" y="1"/>
                  </a:lnTo>
                  <a:lnTo>
                    <a:pt x="49" y="0"/>
                  </a:lnTo>
                  <a:lnTo>
                    <a:pt x="53" y="41"/>
                  </a:lnTo>
                  <a:lnTo>
                    <a:pt x="45" y="42"/>
                  </a:lnTo>
                  <a:lnTo>
                    <a:pt x="43" y="27"/>
                  </a:lnTo>
                  <a:lnTo>
                    <a:pt x="1" y="33"/>
                  </a:lnTo>
                  <a:lnTo>
                    <a:pt x="0" y="2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1049780" name="ïṣľîďe"/>
            <p:cNvSpPr/>
            <p:nvPr/>
          </p:nvSpPr>
          <p:spPr bwMode="auto">
            <a:xfrm>
              <a:off x="1662009" y="5471115"/>
              <a:ext cx="90488" cy="73025"/>
            </a:xfrm>
            <a:custGeom>
              <a:avLst/>
              <a:gdLst>
                <a:gd name="T0" fmla="*/ 0 w 57"/>
                <a:gd name="T1" fmla="*/ 29 h 46"/>
                <a:gd name="T2" fmla="*/ 21 w 57"/>
                <a:gd name="T3" fmla="*/ 24 h 46"/>
                <a:gd name="T4" fmla="*/ 45 w 57"/>
                <a:gd name="T5" fmla="*/ 0 h 46"/>
                <a:gd name="T6" fmla="*/ 49 w 57"/>
                <a:gd name="T7" fmla="*/ 11 h 46"/>
                <a:gd name="T8" fmla="*/ 31 w 57"/>
                <a:gd name="T9" fmla="*/ 28 h 46"/>
                <a:gd name="T10" fmla="*/ 53 w 57"/>
                <a:gd name="T11" fmla="*/ 35 h 46"/>
                <a:gd name="T12" fmla="*/ 57 w 57"/>
                <a:gd name="T13" fmla="*/ 46 h 46"/>
                <a:gd name="T14" fmla="*/ 23 w 57"/>
                <a:gd name="T15" fmla="*/ 35 h 46"/>
                <a:gd name="T16" fmla="*/ 2 w 57"/>
                <a:gd name="T17" fmla="*/ 39 h 46"/>
                <a:gd name="T18" fmla="*/ 0 w 57"/>
                <a:gd name="T19" fmla="*/ 29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7" h="46">
                  <a:moveTo>
                    <a:pt x="0" y="29"/>
                  </a:moveTo>
                  <a:lnTo>
                    <a:pt x="21" y="24"/>
                  </a:lnTo>
                  <a:lnTo>
                    <a:pt x="45" y="0"/>
                  </a:lnTo>
                  <a:lnTo>
                    <a:pt x="49" y="11"/>
                  </a:lnTo>
                  <a:lnTo>
                    <a:pt x="31" y="28"/>
                  </a:lnTo>
                  <a:lnTo>
                    <a:pt x="53" y="35"/>
                  </a:lnTo>
                  <a:lnTo>
                    <a:pt x="57" y="46"/>
                  </a:lnTo>
                  <a:lnTo>
                    <a:pt x="23" y="35"/>
                  </a:lnTo>
                  <a:lnTo>
                    <a:pt x="2" y="39"/>
                  </a:lnTo>
                  <a:lnTo>
                    <a:pt x="0" y="29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1049781" name="íśļiḓe"/>
            <p:cNvSpPr/>
            <p:nvPr/>
          </p:nvSpPr>
          <p:spPr bwMode="auto">
            <a:xfrm>
              <a:off x="1704872" y="5609228"/>
              <a:ext cx="85725" cy="80963"/>
            </a:xfrm>
            <a:custGeom>
              <a:avLst/>
              <a:gdLst>
                <a:gd name="T0" fmla="*/ 15 w 47"/>
                <a:gd name="T1" fmla="*/ 2 h 44"/>
                <a:gd name="T2" fmla="*/ 26 w 47"/>
                <a:gd name="T3" fmla="*/ 0 h 44"/>
                <a:gd name="T4" fmla="*/ 33 w 47"/>
                <a:gd name="T5" fmla="*/ 1 h 44"/>
                <a:gd name="T6" fmla="*/ 39 w 47"/>
                <a:gd name="T7" fmla="*/ 4 h 44"/>
                <a:gd name="T8" fmla="*/ 44 w 47"/>
                <a:gd name="T9" fmla="*/ 12 h 44"/>
                <a:gd name="T10" fmla="*/ 45 w 47"/>
                <a:gd name="T11" fmla="*/ 29 h 44"/>
                <a:gd name="T12" fmla="*/ 32 w 47"/>
                <a:gd name="T13" fmla="*/ 41 h 44"/>
                <a:gd name="T14" fmla="*/ 15 w 47"/>
                <a:gd name="T15" fmla="*/ 43 h 44"/>
                <a:gd name="T16" fmla="*/ 3 w 47"/>
                <a:gd name="T17" fmla="*/ 31 h 44"/>
                <a:gd name="T18" fmla="*/ 2 w 47"/>
                <a:gd name="T19" fmla="*/ 14 h 44"/>
                <a:gd name="T20" fmla="*/ 15 w 47"/>
                <a:gd name="T21" fmla="*/ 2 h 44"/>
                <a:gd name="T22" fmla="*/ 19 w 47"/>
                <a:gd name="T23" fmla="*/ 10 h 44"/>
                <a:gd name="T24" fmla="*/ 10 w 47"/>
                <a:gd name="T25" fmla="*/ 18 h 44"/>
                <a:gd name="T26" fmla="*/ 10 w 47"/>
                <a:gd name="T27" fmla="*/ 28 h 44"/>
                <a:gd name="T28" fmla="*/ 17 w 47"/>
                <a:gd name="T29" fmla="*/ 34 h 44"/>
                <a:gd name="T30" fmla="*/ 29 w 47"/>
                <a:gd name="T31" fmla="*/ 33 h 44"/>
                <a:gd name="T32" fmla="*/ 38 w 47"/>
                <a:gd name="T33" fmla="*/ 25 h 44"/>
                <a:gd name="T34" fmla="*/ 37 w 47"/>
                <a:gd name="T35" fmla="*/ 16 h 44"/>
                <a:gd name="T36" fmla="*/ 30 w 47"/>
                <a:gd name="T37" fmla="*/ 9 h 44"/>
                <a:gd name="T38" fmla="*/ 19 w 47"/>
                <a:gd name="T39" fmla="*/ 10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47" h="44">
                  <a:moveTo>
                    <a:pt x="15" y="2"/>
                  </a:moveTo>
                  <a:cubicBezTo>
                    <a:pt x="19" y="0"/>
                    <a:pt x="23" y="0"/>
                    <a:pt x="26" y="0"/>
                  </a:cubicBezTo>
                  <a:cubicBezTo>
                    <a:pt x="28" y="0"/>
                    <a:pt x="31" y="0"/>
                    <a:pt x="33" y="1"/>
                  </a:cubicBezTo>
                  <a:cubicBezTo>
                    <a:pt x="35" y="2"/>
                    <a:pt x="37" y="3"/>
                    <a:pt x="39" y="4"/>
                  </a:cubicBezTo>
                  <a:cubicBezTo>
                    <a:pt x="41" y="6"/>
                    <a:pt x="43" y="9"/>
                    <a:pt x="44" y="12"/>
                  </a:cubicBezTo>
                  <a:cubicBezTo>
                    <a:pt x="47" y="18"/>
                    <a:pt x="47" y="24"/>
                    <a:pt x="45" y="29"/>
                  </a:cubicBezTo>
                  <a:cubicBezTo>
                    <a:pt x="43" y="34"/>
                    <a:pt x="39" y="38"/>
                    <a:pt x="32" y="41"/>
                  </a:cubicBezTo>
                  <a:cubicBezTo>
                    <a:pt x="26" y="44"/>
                    <a:pt x="20" y="44"/>
                    <a:pt x="15" y="43"/>
                  </a:cubicBezTo>
                  <a:cubicBezTo>
                    <a:pt x="9" y="41"/>
                    <a:pt x="5" y="37"/>
                    <a:pt x="3" y="31"/>
                  </a:cubicBezTo>
                  <a:cubicBezTo>
                    <a:pt x="0" y="25"/>
                    <a:pt x="0" y="19"/>
                    <a:pt x="2" y="14"/>
                  </a:cubicBezTo>
                  <a:cubicBezTo>
                    <a:pt x="4" y="9"/>
                    <a:pt x="8" y="5"/>
                    <a:pt x="15" y="2"/>
                  </a:cubicBezTo>
                  <a:close/>
                  <a:moveTo>
                    <a:pt x="19" y="10"/>
                  </a:moveTo>
                  <a:cubicBezTo>
                    <a:pt x="14" y="12"/>
                    <a:pt x="11" y="15"/>
                    <a:pt x="10" y="18"/>
                  </a:cubicBezTo>
                  <a:cubicBezTo>
                    <a:pt x="8" y="21"/>
                    <a:pt x="8" y="24"/>
                    <a:pt x="10" y="28"/>
                  </a:cubicBezTo>
                  <a:cubicBezTo>
                    <a:pt x="11" y="31"/>
                    <a:pt x="13" y="33"/>
                    <a:pt x="17" y="34"/>
                  </a:cubicBezTo>
                  <a:cubicBezTo>
                    <a:pt x="20" y="35"/>
                    <a:pt x="24" y="35"/>
                    <a:pt x="29" y="33"/>
                  </a:cubicBezTo>
                  <a:cubicBezTo>
                    <a:pt x="33" y="31"/>
                    <a:pt x="36" y="28"/>
                    <a:pt x="38" y="25"/>
                  </a:cubicBezTo>
                  <a:cubicBezTo>
                    <a:pt x="39" y="22"/>
                    <a:pt x="39" y="19"/>
                    <a:pt x="37" y="16"/>
                  </a:cubicBezTo>
                  <a:cubicBezTo>
                    <a:pt x="36" y="12"/>
                    <a:pt x="34" y="10"/>
                    <a:pt x="30" y="9"/>
                  </a:cubicBezTo>
                  <a:cubicBezTo>
                    <a:pt x="27" y="8"/>
                    <a:pt x="23" y="8"/>
                    <a:pt x="19" y="1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1049782" name="î$ḷïďe"/>
            <p:cNvSpPr/>
            <p:nvPr/>
          </p:nvSpPr>
          <p:spPr bwMode="auto">
            <a:xfrm>
              <a:off x="1733447" y="5675903"/>
              <a:ext cx="98425" cy="66675"/>
            </a:xfrm>
            <a:custGeom>
              <a:avLst/>
              <a:gdLst>
                <a:gd name="T0" fmla="*/ 0 w 62"/>
                <a:gd name="T1" fmla="*/ 26 h 42"/>
                <a:gd name="T2" fmla="*/ 45 w 62"/>
                <a:gd name="T3" fmla="*/ 0 h 42"/>
                <a:gd name="T4" fmla="*/ 62 w 62"/>
                <a:gd name="T5" fmla="*/ 30 h 42"/>
                <a:gd name="T6" fmla="*/ 55 w 62"/>
                <a:gd name="T7" fmla="*/ 35 h 42"/>
                <a:gd name="T8" fmla="*/ 43 w 62"/>
                <a:gd name="T9" fmla="*/ 14 h 42"/>
                <a:gd name="T10" fmla="*/ 32 w 62"/>
                <a:gd name="T11" fmla="*/ 20 h 42"/>
                <a:gd name="T12" fmla="*/ 43 w 62"/>
                <a:gd name="T13" fmla="*/ 38 h 42"/>
                <a:gd name="T14" fmla="*/ 35 w 62"/>
                <a:gd name="T15" fmla="*/ 42 h 42"/>
                <a:gd name="T16" fmla="*/ 25 w 62"/>
                <a:gd name="T17" fmla="*/ 23 h 42"/>
                <a:gd name="T18" fmla="*/ 6 w 62"/>
                <a:gd name="T19" fmla="*/ 35 h 42"/>
                <a:gd name="T20" fmla="*/ 0 w 62"/>
                <a:gd name="T21" fmla="*/ 26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62" h="42">
                  <a:moveTo>
                    <a:pt x="0" y="26"/>
                  </a:moveTo>
                  <a:lnTo>
                    <a:pt x="45" y="0"/>
                  </a:lnTo>
                  <a:lnTo>
                    <a:pt x="62" y="30"/>
                  </a:lnTo>
                  <a:lnTo>
                    <a:pt x="55" y="35"/>
                  </a:lnTo>
                  <a:lnTo>
                    <a:pt x="43" y="14"/>
                  </a:lnTo>
                  <a:lnTo>
                    <a:pt x="32" y="20"/>
                  </a:lnTo>
                  <a:lnTo>
                    <a:pt x="43" y="38"/>
                  </a:lnTo>
                  <a:lnTo>
                    <a:pt x="35" y="42"/>
                  </a:lnTo>
                  <a:lnTo>
                    <a:pt x="25" y="23"/>
                  </a:lnTo>
                  <a:lnTo>
                    <a:pt x="6" y="35"/>
                  </a:lnTo>
                  <a:lnTo>
                    <a:pt x="0" y="2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1049783" name="îśḻîḍe"/>
            <p:cNvSpPr/>
            <p:nvPr/>
          </p:nvSpPr>
          <p:spPr bwMode="auto">
            <a:xfrm>
              <a:off x="1812822" y="5785440"/>
              <a:ext cx="85725" cy="82550"/>
            </a:xfrm>
            <a:custGeom>
              <a:avLst/>
              <a:gdLst>
                <a:gd name="T0" fmla="*/ 6 w 46"/>
                <a:gd name="T1" fmla="*/ 13 h 45"/>
                <a:gd name="T2" fmla="*/ 12 w 46"/>
                <a:gd name="T3" fmla="*/ 19 h 45"/>
                <a:gd name="T4" fmla="*/ 9 w 46"/>
                <a:gd name="T5" fmla="*/ 26 h 45"/>
                <a:gd name="T6" fmla="*/ 11 w 46"/>
                <a:gd name="T7" fmla="*/ 32 h 45"/>
                <a:gd name="T8" fmla="*/ 17 w 46"/>
                <a:gd name="T9" fmla="*/ 36 h 45"/>
                <a:gd name="T10" fmla="*/ 22 w 46"/>
                <a:gd name="T11" fmla="*/ 35 h 45"/>
                <a:gd name="T12" fmla="*/ 23 w 46"/>
                <a:gd name="T13" fmla="*/ 32 h 45"/>
                <a:gd name="T14" fmla="*/ 22 w 46"/>
                <a:gd name="T15" fmla="*/ 29 h 45"/>
                <a:gd name="T16" fmla="*/ 19 w 46"/>
                <a:gd name="T17" fmla="*/ 22 h 45"/>
                <a:gd name="T18" fmla="*/ 16 w 46"/>
                <a:gd name="T19" fmla="*/ 12 h 45"/>
                <a:gd name="T20" fmla="*/ 21 w 46"/>
                <a:gd name="T21" fmla="*/ 3 h 45"/>
                <a:gd name="T22" fmla="*/ 27 w 46"/>
                <a:gd name="T23" fmla="*/ 0 h 45"/>
                <a:gd name="T24" fmla="*/ 34 w 46"/>
                <a:gd name="T25" fmla="*/ 2 h 45"/>
                <a:gd name="T26" fmla="*/ 40 w 46"/>
                <a:gd name="T27" fmla="*/ 8 h 45"/>
                <a:gd name="T28" fmla="*/ 45 w 46"/>
                <a:gd name="T29" fmla="*/ 19 h 45"/>
                <a:gd name="T30" fmla="*/ 41 w 46"/>
                <a:gd name="T31" fmla="*/ 29 h 45"/>
                <a:gd name="T32" fmla="*/ 35 w 46"/>
                <a:gd name="T33" fmla="*/ 22 h 45"/>
                <a:gd name="T34" fmla="*/ 37 w 46"/>
                <a:gd name="T35" fmla="*/ 17 h 45"/>
                <a:gd name="T36" fmla="*/ 35 w 46"/>
                <a:gd name="T37" fmla="*/ 12 h 45"/>
                <a:gd name="T38" fmla="*/ 30 w 46"/>
                <a:gd name="T39" fmla="*/ 8 h 45"/>
                <a:gd name="T40" fmla="*/ 27 w 46"/>
                <a:gd name="T41" fmla="*/ 9 h 45"/>
                <a:gd name="T42" fmla="*/ 25 w 46"/>
                <a:gd name="T43" fmla="*/ 12 h 45"/>
                <a:gd name="T44" fmla="*/ 28 w 46"/>
                <a:gd name="T45" fmla="*/ 20 h 45"/>
                <a:gd name="T46" fmla="*/ 32 w 46"/>
                <a:gd name="T47" fmla="*/ 29 h 45"/>
                <a:gd name="T48" fmla="*/ 31 w 46"/>
                <a:gd name="T49" fmla="*/ 36 h 45"/>
                <a:gd name="T50" fmla="*/ 27 w 46"/>
                <a:gd name="T51" fmla="*/ 42 h 45"/>
                <a:gd name="T52" fmla="*/ 20 w 46"/>
                <a:gd name="T53" fmla="*/ 45 h 45"/>
                <a:gd name="T54" fmla="*/ 13 w 46"/>
                <a:gd name="T55" fmla="*/ 43 h 45"/>
                <a:gd name="T56" fmla="*/ 6 w 46"/>
                <a:gd name="T57" fmla="*/ 37 h 45"/>
                <a:gd name="T58" fmla="*/ 0 w 46"/>
                <a:gd name="T59" fmla="*/ 24 h 45"/>
                <a:gd name="T60" fmla="*/ 6 w 46"/>
                <a:gd name="T61" fmla="*/ 13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46" h="45">
                  <a:moveTo>
                    <a:pt x="6" y="13"/>
                  </a:moveTo>
                  <a:cubicBezTo>
                    <a:pt x="12" y="19"/>
                    <a:pt x="12" y="19"/>
                    <a:pt x="12" y="19"/>
                  </a:cubicBezTo>
                  <a:cubicBezTo>
                    <a:pt x="10" y="21"/>
                    <a:pt x="9" y="24"/>
                    <a:pt x="9" y="26"/>
                  </a:cubicBezTo>
                  <a:cubicBezTo>
                    <a:pt x="9" y="28"/>
                    <a:pt x="10" y="30"/>
                    <a:pt x="11" y="32"/>
                  </a:cubicBezTo>
                  <a:cubicBezTo>
                    <a:pt x="13" y="34"/>
                    <a:pt x="15" y="35"/>
                    <a:pt x="17" y="36"/>
                  </a:cubicBezTo>
                  <a:cubicBezTo>
                    <a:pt x="19" y="36"/>
                    <a:pt x="20" y="36"/>
                    <a:pt x="22" y="35"/>
                  </a:cubicBezTo>
                  <a:cubicBezTo>
                    <a:pt x="22" y="34"/>
                    <a:pt x="23" y="33"/>
                    <a:pt x="23" y="32"/>
                  </a:cubicBezTo>
                  <a:cubicBezTo>
                    <a:pt x="23" y="32"/>
                    <a:pt x="23" y="30"/>
                    <a:pt x="22" y="29"/>
                  </a:cubicBezTo>
                  <a:cubicBezTo>
                    <a:pt x="22" y="28"/>
                    <a:pt x="21" y="26"/>
                    <a:pt x="19" y="22"/>
                  </a:cubicBezTo>
                  <a:cubicBezTo>
                    <a:pt x="17" y="18"/>
                    <a:pt x="16" y="14"/>
                    <a:pt x="16" y="12"/>
                  </a:cubicBezTo>
                  <a:cubicBezTo>
                    <a:pt x="17" y="8"/>
                    <a:pt x="18" y="5"/>
                    <a:pt x="21" y="3"/>
                  </a:cubicBezTo>
                  <a:cubicBezTo>
                    <a:pt x="23" y="1"/>
                    <a:pt x="25" y="1"/>
                    <a:pt x="27" y="0"/>
                  </a:cubicBezTo>
                  <a:cubicBezTo>
                    <a:pt x="29" y="0"/>
                    <a:pt x="31" y="1"/>
                    <a:pt x="34" y="2"/>
                  </a:cubicBezTo>
                  <a:cubicBezTo>
                    <a:pt x="36" y="3"/>
                    <a:pt x="38" y="5"/>
                    <a:pt x="40" y="8"/>
                  </a:cubicBezTo>
                  <a:cubicBezTo>
                    <a:pt x="44" y="12"/>
                    <a:pt x="46" y="16"/>
                    <a:pt x="45" y="19"/>
                  </a:cubicBezTo>
                  <a:cubicBezTo>
                    <a:pt x="45" y="23"/>
                    <a:pt x="44" y="26"/>
                    <a:pt x="41" y="29"/>
                  </a:cubicBezTo>
                  <a:cubicBezTo>
                    <a:pt x="35" y="22"/>
                    <a:pt x="35" y="22"/>
                    <a:pt x="35" y="22"/>
                  </a:cubicBezTo>
                  <a:cubicBezTo>
                    <a:pt x="36" y="21"/>
                    <a:pt x="37" y="19"/>
                    <a:pt x="37" y="17"/>
                  </a:cubicBezTo>
                  <a:cubicBezTo>
                    <a:pt x="37" y="16"/>
                    <a:pt x="36" y="14"/>
                    <a:pt x="35" y="12"/>
                  </a:cubicBezTo>
                  <a:cubicBezTo>
                    <a:pt x="33" y="10"/>
                    <a:pt x="31" y="9"/>
                    <a:pt x="30" y="8"/>
                  </a:cubicBezTo>
                  <a:cubicBezTo>
                    <a:pt x="28" y="8"/>
                    <a:pt x="27" y="8"/>
                    <a:pt x="27" y="9"/>
                  </a:cubicBezTo>
                  <a:cubicBezTo>
                    <a:pt x="26" y="10"/>
                    <a:pt x="25" y="11"/>
                    <a:pt x="25" y="12"/>
                  </a:cubicBezTo>
                  <a:cubicBezTo>
                    <a:pt x="25" y="13"/>
                    <a:pt x="26" y="16"/>
                    <a:pt x="28" y="20"/>
                  </a:cubicBezTo>
                  <a:cubicBezTo>
                    <a:pt x="30" y="24"/>
                    <a:pt x="31" y="27"/>
                    <a:pt x="32" y="29"/>
                  </a:cubicBezTo>
                  <a:cubicBezTo>
                    <a:pt x="32" y="32"/>
                    <a:pt x="32" y="34"/>
                    <a:pt x="31" y="36"/>
                  </a:cubicBezTo>
                  <a:cubicBezTo>
                    <a:pt x="31" y="38"/>
                    <a:pt x="29" y="40"/>
                    <a:pt x="27" y="42"/>
                  </a:cubicBezTo>
                  <a:cubicBezTo>
                    <a:pt x="25" y="43"/>
                    <a:pt x="23" y="44"/>
                    <a:pt x="20" y="45"/>
                  </a:cubicBezTo>
                  <a:cubicBezTo>
                    <a:pt x="18" y="45"/>
                    <a:pt x="15" y="44"/>
                    <a:pt x="13" y="43"/>
                  </a:cubicBezTo>
                  <a:cubicBezTo>
                    <a:pt x="10" y="42"/>
                    <a:pt x="8" y="40"/>
                    <a:pt x="6" y="37"/>
                  </a:cubicBezTo>
                  <a:cubicBezTo>
                    <a:pt x="2" y="32"/>
                    <a:pt x="0" y="28"/>
                    <a:pt x="0" y="24"/>
                  </a:cubicBezTo>
                  <a:cubicBezTo>
                    <a:pt x="1" y="20"/>
                    <a:pt x="2" y="17"/>
                    <a:pt x="6" y="13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1049784" name="í$ļîḋê"/>
            <p:cNvSpPr/>
            <p:nvPr/>
          </p:nvSpPr>
          <p:spPr bwMode="auto">
            <a:xfrm>
              <a:off x="1868384" y="5844178"/>
              <a:ext cx="82550" cy="82550"/>
            </a:xfrm>
            <a:custGeom>
              <a:avLst/>
              <a:gdLst>
                <a:gd name="T0" fmla="*/ 25 w 45"/>
                <a:gd name="T1" fmla="*/ 33 h 45"/>
                <a:gd name="T2" fmla="*/ 29 w 45"/>
                <a:gd name="T3" fmla="*/ 41 h 45"/>
                <a:gd name="T4" fmla="*/ 17 w 45"/>
                <a:gd name="T5" fmla="*/ 44 h 45"/>
                <a:gd name="T6" fmla="*/ 6 w 45"/>
                <a:gd name="T7" fmla="*/ 38 h 45"/>
                <a:gd name="T8" fmla="*/ 0 w 45"/>
                <a:gd name="T9" fmla="*/ 24 h 45"/>
                <a:gd name="T10" fmla="*/ 8 w 45"/>
                <a:gd name="T11" fmla="*/ 8 h 45"/>
                <a:gd name="T12" fmla="*/ 24 w 45"/>
                <a:gd name="T13" fmla="*/ 0 h 45"/>
                <a:gd name="T14" fmla="*/ 39 w 45"/>
                <a:gd name="T15" fmla="*/ 7 h 45"/>
                <a:gd name="T16" fmla="*/ 45 w 45"/>
                <a:gd name="T17" fmla="*/ 19 h 45"/>
                <a:gd name="T18" fmla="*/ 42 w 45"/>
                <a:gd name="T19" fmla="*/ 28 h 45"/>
                <a:gd name="T20" fmla="*/ 34 w 45"/>
                <a:gd name="T21" fmla="*/ 23 h 45"/>
                <a:gd name="T22" fmla="*/ 36 w 45"/>
                <a:gd name="T23" fmla="*/ 17 h 45"/>
                <a:gd name="T24" fmla="*/ 33 w 45"/>
                <a:gd name="T25" fmla="*/ 12 h 45"/>
                <a:gd name="T26" fmla="*/ 25 w 45"/>
                <a:gd name="T27" fmla="*/ 9 h 45"/>
                <a:gd name="T28" fmla="*/ 15 w 45"/>
                <a:gd name="T29" fmla="*/ 14 h 45"/>
                <a:gd name="T30" fmla="*/ 8 w 45"/>
                <a:gd name="T31" fmla="*/ 25 h 45"/>
                <a:gd name="T32" fmla="*/ 11 w 45"/>
                <a:gd name="T33" fmla="*/ 33 h 45"/>
                <a:gd name="T34" fmla="*/ 17 w 45"/>
                <a:gd name="T35" fmla="*/ 36 h 45"/>
                <a:gd name="T36" fmla="*/ 25 w 45"/>
                <a:gd name="T37" fmla="*/ 33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5" h="45">
                  <a:moveTo>
                    <a:pt x="25" y="33"/>
                  </a:moveTo>
                  <a:cubicBezTo>
                    <a:pt x="29" y="41"/>
                    <a:pt x="29" y="41"/>
                    <a:pt x="29" y="41"/>
                  </a:cubicBezTo>
                  <a:cubicBezTo>
                    <a:pt x="25" y="44"/>
                    <a:pt x="21" y="45"/>
                    <a:pt x="17" y="44"/>
                  </a:cubicBezTo>
                  <a:cubicBezTo>
                    <a:pt x="13" y="44"/>
                    <a:pt x="9" y="42"/>
                    <a:pt x="6" y="38"/>
                  </a:cubicBezTo>
                  <a:cubicBezTo>
                    <a:pt x="2" y="34"/>
                    <a:pt x="0" y="29"/>
                    <a:pt x="0" y="24"/>
                  </a:cubicBezTo>
                  <a:cubicBezTo>
                    <a:pt x="0" y="19"/>
                    <a:pt x="3" y="13"/>
                    <a:pt x="8" y="8"/>
                  </a:cubicBezTo>
                  <a:cubicBezTo>
                    <a:pt x="13" y="3"/>
                    <a:pt x="18" y="1"/>
                    <a:pt x="24" y="0"/>
                  </a:cubicBezTo>
                  <a:cubicBezTo>
                    <a:pt x="29" y="0"/>
                    <a:pt x="34" y="2"/>
                    <a:pt x="39" y="7"/>
                  </a:cubicBezTo>
                  <a:cubicBezTo>
                    <a:pt x="42" y="10"/>
                    <a:pt x="44" y="15"/>
                    <a:pt x="45" y="19"/>
                  </a:cubicBezTo>
                  <a:cubicBezTo>
                    <a:pt x="45" y="22"/>
                    <a:pt x="44" y="25"/>
                    <a:pt x="42" y="28"/>
                  </a:cubicBezTo>
                  <a:cubicBezTo>
                    <a:pt x="34" y="23"/>
                    <a:pt x="34" y="23"/>
                    <a:pt x="34" y="23"/>
                  </a:cubicBezTo>
                  <a:cubicBezTo>
                    <a:pt x="36" y="21"/>
                    <a:pt x="36" y="19"/>
                    <a:pt x="36" y="17"/>
                  </a:cubicBezTo>
                  <a:cubicBezTo>
                    <a:pt x="36" y="15"/>
                    <a:pt x="35" y="13"/>
                    <a:pt x="33" y="12"/>
                  </a:cubicBezTo>
                  <a:cubicBezTo>
                    <a:pt x="31" y="9"/>
                    <a:pt x="28" y="8"/>
                    <a:pt x="25" y="9"/>
                  </a:cubicBezTo>
                  <a:cubicBezTo>
                    <a:pt x="22" y="9"/>
                    <a:pt x="18" y="11"/>
                    <a:pt x="15" y="14"/>
                  </a:cubicBezTo>
                  <a:cubicBezTo>
                    <a:pt x="11" y="18"/>
                    <a:pt x="9" y="22"/>
                    <a:pt x="8" y="25"/>
                  </a:cubicBezTo>
                  <a:cubicBezTo>
                    <a:pt x="8" y="28"/>
                    <a:pt x="9" y="31"/>
                    <a:pt x="11" y="33"/>
                  </a:cubicBezTo>
                  <a:cubicBezTo>
                    <a:pt x="13" y="35"/>
                    <a:pt x="15" y="36"/>
                    <a:pt x="17" y="36"/>
                  </a:cubicBezTo>
                  <a:cubicBezTo>
                    <a:pt x="20" y="36"/>
                    <a:pt x="22" y="35"/>
                    <a:pt x="25" y="33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1049785" name="íṩḷiḋé"/>
            <p:cNvSpPr/>
            <p:nvPr/>
          </p:nvSpPr>
          <p:spPr bwMode="auto">
            <a:xfrm>
              <a:off x="1916009" y="5887040"/>
              <a:ext cx="65088" cy="71438"/>
            </a:xfrm>
            <a:custGeom>
              <a:avLst/>
              <a:gdLst>
                <a:gd name="T0" fmla="*/ 0 w 41"/>
                <a:gd name="T1" fmla="*/ 38 h 45"/>
                <a:gd name="T2" fmla="*/ 34 w 41"/>
                <a:gd name="T3" fmla="*/ 0 h 45"/>
                <a:gd name="T4" fmla="*/ 41 w 41"/>
                <a:gd name="T5" fmla="*/ 6 h 45"/>
                <a:gd name="T6" fmla="*/ 8 w 41"/>
                <a:gd name="T7" fmla="*/ 45 h 45"/>
                <a:gd name="T8" fmla="*/ 0 w 41"/>
                <a:gd name="T9" fmla="*/ 38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1" h="45">
                  <a:moveTo>
                    <a:pt x="0" y="38"/>
                  </a:moveTo>
                  <a:lnTo>
                    <a:pt x="34" y="0"/>
                  </a:lnTo>
                  <a:lnTo>
                    <a:pt x="41" y="6"/>
                  </a:lnTo>
                  <a:lnTo>
                    <a:pt x="8" y="45"/>
                  </a:lnTo>
                  <a:lnTo>
                    <a:pt x="0" y="3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1049786" name="îsľïďé"/>
            <p:cNvSpPr/>
            <p:nvPr/>
          </p:nvSpPr>
          <p:spPr bwMode="auto">
            <a:xfrm>
              <a:off x="1941409" y="5904503"/>
              <a:ext cx="96838" cy="101600"/>
            </a:xfrm>
            <a:custGeom>
              <a:avLst/>
              <a:gdLst>
                <a:gd name="T0" fmla="*/ 0 w 61"/>
                <a:gd name="T1" fmla="*/ 41 h 64"/>
                <a:gd name="T2" fmla="*/ 31 w 61"/>
                <a:gd name="T3" fmla="*/ 0 h 64"/>
                <a:gd name="T4" fmla="*/ 61 w 61"/>
                <a:gd name="T5" fmla="*/ 22 h 64"/>
                <a:gd name="T6" fmla="*/ 56 w 61"/>
                <a:gd name="T7" fmla="*/ 29 h 64"/>
                <a:gd name="T8" fmla="*/ 34 w 61"/>
                <a:gd name="T9" fmla="*/ 13 h 64"/>
                <a:gd name="T10" fmla="*/ 27 w 61"/>
                <a:gd name="T11" fmla="*/ 22 h 64"/>
                <a:gd name="T12" fmla="*/ 47 w 61"/>
                <a:gd name="T13" fmla="*/ 37 h 64"/>
                <a:gd name="T14" fmla="*/ 42 w 61"/>
                <a:gd name="T15" fmla="*/ 44 h 64"/>
                <a:gd name="T16" fmla="*/ 21 w 61"/>
                <a:gd name="T17" fmla="*/ 29 h 64"/>
                <a:gd name="T18" fmla="*/ 13 w 61"/>
                <a:gd name="T19" fmla="*/ 40 h 64"/>
                <a:gd name="T20" fmla="*/ 36 w 61"/>
                <a:gd name="T21" fmla="*/ 57 h 64"/>
                <a:gd name="T22" fmla="*/ 31 w 61"/>
                <a:gd name="T23" fmla="*/ 64 h 64"/>
                <a:gd name="T24" fmla="*/ 0 w 61"/>
                <a:gd name="T25" fmla="*/ 41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1" h="64">
                  <a:moveTo>
                    <a:pt x="0" y="41"/>
                  </a:moveTo>
                  <a:lnTo>
                    <a:pt x="31" y="0"/>
                  </a:lnTo>
                  <a:lnTo>
                    <a:pt x="61" y="22"/>
                  </a:lnTo>
                  <a:lnTo>
                    <a:pt x="56" y="29"/>
                  </a:lnTo>
                  <a:lnTo>
                    <a:pt x="34" y="13"/>
                  </a:lnTo>
                  <a:lnTo>
                    <a:pt x="27" y="22"/>
                  </a:lnTo>
                  <a:lnTo>
                    <a:pt x="47" y="37"/>
                  </a:lnTo>
                  <a:lnTo>
                    <a:pt x="42" y="44"/>
                  </a:lnTo>
                  <a:lnTo>
                    <a:pt x="21" y="29"/>
                  </a:lnTo>
                  <a:lnTo>
                    <a:pt x="13" y="40"/>
                  </a:lnTo>
                  <a:lnTo>
                    <a:pt x="36" y="57"/>
                  </a:lnTo>
                  <a:lnTo>
                    <a:pt x="31" y="64"/>
                  </a:lnTo>
                  <a:lnTo>
                    <a:pt x="0" y="4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1049787" name="íśliḋé"/>
            <p:cNvSpPr/>
            <p:nvPr/>
          </p:nvSpPr>
          <p:spPr bwMode="auto">
            <a:xfrm>
              <a:off x="2004909" y="5947365"/>
              <a:ext cx="96838" cy="101600"/>
            </a:xfrm>
            <a:custGeom>
              <a:avLst/>
              <a:gdLst>
                <a:gd name="T0" fmla="*/ 0 w 61"/>
                <a:gd name="T1" fmla="*/ 43 h 64"/>
                <a:gd name="T2" fmla="*/ 27 w 61"/>
                <a:gd name="T3" fmla="*/ 0 h 64"/>
                <a:gd name="T4" fmla="*/ 35 w 61"/>
                <a:gd name="T5" fmla="*/ 5 h 64"/>
                <a:gd name="T6" fmla="*/ 36 w 61"/>
                <a:gd name="T7" fmla="*/ 45 h 64"/>
                <a:gd name="T8" fmla="*/ 53 w 61"/>
                <a:gd name="T9" fmla="*/ 15 h 64"/>
                <a:gd name="T10" fmla="*/ 61 w 61"/>
                <a:gd name="T11" fmla="*/ 21 h 64"/>
                <a:gd name="T12" fmla="*/ 35 w 61"/>
                <a:gd name="T13" fmla="*/ 64 h 64"/>
                <a:gd name="T14" fmla="*/ 27 w 61"/>
                <a:gd name="T15" fmla="*/ 59 h 64"/>
                <a:gd name="T16" fmla="*/ 25 w 61"/>
                <a:gd name="T17" fmla="*/ 20 h 64"/>
                <a:gd name="T18" fmla="*/ 8 w 61"/>
                <a:gd name="T19" fmla="*/ 49 h 64"/>
                <a:gd name="T20" fmla="*/ 0 w 61"/>
                <a:gd name="T21" fmla="*/ 43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61" h="64">
                  <a:moveTo>
                    <a:pt x="0" y="43"/>
                  </a:moveTo>
                  <a:lnTo>
                    <a:pt x="27" y="0"/>
                  </a:lnTo>
                  <a:lnTo>
                    <a:pt x="35" y="5"/>
                  </a:lnTo>
                  <a:lnTo>
                    <a:pt x="36" y="45"/>
                  </a:lnTo>
                  <a:lnTo>
                    <a:pt x="53" y="15"/>
                  </a:lnTo>
                  <a:lnTo>
                    <a:pt x="61" y="21"/>
                  </a:lnTo>
                  <a:lnTo>
                    <a:pt x="35" y="64"/>
                  </a:lnTo>
                  <a:lnTo>
                    <a:pt x="27" y="59"/>
                  </a:lnTo>
                  <a:lnTo>
                    <a:pt x="25" y="20"/>
                  </a:lnTo>
                  <a:lnTo>
                    <a:pt x="8" y="49"/>
                  </a:lnTo>
                  <a:lnTo>
                    <a:pt x="0" y="43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1049788" name="iSļiďê"/>
            <p:cNvSpPr/>
            <p:nvPr/>
          </p:nvSpPr>
          <p:spPr bwMode="auto">
            <a:xfrm>
              <a:off x="2087459" y="5993403"/>
              <a:ext cx="79375" cy="87313"/>
            </a:xfrm>
            <a:custGeom>
              <a:avLst/>
              <a:gdLst>
                <a:gd name="T0" fmla="*/ 28 w 43"/>
                <a:gd name="T1" fmla="*/ 33 h 47"/>
                <a:gd name="T2" fmla="*/ 34 w 43"/>
                <a:gd name="T3" fmla="*/ 39 h 47"/>
                <a:gd name="T4" fmla="*/ 24 w 43"/>
                <a:gd name="T5" fmla="*/ 46 h 47"/>
                <a:gd name="T6" fmla="*/ 12 w 43"/>
                <a:gd name="T7" fmla="*/ 44 h 47"/>
                <a:gd name="T8" fmla="*/ 1 w 43"/>
                <a:gd name="T9" fmla="*/ 33 h 47"/>
                <a:gd name="T10" fmla="*/ 3 w 43"/>
                <a:gd name="T11" fmla="*/ 15 h 47"/>
                <a:gd name="T12" fmla="*/ 15 w 43"/>
                <a:gd name="T13" fmla="*/ 2 h 47"/>
                <a:gd name="T14" fmla="*/ 32 w 43"/>
                <a:gd name="T15" fmla="*/ 3 h 47"/>
                <a:gd name="T16" fmla="*/ 41 w 43"/>
                <a:gd name="T17" fmla="*/ 13 h 47"/>
                <a:gd name="T18" fmla="*/ 42 w 43"/>
                <a:gd name="T19" fmla="*/ 22 h 47"/>
                <a:gd name="T20" fmla="*/ 33 w 43"/>
                <a:gd name="T21" fmla="*/ 20 h 47"/>
                <a:gd name="T22" fmla="*/ 33 w 43"/>
                <a:gd name="T23" fmla="*/ 14 h 47"/>
                <a:gd name="T24" fmla="*/ 28 w 43"/>
                <a:gd name="T25" fmla="*/ 10 h 47"/>
                <a:gd name="T26" fmla="*/ 19 w 43"/>
                <a:gd name="T27" fmla="*/ 10 h 47"/>
                <a:gd name="T28" fmla="*/ 12 w 43"/>
                <a:gd name="T29" fmla="*/ 19 h 47"/>
                <a:gd name="T30" fmla="*/ 9 w 43"/>
                <a:gd name="T31" fmla="*/ 31 h 47"/>
                <a:gd name="T32" fmla="*/ 15 w 43"/>
                <a:gd name="T33" fmla="*/ 37 h 47"/>
                <a:gd name="T34" fmla="*/ 22 w 43"/>
                <a:gd name="T35" fmla="*/ 38 h 47"/>
                <a:gd name="T36" fmla="*/ 28 w 43"/>
                <a:gd name="T37" fmla="*/ 33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3" h="47">
                  <a:moveTo>
                    <a:pt x="28" y="33"/>
                  </a:moveTo>
                  <a:cubicBezTo>
                    <a:pt x="34" y="39"/>
                    <a:pt x="34" y="39"/>
                    <a:pt x="34" y="39"/>
                  </a:cubicBezTo>
                  <a:cubicBezTo>
                    <a:pt x="31" y="43"/>
                    <a:pt x="28" y="45"/>
                    <a:pt x="24" y="46"/>
                  </a:cubicBezTo>
                  <a:cubicBezTo>
                    <a:pt x="20" y="47"/>
                    <a:pt x="16" y="46"/>
                    <a:pt x="12" y="44"/>
                  </a:cubicBezTo>
                  <a:cubicBezTo>
                    <a:pt x="7" y="42"/>
                    <a:pt x="3" y="38"/>
                    <a:pt x="1" y="33"/>
                  </a:cubicBezTo>
                  <a:cubicBezTo>
                    <a:pt x="0" y="27"/>
                    <a:pt x="0" y="22"/>
                    <a:pt x="3" y="15"/>
                  </a:cubicBezTo>
                  <a:cubicBezTo>
                    <a:pt x="6" y="9"/>
                    <a:pt x="10" y="4"/>
                    <a:pt x="15" y="2"/>
                  </a:cubicBezTo>
                  <a:cubicBezTo>
                    <a:pt x="21" y="0"/>
                    <a:pt x="26" y="1"/>
                    <a:pt x="32" y="3"/>
                  </a:cubicBezTo>
                  <a:cubicBezTo>
                    <a:pt x="36" y="5"/>
                    <a:pt x="40" y="9"/>
                    <a:pt x="41" y="13"/>
                  </a:cubicBezTo>
                  <a:cubicBezTo>
                    <a:pt x="42" y="16"/>
                    <a:pt x="43" y="19"/>
                    <a:pt x="42" y="22"/>
                  </a:cubicBezTo>
                  <a:cubicBezTo>
                    <a:pt x="33" y="20"/>
                    <a:pt x="33" y="20"/>
                    <a:pt x="33" y="20"/>
                  </a:cubicBezTo>
                  <a:cubicBezTo>
                    <a:pt x="34" y="18"/>
                    <a:pt x="34" y="16"/>
                    <a:pt x="33" y="14"/>
                  </a:cubicBezTo>
                  <a:cubicBezTo>
                    <a:pt x="32" y="12"/>
                    <a:pt x="30" y="11"/>
                    <a:pt x="28" y="10"/>
                  </a:cubicBezTo>
                  <a:cubicBezTo>
                    <a:pt x="25" y="8"/>
                    <a:pt x="22" y="8"/>
                    <a:pt x="19" y="10"/>
                  </a:cubicBezTo>
                  <a:cubicBezTo>
                    <a:pt x="16" y="11"/>
                    <a:pt x="14" y="14"/>
                    <a:pt x="12" y="19"/>
                  </a:cubicBezTo>
                  <a:cubicBezTo>
                    <a:pt x="9" y="24"/>
                    <a:pt x="9" y="28"/>
                    <a:pt x="9" y="31"/>
                  </a:cubicBezTo>
                  <a:cubicBezTo>
                    <a:pt x="10" y="34"/>
                    <a:pt x="12" y="36"/>
                    <a:pt x="15" y="37"/>
                  </a:cubicBezTo>
                  <a:cubicBezTo>
                    <a:pt x="17" y="38"/>
                    <a:pt x="19" y="38"/>
                    <a:pt x="22" y="38"/>
                  </a:cubicBezTo>
                  <a:cubicBezTo>
                    <a:pt x="24" y="37"/>
                    <a:pt x="26" y="35"/>
                    <a:pt x="28" y="33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1049789" name="íSliḋé"/>
            <p:cNvSpPr/>
            <p:nvPr/>
          </p:nvSpPr>
          <p:spPr bwMode="auto">
            <a:xfrm>
              <a:off x="2157309" y="6017215"/>
              <a:ext cx="82550" cy="96838"/>
            </a:xfrm>
            <a:custGeom>
              <a:avLst/>
              <a:gdLst>
                <a:gd name="T0" fmla="*/ 0 w 52"/>
                <a:gd name="T1" fmla="*/ 49 h 61"/>
                <a:gd name="T2" fmla="*/ 16 w 52"/>
                <a:gd name="T3" fmla="*/ 0 h 61"/>
                <a:gd name="T4" fmla="*/ 52 w 52"/>
                <a:gd name="T5" fmla="*/ 13 h 61"/>
                <a:gd name="T6" fmla="*/ 50 w 52"/>
                <a:gd name="T7" fmla="*/ 21 h 61"/>
                <a:gd name="T8" fmla="*/ 23 w 52"/>
                <a:gd name="T9" fmla="*/ 12 h 61"/>
                <a:gd name="T10" fmla="*/ 20 w 52"/>
                <a:gd name="T11" fmla="*/ 22 h 61"/>
                <a:gd name="T12" fmla="*/ 44 w 52"/>
                <a:gd name="T13" fmla="*/ 30 h 61"/>
                <a:gd name="T14" fmla="*/ 41 w 52"/>
                <a:gd name="T15" fmla="*/ 38 h 61"/>
                <a:gd name="T16" fmla="*/ 18 w 52"/>
                <a:gd name="T17" fmla="*/ 30 h 61"/>
                <a:gd name="T18" fmla="*/ 13 w 52"/>
                <a:gd name="T19" fmla="*/ 43 h 61"/>
                <a:gd name="T20" fmla="*/ 40 w 52"/>
                <a:gd name="T21" fmla="*/ 52 h 61"/>
                <a:gd name="T22" fmla="*/ 36 w 52"/>
                <a:gd name="T23" fmla="*/ 61 h 61"/>
                <a:gd name="T24" fmla="*/ 0 w 52"/>
                <a:gd name="T25" fmla="*/ 49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52" h="61">
                  <a:moveTo>
                    <a:pt x="0" y="49"/>
                  </a:moveTo>
                  <a:lnTo>
                    <a:pt x="16" y="0"/>
                  </a:lnTo>
                  <a:lnTo>
                    <a:pt x="52" y="13"/>
                  </a:lnTo>
                  <a:lnTo>
                    <a:pt x="50" y="21"/>
                  </a:lnTo>
                  <a:lnTo>
                    <a:pt x="23" y="12"/>
                  </a:lnTo>
                  <a:lnTo>
                    <a:pt x="20" y="22"/>
                  </a:lnTo>
                  <a:lnTo>
                    <a:pt x="44" y="30"/>
                  </a:lnTo>
                  <a:lnTo>
                    <a:pt x="41" y="38"/>
                  </a:lnTo>
                  <a:lnTo>
                    <a:pt x="18" y="30"/>
                  </a:lnTo>
                  <a:lnTo>
                    <a:pt x="13" y="43"/>
                  </a:lnTo>
                  <a:lnTo>
                    <a:pt x="40" y="52"/>
                  </a:lnTo>
                  <a:lnTo>
                    <a:pt x="36" y="61"/>
                  </a:lnTo>
                  <a:lnTo>
                    <a:pt x="0" y="49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1049790" name="îŝ1îḑè"/>
            <p:cNvSpPr/>
            <p:nvPr/>
          </p:nvSpPr>
          <p:spPr bwMode="auto">
            <a:xfrm>
              <a:off x="2663722" y="6026740"/>
              <a:ext cx="77788" cy="92075"/>
            </a:xfrm>
            <a:custGeom>
              <a:avLst/>
              <a:gdLst>
                <a:gd name="T0" fmla="*/ 49 w 49"/>
                <a:gd name="T1" fmla="*/ 42 h 58"/>
                <a:gd name="T2" fmla="*/ 39 w 49"/>
                <a:gd name="T3" fmla="*/ 45 h 58"/>
                <a:gd name="T4" fmla="*/ 31 w 49"/>
                <a:gd name="T5" fmla="*/ 36 h 58"/>
                <a:gd name="T6" fmla="*/ 11 w 49"/>
                <a:gd name="T7" fmla="*/ 43 h 58"/>
                <a:gd name="T8" fmla="*/ 11 w 49"/>
                <a:gd name="T9" fmla="*/ 55 h 58"/>
                <a:gd name="T10" fmla="*/ 0 w 49"/>
                <a:gd name="T11" fmla="*/ 58 h 58"/>
                <a:gd name="T12" fmla="*/ 3 w 49"/>
                <a:gd name="T13" fmla="*/ 3 h 58"/>
                <a:gd name="T14" fmla="*/ 13 w 49"/>
                <a:gd name="T15" fmla="*/ 0 h 58"/>
                <a:gd name="T16" fmla="*/ 49 w 49"/>
                <a:gd name="T17" fmla="*/ 42 h 58"/>
                <a:gd name="T18" fmla="*/ 25 w 49"/>
                <a:gd name="T19" fmla="*/ 29 h 58"/>
                <a:gd name="T20" fmla="*/ 12 w 49"/>
                <a:gd name="T21" fmla="*/ 14 h 58"/>
                <a:gd name="T22" fmla="*/ 11 w 49"/>
                <a:gd name="T23" fmla="*/ 34 h 58"/>
                <a:gd name="T24" fmla="*/ 25 w 49"/>
                <a:gd name="T25" fmla="*/ 29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8">
                  <a:moveTo>
                    <a:pt x="49" y="42"/>
                  </a:moveTo>
                  <a:lnTo>
                    <a:pt x="39" y="45"/>
                  </a:lnTo>
                  <a:lnTo>
                    <a:pt x="31" y="36"/>
                  </a:lnTo>
                  <a:lnTo>
                    <a:pt x="11" y="43"/>
                  </a:lnTo>
                  <a:lnTo>
                    <a:pt x="11" y="55"/>
                  </a:lnTo>
                  <a:lnTo>
                    <a:pt x="0" y="58"/>
                  </a:lnTo>
                  <a:lnTo>
                    <a:pt x="3" y="3"/>
                  </a:lnTo>
                  <a:lnTo>
                    <a:pt x="13" y="0"/>
                  </a:lnTo>
                  <a:lnTo>
                    <a:pt x="49" y="42"/>
                  </a:lnTo>
                  <a:close/>
                  <a:moveTo>
                    <a:pt x="25" y="29"/>
                  </a:moveTo>
                  <a:lnTo>
                    <a:pt x="12" y="14"/>
                  </a:lnTo>
                  <a:lnTo>
                    <a:pt x="11" y="34"/>
                  </a:lnTo>
                  <a:lnTo>
                    <a:pt x="25" y="29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1049791" name="íṩḻiḋê"/>
            <p:cNvSpPr/>
            <p:nvPr/>
          </p:nvSpPr>
          <p:spPr bwMode="auto">
            <a:xfrm>
              <a:off x="2714522" y="5990228"/>
              <a:ext cx="92075" cy="101600"/>
            </a:xfrm>
            <a:custGeom>
              <a:avLst/>
              <a:gdLst>
                <a:gd name="T0" fmla="*/ 21 w 58"/>
                <a:gd name="T1" fmla="*/ 64 h 64"/>
                <a:gd name="T2" fmla="*/ 0 w 58"/>
                <a:gd name="T3" fmla="*/ 17 h 64"/>
                <a:gd name="T4" fmla="*/ 9 w 58"/>
                <a:gd name="T5" fmla="*/ 12 h 64"/>
                <a:gd name="T6" fmla="*/ 43 w 58"/>
                <a:gd name="T7" fmla="*/ 36 h 64"/>
                <a:gd name="T8" fmla="*/ 29 w 58"/>
                <a:gd name="T9" fmla="*/ 4 h 64"/>
                <a:gd name="T10" fmla="*/ 37 w 58"/>
                <a:gd name="T11" fmla="*/ 0 h 64"/>
                <a:gd name="T12" fmla="*/ 58 w 58"/>
                <a:gd name="T13" fmla="*/ 46 h 64"/>
                <a:gd name="T14" fmla="*/ 49 w 58"/>
                <a:gd name="T15" fmla="*/ 51 h 64"/>
                <a:gd name="T16" fmla="*/ 16 w 58"/>
                <a:gd name="T17" fmla="*/ 29 h 64"/>
                <a:gd name="T18" fmla="*/ 30 w 58"/>
                <a:gd name="T19" fmla="*/ 59 h 64"/>
                <a:gd name="T20" fmla="*/ 21 w 58"/>
                <a:gd name="T21" fmla="*/ 64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8" h="64">
                  <a:moveTo>
                    <a:pt x="21" y="64"/>
                  </a:moveTo>
                  <a:lnTo>
                    <a:pt x="0" y="17"/>
                  </a:lnTo>
                  <a:lnTo>
                    <a:pt x="9" y="12"/>
                  </a:lnTo>
                  <a:lnTo>
                    <a:pt x="43" y="36"/>
                  </a:lnTo>
                  <a:lnTo>
                    <a:pt x="29" y="4"/>
                  </a:lnTo>
                  <a:lnTo>
                    <a:pt x="37" y="0"/>
                  </a:lnTo>
                  <a:lnTo>
                    <a:pt x="58" y="46"/>
                  </a:lnTo>
                  <a:lnTo>
                    <a:pt x="49" y="51"/>
                  </a:lnTo>
                  <a:lnTo>
                    <a:pt x="16" y="29"/>
                  </a:lnTo>
                  <a:lnTo>
                    <a:pt x="30" y="59"/>
                  </a:lnTo>
                  <a:lnTo>
                    <a:pt x="21" y="6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1049792" name="îṧľíḍe"/>
            <p:cNvSpPr/>
            <p:nvPr/>
          </p:nvSpPr>
          <p:spPr bwMode="auto">
            <a:xfrm>
              <a:off x="2781197" y="5963240"/>
              <a:ext cx="85725" cy="95250"/>
            </a:xfrm>
            <a:custGeom>
              <a:avLst/>
              <a:gdLst>
                <a:gd name="T0" fmla="*/ 0 w 47"/>
                <a:gd name="T1" fmla="*/ 13 h 51"/>
                <a:gd name="T2" fmla="*/ 14 w 47"/>
                <a:gd name="T3" fmla="*/ 4 h 51"/>
                <a:gd name="T4" fmla="*/ 22 w 47"/>
                <a:gd name="T5" fmla="*/ 1 h 51"/>
                <a:gd name="T6" fmla="*/ 29 w 47"/>
                <a:gd name="T7" fmla="*/ 1 h 51"/>
                <a:gd name="T8" fmla="*/ 37 w 47"/>
                <a:gd name="T9" fmla="*/ 5 h 51"/>
                <a:gd name="T10" fmla="*/ 43 w 47"/>
                <a:gd name="T11" fmla="*/ 14 h 51"/>
                <a:gd name="T12" fmla="*/ 47 w 47"/>
                <a:gd name="T13" fmla="*/ 22 h 51"/>
                <a:gd name="T14" fmla="*/ 46 w 47"/>
                <a:gd name="T15" fmla="*/ 31 h 51"/>
                <a:gd name="T16" fmla="*/ 43 w 47"/>
                <a:gd name="T17" fmla="*/ 38 h 51"/>
                <a:gd name="T18" fmla="*/ 36 w 47"/>
                <a:gd name="T19" fmla="*/ 42 h 51"/>
                <a:gd name="T20" fmla="*/ 22 w 47"/>
                <a:gd name="T21" fmla="*/ 51 h 51"/>
                <a:gd name="T22" fmla="*/ 0 w 47"/>
                <a:gd name="T23" fmla="*/ 13 h 51"/>
                <a:gd name="T24" fmla="*/ 11 w 47"/>
                <a:gd name="T25" fmla="*/ 15 h 51"/>
                <a:gd name="T26" fmla="*/ 26 w 47"/>
                <a:gd name="T27" fmla="*/ 40 h 51"/>
                <a:gd name="T28" fmla="*/ 32 w 47"/>
                <a:gd name="T29" fmla="*/ 37 h 51"/>
                <a:gd name="T30" fmla="*/ 36 w 47"/>
                <a:gd name="T31" fmla="*/ 33 h 51"/>
                <a:gd name="T32" fmla="*/ 38 w 47"/>
                <a:gd name="T33" fmla="*/ 30 h 51"/>
                <a:gd name="T34" fmla="*/ 38 w 47"/>
                <a:gd name="T35" fmla="*/ 25 h 51"/>
                <a:gd name="T36" fmla="*/ 35 w 47"/>
                <a:gd name="T37" fmla="*/ 18 h 51"/>
                <a:gd name="T38" fmla="*/ 30 w 47"/>
                <a:gd name="T39" fmla="*/ 11 h 51"/>
                <a:gd name="T40" fmla="*/ 26 w 47"/>
                <a:gd name="T41" fmla="*/ 9 h 51"/>
                <a:gd name="T42" fmla="*/ 21 w 47"/>
                <a:gd name="T43" fmla="*/ 9 h 51"/>
                <a:gd name="T44" fmla="*/ 15 w 47"/>
                <a:gd name="T45" fmla="*/ 13 h 51"/>
                <a:gd name="T46" fmla="*/ 11 w 47"/>
                <a:gd name="T47" fmla="*/ 15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47" h="51">
                  <a:moveTo>
                    <a:pt x="0" y="13"/>
                  </a:moveTo>
                  <a:cubicBezTo>
                    <a:pt x="14" y="4"/>
                    <a:pt x="14" y="4"/>
                    <a:pt x="14" y="4"/>
                  </a:cubicBezTo>
                  <a:cubicBezTo>
                    <a:pt x="17" y="3"/>
                    <a:pt x="20" y="1"/>
                    <a:pt x="22" y="1"/>
                  </a:cubicBezTo>
                  <a:cubicBezTo>
                    <a:pt x="24" y="0"/>
                    <a:pt x="27" y="0"/>
                    <a:pt x="29" y="1"/>
                  </a:cubicBezTo>
                  <a:cubicBezTo>
                    <a:pt x="32" y="2"/>
                    <a:pt x="34" y="3"/>
                    <a:pt x="37" y="5"/>
                  </a:cubicBezTo>
                  <a:cubicBezTo>
                    <a:pt x="39" y="7"/>
                    <a:pt x="41" y="10"/>
                    <a:pt x="43" y="14"/>
                  </a:cubicBezTo>
                  <a:cubicBezTo>
                    <a:pt x="45" y="17"/>
                    <a:pt x="46" y="20"/>
                    <a:pt x="47" y="22"/>
                  </a:cubicBezTo>
                  <a:cubicBezTo>
                    <a:pt x="47" y="26"/>
                    <a:pt x="47" y="29"/>
                    <a:pt x="46" y="31"/>
                  </a:cubicBezTo>
                  <a:cubicBezTo>
                    <a:pt x="46" y="34"/>
                    <a:pt x="45" y="36"/>
                    <a:pt x="43" y="38"/>
                  </a:cubicBezTo>
                  <a:cubicBezTo>
                    <a:pt x="41" y="39"/>
                    <a:pt x="39" y="41"/>
                    <a:pt x="36" y="42"/>
                  </a:cubicBezTo>
                  <a:cubicBezTo>
                    <a:pt x="22" y="51"/>
                    <a:pt x="22" y="51"/>
                    <a:pt x="22" y="51"/>
                  </a:cubicBezTo>
                  <a:lnTo>
                    <a:pt x="0" y="13"/>
                  </a:lnTo>
                  <a:close/>
                  <a:moveTo>
                    <a:pt x="11" y="15"/>
                  </a:moveTo>
                  <a:cubicBezTo>
                    <a:pt x="26" y="40"/>
                    <a:pt x="26" y="40"/>
                    <a:pt x="26" y="40"/>
                  </a:cubicBezTo>
                  <a:cubicBezTo>
                    <a:pt x="32" y="37"/>
                    <a:pt x="32" y="37"/>
                    <a:pt x="32" y="37"/>
                  </a:cubicBezTo>
                  <a:cubicBezTo>
                    <a:pt x="34" y="35"/>
                    <a:pt x="35" y="34"/>
                    <a:pt x="36" y="33"/>
                  </a:cubicBezTo>
                  <a:cubicBezTo>
                    <a:pt x="37" y="32"/>
                    <a:pt x="38" y="31"/>
                    <a:pt x="38" y="30"/>
                  </a:cubicBezTo>
                  <a:cubicBezTo>
                    <a:pt x="39" y="29"/>
                    <a:pt x="39" y="27"/>
                    <a:pt x="38" y="25"/>
                  </a:cubicBezTo>
                  <a:cubicBezTo>
                    <a:pt x="38" y="23"/>
                    <a:pt x="37" y="21"/>
                    <a:pt x="35" y="18"/>
                  </a:cubicBezTo>
                  <a:cubicBezTo>
                    <a:pt x="33" y="15"/>
                    <a:pt x="32" y="13"/>
                    <a:pt x="30" y="11"/>
                  </a:cubicBezTo>
                  <a:cubicBezTo>
                    <a:pt x="29" y="10"/>
                    <a:pt x="27" y="9"/>
                    <a:pt x="26" y="9"/>
                  </a:cubicBezTo>
                  <a:cubicBezTo>
                    <a:pt x="25" y="9"/>
                    <a:pt x="23" y="9"/>
                    <a:pt x="21" y="9"/>
                  </a:cubicBezTo>
                  <a:cubicBezTo>
                    <a:pt x="20" y="10"/>
                    <a:pt x="18" y="11"/>
                    <a:pt x="15" y="13"/>
                  </a:cubicBezTo>
                  <a:lnTo>
                    <a:pt x="11" y="15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1049793" name="ïṩḻiḍe"/>
            <p:cNvSpPr/>
            <p:nvPr/>
          </p:nvSpPr>
          <p:spPr bwMode="auto">
            <a:xfrm>
              <a:off x="2876447" y="5888628"/>
              <a:ext cx="80963" cy="88900"/>
            </a:xfrm>
            <a:custGeom>
              <a:avLst/>
              <a:gdLst>
                <a:gd name="T0" fmla="*/ 43 w 51"/>
                <a:gd name="T1" fmla="*/ 56 h 56"/>
                <a:gd name="T2" fmla="*/ 16 w 51"/>
                <a:gd name="T3" fmla="*/ 22 h 56"/>
                <a:gd name="T4" fmla="*/ 5 w 51"/>
                <a:gd name="T5" fmla="*/ 31 h 56"/>
                <a:gd name="T6" fmla="*/ 0 w 51"/>
                <a:gd name="T7" fmla="*/ 25 h 56"/>
                <a:gd name="T8" fmla="*/ 31 w 51"/>
                <a:gd name="T9" fmla="*/ 0 h 56"/>
                <a:gd name="T10" fmla="*/ 37 w 51"/>
                <a:gd name="T11" fmla="*/ 7 h 56"/>
                <a:gd name="T12" fmla="*/ 24 w 51"/>
                <a:gd name="T13" fmla="*/ 16 h 56"/>
                <a:gd name="T14" fmla="*/ 51 w 51"/>
                <a:gd name="T15" fmla="*/ 49 h 56"/>
                <a:gd name="T16" fmla="*/ 43 w 51"/>
                <a:gd name="T17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1" h="56">
                  <a:moveTo>
                    <a:pt x="43" y="56"/>
                  </a:moveTo>
                  <a:lnTo>
                    <a:pt x="16" y="22"/>
                  </a:lnTo>
                  <a:lnTo>
                    <a:pt x="5" y="31"/>
                  </a:lnTo>
                  <a:lnTo>
                    <a:pt x="0" y="25"/>
                  </a:lnTo>
                  <a:lnTo>
                    <a:pt x="31" y="0"/>
                  </a:lnTo>
                  <a:lnTo>
                    <a:pt x="37" y="7"/>
                  </a:lnTo>
                  <a:lnTo>
                    <a:pt x="24" y="16"/>
                  </a:lnTo>
                  <a:lnTo>
                    <a:pt x="51" y="49"/>
                  </a:lnTo>
                  <a:lnTo>
                    <a:pt x="43" y="5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1049794" name="íśļïḓè"/>
            <p:cNvSpPr/>
            <p:nvPr/>
          </p:nvSpPr>
          <p:spPr bwMode="auto">
            <a:xfrm>
              <a:off x="2925659" y="5845765"/>
              <a:ext cx="101600" cy="100013"/>
            </a:xfrm>
            <a:custGeom>
              <a:avLst/>
              <a:gdLst>
                <a:gd name="T0" fmla="*/ 36 w 64"/>
                <a:gd name="T1" fmla="*/ 63 h 63"/>
                <a:gd name="T2" fmla="*/ 0 w 64"/>
                <a:gd name="T3" fmla="*/ 26 h 63"/>
                <a:gd name="T4" fmla="*/ 28 w 64"/>
                <a:gd name="T5" fmla="*/ 0 h 63"/>
                <a:gd name="T6" fmla="*/ 34 w 64"/>
                <a:gd name="T7" fmla="*/ 6 h 63"/>
                <a:gd name="T8" fmla="*/ 14 w 64"/>
                <a:gd name="T9" fmla="*/ 26 h 63"/>
                <a:gd name="T10" fmla="*/ 22 w 64"/>
                <a:gd name="T11" fmla="*/ 34 h 63"/>
                <a:gd name="T12" fmla="*/ 41 w 64"/>
                <a:gd name="T13" fmla="*/ 16 h 63"/>
                <a:gd name="T14" fmla="*/ 47 w 64"/>
                <a:gd name="T15" fmla="*/ 22 h 63"/>
                <a:gd name="T16" fmla="*/ 28 w 64"/>
                <a:gd name="T17" fmla="*/ 39 h 63"/>
                <a:gd name="T18" fmla="*/ 38 w 64"/>
                <a:gd name="T19" fmla="*/ 50 h 63"/>
                <a:gd name="T20" fmla="*/ 58 w 64"/>
                <a:gd name="T21" fmla="*/ 30 h 63"/>
                <a:gd name="T22" fmla="*/ 64 w 64"/>
                <a:gd name="T23" fmla="*/ 36 h 63"/>
                <a:gd name="T24" fmla="*/ 36 w 64"/>
                <a:gd name="T25" fmla="*/ 63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4" h="63">
                  <a:moveTo>
                    <a:pt x="36" y="63"/>
                  </a:moveTo>
                  <a:lnTo>
                    <a:pt x="0" y="26"/>
                  </a:lnTo>
                  <a:lnTo>
                    <a:pt x="28" y="0"/>
                  </a:lnTo>
                  <a:lnTo>
                    <a:pt x="34" y="6"/>
                  </a:lnTo>
                  <a:lnTo>
                    <a:pt x="14" y="26"/>
                  </a:lnTo>
                  <a:lnTo>
                    <a:pt x="22" y="34"/>
                  </a:lnTo>
                  <a:lnTo>
                    <a:pt x="41" y="16"/>
                  </a:lnTo>
                  <a:lnTo>
                    <a:pt x="47" y="22"/>
                  </a:lnTo>
                  <a:lnTo>
                    <a:pt x="28" y="39"/>
                  </a:lnTo>
                  <a:lnTo>
                    <a:pt x="38" y="50"/>
                  </a:lnTo>
                  <a:lnTo>
                    <a:pt x="58" y="30"/>
                  </a:lnTo>
                  <a:lnTo>
                    <a:pt x="64" y="36"/>
                  </a:lnTo>
                  <a:lnTo>
                    <a:pt x="36" y="63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1049795" name="íṩḻîde"/>
            <p:cNvSpPr/>
            <p:nvPr/>
          </p:nvSpPr>
          <p:spPr bwMode="auto">
            <a:xfrm>
              <a:off x="2985984" y="5801315"/>
              <a:ext cx="82550" cy="80963"/>
            </a:xfrm>
            <a:custGeom>
              <a:avLst/>
              <a:gdLst>
                <a:gd name="T0" fmla="*/ 34 w 45"/>
                <a:gd name="T1" fmla="*/ 19 h 44"/>
                <a:gd name="T2" fmla="*/ 41 w 45"/>
                <a:gd name="T3" fmla="*/ 14 h 44"/>
                <a:gd name="T4" fmla="*/ 45 w 45"/>
                <a:gd name="T5" fmla="*/ 26 h 44"/>
                <a:gd name="T6" fmla="*/ 40 w 45"/>
                <a:gd name="T7" fmla="*/ 37 h 44"/>
                <a:gd name="T8" fmla="*/ 26 w 45"/>
                <a:gd name="T9" fmla="*/ 44 h 44"/>
                <a:gd name="T10" fmla="*/ 10 w 45"/>
                <a:gd name="T11" fmla="*/ 38 h 44"/>
                <a:gd name="T12" fmla="*/ 1 w 45"/>
                <a:gd name="T13" fmla="*/ 22 h 44"/>
                <a:gd name="T14" fmla="*/ 6 w 45"/>
                <a:gd name="T15" fmla="*/ 7 h 44"/>
                <a:gd name="T16" fmla="*/ 18 w 45"/>
                <a:gd name="T17" fmla="*/ 0 h 44"/>
                <a:gd name="T18" fmla="*/ 27 w 45"/>
                <a:gd name="T19" fmla="*/ 2 h 44"/>
                <a:gd name="T20" fmla="*/ 23 w 45"/>
                <a:gd name="T21" fmla="*/ 10 h 44"/>
                <a:gd name="T22" fmla="*/ 17 w 45"/>
                <a:gd name="T23" fmla="*/ 9 h 44"/>
                <a:gd name="T24" fmla="*/ 11 w 45"/>
                <a:gd name="T25" fmla="*/ 12 h 44"/>
                <a:gd name="T26" fmla="*/ 9 w 45"/>
                <a:gd name="T27" fmla="*/ 21 h 44"/>
                <a:gd name="T28" fmla="*/ 15 w 45"/>
                <a:gd name="T29" fmla="*/ 30 h 44"/>
                <a:gd name="T30" fmla="*/ 26 w 45"/>
                <a:gd name="T31" fmla="*/ 36 h 44"/>
                <a:gd name="T32" fmla="*/ 34 w 45"/>
                <a:gd name="T33" fmla="*/ 32 h 44"/>
                <a:gd name="T34" fmla="*/ 36 w 45"/>
                <a:gd name="T35" fmla="*/ 26 h 44"/>
                <a:gd name="T36" fmla="*/ 34 w 45"/>
                <a:gd name="T37" fmla="*/ 19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5" h="44">
                  <a:moveTo>
                    <a:pt x="34" y="19"/>
                  </a:moveTo>
                  <a:cubicBezTo>
                    <a:pt x="41" y="14"/>
                    <a:pt x="41" y="14"/>
                    <a:pt x="41" y="14"/>
                  </a:cubicBezTo>
                  <a:cubicBezTo>
                    <a:pt x="44" y="18"/>
                    <a:pt x="45" y="22"/>
                    <a:pt x="45" y="26"/>
                  </a:cubicBezTo>
                  <a:cubicBezTo>
                    <a:pt x="45" y="30"/>
                    <a:pt x="43" y="34"/>
                    <a:pt x="40" y="37"/>
                  </a:cubicBezTo>
                  <a:cubicBezTo>
                    <a:pt x="36" y="42"/>
                    <a:pt x="31" y="44"/>
                    <a:pt x="26" y="44"/>
                  </a:cubicBezTo>
                  <a:cubicBezTo>
                    <a:pt x="21" y="44"/>
                    <a:pt x="15" y="42"/>
                    <a:pt x="10" y="38"/>
                  </a:cubicBezTo>
                  <a:cubicBezTo>
                    <a:pt x="4" y="33"/>
                    <a:pt x="1" y="28"/>
                    <a:pt x="1" y="22"/>
                  </a:cubicBezTo>
                  <a:cubicBezTo>
                    <a:pt x="0" y="17"/>
                    <a:pt x="2" y="12"/>
                    <a:pt x="6" y="7"/>
                  </a:cubicBezTo>
                  <a:cubicBezTo>
                    <a:pt x="10" y="3"/>
                    <a:pt x="14" y="1"/>
                    <a:pt x="18" y="0"/>
                  </a:cubicBezTo>
                  <a:cubicBezTo>
                    <a:pt x="21" y="0"/>
                    <a:pt x="24" y="1"/>
                    <a:pt x="27" y="2"/>
                  </a:cubicBezTo>
                  <a:cubicBezTo>
                    <a:pt x="23" y="10"/>
                    <a:pt x="23" y="10"/>
                    <a:pt x="23" y="10"/>
                  </a:cubicBezTo>
                  <a:cubicBezTo>
                    <a:pt x="21" y="9"/>
                    <a:pt x="19" y="9"/>
                    <a:pt x="17" y="9"/>
                  </a:cubicBezTo>
                  <a:cubicBezTo>
                    <a:pt x="15" y="9"/>
                    <a:pt x="13" y="11"/>
                    <a:pt x="11" y="12"/>
                  </a:cubicBezTo>
                  <a:cubicBezTo>
                    <a:pt x="9" y="15"/>
                    <a:pt x="8" y="18"/>
                    <a:pt x="9" y="21"/>
                  </a:cubicBezTo>
                  <a:cubicBezTo>
                    <a:pt x="9" y="24"/>
                    <a:pt x="12" y="27"/>
                    <a:pt x="15" y="30"/>
                  </a:cubicBezTo>
                  <a:cubicBezTo>
                    <a:pt x="20" y="34"/>
                    <a:pt x="23" y="36"/>
                    <a:pt x="26" y="36"/>
                  </a:cubicBezTo>
                  <a:cubicBezTo>
                    <a:pt x="29" y="36"/>
                    <a:pt x="32" y="35"/>
                    <a:pt x="34" y="32"/>
                  </a:cubicBezTo>
                  <a:cubicBezTo>
                    <a:pt x="36" y="31"/>
                    <a:pt x="36" y="29"/>
                    <a:pt x="36" y="26"/>
                  </a:cubicBezTo>
                  <a:cubicBezTo>
                    <a:pt x="36" y="24"/>
                    <a:pt x="35" y="22"/>
                    <a:pt x="34" y="1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1049796" name="îŝḷïḓê"/>
            <p:cNvSpPr/>
            <p:nvPr/>
          </p:nvSpPr>
          <p:spPr bwMode="auto">
            <a:xfrm>
              <a:off x="3022497" y="5733053"/>
              <a:ext cx="103188" cy="101600"/>
            </a:xfrm>
            <a:custGeom>
              <a:avLst/>
              <a:gdLst>
                <a:gd name="T0" fmla="*/ 42 w 65"/>
                <a:gd name="T1" fmla="*/ 64 h 64"/>
                <a:gd name="T2" fmla="*/ 0 w 65"/>
                <a:gd name="T3" fmla="*/ 34 h 64"/>
                <a:gd name="T4" fmla="*/ 6 w 65"/>
                <a:gd name="T5" fmla="*/ 26 h 64"/>
                <a:gd name="T6" fmla="*/ 22 w 65"/>
                <a:gd name="T7" fmla="*/ 37 h 64"/>
                <a:gd name="T8" fmla="*/ 33 w 65"/>
                <a:gd name="T9" fmla="*/ 21 h 64"/>
                <a:gd name="T10" fmla="*/ 17 w 65"/>
                <a:gd name="T11" fmla="*/ 9 h 64"/>
                <a:gd name="T12" fmla="*/ 23 w 65"/>
                <a:gd name="T13" fmla="*/ 0 h 64"/>
                <a:gd name="T14" fmla="*/ 65 w 65"/>
                <a:gd name="T15" fmla="*/ 30 h 64"/>
                <a:gd name="T16" fmla="*/ 59 w 65"/>
                <a:gd name="T17" fmla="*/ 38 h 64"/>
                <a:gd name="T18" fmla="*/ 40 w 65"/>
                <a:gd name="T19" fmla="*/ 26 h 64"/>
                <a:gd name="T20" fmla="*/ 29 w 65"/>
                <a:gd name="T21" fmla="*/ 42 h 64"/>
                <a:gd name="T22" fmla="*/ 47 w 65"/>
                <a:gd name="T23" fmla="*/ 55 h 64"/>
                <a:gd name="T24" fmla="*/ 42 w 65"/>
                <a:gd name="T25" fmla="*/ 64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5" h="64">
                  <a:moveTo>
                    <a:pt x="42" y="64"/>
                  </a:moveTo>
                  <a:lnTo>
                    <a:pt x="0" y="34"/>
                  </a:lnTo>
                  <a:lnTo>
                    <a:pt x="6" y="26"/>
                  </a:lnTo>
                  <a:lnTo>
                    <a:pt x="22" y="37"/>
                  </a:lnTo>
                  <a:lnTo>
                    <a:pt x="33" y="21"/>
                  </a:lnTo>
                  <a:lnTo>
                    <a:pt x="17" y="9"/>
                  </a:lnTo>
                  <a:lnTo>
                    <a:pt x="23" y="0"/>
                  </a:lnTo>
                  <a:lnTo>
                    <a:pt x="65" y="30"/>
                  </a:lnTo>
                  <a:lnTo>
                    <a:pt x="59" y="38"/>
                  </a:lnTo>
                  <a:lnTo>
                    <a:pt x="40" y="26"/>
                  </a:lnTo>
                  <a:lnTo>
                    <a:pt x="29" y="42"/>
                  </a:lnTo>
                  <a:lnTo>
                    <a:pt x="47" y="55"/>
                  </a:lnTo>
                  <a:lnTo>
                    <a:pt x="42" y="6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1049797" name="îşḷîḑe"/>
            <p:cNvSpPr/>
            <p:nvPr/>
          </p:nvSpPr>
          <p:spPr bwMode="auto">
            <a:xfrm>
              <a:off x="3062184" y="5672728"/>
              <a:ext cx="103188" cy="95250"/>
            </a:xfrm>
            <a:custGeom>
              <a:avLst/>
              <a:gdLst>
                <a:gd name="T0" fmla="*/ 44 w 65"/>
                <a:gd name="T1" fmla="*/ 60 h 60"/>
                <a:gd name="T2" fmla="*/ 0 w 65"/>
                <a:gd name="T3" fmla="*/ 34 h 60"/>
                <a:gd name="T4" fmla="*/ 5 w 65"/>
                <a:gd name="T5" fmla="*/ 26 h 60"/>
                <a:gd name="T6" fmla="*/ 46 w 65"/>
                <a:gd name="T7" fmla="*/ 24 h 60"/>
                <a:gd name="T8" fmla="*/ 15 w 65"/>
                <a:gd name="T9" fmla="*/ 8 h 60"/>
                <a:gd name="T10" fmla="*/ 20 w 65"/>
                <a:gd name="T11" fmla="*/ 0 h 60"/>
                <a:gd name="T12" fmla="*/ 65 w 65"/>
                <a:gd name="T13" fmla="*/ 24 h 60"/>
                <a:gd name="T14" fmla="*/ 59 w 65"/>
                <a:gd name="T15" fmla="*/ 33 h 60"/>
                <a:gd name="T16" fmla="*/ 20 w 65"/>
                <a:gd name="T17" fmla="*/ 34 h 60"/>
                <a:gd name="T18" fmla="*/ 49 w 65"/>
                <a:gd name="T19" fmla="*/ 52 h 60"/>
                <a:gd name="T20" fmla="*/ 44 w 65"/>
                <a:gd name="T21" fmla="*/ 6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65" h="60">
                  <a:moveTo>
                    <a:pt x="44" y="60"/>
                  </a:moveTo>
                  <a:lnTo>
                    <a:pt x="0" y="34"/>
                  </a:lnTo>
                  <a:lnTo>
                    <a:pt x="5" y="26"/>
                  </a:lnTo>
                  <a:lnTo>
                    <a:pt x="46" y="24"/>
                  </a:lnTo>
                  <a:lnTo>
                    <a:pt x="15" y="8"/>
                  </a:lnTo>
                  <a:lnTo>
                    <a:pt x="20" y="0"/>
                  </a:lnTo>
                  <a:lnTo>
                    <a:pt x="65" y="24"/>
                  </a:lnTo>
                  <a:lnTo>
                    <a:pt x="59" y="33"/>
                  </a:lnTo>
                  <a:lnTo>
                    <a:pt x="20" y="34"/>
                  </a:lnTo>
                  <a:lnTo>
                    <a:pt x="49" y="52"/>
                  </a:lnTo>
                  <a:lnTo>
                    <a:pt x="44" y="6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1049798" name="îşḷïḋê"/>
            <p:cNvSpPr/>
            <p:nvPr/>
          </p:nvSpPr>
          <p:spPr bwMode="auto">
            <a:xfrm>
              <a:off x="3106634" y="5606053"/>
              <a:ext cx="87313" cy="84138"/>
            </a:xfrm>
            <a:custGeom>
              <a:avLst/>
              <a:gdLst>
                <a:gd name="T0" fmla="*/ 15 w 47"/>
                <a:gd name="T1" fmla="*/ 43 h 46"/>
                <a:gd name="T2" fmla="*/ 5 w 47"/>
                <a:gd name="T3" fmla="*/ 36 h 46"/>
                <a:gd name="T4" fmla="*/ 2 w 47"/>
                <a:gd name="T5" fmla="*/ 30 h 46"/>
                <a:gd name="T6" fmla="*/ 0 w 47"/>
                <a:gd name="T7" fmla="*/ 23 h 46"/>
                <a:gd name="T8" fmla="*/ 2 w 47"/>
                <a:gd name="T9" fmla="*/ 14 h 46"/>
                <a:gd name="T10" fmla="*/ 14 w 47"/>
                <a:gd name="T11" fmla="*/ 2 h 46"/>
                <a:gd name="T12" fmla="*/ 32 w 47"/>
                <a:gd name="T13" fmla="*/ 3 h 46"/>
                <a:gd name="T14" fmla="*/ 45 w 47"/>
                <a:gd name="T15" fmla="*/ 15 h 46"/>
                <a:gd name="T16" fmla="*/ 44 w 47"/>
                <a:gd name="T17" fmla="*/ 32 h 46"/>
                <a:gd name="T18" fmla="*/ 32 w 47"/>
                <a:gd name="T19" fmla="*/ 44 h 46"/>
                <a:gd name="T20" fmla="*/ 15 w 47"/>
                <a:gd name="T21" fmla="*/ 43 h 46"/>
                <a:gd name="T22" fmla="*/ 18 w 47"/>
                <a:gd name="T23" fmla="*/ 34 h 46"/>
                <a:gd name="T24" fmla="*/ 30 w 47"/>
                <a:gd name="T25" fmla="*/ 35 h 46"/>
                <a:gd name="T26" fmla="*/ 37 w 47"/>
                <a:gd name="T27" fmla="*/ 29 h 46"/>
                <a:gd name="T28" fmla="*/ 37 w 47"/>
                <a:gd name="T29" fmla="*/ 19 h 46"/>
                <a:gd name="T30" fmla="*/ 28 w 47"/>
                <a:gd name="T31" fmla="*/ 12 h 46"/>
                <a:gd name="T32" fmla="*/ 16 w 47"/>
                <a:gd name="T33" fmla="*/ 10 h 46"/>
                <a:gd name="T34" fmla="*/ 9 w 47"/>
                <a:gd name="T35" fmla="*/ 17 h 46"/>
                <a:gd name="T36" fmla="*/ 9 w 47"/>
                <a:gd name="T37" fmla="*/ 27 h 46"/>
                <a:gd name="T38" fmla="*/ 18 w 47"/>
                <a:gd name="T39" fmla="*/ 34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47" h="46">
                  <a:moveTo>
                    <a:pt x="15" y="43"/>
                  </a:moveTo>
                  <a:cubicBezTo>
                    <a:pt x="11" y="41"/>
                    <a:pt x="8" y="39"/>
                    <a:pt x="5" y="36"/>
                  </a:cubicBezTo>
                  <a:cubicBezTo>
                    <a:pt x="4" y="34"/>
                    <a:pt x="2" y="32"/>
                    <a:pt x="2" y="30"/>
                  </a:cubicBezTo>
                  <a:cubicBezTo>
                    <a:pt x="1" y="28"/>
                    <a:pt x="0" y="26"/>
                    <a:pt x="0" y="23"/>
                  </a:cubicBezTo>
                  <a:cubicBezTo>
                    <a:pt x="0" y="20"/>
                    <a:pt x="1" y="17"/>
                    <a:pt x="2" y="14"/>
                  </a:cubicBezTo>
                  <a:cubicBezTo>
                    <a:pt x="5" y="8"/>
                    <a:pt x="9" y="4"/>
                    <a:pt x="14" y="2"/>
                  </a:cubicBezTo>
                  <a:cubicBezTo>
                    <a:pt x="19" y="0"/>
                    <a:pt x="25" y="1"/>
                    <a:pt x="32" y="3"/>
                  </a:cubicBezTo>
                  <a:cubicBezTo>
                    <a:pt x="38" y="6"/>
                    <a:pt x="43" y="10"/>
                    <a:pt x="45" y="15"/>
                  </a:cubicBezTo>
                  <a:cubicBezTo>
                    <a:pt x="47" y="21"/>
                    <a:pt x="47" y="26"/>
                    <a:pt x="44" y="32"/>
                  </a:cubicBezTo>
                  <a:cubicBezTo>
                    <a:pt x="41" y="38"/>
                    <a:pt x="38" y="42"/>
                    <a:pt x="32" y="44"/>
                  </a:cubicBezTo>
                  <a:cubicBezTo>
                    <a:pt x="27" y="46"/>
                    <a:pt x="21" y="45"/>
                    <a:pt x="15" y="43"/>
                  </a:cubicBezTo>
                  <a:close/>
                  <a:moveTo>
                    <a:pt x="18" y="34"/>
                  </a:moveTo>
                  <a:cubicBezTo>
                    <a:pt x="23" y="36"/>
                    <a:pt x="27" y="37"/>
                    <a:pt x="30" y="35"/>
                  </a:cubicBezTo>
                  <a:cubicBezTo>
                    <a:pt x="33" y="34"/>
                    <a:pt x="36" y="32"/>
                    <a:pt x="37" y="29"/>
                  </a:cubicBezTo>
                  <a:cubicBezTo>
                    <a:pt x="39" y="26"/>
                    <a:pt x="39" y="23"/>
                    <a:pt x="37" y="19"/>
                  </a:cubicBezTo>
                  <a:cubicBezTo>
                    <a:pt x="36" y="16"/>
                    <a:pt x="33" y="14"/>
                    <a:pt x="28" y="12"/>
                  </a:cubicBezTo>
                  <a:cubicBezTo>
                    <a:pt x="23" y="10"/>
                    <a:pt x="19" y="9"/>
                    <a:pt x="16" y="10"/>
                  </a:cubicBezTo>
                  <a:cubicBezTo>
                    <a:pt x="13" y="11"/>
                    <a:pt x="11" y="14"/>
                    <a:pt x="9" y="17"/>
                  </a:cubicBezTo>
                  <a:cubicBezTo>
                    <a:pt x="8" y="20"/>
                    <a:pt x="8" y="23"/>
                    <a:pt x="9" y="27"/>
                  </a:cubicBezTo>
                  <a:cubicBezTo>
                    <a:pt x="11" y="30"/>
                    <a:pt x="14" y="32"/>
                    <a:pt x="18" y="3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1049799" name="îṣlïḍè"/>
            <p:cNvSpPr/>
            <p:nvPr/>
          </p:nvSpPr>
          <p:spPr bwMode="auto">
            <a:xfrm>
              <a:off x="3128859" y="5560015"/>
              <a:ext cx="93663" cy="57150"/>
            </a:xfrm>
            <a:custGeom>
              <a:avLst/>
              <a:gdLst>
                <a:gd name="T0" fmla="*/ 49 w 59"/>
                <a:gd name="T1" fmla="*/ 36 h 36"/>
                <a:gd name="T2" fmla="*/ 0 w 59"/>
                <a:gd name="T3" fmla="*/ 21 h 36"/>
                <a:gd name="T4" fmla="*/ 4 w 59"/>
                <a:gd name="T5" fmla="*/ 10 h 36"/>
                <a:gd name="T6" fmla="*/ 43 w 59"/>
                <a:gd name="T7" fmla="*/ 24 h 36"/>
                <a:gd name="T8" fmla="*/ 51 w 59"/>
                <a:gd name="T9" fmla="*/ 0 h 36"/>
                <a:gd name="T10" fmla="*/ 59 w 59"/>
                <a:gd name="T11" fmla="*/ 2 h 36"/>
                <a:gd name="T12" fmla="*/ 49 w 59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9" h="36">
                  <a:moveTo>
                    <a:pt x="49" y="36"/>
                  </a:moveTo>
                  <a:lnTo>
                    <a:pt x="0" y="21"/>
                  </a:lnTo>
                  <a:lnTo>
                    <a:pt x="4" y="10"/>
                  </a:lnTo>
                  <a:lnTo>
                    <a:pt x="43" y="24"/>
                  </a:lnTo>
                  <a:lnTo>
                    <a:pt x="51" y="0"/>
                  </a:lnTo>
                  <a:lnTo>
                    <a:pt x="59" y="2"/>
                  </a:lnTo>
                  <a:lnTo>
                    <a:pt x="49" y="3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1049800" name="ïṩḷîḓê"/>
            <p:cNvSpPr/>
            <p:nvPr/>
          </p:nvSpPr>
          <p:spPr bwMode="auto">
            <a:xfrm>
              <a:off x="3152672" y="5469528"/>
              <a:ext cx="85725" cy="80963"/>
            </a:xfrm>
            <a:custGeom>
              <a:avLst/>
              <a:gdLst>
                <a:gd name="T0" fmla="*/ 18 w 46"/>
                <a:gd name="T1" fmla="*/ 43 h 44"/>
                <a:gd name="T2" fmla="*/ 8 w 46"/>
                <a:gd name="T3" fmla="*/ 38 h 44"/>
                <a:gd name="T4" fmla="*/ 3 w 46"/>
                <a:gd name="T5" fmla="*/ 33 h 44"/>
                <a:gd name="T6" fmla="*/ 0 w 46"/>
                <a:gd name="T7" fmla="*/ 27 h 44"/>
                <a:gd name="T8" fmla="*/ 1 w 46"/>
                <a:gd name="T9" fmla="*/ 17 h 44"/>
                <a:gd name="T10" fmla="*/ 10 w 46"/>
                <a:gd name="T11" fmla="*/ 3 h 44"/>
                <a:gd name="T12" fmla="*/ 28 w 46"/>
                <a:gd name="T13" fmla="*/ 1 h 44"/>
                <a:gd name="T14" fmla="*/ 43 w 46"/>
                <a:gd name="T15" fmla="*/ 11 h 44"/>
                <a:gd name="T16" fmla="*/ 45 w 46"/>
                <a:gd name="T17" fmla="*/ 27 h 44"/>
                <a:gd name="T18" fmla="*/ 36 w 46"/>
                <a:gd name="T19" fmla="*/ 41 h 44"/>
                <a:gd name="T20" fmla="*/ 18 w 46"/>
                <a:gd name="T21" fmla="*/ 43 h 44"/>
                <a:gd name="T22" fmla="*/ 20 w 46"/>
                <a:gd name="T23" fmla="*/ 34 h 44"/>
                <a:gd name="T24" fmla="*/ 32 w 46"/>
                <a:gd name="T25" fmla="*/ 33 h 44"/>
                <a:gd name="T26" fmla="*/ 38 w 46"/>
                <a:gd name="T27" fmla="*/ 25 h 44"/>
                <a:gd name="T28" fmla="*/ 36 w 46"/>
                <a:gd name="T29" fmla="*/ 16 h 44"/>
                <a:gd name="T30" fmla="*/ 25 w 46"/>
                <a:gd name="T31" fmla="*/ 10 h 44"/>
                <a:gd name="T32" fmla="*/ 14 w 46"/>
                <a:gd name="T33" fmla="*/ 11 h 44"/>
                <a:gd name="T34" fmla="*/ 8 w 46"/>
                <a:gd name="T35" fmla="*/ 19 h 44"/>
                <a:gd name="T36" fmla="*/ 10 w 46"/>
                <a:gd name="T37" fmla="*/ 28 h 44"/>
                <a:gd name="T38" fmla="*/ 20 w 46"/>
                <a:gd name="T39" fmla="*/ 34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46" h="44">
                  <a:moveTo>
                    <a:pt x="18" y="43"/>
                  </a:moveTo>
                  <a:cubicBezTo>
                    <a:pt x="14" y="42"/>
                    <a:pt x="10" y="40"/>
                    <a:pt x="8" y="38"/>
                  </a:cubicBezTo>
                  <a:cubicBezTo>
                    <a:pt x="6" y="37"/>
                    <a:pt x="4" y="35"/>
                    <a:pt x="3" y="33"/>
                  </a:cubicBezTo>
                  <a:cubicBezTo>
                    <a:pt x="1" y="31"/>
                    <a:pt x="1" y="29"/>
                    <a:pt x="0" y="27"/>
                  </a:cubicBezTo>
                  <a:cubicBezTo>
                    <a:pt x="0" y="24"/>
                    <a:pt x="0" y="21"/>
                    <a:pt x="1" y="17"/>
                  </a:cubicBezTo>
                  <a:cubicBezTo>
                    <a:pt x="2" y="11"/>
                    <a:pt x="5" y="6"/>
                    <a:pt x="10" y="3"/>
                  </a:cubicBezTo>
                  <a:cubicBezTo>
                    <a:pt x="15" y="0"/>
                    <a:pt x="21" y="0"/>
                    <a:pt x="28" y="1"/>
                  </a:cubicBezTo>
                  <a:cubicBezTo>
                    <a:pt x="34" y="3"/>
                    <a:pt x="39" y="6"/>
                    <a:pt x="43" y="11"/>
                  </a:cubicBezTo>
                  <a:cubicBezTo>
                    <a:pt x="46" y="15"/>
                    <a:pt x="46" y="21"/>
                    <a:pt x="45" y="27"/>
                  </a:cubicBezTo>
                  <a:cubicBezTo>
                    <a:pt x="44" y="33"/>
                    <a:pt x="40" y="38"/>
                    <a:pt x="36" y="41"/>
                  </a:cubicBezTo>
                  <a:cubicBezTo>
                    <a:pt x="31" y="44"/>
                    <a:pt x="25" y="44"/>
                    <a:pt x="18" y="43"/>
                  </a:cubicBezTo>
                  <a:close/>
                  <a:moveTo>
                    <a:pt x="20" y="34"/>
                  </a:moveTo>
                  <a:cubicBezTo>
                    <a:pt x="25" y="35"/>
                    <a:pt x="29" y="35"/>
                    <a:pt x="32" y="33"/>
                  </a:cubicBezTo>
                  <a:cubicBezTo>
                    <a:pt x="35" y="31"/>
                    <a:pt x="37" y="29"/>
                    <a:pt x="38" y="25"/>
                  </a:cubicBezTo>
                  <a:cubicBezTo>
                    <a:pt x="38" y="22"/>
                    <a:pt x="38" y="19"/>
                    <a:pt x="36" y="16"/>
                  </a:cubicBezTo>
                  <a:cubicBezTo>
                    <a:pt x="34" y="13"/>
                    <a:pt x="30" y="11"/>
                    <a:pt x="25" y="10"/>
                  </a:cubicBezTo>
                  <a:cubicBezTo>
                    <a:pt x="20" y="9"/>
                    <a:pt x="16" y="9"/>
                    <a:pt x="14" y="11"/>
                  </a:cubicBezTo>
                  <a:cubicBezTo>
                    <a:pt x="11" y="13"/>
                    <a:pt x="9" y="15"/>
                    <a:pt x="8" y="19"/>
                  </a:cubicBezTo>
                  <a:cubicBezTo>
                    <a:pt x="7" y="22"/>
                    <a:pt x="8" y="25"/>
                    <a:pt x="10" y="28"/>
                  </a:cubicBezTo>
                  <a:cubicBezTo>
                    <a:pt x="12" y="31"/>
                    <a:pt x="15" y="33"/>
                    <a:pt x="20" y="3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1049801" name="ïSļiďé"/>
            <p:cNvSpPr/>
            <p:nvPr/>
          </p:nvSpPr>
          <p:spPr bwMode="auto">
            <a:xfrm>
              <a:off x="3165372" y="5390153"/>
              <a:ext cx="85725" cy="77788"/>
            </a:xfrm>
            <a:custGeom>
              <a:avLst/>
              <a:gdLst>
                <a:gd name="T0" fmla="*/ 29 w 46"/>
                <a:gd name="T1" fmla="*/ 21 h 42"/>
                <a:gd name="T2" fmla="*/ 22 w 46"/>
                <a:gd name="T3" fmla="*/ 20 h 42"/>
                <a:gd name="T4" fmla="*/ 24 w 46"/>
                <a:gd name="T5" fmla="*/ 1 h 42"/>
                <a:gd name="T6" fmla="*/ 41 w 46"/>
                <a:gd name="T7" fmla="*/ 3 h 42"/>
                <a:gd name="T8" fmla="*/ 45 w 46"/>
                <a:gd name="T9" fmla="*/ 11 h 42"/>
                <a:gd name="T10" fmla="*/ 46 w 46"/>
                <a:gd name="T11" fmla="*/ 22 h 42"/>
                <a:gd name="T12" fmla="*/ 42 w 46"/>
                <a:gd name="T13" fmla="*/ 34 h 42"/>
                <a:gd name="T14" fmla="*/ 33 w 46"/>
                <a:gd name="T15" fmla="*/ 41 h 42"/>
                <a:gd name="T16" fmla="*/ 21 w 46"/>
                <a:gd name="T17" fmla="*/ 42 h 42"/>
                <a:gd name="T18" fmla="*/ 9 w 46"/>
                <a:gd name="T19" fmla="*/ 38 h 42"/>
                <a:gd name="T20" fmla="*/ 2 w 46"/>
                <a:gd name="T21" fmla="*/ 28 h 42"/>
                <a:gd name="T22" fmla="*/ 1 w 46"/>
                <a:gd name="T23" fmla="*/ 18 h 42"/>
                <a:gd name="T24" fmla="*/ 6 w 46"/>
                <a:gd name="T25" fmla="*/ 5 h 42"/>
                <a:gd name="T26" fmla="*/ 16 w 46"/>
                <a:gd name="T27" fmla="*/ 0 h 42"/>
                <a:gd name="T28" fmla="*/ 16 w 46"/>
                <a:gd name="T29" fmla="*/ 9 h 42"/>
                <a:gd name="T30" fmla="*/ 11 w 46"/>
                <a:gd name="T31" fmla="*/ 12 h 42"/>
                <a:gd name="T32" fmla="*/ 8 w 46"/>
                <a:gd name="T33" fmla="*/ 18 h 42"/>
                <a:gd name="T34" fmla="*/ 11 w 46"/>
                <a:gd name="T35" fmla="*/ 28 h 42"/>
                <a:gd name="T36" fmla="*/ 21 w 46"/>
                <a:gd name="T37" fmla="*/ 33 h 42"/>
                <a:gd name="T38" fmla="*/ 34 w 46"/>
                <a:gd name="T39" fmla="*/ 31 h 42"/>
                <a:gd name="T40" fmla="*/ 38 w 46"/>
                <a:gd name="T41" fmla="*/ 22 h 42"/>
                <a:gd name="T42" fmla="*/ 38 w 46"/>
                <a:gd name="T43" fmla="*/ 16 h 42"/>
                <a:gd name="T44" fmla="*/ 36 w 46"/>
                <a:gd name="T45" fmla="*/ 11 h 42"/>
                <a:gd name="T46" fmla="*/ 30 w 46"/>
                <a:gd name="T47" fmla="*/ 11 h 42"/>
                <a:gd name="T48" fmla="*/ 29 w 46"/>
                <a:gd name="T49" fmla="*/ 21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46" h="42">
                  <a:moveTo>
                    <a:pt x="29" y="21"/>
                  </a:moveTo>
                  <a:cubicBezTo>
                    <a:pt x="22" y="20"/>
                    <a:pt x="22" y="20"/>
                    <a:pt x="22" y="20"/>
                  </a:cubicBezTo>
                  <a:cubicBezTo>
                    <a:pt x="24" y="1"/>
                    <a:pt x="24" y="1"/>
                    <a:pt x="24" y="1"/>
                  </a:cubicBezTo>
                  <a:cubicBezTo>
                    <a:pt x="41" y="3"/>
                    <a:pt x="41" y="3"/>
                    <a:pt x="41" y="3"/>
                  </a:cubicBezTo>
                  <a:cubicBezTo>
                    <a:pt x="43" y="5"/>
                    <a:pt x="44" y="8"/>
                    <a:pt x="45" y="11"/>
                  </a:cubicBezTo>
                  <a:cubicBezTo>
                    <a:pt x="46" y="15"/>
                    <a:pt x="46" y="19"/>
                    <a:pt x="46" y="22"/>
                  </a:cubicBezTo>
                  <a:cubicBezTo>
                    <a:pt x="46" y="27"/>
                    <a:pt x="44" y="31"/>
                    <a:pt x="42" y="34"/>
                  </a:cubicBezTo>
                  <a:cubicBezTo>
                    <a:pt x="39" y="37"/>
                    <a:pt x="36" y="39"/>
                    <a:pt x="33" y="41"/>
                  </a:cubicBezTo>
                  <a:cubicBezTo>
                    <a:pt x="29" y="42"/>
                    <a:pt x="25" y="42"/>
                    <a:pt x="21" y="42"/>
                  </a:cubicBezTo>
                  <a:cubicBezTo>
                    <a:pt x="16" y="41"/>
                    <a:pt x="12" y="40"/>
                    <a:pt x="9" y="38"/>
                  </a:cubicBezTo>
                  <a:cubicBezTo>
                    <a:pt x="6" y="35"/>
                    <a:pt x="3" y="32"/>
                    <a:pt x="2" y="28"/>
                  </a:cubicBezTo>
                  <a:cubicBezTo>
                    <a:pt x="1" y="25"/>
                    <a:pt x="0" y="22"/>
                    <a:pt x="1" y="18"/>
                  </a:cubicBezTo>
                  <a:cubicBezTo>
                    <a:pt x="1" y="12"/>
                    <a:pt x="3" y="8"/>
                    <a:pt x="6" y="5"/>
                  </a:cubicBezTo>
                  <a:cubicBezTo>
                    <a:pt x="8" y="2"/>
                    <a:pt x="12" y="1"/>
                    <a:pt x="16" y="0"/>
                  </a:cubicBezTo>
                  <a:cubicBezTo>
                    <a:pt x="16" y="9"/>
                    <a:pt x="16" y="9"/>
                    <a:pt x="16" y="9"/>
                  </a:cubicBezTo>
                  <a:cubicBezTo>
                    <a:pt x="14" y="10"/>
                    <a:pt x="12" y="11"/>
                    <a:pt x="11" y="12"/>
                  </a:cubicBezTo>
                  <a:cubicBezTo>
                    <a:pt x="10" y="14"/>
                    <a:pt x="9" y="16"/>
                    <a:pt x="8" y="18"/>
                  </a:cubicBezTo>
                  <a:cubicBezTo>
                    <a:pt x="8" y="22"/>
                    <a:pt x="9" y="25"/>
                    <a:pt x="11" y="28"/>
                  </a:cubicBezTo>
                  <a:cubicBezTo>
                    <a:pt x="13" y="31"/>
                    <a:pt x="17" y="32"/>
                    <a:pt x="21" y="33"/>
                  </a:cubicBezTo>
                  <a:cubicBezTo>
                    <a:pt x="27" y="33"/>
                    <a:pt x="31" y="33"/>
                    <a:pt x="34" y="31"/>
                  </a:cubicBezTo>
                  <a:cubicBezTo>
                    <a:pt x="36" y="29"/>
                    <a:pt x="38" y="26"/>
                    <a:pt x="38" y="22"/>
                  </a:cubicBezTo>
                  <a:cubicBezTo>
                    <a:pt x="39" y="20"/>
                    <a:pt x="39" y="18"/>
                    <a:pt x="38" y="16"/>
                  </a:cubicBezTo>
                  <a:cubicBezTo>
                    <a:pt x="37" y="14"/>
                    <a:pt x="37" y="13"/>
                    <a:pt x="36" y="11"/>
                  </a:cubicBezTo>
                  <a:cubicBezTo>
                    <a:pt x="30" y="11"/>
                    <a:pt x="30" y="11"/>
                    <a:pt x="30" y="11"/>
                  </a:cubicBezTo>
                  <a:lnTo>
                    <a:pt x="29" y="2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1049802" name="îSḷiḋè"/>
            <p:cNvSpPr/>
            <p:nvPr/>
          </p:nvSpPr>
          <p:spPr bwMode="auto">
            <a:xfrm>
              <a:off x="3173309" y="5313953"/>
              <a:ext cx="80963" cy="76200"/>
            </a:xfrm>
            <a:custGeom>
              <a:avLst/>
              <a:gdLst>
                <a:gd name="T0" fmla="*/ 51 w 51"/>
                <a:gd name="T1" fmla="*/ 30 h 48"/>
                <a:gd name="T2" fmla="*/ 29 w 51"/>
                <a:gd name="T3" fmla="*/ 29 h 48"/>
                <a:gd name="T4" fmla="*/ 0 w 51"/>
                <a:gd name="T5" fmla="*/ 48 h 48"/>
                <a:gd name="T6" fmla="*/ 0 w 51"/>
                <a:gd name="T7" fmla="*/ 36 h 48"/>
                <a:gd name="T8" fmla="*/ 20 w 51"/>
                <a:gd name="T9" fmla="*/ 24 h 48"/>
                <a:gd name="T10" fmla="*/ 0 w 51"/>
                <a:gd name="T11" fmla="*/ 12 h 48"/>
                <a:gd name="T12" fmla="*/ 0 w 51"/>
                <a:gd name="T13" fmla="*/ 0 h 48"/>
                <a:gd name="T14" fmla="*/ 30 w 51"/>
                <a:gd name="T15" fmla="*/ 20 h 48"/>
                <a:gd name="T16" fmla="*/ 51 w 51"/>
                <a:gd name="T17" fmla="*/ 20 h 48"/>
                <a:gd name="T18" fmla="*/ 51 w 51"/>
                <a:gd name="T19" fmla="*/ 30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" h="48">
                  <a:moveTo>
                    <a:pt x="51" y="30"/>
                  </a:moveTo>
                  <a:lnTo>
                    <a:pt x="29" y="29"/>
                  </a:lnTo>
                  <a:lnTo>
                    <a:pt x="0" y="48"/>
                  </a:lnTo>
                  <a:lnTo>
                    <a:pt x="0" y="36"/>
                  </a:lnTo>
                  <a:lnTo>
                    <a:pt x="20" y="24"/>
                  </a:lnTo>
                  <a:lnTo>
                    <a:pt x="0" y="12"/>
                  </a:lnTo>
                  <a:lnTo>
                    <a:pt x="0" y="0"/>
                  </a:lnTo>
                  <a:lnTo>
                    <a:pt x="30" y="20"/>
                  </a:lnTo>
                  <a:lnTo>
                    <a:pt x="51" y="20"/>
                  </a:lnTo>
                  <a:lnTo>
                    <a:pt x="51" y="3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1049803" name="îṣḷíḋé"/>
            <p:cNvSpPr/>
            <p:nvPr/>
          </p:nvSpPr>
          <p:spPr bwMode="auto">
            <a:xfrm>
              <a:off x="3163784" y="5193303"/>
              <a:ext cx="87313" cy="76200"/>
            </a:xfrm>
            <a:custGeom>
              <a:avLst/>
              <a:gdLst>
                <a:gd name="T0" fmla="*/ 4 w 47"/>
                <a:gd name="T1" fmla="*/ 41 h 41"/>
                <a:gd name="T2" fmla="*/ 1 w 47"/>
                <a:gd name="T3" fmla="*/ 24 h 41"/>
                <a:gd name="T4" fmla="*/ 0 w 47"/>
                <a:gd name="T5" fmla="*/ 16 h 41"/>
                <a:gd name="T6" fmla="*/ 2 w 47"/>
                <a:gd name="T7" fmla="*/ 11 h 41"/>
                <a:gd name="T8" fmla="*/ 5 w 47"/>
                <a:gd name="T9" fmla="*/ 7 h 41"/>
                <a:gd name="T10" fmla="*/ 10 w 47"/>
                <a:gd name="T11" fmla="*/ 5 h 41"/>
                <a:gd name="T12" fmla="*/ 16 w 47"/>
                <a:gd name="T13" fmla="*/ 6 h 41"/>
                <a:gd name="T14" fmla="*/ 20 w 47"/>
                <a:gd name="T15" fmla="*/ 10 h 41"/>
                <a:gd name="T16" fmla="*/ 23 w 47"/>
                <a:gd name="T17" fmla="*/ 3 h 41"/>
                <a:gd name="T18" fmla="*/ 29 w 47"/>
                <a:gd name="T19" fmla="*/ 0 h 41"/>
                <a:gd name="T20" fmla="*/ 35 w 47"/>
                <a:gd name="T21" fmla="*/ 1 h 41"/>
                <a:gd name="T22" fmla="*/ 40 w 47"/>
                <a:gd name="T23" fmla="*/ 4 h 41"/>
                <a:gd name="T24" fmla="*/ 43 w 47"/>
                <a:gd name="T25" fmla="*/ 10 h 41"/>
                <a:gd name="T26" fmla="*/ 45 w 47"/>
                <a:gd name="T27" fmla="*/ 20 h 41"/>
                <a:gd name="T28" fmla="*/ 47 w 47"/>
                <a:gd name="T29" fmla="*/ 35 h 41"/>
                <a:gd name="T30" fmla="*/ 4 w 47"/>
                <a:gd name="T31" fmla="*/ 41 h 41"/>
                <a:gd name="T32" fmla="*/ 10 w 47"/>
                <a:gd name="T33" fmla="*/ 31 h 41"/>
                <a:gd name="T34" fmla="*/ 20 w 47"/>
                <a:gd name="T35" fmla="*/ 30 h 41"/>
                <a:gd name="T36" fmla="*/ 19 w 47"/>
                <a:gd name="T37" fmla="*/ 24 h 41"/>
                <a:gd name="T38" fmla="*/ 18 w 47"/>
                <a:gd name="T39" fmla="*/ 18 h 41"/>
                <a:gd name="T40" fmla="*/ 16 w 47"/>
                <a:gd name="T41" fmla="*/ 15 h 41"/>
                <a:gd name="T42" fmla="*/ 12 w 47"/>
                <a:gd name="T43" fmla="*/ 14 h 41"/>
                <a:gd name="T44" fmla="*/ 9 w 47"/>
                <a:gd name="T45" fmla="*/ 15 h 41"/>
                <a:gd name="T46" fmla="*/ 8 w 47"/>
                <a:gd name="T47" fmla="*/ 19 h 41"/>
                <a:gd name="T48" fmla="*/ 9 w 47"/>
                <a:gd name="T49" fmla="*/ 26 h 41"/>
                <a:gd name="T50" fmla="*/ 10 w 47"/>
                <a:gd name="T51" fmla="*/ 31 h 41"/>
                <a:gd name="T52" fmla="*/ 27 w 47"/>
                <a:gd name="T53" fmla="*/ 29 h 41"/>
                <a:gd name="T54" fmla="*/ 39 w 47"/>
                <a:gd name="T55" fmla="*/ 27 h 41"/>
                <a:gd name="T56" fmla="*/ 37 w 47"/>
                <a:gd name="T57" fmla="*/ 19 h 41"/>
                <a:gd name="T58" fmla="*/ 36 w 47"/>
                <a:gd name="T59" fmla="*/ 13 h 41"/>
                <a:gd name="T60" fmla="*/ 34 w 47"/>
                <a:gd name="T61" fmla="*/ 10 h 41"/>
                <a:gd name="T62" fmla="*/ 30 w 47"/>
                <a:gd name="T63" fmla="*/ 10 h 41"/>
                <a:gd name="T64" fmla="*/ 27 w 47"/>
                <a:gd name="T65" fmla="*/ 11 h 41"/>
                <a:gd name="T66" fmla="*/ 25 w 47"/>
                <a:gd name="T67" fmla="*/ 14 h 41"/>
                <a:gd name="T68" fmla="*/ 26 w 47"/>
                <a:gd name="T69" fmla="*/ 22 h 41"/>
                <a:gd name="T70" fmla="*/ 27 w 47"/>
                <a:gd name="T71" fmla="*/ 29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47" h="41">
                  <a:moveTo>
                    <a:pt x="4" y="41"/>
                  </a:moveTo>
                  <a:cubicBezTo>
                    <a:pt x="1" y="24"/>
                    <a:pt x="1" y="24"/>
                    <a:pt x="1" y="24"/>
                  </a:cubicBezTo>
                  <a:cubicBezTo>
                    <a:pt x="1" y="20"/>
                    <a:pt x="0" y="18"/>
                    <a:pt x="0" y="16"/>
                  </a:cubicBezTo>
                  <a:cubicBezTo>
                    <a:pt x="1" y="14"/>
                    <a:pt x="1" y="13"/>
                    <a:pt x="2" y="11"/>
                  </a:cubicBezTo>
                  <a:cubicBezTo>
                    <a:pt x="2" y="10"/>
                    <a:pt x="3" y="9"/>
                    <a:pt x="5" y="7"/>
                  </a:cubicBezTo>
                  <a:cubicBezTo>
                    <a:pt x="6" y="6"/>
                    <a:pt x="8" y="6"/>
                    <a:pt x="10" y="5"/>
                  </a:cubicBezTo>
                  <a:cubicBezTo>
                    <a:pt x="12" y="5"/>
                    <a:pt x="14" y="5"/>
                    <a:pt x="16" y="6"/>
                  </a:cubicBezTo>
                  <a:cubicBezTo>
                    <a:pt x="17" y="7"/>
                    <a:pt x="19" y="8"/>
                    <a:pt x="20" y="10"/>
                  </a:cubicBezTo>
                  <a:cubicBezTo>
                    <a:pt x="20" y="7"/>
                    <a:pt x="21" y="5"/>
                    <a:pt x="23" y="3"/>
                  </a:cubicBezTo>
                  <a:cubicBezTo>
                    <a:pt x="25" y="2"/>
                    <a:pt x="27" y="1"/>
                    <a:pt x="29" y="0"/>
                  </a:cubicBezTo>
                  <a:cubicBezTo>
                    <a:pt x="31" y="0"/>
                    <a:pt x="33" y="0"/>
                    <a:pt x="35" y="1"/>
                  </a:cubicBezTo>
                  <a:cubicBezTo>
                    <a:pt x="37" y="2"/>
                    <a:pt x="39" y="3"/>
                    <a:pt x="40" y="4"/>
                  </a:cubicBezTo>
                  <a:cubicBezTo>
                    <a:pt x="42" y="5"/>
                    <a:pt x="43" y="7"/>
                    <a:pt x="43" y="10"/>
                  </a:cubicBezTo>
                  <a:cubicBezTo>
                    <a:pt x="44" y="11"/>
                    <a:pt x="44" y="15"/>
                    <a:pt x="45" y="20"/>
                  </a:cubicBezTo>
                  <a:cubicBezTo>
                    <a:pt x="47" y="35"/>
                    <a:pt x="47" y="35"/>
                    <a:pt x="47" y="35"/>
                  </a:cubicBezTo>
                  <a:lnTo>
                    <a:pt x="4" y="41"/>
                  </a:lnTo>
                  <a:close/>
                  <a:moveTo>
                    <a:pt x="10" y="31"/>
                  </a:moveTo>
                  <a:cubicBezTo>
                    <a:pt x="20" y="30"/>
                    <a:pt x="20" y="30"/>
                    <a:pt x="20" y="30"/>
                  </a:cubicBezTo>
                  <a:cubicBezTo>
                    <a:pt x="19" y="24"/>
                    <a:pt x="19" y="24"/>
                    <a:pt x="19" y="24"/>
                  </a:cubicBezTo>
                  <a:cubicBezTo>
                    <a:pt x="18" y="21"/>
                    <a:pt x="18" y="19"/>
                    <a:pt x="18" y="18"/>
                  </a:cubicBezTo>
                  <a:cubicBezTo>
                    <a:pt x="17" y="16"/>
                    <a:pt x="17" y="15"/>
                    <a:pt x="16" y="15"/>
                  </a:cubicBezTo>
                  <a:cubicBezTo>
                    <a:pt x="15" y="14"/>
                    <a:pt x="14" y="14"/>
                    <a:pt x="12" y="14"/>
                  </a:cubicBezTo>
                  <a:cubicBezTo>
                    <a:pt x="11" y="14"/>
                    <a:pt x="10" y="14"/>
                    <a:pt x="9" y="15"/>
                  </a:cubicBezTo>
                  <a:cubicBezTo>
                    <a:pt x="8" y="16"/>
                    <a:pt x="8" y="17"/>
                    <a:pt x="8" y="19"/>
                  </a:cubicBezTo>
                  <a:cubicBezTo>
                    <a:pt x="8" y="20"/>
                    <a:pt x="8" y="22"/>
                    <a:pt x="9" y="26"/>
                  </a:cubicBezTo>
                  <a:lnTo>
                    <a:pt x="10" y="31"/>
                  </a:lnTo>
                  <a:close/>
                  <a:moveTo>
                    <a:pt x="27" y="29"/>
                  </a:moveTo>
                  <a:cubicBezTo>
                    <a:pt x="39" y="27"/>
                    <a:pt x="39" y="27"/>
                    <a:pt x="39" y="27"/>
                  </a:cubicBezTo>
                  <a:cubicBezTo>
                    <a:pt x="37" y="19"/>
                    <a:pt x="37" y="19"/>
                    <a:pt x="37" y="19"/>
                  </a:cubicBezTo>
                  <a:cubicBezTo>
                    <a:pt x="37" y="16"/>
                    <a:pt x="37" y="14"/>
                    <a:pt x="36" y="13"/>
                  </a:cubicBezTo>
                  <a:cubicBezTo>
                    <a:pt x="36" y="12"/>
                    <a:pt x="35" y="11"/>
                    <a:pt x="34" y="10"/>
                  </a:cubicBezTo>
                  <a:cubicBezTo>
                    <a:pt x="33" y="10"/>
                    <a:pt x="32" y="9"/>
                    <a:pt x="30" y="10"/>
                  </a:cubicBezTo>
                  <a:cubicBezTo>
                    <a:pt x="29" y="10"/>
                    <a:pt x="28" y="10"/>
                    <a:pt x="27" y="11"/>
                  </a:cubicBezTo>
                  <a:cubicBezTo>
                    <a:pt x="26" y="12"/>
                    <a:pt x="26" y="13"/>
                    <a:pt x="25" y="14"/>
                  </a:cubicBezTo>
                  <a:cubicBezTo>
                    <a:pt x="25" y="15"/>
                    <a:pt x="25" y="18"/>
                    <a:pt x="26" y="22"/>
                  </a:cubicBezTo>
                  <a:lnTo>
                    <a:pt x="27" y="29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1049804" name="îṩliďè"/>
            <p:cNvSpPr/>
            <p:nvPr/>
          </p:nvSpPr>
          <p:spPr bwMode="auto">
            <a:xfrm>
              <a:off x="3146322" y="5120278"/>
              <a:ext cx="93663" cy="79375"/>
            </a:xfrm>
            <a:custGeom>
              <a:avLst/>
              <a:gdLst>
                <a:gd name="T0" fmla="*/ 59 w 59"/>
                <a:gd name="T1" fmla="*/ 37 h 50"/>
                <a:gd name="T2" fmla="*/ 9 w 59"/>
                <a:gd name="T3" fmla="*/ 50 h 50"/>
                <a:gd name="T4" fmla="*/ 0 w 59"/>
                <a:gd name="T5" fmla="*/ 13 h 50"/>
                <a:gd name="T6" fmla="*/ 8 w 59"/>
                <a:gd name="T7" fmla="*/ 10 h 50"/>
                <a:gd name="T8" fmla="*/ 15 w 59"/>
                <a:gd name="T9" fmla="*/ 37 h 50"/>
                <a:gd name="T10" fmla="*/ 25 w 59"/>
                <a:gd name="T11" fmla="*/ 35 h 50"/>
                <a:gd name="T12" fmla="*/ 19 w 59"/>
                <a:gd name="T13" fmla="*/ 9 h 50"/>
                <a:gd name="T14" fmla="*/ 27 w 59"/>
                <a:gd name="T15" fmla="*/ 8 h 50"/>
                <a:gd name="T16" fmla="*/ 34 w 59"/>
                <a:gd name="T17" fmla="*/ 32 h 50"/>
                <a:gd name="T18" fmla="*/ 47 w 59"/>
                <a:gd name="T19" fmla="*/ 29 h 50"/>
                <a:gd name="T20" fmla="*/ 40 w 59"/>
                <a:gd name="T21" fmla="*/ 1 h 50"/>
                <a:gd name="T22" fmla="*/ 49 w 59"/>
                <a:gd name="T23" fmla="*/ 0 h 50"/>
                <a:gd name="T24" fmla="*/ 59 w 59"/>
                <a:gd name="T25" fmla="*/ 37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59" h="50">
                  <a:moveTo>
                    <a:pt x="59" y="37"/>
                  </a:moveTo>
                  <a:lnTo>
                    <a:pt x="9" y="50"/>
                  </a:lnTo>
                  <a:lnTo>
                    <a:pt x="0" y="13"/>
                  </a:lnTo>
                  <a:lnTo>
                    <a:pt x="8" y="10"/>
                  </a:lnTo>
                  <a:lnTo>
                    <a:pt x="15" y="37"/>
                  </a:lnTo>
                  <a:lnTo>
                    <a:pt x="25" y="35"/>
                  </a:lnTo>
                  <a:lnTo>
                    <a:pt x="19" y="9"/>
                  </a:lnTo>
                  <a:lnTo>
                    <a:pt x="27" y="8"/>
                  </a:lnTo>
                  <a:lnTo>
                    <a:pt x="34" y="32"/>
                  </a:lnTo>
                  <a:lnTo>
                    <a:pt x="47" y="29"/>
                  </a:lnTo>
                  <a:lnTo>
                    <a:pt x="40" y="1"/>
                  </a:lnTo>
                  <a:lnTo>
                    <a:pt x="49" y="0"/>
                  </a:lnTo>
                  <a:lnTo>
                    <a:pt x="59" y="37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1049805" name="iṧlíḋè"/>
            <p:cNvSpPr/>
            <p:nvPr/>
          </p:nvSpPr>
          <p:spPr bwMode="auto">
            <a:xfrm>
              <a:off x="3138384" y="5096465"/>
              <a:ext cx="82550" cy="38100"/>
            </a:xfrm>
            <a:custGeom>
              <a:avLst/>
              <a:gdLst>
                <a:gd name="T0" fmla="*/ 52 w 52"/>
                <a:gd name="T1" fmla="*/ 9 h 24"/>
                <a:gd name="T2" fmla="*/ 3 w 52"/>
                <a:gd name="T3" fmla="*/ 24 h 24"/>
                <a:gd name="T4" fmla="*/ 0 w 52"/>
                <a:gd name="T5" fmla="*/ 15 h 24"/>
                <a:gd name="T6" fmla="*/ 49 w 52"/>
                <a:gd name="T7" fmla="*/ 0 h 24"/>
                <a:gd name="T8" fmla="*/ 52 w 52"/>
                <a:gd name="T9" fmla="*/ 9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2" h="24">
                  <a:moveTo>
                    <a:pt x="52" y="9"/>
                  </a:moveTo>
                  <a:lnTo>
                    <a:pt x="3" y="24"/>
                  </a:lnTo>
                  <a:lnTo>
                    <a:pt x="0" y="15"/>
                  </a:lnTo>
                  <a:lnTo>
                    <a:pt x="49" y="0"/>
                  </a:lnTo>
                  <a:lnTo>
                    <a:pt x="52" y="9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1049806" name="islïḓè"/>
            <p:cNvSpPr/>
            <p:nvPr/>
          </p:nvSpPr>
          <p:spPr bwMode="auto">
            <a:xfrm>
              <a:off x="3120922" y="5047253"/>
              <a:ext cx="88900" cy="52388"/>
            </a:xfrm>
            <a:custGeom>
              <a:avLst/>
              <a:gdLst>
                <a:gd name="T0" fmla="*/ 3 w 48"/>
                <a:gd name="T1" fmla="*/ 20 h 28"/>
                <a:gd name="T2" fmla="*/ 0 w 48"/>
                <a:gd name="T3" fmla="*/ 12 h 28"/>
                <a:gd name="T4" fmla="*/ 26 w 48"/>
                <a:gd name="T5" fmla="*/ 2 h 28"/>
                <a:gd name="T6" fmla="*/ 34 w 48"/>
                <a:gd name="T7" fmla="*/ 0 h 28"/>
                <a:gd name="T8" fmla="*/ 42 w 48"/>
                <a:gd name="T9" fmla="*/ 3 h 28"/>
                <a:gd name="T10" fmla="*/ 47 w 48"/>
                <a:gd name="T11" fmla="*/ 10 h 28"/>
                <a:gd name="T12" fmla="*/ 47 w 48"/>
                <a:gd name="T13" fmla="*/ 21 h 28"/>
                <a:gd name="T14" fmla="*/ 38 w 48"/>
                <a:gd name="T15" fmla="*/ 28 h 28"/>
                <a:gd name="T16" fmla="*/ 34 w 48"/>
                <a:gd name="T17" fmla="*/ 20 h 28"/>
                <a:gd name="T18" fmla="*/ 39 w 48"/>
                <a:gd name="T19" fmla="*/ 17 h 28"/>
                <a:gd name="T20" fmla="*/ 40 w 48"/>
                <a:gd name="T21" fmla="*/ 13 h 28"/>
                <a:gd name="T22" fmla="*/ 37 w 48"/>
                <a:gd name="T23" fmla="*/ 9 h 28"/>
                <a:gd name="T24" fmla="*/ 30 w 48"/>
                <a:gd name="T25" fmla="*/ 10 h 28"/>
                <a:gd name="T26" fmla="*/ 3 w 48"/>
                <a:gd name="T27" fmla="*/ 20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8" h="28">
                  <a:moveTo>
                    <a:pt x="3" y="20"/>
                  </a:moveTo>
                  <a:cubicBezTo>
                    <a:pt x="0" y="12"/>
                    <a:pt x="0" y="12"/>
                    <a:pt x="0" y="12"/>
                  </a:cubicBezTo>
                  <a:cubicBezTo>
                    <a:pt x="26" y="2"/>
                    <a:pt x="26" y="2"/>
                    <a:pt x="26" y="2"/>
                  </a:cubicBezTo>
                  <a:cubicBezTo>
                    <a:pt x="29" y="1"/>
                    <a:pt x="32" y="0"/>
                    <a:pt x="34" y="0"/>
                  </a:cubicBezTo>
                  <a:cubicBezTo>
                    <a:pt x="37" y="0"/>
                    <a:pt x="39" y="1"/>
                    <a:pt x="42" y="3"/>
                  </a:cubicBezTo>
                  <a:cubicBezTo>
                    <a:pt x="44" y="4"/>
                    <a:pt x="46" y="7"/>
                    <a:pt x="47" y="10"/>
                  </a:cubicBezTo>
                  <a:cubicBezTo>
                    <a:pt x="48" y="14"/>
                    <a:pt x="48" y="18"/>
                    <a:pt x="47" y="21"/>
                  </a:cubicBezTo>
                  <a:cubicBezTo>
                    <a:pt x="45" y="24"/>
                    <a:pt x="42" y="26"/>
                    <a:pt x="38" y="28"/>
                  </a:cubicBezTo>
                  <a:cubicBezTo>
                    <a:pt x="34" y="20"/>
                    <a:pt x="34" y="20"/>
                    <a:pt x="34" y="20"/>
                  </a:cubicBezTo>
                  <a:cubicBezTo>
                    <a:pt x="37" y="19"/>
                    <a:pt x="38" y="18"/>
                    <a:pt x="39" y="17"/>
                  </a:cubicBezTo>
                  <a:cubicBezTo>
                    <a:pt x="40" y="16"/>
                    <a:pt x="40" y="14"/>
                    <a:pt x="40" y="13"/>
                  </a:cubicBezTo>
                  <a:cubicBezTo>
                    <a:pt x="39" y="11"/>
                    <a:pt x="38" y="10"/>
                    <a:pt x="37" y="9"/>
                  </a:cubicBezTo>
                  <a:cubicBezTo>
                    <a:pt x="35" y="9"/>
                    <a:pt x="33" y="9"/>
                    <a:pt x="30" y="10"/>
                  </a:cubicBezTo>
                  <a:lnTo>
                    <a:pt x="3" y="2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1049807" name="íṥ1iḍe"/>
            <p:cNvSpPr/>
            <p:nvPr/>
          </p:nvSpPr>
          <p:spPr bwMode="auto">
            <a:xfrm>
              <a:off x="3112984" y="5017090"/>
              <a:ext cx="80963" cy="46038"/>
            </a:xfrm>
            <a:custGeom>
              <a:avLst/>
              <a:gdLst>
                <a:gd name="T0" fmla="*/ 51 w 51"/>
                <a:gd name="T1" fmla="*/ 9 h 29"/>
                <a:gd name="T2" fmla="*/ 3 w 51"/>
                <a:gd name="T3" fmla="*/ 29 h 29"/>
                <a:gd name="T4" fmla="*/ 0 w 51"/>
                <a:gd name="T5" fmla="*/ 19 h 29"/>
                <a:gd name="T6" fmla="*/ 46 w 51"/>
                <a:gd name="T7" fmla="*/ 0 h 29"/>
                <a:gd name="T8" fmla="*/ 51 w 51"/>
                <a:gd name="T9" fmla="*/ 9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1" h="29">
                  <a:moveTo>
                    <a:pt x="51" y="9"/>
                  </a:moveTo>
                  <a:lnTo>
                    <a:pt x="3" y="29"/>
                  </a:lnTo>
                  <a:lnTo>
                    <a:pt x="0" y="19"/>
                  </a:lnTo>
                  <a:lnTo>
                    <a:pt x="46" y="0"/>
                  </a:lnTo>
                  <a:lnTo>
                    <a:pt x="51" y="9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1049808" name="iṥľîḋé"/>
            <p:cNvSpPr/>
            <p:nvPr/>
          </p:nvSpPr>
          <p:spPr bwMode="auto">
            <a:xfrm>
              <a:off x="3081234" y="4948828"/>
              <a:ext cx="101600" cy="93663"/>
            </a:xfrm>
            <a:custGeom>
              <a:avLst/>
              <a:gdLst>
                <a:gd name="T0" fmla="*/ 64 w 64"/>
                <a:gd name="T1" fmla="*/ 36 h 59"/>
                <a:gd name="T2" fmla="*/ 18 w 64"/>
                <a:gd name="T3" fmla="*/ 59 h 59"/>
                <a:gd name="T4" fmla="*/ 14 w 64"/>
                <a:gd name="T5" fmla="*/ 50 h 59"/>
                <a:gd name="T6" fmla="*/ 35 w 64"/>
                <a:gd name="T7" fmla="*/ 16 h 59"/>
                <a:gd name="T8" fmla="*/ 3 w 64"/>
                <a:gd name="T9" fmla="*/ 31 h 59"/>
                <a:gd name="T10" fmla="*/ 0 w 64"/>
                <a:gd name="T11" fmla="*/ 22 h 59"/>
                <a:gd name="T12" fmla="*/ 45 w 64"/>
                <a:gd name="T13" fmla="*/ 0 h 59"/>
                <a:gd name="T14" fmla="*/ 50 w 64"/>
                <a:gd name="T15" fmla="*/ 8 h 59"/>
                <a:gd name="T16" fmla="*/ 29 w 64"/>
                <a:gd name="T17" fmla="*/ 42 h 59"/>
                <a:gd name="T18" fmla="*/ 59 w 64"/>
                <a:gd name="T19" fmla="*/ 26 h 59"/>
                <a:gd name="T20" fmla="*/ 64 w 64"/>
                <a:gd name="T21" fmla="*/ 36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64" h="59">
                  <a:moveTo>
                    <a:pt x="64" y="36"/>
                  </a:moveTo>
                  <a:lnTo>
                    <a:pt x="18" y="59"/>
                  </a:lnTo>
                  <a:lnTo>
                    <a:pt x="14" y="50"/>
                  </a:lnTo>
                  <a:lnTo>
                    <a:pt x="35" y="16"/>
                  </a:lnTo>
                  <a:lnTo>
                    <a:pt x="3" y="31"/>
                  </a:lnTo>
                  <a:lnTo>
                    <a:pt x="0" y="22"/>
                  </a:lnTo>
                  <a:lnTo>
                    <a:pt x="45" y="0"/>
                  </a:lnTo>
                  <a:lnTo>
                    <a:pt x="50" y="8"/>
                  </a:lnTo>
                  <a:lnTo>
                    <a:pt x="29" y="42"/>
                  </a:lnTo>
                  <a:lnTo>
                    <a:pt x="59" y="26"/>
                  </a:lnTo>
                  <a:lnTo>
                    <a:pt x="64" y="3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1049809" name="îślidè"/>
            <p:cNvSpPr/>
            <p:nvPr/>
          </p:nvSpPr>
          <p:spPr bwMode="auto">
            <a:xfrm>
              <a:off x="3047897" y="4877390"/>
              <a:ext cx="84138" cy="88900"/>
            </a:xfrm>
            <a:custGeom>
              <a:avLst/>
              <a:gdLst>
                <a:gd name="T0" fmla="*/ 28 w 46"/>
                <a:gd name="T1" fmla="*/ 21 h 48"/>
                <a:gd name="T2" fmla="*/ 22 w 46"/>
                <a:gd name="T3" fmla="*/ 25 h 48"/>
                <a:gd name="T4" fmla="*/ 11 w 46"/>
                <a:gd name="T5" fmla="*/ 9 h 48"/>
                <a:gd name="T6" fmla="*/ 26 w 46"/>
                <a:gd name="T7" fmla="*/ 0 h 48"/>
                <a:gd name="T8" fmla="*/ 35 w 46"/>
                <a:gd name="T9" fmla="*/ 4 h 48"/>
                <a:gd name="T10" fmla="*/ 42 w 46"/>
                <a:gd name="T11" fmla="*/ 12 h 48"/>
                <a:gd name="T12" fmla="*/ 46 w 46"/>
                <a:gd name="T13" fmla="*/ 24 h 48"/>
                <a:gd name="T14" fmla="*/ 43 w 46"/>
                <a:gd name="T15" fmla="*/ 35 h 48"/>
                <a:gd name="T16" fmla="*/ 35 w 46"/>
                <a:gd name="T17" fmla="*/ 43 h 48"/>
                <a:gd name="T18" fmla="*/ 23 w 46"/>
                <a:gd name="T19" fmla="*/ 47 h 48"/>
                <a:gd name="T20" fmla="*/ 12 w 46"/>
                <a:gd name="T21" fmla="*/ 45 h 48"/>
                <a:gd name="T22" fmla="*/ 4 w 46"/>
                <a:gd name="T23" fmla="*/ 37 h 48"/>
                <a:gd name="T24" fmla="*/ 0 w 46"/>
                <a:gd name="T25" fmla="*/ 24 h 48"/>
                <a:gd name="T26" fmla="*/ 5 w 46"/>
                <a:gd name="T27" fmla="*/ 14 h 48"/>
                <a:gd name="T28" fmla="*/ 11 w 46"/>
                <a:gd name="T29" fmla="*/ 21 h 48"/>
                <a:gd name="T30" fmla="*/ 9 w 46"/>
                <a:gd name="T31" fmla="*/ 27 h 48"/>
                <a:gd name="T32" fmla="*/ 11 w 46"/>
                <a:gd name="T33" fmla="*/ 33 h 48"/>
                <a:gd name="T34" fmla="*/ 19 w 46"/>
                <a:gd name="T35" fmla="*/ 39 h 48"/>
                <a:gd name="T36" fmla="*/ 30 w 46"/>
                <a:gd name="T37" fmla="*/ 36 h 48"/>
                <a:gd name="T38" fmla="*/ 38 w 46"/>
                <a:gd name="T39" fmla="*/ 26 h 48"/>
                <a:gd name="T40" fmla="*/ 36 w 46"/>
                <a:gd name="T41" fmla="*/ 17 h 48"/>
                <a:gd name="T42" fmla="*/ 32 w 46"/>
                <a:gd name="T43" fmla="*/ 13 h 48"/>
                <a:gd name="T44" fmla="*/ 27 w 46"/>
                <a:gd name="T45" fmla="*/ 10 h 48"/>
                <a:gd name="T46" fmla="*/ 23 w 46"/>
                <a:gd name="T47" fmla="*/ 13 h 48"/>
                <a:gd name="T48" fmla="*/ 28 w 46"/>
                <a:gd name="T49" fmla="*/ 21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46" h="48">
                  <a:moveTo>
                    <a:pt x="28" y="21"/>
                  </a:moveTo>
                  <a:cubicBezTo>
                    <a:pt x="22" y="25"/>
                    <a:pt x="22" y="25"/>
                    <a:pt x="22" y="25"/>
                  </a:cubicBezTo>
                  <a:cubicBezTo>
                    <a:pt x="11" y="9"/>
                    <a:pt x="11" y="9"/>
                    <a:pt x="11" y="9"/>
                  </a:cubicBezTo>
                  <a:cubicBezTo>
                    <a:pt x="26" y="0"/>
                    <a:pt x="26" y="0"/>
                    <a:pt x="26" y="0"/>
                  </a:cubicBezTo>
                  <a:cubicBezTo>
                    <a:pt x="29" y="1"/>
                    <a:pt x="31" y="2"/>
                    <a:pt x="35" y="4"/>
                  </a:cubicBezTo>
                  <a:cubicBezTo>
                    <a:pt x="38" y="6"/>
                    <a:pt x="40" y="9"/>
                    <a:pt x="42" y="12"/>
                  </a:cubicBezTo>
                  <a:cubicBezTo>
                    <a:pt x="45" y="16"/>
                    <a:pt x="46" y="20"/>
                    <a:pt x="46" y="24"/>
                  </a:cubicBezTo>
                  <a:cubicBezTo>
                    <a:pt x="46" y="28"/>
                    <a:pt x="45" y="31"/>
                    <a:pt x="43" y="35"/>
                  </a:cubicBezTo>
                  <a:cubicBezTo>
                    <a:pt x="41" y="38"/>
                    <a:pt x="38" y="41"/>
                    <a:pt x="35" y="43"/>
                  </a:cubicBezTo>
                  <a:cubicBezTo>
                    <a:pt x="31" y="46"/>
                    <a:pt x="27" y="47"/>
                    <a:pt x="23" y="47"/>
                  </a:cubicBezTo>
                  <a:cubicBezTo>
                    <a:pt x="19" y="48"/>
                    <a:pt x="15" y="47"/>
                    <a:pt x="12" y="45"/>
                  </a:cubicBezTo>
                  <a:cubicBezTo>
                    <a:pt x="9" y="43"/>
                    <a:pt x="6" y="41"/>
                    <a:pt x="4" y="37"/>
                  </a:cubicBezTo>
                  <a:cubicBezTo>
                    <a:pt x="1" y="32"/>
                    <a:pt x="0" y="28"/>
                    <a:pt x="0" y="24"/>
                  </a:cubicBezTo>
                  <a:cubicBezTo>
                    <a:pt x="0" y="21"/>
                    <a:pt x="2" y="17"/>
                    <a:pt x="5" y="14"/>
                  </a:cubicBezTo>
                  <a:cubicBezTo>
                    <a:pt x="11" y="21"/>
                    <a:pt x="11" y="21"/>
                    <a:pt x="11" y="21"/>
                  </a:cubicBezTo>
                  <a:cubicBezTo>
                    <a:pt x="10" y="23"/>
                    <a:pt x="9" y="24"/>
                    <a:pt x="9" y="27"/>
                  </a:cubicBezTo>
                  <a:cubicBezTo>
                    <a:pt x="8" y="29"/>
                    <a:pt x="9" y="31"/>
                    <a:pt x="11" y="33"/>
                  </a:cubicBezTo>
                  <a:cubicBezTo>
                    <a:pt x="13" y="36"/>
                    <a:pt x="15" y="38"/>
                    <a:pt x="19" y="39"/>
                  </a:cubicBezTo>
                  <a:cubicBezTo>
                    <a:pt x="22" y="39"/>
                    <a:pt x="26" y="38"/>
                    <a:pt x="30" y="36"/>
                  </a:cubicBezTo>
                  <a:cubicBezTo>
                    <a:pt x="34" y="33"/>
                    <a:pt x="37" y="30"/>
                    <a:pt x="38" y="26"/>
                  </a:cubicBezTo>
                  <a:cubicBezTo>
                    <a:pt x="39" y="23"/>
                    <a:pt x="38" y="20"/>
                    <a:pt x="36" y="17"/>
                  </a:cubicBezTo>
                  <a:cubicBezTo>
                    <a:pt x="35" y="15"/>
                    <a:pt x="34" y="14"/>
                    <a:pt x="32" y="13"/>
                  </a:cubicBezTo>
                  <a:cubicBezTo>
                    <a:pt x="30" y="11"/>
                    <a:pt x="29" y="10"/>
                    <a:pt x="27" y="10"/>
                  </a:cubicBezTo>
                  <a:cubicBezTo>
                    <a:pt x="23" y="13"/>
                    <a:pt x="23" y="13"/>
                    <a:pt x="23" y="13"/>
                  </a:cubicBezTo>
                  <a:lnTo>
                    <a:pt x="28" y="2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1049810" name="îŝ1ide"/>
            <p:cNvSpPr/>
            <p:nvPr/>
          </p:nvSpPr>
          <p:spPr bwMode="auto">
            <a:xfrm>
              <a:off x="1981097" y="4907553"/>
              <a:ext cx="931863" cy="969963"/>
            </a:xfrm>
            <a:custGeom>
              <a:avLst/>
              <a:gdLst>
                <a:gd name="T0" fmla="*/ 488 w 506"/>
                <a:gd name="T1" fmla="*/ 144 h 525"/>
                <a:gd name="T2" fmla="*/ 449 w 506"/>
                <a:gd name="T3" fmla="*/ 161 h 525"/>
                <a:gd name="T4" fmla="*/ 473 w 506"/>
                <a:gd name="T5" fmla="*/ 361 h 525"/>
                <a:gd name="T6" fmla="*/ 434 w 506"/>
                <a:gd name="T7" fmla="*/ 382 h 525"/>
                <a:gd name="T8" fmla="*/ 463 w 506"/>
                <a:gd name="T9" fmla="*/ 392 h 525"/>
                <a:gd name="T10" fmla="*/ 434 w 506"/>
                <a:gd name="T11" fmla="*/ 455 h 525"/>
                <a:gd name="T12" fmla="*/ 418 w 506"/>
                <a:gd name="T13" fmla="*/ 525 h 525"/>
                <a:gd name="T14" fmla="*/ 328 w 506"/>
                <a:gd name="T15" fmla="*/ 392 h 525"/>
                <a:gd name="T16" fmla="*/ 200 w 506"/>
                <a:gd name="T17" fmla="*/ 376 h 525"/>
                <a:gd name="T18" fmla="*/ 179 w 506"/>
                <a:gd name="T19" fmla="*/ 525 h 525"/>
                <a:gd name="T20" fmla="*/ 72 w 506"/>
                <a:gd name="T21" fmla="*/ 510 h 525"/>
                <a:gd name="T22" fmla="*/ 44 w 506"/>
                <a:gd name="T23" fmla="*/ 439 h 525"/>
                <a:gd name="T24" fmla="*/ 72 w 506"/>
                <a:gd name="T25" fmla="*/ 392 h 525"/>
                <a:gd name="T26" fmla="*/ 57 w 506"/>
                <a:gd name="T27" fmla="*/ 382 h 525"/>
                <a:gd name="T28" fmla="*/ 18 w 506"/>
                <a:gd name="T29" fmla="*/ 161 h 525"/>
                <a:gd name="T30" fmla="*/ 56 w 506"/>
                <a:gd name="T31" fmla="*/ 144 h 525"/>
                <a:gd name="T32" fmla="*/ 0 w 506"/>
                <a:gd name="T33" fmla="*/ 21 h 525"/>
                <a:gd name="T34" fmla="*/ 92 w 506"/>
                <a:gd name="T35" fmla="*/ 21 h 525"/>
                <a:gd name="T36" fmla="*/ 403 w 506"/>
                <a:gd name="T37" fmla="*/ 82 h 525"/>
                <a:gd name="T38" fmla="*/ 457 w 506"/>
                <a:gd name="T39" fmla="*/ 0 h 525"/>
                <a:gd name="T40" fmla="*/ 461 w 506"/>
                <a:gd name="T41" fmla="*/ 82 h 525"/>
                <a:gd name="T42" fmla="*/ 455 w 506"/>
                <a:gd name="T43" fmla="*/ 24 h 525"/>
                <a:gd name="T44" fmla="*/ 435 w 506"/>
                <a:gd name="T45" fmla="*/ 82 h 525"/>
                <a:gd name="T46" fmla="*/ 454 w 506"/>
                <a:gd name="T47" fmla="*/ 127 h 525"/>
                <a:gd name="T48" fmla="*/ 49 w 506"/>
                <a:gd name="T49" fmla="*/ 112 h 525"/>
                <a:gd name="T50" fmla="*/ 78 w 506"/>
                <a:gd name="T51" fmla="*/ 127 h 525"/>
                <a:gd name="T52" fmla="*/ 81 w 506"/>
                <a:gd name="T53" fmla="*/ 161 h 525"/>
                <a:gd name="T54" fmla="*/ 426 w 506"/>
                <a:gd name="T55" fmla="*/ 145 h 525"/>
                <a:gd name="T56" fmla="*/ 454 w 506"/>
                <a:gd name="T57" fmla="*/ 127 h 525"/>
                <a:gd name="T58" fmla="*/ 450 w 506"/>
                <a:gd name="T59" fmla="*/ 178 h 525"/>
                <a:gd name="T60" fmla="*/ 65 w 506"/>
                <a:gd name="T61" fmla="*/ 335 h 525"/>
                <a:gd name="T62" fmla="*/ 421 w 506"/>
                <a:gd name="T63" fmla="*/ 349 h 525"/>
                <a:gd name="T64" fmla="*/ 398 w 506"/>
                <a:gd name="T65" fmla="*/ 490 h 525"/>
                <a:gd name="T66" fmla="*/ 356 w 506"/>
                <a:gd name="T67" fmla="*/ 371 h 525"/>
                <a:gd name="T68" fmla="*/ 389 w 506"/>
                <a:gd name="T69" fmla="*/ 496 h 525"/>
                <a:gd name="T70" fmla="*/ 150 w 506"/>
                <a:gd name="T71" fmla="*/ 496 h 525"/>
                <a:gd name="T72" fmla="*/ 108 w 506"/>
                <a:gd name="T73" fmla="*/ 371 h 525"/>
                <a:gd name="T74" fmla="*/ 117 w 506"/>
                <a:gd name="T75" fmla="*/ 496 h 525"/>
                <a:gd name="T76" fmla="*/ 71 w 506"/>
                <a:gd name="T77" fmla="*/ 82 h 525"/>
                <a:gd name="T78" fmla="*/ 51 w 506"/>
                <a:gd name="T79" fmla="*/ 24 h 525"/>
                <a:gd name="T80" fmla="*/ 45 w 506"/>
                <a:gd name="T81" fmla="*/ 82 h 5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506" h="525">
                  <a:moveTo>
                    <a:pt x="506" y="21"/>
                  </a:moveTo>
                  <a:cubicBezTo>
                    <a:pt x="488" y="144"/>
                    <a:pt x="488" y="144"/>
                    <a:pt x="488" y="144"/>
                  </a:cubicBezTo>
                  <a:cubicBezTo>
                    <a:pt x="450" y="144"/>
                    <a:pt x="450" y="144"/>
                    <a:pt x="450" y="144"/>
                  </a:cubicBezTo>
                  <a:cubicBezTo>
                    <a:pt x="449" y="161"/>
                    <a:pt x="449" y="161"/>
                    <a:pt x="449" y="161"/>
                  </a:cubicBezTo>
                  <a:cubicBezTo>
                    <a:pt x="488" y="161"/>
                    <a:pt x="488" y="161"/>
                    <a:pt x="488" y="161"/>
                  </a:cubicBezTo>
                  <a:cubicBezTo>
                    <a:pt x="473" y="361"/>
                    <a:pt x="473" y="361"/>
                    <a:pt x="473" y="361"/>
                  </a:cubicBezTo>
                  <a:cubicBezTo>
                    <a:pt x="473" y="372"/>
                    <a:pt x="462" y="382"/>
                    <a:pt x="450" y="382"/>
                  </a:cubicBezTo>
                  <a:cubicBezTo>
                    <a:pt x="434" y="382"/>
                    <a:pt x="434" y="382"/>
                    <a:pt x="434" y="382"/>
                  </a:cubicBezTo>
                  <a:cubicBezTo>
                    <a:pt x="434" y="392"/>
                    <a:pt x="434" y="392"/>
                    <a:pt x="434" y="392"/>
                  </a:cubicBezTo>
                  <a:cubicBezTo>
                    <a:pt x="463" y="392"/>
                    <a:pt x="463" y="392"/>
                    <a:pt x="463" y="392"/>
                  </a:cubicBezTo>
                  <a:cubicBezTo>
                    <a:pt x="463" y="439"/>
                    <a:pt x="463" y="439"/>
                    <a:pt x="463" y="439"/>
                  </a:cubicBezTo>
                  <a:cubicBezTo>
                    <a:pt x="463" y="448"/>
                    <a:pt x="450" y="455"/>
                    <a:pt x="434" y="455"/>
                  </a:cubicBezTo>
                  <a:cubicBezTo>
                    <a:pt x="434" y="510"/>
                    <a:pt x="434" y="510"/>
                    <a:pt x="434" y="510"/>
                  </a:cubicBezTo>
                  <a:cubicBezTo>
                    <a:pt x="434" y="518"/>
                    <a:pt x="427" y="525"/>
                    <a:pt x="418" y="525"/>
                  </a:cubicBezTo>
                  <a:cubicBezTo>
                    <a:pt x="328" y="525"/>
                    <a:pt x="328" y="525"/>
                    <a:pt x="328" y="525"/>
                  </a:cubicBezTo>
                  <a:cubicBezTo>
                    <a:pt x="328" y="392"/>
                    <a:pt x="328" y="392"/>
                    <a:pt x="328" y="392"/>
                  </a:cubicBezTo>
                  <a:cubicBezTo>
                    <a:pt x="328" y="383"/>
                    <a:pt x="318" y="376"/>
                    <a:pt x="307" y="376"/>
                  </a:cubicBezTo>
                  <a:cubicBezTo>
                    <a:pt x="200" y="376"/>
                    <a:pt x="200" y="376"/>
                    <a:pt x="200" y="376"/>
                  </a:cubicBezTo>
                  <a:cubicBezTo>
                    <a:pt x="188" y="376"/>
                    <a:pt x="179" y="383"/>
                    <a:pt x="179" y="392"/>
                  </a:cubicBezTo>
                  <a:cubicBezTo>
                    <a:pt x="179" y="525"/>
                    <a:pt x="179" y="525"/>
                    <a:pt x="179" y="525"/>
                  </a:cubicBezTo>
                  <a:cubicBezTo>
                    <a:pt x="89" y="525"/>
                    <a:pt x="89" y="525"/>
                    <a:pt x="89" y="525"/>
                  </a:cubicBezTo>
                  <a:cubicBezTo>
                    <a:pt x="80" y="525"/>
                    <a:pt x="72" y="518"/>
                    <a:pt x="72" y="510"/>
                  </a:cubicBezTo>
                  <a:cubicBezTo>
                    <a:pt x="72" y="455"/>
                    <a:pt x="72" y="455"/>
                    <a:pt x="72" y="455"/>
                  </a:cubicBezTo>
                  <a:cubicBezTo>
                    <a:pt x="56" y="455"/>
                    <a:pt x="44" y="448"/>
                    <a:pt x="44" y="439"/>
                  </a:cubicBezTo>
                  <a:cubicBezTo>
                    <a:pt x="44" y="392"/>
                    <a:pt x="44" y="392"/>
                    <a:pt x="44" y="392"/>
                  </a:cubicBezTo>
                  <a:cubicBezTo>
                    <a:pt x="72" y="392"/>
                    <a:pt x="72" y="392"/>
                    <a:pt x="72" y="392"/>
                  </a:cubicBezTo>
                  <a:cubicBezTo>
                    <a:pt x="72" y="382"/>
                    <a:pt x="72" y="382"/>
                    <a:pt x="72" y="382"/>
                  </a:cubicBezTo>
                  <a:cubicBezTo>
                    <a:pt x="57" y="382"/>
                    <a:pt x="57" y="382"/>
                    <a:pt x="57" y="382"/>
                  </a:cubicBezTo>
                  <a:cubicBezTo>
                    <a:pt x="44" y="382"/>
                    <a:pt x="34" y="372"/>
                    <a:pt x="34" y="361"/>
                  </a:cubicBezTo>
                  <a:cubicBezTo>
                    <a:pt x="18" y="161"/>
                    <a:pt x="18" y="161"/>
                    <a:pt x="18" y="161"/>
                  </a:cubicBezTo>
                  <a:cubicBezTo>
                    <a:pt x="58" y="161"/>
                    <a:pt x="58" y="161"/>
                    <a:pt x="58" y="161"/>
                  </a:cubicBezTo>
                  <a:cubicBezTo>
                    <a:pt x="56" y="144"/>
                    <a:pt x="56" y="144"/>
                    <a:pt x="56" y="144"/>
                  </a:cubicBezTo>
                  <a:cubicBezTo>
                    <a:pt x="18" y="144"/>
                    <a:pt x="18" y="144"/>
                    <a:pt x="18" y="144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2" y="7"/>
                    <a:pt x="31" y="0"/>
                    <a:pt x="49" y="0"/>
                  </a:cubicBezTo>
                  <a:cubicBezTo>
                    <a:pt x="73" y="0"/>
                    <a:pt x="80" y="3"/>
                    <a:pt x="92" y="21"/>
                  </a:cubicBezTo>
                  <a:cubicBezTo>
                    <a:pt x="103" y="82"/>
                    <a:pt x="103" y="82"/>
                    <a:pt x="103" y="82"/>
                  </a:cubicBezTo>
                  <a:cubicBezTo>
                    <a:pt x="403" y="82"/>
                    <a:pt x="403" y="82"/>
                    <a:pt x="403" y="82"/>
                  </a:cubicBezTo>
                  <a:cubicBezTo>
                    <a:pt x="415" y="21"/>
                    <a:pt x="415" y="21"/>
                    <a:pt x="415" y="21"/>
                  </a:cubicBezTo>
                  <a:cubicBezTo>
                    <a:pt x="426" y="3"/>
                    <a:pt x="433" y="0"/>
                    <a:pt x="457" y="0"/>
                  </a:cubicBezTo>
                  <a:cubicBezTo>
                    <a:pt x="475" y="0"/>
                    <a:pt x="504" y="7"/>
                    <a:pt x="506" y="21"/>
                  </a:cubicBezTo>
                  <a:close/>
                  <a:moveTo>
                    <a:pt x="461" y="82"/>
                  </a:moveTo>
                  <a:cubicBezTo>
                    <a:pt x="469" y="32"/>
                    <a:pt x="469" y="32"/>
                    <a:pt x="469" y="32"/>
                  </a:cubicBezTo>
                  <a:cubicBezTo>
                    <a:pt x="469" y="24"/>
                    <a:pt x="463" y="24"/>
                    <a:pt x="455" y="24"/>
                  </a:cubicBezTo>
                  <a:cubicBezTo>
                    <a:pt x="450" y="24"/>
                    <a:pt x="447" y="26"/>
                    <a:pt x="445" y="32"/>
                  </a:cubicBezTo>
                  <a:cubicBezTo>
                    <a:pt x="435" y="82"/>
                    <a:pt x="435" y="82"/>
                    <a:pt x="435" y="82"/>
                  </a:cubicBezTo>
                  <a:lnTo>
                    <a:pt x="461" y="82"/>
                  </a:lnTo>
                  <a:close/>
                  <a:moveTo>
                    <a:pt x="454" y="127"/>
                  </a:moveTo>
                  <a:cubicBezTo>
                    <a:pt x="457" y="112"/>
                    <a:pt x="457" y="112"/>
                    <a:pt x="457" y="112"/>
                  </a:cubicBezTo>
                  <a:cubicBezTo>
                    <a:pt x="49" y="112"/>
                    <a:pt x="49" y="112"/>
                    <a:pt x="49" y="112"/>
                  </a:cubicBezTo>
                  <a:cubicBezTo>
                    <a:pt x="52" y="127"/>
                    <a:pt x="52" y="127"/>
                    <a:pt x="52" y="127"/>
                  </a:cubicBezTo>
                  <a:cubicBezTo>
                    <a:pt x="78" y="127"/>
                    <a:pt x="78" y="127"/>
                    <a:pt x="78" y="127"/>
                  </a:cubicBezTo>
                  <a:cubicBezTo>
                    <a:pt x="80" y="145"/>
                    <a:pt x="80" y="145"/>
                    <a:pt x="80" y="145"/>
                  </a:cubicBezTo>
                  <a:cubicBezTo>
                    <a:pt x="81" y="161"/>
                    <a:pt x="81" y="161"/>
                    <a:pt x="81" y="161"/>
                  </a:cubicBezTo>
                  <a:cubicBezTo>
                    <a:pt x="425" y="161"/>
                    <a:pt x="425" y="161"/>
                    <a:pt x="425" y="161"/>
                  </a:cubicBezTo>
                  <a:cubicBezTo>
                    <a:pt x="426" y="145"/>
                    <a:pt x="426" y="145"/>
                    <a:pt x="426" y="145"/>
                  </a:cubicBezTo>
                  <a:cubicBezTo>
                    <a:pt x="428" y="127"/>
                    <a:pt x="428" y="127"/>
                    <a:pt x="428" y="127"/>
                  </a:cubicBezTo>
                  <a:lnTo>
                    <a:pt x="454" y="127"/>
                  </a:lnTo>
                  <a:close/>
                  <a:moveTo>
                    <a:pt x="441" y="335"/>
                  </a:moveTo>
                  <a:cubicBezTo>
                    <a:pt x="450" y="178"/>
                    <a:pt x="450" y="178"/>
                    <a:pt x="450" y="178"/>
                  </a:cubicBezTo>
                  <a:cubicBezTo>
                    <a:pt x="56" y="178"/>
                    <a:pt x="56" y="178"/>
                    <a:pt x="56" y="178"/>
                  </a:cubicBezTo>
                  <a:cubicBezTo>
                    <a:pt x="65" y="335"/>
                    <a:pt x="65" y="335"/>
                    <a:pt x="65" y="335"/>
                  </a:cubicBezTo>
                  <a:cubicBezTo>
                    <a:pt x="65" y="343"/>
                    <a:pt x="74" y="349"/>
                    <a:pt x="85" y="349"/>
                  </a:cubicBezTo>
                  <a:cubicBezTo>
                    <a:pt x="421" y="349"/>
                    <a:pt x="421" y="349"/>
                    <a:pt x="421" y="349"/>
                  </a:cubicBezTo>
                  <a:cubicBezTo>
                    <a:pt x="432" y="349"/>
                    <a:pt x="441" y="343"/>
                    <a:pt x="441" y="335"/>
                  </a:cubicBezTo>
                  <a:close/>
                  <a:moveTo>
                    <a:pt x="398" y="490"/>
                  </a:moveTo>
                  <a:cubicBezTo>
                    <a:pt x="398" y="371"/>
                    <a:pt x="398" y="371"/>
                    <a:pt x="398" y="371"/>
                  </a:cubicBezTo>
                  <a:cubicBezTo>
                    <a:pt x="356" y="371"/>
                    <a:pt x="356" y="371"/>
                    <a:pt x="356" y="371"/>
                  </a:cubicBezTo>
                  <a:cubicBezTo>
                    <a:pt x="356" y="496"/>
                    <a:pt x="356" y="496"/>
                    <a:pt x="356" y="496"/>
                  </a:cubicBezTo>
                  <a:cubicBezTo>
                    <a:pt x="389" y="496"/>
                    <a:pt x="389" y="496"/>
                    <a:pt x="389" y="496"/>
                  </a:cubicBezTo>
                  <a:cubicBezTo>
                    <a:pt x="394" y="496"/>
                    <a:pt x="398" y="496"/>
                    <a:pt x="398" y="490"/>
                  </a:cubicBezTo>
                  <a:close/>
                  <a:moveTo>
                    <a:pt x="150" y="496"/>
                  </a:moveTo>
                  <a:cubicBezTo>
                    <a:pt x="150" y="371"/>
                    <a:pt x="150" y="371"/>
                    <a:pt x="150" y="371"/>
                  </a:cubicBezTo>
                  <a:cubicBezTo>
                    <a:pt x="108" y="371"/>
                    <a:pt x="108" y="371"/>
                    <a:pt x="108" y="371"/>
                  </a:cubicBezTo>
                  <a:cubicBezTo>
                    <a:pt x="108" y="490"/>
                    <a:pt x="108" y="490"/>
                    <a:pt x="108" y="490"/>
                  </a:cubicBezTo>
                  <a:cubicBezTo>
                    <a:pt x="108" y="496"/>
                    <a:pt x="112" y="496"/>
                    <a:pt x="117" y="496"/>
                  </a:cubicBezTo>
                  <a:lnTo>
                    <a:pt x="150" y="496"/>
                  </a:lnTo>
                  <a:close/>
                  <a:moveTo>
                    <a:pt x="71" y="82"/>
                  </a:moveTo>
                  <a:cubicBezTo>
                    <a:pt x="61" y="32"/>
                    <a:pt x="61" y="32"/>
                    <a:pt x="61" y="32"/>
                  </a:cubicBezTo>
                  <a:cubicBezTo>
                    <a:pt x="60" y="26"/>
                    <a:pt x="57" y="24"/>
                    <a:pt x="51" y="24"/>
                  </a:cubicBezTo>
                  <a:cubicBezTo>
                    <a:pt x="43" y="24"/>
                    <a:pt x="37" y="24"/>
                    <a:pt x="37" y="32"/>
                  </a:cubicBezTo>
                  <a:cubicBezTo>
                    <a:pt x="45" y="82"/>
                    <a:pt x="45" y="82"/>
                    <a:pt x="45" y="82"/>
                  </a:cubicBezTo>
                  <a:lnTo>
                    <a:pt x="71" y="8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 sz="1350"/>
            </a:p>
          </p:txBody>
        </p:sp>
        <p:sp>
          <p:nvSpPr>
            <p:cNvPr id="1049811" name="í$ḻíde"/>
            <p:cNvSpPr/>
            <p:nvPr/>
          </p:nvSpPr>
          <p:spPr bwMode="auto">
            <a:xfrm>
              <a:off x="2144609" y="5142503"/>
              <a:ext cx="604838" cy="31750"/>
            </a:xfrm>
            <a:prstGeom prst="rect">
              <a:avLst/>
            </a:pr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 sz="1350"/>
            </a:p>
          </p:txBody>
        </p:sp>
      </p:grpSp>
      <p:pic>
        <p:nvPicPr>
          <p:cNvPr id="2097205" name="图片 72"/>
          <p:cNvPicPr>
            <a:picLocks noChangeAspect="1"/>
          </p:cNvPicPr>
          <p:nvPr userDrawn="1"/>
        </p:nvPicPr>
        <p:blipFill rotWithShape="1">
          <a:blip r:embed="rId2"/>
          <a:srcRect l="25622" t="7796" r="24414" b="7796"/>
          <a:stretch>
            <a:fillRect/>
          </a:stretch>
        </p:blipFill>
        <p:spPr>
          <a:xfrm>
            <a:off x="4563325" y="0"/>
            <a:ext cx="4568678" cy="6858000"/>
          </a:xfrm>
          <a:custGeom>
            <a:avLst/>
            <a:gdLst>
              <a:gd name="connsiteX0" fmla="*/ 516982 w 6091570"/>
              <a:gd name="connsiteY0" fmla="*/ 0 h 6858000"/>
              <a:gd name="connsiteX1" fmla="*/ 6091570 w 6091570"/>
              <a:gd name="connsiteY1" fmla="*/ 0 h 6858000"/>
              <a:gd name="connsiteX2" fmla="*/ 6091570 w 6091570"/>
              <a:gd name="connsiteY2" fmla="*/ 6858000 h 6858000"/>
              <a:gd name="connsiteX3" fmla="*/ 516982 w 6091570"/>
              <a:gd name="connsiteY3" fmla="*/ 6858000 h 6858000"/>
              <a:gd name="connsiteX4" fmla="*/ 429910 w 6091570"/>
              <a:gd name="connsiteY4" fmla="*/ 6575030 h 6858000"/>
              <a:gd name="connsiteX5" fmla="*/ 0 w 6091570"/>
              <a:gd name="connsiteY5" fmla="*/ 3429000 h 6858000"/>
              <a:gd name="connsiteX6" fmla="*/ 429910 w 6091570"/>
              <a:gd name="connsiteY6" fmla="*/ 282971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091570" h="6858000">
                <a:moveTo>
                  <a:pt x="516982" y="0"/>
                </a:moveTo>
                <a:lnTo>
                  <a:pt x="6091570" y="0"/>
                </a:lnTo>
                <a:lnTo>
                  <a:pt x="6091570" y="6858000"/>
                </a:lnTo>
                <a:lnTo>
                  <a:pt x="516982" y="6858000"/>
                </a:lnTo>
                <a:lnTo>
                  <a:pt x="429910" y="6575030"/>
                </a:lnTo>
                <a:cubicBezTo>
                  <a:pt x="154398" y="5623308"/>
                  <a:pt x="0" y="4556166"/>
                  <a:pt x="0" y="3429000"/>
                </a:cubicBezTo>
                <a:cubicBezTo>
                  <a:pt x="0" y="2301834"/>
                  <a:pt x="154398" y="1234692"/>
                  <a:pt x="429910" y="282971"/>
                </a:cubicBezTo>
                <a:close/>
              </a:path>
            </a:pathLst>
          </a:custGeom>
        </p:spPr>
      </p:pic>
      <p:sp>
        <p:nvSpPr>
          <p:cNvPr id="1049812" name="椭圆 73"/>
          <p:cNvSpPr/>
          <p:nvPr userDrawn="1"/>
        </p:nvSpPr>
        <p:spPr>
          <a:xfrm>
            <a:off x="4552526" y="-3827584"/>
            <a:ext cx="6539490" cy="14513168"/>
          </a:xfrm>
          <a:prstGeom prst="ellipse">
            <a:avLst/>
          </a:prstGeom>
          <a:gradFill flip="none" rotWithShape="1">
            <a:gsLst>
              <a:gs pos="0">
                <a:srgbClr val="A22B17">
                  <a:lumMod val="94000"/>
                  <a:lumOff val="6000"/>
                </a:srgbClr>
              </a:gs>
              <a:gs pos="100000">
                <a:srgbClr val="A22B17">
                  <a:alpha val="72000"/>
                  <a:lumMod val="85000"/>
                  <a:lumOff val="15000"/>
                </a:srgb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zh-CN" altLang="en-US" sz="1350"/>
          </a:p>
        </p:txBody>
      </p:sp>
      <p:sp>
        <p:nvSpPr>
          <p:cNvPr id="1049813" name="椭圆 74"/>
          <p:cNvSpPr/>
          <p:nvPr userDrawn="1"/>
        </p:nvSpPr>
        <p:spPr>
          <a:xfrm>
            <a:off x="4457482" y="-3767391"/>
            <a:ext cx="6539490" cy="14513168"/>
          </a:xfrm>
          <a:prstGeom prst="ellipse">
            <a:avLst/>
          </a:prstGeom>
          <a:gradFill flip="none" rotWithShape="1">
            <a:gsLst>
              <a:gs pos="0">
                <a:srgbClr val="A22B17">
                  <a:alpha val="47000"/>
                  <a:lumMod val="91000"/>
                </a:srgbClr>
              </a:gs>
              <a:gs pos="100000">
                <a:srgbClr val="A22B17">
                  <a:alpha val="14000"/>
                  <a:lumMod val="92000"/>
                  <a:lumOff val="8000"/>
                </a:srgb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zh-CN" altLang="en-US" sz="1350" dirty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图片 16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796" b="7796"/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18" name="矩形 17"/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bg1">
              <a:alpha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350"/>
          </a:p>
        </p:txBody>
      </p:sp>
      <p:sp>
        <p:nvSpPr>
          <p:cNvPr id="248" name="矩形 247"/>
          <p:cNvSpPr/>
          <p:nvPr userDrawn="1"/>
        </p:nvSpPr>
        <p:spPr>
          <a:xfrm>
            <a:off x="9064520" y="319741"/>
            <a:ext cx="89822" cy="274912"/>
          </a:xfrm>
          <a:prstGeom prst="rect">
            <a:avLst/>
          </a:prstGeom>
          <a:gradFill flip="none" rotWithShape="1">
            <a:gsLst>
              <a:gs pos="0">
                <a:srgbClr val="A22B17">
                  <a:lumMod val="94000"/>
                  <a:lumOff val="6000"/>
                </a:srgbClr>
              </a:gs>
              <a:gs pos="100000">
                <a:srgbClr val="A22B17">
                  <a:alpha val="72000"/>
                  <a:lumMod val="85000"/>
                  <a:lumOff val="15000"/>
                </a:srgb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zh-CN" altLang="en-US" sz="1350"/>
          </a:p>
        </p:txBody>
      </p:sp>
      <p:grpSp>
        <p:nvGrpSpPr>
          <p:cNvPr id="249" name="组合 248"/>
          <p:cNvGrpSpPr/>
          <p:nvPr userDrawn="1"/>
        </p:nvGrpSpPr>
        <p:grpSpPr>
          <a:xfrm>
            <a:off x="-5370" y="295364"/>
            <a:ext cx="779843" cy="381305"/>
            <a:chOff x="-12553" y="243604"/>
            <a:chExt cx="1039791" cy="381305"/>
          </a:xfrm>
        </p:grpSpPr>
        <p:grpSp>
          <p:nvGrpSpPr>
            <p:cNvPr id="250" name="组合 249"/>
            <p:cNvGrpSpPr/>
            <p:nvPr userDrawn="1"/>
          </p:nvGrpSpPr>
          <p:grpSpPr>
            <a:xfrm>
              <a:off x="-12553" y="243604"/>
              <a:ext cx="889307" cy="381305"/>
              <a:chOff x="-12553" y="243604"/>
              <a:chExt cx="889307" cy="381305"/>
            </a:xfrm>
          </p:grpSpPr>
          <p:pic>
            <p:nvPicPr>
              <p:cNvPr id="252" name="图片 251"/>
              <p:cNvPicPr>
                <a:picLocks noChangeAspect="1"/>
              </p:cNvPicPr>
              <p:nvPr userDrawn="1"/>
            </p:nvPicPr>
            <p:blipFill rotWithShape="1">
              <a:blip r:embed="rId3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t="17800" b="17765"/>
              <a:stretch>
                <a:fillRect/>
              </a:stretch>
            </p:blipFill>
            <p:spPr>
              <a:xfrm>
                <a:off x="-12553" y="243604"/>
                <a:ext cx="887999" cy="381305"/>
              </a:xfrm>
              <a:prstGeom prst="rect">
                <a:avLst/>
              </a:prstGeom>
            </p:spPr>
          </p:pic>
          <p:sp>
            <p:nvSpPr>
              <p:cNvPr id="253" name="矩形 252"/>
              <p:cNvSpPr/>
              <p:nvPr userDrawn="1"/>
            </p:nvSpPr>
            <p:spPr>
              <a:xfrm>
                <a:off x="-11245" y="243604"/>
                <a:ext cx="887999" cy="381305"/>
              </a:xfrm>
              <a:prstGeom prst="rect">
                <a:avLst/>
              </a:prstGeom>
              <a:gradFill flip="none" rotWithShape="1">
                <a:gsLst>
                  <a:gs pos="0">
                    <a:srgbClr val="A22B17">
                      <a:lumMod val="94000"/>
                      <a:lumOff val="6000"/>
                    </a:srgbClr>
                  </a:gs>
                  <a:gs pos="100000">
                    <a:srgbClr val="A22B17">
                      <a:alpha val="72000"/>
                      <a:lumMod val="85000"/>
                      <a:lumOff val="15000"/>
                    </a:srgbClr>
                  </a:gs>
                </a:gsLst>
                <a:lin ang="5400000" scaled="1"/>
                <a:tileRect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lvl="0" algn="ctr"/>
                <a:endParaRPr lang="zh-CN" altLang="en-US" sz="1350" dirty="0"/>
              </a:p>
            </p:txBody>
          </p:sp>
        </p:grpSp>
        <p:sp>
          <p:nvSpPr>
            <p:cNvPr id="251" name="矩形 250"/>
            <p:cNvSpPr/>
            <p:nvPr userDrawn="1"/>
          </p:nvSpPr>
          <p:spPr>
            <a:xfrm>
              <a:off x="924704" y="243604"/>
              <a:ext cx="102534" cy="381305"/>
            </a:xfrm>
            <a:prstGeom prst="rect">
              <a:avLst/>
            </a:prstGeom>
            <a:gradFill flip="none" rotWithShape="1">
              <a:gsLst>
                <a:gs pos="0">
                  <a:srgbClr val="A22B17">
                    <a:lumMod val="94000"/>
                    <a:lumOff val="6000"/>
                  </a:srgbClr>
                </a:gs>
                <a:gs pos="100000">
                  <a:srgbClr val="A22B17">
                    <a:alpha val="72000"/>
                    <a:lumMod val="85000"/>
                    <a:lumOff val="15000"/>
                  </a:srgb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zh-CN" altLang="en-US" sz="1350"/>
            </a:p>
          </p:txBody>
        </p:sp>
      </p:grpSp>
      <p:grpSp>
        <p:nvGrpSpPr>
          <p:cNvPr id="124" name="组合 123"/>
          <p:cNvGrpSpPr/>
          <p:nvPr userDrawn="1"/>
        </p:nvGrpSpPr>
        <p:grpSpPr>
          <a:xfrm>
            <a:off x="6861175" y="225425"/>
            <a:ext cx="2056765" cy="453390"/>
            <a:chOff x="9721458" y="225521"/>
            <a:chExt cx="2169381" cy="453584"/>
          </a:xfrm>
        </p:grpSpPr>
        <p:sp>
          <p:nvSpPr>
            <p:cNvPr id="125" name="îS1îḋé"/>
            <p:cNvSpPr/>
            <p:nvPr/>
          </p:nvSpPr>
          <p:spPr bwMode="auto">
            <a:xfrm>
              <a:off x="9721458" y="225521"/>
              <a:ext cx="453179" cy="453584"/>
            </a:xfrm>
            <a:prstGeom prst="ellipse">
              <a:avLst/>
            </a:prstGeom>
            <a:noFill/>
            <a:ln w="15875" cap="flat">
              <a:solidFill>
                <a:srgbClr val="CA351C"/>
              </a:solidFill>
              <a:prstDash val="solid"/>
              <a:miter lim="800000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anchor="ctr"/>
            <a:lstStyle/>
            <a:p>
              <a:pPr algn="r"/>
              <a:endParaRPr sz="1350"/>
            </a:p>
          </p:txBody>
        </p:sp>
        <p:sp>
          <p:nvSpPr>
            <p:cNvPr id="126" name="îṣḷïďé"/>
            <p:cNvSpPr/>
            <p:nvPr/>
          </p:nvSpPr>
          <p:spPr bwMode="auto">
            <a:xfrm>
              <a:off x="9777346" y="281409"/>
              <a:ext cx="340998" cy="341403"/>
            </a:xfrm>
            <a:prstGeom prst="ellipse">
              <a:avLst/>
            </a:prstGeom>
            <a:noFill/>
            <a:ln w="9525" cap="flat">
              <a:solidFill>
                <a:srgbClr val="B8311A"/>
              </a:solidFill>
              <a:prstDash val="solid"/>
              <a:miter lim="800000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anchor="ctr"/>
            <a:lstStyle/>
            <a:p>
              <a:pPr algn="r"/>
              <a:endParaRPr sz="1350"/>
            </a:p>
          </p:txBody>
        </p:sp>
        <p:grpSp>
          <p:nvGrpSpPr>
            <p:cNvPr id="127" name="组合 126"/>
            <p:cNvGrpSpPr/>
            <p:nvPr userDrawn="1"/>
          </p:nvGrpSpPr>
          <p:grpSpPr>
            <a:xfrm>
              <a:off x="9742315" y="240303"/>
              <a:ext cx="411466" cy="424020"/>
              <a:chOff x="1641372" y="4491628"/>
              <a:chExt cx="1612900" cy="1662113"/>
            </a:xfrm>
            <a:solidFill>
              <a:srgbClr val="CA351C"/>
            </a:solidFill>
          </p:grpSpPr>
          <p:sp>
            <p:nvSpPr>
              <p:cNvPr id="300" name="ïś1íďê"/>
              <p:cNvSpPr/>
              <p:nvPr/>
            </p:nvSpPr>
            <p:spPr bwMode="auto">
              <a:xfrm>
                <a:off x="2889147" y="4701178"/>
                <a:ext cx="153988" cy="138113"/>
              </a:xfrm>
              <a:custGeom>
                <a:avLst/>
                <a:gdLst>
                  <a:gd name="T0" fmla="*/ 62 w 83"/>
                  <a:gd name="T1" fmla="*/ 8 h 75"/>
                  <a:gd name="T2" fmla="*/ 53 w 83"/>
                  <a:gd name="T3" fmla="*/ 10 h 75"/>
                  <a:gd name="T4" fmla="*/ 57 w 83"/>
                  <a:gd name="T5" fmla="*/ 0 h 75"/>
                  <a:gd name="T6" fmla="*/ 44 w 83"/>
                  <a:gd name="T7" fmla="*/ 21 h 75"/>
                  <a:gd name="T8" fmla="*/ 58 w 83"/>
                  <a:gd name="T9" fmla="*/ 11 h 75"/>
                  <a:gd name="T10" fmla="*/ 54 w 83"/>
                  <a:gd name="T11" fmla="*/ 18 h 75"/>
                  <a:gd name="T12" fmla="*/ 28 w 83"/>
                  <a:gd name="T13" fmla="*/ 18 h 75"/>
                  <a:gd name="T14" fmla="*/ 19 w 83"/>
                  <a:gd name="T15" fmla="*/ 17 h 75"/>
                  <a:gd name="T16" fmla="*/ 25 w 83"/>
                  <a:gd name="T17" fmla="*/ 12 h 75"/>
                  <a:gd name="T18" fmla="*/ 1 w 83"/>
                  <a:gd name="T19" fmla="*/ 30 h 75"/>
                  <a:gd name="T20" fmla="*/ 13 w 83"/>
                  <a:gd name="T21" fmla="*/ 24 h 75"/>
                  <a:gd name="T22" fmla="*/ 36 w 83"/>
                  <a:gd name="T23" fmla="*/ 28 h 75"/>
                  <a:gd name="T24" fmla="*/ 22 w 83"/>
                  <a:gd name="T25" fmla="*/ 35 h 75"/>
                  <a:gd name="T26" fmla="*/ 45 w 83"/>
                  <a:gd name="T27" fmla="*/ 41 h 75"/>
                  <a:gd name="T28" fmla="*/ 42 w 83"/>
                  <a:gd name="T29" fmla="*/ 41 h 75"/>
                  <a:gd name="T30" fmla="*/ 35 w 83"/>
                  <a:gd name="T31" fmla="*/ 40 h 75"/>
                  <a:gd name="T32" fmla="*/ 37 w 83"/>
                  <a:gd name="T33" fmla="*/ 45 h 75"/>
                  <a:gd name="T34" fmla="*/ 12 w 83"/>
                  <a:gd name="T35" fmla="*/ 34 h 75"/>
                  <a:gd name="T36" fmla="*/ 9 w 83"/>
                  <a:gd name="T37" fmla="*/ 35 h 75"/>
                  <a:gd name="T38" fmla="*/ 20 w 83"/>
                  <a:gd name="T39" fmla="*/ 64 h 75"/>
                  <a:gd name="T40" fmla="*/ 0 w 83"/>
                  <a:gd name="T41" fmla="*/ 57 h 75"/>
                  <a:gd name="T42" fmla="*/ 35 w 83"/>
                  <a:gd name="T43" fmla="*/ 58 h 75"/>
                  <a:gd name="T44" fmla="*/ 46 w 83"/>
                  <a:gd name="T45" fmla="*/ 57 h 75"/>
                  <a:gd name="T46" fmla="*/ 42 w 83"/>
                  <a:gd name="T47" fmla="*/ 48 h 75"/>
                  <a:gd name="T48" fmla="*/ 62 w 83"/>
                  <a:gd name="T49" fmla="*/ 57 h 75"/>
                  <a:gd name="T50" fmla="*/ 61 w 83"/>
                  <a:gd name="T51" fmla="*/ 35 h 75"/>
                  <a:gd name="T52" fmla="*/ 62 w 83"/>
                  <a:gd name="T53" fmla="*/ 34 h 75"/>
                  <a:gd name="T54" fmla="*/ 66 w 83"/>
                  <a:gd name="T55" fmla="*/ 16 h 75"/>
                  <a:gd name="T56" fmla="*/ 63 w 83"/>
                  <a:gd name="T57" fmla="*/ 44 h 75"/>
                  <a:gd name="T58" fmla="*/ 54 w 83"/>
                  <a:gd name="T59" fmla="*/ 32 h 75"/>
                  <a:gd name="T60" fmla="*/ 60 w 83"/>
                  <a:gd name="T61" fmla="*/ 27 h 75"/>
                  <a:gd name="T62" fmla="*/ 67 w 83"/>
                  <a:gd name="T63" fmla="*/ 18 h 75"/>
                  <a:gd name="T64" fmla="*/ 77 w 83"/>
                  <a:gd name="T65" fmla="*/ 23 h 75"/>
                  <a:gd name="T66" fmla="*/ 60 w 83"/>
                  <a:gd name="T67" fmla="*/ 27 h 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83" h="75">
                    <a:moveTo>
                      <a:pt x="66" y="16"/>
                    </a:moveTo>
                    <a:cubicBezTo>
                      <a:pt x="65" y="13"/>
                      <a:pt x="63" y="11"/>
                      <a:pt x="62" y="8"/>
                    </a:cubicBezTo>
                    <a:cubicBezTo>
                      <a:pt x="59" y="9"/>
                      <a:pt x="57" y="9"/>
                      <a:pt x="54" y="10"/>
                    </a:cubicBezTo>
                    <a:cubicBezTo>
                      <a:pt x="54" y="10"/>
                      <a:pt x="53" y="10"/>
                      <a:pt x="53" y="10"/>
                    </a:cubicBezTo>
                    <a:cubicBezTo>
                      <a:pt x="54" y="7"/>
                      <a:pt x="57" y="6"/>
                      <a:pt x="59" y="3"/>
                    </a:cubicBezTo>
                    <a:cubicBezTo>
                      <a:pt x="58" y="2"/>
                      <a:pt x="58" y="1"/>
                      <a:pt x="57" y="0"/>
                    </a:cubicBezTo>
                    <a:cubicBezTo>
                      <a:pt x="48" y="1"/>
                      <a:pt x="37" y="9"/>
                      <a:pt x="42" y="19"/>
                    </a:cubicBezTo>
                    <a:cubicBezTo>
                      <a:pt x="42" y="19"/>
                      <a:pt x="43" y="20"/>
                      <a:pt x="44" y="21"/>
                    </a:cubicBezTo>
                    <a:cubicBezTo>
                      <a:pt x="47" y="19"/>
                      <a:pt x="48" y="15"/>
                      <a:pt x="51" y="14"/>
                    </a:cubicBezTo>
                    <a:cubicBezTo>
                      <a:pt x="53" y="13"/>
                      <a:pt x="55" y="13"/>
                      <a:pt x="58" y="11"/>
                    </a:cubicBezTo>
                    <a:cubicBezTo>
                      <a:pt x="58" y="11"/>
                      <a:pt x="59" y="11"/>
                      <a:pt x="59" y="11"/>
                    </a:cubicBezTo>
                    <a:cubicBezTo>
                      <a:pt x="57" y="14"/>
                      <a:pt x="56" y="16"/>
                      <a:pt x="54" y="18"/>
                    </a:cubicBezTo>
                    <a:cubicBezTo>
                      <a:pt x="54" y="21"/>
                      <a:pt x="55" y="24"/>
                      <a:pt x="54" y="27"/>
                    </a:cubicBezTo>
                    <a:cubicBezTo>
                      <a:pt x="54" y="27"/>
                      <a:pt x="30" y="18"/>
                      <a:pt x="28" y="18"/>
                    </a:cubicBezTo>
                    <a:cubicBezTo>
                      <a:pt x="25" y="17"/>
                      <a:pt x="22" y="17"/>
                      <a:pt x="20" y="17"/>
                    </a:cubicBezTo>
                    <a:cubicBezTo>
                      <a:pt x="19" y="17"/>
                      <a:pt x="19" y="17"/>
                      <a:pt x="19" y="17"/>
                    </a:cubicBezTo>
                    <a:cubicBezTo>
                      <a:pt x="22" y="15"/>
                      <a:pt x="23" y="15"/>
                      <a:pt x="25" y="13"/>
                    </a:cubicBezTo>
                    <a:cubicBezTo>
                      <a:pt x="25" y="12"/>
                      <a:pt x="25" y="12"/>
                      <a:pt x="25" y="12"/>
                    </a:cubicBezTo>
                    <a:cubicBezTo>
                      <a:pt x="18" y="12"/>
                      <a:pt x="11" y="16"/>
                      <a:pt x="4" y="18"/>
                    </a:cubicBezTo>
                    <a:cubicBezTo>
                      <a:pt x="0" y="22"/>
                      <a:pt x="0" y="25"/>
                      <a:pt x="1" y="30"/>
                    </a:cubicBezTo>
                    <a:cubicBezTo>
                      <a:pt x="3" y="31"/>
                      <a:pt x="3" y="31"/>
                      <a:pt x="3" y="31"/>
                    </a:cubicBezTo>
                    <a:cubicBezTo>
                      <a:pt x="6" y="29"/>
                      <a:pt x="9" y="26"/>
                      <a:pt x="13" y="24"/>
                    </a:cubicBezTo>
                    <a:cubicBezTo>
                      <a:pt x="19" y="20"/>
                      <a:pt x="30" y="22"/>
                      <a:pt x="37" y="27"/>
                    </a:cubicBezTo>
                    <a:cubicBezTo>
                      <a:pt x="37" y="28"/>
                      <a:pt x="36" y="28"/>
                      <a:pt x="36" y="28"/>
                    </a:cubicBezTo>
                    <a:cubicBezTo>
                      <a:pt x="31" y="29"/>
                      <a:pt x="28" y="28"/>
                      <a:pt x="22" y="32"/>
                    </a:cubicBezTo>
                    <a:cubicBezTo>
                      <a:pt x="22" y="33"/>
                      <a:pt x="22" y="34"/>
                      <a:pt x="22" y="35"/>
                    </a:cubicBezTo>
                    <a:cubicBezTo>
                      <a:pt x="22" y="37"/>
                      <a:pt x="22" y="37"/>
                      <a:pt x="24" y="39"/>
                    </a:cubicBezTo>
                    <a:cubicBezTo>
                      <a:pt x="31" y="37"/>
                      <a:pt x="37" y="36"/>
                      <a:pt x="45" y="41"/>
                    </a:cubicBezTo>
                    <a:cubicBezTo>
                      <a:pt x="44" y="41"/>
                      <a:pt x="44" y="41"/>
                      <a:pt x="44" y="41"/>
                    </a:cubicBezTo>
                    <a:cubicBezTo>
                      <a:pt x="43" y="41"/>
                      <a:pt x="42" y="41"/>
                      <a:pt x="42" y="41"/>
                    </a:cubicBezTo>
                    <a:cubicBezTo>
                      <a:pt x="41" y="40"/>
                      <a:pt x="40" y="39"/>
                      <a:pt x="39" y="39"/>
                    </a:cubicBezTo>
                    <a:cubicBezTo>
                      <a:pt x="37" y="41"/>
                      <a:pt x="37" y="41"/>
                      <a:pt x="35" y="40"/>
                    </a:cubicBezTo>
                    <a:cubicBezTo>
                      <a:pt x="35" y="40"/>
                      <a:pt x="34" y="41"/>
                      <a:pt x="34" y="41"/>
                    </a:cubicBezTo>
                    <a:cubicBezTo>
                      <a:pt x="35" y="43"/>
                      <a:pt x="35" y="43"/>
                      <a:pt x="37" y="45"/>
                    </a:cubicBezTo>
                    <a:cubicBezTo>
                      <a:pt x="36" y="46"/>
                      <a:pt x="36" y="47"/>
                      <a:pt x="35" y="48"/>
                    </a:cubicBezTo>
                    <a:cubicBezTo>
                      <a:pt x="27" y="44"/>
                      <a:pt x="20" y="40"/>
                      <a:pt x="12" y="34"/>
                    </a:cubicBezTo>
                    <a:cubicBezTo>
                      <a:pt x="11" y="34"/>
                      <a:pt x="11" y="34"/>
                      <a:pt x="10" y="34"/>
                    </a:cubicBezTo>
                    <a:cubicBezTo>
                      <a:pt x="9" y="34"/>
                      <a:pt x="9" y="35"/>
                      <a:pt x="9" y="35"/>
                    </a:cubicBezTo>
                    <a:cubicBezTo>
                      <a:pt x="11" y="55"/>
                      <a:pt x="20" y="44"/>
                      <a:pt x="31" y="54"/>
                    </a:cubicBezTo>
                    <a:cubicBezTo>
                      <a:pt x="27" y="58"/>
                      <a:pt x="23" y="61"/>
                      <a:pt x="20" y="64"/>
                    </a:cubicBezTo>
                    <a:cubicBezTo>
                      <a:pt x="15" y="63"/>
                      <a:pt x="6" y="55"/>
                      <a:pt x="1" y="56"/>
                    </a:cubicBezTo>
                    <a:cubicBezTo>
                      <a:pt x="1" y="56"/>
                      <a:pt x="1" y="56"/>
                      <a:pt x="0" y="57"/>
                    </a:cubicBezTo>
                    <a:cubicBezTo>
                      <a:pt x="2" y="62"/>
                      <a:pt x="7" y="67"/>
                      <a:pt x="9" y="72"/>
                    </a:cubicBezTo>
                    <a:cubicBezTo>
                      <a:pt x="17" y="75"/>
                      <a:pt x="26" y="66"/>
                      <a:pt x="35" y="58"/>
                    </a:cubicBezTo>
                    <a:cubicBezTo>
                      <a:pt x="37" y="60"/>
                      <a:pt x="39" y="63"/>
                      <a:pt x="42" y="65"/>
                    </a:cubicBezTo>
                    <a:cubicBezTo>
                      <a:pt x="46" y="63"/>
                      <a:pt x="46" y="60"/>
                      <a:pt x="46" y="57"/>
                    </a:cubicBezTo>
                    <a:cubicBezTo>
                      <a:pt x="45" y="54"/>
                      <a:pt x="43" y="53"/>
                      <a:pt x="40" y="50"/>
                    </a:cubicBezTo>
                    <a:cubicBezTo>
                      <a:pt x="41" y="49"/>
                      <a:pt x="42" y="48"/>
                      <a:pt x="42" y="48"/>
                    </a:cubicBezTo>
                    <a:cubicBezTo>
                      <a:pt x="46" y="48"/>
                      <a:pt x="49" y="48"/>
                      <a:pt x="53" y="46"/>
                    </a:cubicBezTo>
                    <a:cubicBezTo>
                      <a:pt x="56" y="49"/>
                      <a:pt x="59" y="53"/>
                      <a:pt x="62" y="57"/>
                    </a:cubicBezTo>
                    <a:cubicBezTo>
                      <a:pt x="65" y="56"/>
                      <a:pt x="68" y="55"/>
                      <a:pt x="70" y="52"/>
                    </a:cubicBezTo>
                    <a:cubicBezTo>
                      <a:pt x="72" y="47"/>
                      <a:pt x="66" y="40"/>
                      <a:pt x="61" y="35"/>
                    </a:cubicBezTo>
                    <a:cubicBezTo>
                      <a:pt x="61" y="35"/>
                      <a:pt x="61" y="35"/>
                      <a:pt x="61" y="35"/>
                    </a:cubicBezTo>
                    <a:cubicBezTo>
                      <a:pt x="62" y="34"/>
                      <a:pt x="62" y="34"/>
                      <a:pt x="62" y="34"/>
                    </a:cubicBezTo>
                    <a:cubicBezTo>
                      <a:pt x="69" y="34"/>
                      <a:pt x="72" y="37"/>
                      <a:pt x="79" y="32"/>
                    </a:cubicBezTo>
                    <a:cubicBezTo>
                      <a:pt x="83" y="17"/>
                      <a:pt x="74" y="21"/>
                      <a:pt x="66" y="16"/>
                    </a:cubicBezTo>
                    <a:close/>
                    <a:moveTo>
                      <a:pt x="63" y="44"/>
                    </a:moveTo>
                    <a:cubicBezTo>
                      <a:pt x="63" y="44"/>
                      <a:pt x="63" y="44"/>
                      <a:pt x="63" y="44"/>
                    </a:cubicBezTo>
                    <a:cubicBezTo>
                      <a:pt x="55" y="42"/>
                      <a:pt x="46" y="34"/>
                      <a:pt x="38" y="32"/>
                    </a:cubicBezTo>
                    <a:cubicBezTo>
                      <a:pt x="43" y="28"/>
                      <a:pt x="48" y="31"/>
                      <a:pt x="54" y="32"/>
                    </a:cubicBezTo>
                    <a:cubicBezTo>
                      <a:pt x="57" y="36"/>
                      <a:pt x="60" y="40"/>
                      <a:pt x="63" y="44"/>
                    </a:cubicBezTo>
                    <a:close/>
                    <a:moveTo>
                      <a:pt x="60" y="27"/>
                    </a:moveTo>
                    <a:cubicBezTo>
                      <a:pt x="60" y="27"/>
                      <a:pt x="60" y="26"/>
                      <a:pt x="59" y="26"/>
                    </a:cubicBezTo>
                    <a:cubicBezTo>
                      <a:pt x="61" y="23"/>
                      <a:pt x="63" y="20"/>
                      <a:pt x="67" y="18"/>
                    </a:cubicBezTo>
                    <a:cubicBezTo>
                      <a:pt x="69" y="19"/>
                      <a:pt x="71" y="19"/>
                      <a:pt x="74" y="20"/>
                    </a:cubicBezTo>
                    <a:cubicBezTo>
                      <a:pt x="75" y="21"/>
                      <a:pt x="76" y="22"/>
                      <a:pt x="77" y="23"/>
                    </a:cubicBezTo>
                    <a:cubicBezTo>
                      <a:pt x="77" y="24"/>
                      <a:pt x="77" y="24"/>
                      <a:pt x="77" y="25"/>
                    </a:cubicBezTo>
                    <a:cubicBezTo>
                      <a:pt x="72" y="29"/>
                      <a:pt x="66" y="27"/>
                      <a:pt x="60" y="2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301" name="ïṩḻîḓé"/>
              <p:cNvSpPr/>
              <p:nvPr/>
            </p:nvSpPr>
            <p:spPr bwMode="auto">
              <a:xfrm>
                <a:off x="2728809" y="4582115"/>
                <a:ext cx="101600" cy="147638"/>
              </a:xfrm>
              <a:custGeom>
                <a:avLst/>
                <a:gdLst>
                  <a:gd name="T0" fmla="*/ 47 w 55"/>
                  <a:gd name="T1" fmla="*/ 0 h 80"/>
                  <a:gd name="T2" fmla="*/ 49 w 55"/>
                  <a:gd name="T3" fmla="*/ 20 h 80"/>
                  <a:gd name="T4" fmla="*/ 51 w 55"/>
                  <a:gd name="T5" fmla="*/ 34 h 80"/>
                  <a:gd name="T6" fmla="*/ 28 w 55"/>
                  <a:gd name="T7" fmla="*/ 38 h 80"/>
                  <a:gd name="T8" fmla="*/ 41 w 55"/>
                  <a:gd name="T9" fmla="*/ 68 h 80"/>
                  <a:gd name="T10" fmla="*/ 25 w 55"/>
                  <a:gd name="T11" fmla="*/ 74 h 80"/>
                  <a:gd name="T12" fmla="*/ 26 w 55"/>
                  <a:gd name="T13" fmla="*/ 39 h 80"/>
                  <a:gd name="T14" fmla="*/ 23 w 55"/>
                  <a:gd name="T15" fmla="*/ 40 h 80"/>
                  <a:gd name="T16" fmla="*/ 7 w 55"/>
                  <a:gd name="T17" fmla="*/ 54 h 80"/>
                  <a:gd name="T18" fmla="*/ 0 w 55"/>
                  <a:gd name="T19" fmla="*/ 43 h 80"/>
                  <a:gd name="T20" fmla="*/ 14 w 55"/>
                  <a:gd name="T21" fmla="*/ 28 h 80"/>
                  <a:gd name="T22" fmla="*/ 6 w 55"/>
                  <a:gd name="T23" fmla="*/ 15 h 80"/>
                  <a:gd name="T24" fmla="*/ 7 w 55"/>
                  <a:gd name="T25" fmla="*/ 15 h 80"/>
                  <a:gd name="T26" fmla="*/ 26 w 55"/>
                  <a:gd name="T27" fmla="*/ 18 h 80"/>
                  <a:gd name="T28" fmla="*/ 47 w 55"/>
                  <a:gd name="T29" fmla="*/ 0 h 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55" h="80">
                    <a:moveTo>
                      <a:pt x="47" y="0"/>
                    </a:moveTo>
                    <a:cubicBezTo>
                      <a:pt x="55" y="7"/>
                      <a:pt x="49" y="11"/>
                      <a:pt x="49" y="20"/>
                    </a:cubicBezTo>
                    <a:cubicBezTo>
                      <a:pt x="49" y="25"/>
                      <a:pt x="55" y="25"/>
                      <a:pt x="51" y="34"/>
                    </a:cubicBezTo>
                    <a:cubicBezTo>
                      <a:pt x="44" y="37"/>
                      <a:pt x="34" y="32"/>
                      <a:pt x="28" y="38"/>
                    </a:cubicBezTo>
                    <a:cubicBezTo>
                      <a:pt x="38" y="44"/>
                      <a:pt x="45" y="59"/>
                      <a:pt x="41" y="68"/>
                    </a:cubicBezTo>
                    <a:cubicBezTo>
                      <a:pt x="39" y="74"/>
                      <a:pt x="28" y="80"/>
                      <a:pt x="25" y="74"/>
                    </a:cubicBezTo>
                    <a:cubicBezTo>
                      <a:pt x="19" y="62"/>
                      <a:pt x="39" y="55"/>
                      <a:pt x="26" y="39"/>
                    </a:cubicBezTo>
                    <a:cubicBezTo>
                      <a:pt x="25" y="39"/>
                      <a:pt x="25" y="39"/>
                      <a:pt x="23" y="40"/>
                    </a:cubicBezTo>
                    <a:cubicBezTo>
                      <a:pt x="17" y="44"/>
                      <a:pt x="14" y="52"/>
                      <a:pt x="7" y="54"/>
                    </a:cubicBezTo>
                    <a:cubicBezTo>
                      <a:pt x="2" y="51"/>
                      <a:pt x="2" y="48"/>
                      <a:pt x="0" y="43"/>
                    </a:cubicBezTo>
                    <a:cubicBezTo>
                      <a:pt x="3" y="39"/>
                      <a:pt x="14" y="30"/>
                      <a:pt x="14" y="28"/>
                    </a:cubicBezTo>
                    <a:cubicBezTo>
                      <a:pt x="14" y="25"/>
                      <a:pt x="7" y="19"/>
                      <a:pt x="6" y="15"/>
                    </a:cubicBezTo>
                    <a:cubicBezTo>
                      <a:pt x="6" y="15"/>
                      <a:pt x="7" y="15"/>
                      <a:pt x="7" y="15"/>
                    </a:cubicBezTo>
                    <a:cubicBezTo>
                      <a:pt x="13" y="15"/>
                      <a:pt x="20" y="18"/>
                      <a:pt x="26" y="18"/>
                    </a:cubicBezTo>
                    <a:cubicBezTo>
                      <a:pt x="34" y="17"/>
                      <a:pt x="41" y="5"/>
                      <a:pt x="47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302" name="išḷïḓe"/>
              <p:cNvSpPr/>
              <p:nvPr/>
            </p:nvSpPr>
            <p:spPr bwMode="auto">
              <a:xfrm>
                <a:off x="2490684" y="4510678"/>
                <a:ext cx="144463" cy="160338"/>
              </a:xfrm>
              <a:custGeom>
                <a:avLst/>
                <a:gdLst>
                  <a:gd name="T0" fmla="*/ 55 w 78"/>
                  <a:gd name="T1" fmla="*/ 64 h 87"/>
                  <a:gd name="T2" fmla="*/ 62 w 78"/>
                  <a:gd name="T3" fmla="*/ 50 h 87"/>
                  <a:gd name="T4" fmla="*/ 54 w 78"/>
                  <a:gd name="T5" fmla="*/ 43 h 87"/>
                  <a:gd name="T6" fmla="*/ 69 w 78"/>
                  <a:gd name="T7" fmla="*/ 29 h 87"/>
                  <a:gd name="T8" fmla="*/ 67 w 78"/>
                  <a:gd name="T9" fmla="*/ 21 h 87"/>
                  <a:gd name="T10" fmla="*/ 70 w 78"/>
                  <a:gd name="T11" fmla="*/ 11 h 87"/>
                  <a:gd name="T12" fmla="*/ 69 w 78"/>
                  <a:gd name="T13" fmla="*/ 3 h 87"/>
                  <a:gd name="T14" fmla="*/ 64 w 78"/>
                  <a:gd name="T15" fmla="*/ 0 h 87"/>
                  <a:gd name="T16" fmla="*/ 63 w 78"/>
                  <a:gd name="T17" fmla="*/ 0 h 87"/>
                  <a:gd name="T18" fmla="*/ 63 w 78"/>
                  <a:gd name="T19" fmla="*/ 12 h 87"/>
                  <a:gd name="T20" fmla="*/ 42 w 78"/>
                  <a:gd name="T21" fmla="*/ 25 h 87"/>
                  <a:gd name="T22" fmla="*/ 42 w 78"/>
                  <a:gd name="T23" fmla="*/ 33 h 87"/>
                  <a:gd name="T24" fmla="*/ 33 w 78"/>
                  <a:gd name="T25" fmla="*/ 36 h 87"/>
                  <a:gd name="T26" fmla="*/ 39 w 78"/>
                  <a:gd name="T27" fmla="*/ 33 h 87"/>
                  <a:gd name="T28" fmla="*/ 39 w 78"/>
                  <a:gd name="T29" fmla="*/ 23 h 87"/>
                  <a:gd name="T30" fmla="*/ 36 w 78"/>
                  <a:gd name="T31" fmla="*/ 0 h 87"/>
                  <a:gd name="T32" fmla="*/ 36 w 78"/>
                  <a:gd name="T33" fmla="*/ 0 h 87"/>
                  <a:gd name="T34" fmla="*/ 36 w 78"/>
                  <a:gd name="T35" fmla="*/ 8 h 87"/>
                  <a:gd name="T36" fmla="*/ 30 w 78"/>
                  <a:gd name="T37" fmla="*/ 24 h 87"/>
                  <a:gd name="T38" fmla="*/ 1 w 78"/>
                  <a:gd name="T39" fmla="*/ 29 h 87"/>
                  <a:gd name="T40" fmla="*/ 0 w 78"/>
                  <a:gd name="T41" fmla="*/ 31 h 87"/>
                  <a:gd name="T42" fmla="*/ 18 w 78"/>
                  <a:gd name="T43" fmla="*/ 39 h 87"/>
                  <a:gd name="T44" fmla="*/ 25 w 78"/>
                  <a:gd name="T45" fmla="*/ 36 h 87"/>
                  <a:gd name="T46" fmla="*/ 25 w 78"/>
                  <a:gd name="T47" fmla="*/ 36 h 87"/>
                  <a:gd name="T48" fmla="*/ 3 w 78"/>
                  <a:gd name="T49" fmla="*/ 62 h 87"/>
                  <a:gd name="T50" fmla="*/ 5 w 78"/>
                  <a:gd name="T51" fmla="*/ 67 h 87"/>
                  <a:gd name="T52" fmla="*/ 12 w 78"/>
                  <a:gd name="T53" fmla="*/ 66 h 87"/>
                  <a:gd name="T54" fmla="*/ 22 w 78"/>
                  <a:gd name="T55" fmla="*/ 74 h 87"/>
                  <a:gd name="T56" fmla="*/ 25 w 78"/>
                  <a:gd name="T57" fmla="*/ 61 h 87"/>
                  <a:gd name="T58" fmla="*/ 30 w 78"/>
                  <a:gd name="T59" fmla="*/ 49 h 87"/>
                  <a:gd name="T60" fmla="*/ 48 w 78"/>
                  <a:gd name="T61" fmla="*/ 63 h 87"/>
                  <a:gd name="T62" fmla="*/ 24 w 78"/>
                  <a:gd name="T63" fmla="*/ 71 h 87"/>
                  <a:gd name="T64" fmla="*/ 48 w 78"/>
                  <a:gd name="T65" fmla="*/ 71 h 87"/>
                  <a:gd name="T66" fmla="*/ 51 w 78"/>
                  <a:gd name="T67" fmla="*/ 69 h 87"/>
                  <a:gd name="T68" fmla="*/ 77 w 78"/>
                  <a:gd name="T69" fmla="*/ 87 h 87"/>
                  <a:gd name="T70" fmla="*/ 78 w 78"/>
                  <a:gd name="T71" fmla="*/ 86 h 87"/>
                  <a:gd name="T72" fmla="*/ 55 w 78"/>
                  <a:gd name="T73" fmla="*/ 64 h 87"/>
                  <a:gd name="T74" fmla="*/ 15 w 78"/>
                  <a:gd name="T75" fmla="*/ 64 h 87"/>
                  <a:gd name="T76" fmla="*/ 15 w 78"/>
                  <a:gd name="T77" fmla="*/ 65 h 87"/>
                  <a:gd name="T78" fmla="*/ 11 w 78"/>
                  <a:gd name="T79" fmla="*/ 63 h 87"/>
                  <a:gd name="T80" fmla="*/ 12 w 78"/>
                  <a:gd name="T81" fmla="*/ 60 h 87"/>
                  <a:gd name="T82" fmla="*/ 15 w 78"/>
                  <a:gd name="T83" fmla="*/ 57 h 87"/>
                  <a:gd name="T84" fmla="*/ 17 w 78"/>
                  <a:gd name="T85" fmla="*/ 58 h 87"/>
                  <a:gd name="T86" fmla="*/ 15 w 78"/>
                  <a:gd name="T87" fmla="*/ 64 h 87"/>
                  <a:gd name="T88" fmla="*/ 32 w 78"/>
                  <a:gd name="T89" fmla="*/ 46 h 87"/>
                  <a:gd name="T90" fmla="*/ 44 w 78"/>
                  <a:gd name="T91" fmla="*/ 34 h 87"/>
                  <a:gd name="T92" fmla="*/ 52 w 78"/>
                  <a:gd name="T93" fmla="*/ 35 h 87"/>
                  <a:gd name="T94" fmla="*/ 46 w 78"/>
                  <a:gd name="T95" fmla="*/ 50 h 87"/>
                  <a:gd name="T96" fmla="*/ 48 w 78"/>
                  <a:gd name="T97" fmla="*/ 52 h 87"/>
                  <a:gd name="T98" fmla="*/ 56 w 78"/>
                  <a:gd name="T99" fmla="*/ 50 h 87"/>
                  <a:gd name="T100" fmla="*/ 52 w 78"/>
                  <a:gd name="T101" fmla="*/ 61 h 87"/>
                  <a:gd name="T102" fmla="*/ 32 w 78"/>
                  <a:gd name="T103" fmla="*/ 46 h 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78" h="87">
                    <a:moveTo>
                      <a:pt x="55" y="64"/>
                    </a:moveTo>
                    <a:cubicBezTo>
                      <a:pt x="58" y="60"/>
                      <a:pt x="60" y="55"/>
                      <a:pt x="62" y="50"/>
                    </a:cubicBezTo>
                    <a:cubicBezTo>
                      <a:pt x="61" y="47"/>
                      <a:pt x="58" y="44"/>
                      <a:pt x="54" y="43"/>
                    </a:cubicBezTo>
                    <a:cubicBezTo>
                      <a:pt x="57" y="36"/>
                      <a:pt x="64" y="33"/>
                      <a:pt x="69" y="29"/>
                    </a:cubicBezTo>
                    <a:cubicBezTo>
                      <a:pt x="69" y="25"/>
                      <a:pt x="67" y="24"/>
                      <a:pt x="67" y="21"/>
                    </a:cubicBezTo>
                    <a:cubicBezTo>
                      <a:pt x="68" y="18"/>
                      <a:pt x="69" y="15"/>
                      <a:pt x="70" y="11"/>
                    </a:cubicBezTo>
                    <a:cubicBezTo>
                      <a:pt x="70" y="9"/>
                      <a:pt x="69" y="6"/>
                      <a:pt x="69" y="3"/>
                    </a:cubicBezTo>
                    <a:cubicBezTo>
                      <a:pt x="68" y="2"/>
                      <a:pt x="67" y="1"/>
                      <a:pt x="64" y="0"/>
                    </a:cubicBezTo>
                    <a:cubicBezTo>
                      <a:pt x="64" y="0"/>
                      <a:pt x="63" y="0"/>
                      <a:pt x="63" y="0"/>
                    </a:cubicBezTo>
                    <a:cubicBezTo>
                      <a:pt x="61" y="5"/>
                      <a:pt x="63" y="8"/>
                      <a:pt x="63" y="12"/>
                    </a:cubicBezTo>
                    <a:cubicBezTo>
                      <a:pt x="63" y="24"/>
                      <a:pt x="52" y="26"/>
                      <a:pt x="42" y="25"/>
                    </a:cubicBezTo>
                    <a:cubicBezTo>
                      <a:pt x="41" y="28"/>
                      <a:pt x="41" y="31"/>
                      <a:pt x="42" y="33"/>
                    </a:cubicBezTo>
                    <a:cubicBezTo>
                      <a:pt x="39" y="34"/>
                      <a:pt x="36" y="35"/>
                      <a:pt x="33" y="36"/>
                    </a:cubicBezTo>
                    <a:cubicBezTo>
                      <a:pt x="34" y="32"/>
                      <a:pt x="36" y="32"/>
                      <a:pt x="39" y="33"/>
                    </a:cubicBezTo>
                    <a:cubicBezTo>
                      <a:pt x="41" y="29"/>
                      <a:pt x="38" y="27"/>
                      <a:pt x="39" y="23"/>
                    </a:cubicBezTo>
                    <a:cubicBezTo>
                      <a:pt x="39" y="14"/>
                      <a:pt x="53" y="6"/>
                      <a:pt x="36" y="0"/>
                    </a:cubicBezTo>
                    <a:cubicBezTo>
                      <a:pt x="36" y="0"/>
                      <a:pt x="36" y="0"/>
                      <a:pt x="36" y="0"/>
                    </a:cubicBezTo>
                    <a:cubicBezTo>
                      <a:pt x="35" y="3"/>
                      <a:pt x="36" y="5"/>
                      <a:pt x="36" y="8"/>
                    </a:cubicBezTo>
                    <a:cubicBezTo>
                      <a:pt x="34" y="14"/>
                      <a:pt x="32" y="19"/>
                      <a:pt x="30" y="24"/>
                    </a:cubicBezTo>
                    <a:cubicBezTo>
                      <a:pt x="22" y="26"/>
                      <a:pt x="9" y="26"/>
                      <a:pt x="1" y="29"/>
                    </a:cubicBezTo>
                    <a:cubicBezTo>
                      <a:pt x="1" y="30"/>
                      <a:pt x="1" y="30"/>
                      <a:pt x="0" y="31"/>
                    </a:cubicBezTo>
                    <a:cubicBezTo>
                      <a:pt x="1" y="35"/>
                      <a:pt x="12" y="39"/>
                      <a:pt x="18" y="39"/>
                    </a:cubicBezTo>
                    <a:cubicBezTo>
                      <a:pt x="20" y="38"/>
                      <a:pt x="22" y="37"/>
                      <a:pt x="25" y="36"/>
                    </a:cubicBezTo>
                    <a:cubicBezTo>
                      <a:pt x="25" y="36"/>
                      <a:pt x="25" y="36"/>
                      <a:pt x="25" y="36"/>
                    </a:cubicBezTo>
                    <a:cubicBezTo>
                      <a:pt x="21" y="52"/>
                      <a:pt x="9" y="50"/>
                      <a:pt x="3" y="62"/>
                    </a:cubicBezTo>
                    <a:cubicBezTo>
                      <a:pt x="4" y="63"/>
                      <a:pt x="4" y="65"/>
                      <a:pt x="5" y="67"/>
                    </a:cubicBezTo>
                    <a:cubicBezTo>
                      <a:pt x="7" y="67"/>
                      <a:pt x="10" y="67"/>
                      <a:pt x="12" y="66"/>
                    </a:cubicBezTo>
                    <a:cubicBezTo>
                      <a:pt x="17" y="68"/>
                      <a:pt x="17" y="72"/>
                      <a:pt x="22" y="74"/>
                    </a:cubicBezTo>
                    <a:cubicBezTo>
                      <a:pt x="25" y="71"/>
                      <a:pt x="24" y="66"/>
                      <a:pt x="25" y="61"/>
                    </a:cubicBezTo>
                    <a:cubicBezTo>
                      <a:pt x="25" y="56"/>
                      <a:pt x="28" y="52"/>
                      <a:pt x="30" y="49"/>
                    </a:cubicBezTo>
                    <a:cubicBezTo>
                      <a:pt x="40" y="53"/>
                      <a:pt x="42" y="58"/>
                      <a:pt x="48" y="63"/>
                    </a:cubicBezTo>
                    <a:cubicBezTo>
                      <a:pt x="44" y="74"/>
                      <a:pt x="29" y="63"/>
                      <a:pt x="24" y="71"/>
                    </a:cubicBezTo>
                    <a:cubicBezTo>
                      <a:pt x="39" y="78"/>
                      <a:pt x="36" y="74"/>
                      <a:pt x="48" y="71"/>
                    </a:cubicBezTo>
                    <a:cubicBezTo>
                      <a:pt x="49" y="70"/>
                      <a:pt x="50" y="70"/>
                      <a:pt x="51" y="69"/>
                    </a:cubicBezTo>
                    <a:cubicBezTo>
                      <a:pt x="58" y="79"/>
                      <a:pt x="58" y="87"/>
                      <a:pt x="77" y="87"/>
                    </a:cubicBezTo>
                    <a:cubicBezTo>
                      <a:pt x="77" y="87"/>
                      <a:pt x="78" y="86"/>
                      <a:pt x="78" y="86"/>
                    </a:cubicBezTo>
                    <a:cubicBezTo>
                      <a:pt x="74" y="76"/>
                      <a:pt x="60" y="73"/>
                      <a:pt x="55" y="64"/>
                    </a:cubicBezTo>
                    <a:close/>
                    <a:moveTo>
                      <a:pt x="15" y="64"/>
                    </a:moveTo>
                    <a:cubicBezTo>
                      <a:pt x="15" y="65"/>
                      <a:pt x="15" y="65"/>
                      <a:pt x="15" y="65"/>
                    </a:cubicBezTo>
                    <a:cubicBezTo>
                      <a:pt x="14" y="64"/>
                      <a:pt x="13" y="64"/>
                      <a:pt x="11" y="63"/>
                    </a:cubicBezTo>
                    <a:cubicBezTo>
                      <a:pt x="11" y="62"/>
                      <a:pt x="12" y="61"/>
                      <a:pt x="12" y="60"/>
                    </a:cubicBezTo>
                    <a:cubicBezTo>
                      <a:pt x="13" y="59"/>
                      <a:pt x="14" y="58"/>
                      <a:pt x="15" y="57"/>
                    </a:cubicBezTo>
                    <a:cubicBezTo>
                      <a:pt x="16" y="57"/>
                      <a:pt x="16" y="58"/>
                      <a:pt x="17" y="58"/>
                    </a:cubicBezTo>
                    <a:cubicBezTo>
                      <a:pt x="16" y="60"/>
                      <a:pt x="16" y="62"/>
                      <a:pt x="15" y="64"/>
                    </a:cubicBezTo>
                    <a:close/>
                    <a:moveTo>
                      <a:pt x="32" y="46"/>
                    </a:moveTo>
                    <a:cubicBezTo>
                      <a:pt x="35" y="43"/>
                      <a:pt x="44" y="37"/>
                      <a:pt x="44" y="34"/>
                    </a:cubicBezTo>
                    <a:cubicBezTo>
                      <a:pt x="47" y="34"/>
                      <a:pt x="49" y="35"/>
                      <a:pt x="52" y="35"/>
                    </a:cubicBezTo>
                    <a:cubicBezTo>
                      <a:pt x="50" y="40"/>
                      <a:pt x="45" y="44"/>
                      <a:pt x="46" y="50"/>
                    </a:cubicBezTo>
                    <a:cubicBezTo>
                      <a:pt x="46" y="51"/>
                      <a:pt x="47" y="51"/>
                      <a:pt x="48" y="52"/>
                    </a:cubicBezTo>
                    <a:cubicBezTo>
                      <a:pt x="50" y="51"/>
                      <a:pt x="53" y="49"/>
                      <a:pt x="56" y="50"/>
                    </a:cubicBezTo>
                    <a:cubicBezTo>
                      <a:pt x="55" y="54"/>
                      <a:pt x="53" y="57"/>
                      <a:pt x="52" y="61"/>
                    </a:cubicBezTo>
                    <a:cubicBezTo>
                      <a:pt x="45" y="56"/>
                      <a:pt x="44" y="49"/>
                      <a:pt x="32" y="4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303" name="ï$ľíḍe"/>
              <p:cNvSpPr/>
              <p:nvPr/>
            </p:nvSpPr>
            <p:spPr bwMode="auto">
              <a:xfrm>
                <a:off x="2255734" y="4491628"/>
                <a:ext cx="136525" cy="174625"/>
              </a:xfrm>
              <a:custGeom>
                <a:avLst/>
                <a:gdLst>
                  <a:gd name="T0" fmla="*/ 74 w 74"/>
                  <a:gd name="T1" fmla="*/ 41 h 94"/>
                  <a:gd name="T2" fmla="*/ 64 w 74"/>
                  <a:gd name="T3" fmla="*/ 35 h 94"/>
                  <a:gd name="T4" fmla="*/ 51 w 74"/>
                  <a:gd name="T5" fmla="*/ 5 h 94"/>
                  <a:gd name="T6" fmla="*/ 58 w 74"/>
                  <a:gd name="T7" fmla="*/ 39 h 94"/>
                  <a:gd name="T8" fmla="*/ 47 w 74"/>
                  <a:gd name="T9" fmla="*/ 47 h 94"/>
                  <a:gd name="T10" fmla="*/ 55 w 74"/>
                  <a:gd name="T11" fmla="*/ 34 h 94"/>
                  <a:gd name="T12" fmla="*/ 47 w 74"/>
                  <a:gd name="T13" fmla="*/ 29 h 94"/>
                  <a:gd name="T14" fmla="*/ 54 w 74"/>
                  <a:gd name="T15" fmla="*/ 22 h 94"/>
                  <a:gd name="T16" fmla="*/ 54 w 74"/>
                  <a:gd name="T17" fmla="*/ 20 h 94"/>
                  <a:gd name="T18" fmla="*/ 54 w 74"/>
                  <a:gd name="T19" fmla="*/ 19 h 94"/>
                  <a:gd name="T20" fmla="*/ 41 w 74"/>
                  <a:gd name="T21" fmla="*/ 19 h 94"/>
                  <a:gd name="T22" fmla="*/ 44 w 74"/>
                  <a:gd name="T23" fmla="*/ 22 h 94"/>
                  <a:gd name="T24" fmla="*/ 44 w 74"/>
                  <a:gd name="T25" fmla="*/ 32 h 94"/>
                  <a:gd name="T26" fmla="*/ 48 w 74"/>
                  <a:gd name="T27" fmla="*/ 37 h 94"/>
                  <a:gd name="T28" fmla="*/ 40 w 74"/>
                  <a:gd name="T29" fmla="*/ 58 h 94"/>
                  <a:gd name="T30" fmla="*/ 44 w 74"/>
                  <a:gd name="T31" fmla="*/ 61 h 94"/>
                  <a:gd name="T32" fmla="*/ 59 w 74"/>
                  <a:gd name="T33" fmla="*/ 46 h 94"/>
                  <a:gd name="T34" fmla="*/ 59 w 74"/>
                  <a:gd name="T35" fmla="*/ 46 h 94"/>
                  <a:gd name="T36" fmla="*/ 66 w 74"/>
                  <a:gd name="T37" fmla="*/ 93 h 94"/>
                  <a:gd name="T38" fmla="*/ 68 w 74"/>
                  <a:gd name="T39" fmla="*/ 93 h 94"/>
                  <a:gd name="T40" fmla="*/ 65 w 74"/>
                  <a:gd name="T41" fmla="*/ 42 h 94"/>
                  <a:gd name="T42" fmla="*/ 73 w 74"/>
                  <a:gd name="T43" fmla="*/ 41 h 94"/>
                  <a:gd name="T44" fmla="*/ 74 w 74"/>
                  <a:gd name="T45" fmla="*/ 41 h 94"/>
                  <a:gd name="T46" fmla="*/ 43 w 74"/>
                  <a:gd name="T47" fmla="*/ 42 h 94"/>
                  <a:gd name="T48" fmla="*/ 35 w 74"/>
                  <a:gd name="T49" fmla="*/ 48 h 94"/>
                  <a:gd name="T50" fmla="*/ 39 w 74"/>
                  <a:gd name="T51" fmla="*/ 38 h 94"/>
                  <a:gd name="T52" fmla="*/ 37 w 74"/>
                  <a:gd name="T53" fmla="*/ 29 h 94"/>
                  <a:gd name="T54" fmla="*/ 40 w 74"/>
                  <a:gd name="T55" fmla="*/ 27 h 94"/>
                  <a:gd name="T56" fmla="*/ 34 w 74"/>
                  <a:gd name="T57" fmla="*/ 16 h 94"/>
                  <a:gd name="T58" fmla="*/ 32 w 74"/>
                  <a:gd name="T59" fmla="*/ 15 h 94"/>
                  <a:gd name="T60" fmla="*/ 4 w 74"/>
                  <a:gd name="T61" fmla="*/ 46 h 94"/>
                  <a:gd name="T62" fmla="*/ 30 w 74"/>
                  <a:gd name="T63" fmla="*/ 29 h 94"/>
                  <a:gd name="T64" fmla="*/ 8 w 74"/>
                  <a:gd name="T65" fmla="*/ 52 h 94"/>
                  <a:gd name="T66" fmla="*/ 0 w 74"/>
                  <a:gd name="T67" fmla="*/ 56 h 94"/>
                  <a:gd name="T68" fmla="*/ 3 w 74"/>
                  <a:gd name="T69" fmla="*/ 61 h 94"/>
                  <a:gd name="T70" fmla="*/ 23 w 74"/>
                  <a:gd name="T71" fmla="*/ 54 h 94"/>
                  <a:gd name="T72" fmla="*/ 25 w 74"/>
                  <a:gd name="T73" fmla="*/ 53 h 94"/>
                  <a:gd name="T74" fmla="*/ 25 w 74"/>
                  <a:gd name="T75" fmla="*/ 53 h 94"/>
                  <a:gd name="T76" fmla="*/ 20 w 74"/>
                  <a:gd name="T77" fmla="*/ 72 h 94"/>
                  <a:gd name="T78" fmla="*/ 25 w 74"/>
                  <a:gd name="T79" fmla="*/ 76 h 94"/>
                  <a:gd name="T80" fmla="*/ 26 w 74"/>
                  <a:gd name="T81" fmla="*/ 76 h 94"/>
                  <a:gd name="T82" fmla="*/ 30 w 74"/>
                  <a:gd name="T83" fmla="*/ 67 h 94"/>
                  <a:gd name="T84" fmla="*/ 31 w 74"/>
                  <a:gd name="T85" fmla="*/ 66 h 94"/>
                  <a:gd name="T86" fmla="*/ 32 w 74"/>
                  <a:gd name="T87" fmla="*/ 75 h 94"/>
                  <a:gd name="T88" fmla="*/ 35 w 74"/>
                  <a:gd name="T89" fmla="*/ 76 h 94"/>
                  <a:gd name="T90" fmla="*/ 38 w 74"/>
                  <a:gd name="T91" fmla="*/ 76 h 94"/>
                  <a:gd name="T92" fmla="*/ 35 w 74"/>
                  <a:gd name="T93" fmla="*/ 61 h 94"/>
                  <a:gd name="T94" fmla="*/ 43 w 74"/>
                  <a:gd name="T95" fmla="*/ 42 h 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74" h="94">
                    <a:moveTo>
                      <a:pt x="74" y="41"/>
                    </a:moveTo>
                    <a:cubicBezTo>
                      <a:pt x="73" y="36"/>
                      <a:pt x="70" y="34"/>
                      <a:pt x="64" y="35"/>
                    </a:cubicBezTo>
                    <a:cubicBezTo>
                      <a:pt x="63" y="24"/>
                      <a:pt x="67" y="0"/>
                      <a:pt x="51" y="5"/>
                    </a:cubicBezTo>
                    <a:cubicBezTo>
                      <a:pt x="50" y="9"/>
                      <a:pt x="61" y="31"/>
                      <a:pt x="58" y="39"/>
                    </a:cubicBezTo>
                    <a:cubicBezTo>
                      <a:pt x="58" y="39"/>
                      <a:pt x="47" y="47"/>
                      <a:pt x="47" y="47"/>
                    </a:cubicBezTo>
                    <a:cubicBezTo>
                      <a:pt x="48" y="41"/>
                      <a:pt x="53" y="39"/>
                      <a:pt x="55" y="34"/>
                    </a:cubicBezTo>
                    <a:cubicBezTo>
                      <a:pt x="56" y="30"/>
                      <a:pt x="49" y="31"/>
                      <a:pt x="47" y="29"/>
                    </a:cubicBezTo>
                    <a:cubicBezTo>
                      <a:pt x="48" y="26"/>
                      <a:pt x="51" y="23"/>
                      <a:pt x="54" y="22"/>
                    </a:cubicBezTo>
                    <a:cubicBezTo>
                      <a:pt x="54" y="21"/>
                      <a:pt x="54" y="21"/>
                      <a:pt x="54" y="20"/>
                    </a:cubicBezTo>
                    <a:cubicBezTo>
                      <a:pt x="54" y="20"/>
                      <a:pt x="54" y="19"/>
                      <a:pt x="54" y="19"/>
                    </a:cubicBezTo>
                    <a:cubicBezTo>
                      <a:pt x="50" y="17"/>
                      <a:pt x="45" y="17"/>
                      <a:pt x="41" y="19"/>
                    </a:cubicBezTo>
                    <a:cubicBezTo>
                      <a:pt x="41" y="22"/>
                      <a:pt x="42" y="22"/>
                      <a:pt x="44" y="22"/>
                    </a:cubicBezTo>
                    <a:cubicBezTo>
                      <a:pt x="44" y="26"/>
                      <a:pt x="44" y="29"/>
                      <a:pt x="44" y="32"/>
                    </a:cubicBezTo>
                    <a:cubicBezTo>
                      <a:pt x="45" y="34"/>
                      <a:pt x="47" y="35"/>
                      <a:pt x="48" y="37"/>
                    </a:cubicBezTo>
                    <a:cubicBezTo>
                      <a:pt x="46" y="41"/>
                      <a:pt x="35" y="51"/>
                      <a:pt x="40" y="58"/>
                    </a:cubicBezTo>
                    <a:cubicBezTo>
                      <a:pt x="41" y="60"/>
                      <a:pt x="42" y="60"/>
                      <a:pt x="44" y="61"/>
                    </a:cubicBezTo>
                    <a:cubicBezTo>
                      <a:pt x="49" y="55"/>
                      <a:pt x="51" y="50"/>
                      <a:pt x="59" y="46"/>
                    </a:cubicBezTo>
                    <a:cubicBezTo>
                      <a:pt x="59" y="46"/>
                      <a:pt x="59" y="46"/>
                      <a:pt x="59" y="46"/>
                    </a:cubicBezTo>
                    <a:cubicBezTo>
                      <a:pt x="61" y="60"/>
                      <a:pt x="59" y="83"/>
                      <a:pt x="66" y="93"/>
                    </a:cubicBezTo>
                    <a:cubicBezTo>
                      <a:pt x="67" y="94"/>
                      <a:pt x="67" y="93"/>
                      <a:pt x="68" y="93"/>
                    </a:cubicBezTo>
                    <a:cubicBezTo>
                      <a:pt x="68" y="78"/>
                      <a:pt x="67" y="60"/>
                      <a:pt x="65" y="42"/>
                    </a:cubicBezTo>
                    <a:cubicBezTo>
                      <a:pt x="68" y="42"/>
                      <a:pt x="72" y="42"/>
                      <a:pt x="73" y="41"/>
                    </a:cubicBezTo>
                    <a:cubicBezTo>
                      <a:pt x="74" y="41"/>
                      <a:pt x="74" y="41"/>
                      <a:pt x="74" y="41"/>
                    </a:cubicBezTo>
                    <a:close/>
                    <a:moveTo>
                      <a:pt x="43" y="42"/>
                    </a:moveTo>
                    <a:cubicBezTo>
                      <a:pt x="39" y="44"/>
                      <a:pt x="38" y="46"/>
                      <a:pt x="35" y="48"/>
                    </a:cubicBezTo>
                    <a:cubicBezTo>
                      <a:pt x="35" y="42"/>
                      <a:pt x="39" y="42"/>
                      <a:pt x="39" y="38"/>
                    </a:cubicBezTo>
                    <a:cubicBezTo>
                      <a:pt x="40" y="35"/>
                      <a:pt x="37" y="33"/>
                      <a:pt x="37" y="29"/>
                    </a:cubicBezTo>
                    <a:cubicBezTo>
                      <a:pt x="38" y="28"/>
                      <a:pt x="39" y="28"/>
                      <a:pt x="40" y="27"/>
                    </a:cubicBezTo>
                    <a:cubicBezTo>
                      <a:pt x="41" y="24"/>
                      <a:pt x="36" y="16"/>
                      <a:pt x="34" y="16"/>
                    </a:cubicBezTo>
                    <a:cubicBezTo>
                      <a:pt x="33" y="16"/>
                      <a:pt x="32" y="15"/>
                      <a:pt x="32" y="15"/>
                    </a:cubicBezTo>
                    <a:cubicBezTo>
                      <a:pt x="22" y="28"/>
                      <a:pt x="10" y="30"/>
                      <a:pt x="4" y="46"/>
                    </a:cubicBezTo>
                    <a:cubicBezTo>
                      <a:pt x="13" y="41"/>
                      <a:pt x="17" y="31"/>
                      <a:pt x="30" y="29"/>
                    </a:cubicBezTo>
                    <a:cubicBezTo>
                      <a:pt x="29" y="39"/>
                      <a:pt x="16" y="48"/>
                      <a:pt x="8" y="52"/>
                    </a:cubicBezTo>
                    <a:cubicBezTo>
                      <a:pt x="4" y="54"/>
                      <a:pt x="2" y="52"/>
                      <a:pt x="0" y="56"/>
                    </a:cubicBezTo>
                    <a:cubicBezTo>
                      <a:pt x="0" y="59"/>
                      <a:pt x="1" y="60"/>
                      <a:pt x="3" y="61"/>
                    </a:cubicBezTo>
                    <a:cubicBezTo>
                      <a:pt x="10" y="63"/>
                      <a:pt x="22" y="58"/>
                      <a:pt x="23" y="54"/>
                    </a:cubicBezTo>
                    <a:cubicBezTo>
                      <a:pt x="24" y="54"/>
                      <a:pt x="24" y="53"/>
                      <a:pt x="25" y="53"/>
                    </a:cubicBezTo>
                    <a:cubicBezTo>
                      <a:pt x="25" y="53"/>
                      <a:pt x="25" y="53"/>
                      <a:pt x="25" y="53"/>
                    </a:cubicBezTo>
                    <a:cubicBezTo>
                      <a:pt x="23" y="59"/>
                      <a:pt x="22" y="66"/>
                      <a:pt x="20" y="72"/>
                    </a:cubicBezTo>
                    <a:cubicBezTo>
                      <a:pt x="21" y="74"/>
                      <a:pt x="23" y="75"/>
                      <a:pt x="25" y="76"/>
                    </a:cubicBezTo>
                    <a:cubicBezTo>
                      <a:pt x="25" y="76"/>
                      <a:pt x="26" y="76"/>
                      <a:pt x="26" y="76"/>
                    </a:cubicBezTo>
                    <a:cubicBezTo>
                      <a:pt x="28" y="73"/>
                      <a:pt x="29" y="70"/>
                      <a:pt x="30" y="67"/>
                    </a:cubicBezTo>
                    <a:cubicBezTo>
                      <a:pt x="31" y="67"/>
                      <a:pt x="31" y="67"/>
                      <a:pt x="31" y="66"/>
                    </a:cubicBezTo>
                    <a:cubicBezTo>
                      <a:pt x="32" y="69"/>
                      <a:pt x="32" y="72"/>
                      <a:pt x="32" y="75"/>
                    </a:cubicBezTo>
                    <a:cubicBezTo>
                      <a:pt x="33" y="75"/>
                      <a:pt x="34" y="76"/>
                      <a:pt x="35" y="76"/>
                    </a:cubicBezTo>
                    <a:cubicBezTo>
                      <a:pt x="36" y="76"/>
                      <a:pt x="37" y="76"/>
                      <a:pt x="38" y="76"/>
                    </a:cubicBezTo>
                    <a:cubicBezTo>
                      <a:pt x="37" y="71"/>
                      <a:pt x="36" y="66"/>
                      <a:pt x="35" y="61"/>
                    </a:cubicBezTo>
                    <a:cubicBezTo>
                      <a:pt x="38" y="54"/>
                      <a:pt x="40" y="48"/>
                      <a:pt x="43" y="4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304" name="î$ḻîḑe"/>
              <p:cNvSpPr/>
              <p:nvPr/>
            </p:nvSpPr>
            <p:spPr bwMode="auto">
              <a:xfrm>
                <a:off x="2055709" y="4566240"/>
                <a:ext cx="136525" cy="150813"/>
              </a:xfrm>
              <a:custGeom>
                <a:avLst/>
                <a:gdLst>
                  <a:gd name="T0" fmla="*/ 55 w 74"/>
                  <a:gd name="T1" fmla="*/ 53 h 82"/>
                  <a:gd name="T2" fmla="*/ 54 w 74"/>
                  <a:gd name="T3" fmla="*/ 51 h 82"/>
                  <a:gd name="T4" fmla="*/ 57 w 74"/>
                  <a:gd name="T5" fmla="*/ 49 h 82"/>
                  <a:gd name="T6" fmla="*/ 56 w 74"/>
                  <a:gd name="T7" fmla="*/ 45 h 82"/>
                  <a:gd name="T8" fmla="*/ 52 w 74"/>
                  <a:gd name="T9" fmla="*/ 45 h 82"/>
                  <a:gd name="T10" fmla="*/ 51 w 74"/>
                  <a:gd name="T11" fmla="*/ 44 h 82"/>
                  <a:gd name="T12" fmla="*/ 60 w 74"/>
                  <a:gd name="T13" fmla="*/ 32 h 82"/>
                  <a:gd name="T14" fmla="*/ 60 w 74"/>
                  <a:gd name="T15" fmla="*/ 30 h 82"/>
                  <a:gd name="T16" fmla="*/ 34 w 74"/>
                  <a:gd name="T17" fmla="*/ 38 h 82"/>
                  <a:gd name="T18" fmla="*/ 33 w 74"/>
                  <a:gd name="T19" fmla="*/ 38 h 82"/>
                  <a:gd name="T20" fmla="*/ 60 w 74"/>
                  <a:gd name="T21" fmla="*/ 16 h 82"/>
                  <a:gd name="T22" fmla="*/ 61 w 74"/>
                  <a:gd name="T23" fmla="*/ 10 h 82"/>
                  <a:gd name="T24" fmla="*/ 42 w 74"/>
                  <a:gd name="T25" fmla="*/ 11 h 82"/>
                  <a:gd name="T26" fmla="*/ 27 w 74"/>
                  <a:gd name="T27" fmla="*/ 0 h 82"/>
                  <a:gd name="T28" fmla="*/ 24 w 74"/>
                  <a:gd name="T29" fmla="*/ 0 h 82"/>
                  <a:gd name="T30" fmla="*/ 29 w 74"/>
                  <a:gd name="T31" fmla="*/ 21 h 82"/>
                  <a:gd name="T32" fmla="*/ 11 w 74"/>
                  <a:gd name="T33" fmla="*/ 39 h 82"/>
                  <a:gd name="T34" fmla="*/ 1 w 74"/>
                  <a:gd name="T35" fmla="*/ 44 h 82"/>
                  <a:gd name="T36" fmla="*/ 0 w 74"/>
                  <a:gd name="T37" fmla="*/ 47 h 82"/>
                  <a:gd name="T38" fmla="*/ 35 w 74"/>
                  <a:gd name="T39" fmla="*/ 26 h 82"/>
                  <a:gd name="T40" fmla="*/ 35 w 74"/>
                  <a:gd name="T41" fmla="*/ 26 h 82"/>
                  <a:gd name="T42" fmla="*/ 30 w 74"/>
                  <a:gd name="T43" fmla="*/ 48 h 82"/>
                  <a:gd name="T44" fmla="*/ 40 w 74"/>
                  <a:gd name="T45" fmla="*/ 57 h 82"/>
                  <a:gd name="T46" fmla="*/ 35 w 74"/>
                  <a:gd name="T47" fmla="*/ 78 h 82"/>
                  <a:gd name="T48" fmla="*/ 45 w 74"/>
                  <a:gd name="T49" fmla="*/ 82 h 82"/>
                  <a:gd name="T50" fmla="*/ 47 w 74"/>
                  <a:gd name="T51" fmla="*/ 80 h 82"/>
                  <a:gd name="T52" fmla="*/ 46 w 74"/>
                  <a:gd name="T53" fmla="*/ 67 h 82"/>
                  <a:gd name="T54" fmla="*/ 47 w 74"/>
                  <a:gd name="T55" fmla="*/ 66 h 82"/>
                  <a:gd name="T56" fmla="*/ 50 w 74"/>
                  <a:gd name="T57" fmla="*/ 73 h 82"/>
                  <a:gd name="T58" fmla="*/ 58 w 74"/>
                  <a:gd name="T59" fmla="*/ 79 h 82"/>
                  <a:gd name="T60" fmla="*/ 59 w 74"/>
                  <a:gd name="T61" fmla="*/ 79 h 82"/>
                  <a:gd name="T62" fmla="*/ 53 w 74"/>
                  <a:gd name="T63" fmla="*/ 57 h 82"/>
                  <a:gd name="T64" fmla="*/ 56 w 74"/>
                  <a:gd name="T65" fmla="*/ 55 h 82"/>
                  <a:gd name="T66" fmla="*/ 56 w 74"/>
                  <a:gd name="T67" fmla="*/ 55 h 82"/>
                  <a:gd name="T68" fmla="*/ 69 w 74"/>
                  <a:gd name="T69" fmla="*/ 69 h 82"/>
                  <a:gd name="T70" fmla="*/ 74 w 74"/>
                  <a:gd name="T71" fmla="*/ 64 h 82"/>
                  <a:gd name="T72" fmla="*/ 55 w 74"/>
                  <a:gd name="T73" fmla="*/ 53 h 82"/>
                  <a:gd name="T74" fmla="*/ 40 w 74"/>
                  <a:gd name="T75" fmla="*/ 46 h 82"/>
                  <a:gd name="T76" fmla="*/ 39 w 74"/>
                  <a:gd name="T77" fmla="*/ 46 h 82"/>
                  <a:gd name="T78" fmla="*/ 38 w 74"/>
                  <a:gd name="T79" fmla="*/ 46 h 82"/>
                  <a:gd name="T80" fmla="*/ 37 w 74"/>
                  <a:gd name="T81" fmla="*/ 44 h 82"/>
                  <a:gd name="T82" fmla="*/ 44 w 74"/>
                  <a:gd name="T83" fmla="*/ 36 h 82"/>
                  <a:gd name="T84" fmla="*/ 46 w 74"/>
                  <a:gd name="T85" fmla="*/ 35 h 82"/>
                  <a:gd name="T86" fmla="*/ 46 w 74"/>
                  <a:gd name="T87" fmla="*/ 35 h 82"/>
                  <a:gd name="T88" fmla="*/ 40 w 74"/>
                  <a:gd name="T89" fmla="*/ 46 h 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74" h="82">
                    <a:moveTo>
                      <a:pt x="55" y="53"/>
                    </a:moveTo>
                    <a:cubicBezTo>
                      <a:pt x="55" y="53"/>
                      <a:pt x="54" y="52"/>
                      <a:pt x="54" y="51"/>
                    </a:cubicBezTo>
                    <a:cubicBezTo>
                      <a:pt x="55" y="51"/>
                      <a:pt x="56" y="50"/>
                      <a:pt x="57" y="49"/>
                    </a:cubicBezTo>
                    <a:cubicBezTo>
                      <a:pt x="57" y="48"/>
                      <a:pt x="56" y="47"/>
                      <a:pt x="56" y="45"/>
                    </a:cubicBezTo>
                    <a:cubicBezTo>
                      <a:pt x="54" y="45"/>
                      <a:pt x="53" y="45"/>
                      <a:pt x="52" y="45"/>
                    </a:cubicBezTo>
                    <a:cubicBezTo>
                      <a:pt x="51" y="45"/>
                      <a:pt x="51" y="44"/>
                      <a:pt x="51" y="44"/>
                    </a:cubicBezTo>
                    <a:cubicBezTo>
                      <a:pt x="53" y="40"/>
                      <a:pt x="59" y="36"/>
                      <a:pt x="60" y="32"/>
                    </a:cubicBezTo>
                    <a:cubicBezTo>
                      <a:pt x="60" y="31"/>
                      <a:pt x="60" y="31"/>
                      <a:pt x="60" y="30"/>
                    </a:cubicBezTo>
                    <a:cubicBezTo>
                      <a:pt x="50" y="21"/>
                      <a:pt x="41" y="31"/>
                      <a:pt x="34" y="38"/>
                    </a:cubicBezTo>
                    <a:cubicBezTo>
                      <a:pt x="33" y="38"/>
                      <a:pt x="33" y="38"/>
                      <a:pt x="33" y="38"/>
                    </a:cubicBezTo>
                    <a:cubicBezTo>
                      <a:pt x="34" y="30"/>
                      <a:pt x="48" y="16"/>
                      <a:pt x="60" y="16"/>
                    </a:cubicBezTo>
                    <a:cubicBezTo>
                      <a:pt x="61" y="14"/>
                      <a:pt x="61" y="12"/>
                      <a:pt x="61" y="10"/>
                    </a:cubicBezTo>
                    <a:cubicBezTo>
                      <a:pt x="50" y="3"/>
                      <a:pt x="52" y="11"/>
                      <a:pt x="42" y="11"/>
                    </a:cubicBezTo>
                    <a:cubicBezTo>
                      <a:pt x="38" y="10"/>
                      <a:pt x="32" y="1"/>
                      <a:pt x="27" y="0"/>
                    </a:cubicBezTo>
                    <a:cubicBezTo>
                      <a:pt x="26" y="0"/>
                      <a:pt x="25" y="0"/>
                      <a:pt x="24" y="0"/>
                    </a:cubicBezTo>
                    <a:cubicBezTo>
                      <a:pt x="21" y="5"/>
                      <a:pt x="30" y="14"/>
                      <a:pt x="29" y="21"/>
                    </a:cubicBezTo>
                    <a:cubicBezTo>
                      <a:pt x="19" y="27"/>
                      <a:pt x="17" y="33"/>
                      <a:pt x="11" y="39"/>
                    </a:cubicBezTo>
                    <a:cubicBezTo>
                      <a:pt x="8" y="42"/>
                      <a:pt x="4" y="42"/>
                      <a:pt x="1" y="44"/>
                    </a:cubicBezTo>
                    <a:cubicBezTo>
                      <a:pt x="1" y="45"/>
                      <a:pt x="0" y="46"/>
                      <a:pt x="0" y="47"/>
                    </a:cubicBezTo>
                    <a:cubicBezTo>
                      <a:pt x="11" y="69"/>
                      <a:pt x="23" y="30"/>
                      <a:pt x="35" y="26"/>
                    </a:cubicBezTo>
                    <a:cubicBezTo>
                      <a:pt x="35" y="26"/>
                      <a:pt x="35" y="26"/>
                      <a:pt x="35" y="26"/>
                    </a:cubicBezTo>
                    <a:cubicBezTo>
                      <a:pt x="33" y="33"/>
                      <a:pt x="28" y="39"/>
                      <a:pt x="30" y="48"/>
                    </a:cubicBezTo>
                    <a:cubicBezTo>
                      <a:pt x="30" y="51"/>
                      <a:pt x="37" y="56"/>
                      <a:pt x="40" y="57"/>
                    </a:cubicBezTo>
                    <a:cubicBezTo>
                      <a:pt x="37" y="64"/>
                      <a:pt x="32" y="69"/>
                      <a:pt x="35" y="78"/>
                    </a:cubicBezTo>
                    <a:cubicBezTo>
                      <a:pt x="39" y="79"/>
                      <a:pt x="42" y="80"/>
                      <a:pt x="45" y="82"/>
                    </a:cubicBezTo>
                    <a:cubicBezTo>
                      <a:pt x="46" y="81"/>
                      <a:pt x="46" y="81"/>
                      <a:pt x="47" y="80"/>
                    </a:cubicBezTo>
                    <a:cubicBezTo>
                      <a:pt x="49" y="77"/>
                      <a:pt x="45" y="70"/>
                      <a:pt x="46" y="67"/>
                    </a:cubicBezTo>
                    <a:cubicBezTo>
                      <a:pt x="46" y="66"/>
                      <a:pt x="46" y="66"/>
                      <a:pt x="47" y="66"/>
                    </a:cubicBezTo>
                    <a:cubicBezTo>
                      <a:pt x="48" y="67"/>
                      <a:pt x="49" y="71"/>
                      <a:pt x="50" y="73"/>
                    </a:cubicBezTo>
                    <a:cubicBezTo>
                      <a:pt x="52" y="76"/>
                      <a:pt x="55" y="77"/>
                      <a:pt x="58" y="79"/>
                    </a:cubicBezTo>
                    <a:cubicBezTo>
                      <a:pt x="58" y="79"/>
                      <a:pt x="58" y="79"/>
                      <a:pt x="59" y="79"/>
                    </a:cubicBezTo>
                    <a:cubicBezTo>
                      <a:pt x="60" y="72"/>
                      <a:pt x="53" y="64"/>
                      <a:pt x="53" y="57"/>
                    </a:cubicBezTo>
                    <a:cubicBezTo>
                      <a:pt x="54" y="56"/>
                      <a:pt x="55" y="56"/>
                      <a:pt x="56" y="55"/>
                    </a:cubicBezTo>
                    <a:cubicBezTo>
                      <a:pt x="56" y="55"/>
                      <a:pt x="56" y="55"/>
                      <a:pt x="56" y="55"/>
                    </a:cubicBezTo>
                    <a:cubicBezTo>
                      <a:pt x="63" y="60"/>
                      <a:pt x="59" y="67"/>
                      <a:pt x="69" y="69"/>
                    </a:cubicBezTo>
                    <a:cubicBezTo>
                      <a:pt x="71" y="67"/>
                      <a:pt x="72" y="66"/>
                      <a:pt x="74" y="64"/>
                    </a:cubicBezTo>
                    <a:cubicBezTo>
                      <a:pt x="71" y="56"/>
                      <a:pt x="63" y="51"/>
                      <a:pt x="55" y="53"/>
                    </a:cubicBezTo>
                    <a:close/>
                    <a:moveTo>
                      <a:pt x="40" y="46"/>
                    </a:moveTo>
                    <a:cubicBezTo>
                      <a:pt x="40" y="46"/>
                      <a:pt x="39" y="46"/>
                      <a:pt x="39" y="46"/>
                    </a:cubicBezTo>
                    <a:cubicBezTo>
                      <a:pt x="38" y="46"/>
                      <a:pt x="38" y="46"/>
                      <a:pt x="38" y="46"/>
                    </a:cubicBezTo>
                    <a:cubicBezTo>
                      <a:pt x="38" y="45"/>
                      <a:pt x="37" y="45"/>
                      <a:pt x="37" y="44"/>
                    </a:cubicBezTo>
                    <a:cubicBezTo>
                      <a:pt x="39" y="41"/>
                      <a:pt x="42" y="39"/>
                      <a:pt x="44" y="36"/>
                    </a:cubicBezTo>
                    <a:cubicBezTo>
                      <a:pt x="45" y="36"/>
                      <a:pt x="45" y="35"/>
                      <a:pt x="46" y="35"/>
                    </a:cubicBezTo>
                    <a:cubicBezTo>
                      <a:pt x="46" y="35"/>
                      <a:pt x="46" y="35"/>
                      <a:pt x="46" y="35"/>
                    </a:cubicBezTo>
                    <a:cubicBezTo>
                      <a:pt x="44" y="39"/>
                      <a:pt x="42" y="42"/>
                      <a:pt x="40" y="4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305" name="ïşḻíḍe"/>
              <p:cNvSpPr/>
              <p:nvPr/>
            </p:nvSpPr>
            <p:spPr bwMode="auto">
              <a:xfrm>
                <a:off x="1882672" y="4669428"/>
                <a:ext cx="160338" cy="169863"/>
              </a:xfrm>
              <a:custGeom>
                <a:avLst/>
                <a:gdLst>
                  <a:gd name="T0" fmla="*/ 29 w 87"/>
                  <a:gd name="T1" fmla="*/ 8 h 92"/>
                  <a:gd name="T2" fmla="*/ 52 w 87"/>
                  <a:gd name="T3" fmla="*/ 17 h 92"/>
                  <a:gd name="T4" fmla="*/ 61 w 87"/>
                  <a:gd name="T5" fmla="*/ 16 h 92"/>
                  <a:gd name="T6" fmla="*/ 62 w 87"/>
                  <a:gd name="T7" fmla="*/ 17 h 92"/>
                  <a:gd name="T8" fmla="*/ 69 w 87"/>
                  <a:gd name="T9" fmla="*/ 42 h 92"/>
                  <a:gd name="T10" fmla="*/ 86 w 87"/>
                  <a:gd name="T11" fmla="*/ 35 h 92"/>
                  <a:gd name="T12" fmla="*/ 87 w 87"/>
                  <a:gd name="T13" fmla="*/ 39 h 92"/>
                  <a:gd name="T14" fmla="*/ 76 w 87"/>
                  <a:gd name="T15" fmla="*/ 55 h 92"/>
                  <a:gd name="T16" fmla="*/ 67 w 87"/>
                  <a:gd name="T17" fmla="*/ 76 h 92"/>
                  <a:gd name="T18" fmla="*/ 65 w 87"/>
                  <a:gd name="T19" fmla="*/ 74 h 92"/>
                  <a:gd name="T20" fmla="*/ 69 w 87"/>
                  <a:gd name="T21" fmla="*/ 53 h 92"/>
                  <a:gd name="T22" fmla="*/ 55 w 87"/>
                  <a:gd name="T23" fmla="*/ 40 h 92"/>
                  <a:gd name="T24" fmla="*/ 45 w 87"/>
                  <a:gd name="T25" fmla="*/ 44 h 92"/>
                  <a:gd name="T26" fmla="*/ 46 w 87"/>
                  <a:gd name="T27" fmla="*/ 89 h 92"/>
                  <a:gd name="T28" fmla="*/ 38 w 87"/>
                  <a:gd name="T29" fmla="*/ 92 h 92"/>
                  <a:gd name="T30" fmla="*/ 27 w 87"/>
                  <a:gd name="T31" fmla="*/ 68 h 92"/>
                  <a:gd name="T32" fmla="*/ 14 w 87"/>
                  <a:gd name="T33" fmla="*/ 70 h 92"/>
                  <a:gd name="T34" fmla="*/ 12 w 87"/>
                  <a:gd name="T35" fmla="*/ 65 h 92"/>
                  <a:gd name="T36" fmla="*/ 18 w 87"/>
                  <a:gd name="T37" fmla="*/ 58 h 92"/>
                  <a:gd name="T38" fmla="*/ 0 w 87"/>
                  <a:gd name="T39" fmla="*/ 42 h 92"/>
                  <a:gd name="T40" fmla="*/ 0 w 87"/>
                  <a:gd name="T41" fmla="*/ 42 h 92"/>
                  <a:gd name="T42" fmla="*/ 21 w 87"/>
                  <a:gd name="T43" fmla="*/ 39 h 92"/>
                  <a:gd name="T44" fmla="*/ 27 w 87"/>
                  <a:gd name="T45" fmla="*/ 48 h 92"/>
                  <a:gd name="T46" fmla="*/ 34 w 87"/>
                  <a:gd name="T47" fmla="*/ 52 h 92"/>
                  <a:gd name="T48" fmla="*/ 36 w 87"/>
                  <a:gd name="T49" fmla="*/ 62 h 92"/>
                  <a:gd name="T50" fmla="*/ 39 w 87"/>
                  <a:gd name="T51" fmla="*/ 44 h 92"/>
                  <a:gd name="T52" fmla="*/ 46 w 87"/>
                  <a:gd name="T53" fmla="*/ 28 h 92"/>
                  <a:gd name="T54" fmla="*/ 29 w 87"/>
                  <a:gd name="T55" fmla="*/ 8 h 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87" h="92">
                    <a:moveTo>
                      <a:pt x="29" y="8"/>
                    </a:moveTo>
                    <a:cubicBezTo>
                      <a:pt x="42" y="0"/>
                      <a:pt x="43" y="12"/>
                      <a:pt x="52" y="17"/>
                    </a:cubicBezTo>
                    <a:cubicBezTo>
                      <a:pt x="55" y="15"/>
                      <a:pt x="58" y="15"/>
                      <a:pt x="61" y="16"/>
                    </a:cubicBezTo>
                    <a:cubicBezTo>
                      <a:pt x="61" y="16"/>
                      <a:pt x="62" y="17"/>
                      <a:pt x="62" y="17"/>
                    </a:cubicBezTo>
                    <a:cubicBezTo>
                      <a:pt x="62" y="26"/>
                      <a:pt x="58" y="33"/>
                      <a:pt x="69" y="42"/>
                    </a:cubicBezTo>
                    <a:cubicBezTo>
                      <a:pt x="75" y="35"/>
                      <a:pt x="80" y="33"/>
                      <a:pt x="86" y="35"/>
                    </a:cubicBezTo>
                    <a:cubicBezTo>
                      <a:pt x="87" y="36"/>
                      <a:pt x="87" y="38"/>
                      <a:pt x="87" y="39"/>
                    </a:cubicBezTo>
                    <a:cubicBezTo>
                      <a:pt x="83" y="45"/>
                      <a:pt x="80" y="50"/>
                      <a:pt x="76" y="55"/>
                    </a:cubicBezTo>
                    <a:cubicBezTo>
                      <a:pt x="71" y="62"/>
                      <a:pt x="71" y="70"/>
                      <a:pt x="67" y="76"/>
                    </a:cubicBezTo>
                    <a:cubicBezTo>
                      <a:pt x="66" y="75"/>
                      <a:pt x="66" y="75"/>
                      <a:pt x="65" y="74"/>
                    </a:cubicBezTo>
                    <a:cubicBezTo>
                      <a:pt x="63" y="66"/>
                      <a:pt x="67" y="60"/>
                      <a:pt x="69" y="53"/>
                    </a:cubicBezTo>
                    <a:cubicBezTo>
                      <a:pt x="64" y="51"/>
                      <a:pt x="60" y="46"/>
                      <a:pt x="55" y="40"/>
                    </a:cubicBezTo>
                    <a:cubicBezTo>
                      <a:pt x="52" y="42"/>
                      <a:pt x="49" y="41"/>
                      <a:pt x="45" y="44"/>
                    </a:cubicBezTo>
                    <a:cubicBezTo>
                      <a:pt x="40" y="59"/>
                      <a:pt x="48" y="75"/>
                      <a:pt x="46" y="89"/>
                    </a:cubicBezTo>
                    <a:cubicBezTo>
                      <a:pt x="43" y="92"/>
                      <a:pt x="41" y="91"/>
                      <a:pt x="38" y="92"/>
                    </a:cubicBezTo>
                    <a:cubicBezTo>
                      <a:pt x="31" y="83"/>
                      <a:pt x="33" y="76"/>
                      <a:pt x="27" y="68"/>
                    </a:cubicBezTo>
                    <a:cubicBezTo>
                      <a:pt x="23" y="71"/>
                      <a:pt x="18" y="71"/>
                      <a:pt x="14" y="70"/>
                    </a:cubicBezTo>
                    <a:cubicBezTo>
                      <a:pt x="12" y="68"/>
                      <a:pt x="12" y="67"/>
                      <a:pt x="12" y="65"/>
                    </a:cubicBezTo>
                    <a:cubicBezTo>
                      <a:pt x="14" y="63"/>
                      <a:pt x="16" y="60"/>
                      <a:pt x="18" y="58"/>
                    </a:cubicBezTo>
                    <a:cubicBezTo>
                      <a:pt x="13" y="49"/>
                      <a:pt x="3" y="48"/>
                      <a:pt x="0" y="42"/>
                    </a:cubicBezTo>
                    <a:cubicBezTo>
                      <a:pt x="0" y="42"/>
                      <a:pt x="0" y="42"/>
                      <a:pt x="0" y="42"/>
                    </a:cubicBezTo>
                    <a:cubicBezTo>
                      <a:pt x="6" y="39"/>
                      <a:pt x="15" y="35"/>
                      <a:pt x="21" y="39"/>
                    </a:cubicBezTo>
                    <a:cubicBezTo>
                      <a:pt x="23" y="42"/>
                      <a:pt x="25" y="45"/>
                      <a:pt x="27" y="48"/>
                    </a:cubicBezTo>
                    <a:cubicBezTo>
                      <a:pt x="29" y="50"/>
                      <a:pt x="31" y="51"/>
                      <a:pt x="34" y="52"/>
                    </a:cubicBezTo>
                    <a:cubicBezTo>
                      <a:pt x="34" y="55"/>
                      <a:pt x="35" y="58"/>
                      <a:pt x="36" y="62"/>
                    </a:cubicBezTo>
                    <a:cubicBezTo>
                      <a:pt x="39" y="56"/>
                      <a:pt x="38" y="50"/>
                      <a:pt x="39" y="44"/>
                    </a:cubicBezTo>
                    <a:cubicBezTo>
                      <a:pt x="42" y="39"/>
                      <a:pt x="44" y="34"/>
                      <a:pt x="46" y="28"/>
                    </a:cubicBezTo>
                    <a:cubicBezTo>
                      <a:pt x="42" y="22"/>
                      <a:pt x="31" y="15"/>
                      <a:pt x="29" y="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306" name="íṩľíḑè"/>
              <p:cNvSpPr/>
              <p:nvPr/>
            </p:nvSpPr>
            <p:spPr bwMode="auto">
              <a:xfrm>
                <a:off x="2243034" y="6066428"/>
                <a:ext cx="22225" cy="25400"/>
              </a:xfrm>
              <a:custGeom>
                <a:avLst/>
                <a:gdLst>
                  <a:gd name="T0" fmla="*/ 0 w 14"/>
                  <a:gd name="T1" fmla="*/ 12 h 16"/>
                  <a:gd name="T2" fmla="*/ 2 w 14"/>
                  <a:gd name="T3" fmla="*/ 0 h 16"/>
                  <a:gd name="T4" fmla="*/ 14 w 14"/>
                  <a:gd name="T5" fmla="*/ 4 h 16"/>
                  <a:gd name="T6" fmla="*/ 11 w 14"/>
                  <a:gd name="T7" fmla="*/ 16 h 16"/>
                  <a:gd name="T8" fmla="*/ 0 w 14"/>
                  <a:gd name="T9" fmla="*/ 12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4" h="16">
                    <a:moveTo>
                      <a:pt x="0" y="12"/>
                    </a:moveTo>
                    <a:lnTo>
                      <a:pt x="2" y="0"/>
                    </a:lnTo>
                    <a:lnTo>
                      <a:pt x="14" y="4"/>
                    </a:lnTo>
                    <a:lnTo>
                      <a:pt x="11" y="16"/>
                    </a:lnTo>
                    <a:lnTo>
                      <a:pt x="0" y="1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307" name="îṣḷïḓê"/>
              <p:cNvSpPr/>
              <p:nvPr/>
            </p:nvSpPr>
            <p:spPr bwMode="auto">
              <a:xfrm>
                <a:off x="2292247" y="6042615"/>
                <a:ext cx="49213" cy="100013"/>
              </a:xfrm>
              <a:custGeom>
                <a:avLst/>
                <a:gdLst>
                  <a:gd name="T0" fmla="*/ 17 w 27"/>
                  <a:gd name="T1" fmla="*/ 54 h 54"/>
                  <a:gd name="T2" fmla="*/ 7 w 27"/>
                  <a:gd name="T3" fmla="*/ 52 h 54"/>
                  <a:gd name="T4" fmla="*/ 14 w 27"/>
                  <a:gd name="T5" fmla="*/ 15 h 54"/>
                  <a:gd name="T6" fmla="*/ 0 w 27"/>
                  <a:gd name="T7" fmla="*/ 20 h 54"/>
                  <a:gd name="T8" fmla="*/ 1 w 27"/>
                  <a:gd name="T9" fmla="*/ 11 h 54"/>
                  <a:gd name="T10" fmla="*/ 11 w 27"/>
                  <a:gd name="T11" fmla="*/ 7 h 54"/>
                  <a:gd name="T12" fmla="*/ 18 w 27"/>
                  <a:gd name="T13" fmla="*/ 0 h 54"/>
                  <a:gd name="T14" fmla="*/ 27 w 27"/>
                  <a:gd name="T15" fmla="*/ 2 h 54"/>
                  <a:gd name="T16" fmla="*/ 17 w 27"/>
                  <a:gd name="T17" fmla="*/ 54 h 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7" h="54">
                    <a:moveTo>
                      <a:pt x="17" y="54"/>
                    </a:moveTo>
                    <a:cubicBezTo>
                      <a:pt x="7" y="52"/>
                      <a:pt x="7" y="52"/>
                      <a:pt x="7" y="52"/>
                    </a:cubicBezTo>
                    <a:cubicBezTo>
                      <a:pt x="14" y="15"/>
                      <a:pt x="14" y="15"/>
                      <a:pt x="14" y="15"/>
                    </a:cubicBezTo>
                    <a:cubicBezTo>
                      <a:pt x="10" y="17"/>
                      <a:pt x="5" y="19"/>
                      <a:pt x="0" y="20"/>
                    </a:cubicBezTo>
                    <a:cubicBezTo>
                      <a:pt x="1" y="11"/>
                      <a:pt x="1" y="11"/>
                      <a:pt x="1" y="11"/>
                    </a:cubicBezTo>
                    <a:cubicBezTo>
                      <a:pt x="4" y="10"/>
                      <a:pt x="7" y="9"/>
                      <a:pt x="11" y="7"/>
                    </a:cubicBezTo>
                    <a:cubicBezTo>
                      <a:pt x="14" y="6"/>
                      <a:pt x="17" y="3"/>
                      <a:pt x="18" y="0"/>
                    </a:cubicBezTo>
                    <a:cubicBezTo>
                      <a:pt x="27" y="2"/>
                      <a:pt x="27" y="2"/>
                      <a:pt x="27" y="2"/>
                    </a:cubicBezTo>
                    <a:lnTo>
                      <a:pt x="17" y="5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308" name="i$ḻîḓé"/>
              <p:cNvSpPr/>
              <p:nvPr/>
            </p:nvSpPr>
            <p:spPr bwMode="auto">
              <a:xfrm>
                <a:off x="2363684" y="6052140"/>
                <a:ext cx="66675" cy="100013"/>
              </a:xfrm>
              <a:custGeom>
                <a:avLst/>
                <a:gdLst>
                  <a:gd name="T0" fmla="*/ 0 w 36"/>
                  <a:gd name="T1" fmla="*/ 40 h 54"/>
                  <a:gd name="T2" fmla="*/ 10 w 36"/>
                  <a:gd name="T3" fmla="*/ 39 h 54"/>
                  <a:gd name="T4" fmla="*/ 11 w 36"/>
                  <a:gd name="T5" fmla="*/ 44 h 54"/>
                  <a:gd name="T6" fmla="*/ 15 w 36"/>
                  <a:gd name="T7" fmla="*/ 46 h 54"/>
                  <a:gd name="T8" fmla="*/ 21 w 36"/>
                  <a:gd name="T9" fmla="*/ 43 h 54"/>
                  <a:gd name="T10" fmla="*/ 24 w 36"/>
                  <a:gd name="T11" fmla="*/ 31 h 54"/>
                  <a:gd name="T12" fmla="*/ 15 w 36"/>
                  <a:gd name="T13" fmla="*/ 35 h 54"/>
                  <a:gd name="T14" fmla="*/ 4 w 36"/>
                  <a:gd name="T15" fmla="*/ 30 h 54"/>
                  <a:gd name="T16" fmla="*/ 0 w 36"/>
                  <a:gd name="T17" fmla="*/ 17 h 54"/>
                  <a:gd name="T18" fmla="*/ 6 w 36"/>
                  <a:gd name="T19" fmla="*/ 4 h 54"/>
                  <a:gd name="T20" fmla="*/ 19 w 36"/>
                  <a:gd name="T21" fmla="*/ 0 h 54"/>
                  <a:gd name="T22" fmla="*/ 31 w 36"/>
                  <a:gd name="T23" fmla="*/ 7 h 54"/>
                  <a:gd name="T24" fmla="*/ 35 w 36"/>
                  <a:gd name="T25" fmla="*/ 28 h 54"/>
                  <a:gd name="T26" fmla="*/ 28 w 36"/>
                  <a:gd name="T27" fmla="*/ 49 h 54"/>
                  <a:gd name="T28" fmla="*/ 14 w 36"/>
                  <a:gd name="T29" fmla="*/ 54 h 54"/>
                  <a:gd name="T30" fmla="*/ 4 w 36"/>
                  <a:gd name="T31" fmla="*/ 50 h 54"/>
                  <a:gd name="T32" fmla="*/ 0 w 36"/>
                  <a:gd name="T33" fmla="*/ 40 h 54"/>
                  <a:gd name="T34" fmla="*/ 24 w 36"/>
                  <a:gd name="T35" fmla="*/ 19 h 54"/>
                  <a:gd name="T36" fmla="*/ 23 w 36"/>
                  <a:gd name="T37" fmla="*/ 11 h 54"/>
                  <a:gd name="T38" fmla="*/ 18 w 36"/>
                  <a:gd name="T39" fmla="*/ 8 h 54"/>
                  <a:gd name="T40" fmla="*/ 13 w 36"/>
                  <a:gd name="T41" fmla="*/ 10 h 54"/>
                  <a:gd name="T42" fmla="*/ 10 w 36"/>
                  <a:gd name="T43" fmla="*/ 17 h 54"/>
                  <a:gd name="T44" fmla="*/ 12 w 36"/>
                  <a:gd name="T45" fmla="*/ 25 h 54"/>
                  <a:gd name="T46" fmla="*/ 17 w 36"/>
                  <a:gd name="T47" fmla="*/ 28 h 54"/>
                  <a:gd name="T48" fmla="*/ 22 w 36"/>
                  <a:gd name="T49" fmla="*/ 26 h 54"/>
                  <a:gd name="T50" fmla="*/ 24 w 36"/>
                  <a:gd name="T51" fmla="*/ 19 h 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6" h="54">
                    <a:moveTo>
                      <a:pt x="0" y="40"/>
                    </a:moveTo>
                    <a:cubicBezTo>
                      <a:pt x="10" y="39"/>
                      <a:pt x="10" y="39"/>
                      <a:pt x="10" y="39"/>
                    </a:cubicBezTo>
                    <a:cubicBezTo>
                      <a:pt x="10" y="41"/>
                      <a:pt x="10" y="43"/>
                      <a:pt x="11" y="44"/>
                    </a:cubicBezTo>
                    <a:cubicBezTo>
                      <a:pt x="12" y="45"/>
                      <a:pt x="14" y="46"/>
                      <a:pt x="15" y="46"/>
                    </a:cubicBezTo>
                    <a:cubicBezTo>
                      <a:pt x="17" y="46"/>
                      <a:pt x="19" y="45"/>
                      <a:pt x="21" y="43"/>
                    </a:cubicBezTo>
                    <a:cubicBezTo>
                      <a:pt x="22" y="41"/>
                      <a:pt x="24" y="37"/>
                      <a:pt x="24" y="31"/>
                    </a:cubicBezTo>
                    <a:cubicBezTo>
                      <a:pt x="22" y="34"/>
                      <a:pt x="18" y="35"/>
                      <a:pt x="15" y="35"/>
                    </a:cubicBezTo>
                    <a:cubicBezTo>
                      <a:pt x="10" y="35"/>
                      <a:pt x="7" y="33"/>
                      <a:pt x="4" y="30"/>
                    </a:cubicBezTo>
                    <a:cubicBezTo>
                      <a:pt x="1" y="26"/>
                      <a:pt x="0" y="22"/>
                      <a:pt x="0" y="17"/>
                    </a:cubicBezTo>
                    <a:cubicBezTo>
                      <a:pt x="1" y="11"/>
                      <a:pt x="3" y="7"/>
                      <a:pt x="6" y="4"/>
                    </a:cubicBezTo>
                    <a:cubicBezTo>
                      <a:pt x="10" y="1"/>
                      <a:pt x="14" y="0"/>
                      <a:pt x="19" y="0"/>
                    </a:cubicBezTo>
                    <a:cubicBezTo>
                      <a:pt x="24" y="0"/>
                      <a:pt x="28" y="3"/>
                      <a:pt x="31" y="7"/>
                    </a:cubicBezTo>
                    <a:cubicBezTo>
                      <a:pt x="35" y="12"/>
                      <a:pt x="36" y="19"/>
                      <a:pt x="35" y="28"/>
                    </a:cubicBezTo>
                    <a:cubicBezTo>
                      <a:pt x="34" y="38"/>
                      <a:pt x="32" y="44"/>
                      <a:pt x="28" y="49"/>
                    </a:cubicBezTo>
                    <a:cubicBezTo>
                      <a:pt x="24" y="53"/>
                      <a:pt x="20" y="54"/>
                      <a:pt x="14" y="54"/>
                    </a:cubicBezTo>
                    <a:cubicBezTo>
                      <a:pt x="10" y="54"/>
                      <a:pt x="7" y="52"/>
                      <a:pt x="4" y="50"/>
                    </a:cubicBezTo>
                    <a:cubicBezTo>
                      <a:pt x="2" y="48"/>
                      <a:pt x="0" y="44"/>
                      <a:pt x="0" y="40"/>
                    </a:cubicBezTo>
                    <a:close/>
                    <a:moveTo>
                      <a:pt x="24" y="19"/>
                    </a:moveTo>
                    <a:cubicBezTo>
                      <a:pt x="25" y="16"/>
                      <a:pt x="24" y="13"/>
                      <a:pt x="23" y="11"/>
                    </a:cubicBezTo>
                    <a:cubicBezTo>
                      <a:pt x="21" y="10"/>
                      <a:pt x="20" y="9"/>
                      <a:pt x="18" y="8"/>
                    </a:cubicBezTo>
                    <a:cubicBezTo>
                      <a:pt x="16" y="8"/>
                      <a:pt x="14" y="9"/>
                      <a:pt x="13" y="10"/>
                    </a:cubicBezTo>
                    <a:cubicBezTo>
                      <a:pt x="11" y="12"/>
                      <a:pt x="11" y="14"/>
                      <a:pt x="10" y="17"/>
                    </a:cubicBezTo>
                    <a:cubicBezTo>
                      <a:pt x="10" y="21"/>
                      <a:pt x="11" y="23"/>
                      <a:pt x="12" y="25"/>
                    </a:cubicBezTo>
                    <a:cubicBezTo>
                      <a:pt x="13" y="27"/>
                      <a:pt x="15" y="28"/>
                      <a:pt x="17" y="28"/>
                    </a:cubicBezTo>
                    <a:cubicBezTo>
                      <a:pt x="19" y="28"/>
                      <a:pt x="20" y="27"/>
                      <a:pt x="22" y="26"/>
                    </a:cubicBezTo>
                    <a:cubicBezTo>
                      <a:pt x="23" y="24"/>
                      <a:pt x="24" y="22"/>
                      <a:pt x="24" y="1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309" name="îṧľîḋé"/>
              <p:cNvSpPr/>
              <p:nvPr/>
            </p:nvSpPr>
            <p:spPr bwMode="auto">
              <a:xfrm>
                <a:off x="2446234" y="6053728"/>
                <a:ext cx="66675" cy="100013"/>
              </a:xfrm>
              <a:custGeom>
                <a:avLst/>
                <a:gdLst>
                  <a:gd name="T0" fmla="*/ 0 w 36"/>
                  <a:gd name="T1" fmla="*/ 40 h 54"/>
                  <a:gd name="T2" fmla="*/ 10 w 36"/>
                  <a:gd name="T3" fmla="*/ 39 h 54"/>
                  <a:gd name="T4" fmla="*/ 13 w 36"/>
                  <a:gd name="T5" fmla="*/ 44 h 54"/>
                  <a:gd name="T6" fmla="*/ 18 w 36"/>
                  <a:gd name="T7" fmla="*/ 46 h 54"/>
                  <a:gd name="T8" fmla="*/ 23 w 36"/>
                  <a:gd name="T9" fmla="*/ 43 h 54"/>
                  <a:gd name="T10" fmla="*/ 25 w 36"/>
                  <a:gd name="T11" fmla="*/ 35 h 54"/>
                  <a:gd name="T12" fmla="*/ 23 w 36"/>
                  <a:gd name="T13" fmla="*/ 28 h 54"/>
                  <a:gd name="T14" fmla="*/ 17 w 36"/>
                  <a:gd name="T15" fmla="*/ 26 h 54"/>
                  <a:gd name="T16" fmla="*/ 9 w 36"/>
                  <a:gd name="T17" fmla="*/ 30 h 54"/>
                  <a:gd name="T18" fmla="*/ 1 w 36"/>
                  <a:gd name="T19" fmla="*/ 29 h 54"/>
                  <a:gd name="T20" fmla="*/ 5 w 36"/>
                  <a:gd name="T21" fmla="*/ 1 h 54"/>
                  <a:gd name="T22" fmla="*/ 32 w 36"/>
                  <a:gd name="T23" fmla="*/ 0 h 54"/>
                  <a:gd name="T24" fmla="*/ 32 w 36"/>
                  <a:gd name="T25" fmla="*/ 10 h 54"/>
                  <a:gd name="T26" fmla="*/ 13 w 36"/>
                  <a:gd name="T27" fmla="*/ 10 h 54"/>
                  <a:gd name="T28" fmla="*/ 12 w 36"/>
                  <a:gd name="T29" fmla="*/ 19 h 54"/>
                  <a:gd name="T30" fmla="*/ 19 w 36"/>
                  <a:gd name="T31" fmla="*/ 17 h 54"/>
                  <a:gd name="T32" fmla="*/ 30 w 36"/>
                  <a:gd name="T33" fmla="*/ 22 h 54"/>
                  <a:gd name="T34" fmla="*/ 36 w 36"/>
                  <a:gd name="T35" fmla="*/ 34 h 54"/>
                  <a:gd name="T36" fmla="*/ 32 w 36"/>
                  <a:gd name="T37" fmla="*/ 46 h 54"/>
                  <a:gd name="T38" fmla="*/ 18 w 36"/>
                  <a:gd name="T39" fmla="*/ 54 h 54"/>
                  <a:gd name="T40" fmla="*/ 6 w 36"/>
                  <a:gd name="T41" fmla="*/ 50 h 54"/>
                  <a:gd name="T42" fmla="*/ 0 w 36"/>
                  <a:gd name="T43" fmla="*/ 40 h 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36" h="54">
                    <a:moveTo>
                      <a:pt x="0" y="40"/>
                    </a:moveTo>
                    <a:cubicBezTo>
                      <a:pt x="10" y="39"/>
                      <a:pt x="10" y="39"/>
                      <a:pt x="10" y="39"/>
                    </a:cubicBezTo>
                    <a:cubicBezTo>
                      <a:pt x="11" y="41"/>
                      <a:pt x="11" y="43"/>
                      <a:pt x="13" y="44"/>
                    </a:cubicBezTo>
                    <a:cubicBezTo>
                      <a:pt x="14" y="45"/>
                      <a:pt x="16" y="46"/>
                      <a:pt x="18" y="46"/>
                    </a:cubicBezTo>
                    <a:cubicBezTo>
                      <a:pt x="20" y="46"/>
                      <a:pt x="22" y="45"/>
                      <a:pt x="23" y="43"/>
                    </a:cubicBezTo>
                    <a:cubicBezTo>
                      <a:pt x="25" y="41"/>
                      <a:pt x="25" y="38"/>
                      <a:pt x="25" y="35"/>
                    </a:cubicBezTo>
                    <a:cubicBezTo>
                      <a:pt x="25" y="32"/>
                      <a:pt x="24" y="29"/>
                      <a:pt x="23" y="28"/>
                    </a:cubicBezTo>
                    <a:cubicBezTo>
                      <a:pt x="21" y="26"/>
                      <a:pt x="19" y="25"/>
                      <a:pt x="17" y="26"/>
                    </a:cubicBezTo>
                    <a:cubicBezTo>
                      <a:pt x="14" y="26"/>
                      <a:pt x="11" y="27"/>
                      <a:pt x="9" y="30"/>
                    </a:cubicBezTo>
                    <a:cubicBezTo>
                      <a:pt x="1" y="29"/>
                      <a:pt x="1" y="29"/>
                      <a:pt x="1" y="29"/>
                    </a:cubicBezTo>
                    <a:cubicBezTo>
                      <a:pt x="5" y="1"/>
                      <a:pt x="5" y="1"/>
                      <a:pt x="5" y="1"/>
                    </a:cubicBezTo>
                    <a:cubicBezTo>
                      <a:pt x="32" y="0"/>
                      <a:pt x="32" y="0"/>
                      <a:pt x="32" y="0"/>
                    </a:cubicBezTo>
                    <a:cubicBezTo>
                      <a:pt x="32" y="10"/>
                      <a:pt x="32" y="10"/>
                      <a:pt x="32" y="10"/>
                    </a:cubicBezTo>
                    <a:cubicBezTo>
                      <a:pt x="13" y="10"/>
                      <a:pt x="13" y="10"/>
                      <a:pt x="13" y="10"/>
                    </a:cubicBezTo>
                    <a:cubicBezTo>
                      <a:pt x="12" y="19"/>
                      <a:pt x="12" y="19"/>
                      <a:pt x="12" y="19"/>
                    </a:cubicBezTo>
                    <a:cubicBezTo>
                      <a:pt x="14" y="18"/>
                      <a:pt x="16" y="17"/>
                      <a:pt x="19" y="17"/>
                    </a:cubicBezTo>
                    <a:cubicBezTo>
                      <a:pt x="23" y="17"/>
                      <a:pt x="27" y="19"/>
                      <a:pt x="30" y="22"/>
                    </a:cubicBezTo>
                    <a:cubicBezTo>
                      <a:pt x="34" y="25"/>
                      <a:pt x="35" y="29"/>
                      <a:pt x="36" y="34"/>
                    </a:cubicBezTo>
                    <a:cubicBezTo>
                      <a:pt x="36" y="39"/>
                      <a:pt x="35" y="43"/>
                      <a:pt x="32" y="46"/>
                    </a:cubicBezTo>
                    <a:cubicBezTo>
                      <a:pt x="29" y="51"/>
                      <a:pt x="24" y="54"/>
                      <a:pt x="18" y="54"/>
                    </a:cubicBezTo>
                    <a:cubicBezTo>
                      <a:pt x="13" y="54"/>
                      <a:pt x="9" y="53"/>
                      <a:pt x="6" y="50"/>
                    </a:cubicBezTo>
                    <a:cubicBezTo>
                      <a:pt x="3" y="48"/>
                      <a:pt x="1" y="44"/>
                      <a:pt x="0" y="4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310" name="i$ḻïḑê"/>
              <p:cNvSpPr/>
              <p:nvPr/>
            </p:nvSpPr>
            <p:spPr bwMode="auto">
              <a:xfrm>
                <a:off x="2522434" y="6045790"/>
                <a:ext cx="74613" cy="103188"/>
              </a:xfrm>
              <a:custGeom>
                <a:avLst/>
                <a:gdLst>
                  <a:gd name="T0" fmla="*/ 39 w 40"/>
                  <a:gd name="T1" fmla="*/ 42 h 56"/>
                  <a:gd name="T2" fmla="*/ 40 w 40"/>
                  <a:gd name="T3" fmla="*/ 51 h 56"/>
                  <a:gd name="T4" fmla="*/ 5 w 40"/>
                  <a:gd name="T5" fmla="*/ 56 h 56"/>
                  <a:gd name="T6" fmla="*/ 7 w 40"/>
                  <a:gd name="T7" fmla="*/ 46 h 56"/>
                  <a:gd name="T8" fmla="*/ 16 w 40"/>
                  <a:gd name="T9" fmla="*/ 32 h 56"/>
                  <a:gd name="T10" fmla="*/ 23 w 40"/>
                  <a:gd name="T11" fmla="*/ 22 h 56"/>
                  <a:gd name="T12" fmla="*/ 24 w 40"/>
                  <a:gd name="T13" fmla="*/ 15 h 56"/>
                  <a:gd name="T14" fmla="*/ 22 w 40"/>
                  <a:gd name="T15" fmla="*/ 10 h 56"/>
                  <a:gd name="T16" fmla="*/ 17 w 40"/>
                  <a:gd name="T17" fmla="*/ 9 h 56"/>
                  <a:gd name="T18" fmla="*/ 12 w 40"/>
                  <a:gd name="T19" fmla="*/ 12 h 56"/>
                  <a:gd name="T20" fmla="*/ 11 w 40"/>
                  <a:gd name="T21" fmla="*/ 19 h 56"/>
                  <a:gd name="T22" fmla="*/ 1 w 40"/>
                  <a:gd name="T23" fmla="*/ 19 h 56"/>
                  <a:gd name="T24" fmla="*/ 4 w 40"/>
                  <a:gd name="T25" fmla="*/ 6 h 56"/>
                  <a:gd name="T26" fmla="*/ 16 w 40"/>
                  <a:gd name="T27" fmla="*/ 1 h 56"/>
                  <a:gd name="T28" fmla="*/ 28 w 40"/>
                  <a:gd name="T29" fmla="*/ 3 h 56"/>
                  <a:gd name="T30" fmla="*/ 34 w 40"/>
                  <a:gd name="T31" fmla="*/ 13 h 56"/>
                  <a:gd name="T32" fmla="*/ 34 w 40"/>
                  <a:gd name="T33" fmla="*/ 20 h 56"/>
                  <a:gd name="T34" fmla="*/ 31 w 40"/>
                  <a:gd name="T35" fmla="*/ 27 h 56"/>
                  <a:gd name="T36" fmla="*/ 26 w 40"/>
                  <a:gd name="T37" fmla="*/ 35 h 56"/>
                  <a:gd name="T38" fmla="*/ 20 w 40"/>
                  <a:gd name="T39" fmla="*/ 42 h 56"/>
                  <a:gd name="T40" fmla="*/ 19 w 40"/>
                  <a:gd name="T41" fmla="*/ 45 h 56"/>
                  <a:gd name="T42" fmla="*/ 39 w 40"/>
                  <a:gd name="T43" fmla="*/ 42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40" h="56">
                    <a:moveTo>
                      <a:pt x="39" y="42"/>
                    </a:moveTo>
                    <a:cubicBezTo>
                      <a:pt x="40" y="51"/>
                      <a:pt x="40" y="51"/>
                      <a:pt x="40" y="51"/>
                    </a:cubicBezTo>
                    <a:cubicBezTo>
                      <a:pt x="5" y="56"/>
                      <a:pt x="5" y="56"/>
                      <a:pt x="5" y="56"/>
                    </a:cubicBezTo>
                    <a:cubicBezTo>
                      <a:pt x="5" y="53"/>
                      <a:pt x="5" y="49"/>
                      <a:pt x="7" y="46"/>
                    </a:cubicBezTo>
                    <a:cubicBezTo>
                      <a:pt x="8" y="42"/>
                      <a:pt x="11" y="38"/>
                      <a:pt x="16" y="32"/>
                    </a:cubicBezTo>
                    <a:cubicBezTo>
                      <a:pt x="20" y="27"/>
                      <a:pt x="22" y="23"/>
                      <a:pt x="23" y="22"/>
                    </a:cubicBezTo>
                    <a:cubicBezTo>
                      <a:pt x="24" y="19"/>
                      <a:pt x="25" y="17"/>
                      <a:pt x="24" y="15"/>
                    </a:cubicBezTo>
                    <a:cubicBezTo>
                      <a:pt x="24" y="13"/>
                      <a:pt x="23" y="11"/>
                      <a:pt x="22" y="10"/>
                    </a:cubicBezTo>
                    <a:cubicBezTo>
                      <a:pt x="21" y="9"/>
                      <a:pt x="19" y="9"/>
                      <a:pt x="17" y="9"/>
                    </a:cubicBezTo>
                    <a:cubicBezTo>
                      <a:pt x="15" y="10"/>
                      <a:pt x="13" y="11"/>
                      <a:pt x="12" y="12"/>
                    </a:cubicBezTo>
                    <a:cubicBezTo>
                      <a:pt x="11" y="13"/>
                      <a:pt x="10" y="16"/>
                      <a:pt x="11" y="19"/>
                    </a:cubicBezTo>
                    <a:cubicBezTo>
                      <a:pt x="1" y="19"/>
                      <a:pt x="1" y="19"/>
                      <a:pt x="1" y="19"/>
                    </a:cubicBezTo>
                    <a:cubicBezTo>
                      <a:pt x="0" y="13"/>
                      <a:pt x="2" y="9"/>
                      <a:pt x="4" y="6"/>
                    </a:cubicBezTo>
                    <a:cubicBezTo>
                      <a:pt x="7" y="3"/>
                      <a:pt x="11" y="2"/>
                      <a:pt x="16" y="1"/>
                    </a:cubicBezTo>
                    <a:cubicBezTo>
                      <a:pt x="21" y="0"/>
                      <a:pt x="25" y="1"/>
                      <a:pt x="28" y="3"/>
                    </a:cubicBezTo>
                    <a:cubicBezTo>
                      <a:pt x="32" y="6"/>
                      <a:pt x="34" y="9"/>
                      <a:pt x="34" y="13"/>
                    </a:cubicBezTo>
                    <a:cubicBezTo>
                      <a:pt x="35" y="15"/>
                      <a:pt x="35" y="18"/>
                      <a:pt x="34" y="20"/>
                    </a:cubicBezTo>
                    <a:cubicBezTo>
                      <a:pt x="34" y="22"/>
                      <a:pt x="33" y="25"/>
                      <a:pt x="31" y="27"/>
                    </a:cubicBezTo>
                    <a:cubicBezTo>
                      <a:pt x="30" y="29"/>
                      <a:pt x="28" y="32"/>
                      <a:pt x="26" y="35"/>
                    </a:cubicBezTo>
                    <a:cubicBezTo>
                      <a:pt x="23" y="38"/>
                      <a:pt x="21" y="41"/>
                      <a:pt x="20" y="42"/>
                    </a:cubicBezTo>
                    <a:cubicBezTo>
                      <a:pt x="20" y="43"/>
                      <a:pt x="19" y="44"/>
                      <a:pt x="19" y="45"/>
                    </a:cubicBezTo>
                    <a:lnTo>
                      <a:pt x="39" y="4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311" name="íṧlíḍe"/>
              <p:cNvSpPr/>
              <p:nvPr/>
            </p:nvSpPr>
            <p:spPr bwMode="auto">
              <a:xfrm>
                <a:off x="2611334" y="6072778"/>
                <a:ext cx="22225" cy="23813"/>
              </a:xfrm>
              <a:custGeom>
                <a:avLst/>
                <a:gdLst>
                  <a:gd name="T0" fmla="*/ 3 w 14"/>
                  <a:gd name="T1" fmla="*/ 15 h 15"/>
                  <a:gd name="T2" fmla="*/ 0 w 14"/>
                  <a:gd name="T3" fmla="*/ 3 h 15"/>
                  <a:gd name="T4" fmla="*/ 11 w 14"/>
                  <a:gd name="T5" fmla="*/ 0 h 15"/>
                  <a:gd name="T6" fmla="*/ 14 w 14"/>
                  <a:gd name="T7" fmla="*/ 12 h 15"/>
                  <a:gd name="T8" fmla="*/ 3 w 14"/>
                  <a:gd name="T9" fmla="*/ 15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4" h="15">
                    <a:moveTo>
                      <a:pt x="3" y="15"/>
                    </a:moveTo>
                    <a:lnTo>
                      <a:pt x="0" y="3"/>
                    </a:lnTo>
                    <a:lnTo>
                      <a:pt x="11" y="0"/>
                    </a:lnTo>
                    <a:lnTo>
                      <a:pt x="14" y="12"/>
                    </a:lnTo>
                    <a:lnTo>
                      <a:pt x="3" y="1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312" name="îŝľîḓê"/>
              <p:cNvSpPr/>
              <p:nvPr/>
            </p:nvSpPr>
            <p:spPr bwMode="auto">
              <a:xfrm>
                <a:off x="2108097" y="5261565"/>
                <a:ext cx="141288" cy="257175"/>
              </a:xfrm>
              <a:custGeom>
                <a:avLst/>
                <a:gdLst>
                  <a:gd name="T0" fmla="*/ 12 w 77"/>
                  <a:gd name="T1" fmla="*/ 25 h 139"/>
                  <a:gd name="T2" fmla="*/ 9 w 77"/>
                  <a:gd name="T3" fmla="*/ 21 h 139"/>
                  <a:gd name="T4" fmla="*/ 12 w 77"/>
                  <a:gd name="T5" fmla="*/ 17 h 139"/>
                  <a:gd name="T6" fmla="*/ 39 w 77"/>
                  <a:gd name="T7" fmla="*/ 21 h 139"/>
                  <a:gd name="T8" fmla="*/ 46 w 77"/>
                  <a:gd name="T9" fmla="*/ 36 h 139"/>
                  <a:gd name="T10" fmla="*/ 46 w 77"/>
                  <a:gd name="T11" fmla="*/ 39 h 139"/>
                  <a:gd name="T12" fmla="*/ 61 w 77"/>
                  <a:gd name="T13" fmla="*/ 33 h 139"/>
                  <a:gd name="T14" fmla="*/ 57 w 77"/>
                  <a:gd name="T15" fmla="*/ 16 h 139"/>
                  <a:gd name="T16" fmla="*/ 35 w 77"/>
                  <a:gd name="T17" fmla="*/ 9 h 139"/>
                  <a:gd name="T18" fmla="*/ 27 w 77"/>
                  <a:gd name="T19" fmla="*/ 3 h 139"/>
                  <a:gd name="T20" fmla="*/ 32 w 77"/>
                  <a:gd name="T21" fmla="*/ 0 h 139"/>
                  <a:gd name="T22" fmla="*/ 61 w 77"/>
                  <a:gd name="T23" fmla="*/ 9 h 139"/>
                  <a:gd name="T24" fmla="*/ 72 w 77"/>
                  <a:gd name="T25" fmla="*/ 30 h 139"/>
                  <a:gd name="T26" fmla="*/ 48 w 77"/>
                  <a:gd name="T27" fmla="*/ 45 h 139"/>
                  <a:gd name="T28" fmla="*/ 45 w 77"/>
                  <a:gd name="T29" fmla="*/ 46 h 139"/>
                  <a:gd name="T30" fmla="*/ 45 w 77"/>
                  <a:gd name="T31" fmla="*/ 54 h 139"/>
                  <a:gd name="T32" fmla="*/ 59 w 77"/>
                  <a:gd name="T33" fmla="*/ 61 h 139"/>
                  <a:gd name="T34" fmla="*/ 77 w 77"/>
                  <a:gd name="T35" fmla="*/ 80 h 139"/>
                  <a:gd name="T36" fmla="*/ 75 w 77"/>
                  <a:gd name="T37" fmla="*/ 84 h 139"/>
                  <a:gd name="T38" fmla="*/ 71 w 77"/>
                  <a:gd name="T39" fmla="*/ 83 h 139"/>
                  <a:gd name="T40" fmla="*/ 59 w 77"/>
                  <a:gd name="T41" fmla="*/ 70 h 139"/>
                  <a:gd name="T42" fmla="*/ 45 w 77"/>
                  <a:gd name="T43" fmla="*/ 63 h 139"/>
                  <a:gd name="T44" fmla="*/ 45 w 77"/>
                  <a:gd name="T45" fmla="*/ 77 h 139"/>
                  <a:gd name="T46" fmla="*/ 53 w 77"/>
                  <a:gd name="T47" fmla="*/ 83 h 139"/>
                  <a:gd name="T48" fmla="*/ 66 w 77"/>
                  <a:gd name="T49" fmla="*/ 102 h 139"/>
                  <a:gd name="T50" fmla="*/ 72 w 77"/>
                  <a:gd name="T51" fmla="*/ 121 h 139"/>
                  <a:gd name="T52" fmla="*/ 70 w 77"/>
                  <a:gd name="T53" fmla="*/ 124 h 139"/>
                  <a:gd name="T54" fmla="*/ 67 w 77"/>
                  <a:gd name="T55" fmla="*/ 122 h 139"/>
                  <a:gd name="T56" fmla="*/ 64 w 77"/>
                  <a:gd name="T57" fmla="*/ 115 h 139"/>
                  <a:gd name="T58" fmla="*/ 55 w 77"/>
                  <a:gd name="T59" fmla="*/ 97 h 139"/>
                  <a:gd name="T60" fmla="*/ 45 w 77"/>
                  <a:gd name="T61" fmla="*/ 87 h 139"/>
                  <a:gd name="T62" fmla="*/ 45 w 77"/>
                  <a:gd name="T63" fmla="*/ 102 h 139"/>
                  <a:gd name="T64" fmla="*/ 44 w 77"/>
                  <a:gd name="T65" fmla="*/ 136 h 139"/>
                  <a:gd name="T66" fmla="*/ 41 w 77"/>
                  <a:gd name="T67" fmla="*/ 139 h 139"/>
                  <a:gd name="T68" fmla="*/ 38 w 77"/>
                  <a:gd name="T69" fmla="*/ 137 h 139"/>
                  <a:gd name="T70" fmla="*/ 37 w 77"/>
                  <a:gd name="T71" fmla="*/ 103 h 139"/>
                  <a:gd name="T72" fmla="*/ 37 w 77"/>
                  <a:gd name="T73" fmla="*/ 86 h 139"/>
                  <a:gd name="T74" fmla="*/ 28 w 77"/>
                  <a:gd name="T75" fmla="*/ 92 h 139"/>
                  <a:gd name="T76" fmla="*/ 19 w 77"/>
                  <a:gd name="T77" fmla="*/ 109 h 139"/>
                  <a:gd name="T78" fmla="*/ 12 w 77"/>
                  <a:gd name="T79" fmla="*/ 121 h 139"/>
                  <a:gd name="T80" fmla="*/ 8 w 77"/>
                  <a:gd name="T81" fmla="*/ 122 h 139"/>
                  <a:gd name="T82" fmla="*/ 7 w 77"/>
                  <a:gd name="T83" fmla="*/ 120 h 139"/>
                  <a:gd name="T84" fmla="*/ 8 w 77"/>
                  <a:gd name="T85" fmla="*/ 117 h 139"/>
                  <a:gd name="T86" fmla="*/ 11 w 77"/>
                  <a:gd name="T87" fmla="*/ 106 h 139"/>
                  <a:gd name="T88" fmla="*/ 22 w 77"/>
                  <a:gd name="T89" fmla="*/ 86 h 139"/>
                  <a:gd name="T90" fmla="*/ 37 w 77"/>
                  <a:gd name="T91" fmla="*/ 76 h 139"/>
                  <a:gd name="T92" fmla="*/ 37 w 77"/>
                  <a:gd name="T93" fmla="*/ 68 h 139"/>
                  <a:gd name="T94" fmla="*/ 37 w 77"/>
                  <a:gd name="T95" fmla="*/ 63 h 139"/>
                  <a:gd name="T96" fmla="*/ 24 w 77"/>
                  <a:gd name="T97" fmla="*/ 69 h 139"/>
                  <a:gd name="T98" fmla="*/ 16 w 77"/>
                  <a:gd name="T99" fmla="*/ 77 h 139"/>
                  <a:gd name="T100" fmla="*/ 9 w 77"/>
                  <a:gd name="T101" fmla="*/ 85 h 139"/>
                  <a:gd name="T102" fmla="*/ 6 w 77"/>
                  <a:gd name="T103" fmla="*/ 86 h 139"/>
                  <a:gd name="T104" fmla="*/ 5 w 77"/>
                  <a:gd name="T105" fmla="*/ 82 h 139"/>
                  <a:gd name="T106" fmla="*/ 22 w 77"/>
                  <a:gd name="T107" fmla="*/ 60 h 139"/>
                  <a:gd name="T108" fmla="*/ 37 w 77"/>
                  <a:gd name="T109" fmla="*/ 54 h 139"/>
                  <a:gd name="T110" fmla="*/ 37 w 77"/>
                  <a:gd name="T111" fmla="*/ 47 h 139"/>
                  <a:gd name="T112" fmla="*/ 3 w 77"/>
                  <a:gd name="T113" fmla="*/ 45 h 139"/>
                  <a:gd name="T114" fmla="*/ 0 w 77"/>
                  <a:gd name="T115" fmla="*/ 40 h 139"/>
                  <a:gd name="T116" fmla="*/ 5 w 77"/>
                  <a:gd name="T117" fmla="*/ 38 h 139"/>
                  <a:gd name="T118" fmla="*/ 37 w 77"/>
                  <a:gd name="T119" fmla="*/ 39 h 139"/>
                  <a:gd name="T120" fmla="*/ 37 w 77"/>
                  <a:gd name="T121" fmla="*/ 39 h 139"/>
                  <a:gd name="T122" fmla="*/ 33 w 77"/>
                  <a:gd name="T123" fmla="*/ 28 h 139"/>
                  <a:gd name="T124" fmla="*/ 12 w 77"/>
                  <a:gd name="T125" fmla="*/ 25 h 1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77" h="139">
                    <a:moveTo>
                      <a:pt x="12" y="25"/>
                    </a:moveTo>
                    <a:cubicBezTo>
                      <a:pt x="10" y="25"/>
                      <a:pt x="9" y="24"/>
                      <a:pt x="9" y="21"/>
                    </a:cubicBezTo>
                    <a:cubicBezTo>
                      <a:pt x="9" y="18"/>
                      <a:pt x="10" y="17"/>
                      <a:pt x="12" y="17"/>
                    </a:cubicBezTo>
                    <a:cubicBezTo>
                      <a:pt x="24" y="17"/>
                      <a:pt x="33" y="18"/>
                      <a:pt x="39" y="21"/>
                    </a:cubicBezTo>
                    <a:cubicBezTo>
                      <a:pt x="45" y="24"/>
                      <a:pt x="47" y="28"/>
                      <a:pt x="46" y="36"/>
                    </a:cubicBezTo>
                    <a:cubicBezTo>
                      <a:pt x="46" y="37"/>
                      <a:pt x="46" y="38"/>
                      <a:pt x="46" y="39"/>
                    </a:cubicBezTo>
                    <a:cubicBezTo>
                      <a:pt x="53" y="38"/>
                      <a:pt x="58" y="35"/>
                      <a:pt x="61" y="33"/>
                    </a:cubicBezTo>
                    <a:cubicBezTo>
                      <a:pt x="65" y="27"/>
                      <a:pt x="64" y="22"/>
                      <a:pt x="57" y="16"/>
                    </a:cubicBezTo>
                    <a:cubicBezTo>
                      <a:pt x="52" y="12"/>
                      <a:pt x="44" y="9"/>
                      <a:pt x="35" y="9"/>
                    </a:cubicBezTo>
                    <a:cubicBezTo>
                      <a:pt x="30" y="8"/>
                      <a:pt x="28" y="6"/>
                      <a:pt x="27" y="3"/>
                    </a:cubicBezTo>
                    <a:cubicBezTo>
                      <a:pt x="27" y="1"/>
                      <a:pt x="29" y="0"/>
                      <a:pt x="32" y="0"/>
                    </a:cubicBezTo>
                    <a:cubicBezTo>
                      <a:pt x="44" y="0"/>
                      <a:pt x="53" y="3"/>
                      <a:pt x="61" y="9"/>
                    </a:cubicBezTo>
                    <a:cubicBezTo>
                      <a:pt x="69" y="16"/>
                      <a:pt x="73" y="23"/>
                      <a:pt x="72" y="30"/>
                    </a:cubicBezTo>
                    <a:cubicBezTo>
                      <a:pt x="68" y="37"/>
                      <a:pt x="60" y="43"/>
                      <a:pt x="48" y="45"/>
                    </a:cubicBezTo>
                    <a:cubicBezTo>
                      <a:pt x="47" y="46"/>
                      <a:pt x="46" y="46"/>
                      <a:pt x="45" y="46"/>
                    </a:cubicBezTo>
                    <a:cubicBezTo>
                      <a:pt x="45" y="48"/>
                      <a:pt x="45" y="51"/>
                      <a:pt x="45" y="54"/>
                    </a:cubicBezTo>
                    <a:cubicBezTo>
                      <a:pt x="49" y="54"/>
                      <a:pt x="54" y="57"/>
                      <a:pt x="59" y="61"/>
                    </a:cubicBezTo>
                    <a:cubicBezTo>
                      <a:pt x="66" y="66"/>
                      <a:pt x="72" y="72"/>
                      <a:pt x="77" y="80"/>
                    </a:cubicBezTo>
                    <a:cubicBezTo>
                      <a:pt x="77" y="82"/>
                      <a:pt x="77" y="83"/>
                      <a:pt x="75" y="84"/>
                    </a:cubicBezTo>
                    <a:cubicBezTo>
                      <a:pt x="74" y="85"/>
                      <a:pt x="72" y="85"/>
                      <a:pt x="71" y="83"/>
                    </a:cubicBezTo>
                    <a:cubicBezTo>
                      <a:pt x="69" y="80"/>
                      <a:pt x="65" y="76"/>
                      <a:pt x="59" y="70"/>
                    </a:cubicBezTo>
                    <a:cubicBezTo>
                      <a:pt x="54" y="66"/>
                      <a:pt x="49" y="64"/>
                      <a:pt x="45" y="63"/>
                    </a:cubicBezTo>
                    <a:cubicBezTo>
                      <a:pt x="45" y="77"/>
                      <a:pt x="45" y="77"/>
                      <a:pt x="45" y="77"/>
                    </a:cubicBezTo>
                    <a:cubicBezTo>
                      <a:pt x="48" y="78"/>
                      <a:pt x="51" y="80"/>
                      <a:pt x="53" y="83"/>
                    </a:cubicBezTo>
                    <a:cubicBezTo>
                      <a:pt x="59" y="88"/>
                      <a:pt x="63" y="94"/>
                      <a:pt x="66" y="102"/>
                    </a:cubicBezTo>
                    <a:cubicBezTo>
                      <a:pt x="71" y="109"/>
                      <a:pt x="73" y="116"/>
                      <a:pt x="72" y="121"/>
                    </a:cubicBezTo>
                    <a:cubicBezTo>
                      <a:pt x="72" y="122"/>
                      <a:pt x="72" y="123"/>
                      <a:pt x="70" y="124"/>
                    </a:cubicBezTo>
                    <a:cubicBezTo>
                      <a:pt x="69" y="124"/>
                      <a:pt x="68" y="124"/>
                      <a:pt x="67" y="122"/>
                    </a:cubicBezTo>
                    <a:cubicBezTo>
                      <a:pt x="67" y="121"/>
                      <a:pt x="66" y="118"/>
                      <a:pt x="64" y="115"/>
                    </a:cubicBezTo>
                    <a:cubicBezTo>
                      <a:pt x="60" y="107"/>
                      <a:pt x="57" y="102"/>
                      <a:pt x="55" y="97"/>
                    </a:cubicBezTo>
                    <a:cubicBezTo>
                      <a:pt x="51" y="91"/>
                      <a:pt x="48" y="88"/>
                      <a:pt x="45" y="87"/>
                    </a:cubicBezTo>
                    <a:cubicBezTo>
                      <a:pt x="45" y="102"/>
                      <a:pt x="45" y="102"/>
                      <a:pt x="45" y="102"/>
                    </a:cubicBezTo>
                    <a:cubicBezTo>
                      <a:pt x="45" y="117"/>
                      <a:pt x="45" y="128"/>
                      <a:pt x="44" y="136"/>
                    </a:cubicBezTo>
                    <a:cubicBezTo>
                      <a:pt x="43" y="137"/>
                      <a:pt x="42" y="138"/>
                      <a:pt x="41" y="139"/>
                    </a:cubicBezTo>
                    <a:cubicBezTo>
                      <a:pt x="40" y="139"/>
                      <a:pt x="39" y="139"/>
                      <a:pt x="38" y="137"/>
                    </a:cubicBezTo>
                    <a:cubicBezTo>
                      <a:pt x="37" y="135"/>
                      <a:pt x="37" y="123"/>
                      <a:pt x="37" y="103"/>
                    </a:cubicBezTo>
                    <a:cubicBezTo>
                      <a:pt x="37" y="97"/>
                      <a:pt x="37" y="92"/>
                      <a:pt x="37" y="86"/>
                    </a:cubicBezTo>
                    <a:cubicBezTo>
                      <a:pt x="34" y="87"/>
                      <a:pt x="31" y="89"/>
                      <a:pt x="28" y="92"/>
                    </a:cubicBezTo>
                    <a:cubicBezTo>
                      <a:pt x="24" y="98"/>
                      <a:pt x="21" y="103"/>
                      <a:pt x="19" y="109"/>
                    </a:cubicBezTo>
                    <a:cubicBezTo>
                      <a:pt x="17" y="113"/>
                      <a:pt x="15" y="117"/>
                      <a:pt x="12" y="121"/>
                    </a:cubicBezTo>
                    <a:cubicBezTo>
                      <a:pt x="11" y="122"/>
                      <a:pt x="9" y="122"/>
                      <a:pt x="8" y="122"/>
                    </a:cubicBezTo>
                    <a:cubicBezTo>
                      <a:pt x="7" y="122"/>
                      <a:pt x="7" y="121"/>
                      <a:pt x="7" y="120"/>
                    </a:cubicBezTo>
                    <a:cubicBezTo>
                      <a:pt x="7" y="119"/>
                      <a:pt x="7" y="118"/>
                      <a:pt x="8" y="117"/>
                    </a:cubicBezTo>
                    <a:cubicBezTo>
                      <a:pt x="9" y="112"/>
                      <a:pt x="10" y="108"/>
                      <a:pt x="11" y="106"/>
                    </a:cubicBezTo>
                    <a:cubicBezTo>
                      <a:pt x="13" y="101"/>
                      <a:pt x="17" y="94"/>
                      <a:pt x="22" y="86"/>
                    </a:cubicBezTo>
                    <a:cubicBezTo>
                      <a:pt x="27" y="80"/>
                      <a:pt x="32" y="77"/>
                      <a:pt x="37" y="76"/>
                    </a:cubicBezTo>
                    <a:cubicBezTo>
                      <a:pt x="37" y="68"/>
                      <a:pt x="37" y="68"/>
                      <a:pt x="37" y="68"/>
                    </a:cubicBezTo>
                    <a:cubicBezTo>
                      <a:pt x="37" y="63"/>
                      <a:pt x="37" y="63"/>
                      <a:pt x="37" y="63"/>
                    </a:cubicBezTo>
                    <a:cubicBezTo>
                      <a:pt x="33" y="64"/>
                      <a:pt x="29" y="66"/>
                      <a:pt x="24" y="69"/>
                    </a:cubicBezTo>
                    <a:cubicBezTo>
                      <a:pt x="23" y="70"/>
                      <a:pt x="20" y="72"/>
                      <a:pt x="16" y="77"/>
                    </a:cubicBezTo>
                    <a:cubicBezTo>
                      <a:pt x="13" y="81"/>
                      <a:pt x="11" y="83"/>
                      <a:pt x="9" y="85"/>
                    </a:cubicBezTo>
                    <a:cubicBezTo>
                      <a:pt x="8" y="86"/>
                      <a:pt x="7" y="87"/>
                      <a:pt x="6" y="86"/>
                    </a:cubicBezTo>
                    <a:cubicBezTo>
                      <a:pt x="5" y="86"/>
                      <a:pt x="5" y="84"/>
                      <a:pt x="5" y="82"/>
                    </a:cubicBezTo>
                    <a:cubicBezTo>
                      <a:pt x="10" y="73"/>
                      <a:pt x="15" y="65"/>
                      <a:pt x="22" y="60"/>
                    </a:cubicBezTo>
                    <a:cubicBezTo>
                      <a:pt x="27" y="56"/>
                      <a:pt x="32" y="54"/>
                      <a:pt x="37" y="54"/>
                    </a:cubicBezTo>
                    <a:cubicBezTo>
                      <a:pt x="37" y="47"/>
                      <a:pt x="37" y="47"/>
                      <a:pt x="37" y="47"/>
                    </a:cubicBezTo>
                    <a:cubicBezTo>
                      <a:pt x="22" y="49"/>
                      <a:pt x="10" y="48"/>
                      <a:pt x="3" y="45"/>
                    </a:cubicBezTo>
                    <a:cubicBezTo>
                      <a:pt x="1" y="44"/>
                      <a:pt x="0" y="42"/>
                      <a:pt x="0" y="40"/>
                    </a:cubicBezTo>
                    <a:cubicBezTo>
                      <a:pt x="1" y="38"/>
                      <a:pt x="3" y="38"/>
                      <a:pt x="5" y="38"/>
                    </a:cubicBezTo>
                    <a:cubicBezTo>
                      <a:pt x="12" y="40"/>
                      <a:pt x="22" y="40"/>
                      <a:pt x="37" y="39"/>
                    </a:cubicBezTo>
                    <a:cubicBezTo>
                      <a:pt x="37" y="39"/>
                      <a:pt x="37" y="39"/>
                      <a:pt x="37" y="39"/>
                    </a:cubicBezTo>
                    <a:cubicBezTo>
                      <a:pt x="38" y="32"/>
                      <a:pt x="36" y="29"/>
                      <a:pt x="33" y="28"/>
                    </a:cubicBezTo>
                    <a:cubicBezTo>
                      <a:pt x="26" y="25"/>
                      <a:pt x="19" y="24"/>
                      <a:pt x="12" y="2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313" name="íṣlíḑe"/>
              <p:cNvSpPr/>
              <p:nvPr/>
            </p:nvSpPr>
            <p:spPr bwMode="auto">
              <a:xfrm>
                <a:off x="2273197" y="5255215"/>
                <a:ext cx="163513" cy="263525"/>
              </a:xfrm>
              <a:custGeom>
                <a:avLst/>
                <a:gdLst>
                  <a:gd name="T0" fmla="*/ 47 w 88"/>
                  <a:gd name="T1" fmla="*/ 8 h 143"/>
                  <a:gd name="T2" fmla="*/ 74 w 88"/>
                  <a:gd name="T3" fmla="*/ 14 h 143"/>
                  <a:gd name="T4" fmla="*/ 82 w 88"/>
                  <a:gd name="T5" fmla="*/ 26 h 143"/>
                  <a:gd name="T6" fmla="*/ 79 w 88"/>
                  <a:gd name="T7" fmla="*/ 75 h 143"/>
                  <a:gd name="T8" fmla="*/ 86 w 88"/>
                  <a:gd name="T9" fmla="*/ 136 h 143"/>
                  <a:gd name="T10" fmla="*/ 73 w 88"/>
                  <a:gd name="T11" fmla="*/ 45 h 143"/>
                  <a:gd name="T12" fmla="*/ 67 w 88"/>
                  <a:gd name="T13" fmla="*/ 44 h 143"/>
                  <a:gd name="T14" fmla="*/ 54 w 88"/>
                  <a:gd name="T15" fmla="*/ 58 h 143"/>
                  <a:gd name="T16" fmla="*/ 22 w 88"/>
                  <a:gd name="T17" fmla="*/ 54 h 143"/>
                  <a:gd name="T18" fmla="*/ 15 w 88"/>
                  <a:gd name="T19" fmla="*/ 45 h 143"/>
                  <a:gd name="T20" fmla="*/ 11 w 88"/>
                  <a:gd name="T21" fmla="*/ 91 h 143"/>
                  <a:gd name="T22" fmla="*/ 9 w 88"/>
                  <a:gd name="T23" fmla="*/ 118 h 143"/>
                  <a:gd name="T24" fmla="*/ 2 w 88"/>
                  <a:gd name="T25" fmla="*/ 139 h 143"/>
                  <a:gd name="T26" fmla="*/ 6 w 88"/>
                  <a:gd name="T27" fmla="*/ 80 h 143"/>
                  <a:gd name="T28" fmla="*/ 2 w 88"/>
                  <a:gd name="T29" fmla="*/ 26 h 143"/>
                  <a:gd name="T30" fmla="*/ 32 w 88"/>
                  <a:gd name="T31" fmla="*/ 10 h 143"/>
                  <a:gd name="T32" fmla="*/ 39 w 88"/>
                  <a:gd name="T33" fmla="*/ 0 h 143"/>
                  <a:gd name="T34" fmla="*/ 24 w 88"/>
                  <a:gd name="T35" fmla="*/ 23 h 143"/>
                  <a:gd name="T36" fmla="*/ 66 w 88"/>
                  <a:gd name="T37" fmla="*/ 29 h 143"/>
                  <a:gd name="T38" fmla="*/ 67 w 88"/>
                  <a:gd name="T39" fmla="*/ 37 h 143"/>
                  <a:gd name="T40" fmla="*/ 73 w 88"/>
                  <a:gd name="T41" fmla="*/ 34 h 143"/>
                  <a:gd name="T42" fmla="*/ 66 w 88"/>
                  <a:gd name="T43" fmla="*/ 20 h 143"/>
                  <a:gd name="T44" fmla="*/ 13 w 88"/>
                  <a:gd name="T45" fmla="*/ 21 h 143"/>
                  <a:gd name="T46" fmla="*/ 12 w 88"/>
                  <a:gd name="T47" fmla="*/ 32 h 143"/>
                  <a:gd name="T48" fmla="*/ 17 w 88"/>
                  <a:gd name="T49" fmla="*/ 38 h 143"/>
                  <a:gd name="T50" fmla="*/ 24 w 88"/>
                  <a:gd name="T51" fmla="*/ 23 h 143"/>
                  <a:gd name="T52" fmla="*/ 61 w 88"/>
                  <a:gd name="T53" fmla="*/ 64 h 143"/>
                  <a:gd name="T54" fmla="*/ 66 w 88"/>
                  <a:gd name="T55" fmla="*/ 96 h 143"/>
                  <a:gd name="T56" fmla="*/ 61 w 88"/>
                  <a:gd name="T57" fmla="*/ 136 h 143"/>
                  <a:gd name="T58" fmla="*/ 59 w 88"/>
                  <a:gd name="T59" fmla="*/ 143 h 143"/>
                  <a:gd name="T60" fmla="*/ 46 w 88"/>
                  <a:gd name="T61" fmla="*/ 105 h 143"/>
                  <a:gd name="T62" fmla="*/ 30 w 88"/>
                  <a:gd name="T63" fmla="*/ 140 h 143"/>
                  <a:gd name="T64" fmla="*/ 26 w 88"/>
                  <a:gd name="T65" fmla="*/ 137 h 143"/>
                  <a:gd name="T66" fmla="*/ 32 w 88"/>
                  <a:gd name="T67" fmla="*/ 121 h 143"/>
                  <a:gd name="T68" fmla="*/ 35 w 88"/>
                  <a:gd name="T69" fmla="*/ 105 h 143"/>
                  <a:gd name="T70" fmla="*/ 18 w 88"/>
                  <a:gd name="T71" fmla="*/ 75 h 143"/>
                  <a:gd name="T72" fmla="*/ 24 w 88"/>
                  <a:gd name="T73" fmla="*/ 35 h 143"/>
                  <a:gd name="T74" fmla="*/ 39 w 88"/>
                  <a:gd name="T75" fmla="*/ 37 h 143"/>
                  <a:gd name="T76" fmla="*/ 34 w 88"/>
                  <a:gd name="T77" fmla="*/ 29 h 143"/>
                  <a:gd name="T78" fmla="*/ 24 w 88"/>
                  <a:gd name="T79" fmla="*/ 35 h 143"/>
                  <a:gd name="T80" fmla="*/ 62 w 88"/>
                  <a:gd name="T81" fmla="*/ 84 h 143"/>
                  <a:gd name="T82" fmla="*/ 43 w 88"/>
                  <a:gd name="T83" fmla="*/ 81 h 143"/>
                  <a:gd name="T84" fmla="*/ 25 w 88"/>
                  <a:gd name="T85" fmla="*/ 87 h 143"/>
                  <a:gd name="T86" fmla="*/ 26 w 88"/>
                  <a:gd name="T87" fmla="*/ 48 h 143"/>
                  <a:gd name="T88" fmla="*/ 38 w 88"/>
                  <a:gd name="T89" fmla="*/ 52 h 143"/>
                  <a:gd name="T90" fmla="*/ 25 w 88"/>
                  <a:gd name="T91" fmla="*/ 44 h 143"/>
                  <a:gd name="T92" fmla="*/ 32 w 88"/>
                  <a:gd name="T93" fmla="*/ 69 h 143"/>
                  <a:gd name="T94" fmla="*/ 41 w 88"/>
                  <a:gd name="T95" fmla="*/ 75 h 143"/>
                  <a:gd name="T96" fmla="*/ 57 w 88"/>
                  <a:gd name="T97" fmla="*/ 70 h 143"/>
                  <a:gd name="T98" fmla="*/ 56 w 88"/>
                  <a:gd name="T99" fmla="*/ 98 h 143"/>
                  <a:gd name="T100" fmla="*/ 54 w 88"/>
                  <a:gd name="T101" fmla="*/ 93 h 143"/>
                  <a:gd name="T102" fmla="*/ 36 w 88"/>
                  <a:gd name="T103" fmla="*/ 93 h 143"/>
                  <a:gd name="T104" fmla="*/ 32 w 88"/>
                  <a:gd name="T105" fmla="*/ 98 h 143"/>
                  <a:gd name="T106" fmla="*/ 56 w 88"/>
                  <a:gd name="T107" fmla="*/ 29 h 143"/>
                  <a:gd name="T108" fmla="*/ 46 w 88"/>
                  <a:gd name="T109" fmla="*/ 29 h 143"/>
                  <a:gd name="T110" fmla="*/ 60 w 88"/>
                  <a:gd name="T111" fmla="*/ 37 h 143"/>
                  <a:gd name="T112" fmla="*/ 56 w 88"/>
                  <a:gd name="T113" fmla="*/ 29 h 143"/>
                  <a:gd name="T114" fmla="*/ 60 w 88"/>
                  <a:gd name="T115" fmla="*/ 43 h 143"/>
                  <a:gd name="T116" fmla="*/ 46 w 88"/>
                  <a:gd name="T117" fmla="*/ 52 h 143"/>
                  <a:gd name="T118" fmla="*/ 59 w 88"/>
                  <a:gd name="T119" fmla="*/ 48 h 1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88" h="143">
                    <a:moveTo>
                      <a:pt x="43" y="2"/>
                    </a:moveTo>
                    <a:cubicBezTo>
                      <a:pt x="45" y="3"/>
                      <a:pt x="47" y="6"/>
                      <a:pt x="47" y="8"/>
                    </a:cubicBezTo>
                    <a:cubicBezTo>
                      <a:pt x="47" y="9"/>
                      <a:pt x="48" y="10"/>
                      <a:pt x="49" y="10"/>
                    </a:cubicBezTo>
                    <a:cubicBezTo>
                      <a:pt x="57" y="10"/>
                      <a:pt x="66" y="12"/>
                      <a:pt x="74" y="14"/>
                    </a:cubicBezTo>
                    <a:cubicBezTo>
                      <a:pt x="78" y="16"/>
                      <a:pt x="81" y="18"/>
                      <a:pt x="81" y="19"/>
                    </a:cubicBezTo>
                    <a:cubicBezTo>
                      <a:pt x="82" y="21"/>
                      <a:pt x="82" y="24"/>
                      <a:pt x="82" y="26"/>
                    </a:cubicBezTo>
                    <a:cubicBezTo>
                      <a:pt x="82" y="27"/>
                      <a:pt x="82" y="27"/>
                      <a:pt x="82" y="28"/>
                    </a:cubicBezTo>
                    <a:cubicBezTo>
                      <a:pt x="79" y="39"/>
                      <a:pt x="78" y="55"/>
                      <a:pt x="79" y="75"/>
                    </a:cubicBezTo>
                    <a:cubicBezTo>
                      <a:pt x="80" y="87"/>
                      <a:pt x="83" y="106"/>
                      <a:pt x="87" y="131"/>
                    </a:cubicBezTo>
                    <a:cubicBezTo>
                      <a:pt x="88" y="134"/>
                      <a:pt x="87" y="135"/>
                      <a:pt x="86" y="136"/>
                    </a:cubicBezTo>
                    <a:cubicBezTo>
                      <a:pt x="84" y="137"/>
                      <a:pt x="82" y="136"/>
                      <a:pt x="82" y="133"/>
                    </a:cubicBezTo>
                    <a:cubicBezTo>
                      <a:pt x="74" y="106"/>
                      <a:pt x="71" y="76"/>
                      <a:pt x="73" y="45"/>
                    </a:cubicBezTo>
                    <a:cubicBezTo>
                      <a:pt x="72" y="45"/>
                      <a:pt x="71" y="44"/>
                      <a:pt x="70" y="44"/>
                    </a:cubicBezTo>
                    <a:cubicBezTo>
                      <a:pt x="69" y="44"/>
                      <a:pt x="68" y="44"/>
                      <a:pt x="67" y="44"/>
                    </a:cubicBezTo>
                    <a:cubicBezTo>
                      <a:pt x="67" y="48"/>
                      <a:pt x="66" y="51"/>
                      <a:pt x="64" y="54"/>
                    </a:cubicBezTo>
                    <a:cubicBezTo>
                      <a:pt x="62" y="57"/>
                      <a:pt x="59" y="59"/>
                      <a:pt x="54" y="58"/>
                    </a:cubicBezTo>
                    <a:cubicBezTo>
                      <a:pt x="47" y="58"/>
                      <a:pt x="39" y="58"/>
                      <a:pt x="32" y="58"/>
                    </a:cubicBezTo>
                    <a:cubicBezTo>
                      <a:pt x="28" y="59"/>
                      <a:pt x="25" y="58"/>
                      <a:pt x="22" y="54"/>
                    </a:cubicBezTo>
                    <a:cubicBezTo>
                      <a:pt x="20" y="51"/>
                      <a:pt x="19" y="48"/>
                      <a:pt x="18" y="45"/>
                    </a:cubicBezTo>
                    <a:cubicBezTo>
                      <a:pt x="17" y="45"/>
                      <a:pt x="16" y="45"/>
                      <a:pt x="15" y="45"/>
                    </a:cubicBezTo>
                    <a:cubicBezTo>
                      <a:pt x="14" y="45"/>
                      <a:pt x="13" y="45"/>
                      <a:pt x="13" y="45"/>
                    </a:cubicBezTo>
                    <a:cubicBezTo>
                      <a:pt x="13" y="60"/>
                      <a:pt x="13" y="75"/>
                      <a:pt x="11" y="91"/>
                    </a:cubicBezTo>
                    <a:cubicBezTo>
                      <a:pt x="11" y="95"/>
                      <a:pt x="11" y="102"/>
                      <a:pt x="10" y="111"/>
                    </a:cubicBezTo>
                    <a:cubicBezTo>
                      <a:pt x="10" y="108"/>
                      <a:pt x="10" y="111"/>
                      <a:pt x="9" y="118"/>
                    </a:cubicBezTo>
                    <a:cubicBezTo>
                      <a:pt x="9" y="124"/>
                      <a:pt x="8" y="130"/>
                      <a:pt x="6" y="134"/>
                    </a:cubicBezTo>
                    <a:cubicBezTo>
                      <a:pt x="5" y="138"/>
                      <a:pt x="3" y="139"/>
                      <a:pt x="2" y="139"/>
                    </a:cubicBezTo>
                    <a:cubicBezTo>
                      <a:pt x="0" y="139"/>
                      <a:pt x="0" y="137"/>
                      <a:pt x="0" y="133"/>
                    </a:cubicBezTo>
                    <a:cubicBezTo>
                      <a:pt x="3" y="112"/>
                      <a:pt x="5" y="94"/>
                      <a:pt x="6" y="80"/>
                    </a:cubicBezTo>
                    <a:cubicBezTo>
                      <a:pt x="8" y="64"/>
                      <a:pt x="7" y="51"/>
                      <a:pt x="6" y="38"/>
                    </a:cubicBezTo>
                    <a:cubicBezTo>
                      <a:pt x="5" y="34"/>
                      <a:pt x="4" y="30"/>
                      <a:pt x="2" y="26"/>
                    </a:cubicBezTo>
                    <a:cubicBezTo>
                      <a:pt x="0" y="21"/>
                      <a:pt x="1" y="17"/>
                      <a:pt x="6" y="16"/>
                    </a:cubicBezTo>
                    <a:cubicBezTo>
                      <a:pt x="14" y="12"/>
                      <a:pt x="23" y="11"/>
                      <a:pt x="32" y="10"/>
                    </a:cubicBezTo>
                    <a:cubicBezTo>
                      <a:pt x="36" y="9"/>
                      <a:pt x="38" y="7"/>
                      <a:pt x="38" y="4"/>
                    </a:cubicBezTo>
                    <a:cubicBezTo>
                      <a:pt x="38" y="2"/>
                      <a:pt x="38" y="1"/>
                      <a:pt x="39" y="0"/>
                    </a:cubicBezTo>
                    <a:cubicBezTo>
                      <a:pt x="41" y="0"/>
                      <a:pt x="42" y="0"/>
                      <a:pt x="43" y="2"/>
                    </a:cubicBezTo>
                    <a:close/>
                    <a:moveTo>
                      <a:pt x="24" y="23"/>
                    </a:moveTo>
                    <a:cubicBezTo>
                      <a:pt x="33" y="22"/>
                      <a:pt x="44" y="22"/>
                      <a:pt x="58" y="23"/>
                    </a:cubicBezTo>
                    <a:cubicBezTo>
                      <a:pt x="63" y="24"/>
                      <a:pt x="66" y="26"/>
                      <a:pt x="66" y="29"/>
                    </a:cubicBezTo>
                    <a:cubicBezTo>
                      <a:pt x="66" y="30"/>
                      <a:pt x="66" y="30"/>
                      <a:pt x="67" y="31"/>
                    </a:cubicBezTo>
                    <a:cubicBezTo>
                      <a:pt x="67" y="33"/>
                      <a:pt x="67" y="35"/>
                      <a:pt x="67" y="37"/>
                    </a:cubicBezTo>
                    <a:cubicBezTo>
                      <a:pt x="69" y="38"/>
                      <a:pt x="71" y="38"/>
                      <a:pt x="73" y="38"/>
                    </a:cubicBezTo>
                    <a:cubicBezTo>
                      <a:pt x="73" y="37"/>
                      <a:pt x="73" y="36"/>
                      <a:pt x="73" y="34"/>
                    </a:cubicBezTo>
                    <a:cubicBezTo>
                      <a:pt x="73" y="32"/>
                      <a:pt x="73" y="30"/>
                      <a:pt x="74" y="29"/>
                    </a:cubicBezTo>
                    <a:cubicBezTo>
                      <a:pt x="75" y="25"/>
                      <a:pt x="72" y="21"/>
                      <a:pt x="66" y="20"/>
                    </a:cubicBezTo>
                    <a:cubicBezTo>
                      <a:pt x="58" y="17"/>
                      <a:pt x="50" y="16"/>
                      <a:pt x="40" y="16"/>
                    </a:cubicBezTo>
                    <a:cubicBezTo>
                      <a:pt x="29" y="16"/>
                      <a:pt x="20" y="18"/>
                      <a:pt x="13" y="21"/>
                    </a:cubicBezTo>
                    <a:cubicBezTo>
                      <a:pt x="11" y="22"/>
                      <a:pt x="11" y="24"/>
                      <a:pt x="11" y="26"/>
                    </a:cubicBezTo>
                    <a:cubicBezTo>
                      <a:pt x="11" y="28"/>
                      <a:pt x="12" y="30"/>
                      <a:pt x="12" y="32"/>
                    </a:cubicBezTo>
                    <a:cubicBezTo>
                      <a:pt x="12" y="35"/>
                      <a:pt x="12" y="37"/>
                      <a:pt x="12" y="38"/>
                    </a:cubicBezTo>
                    <a:cubicBezTo>
                      <a:pt x="14" y="38"/>
                      <a:pt x="15" y="38"/>
                      <a:pt x="17" y="38"/>
                    </a:cubicBezTo>
                    <a:cubicBezTo>
                      <a:pt x="17" y="35"/>
                      <a:pt x="17" y="32"/>
                      <a:pt x="17" y="30"/>
                    </a:cubicBezTo>
                    <a:cubicBezTo>
                      <a:pt x="18" y="26"/>
                      <a:pt x="20" y="24"/>
                      <a:pt x="24" y="23"/>
                    </a:cubicBezTo>
                    <a:close/>
                    <a:moveTo>
                      <a:pt x="28" y="64"/>
                    </a:moveTo>
                    <a:cubicBezTo>
                      <a:pt x="39" y="62"/>
                      <a:pt x="50" y="62"/>
                      <a:pt x="61" y="64"/>
                    </a:cubicBezTo>
                    <a:cubicBezTo>
                      <a:pt x="65" y="65"/>
                      <a:pt x="67" y="67"/>
                      <a:pt x="67" y="71"/>
                    </a:cubicBezTo>
                    <a:cubicBezTo>
                      <a:pt x="69" y="79"/>
                      <a:pt x="68" y="88"/>
                      <a:pt x="66" y="96"/>
                    </a:cubicBezTo>
                    <a:cubicBezTo>
                      <a:pt x="65" y="102"/>
                      <a:pt x="61" y="105"/>
                      <a:pt x="54" y="105"/>
                    </a:cubicBezTo>
                    <a:cubicBezTo>
                      <a:pt x="55" y="115"/>
                      <a:pt x="57" y="125"/>
                      <a:pt x="61" y="136"/>
                    </a:cubicBezTo>
                    <a:cubicBezTo>
                      <a:pt x="63" y="138"/>
                      <a:pt x="63" y="140"/>
                      <a:pt x="61" y="142"/>
                    </a:cubicBezTo>
                    <a:cubicBezTo>
                      <a:pt x="60" y="142"/>
                      <a:pt x="59" y="143"/>
                      <a:pt x="59" y="143"/>
                    </a:cubicBezTo>
                    <a:cubicBezTo>
                      <a:pt x="58" y="143"/>
                      <a:pt x="57" y="142"/>
                      <a:pt x="57" y="141"/>
                    </a:cubicBezTo>
                    <a:cubicBezTo>
                      <a:pt x="52" y="131"/>
                      <a:pt x="48" y="120"/>
                      <a:pt x="46" y="105"/>
                    </a:cubicBezTo>
                    <a:cubicBezTo>
                      <a:pt x="41" y="105"/>
                      <a:pt x="41" y="105"/>
                      <a:pt x="41" y="105"/>
                    </a:cubicBezTo>
                    <a:cubicBezTo>
                      <a:pt x="40" y="120"/>
                      <a:pt x="37" y="131"/>
                      <a:pt x="30" y="140"/>
                    </a:cubicBezTo>
                    <a:cubicBezTo>
                      <a:pt x="29" y="141"/>
                      <a:pt x="27" y="142"/>
                      <a:pt x="26" y="142"/>
                    </a:cubicBezTo>
                    <a:cubicBezTo>
                      <a:pt x="25" y="141"/>
                      <a:pt x="25" y="139"/>
                      <a:pt x="26" y="137"/>
                    </a:cubicBezTo>
                    <a:cubicBezTo>
                      <a:pt x="26" y="137"/>
                      <a:pt x="26" y="135"/>
                      <a:pt x="28" y="132"/>
                    </a:cubicBezTo>
                    <a:cubicBezTo>
                      <a:pt x="30" y="127"/>
                      <a:pt x="32" y="123"/>
                      <a:pt x="32" y="121"/>
                    </a:cubicBezTo>
                    <a:cubicBezTo>
                      <a:pt x="33" y="118"/>
                      <a:pt x="34" y="113"/>
                      <a:pt x="35" y="107"/>
                    </a:cubicBezTo>
                    <a:cubicBezTo>
                      <a:pt x="35" y="106"/>
                      <a:pt x="35" y="106"/>
                      <a:pt x="35" y="105"/>
                    </a:cubicBezTo>
                    <a:cubicBezTo>
                      <a:pt x="29" y="105"/>
                      <a:pt x="25" y="103"/>
                      <a:pt x="22" y="98"/>
                    </a:cubicBezTo>
                    <a:cubicBezTo>
                      <a:pt x="19" y="93"/>
                      <a:pt x="17" y="85"/>
                      <a:pt x="18" y="75"/>
                    </a:cubicBezTo>
                    <a:cubicBezTo>
                      <a:pt x="19" y="68"/>
                      <a:pt x="22" y="65"/>
                      <a:pt x="28" y="64"/>
                    </a:cubicBezTo>
                    <a:close/>
                    <a:moveTo>
                      <a:pt x="24" y="35"/>
                    </a:moveTo>
                    <a:cubicBezTo>
                      <a:pt x="24" y="36"/>
                      <a:pt x="24" y="36"/>
                      <a:pt x="24" y="37"/>
                    </a:cubicBezTo>
                    <a:cubicBezTo>
                      <a:pt x="29" y="37"/>
                      <a:pt x="34" y="37"/>
                      <a:pt x="39" y="37"/>
                    </a:cubicBezTo>
                    <a:cubicBezTo>
                      <a:pt x="39" y="34"/>
                      <a:pt x="38" y="31"/>
                      <a:pt x="38" y="29"/>
                    </a:cubicBezTo>
                    <a:cubicBezTo>
                      <a:pt x="37" y="29"/>
                      <a:pt x="36" y="29"/>
                      <a:pt x="34" y="29"/>
                    </a:cubicBezTo>
                    <a:cubicBezTo>
                      <a:pt x="31" y="29"/>
                      <a:pt x="30" y="29"/>
                      <a:pt x="28" y="29"/>
                    </a:cubicBezTo>
                    <a:cubicBezTo>
                      <a:pt x="25" y="31"/>
                      <a:pt x="24" y="32"/>
                      <a:pt x="24" y="35"/>
                    </a:cubicBezTo>
                    <a:close/>
                    <a:moveTo>
                      <a:pt x="61" y="87"/>
                    </a:moveTo>
                    <a:cubicBezTo>
                      <a:pt x="61" y="86"/>
                      <a:pt x="62" y="85"/>
                      <a:pt x="62" y="84"/>
                    </a:cubicBezTo>
                    <a:cubicBezTo>
                      <a:pt x="62" y="83"/>
                      <a:pt x="62" y="82"/>
                      <a:pt x="62" y="82"/>
                    </a:cubicBezTo>
                    <a:cubicBezTo>
                      <a:pt x="56" y="81"/>
                      <a:pt x="50" y="80"/>
                      <a:pt x="43" y="81"/>
                    </a:cubicBezTo>
                    <a:cubicBezTo>
                      <a:pt x="37" y="81"/>
                      <a:pt x="31" y="82"/>
                      <a:pt x="24" y="83"/>
                    </a:cubicBezTo>
                    <a:cubicBezTo>
                      <a:pt x="25" y="87"/>
                      <a:pt x="25" y="87"/>
                      <a:pt x="25" y="87"/>
                    </a:cubicBezTo>
                    <a:cubicBezTo>
                      <a:pt x="35" y="86"/>
                      <a:pt x="48" y="86"/>
                      <a:pt x="61" y="87"/>
                    </a:cubicBezTo>
                    <a:close/>
                    <a:moveTo>
                      <a:pt x="26" y="48"/>
                    </a:moveTo>
                    <a:cubicBezTo>
                      <a:pt x="28" y="51"/>
                      <a:pt x="30" y="52"/>
                      <a:pt x="35" y="52"/>
                    </a:cubicBezTo>
                    <a:cubicBezTo>
                      <a:pt x="38" y="52"/>
                      <a:pt x="38" y="52"/>
                      <a:pt x="38" y="52"/>
                    </a:cubicBezTo>
                    <a:cubicBezTo>
                      <a:pt x="38" y="49"/>
                      <a:pt x="39" y="46"/>
                      <a:pt x="39" y="44"/>
                    </a:cubicBezTo>
                    <a:cubicBezTo>
                      <a:pt x="34" y="44"/>
                      <a:pt x="30" y="44"/>
                      <a:pt x="25" y="44"/>
                    </a:cubicBezTo>
                    <a:cubicBezTo>
                      <a:pt x="25" y="46"/>
                      <a:pt x="25" y="47"/>
                      <a:pt x="26" y="48"/>
                    </a:cubicBezTo>
                    <a:close/>
                    <a:moveTo>
                      <a:pt x="32" y="69"/>
                    </a:moveTo>
                    <a:cubicBezTo>
                      <a:pt x="28" y="70"/>
                      <a:pt x="25" y="72"/>
                      <a:pt x="25" y="76"/>
                    </a:cubicBezTo>
                    <a:cubicBezTo>
                      <a:pt x="30" y="75"/>
                      <a:pt x="35" y="75"/>
                      <a:pt x="41" y="75"/>
                    </a:cubicBezTo>
                    <a:cubicBezTo>
                      <a:pt x="46" y="74"/>
                      <a:pt x="53" y="74"/>
                      <a:pt x="61" y="75"/>
                    </a:cubicBezTo>
                    <a:cubicBezTo>
                      <a:pt x="61" y="72"/>
                      <a:pt x="59" y="71"/>
                      <a:pt x="57" y="70"/>
                    </a:cubicBezTo>
                    <a:cubicBezTo>
                      <a:pt x="49" y="68"/>
                      <a:pt x="40" y="68"/>
                      <a:pt x="32" y="69"/>
                    </a:cubicBezTo>
                    <a:close/>
                    <a:moveTo>
                      <a:pt x="56" y="98"/>
                    </a:moveTo>
                    <a:cubicBezTo>
                      <a:pt x="59" y="97"/>
                      <a:pt x="60" y="96"/>
                      <a:pt x="61" y="93"/>
                    </a:cubicBezTo>
                    <a:cubicBezTo>
                      <a:pt x="60" y="93"/>
                      <a:pt x="57" y="93"/>
                      <a:pt x="54" y="93"/>
                    </a:cubicBezTo>
                    <a:cubicBezTo>
                      <a:pt x="48" y="92"/>
                      <a:pt x="44" y="92"/>
                      <a:pt x="41" y="92"/>
                    </a:cubicBezTo>
                    <a:cubicBezTo>
                      <a:pt x="40" y="92"/>
                      <a:pt x="38" y="92"/>
                      <a:pt x="36" y="93"/>
                    </a:cubicBezTo>
                    <a:cubicBezTo>
                      <a:pt x="31" y="93"/>
                      <a:pt x="28" y="94"/>
                      <a:pt x="26" y="94"/>
                    </a:cubicBezTo>
                    <a:cubicBezTo>
                      <a:pt x="27" y="96"/>
                      <a:pt x="29" y="98"/>
                      <a:pt x="32" y="98"/>
                    </a:cubicBezTo>
                    <a:cubicBezTo>
                      <a:pt x="39" y="99"/>
                      <a:pt x="47" y="99"/>
                      <a:pt x="56" y="98"/>
                    </a:cubicBezTo>
                    <a:close/>
                    <a:moveTo>
                      <a:pt x="56" y="29"/>
                    </a:moveTo>
                    <a:cubicBezTo>
                      <a:pt x="55" y="29"/>
                      <a:pt x="53" y="29"/>
                      <a:pt x="51" y="29"/>
                    </a:cubicBezTo>
                    <a:cubicBezTo>
                      <a:pt x="49" y="29"/>
                      <a:pt x="47" y="29"/>
                      <a:pt x="46" y="29"/>
                    </a:cubicBezTo>
                    <a:cubicBezTo>
                      <a:pt x="46" y="31"/>
                      <a:pt x="46" y="34"/>
                      <a:pt x="46" y="37"/>
                    </a:cubicBezTo>
                    <a:cubicBezTo>
                      <a:pt x="50" y="37"/>
                      <a:pt x="55" y="37"/>
                      <a:pt x="60" y="37"/>
                    </a:cubicBezTo>
                    <a:cubicBezTo>
                      <a:pt x="60" y="35"/>
                      <a:pt x="60" y="35"/>
                      <a:pt x="60" y="35"/>
                    </a:cubicBezTo>
                    <a:cubicBezTo>
                      <a:pt x="60" y="32"/>
                      <a:pt x="58" y="30"/>
                      <a:pt x="56" y="29"/>
                    </a:cubicBezTo>
                    <a:close/>
                    <a:moveTo>
                      <a:pt x="59" y="48"/>
                    </a:moveTo>
                    <a:cubicBezTo>
                      <a:pt x="59" y="47"/>
                      <a:pt x="59" y="45"/>
                      <a:pt x="60" y="43"/>
                    </a:cubicBezTo>
                    <a:cubicBezTo>
                      <a:pt x="55" y="43"/>
                      <a:pt x="51" y="43"/>
                      <a:pt x="46" y="43"/>
                    </a:cubicBezTo>
                    <a:cubicBezTo>
                      <a:pt x="46" y="52"/>
                      <a:pt x="46" y="52"/>
                      <a:pt x="46" y="52"/>
                    </a:cubicBezTo>
                    <a:cubicBezTo>
                      <a:pt x="48" y="52"/>
                      <a:pt x="51" y="52"/>
                      <a:pt x="54" y="52"/>
                    </a:cubicBezTo>
                    <a:cubicBezTo>
                      <a:pt x="57" y="51"/>
                      <a:pt x="59" y="49"/>
                      <a:pt x="59" y="4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314" name="îSḻide"/>
              <p:cNvSpPr/>
              <p:nvPr/>
            </p:nvSpPr>
            <p:spPr bwMode="auto">
              <a:xfrm>
                <a:off x="2449409" y="5256803"/>
                <a:ext cx="139700" cy="265113"/>
              </a:xfrm>
              <a:custGeom>
                <a:avLst/>
                <a:gdLst>
                  <a:gd name="T0" fmla="*/ 56 w 76"/>
                  <a:gd name="T1" fmla="*/ 3 h 144"/>
                  <a:gd name="T2" fmla="*/ 61 w 76"/>
                  <a:gd name="T3" fmla="*/ 45 h 144"/>
                  <a:gd name="T4" fmla="*/ 50 w 76"/>
                  <a:gd name="T5" fmla="*/ 74 h 144"/>
                  <a:gd name="T6" fmla="*/ 68 w 76"/>
                  <a:gd name="T7" fmla="*/ 65 h 144"/>
                  <a:gd name="T8" fmla="*/ 70 w 76"/>
                  <a:gd name="T9" fmla="*/ 31 h 144"/>
                  <a:gd name="T10" fmla="*/ 74 w 76"/>
                  <a:gd name="T11" fmla="*/ 31 h 144"/>
                  <a:gd name="T12" fmla="*/ 74 w 76"/>
                  <a:gd name="T13" fmla="*/ 64 h 144"/>
                  <a:gd name="T14" fmla="*/ 50 w 76"/>
                  <a:gd name="T15" fmla="*/ 81 h 144"/>
                  <a:gd name="T16" fmla="*/ 69 w 76"/>
                  <a:gd name="T17" fmla="*/ 103 h 144"/>
                  <a:gd name="T18" fmla="*/ 74 w 76"/>
                  <a:gd name="T19" fmla="*/ 140 h 144"/>
                  <a:gd name="T20" fmla="*/ 63 w 76"/>
                  <a:gd name="T21" fmla="*/ 105 h 144"/>
                  <a:gd name="T22" fmla="*/ 52 w 76"/>
                  <a:gd name="T23" fmla="*/ 138 h 144"/>
                  <a:gd name="T24" fmla="*/ 46 w 76"/>
                  <a:gd name="T25" fmla="*/ 139 h 144"/>
                  <a:gd name="T26" fmla="*/ 42 w 76"/>
                  <a:gd name="T27" fmla="*/ 57 h 144"/>
                  <a:gd name="T28" fmla="*/ 35 w 76"/>
                  <a:gd name="T29" fmla="*/ 132 h 144"/>
                  <a:gd name="T30" fmla="*/ 27 w 76"/>
                  <a:gd name="T31" fmla="*/ 136 h 144"/>
                  <a:gd name="T32" fmla="*/ 29 w 76"/>
                  <a:gd name="T33" fmla="*/ 95 h 144"/>
                  <a:gd name="T34" fmla="*/ 5 w 76"/>
                  <a:gd name="T35" fmla="*/ 135 h 144"/>
                  <a:gd name="T36" fmla="*/ 0 w 76"/>
                  <a:gd name="T37" fmla="*/ 135 h 144"/>
                  <a:gd name="T38" fmla="*/ 30 w 76"/>
                  <a:gd name="T39" fmla="*/ 86 h 144"/>
                  <a:gd name="T40" fmla="*/ 26 w 76"/>
                  <a:gd name="T41" fmla="*/ 80 h 144"/>
                  <a:gd name="T42" fmla="*/ 5 w 76"/>
                  <a:gd name="T43" fmla="*/ 66 h 144"/>
                  <a:gd name="T44" fmla="*/ 3 w 76"/>
                  <a:gd name="T45" fmla="*/ 29 h 144"/>
                  <a:gd name="T46" fmla="*/ 9 w 76"/>
                  <a:gd name="T47" fmla="*/ 59 h 144"/>
                  <a:gd name="T48" fmla="*/ 31 w 76"/>
                  <a:gd name="T49" fmla="*/ 74 h 144"/>
                  <a:gd name="T50" fmla="*/ 32 w 76"/>
                  <a:gd name="T51" fmla="*/ 57 h 144"/>
                  <a:gd name="T52" fmla="*/ 16 w 76"/>
                  <a:gd name="T53" fmla="*/ 14 h 144"/>
                  <a:gd name="T54" fmla="*/ 22 w 76"/>
                  <a:gd name="T55" fmla="*/ 19 h 144"/>
                  <a:gd name="T56" fmla="*/ 57 w 76"/>
                  <a:gd name="T57" fmla="*/ 19 h 144"/>
                  <a:gd name="T58" fmla="*/ 50 w 76"/>
                  <a:gd name="T59" fmla="*/ 9 h 144"/>
                  <a:gd name="T60" fmla="*/ 22 w 76"/>
                  <a:gd name="T61" fmla="*/ 19 h 144"/>
                  <a:gd name="T62" fmla="*/ 23 w 76"/>
                  <a:gd name="T63" fmla="*/ 31 h 144"/>
                  <a:gd name="T64" fmla="*/ 57 w 76"/>
                  <a:gd name="T65" fmla="*/ 34 h 144"/>
                  <a:gd name="T66" fmla="*/ 22 w 76"/>
                  <a:gd name="T67" fmla="*/ 27 h 144"/>
                  <a:gd name="T68" fmla="*/ 48 w 76"/>
                  <a:gd name="T69" fmla="*/ 50 h 144"/>
                  <a:gd name="T70" fmla="*/ 57 w 76"/>
                  <a:gd name="T71" fmla="*/ 41 h 144"/>
                  <a:gd name="T72" fmla="*/ 25 w 76"/>
                  <a:gd name="T73" fmla="*/ 44 h 1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76" h="144">
                    <a:moveTo>
                      <a:pt x="27" y="2"/>
                    </a:moveTo>
                    <a:cubicBezTo>
                      <a:pt x="37" y="0"/>
                      <a:pt x="47" y="0"/>
                      <a:pt x="56" y="3"/>
                    </a:cubicBezTo>
                    <a:cubicBezTo>
                      <a:pt x="60" y="3"/>
                      <a:pt x="62" y="7"/>
                      <a:pt x="63" y="15"/>
                    </a:cubicBezTo>
                    <a:cubicBezTo>
                      <a:pt x="65" y="25"/>
                      <a:pt x="64" y="35"/>
                      <a:pt x="61" y="45"/>
                    </a:cubicBezTo>
                    <a:cubicBezTo>
                      <a:pt x="60" y="53"/>
                      <a:pt x="55" y="56"/>
                      <a:pt x="49" y="57"/>
                    </a:cubicBezTo>
                    <a:cubicBezTo>
                      <a:pt x="49" y="62"/>
                      <a:pt x="50" y="68"/>
                      <a:pt x="50" y="74"/>
                    </a:cubicBezTo>
                    <a:cubicBezTo>
                      <a:pt x="53" y="74"/>
                      <a:pt x="56" y="74"/>
                      <a:pt x="58" y="74"/>
                    </a:cubicBezTo>
                    <a:cubicBezTo>
                      <a:pt x="62" y="75"/>
                      <a:pt x="66" y="72"/>
                      <a:pt x="68" y="65"/>
                    </a:cubicBezTo>
                    <a:cubicBezTo>
                      <a:pt x="69" y="62"/>
                      <a:pt x="70" y="53"/>
                      <a:pt x="70" y="39"/>
                    </a:cubicBezTo>
                    <a:cubicBezTo>
                      <a:pt x="70" y="35"/>
                      <a:pt x="70" y="32"/>
                      <a:pt x="70" y="31"/>
                    </a:cubicBezTo>
                    <a:cubicBezTo>
                      <a:pt x="71" y="31"/>
                      <a:pt x="71" y="30"/>
                      <a:pt x="72" y="30"/>
                    </a:cubicBezTo>
                    <a:cubicBezTo>
                      <a:pt x="73" y="30"/>
                      <a:pt x="74" y="30"/>
                      <a:pt x="74" y="31"/>
                    </a:cubicBezTo>
                    <a:cubicBezTo>
                      <a:pt x="75" y="33"/>
                      <a:pt x="76" y="36"/>
                      <a:pt x="76" y="41"/>
                    </a:cubicBezTo>
                    <a:cubicBezTo>
                      <a:pt x="76" y="49"/>
                      <a:pt x="75" y="56"/>
                      <a:pt x="74" y="64"/>
                    </a:cubicBezTo>
                    <a:cubicBezTo>
                      <a:pt x="72" y="75"/>
                      <a:pt x="67" y="81"/>
                      <a:pt x="58" y="81"/>
                    </a:cubicBezTo>
                    <a:cubicBezTo>
                      <a:pt x="50" y="81"/>
                      <a:pt x="50" y="81"/>
                      <a:pt x="50" y="81"/>
                    </a:cubicBezTo>
                    <a:cubicBezTo>
                      <a:pt x="50" y="87"/>
                      <a:pt x="50" y="87"/>
                      <a:pt x="50" y="87"/>
                    </a:cubicBezTo>
                    <a:cubicBezTo>
                      <a:pt x="60" y="87"/>
                      <a:pt x="66" y="92"/>
                      <a:pt x="69" y="103"/>
                    </a:cubicBezTo>
                    <a:cubicBezTo>
                      <a:pt x="72" y="112"/>
                      <a:pt x="74" y="122"/>
                      <a:pt x="76" y="134"/>
                    </a:cubicBezTo>
                    <a:cubicBezTo>
                      <a:pt x="76" y="138"/>
                      <a:pt x="75" y="140"/>
                      <a:pt x="74" y="140"/>
                    </a:cubicBezTo>
                    <a:cubicBezTo>
                      <a:pt x="72" y="141"/>
                      <a:pt x="71" y="139"/>
                      <a:pt x="70" y="136"/>
                    </a:cubicBezTo>
                    <a:cubicBezTo>
                      <a:pt x="68" y="126"/>
                      <a:pt x="66" y="116"/>
                      <a:pt x="63" y="105"/>
                    </a:cubicBezTo>
                    <a:cubicBezTo>
                      <a:pt x="61" y="98"/>
                      <a:pt x="57" y="95"/>
                      <a:pt x="50" y="95"/>
                    </a:cubicBezTo>
                    <a:cubicBezTo>
                      <a:pt x="50" y="109"/>
                      <a:pt x="51" y="123"/>
                      <a:pt x="52" y="138"/>
                    </a:cubicBezTo>
                    <a:cubicBezTo>
                      <a:pt x="52" y="141"/>
                      <a:pt x="51" y="143"/>
                      <a:pt x="49" y="144"/>
                    </a:cubicBezTo>
                    <a:cubicBezTo>
                      <a:pt x="47" y="144"/>
                      <a:pt x="46" y="142"/>
                      <a:pt x="46" y="139"/>
                    </a:cubicBezTo>
                    <a:cubicBezTo>
                      <a:pt x="44" y="134"/>
                      <a:pt x="43" y="118"/>
                      <a:pt x="43" y="92"/>
                    </a:cubicBezTo>
                    <a:cubicBezTo>
                      <a:pt x="43" y="76"/>
                      <a:pt x="43" y="64"/>
                      <a:pt x="42" y="57"/>
                    </a:cubicBezTo>
                    <a:cubicBezTo>
                      <a:pt x="38" y="57"/>
                      <a:pt x="38" y="57"/>
                      <a:pt x="38" y="57"/>
                    </a:cubicBezTo>
                    <a:cubicBezTo>
                      <a:pt x="36" y="88"/>
                      <a:pt x="35" y="113"/>
                      <a:pt x="35" y="132"/>
                    </a:cubicBezTo>
                    <a:cubicBezTo>
                      <a:pt x="35" y="138"/>
                      <a:pt x="33" y="142"/>
                      <a:pt x="31" y="142"/>
                    </a:cubicBezTo>
                    <a:cubicBezTo>
                      <a:pt x="29" y="142"/>
                      <a:pt x="27" y="140"/>
                      <a:pt x="27" y="136"/>
                    </a:cubicBezTo>
                    <a:cubicBezTo>
                      <a:pt x="27" y="136"/>
                      <a:pt x="27" y="134"/>
                      <a:pt x="27" y="132"/>
                    </a:cubicBezTo>
                    <a:cubicBezTo>
                      <a:pt x="28" y="118"/>
                      <a:pt x="29" y="105"/>
                      <a:pt x="29" y="95"/>
                    </a:cubicBezTo>
                    <a:cubicBezTo>
                      <a:pt x="19" y="95"/>
                      <a:pt x="14" y="98"/>
                      <a:pt x="13" y="105"/>
                    </a:cubicBezTo>
                    <a:cubicBezTo>
                      <a:pt x="10" y="114"/>
                      <a:pt x="7" y="124"/>
                      <a:pt x="5" y="135"/>
                    </a:cubicBezTo>
                    <a:cubicBezTo>
                      <a:pt x="4" y="137"/>
                      <a:pt x="3" y="139"/>
                      <a:pt x="2" y="139"/>
                    </a:cubicBezTo>
                    <a:cubicBezTo>
                      <a:pt x="1" y="140"/>
                      <a:pt x="0" y="138"/>
                      <a:pt x="0" y="135"/>
                    </a:cubicBezTo>
                    <a:cubicBezTo>
                      <a:pt x="0" y="125"/>
                      <a:pt x="2" y="115"/>
                      <a:pt x="7" y="104"/>
                    </a:cubicBezTo>
                    <a:cubicBezTo>
                      <a:pt x="11" y="92"/>
                      <a:pt x="18" y="86"/>
                      <a:pt x="30" y="86"/>
                    </a:cubicBezTo>
                    <a:cubicBezTo>
                      <a:pt x="30" y="85"/>
                      <a:pt x="30" y="83"/>
                      <a:pt x="31" y="80"/>
                    </a:cubicBezTo>
                    <a:cubicBezTo>
                      <a:pt x="29" y="81"/>
                      <a:pt x="28" y="81"/>
                      <a:pt x="26" y="80"/>
                    </a:cubicBezTo>
                    <a:cubicBezTo>
                      <a:pt x="24" y="80"/>
                      <a:pt x="23" y="80"/>
                      <a:pt x="22" y="80"/>
                    </a:cubicBezTo>
                    <a:cubicBezTo>
                      <a:pt x="14" y="81"/>
                      <a:pt x="8" y="76"/>
                      <a:pt x="5" y="66"/>
                    </a:cubicBezTo>
                    <a:cubicBezTo>
                      <a:pt x="2" y="59"/>
                      <a:pt x="0" y="49"/>
                      <a:pt x="0" y="37"/>
                    </a:cubicBezTo>
                    <a:cubicBezTo>
                      <a:pt x="0" y="32"/>
                      <a:pt x="1" y="29"/>
                      <a:pt x="3" y="29"/>
                    </a:cubicBezTo>
                    <a:cubicBezTo>
                      <a:pt x="6" y="31"/>
                      <a:pt x="8" y="35"/>
                      <a:pt x="8" y="39"/>
                    </a:cubicBezTo>
                    <a:cubicBezTo>
                      <a:pt x="7" y="45"/>
                      <a:pt x="7" y="52"/>
                      <a:pt x="9" y="59"/>
                    </a:cubicBezTo>
                    <a:cubicBezTo>
                      <a:pt x="10" y="68"/>
                      <a:pt x="16" y="73"/>
                      <a:pt x="24" y="74"/>
                    </a:cubicBezTo>
                    <a:cubicBezTo>
                      <a:pt x="26" y="74"/>
                      <a:pt x="29" y="74"/>
                      <a:pt x="31" y="74"/>
                    </a:cubicBezTo>
                    <a:cubicBezTo>
                      <a:pt x="31" y="72"/>
                      <a:pt x="31" y="69"/>
                      <a:pt x="31" y="65"/>
                    </a:cubicBezTo>
                    <a:cubicBezTo>
                      <a:pt x="31" y="61"/>
                      <a:pt x="32" y="58"/>
                      <a:pt x="32" y="57"/>
                    </a:cubicBezTo>
                    <a:cubicBezTo>
                      <a:pt x="25" y="56"/>
                      <a:pt x="20" y="53"/>
                      <a:pt x="19" y="48"/>
                    </a:cubicBezTo>
                    <a:cubicBezTo>
                      <a:pt x="15" y="36"/>
                      <a:pt x="14" y="25"/>
                      <a:pt x="16" y="14"/>
                    </a:cubicBezTo>
                    <a:cubicBezTo>
                      <a:pt x="17" y="6"/>
                      <a:pt x="21" y="2"/>
                      <a:pt x="27" y="2"/>
                    </a:cubicBezTo>
                    <a:close/>
                    <a:moveTo>
                      <a:pt x="22" y="19"/>
                    </a:moveTo>
                    <a:cubicBezTo>
                      <a:pt x="22" y="20"/>
                      <a:pt x="22" y="20"/>
                      <a:pt x="22" y="20"/>
                    </a:cubicBezTo>
                    <a:cubicBezTo>
                      <a:pt x="30" y="20"/>
                      <a:pt x="42" y="19"/>
                      <a:pt x="57" y="19"/>
                    </a:cubicBezTo>
                    <a:cubicBezTo>
                      <a:pt x="57" y="18"/>
                      <a:pt x="57" y="17"/>
                      <a:pt x="57" y="16"/>
                    </a:cubicBezTo>
                    <a:cubicBezTo>
                      <a:pt x="56" y="13"/>
                      <a:pt x="54" y="10"/>
                      <a:pt x="50" y="9"/>
                    </a:cubicBezTo>
                    <a:cubicBezTo>
                      <a:pt x="44" y="8"/>
                      <a:pt x="37" y="7"/>
                      <a:pt x="31" y="9"/>
                    </a:cubicBezTo>
                    <a:cubicBezTo>
                      <a:pt x="25" y="11"/>
                      <a:pt x="22" y="14"/>
                      <a:pt x="22" y="19"/>
                    </a:cubicBezTo>
                    <a:close/>
                    <a:moveTo>
                      <a:pt x="22" y="27"/>
                    </a:moveTo>
                    <a:cubicBezTo>
                      <a:pt x="22" y="28"/>
                      <a:pt x="22" y="29"/>
                      <a:pt x="23" y="31"/>
                    </a:cubicBezTo>
                    <a:cubicBezTo>
                      <a:pt x="23" y="32"/>
                      <a:pt x="23" y="33"/>
                      <a:pt x="23" y="34"/>
                    </a:cubicBezTo>
                    <a:cubicBezTo>
                      <a:pt x="57" y="34"/>
                      <a:pt x="57" y="34"/>
                      <a:pt x="57" y="34"/>
                    </a:cubicBezTo>
                    <a:cubicBezTo>
                      <a:pt x="57" y="27"/>
                      <a:pt x="57" y="27"/>
                      <a:pt x="57" y="27"/>
                    </a:cubicBezTo>
                    <a:cubicBezTo>
                      <a:pt x="45" y="26"/>
                      <a:pt x="33" y="26"/>
                      <a:pt x="22" y="27"/>
                    </a:cubicBezTo>
                    <a:close/>
                    <a:moveTo>
                      <a:pt x="35" y="50"/>
                    </a:moveTo>
                    <a:cubicBezTo>
                      <a:pt x="48" y="50"/>
                      <a:pt x="48" y="50"/>
                      <a:pt x="48" y="50"/>
                    </a:cubicBezTo>
                    <a:cubicBezTo>
                      <a:pt x="53" y="50"/>
                      <a:pt x="55" y="47"/>
                      <a:pt x="57" y="42"/>
                    </a:cubicBezTo>
                    <a:cubicBezTo>
                      <a:pt x="57" y="41"/>
                      <a:pt x="57" y="41"/>
                      <a:pt x="57" y="41"/>
                    </a:cubicBezTo>
                    <a:cubicBezTo>
                      <a:pt x="43" y="41"/>
                      <a:pt x="32" y="41"/>
                      <a:pt x="24" y="42"/>
                    </a:cubicBezTo>
                    <a:cubicBezTo>
                      <a:pt x="24" y="43"/>
                      <a:pt x="24" y="43"/>
                      <a:pt x="25" y="44"/>
                    </a:cubicBezTo>
                    <a:cubicBezTo>
                      <a:pt x="27" y="48"/>
                      <a:pt x="30" y="50"/>
                      <a:pt x="35" y="5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315" name="iṣlîḋè"/>
              <p:cNvSpPr/>
              <p:nvPr/>
            </p:nvSpPr>
            <p:spPr bwMode="auto">
              <a:xfrm>
                <a:off x="2604984" y="5259978"/>
                <a:ext cx="177800" cy="255588"/>
              </a:xfrm>
              <a:custGeom>
                <a:avLst/>
                <a:gdLst>
                  <a:gd name="T0" fmla="*/ 5 w 96"/>
                  <a:gd name="T1" fmla="*/ 37 h 138"/>
                  <a:gd name="T2" fmla="*/ 24 w 96"/>
                  <a:gd name="T3" fmla="*/ 49 h 138"/>
                  <a:gd name="T4" fmla="*/ 7 w 96"/>
                  <a:gd name="T5" fmla="*/ 26 h 138"/>
                  <a:gd name="T6" fmla="*/ 0 w 96"/>
                  <a:gd name="T7" fmla="*/ 22 h 138"/>
                  <a:gd name="T8" fmla="*/ 44 w 96"/>
                  <a:gd name="T9" fmla="*/ 19 h 138"/>
                  <a:gd name="T10" fmla="*/ 40 w 96"/>
                  <a:gd name="T11" fmla="*/ 26 h 138"/>
                  <a:gd name="T12" fmla="*/ 29 w 96"/>
                  <a:gd name="T13" fmla="*/ 49 h 138"/>
                  <a:gd name="T14" fmla="*/ 42 w 96"/>
                  <a:gd name="T15" fmla="*/ 39 h 138"/>
                  <a:gd name="T16" fmla="*/ 36 w 96"/>
                  <a:gd name="T17" fmla="*/ 64 h 138"/>
                  <a:gd name="T18" fmla="*/ 44 w 96"/>
                  <a:gd name="T19" fmla="*/ 70 h 138"/>
                  <a:gd name="T20" fmla="*/ 30 w 96"/>
                  <a:gd name="T21" fmla="*/ 78 h 138"/>
                  <a:gd name="T22" fmla="*/ 48 w 96"/>
                  <a:gd name="T23" fmla="*/ 111 h 138"/>
                  <a:gd name="T24" fmla="*/ 42 w 96"/>
                  <a:gd name="T25" fmla="*/ 124 h 138"/>
                  <a:gd name="T26" fmla="*/ 33 w 96"/>
                  <a:gd name="T27" fmla="*/ 93 h 138"/>
                  <a:gd name="T28" fmla="*/ 30 w 96"/>
                  <a:gd name="T29" fmla="*/ 116 h 138"/>
                  <a:gd name="T30" fmla="*/ 24 w 96"/>
                  <a:gd name="T31" fmla="*/ 133 h 138"/>
                  <a:gd name="T32" fmla="*/ 20 w 96"/>
                  <a:gd name="T33" fmla="*/ 93 h 138"/>
                  <a:gd name="T34" fmla="*/ 11 w 96"/>
                  <a:gd name="T35" fmla="*/ 122 h 138"/>
                  <a:gd name="T36" fmla="*/ 8 w 96"/>
                  <a:gd name="T37" fmla="*/ 102 h 138"/>
                  <a:gd name="T38" fmla="*/ 24 w 96"/>
                  <a:gd name="T39" fmla="*/ 81 h 138"/>
                  <a:gd name="T40" fmla="*/ 3 w 96"/>
                  <a:gd name="T41" fmla="*/ 77 h 138"/>
                  <a:gd name="T42" fmla="*/ 14 w 96"/>
                  <a:gd name="T43" fmla="*/ 70 h 138"/>
                  <a:gd name="T44" fmla="*/ 20 w 96"/>
                  <a:gd name="T45" fmla="*/ 65 h 138"/>
                  <a:gd name="T46" fmla="*/ 2 w 96"/>
                  <a:gd name="T47" fmla="*/ 37 h 138"/>
                  <a:gd name="T48" fmla="*/ 40 w 96"/>
                  <a:gd name="T49" fmla="*/ 3 h 138"/>
                  <a:gd name="T50" fmla="*/ 14 w 96"/>
                  <a:gd name="T51" fmla="*/ 11 h 138"/>
                  <a:gd name="T52" fmla="*/ 5 w 96"/>
                  <a:gd name="T53" fmla="*/ 6 h 138"/>
                  <a:gd name="T54" fmla="*/ 33 w 96"/>
                  <a:gd name="T55" fmla="*/ 26 h 138"/>
                  <a:gd name="T56" fmla="*/ 27 w 96"/>
                  <a:gd name="T57" fmla="*/ 45 h 138"/>
                  <a:gd name="T58" fmla="*/ 54 w 96"/>
                  <a:gd name="T59" fmla="*/ 2 h 138"/>
                  <a:gd name="T60" fmla="*/ 58 w 96"/>
                  <a:gd name="T61" fmla="*/ 10 h 138"/>
                  <a:gd name="T62" fmla="*/ 88 w 96"/>
                  <a:gd name="T63" fmla="*/ 22 h 138"/>
                  <a:gd name="T64" fmla="*/ 74 w 96"/>
                  <a:gd name="T65" fmla="*/ 37 h 138"/>
                  <a:gd name="T66" fmla="*/ 62 w 96"/>
                  <a:gd name="T67" fmla="*/ 66 h 138"/>
                  <a:gd name="T68" fmla="*/ 53 w 96"/>
                  <a:gd name="T69" fmla="*/ 136 h 138"/>
                  <a:gd name="T70" fmla="*/ 48 w 96"/>
                  <a:gd name="T71" fmla="*/ 130 h 138"/>
                  <a:gd name="T72" fmla="*/ 55 w 96"/>
                  <a:gd name="T73" fmla="*/ 48 h 138"/>
                  <a:gd name="T74" fmla="*/ 76 w 96"/>
                  <a:gd name="T75" fmla="*/ 31 h 138"/>
                  <a:gd name="T76" fmla="*/ 65 w 96"/>
                  <a:gd name="T77" fmla="*/ 18 h 138"/>
                  <a:gd name="T78" fmla="*/ 52 w 96"/>
                  <a:gd name="T79" fmla="*/ 13 h 138"/>
                  <a:gd name="T80" fmla="*/ 94 w 96"/>
                  <a:gd name="T81" fmla="*/ 74 h 138"/>
                  <a:gd name="T82" fmla="*/ 76 w 96"/>
                  <a:gd name="T83" fmla="*/ 54 h 138"/>
                  <a:gd name="T84" fmla="*/ 83 w 96"/>
                  <a:gd name="T85" fmla="*/ 119 h 138"/>
                  <a:gd name="T86" fmla="*/ 88 w 96"/>
                  <a:gd name="T87" fmla="*/ 133 h 138"/>
                  <a:gd name="T88" fmla="*/ 70 w 96"/>
                  <a:gd name="T89" fmla="*/ 93 h 138"/>
                  <a:gd name="T90" fmla="*/ 70 w 96"/>
                  <a:gd name="T91" fmla="*/ 42 h 138"/>
                  <a:gd name="T92" fmla="*/ 95 w 96"/>
                  <a:gd name="T93" fmla="*/ 70 h 1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96" h="138">
                    <a:moveTo>
                      <a:pt x="2" y="37"/>
                    </a:moveTo>
                    <a:cubicBezTo>
                      <a:pt x="2" y="36"/>
                      <a:pt x="2" y="35"/>
                      <a:pt x="3" y="35"/>
                    </a:cubicBezTo>
                    <a:cubicBezTo>
                      <a:pt x="4" y="35"/>
                      <a:pt x="5" y="36"/>
                      <a:pt x="5" y="37"/>
                    </a:cubicBezTo>
                    <a:cubicBezTo>
                      <a:pt x="9" y="49"/>
                      <a:pt x="14" y="56"/>
                      <a:pt x="21" y="59"/>
                    </a:cubicBezTo>
                    <a:cubicBezTo>
                      <a:pt x="21" y="59"/>
                      <a:pt x="22" y="60"/>
                      <a:pt x="24" y="60"/>
                    </a:cubicBezTo>
                    <a:cubicBezTo>
                      <a:pt x="24" y="56"/>
                      <a:pt x="24" y="53"/>
                      <a:pt x="24" y="49"/>
                    </a:cubicBezTo>
                    <a:cubicBezTo>
                      <a:pt x="21" y="48"/>
                      <a:pt x="18" y="46"/>
                      <a:pt x="16" y="42"/>
                    </a:cubicBezTo>
                    <a:cubicBezTo>
                      <a:pt x="13" y="38"/>
                      <a:pt x="12" y="33"/>
                      <a:pt x="12" y="26"/>
                    </a:cubicBezTo>
                    <a:cubicBezTo>
                      <a:pt x="9" y="26"/>
                      <a:pt x="8" y="26"/>
                      <a:pt x="7" y="26"/>
                    </a:cubicBezTo>
                    <a:cubicBezTo>
                      <a:pt x="4" y="27"/>
                      <a:pt x="2" y="27"/>
                      <a:pt x="1" y="25"/>
                    </a:cubicBezTo>
                    <a:cubicBezTo>
                      <a:pt x="0" y="24"/>
                      <a:pt x="0" y="23"/>
                      <a:pt x="0" y="22"/>
                    </a:cubicBezTo>
                    <a:cubicBezTo>
                      <a:pt x="0" y="22"/>
                      <a:pt x="0" y="22"/>
                      <a:pt x="0" y="22"/>
                    </a:cubicBezTo>
                    <a:cubicBezTo>
                      <a:pt x="1" y="19"/>
                      <a:pt x="2" y="18"/>
                      <a:pt x="4" y="19"/>
                    </a:cubicBezTo>
                    <a:cubicBezTo>
                      <a:pt x="6" y="19"/>
                      <a:pt x="8" y="19"/>
                      <a:pt x="11" y="19"/>
                    </a:cubicBezTo>
                    <a:cubicBezTo>
                      <a:pt x="44" y="19"/>
                      <a:pt x="44" y="19"/>
                      <a:pt x="44" y="19"/>
                    </a:cubicBezTo>
                    <a:cubicBezTo>
                      <a:pt x="46" y="19"/>
                      <a:pt x="48" y="20"/>
                      <a:pt x="48" y="23"/>
                    </a:cubicBezTo>
                    <a:cubicBezTo>
                      <a:pt x="47" y="25"/>
                      <a:pt x="45" y="26"/>
                      <a:pt x="42" y="26"/>
                    </a:cubicBezTo>
                    <a:cubicBezTo>
                      <a:pt x="42" y="26"/>
                      <a:pt x="41" y="26"/>
                      <a:pt x="40" y="26"/>
                    </a:cubicBezTo>
                    <a:cubicBezTo>
                      <a:pt x="40" y="26"/>
                      <a:pt x="40" y="26"/>
                      <a:pt x="40" y="26"/>
                    </a:cubicBezTo>
                    <a:cubicBezTo>
                      <a:pt x="39" y="34"/>
                      <a:pt x="38" y="39"/>
                      <a:pt x="37" y="42"/>
                    </a:cubicBezTo>
                    <a:cubicBezTo>
                      <a:pt x="34" y="46"/>
                      <a:pt x="32" y="49"/>
                      <a:pt x="29" y="49"/>
                    </a:cubicBezTo>
                    <a:cubicBezTo>
                      <a:pt x="30" y="53"/>
                      <a:pt x="30" y="56"/>
                      <a:pt x="30" y="60"/>
                    </a:cubicBezTo>
                    <a:cubicBezTo>
                      <a:pt x="31" y="60"/>
                      <a:pt x="32" y="59"/>
                      <a:pt x="33" y="58"/>
                    </a:cubicBezTo>
                    <a:cubicBezTo>
                      <a:pt x="39" y="56"/>
                      <a:pt x="42" y="49"/>
                      <a:pt x="42" y="39"/>
                    </a:cubicBezTo>
                    <a:cubicBezTo>
                      <a:pt x="43" y="37"/>
                      <a:pt x="44" y="36"/>
                      <a:pt x="46" y="36"/>
                    </a:cubicBezTo>
                    <a:cubicBezTo>
                      <a:pt x="47" y="36"/>
                      <a:pt x="48" y="37"/>
                      <a:pt x="48" y="39"/>
                    </a:cubicBezTo>
                    <a:cubicBezTo>
                      <a:pt x="49" y="49"/>
                      <a:pt x="45" y="57"/>
                      <a:pt x="36" y="64"/>
                    </a:cubicBezTo>
                    <a:cubicBezTo>
                      <a:pt x="34" y="65"/>
                      <a:pt x="32" y="66"/>
                      <a:pt x="30" y="66"/>
                    </a:cubicBezTo>
                    <a:cubicBezTo>
                      <a:pt x="30" y="70"/>
                      <a:pt x="30" y="70"/>
                      <a:pt x="30" y="70"/>
                    </a:cubicBezTo>
                    <a:cubicBezTo>
                      <a:pt x="44" y="70"/>
                      <a:pt x="44" y="70"/>
                      <a:pt x="44" y="70"/>
                    </a:cubicBezTo>
                    <a:cubicBezTo>
                      <a:pt x="47" y="70"/>
                      <a:pt x="49" y="71"/>
                      <a:pt x="49" y="73"/>
                    </a:cubicBezTo>
                    <a:cubicBezTo>
                      <a:pt x="49" y="76"/>
                      <a:pt x="47" y="77"/>
                      <a:pt x="43" y="77"/>
                    </a:cubicBezTo>
                    <a:cubicBezTo>
                      <a:pt x="37" y="77"/>
                      <a:pt x="33" y="77"/>
                      <a:pt x="30" y="78"/>
                    </a:cubicBezTo>
                    <a:cubicBezTo>
                      <a:pt x="30" y="80"/>
                      <a:pt x="30" y="82"/>
                      <a:pt x="30" y="84"/>
                    </a:cubicBezTo>
                    <a:cubicBezTo>
                      <a:pt x="34" y="84"/>
                      <a:pt x="37" y="87"/>
                      <a:pt x="40" y="91"/>
                    </a:cubicBezTo>
                    <a:cubicBezTo>
                      <a:pt x="44" y="96"/>
                      <a:pt x="46" y="103"/>
                      <a:pt x="48" y="111"/>
                    </a:cubicBezTo>
                    <a:cubicBezTo>
                      <a:pt x="49" y="116"/>
                      <a:pt x="49" y="120"/>
                      <a:pt x="48" y="124"/>
                    </a:cubicBezTo>
                    <a:cubicBezTo>
                      <a:pt x="47" y="125"/>
                      <a:pt x="46" y="125"/>
                      <a:pt x="45" y="125"/>
                    </a:cubicBezTo>
                    <a:cubicBezTo>
                      <a:pt x="44" y="125"/>
                      <a:pt x="43" y="125"/>
                      <a:pt x="42" y="124"/>
                    </a:cubicBezTo>
                    <a:cubicBezTo>
                      <a:pt x="42" y="123"/>
                      <a:pt x="42" y="121"/>
                      <a:pt x="42" y="118"/>
                    </a:cubicBezTo>
                    <a:cubicBezTo>
                      <a:pt x="41" y="116"/>
                      <a:pt x="41" y="114"/>
                      <a:pt x="41" y="113"/>
                    </a:cubicBezTo>
                    <a:cubicBezTo>
                      <a:pt x="40" y="104"/>
                      <a:pt x="37" y="97"/>
                      <a:pt x="33" y="93"/>
                    </a:cubicBezTo>
                    <a:cubicBezTo>
                      <a:pt x="33" y="92"/>
                      <a:pt x="32" y="91"/>
                      <a:pt x="30" y="91"/>
                    </a:cubicBezTo>
                    <a:cubicBezTo>
                      <a:pt x="31" y="97"/>
                      <a:pt x="31" y="101"/>
                      <a:pt x="31" y="105"/>
                    </a:cubicBezTo>
                    <a:cubicBezTo>
                      <a:pt x="31" y="107"/>
                      <a:pt x="31" y="111"/>
                      <a:pt x="30" y="116"/>
                    </a:cubicBezTo>
                    <a:cubicBezTo>
                      <a:pt x="30" y="124"/>
                      <a:pt x="30" y="129"/>
                      <a:pt x="29" y="133"/>
                    </a:cubicBezTo>
                    <a:cubicBezTo>
                      <a:pt x="29" y="136"/>
                      <a:pt x="28" y="137"/>
                      <a:pt x="27" y="137"/>
                    </a:cubicBezTo>
                    <a:cubicBezTo>
                      <a:pt x="26" y="137"/>
                      <a:pt x="25" y="136"/>
                      <a:pt x="24" y="133"/>
                    </a:cubicBezTo>
                    <a:cubicBezTo>
                      <a:pt x="24" y="120"/>
                      <a:pt x="24" y="111"/>
                      <a:pt x="24" y="105"/>
                    </a:cubicBezTo>
                    <a:cubicBezTo>
                      <a:pt x="24" y="100"/>
                      <a:pt x="24" y="95"/>
                      <a:pt x="24" y="90"/>
                    </a:cubicBezTo>
                    <a:cubicBezTo>
                      <a:pt x="22" y="91"/>
                      <a:pt x="21" y="92"/>
                      <a:pt x="20" y="93"/>
                    </a:cubicBezTo>
                    <a:cubicBezTo>
                      <a:pt x="18" y="94"/>
                      <a:pt x="16" y="98"/>
                      <a:pt x="14" y="102"/>
                    </a:cubicBezTo>
                    <a:cubicBezTo>
                      <a:pt x="13" y="104"/>
                      <a:pt x="13" y="104"/>
                      <a:pt x="13" y="104"/>
                    </a:cubicBezTo>
                    <a:cubicBezTo>
                      <a:pt x="12" y="108"/>
                      <a:pt x="11" y="114"/>
                      <a:pt x="11" y="122"/>
                    </a:cubicBezTo>
                    <a:cubicBezTo>
                      <a:pt x="10" y="124"/>
                      <a:pt x="9" y="125"/>
                      <a:pt x="7" y="125"/>
                    </a:cubicBezTo>
                    <a:cubicBezTo>
                      <a:pt x="6" y="125"/>
                      <a:pt x="5" y="124"/>
                      <a:pt x="5" y="122"/>
                    </a:cubicBezTo>
                    <a:cubicBezTo>
                      <a:pt x="6" y="115"/>
                      <a:pt x="7" y="108"/>
                      <a:pt x="8" y="102"/>
                    </a:cubicBezTo>
                    <a:cubicBezTo>
                      <a:pt x="9" y="97"/>
                      <a:pt x="11" y="92"/>
                      <a:pt x="14" y="89"/>
                    </a:cubicBezTo>
                    <a:cubicBezTo>
                      <a:pt x="17" y="86"/>
                      <a:pt x="20" y="84"/>
                      <a:pt x="24" y="84"/>
                    </a:cubicBezTo>
                    <a:cubicBezTo>
                      <a:pt x="24" y="81"/>
                      <a:pt x="24" y="81"/>
                      <a:pt x="24" y="81"/>
                    </a:cubicBezTo>
                    <a:cubicBezTo>
                      <a:pt x="24" y="80"/>
                      <a:pt x="24" y="79"/>
                      <a:pt x="24" y="78"/>
                    </a:cubicBezTo>
                    <a:cubicBezTo>
                      <a:pt x="14" y="78"/>
                      <a:pt x="9" y="78"/>
                      <a:pt x="9" y="78"/>
                    </a:cubicBezTo>
                    <a:cubicBezTo>
                      <a:pt x="6" y="79"/>
                      <a:pt x="4" y="79"/>
                      <a:pt x="3" y="77"/>
                    </a:cubicBezTo>
                    <a:cubicBezTo>
                      <a:pt x="2" y="76"/>
                      <a:pt x="2" y="74"/>
                      <a:pt x="3" y="72"/>
                    </a:cubicBezTo>
                    <a:cubicBezTo>
                      <a:pt x="3" y="70"/>
                      <a:pt x="4" y="70"/>
                      <a:pt x="7" y="70"/>
                    </a:cubicBezTo>
                    <a:cubicBezTo>
                      <a:pt x="8" y="70"/>
                      <a:pt x="10" y="70"/>
                      <a:pt x="14" y="70"/>
                    </a:cubicBezTo>
                    <a:cubicBezTo>
                      <a:pt x="24" y="70"/>
                      <a:pt x="24" y="70"/>
                      <a:pt x="24" y="70"/>
                    </a:cubicBezTo>
                    <a:cubicBezTo>
                      <a:pt x="24" y="66"/>
                      <a:pt x="24" y="66"/>
                      <a:pt x="24" y="66"/>
                    </a:cubicBezTo>
                    <a:cubicBezTo>
                      <a:pt x="22" y="66"/>
                      <a:pt x="21" y="66"/>
                      <a:pt x="20" y="65"/>
                    </a:cubicBezTo>
                    <a:cubicBezTo>
                      <a:pt x="12" y="62"/>
                      <a:pt x="6" y="56"/>
                      <a:pt x="2" y="46"/>
                    </a:cubicBezTo>
                    <a:cubicBezTo>
                      <a:pt x="2" y="46"/>
                      <a:pt x="2" y="43"/>
                      <a:pt x="2" y="40"/>
                    </a:cubicBezTo>
                    <a:cubicBezTo>
                      <a:pt x="2" y="39"/>
                      <a:pt x="2" y="38"/>
                      <a:pt x="2" y="37"/>
                    </a:cubicBezTo>
                    <a:close/>
                    <a:moveTo>
                      <a:pt x="9" y="3"/>
                    </a:moveTo>
                    <a:cubicBezTo>
                      <a:pt x="11" y="3"/>
                      <a:pt x="15" y="3"/>
                      <a:pt x="19" y="3"/>
                    </a:cubicBezTo>
                    <a:cubicBezTo>
                      <a:pt x="40" y="3"/>
                      <a:pt x="40" y="3"/>
                      <a:pt x="40" y="3"/>
                    </a:cubicBezTo>
                    <a:cubicBezTo>
                      <a:pt x="43" y="3"/>
                      <a:pt x="44" y="5"/>
                      <a:pt x="44" y="7"/>
                    </a:cubicBezTo>
                    <a:cubicBezTo>
                      <a:pt x="44" y="9"/>
                      <a:pt x="42" y="10"/>
                      <a:pt x="39" y="10"/>
                    </a:cubicBezTo>
                    <a:cubicBezTo>
                      <a:pt x="34" y="10"/>
                      <a:pt x="25" y="10"/>
                      <a:pt x="14" y="11"/>
                    </a:cubicBezTo>
                    <a:cubicBezTo>
                      <a:pt x="13" y="11"/>
                      <a:pt x="12" y="11"/>
                      <a:pt x="11" y="11"/>
                    </a:cubicBezTo>
                    <a:cubicBezTo>
                      <a:pt x="7" y="11"/>
                      <a:pt x="5" y="11"/>
                      <a:pt x="5" y="9"/>
                    </a:cubicBezTo>
                    <a:cubicBezTo>
                      <a:pt x="5" y="9"/>
                      <a:pt x="4" y="8"/>
                      <a:pt x="5" y="6"/>
                    </a:cubicBezTo>
                    <a:cubicBezTo>
                      <a:pt x="5" y="5"/>
                      <a:pt x="5" y="5"/>
                      <a:pt x="5" y="5"/>
                    </a:cubicBezTo>
                    <a:cubicBezTo>
                      <a:pt x="5" y="3"/>
                      <a:pt x="6" y="3"/>
                      <a:pt x="9" y="3"/>
                    </a:cubicBezTo>
                    <a:close/>
                    <a:moveTo>
                      <a:pt x="33" y="26"/>
                    </a:moveTo>
                    <a:cubicBezTo>
                      <a:pt x="28" y="26"/>
                      <a:pt x="23" y="26"/>
                      <a:pt x="17" y="26"/>
                    </a:cubicBezTo>
                    <a:cubicBezTo>
                      <a:pt x="18" y="32"/>
                      <a:pt x="20" y="38"/>
                      <a:pt x="24" y="42"/>
                    </a:cubicBezTo>
                    <a:cubicBezTo>
                      <a:pt x="25" y="44"/>
                      <a:pt x="26" y="45"/>
                      <a:pt x="27" y="45"/>
                    </a:cubicBezTo>
                    <a:cubicBezTo>
                      <a:pt x="28" y="45"/>
                      <a:pt x="29" y="44"/>
                      <a:pt x="29" y="42"/>
                    </a:cubicBezTo>
                    <a:cubicBezTo>
                      <a:pt x="32" y="38"/>
                      <a:pt x="33" y="33"/>
                      <a:pt x="33" y="26"/>
                    </a:cubicBezTo>
                    <a:close/>
                    <a:moveTo>
                      <a:pt x="54" y="2"/>
                    </a:moveTo>
                    <a:cubicBezTo>
                      <a:pt x="55" y="0"/>
                      <a:pt x="57" y="0"/>
                      <a:pt x="58" y="1"/>
                    </a:cubicBezTo>
                    <a:cubicBezTo>
                      <a:pt x="59" y="2"/>
                      <a:pt x="60" y="4"/>
                      <a:pt x="59" y="6"/>
                    </a:cubicBezTo>
                    <a:cubicBezTo>
                      <a:pt x="57" y="8"/>
                      <a:pt x="57" y="9"/>
                      <a:pt x="58" y="10"/>
                    </a:cubicBezTo>
                    <a:cubicBezTo>
                      <a:pt x="59" y="11"/>
                      <a:pt x="61" y="12"/>
                      <a:pt x="63" y="11"/>
                    </a:cubicBezTo>
                    <a:cubicBezTo>
                      <a:pt x="67" y="9"/>
                      <a:pt x="73" y="9"/>
                      <a:pt x="80" y="11"/>
                    </a:cubicBezTo>
                    <a:cubicBezTo>
                      <a:pt x="84" y="13"/>
                      <a:pt x="87" y="16"/>
                      <a:pt x="88" y="22"/>
                    </a:cubicBezTo>
                    <a:cubicBezTo>
                      <a:pt x="89" y="27"/>
                      <a:pt x="88" y="32"/>
                      <a:pt x="85" y="35"/>
                    </a:cubicBezTo>
                    <a:cubicBezTo>
                      <a:pt x="84" y="38"/>
                      <a:pt x="81" y="39"/>
                      <a:pt x="75" y="37"/>
                    </a:cubicBezTo>
                    <a:cubicBezTo>
                      <a:pt x="75" y="37"/>
                      <a:pt x="74" y="37"/>
                      <a:pt x="74" y="37"/>
                    </a:cubicBezTo>
                    <a:cubicBezTo>
                      <a:pt x="69" y="37"/>
                      <a:pt x="66" y="37"/>
                      <a:pt x="63" y="38"/>
                    </a:cubicBezTo>
                    <a:cubicBezTo>
                      <a:pt x="62" y="38"/>
                      <a:pt x="61" y="40"/>
                      <a:pt x="61" y="43"/>
                    </a:cubicBezTo>
                    <a:cubicBezTo>
                      <a:pt x="62" y="48"/>
                      <a:pt x="62" y="56"/>
                      <a:pt x="62" y="66"/>
                    </a:cubicBezTo>
                    <a:cubicBezTo>
                      <a:pt x="62" y="70"/>
                      <a:pt x="61" y="76"/>
                      <a:pt x="61" y="84"/>
                    </a:cubicBezTo>
                    <a:cubicBezTo>
                      <a:pt x="59" y="99"/>
                      <a:pt x="58" y="110"/>
                      <a:pt x="57" y="116"/>
                    </a:cubicBezTo>
                    <a:cubicBezTo>
                      <a:pt x="57" y="122"/>
                      <a:pt x="55" y="128"/>
                      <a:pt x="53" y="136"/>
                    </a:cubicBezTo>
                    <a:cubicBezTo>
                      <a:pt x="52" y="137"/>
                      <a:pt x="51" y="138"/>
                      <a:pt x="50" y="138"/>
                    </a:cubicBezTo>
                    <a:cubicBezTo>
                      <a:pt x="48" y="138"/>
                      <a:pt x="48" y="137"/>
                      <a:pt x="48" y="136"/>
                    </a:cubicBezTo>
                    <a:cubicBezTo>
                      <a:pt x="48" y="135"/>
                      <a:pt x="48" y="133"/>
                      <a:pt x="48" y="130"/>
                    </a:cubicBezTo>
                    <a:cubicBezTo>
                      <a:pt x="49" y="127"/>
                      <a:pt x="49" y="126"/>
                      <a:pt x="49" y="125"/>
                    </a:cubicBezTo>
                    <a:cubicBezTo>
                      <a:pt x="53" y="104"/>
                      <a:pt x="55" y="85"/>
                      <a:pt x="55" y="68"/>
                    </a:cubicBezTo>
                    <a:cubicBezTo>
                      <a:pt x="56" y="60"/>
                      <a:pt x="56" y="54"/>
                      <a:pt x="55" y="48"/>
                    </a:cubicBezTo>
                    <a:cubicBezTo>
                      <a:pt x="54" y="45"/>
                      <a:pt x="53" y="42"/>
                      <a:pt x="52" y="40"/>
                    </a:cubicBezTo>
                    <a:cubicBezTo>
                      <a:pt x="50" y="38"/>
                      <a:pt x="51" y="36"/>
                      <a:pt x="54" y="34"/>
                    </a:cubicBezTo>
                    <a:cubicBezTo>
                      <a:pt x="58" y="30"/>
                      <a:pt x="66" y="29"/>
                      <a:pt x="76" y="31"/>
                    </a:cubicBezTo>
                    <a:cubicBezTo>
                      <a:pt x="81" y="32"/>
                      <a:pt x="83" y="30"/>
                      <a:pt x="83" y="25"/>
                    </a:cubicBezTo>
                    <a:cubicBezTo>
                      <a:pt x="83" y="21"/>
                      <a:pt x="81" y="18"/>
                      <a:pt x="77" y="18"/>
                    </a:cubicBezTo>
                    <a:cubicBezTo>
                      <a:pt x="70" y="17"/>
                      <a:pt x="66" y="17"/>
                      <a:pt x="65" y="18"/>
                    </a:cubicBezTo>
                    <a:cubicBezTo>
                      <a:pt x="63" y="19"/>
                      <a:pt x="60" y="19"/>
                      <a:pt x="57" y="19"/>
                    </a:cubicBezTo>
                    <a:cubicBezTo>
                      <a:pt x="57" y="18"/>
                      <a:pt x="55" y="17"/>
                      <a:pt x="53" y="15"/>
                    </a:cubicBezTo>
                    <a:cubicBezTo>
                      <a:pt x="53" y="14"/>
                      <a:pt x="52" y="14"/>
                      <a:pt x="52" y="13"/>
                    </a:cubicBezTo>
                    <a:cubicBezTo>
                      <a:pt x="50" y="10"/>
                      <a:pt x="51" y="6"/>
                      <a:pt x="54" y="2"/>
                    </a:cubicBezTo>
                    <a:close/>
                    <a:moveTo>
                      <a:pt x="95" y="70"/>
                    </a:moveTo>
                    <a:cubicBezTo>
                      <a:pt x="96" y="72"/>
                      <a:pt x="95" y="73"/>
                      <a:pt x="94" y="74"/>
                    </a:cubicBezTo>
                    <a:cubicBezTo>
                      <a:pt x="92" y="74"/>
                      <a:pt x="91" y="74"/>
                      <a:pt x="90" y="72"/>
                    </a:cubicBezTo>
                    <a:cubicBezTo>
                      <a:pt x="88" y="67"/>
                      <a:pt x="84" y="62"/>
                      <a:pt x="78" y="56"/>
                    </a:cubicBezTo>
                    <a:cubicBezTo>
                      <a:pt x="77" y="55"/>
                      <a:pt x="76" y="54"/>
                      <a:pt x="76" y="54"/>
                    </a:cubicBezTo>
                    <a:cubicBezTo>
                      <a:pt x="75" y="56"/>
                      <a:pt x="75" y="56"/>
                      <a:pt x="75" y="56"/>
                    </a:cubicBezTo>
                    <a:cubicBezTo>
                      <a:pt x="75" y="61"/>
                      <a:pt x="75" y="73"/>
                      <a:pt x="77" y="93"/>
                    </a:cubicBezTo>
                    <a:cubicBezTo>
                      <a:pt x="78" y="99"/>
                      <a:pt x="80" y="107"/>
                      <a:pt x="83" y="119"/>
                    </a:cubicBezTo>
                    <a:cubicBezTo>
                      <a:pt x="84" y="122"/>
                      <a:pt x="85" y="124"/>
                      <a:pt x="85" y="124"/>
                    </a:cubicBezTo>
                    <a:cubicBezTo>
                      <a:pt x="86" y="126"/>
                      <a:pt x="86" y="128"/>
                      <a:pt x="87" y="131"/>
                    </a:cubicBezTo>
                    <a:cubicBezTo>
                      <a:pt x="88" y="132"/>
                      <a:pt x="88" y="133"/>
                      <a:pt x="88" y="133"/>
                    </a:cubicBezTo>
                    <a:cubicBezTo>
                      <a:pt x="88" y="135"/>
                      <a:pt x="88" y="136"/>
                      <a:pt x="86" y="136"/>
                    </a:cubicBezTo>
                    <a:cubicBezTo>
                      <a:pt x="84" y="136"/>
                      <a:pt x="83" y="135"/>
                      <a:pt x="82" y="133"/>
                    </a:cubicBezTo>
                    <a:cubicBezTo>
                      <a:pt x="77" y="123"/>
                      <a:pt x="73" y="110"/>
                      <a:pt x="70" y="93"/>
                    </a:cubicBezTo>
                    <a:cubicBezTo>
                      <a:pt x="69" y="79"/>
                      <a:pt x="68" y="68"/>
                      <a:pt x="68" y="58"/>
                    </a:cubicBezTo>
                    <a:cubicBezTo>
                      <a:pt x="68" y="51"/>
                      <a:pt x="68" y="46"/>
                      <a:pt x="68" y="44"/>
                    </a:cubicBezTo>
                    <a:cubicBezTo>
                      <a:pt x="68" y="43"/>
                      <a:pt x="69" y="42"/>
                      <a:pt x="70" y="42"/>
                    </a:cubicBezTo>
                    <a:cubicBezTo>
                      <a:pt x="71" y="41"/>
                      <a:pt x="71" y="41"/>
                      <a:pt x="72" y="42"/>
                    </a:cubicBezTo>
                    <a:cubicBezTo>
                      <a:pt x="76" y="45"/>
                      <a:pt x="78" y="48"/>
                      <a:pt x="80" y="49"/>
                    </a:cubicBezTo>
                    <a:cubicBezTo>
                      <a:pt x="86" y="54"/>
                      <a:pt x="91" y="61"/>
                      <a:pt x="95" y="7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316" name="íṣ1ïḑe"/>
              <p:cNvSpPr/>
              <p:nvPr/>
            </p:nvSpPr>
            <p:spPr bwMode="auto">
              <a:xfrm>
                <a:off x="1750909" y="4905965"/>
                <a:ext cx="93663" cy="87313"/>
              </a:xfrm>
              <a:custGeom>
                <a:avLst/>
                <a:gdLst>
                  <a:gd name="T0" fmla="*/ 51 w 51"/>
                  <a:gd name="T1" fmla="*/ 17 h 47"/>
                  <a:gd name="T2" fmla="*/ 46 w 51"/>
                  <a:gd name="T3" fmla="*/ 25 h 47"/>
                  <a:gd name="T4" fmla="*/ 26 w 51"/>
                  <a:gd name="T5" fmla="*/ 13 h 47"/>
                  <a:gd name="T6" fmla="*/ 20 w 51"/>
                  <a:gd name="T7" fmla="*/ 9 h 47"/>
                  <a:gd name="T8" fmla="*/ 14 w 51"/>
                  <a:gd name="T9" fmla="*/ 9 h 47"/>
                  <a:gd name="T10" fmla="*/ 10 w 51"/>
                  <a:gd name="T11" fmla="*/ 13 h 47"/>
                  <a:gd name="T12" fmla="*/ 8 w 51"/>
                  <a:gd name="T13" fmla="*/ 19 h 47"/>
                  <a:gd name="T14" fmla="*/ 10 w 51"/>
                  <a:gd name="T15" fmla="*/ 23 h 47"/>
                  <a:gd name="T16" fmla="*/ 17 w 51"/>
                  <a:gd name="T17" fmla="*/ 27 h 47"/>
                  <a:gd name="T18" fmla="*/ 37 w 51"/>
                  <a:gd name="T19" fmla="*/ 40 h 47"/>
                  <a:gd name="T20" fmla="*/ 33 w 51"/>
                  <a:gd name="T21" fmla="*/ 47 h 47"/>
                  <a:gd name="T22" fmla="*/ 13 w 51"/>
                  <a:gd name="T23" fmla="*/ 35 h 47"/>
                  <a:gd name="T24" fmla="*/ 4 w 51"/>
                  <a:gd name="T25" fmla="*/ 29 h 47"/>
                  <a:gd name="T26" fmla="*/ 1 w 51"/>
                  <a:gd name="T27" fmla="*/ 24 h 47"/>
                  <a:gd name="T28" fmla="*/ 0 w 51"/>
                  <a:gd name="T29" fmla="*/ 18 h 47"/>
                  <a:gd name="T30" fmla="*/ 3 w 51"/>
                  <a:gd name="T31" fmla="*/ 10 h 47"/>
                  <a:gd name="T32" fmla="*/ 10 w 51"/>
                  <a:gd name="T33" fmla="*/ 2 h 47"/>
                  <a:gd name="T34" fmla="*/ 15 w 51"/>
                  <a:gd name="T35" fmla="*/ 0 h 47"/>
                  <a:gd name="T36" fmla="*/ 21 w 51"/>
                  <a:gd name="T37" fmla="*/ 0 h 47"/>
                  <a:gd name="T38" fmla="*/ 31 w 51"/>
                  <a:gd name="T39" fmla="*/ 5 h 47"/>
                  <a:gd name="T40" fmla="*/ 51 w 51"/>
                  <a:gd name="T41" fmla="*/ 17 h 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51" h="47">
                    <a:moveTo>
                      <a:pt x="51" y="17"/>
                    </a:moveTo>
                    <a:cubicBezTo>
                      <a:pt x="46" y="25"/>
                      <a:pt x="46" y="25"/>
                      <a:pt x="46" y="25"/>
                    </a:cubicBezTo>
                    <a:cubicBezTo>
                      <a:pt x="26" y="13"/>
                      <a:pt x="26" y="13"/>
                      <a:pt x="26" y="13"/>
                    </a:cubicBezTo>
                    <a:cubicBezTo>
                      <a:pt x="23" y="11"/>
                      <a:pt x="21" y="10"/>
                      <a:pt x="20" y="9"/>
                    </a:cubicBezTo>
                    <a:cubicBezTo>
                      <a:pt x="18" y="9"/>
                      <a:pt x="16" y="9"/>
                      <a:pt x="14" y="9"/>
                    </a:cubicBezTo>
                    <a:cubicBezTo>
                      <a:pt x="13" y="10"/>
                      <a:pt x="11" y="11"/>
                      <a:pt x="10" y="13"/>
                    </a:cubicBezTo>
                    <a:cubicBezTo>
                      <a:pt x="9" y="16"/>
                      <a:pt x="8" y="17"/>
                      <a:pt x="8" y="19"/>
                    </a:cubicBezTo>
                    <a:cubicBezTo>
                      <a:pt x="9" y="21"/>
                      <a:pt x="9" y="22"/>
                      <a:pt x="10" y="23"/>
                    </a:cubicBezTo>
                    <a:cubicBezTo>
                      <a:pt x="12" y="24"/>
                      <a:pt x="14" y="25"/>
                      <a:pt x="17" y="27"/>
                    </a:cubicBezTo>
                    <a:cubicBezTo>
                      <a:pt x="37" y="40"/>
                      <a:pt x="37" y="40"/>
                      <a:pt x="37" y="40"/>
                    </a:cubicBezTo>
                    <a:cubicBezTo>
                      <a:pt x="33" y="47"/>
                      <a:pt x="33" y="47"/>
                      <a:pt x="33" y="47"/>
                    </a:cubicBezTo>
                    <a:cubicBezTo>
                      <a:pt x="13" y="35"/>
                      <a:pt x="13" y="35"/>
                      <a:pt x="13" y="35"/>
                    </a:cubicBezTo>
                    <a:cubicBezTo>
                      <a:pt x="9" y="33"/>
                      <a:pt x="6" y="31"/>
                      <a:pt x="4" y="29"/>
                    </a:cubicBezTo>
                    <a:cubicBezTo>
                      <a:pt x="2" y="28"/>
                      <a:pt x="1" y="26"/>
                      <a:pt x="1" y="24"/>
                    </a:cubicBezTo>
                    <a:cubicBezTo>
                      <a:pt x="0" y="22"/>
                      <a:pt x="0" y="20"/>
                      <a:pt x="0" y="18"/>
                    </a:cubicBezTo>
                    <a:cubicBezTo>
                      <a:pt x="0" y="15"/>
                      <a:pt x="2" y="13"/>
                      <a:pt x="3" y="10"/>
                    </a:cubicBezTo>
                    <a:cubicBezTo>
                      <a:pt x="6" y="6"/>
                      <a:pt x="8" y="4"/>
                      <a:pt x="10" y="2"/>
                    </a:cubicBezTo>
                    <a:cubicBezTo>
                      <a:pt x="11" y="1"/>
                      <a:pt x="13" y="0"/>
                      <a:pt x="15" y="0"/>
                    </a:cubicBezTo>
                    <a:cubicBezTo>
                      <a:pt x="17" y="0"/>
                      <a:pt x="19" y="0"/>
                      <a:pt x="21" y="0"/>
                    </a:cubicBezTo>
                    <a:cubicBezTo>
                      <a:pt x="23" y="1"/>
                      <a:pt x="27" y="3"/>
                      <a:pt x="31" y="5"/>
                    </a:cubicBezTo>
                    <a:lnTo>
                      <a:pt x="51" y="1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317" name="íṧḷîde"/>
              <p:cNvSpPr/>
              <p:nvPr/>
            </p:nvSpPr>
            <p:spPr bwMode="auto">
              <a:xfrm>
                <a:off x="1704872" y="4971053"/>
                <a:ext cx="100013" cy="92075"/>
              </a:xfrm>
              <a:custGeom>
                <a:avLst/>
                <a:gdLst>
                  <a:gd name="T0" fmla="*/ 17 w 63"/>
                  <a:gd name="T1" fmla="*/ 0 h 58"/>
                  <a:gd name="T2" fmla="*/ 63 w 63"/>
                  <a:gd name="T3" fmla="*/ 21 h 58"/>
                  <a:gd name="T4" fmla="*/ 59 w 63"/>
                  <a:gd name="T5" fmla="*/ 30 h 58"/>
                  <a:gd name="T6" fmla="*/ 19 w 63"/>
                  <a:gd name="T7" fmla="*/ 35 h 58"/>
                  <a:gd name="T8" fmla="*/ 50 w 63"/>
                  <a:gd name="T9" fmla="*/ 50 h 58"/>
                  <a:gd name="T10" fmla="*/ 46 w 63"/>
                  <a:gd name="T11" fmla="*/ 58 h 58"/>
                  <a:gd name="T12" fmla="*/ 0 w 63"/>
                  <a:gd name="T13" fmla="*/ 37 h 58"/>
                  <a:gd name="T14" fmla="*/ 4 w 63"/>
                  <a:gd name="T15" fmla="*/ 26 h 58"/>
                  <a:gd name="T16" fmla="*/ 43 w 63"/>
                  <a:gd name="T17" fmla="*/ 22 h 58"/>
                  <a:gd name="T18" fmla="*/ 12 w 63"/>
                  <a:gd name="T19" fmla="*/ 8 h 58"/>
                  <a:gd name="T20" fmla="*/ 17 w 63"/>
                  <a:gd name="T21" fmla="*/ 0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63" h="58">
                    <a:moveTo>
                      <a:pt x="17" y="0"/>
                    </a:moveTo>
                    <a:lnTo>
                      <a:pt x="63" y="21"/>
                    </a:lnTo>
                    <a:lnTo>
                      <a:pt x="59" y="30"/>
                    </a:lnTo>
                    <a:lnTo>
                      <a:pt x="19" y="35"/>
                    </a:lnTo>
                    <a:lnTo>
                      <a:pt x="50" y="50"/>
                    </a:lnTo>
                    <a:lnTo>
                      <a:pt x="46" y="58"/>
                    </a:lnTo>
                    <a:lnTo>
                      <a:pt x="0" y="37"/>
                    </a:lnTo>
                    <a:lnTo>
                      <a:pt x="4" y="26"/>
                    </a:lnTo>
                    <a:lnTo>
                      <a:pt x="43" y="22"/>
                    </a:lnTo>
                    <a:lnTo>
                      <a:pt x="12" y="8"/>
                    </a:lnTo>
                    <a:lnTo>
                      <a:pt x="17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318" name="íS1îḍé"/>
              <p:cNvSpPr/>
              <p:nvPr/>
            </p:nvSpPr>
            <p:spPr bwMode="auto">
              <a:xfrm>
                <a:off x="1690584" y="5045665"/>
                <a:ext cx="84138" cy="44450"/>
              </a:xfrm>
              <a:custGeom>
                <a:avLst/>
                <a:gdLst>
                  <a:gd name="T0" fmla="*/ 5 w 53"/>
                  <a:gd name="T1" fmla="*/ 0 h 28"/>
                  <a:gd name="T2" fmla="*/ 53 w 53"/>
                  <a:gd name="T3" fmla="*/ 19 h 28"/>
                  <a:gd name="T4" fmla="*/ 49 w 53"/>
                  <a:gd name="T5" fmla="*/ 28 h 28"/>
                  <a:gd name="T6" fmla="*/ 0 w 53"/>
                  <a:gd name="T7" fmla="*/ 10 h 28"/>
                  <a:gd name="T8" fmla="*/ 5 w 53"/>
                  <a:gd name="T9" fmla="*/ 0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3" h="28">
                    <a:moveTo>
                      <a:pt x="5" y="0"/>
                    </a:moveTo>
                    <a:lnTo>
                      <a:pt x="53" y="19"/>
                    </a:lnTo>
                    <a:lnTo>
                      <a:pt x="49" y="28"/>
                    </a:lnTo>
                    <a:lnTo>
                      <a:pt x="0" y="10"/>
                    </a:lnTo>
                    <a:lnTo>
                      <a:pt x="5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319" name="íṧļïḋè"/>
              <p:cNvSpPr/>
              <p:nvPr/>
            </p:nvSpPr>
            <p:spPr bwMode="auto">
              <a:xfrm>
                <a:off x="1674709" y="5091703"/>
                <a:ext cx="92075" cy="73025"/>
              </a:xfrm>
              <a:custGeom>
                <a:avLst/>
                <a:gdLst>
                  <a:gd name="T0" fmla="*/ 4 w 58"/>
                  <a:gd name="T1" fmla="*/ 3 h 46"/>
                  <a:gd name="T2" fmla="*/ 58 w 58"/>
                  <a:gd name="T3" fmla="*/ 0 h 46"/>
                  <a:gd name="T4" fmla="*/ 55 w 58"/>
                  <a:gd name="T5" fmla="*/ 11 h 46"/>
                  <a:gd name="T6" fmla="*/ 14 w 58"/>
                  <a:gd name="T7" fmla="*/ 13 h 46"/>
                  <a:gd name="T8" fmla="*/ 46 w 58"/>
                  <a:gd name="T9" fmla="*/ 35 h 46"/>
                  <a:gd name="T10" fmla="*/ 44 w 58"/>
                  <a:gd name="T11" fmla="*/ 46 h 46"/>
                  <a:gd name="T12" fmla="*/ 0 w 58"/>
                  <a:gd name="T13" fmla="*/ 14 h 46"/>
                  <a:gd name="T14" fmla="*/ 4 w 58"/>
                  <a:gd name="T15" fmla="*/ 3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58" h="46">
                    <a:moveTo>
                      <a:pt x="4" y="3"/>
                    </a:moveTo>
                    <a:lnTo>
                      <a:pt x="58" y="0"/>
                    </a:lnTo>
                    <a:lnTo>
                      <a:pt x="55" y="11"/>
                    </a:lnTo>
                    <a:lnTo>
                      <a:pt x="14" y="13"/>
                    </a:lnTo>
                    <a:lnTo>
                      <a:pt x="46" y="35"/>
                    </a:lnTo>
                    <a:lnTo>
                      <a:pt x="44" y="46"/>
                    </a:lnTo>
                    <a:lnTo>
                      <a:pt x="0" y="14"/>
                    </a:lnTo>
                    <a:lnTo>
                      <a:pt x="4" y="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320" name="ïṡḷiḋé"/>
              <p:cNvSpPr/>
              <p:nvPr/>
            </p:nvSpPr>
            <p:spPr bwMode="auto">
              <a:xfrm>
                <a:off x="1652484" y="5153615"/>
                <a:ext cx="90488" cy="73025"/>
              </a:xfrm>
              <a:custGeom>
                <a:avLst/>
                <a:gdLst>
                  <a:gd name="T0" fmla="*/ 7 w 57"/>
                  <a:gd name="T1" fmla="*/ 0 h 46"/>
                  <a:gd name="T2" fmla="*/ 57 w 57"/>
                  <a:gd name="T3" fmla="*/ 10 h 46"/>
                  <a:gd name="T4" fmla="*/ 50 w 57"/>
                  <a:gd name="T5" fmla="*/ 46 h 46"/>
                  <a:gd name="T6" fmla="*/ 42 w 57"/>
                  <a:gd name="T7" fmla="*/ 45 h 46"/>
                  <a:gd name="T8" fmla="*/ 47 w 57"/>
                  <a:gd name="T9" fmla="*/ 18 h 46"/>
                  <a:gd name="T10" fmla="*/ 36 w 57"/>
                  <a:gd name="T11" fmla="*/ 16 h 46"/>
                  <a:gd name="T12" fmla="*/ 30 w 57"/>
                  <a:gd name="T13" fmla="*/ 40 h 46"/>
                  <a:gd name="T14" fmla="*/ 22 w 57"/>
                  <a:gd name="T15" fmla="*/ 39 h 46"/>
                  <a:gd name="T16" fmla="*/ 27 w 57"/>
                  <a:gd name="T17" fmla="*/ 14 h 46"/>
                  <a:gd name="T18" fmla="*/ 14 w 57"/>
                  <a:gd name="T19" fmla="*/ 11 h 46"/>
                  <a:gd name="T20" fmla="*/ 8 w 57"/>
                  <a:gd name="T21" fmla="*/ 39 h 46"/>
                  <a:gd name="T22" fmla="*/ 0 w 57"/>
                  <a:gd name="T23" fmla="*/ 38 h 46"/>
                  <a:gd name="T24" fmla="*/ 7 w 57"/>
                  <a:gd name="T25" fmla="*/ 0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57" h="46">
                    <a:moveTo>
                      <a:pt x="7" y="0"/>
                    </a:moveTo>
                    <a:lnTo>
                      <a:pt x="57" y="10"/>
                    </a:lnTo>
                    <a:lnTo>
                      <a:pt x="50" y="46"/>
                    </a:lnTo>
                    <a:lnTo>
                      <a:pt x="42" y="45"/>
                    </a:lnTo>
                    <a:lnTo>
                      <a:pt x="47" y="18"/>
                    </a:lnTo>
                    <a:lnTo>
                      <a:pt x="36" y="16"/>
                    </a:lnTo>
                    <a:lnTo>
                      <a:pt x="30" y="40"/>
                    </a:lnTo>
                    <a:lnTo>
                      <a:pt x="22" y="39"/>
                    </a:lnTo>
                    <a:lnTo>
                      <a:pt x="27" y="14"/>
                    </a:lnTo>
                    <a:lnTo>
                      <a:pt x="14" y="11"/>
                    </a:lnTo>
                    <a:lnTo>
                      <a:pt x="8" y="39"/>
                    </a:lnTo>
                    <a:lnTo>
                      <a:pt x="0" y="38"/>
                    </a:lnTo>
                    <a:lnTo>
                      <a:pt x="7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321" name="ïşļiḋe"/>
              <p:cNvSpPr/>
              <p:nvPr/>
            </p:nvSpPr>
            <p:spPr bwMode="auto">
              <a:xfrm>
                <a:off x="1641372" y="5231403"/>
                <a:ext cx="88900" cy="71438"/>
              </a:xfrm>
              <a:custGeom>
                <a:avLst/>
                <a:gdLst>
                  <a:gd name="T0" fmla="*/ 4 w 48"/>
                  <a:gd name="T1" fmla="*/ 0 h 39"/>
                  <a:gd name="T2" fmla="*/ 48 w 48"/>
                  <a:gd name="T3" fmla="*/ 4 h 39"/>
                  <a:gd name="T4" fmla="*/ 46 w 48"/>
                  <a:gd name="T5" fmla="*/ 23 h 39"/>
                  <a:gd name="T6" fmla="*/ 44 w 48"/>
                  <a:gd name="T7" fmla="*/ 33 h 39"/>
                  <a:gd name="T8" fmla="*/ 39 w 48"/>
                  <a:gd name="T9" fmla="*/ 38 h 39"/>
                  <a:gd name="T10" fmla="*/ 32 w 48"/>
                  <a:gd name="T11" fmla="*/ 39 h 39"/>
                  <a:gd name="T12" fmla="*/ 24 w 48"/>
                  <a:gd name="T13" fmla="*/ 35 h 39"/>
                  <a:gd name="T14" fmla="*/ 21 w 48"/>
                  <a:gd name="T15" fmla="*/ 26 h 39"/>
                  <a:gd name="T16" fmla="*/ 17 w 48"/>
                  <a:gd name="T17" fmla="*/ 30 h 39"/>
                  <a:gd name="T18" fmla="*/ 9 w 48"/>
                  <a:gd name="T19" fmla="*/ 35 h 39"/>
                  <a:gd name="T20" fmla="*/ 0 w 48"/>
                  <a:gd name="T21" fmla="*/ 39 h 39"/>
                  <a:gd name="T22" fmla="*/ 1 w 48"/>
                  <a:gd name="T23" fmla="*/ 29 h 39"/>
                  <a:gd name="T24" fmla="*/ 12 w 48"/>
                  <a:gd name="T25" fmla="*/ 23 h 39"/>
                  <a:gd name="T26" fmla="*/ 18 w 48"/>
                  <a:gd name="T27" fmla="*/ 19 h 39"/>
                  <a:gd name="T28" fmla="*/ 20 w 48"/>
                  <a:gd name="T29" fmla="*/ 17 h 39"/>
                  <a:gd name="T30" fmla="*/ 21 w 48"/>
                  <a:gd name="T31" fmla="*/ 12 h 39"/>
                  <a:gd name="T32" fmla="*/ 22 w 48"/>
                  <a:gd name="T33" fmla="*/ 11 h 39"/>
                  <a:gd name="T34" fmla="*/ 3 w 48"/>
                  <a:gd name="T35" fmla="*/ 9 h 39"/>
                  <a:gd name="T36" fmla="*/ 4 w 48"/>
                  <a:gd name="T37" fmla="*/ 0 h 39"/>
                  <a:gd name="T38" fmla="*/ 29 w 48"/>
                  <a:gd name="T39" fmla="*/ 11 h 39"/>
                  <a:gd name="T40" fmla="*/ 28 w 48"/>
                  <a:gd name="T41" fmla="*/ 18 h 39"/>
                  <a:gd name="T42" fmla="*/ 28 w 48"/>
                  <a:gd name="T43" fmla="*/ 26 h 39"/>
                  <a:gd name="T44" fmla="*/ 29 w 48"/>
                  <a:gd name="T45" fmla="*/ 28 h 39"/>
                  <a:gd name="T46" fmla="*/ 32 w 48"/>
                  <a:gd name="T47" fmla="*/ 30 h 39"/>
                  <a:gd name="T48" fmla="*/ 36 w 48"/>
                  <a:gd name="T49" fmla="*/ 29 h 39"/>
                  <a:gd name="T50" fmla="*/ 38 w 48"/>
                  <a:gd name="T51" fmla="*/ 26 h 39"/>
                  <a:gd name="T52" fmla="*/ 39 w 48"/>
                  <a:gd name="T53" fmla="*/ 19 h 39"/>
                  <a:gd name="T54" fmla="*/ 40 w 48"/>
                  <a:gd name="T55" fmla="*/ 12 h 39"/>
                  <a:gd name="T56" fmla="*/ 29 w 48"/>
                  <a:gd name="T57" fmla="*/ 11 h 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48" h="39">
                    <a:moveTo>
                      <a:pt x="4" y="0"/>
                    </a:moveTo>
                    <a:cubicBezTo>
                      <a:pt x="48" y="4"/>
                      <a:pt x="48" y="4"/>
                      <a:pt x="48" y="4"/>
                    </a:cubicBezTo>
                    <a:cubicBezTo>
                      <a:pt x="46" y="23"/>
                      <a:pt x="46" y="23"/>
                      <a:pt x="46" y="23"/>
                    </a:cubicBezTo>
                    <a:cubicBezTo>
                      <a:pt x="46" y="27"/>
                      <a:pt x="45" y="31"/>
                      <a:pt x="44" y="33"/>
                    </a:cubicBezTo>
                    <a:cubicBezTo>
                      <a:pt x="43" y="35"/>
                      <a:pt x="41" y="36"/>
                      <a:pt x="39" y="38"/>
                    </a:cubicBezTo>
                    <a:cubicBezTo>
                      <a:pt x="37" y="39"/>
                      <a:pt x="35" y="39"/>
                      <a:pt x="32" y="39"/>
                    </a:cubicBezTo>
                    <a:cubicBezTo>
                      <a:pt x="29" y="38"/>
                      <a:pt x="26" y="37"/>
                      <a:pt x="24" y="35"/>
                    </a:cubicBezTo>
                    <a:cubicBezTo>
                      <a:pt x="22" y="33"/>
                      <a:pt x="21" y="30"/>
                      <a:pt x="21" y="26"/>
                    </a:cubicBezTo>
                    <a:cubicBezTo>
                      <a:pt x="20" y="28"/>
                      <a:pt x="18" y="29"/>
                      <a:pt x="17" y="30"/>
                    </a:cubicBezTo>
                    <a:cubicBezTo>
                      <a:pt x="16" y="32"/>
                      <a:pt x="13" y="33"/>
                      <a:pt x="9" y="35"/>
                    </a:cubicBezTo>
                    <a:cubicBezTo>
                      <a:pt x="0" y="39"/>
                      <a:pt x="0" y="39"/>
                      <a:pt x="0" y="39"/>
                    </a:cubicBezTo>
                    <a:cubicBezTo>
                      <a:pt x="1" y="29"/>
                      <a:pt x="1" y="29"/>
                      <a:pt x="1" y="29"/>
                    </a:cubicBezTo>
                    <a:cubicBezTo>
                      <a:pt x="12" y="23"/>
                      <a:pt x="12" y="23"/>
                      <a:pt x="12" y="23"/>
                    </a:cubicBezTo>
                    <a:cubicBezTo>
                      <a:pt x="15" y="21"/>
                      <a:pt x="17" y="20"/>
                      <a:pt x="18" y="19"/>
                    </a:cubicBezTo>
                    <a:cubicBezTo>
                      <a:pt x="19" y="18"/>
                      <a:pt x="20" y="18"/>
                      <a:pt x="20" y="17"/>
                    </a:cubicBezTo>
                    <a:cubicBezTo>
                      <a:pt x="21" y="16"/>
                      <a:pt x="21" y="14"/>
                      <a:pt x="21" y="12"/>
                    </a:cubicBezTo>
                    <a:cubicBezTo>
                      <a:pt x="22" y="11"/>
                      <a:pt x="22" y="11"/>
                      <a:pt x="22" y="11"/>
                    </a:cubicBezTo>
                    <a:cubicBezTo>
                      <a:pt x="3" y="9"/>
                      <a:pt x="3" y="9"/>
                      <a:pt x="3" y="9"/>
                    </a:cubicBezTo>
                    <a:lnTo>
                      <a:pt x="4" y="0"/>
                    </a:lnTo>
                    <a:close/>
                    <a:moveTo>
                      <a:pt x="29" y="11"/>
                    </a:moveTo>
                    <a:cubicBezTo>
                      <a:pt x="28" y="18"/>
                      <a:pt x="28" y="18"/>
                      <a:pt x="28" y="18"/>
                    </a:cubicBezTo>
                    <a:cubicBezTo>
                      <a:pt x="28" y="22"/>
                      <a:pt x="27" y="25"/>
                      <a:pt x="28" y="26"/>
                    </a:cubicBezTo>
                    <a:cubicBezTo>
                      <a:pt x="28" y="27"/>
                      <a:pt x="28" y="28"/>
                      <a:pt x="29" y="28"/>
                    </a:cubicBezTo>
                    <a:cubicBezTo>
                      <a:pt x="30" y="29"/>
                      <a:pt x="31" y="30"/>
                      <a:pt x="32" y="30"/>
                    </a:cubicBezTo>
                    <a:cubicBezTo>
                      <a:pt x="34" y="30"/>
                      <a:pt x="35" y="30"/>
                      <a:pt x="36" y="29"/>
                    </a:cubicBezTo>
                    <a:cubicBezTo>
                      <a:pt x="37" y="28"/>
                      <a:pt x="38" y="27"/>
                      <a:pt x="38" y="26"/>
                    </a:cubicBezTo>
                    <a:cubicBezTo>
                      <a:pt x="38" y="25"/>
                      <a:pt x="39" y="23"/>
                      <a:pt x="39" y="19"/>
                    </a:cubicBezTo>
                    <a:cubicBezTo>
                      <a:pt x="40" y="12"/>
                      <a:pt x="40" y="12"/>
                      <a:pt x="40" y="12"/>
                    </a:cubicBezTo>
                    <a:lnTo>
                      <a:pt x="29" y="1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322" name="îś1iḓê"/>
              <p:cNvSpPr/>
              <p:nvPr/>
            </p:nvSpPr>
            <p:spPr bwMode="auto">
              <a:xfrm>
                <a:off x="1641372" y="5312365"/>
                <a:ext cx="82550" cy="66675"/>
              </a:xfrm>
              <a:custGeom>
                <a:avLst/>
                <a:gdLst>
                  <a:gd name="T0" fmla="*/ 15 w 45"/>
                  <a:gd name="T1" fmla="*/ 0 h 36"/>
                  <a:gd name="T2" fmla="*/ 16 w 45"/>
                  <a:gd name="T3" fmla="*/ 8 h 36"/>
                  <a:gd name="T4" fmla="*/ 9 w 45"/>
                  <a:gd name="T5" fmla="*/ 12 h 36"/>
                  <a:gd name="T6" fmla="*/ 7 w 45"/>
                  <a:gd name="T7" fmla="*/ 18 h 36"/>
                  <a:gd name="T8" fmla="*/ 9 w 45"/>
                  <a:gd name="T9" fmla="*/ 25 h 36"/>
                  <a:gd name="T10" fmla="*/ 13 w 45"/>
                  <a:gd name="T11" fmla="*/ 27 h 36"/>
                  <a:gd name="T12" fmla="*/ 16 w 45"/>
                  <a:gd name="T13" fmla="*/ 26 h 36"/>
                  <a:gd name="T14" fmla="*/ 18 w 45"/>
                  <a:gd name="T15" fmla="*/ 23 h 36"/>
                  <a:gd name="T16" fmla="*/ 20 w 45"/>
                  <a:gd name="T17" fmla="*/ 15 h 36"/>
                  <a:gd name="T18" fmla="*/ 24 w 45"/>
                  <a:gd name="T19" fmla="*/ 5 h 36"/>
                  <a:gd name="T20" fmla="*/ 33 w 45"/>
                  <a:gd name="T21" fmla="*/ 1 h 36"/>
                  <a:gd name="T22" fmla="*/ 39 w 45"/>
                  <a:gd name="T23" fmla="*/ 3 h 36"/>
                  <a:gd name="T24" fmla="*/ 44 w 45"/>
                  <a:gd name="T25" fmla="*/ 9 h 36"/>
                  <a:gd name="T26" fmla="*/ 45 w 45"/>
                  <a:gd name="T27" fmla="*/ 17 h 36"/>
                  <a:gd name="T28" fmla="*/ 42 w 45"/>
                  <a:gd name="T29" fmla="*/ 30 h 36"/>
                  <a:gd name="T30" fmla="*/ 32 w 45"/>
                  <a:gd name="T31" fmla="*/ 34 h 36"/>
                  <a:gd name="T32" fmla="*/ 31 w 45"/>
                  <a:gd name="T33" fmla="*/ 25 h 36"/>
                  <a:gd name="T34" fmla="*/ 36 w 45"/>
                  <a:gd name="T35" fmla="*/ 23 h 36"/>
                  <a:gd name="T36" fmla="*/ 38 w 45"/>
                  <a:gd name="T37" fmla="*/ 17 h 36"/>
                  <a:gd name="T38" fmla="*/ 36 w 45"/>
                  <a:gd name="T39" fmla="*/ 11 h 36"/>
                  <a:gd name="T40" fmla="*/ 33 w 45"/>
                  <a:gd name="T41" fmla="*/ 10 h 36"/>
                  <a:gd name="T42" fmla="*/ 31 w 45"/>
                  <a:gd name="T43" fmla="*/ 11 h 36"/>
                  <a:gd name="T44" fmla="*/ 28 w 45"/>
                  <a:gd name="T45" fmla="*/ 19 h 36"/>
                  <a:gd name="T46" fmla="*/ 25 w 45"/>
                  <a:gd name="T47" fmla="*/ 29 h 36"/>
                  <a:gd name="T48" fmla="*/ 20 w 45"/>
                  <a:gd name="T49" fmla="*/ 34 h 36"/>
                  <a:gd name="T50" fmla="*/ 13 w 45"/>
                  <a:gd name="T51" fmla="*/ 36 h 36"/>
                  <a:gd name="T52" fmla="*/ 6 w 45"/>
                  <a:gd name="T53" fmla="*/ 33 h 36"/>
                  <a:gd name="T54" fmla="*/ 1 w 45"/>
                  <a:gd name="T55" fmla="*/ 28 h 36"/>
                  <a:gd name="T56" fmla="*/ 0 w 45"/>
                  <a:gd name="T57" fmla="*/ 18 h 36"/>
                  <a:gd name="T58" fmla="*/ 3 w 45"/>
                  <a:gd name="T59" fmla="*/ 5 h 36"/>
                  <a:gd name="T60" fmla="*/ 15 w 45"/>
                  <a:gd name="T61" fmla="*/ 0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45" h="36">
                    <a:moveTo>
                      <a:pt x="15" y="0"/>
                    </a:moveTo>
                    <a:cubicBezTo>
                      <a:pt x="16" y="8"/>
                      <a:pt x="16" y="8"/>
                      <a:pt x="16" y="8"/>
                    </a:cubicBezTo>
                    <a:cubicBezTo>
                      <a:pt x="13" y="9"/>
                      <a:pt x="10" y="10"/>
                      <a:pt x="9" y="12"/>
                    </a:cubicBezTo>
                    <a:cubicBezTo>
                      <a:pt x="8" y="13"/>
                      <a:pt x="7" y="15"/>
                      <a:pt x="7" y="18"/>
                    </a:cubicBezTo>
                    <a:cubicBezTo>
                      <a:pt x="7" y="21"/>
                      <a:pt x="8" y="23"/>
                      <a:pt x="9" y="25"/>
                    </a:cubicBezTo>
                    <a:cubicBezTo>
                      <a:pt x="10" y="26"/>
                      <a:pt x="12" y="27"/>
                      <a:pt x="13" y="27"/>
                    </a:cubicBezTo>
                    <a:cubicBezTo>
                      <a:pt x="14" y="27"/>
                      <a:pt x="15" y="26"/>
                      <a:pt x="16" y="26"/>
                    </a:cubicBezTo>
                    <a:cubicBezTo>
                      <a:pt x="17" y="25"/>
                      <a:pt x="17" y="24"/>
                      <a:pt x="18" y="23"/>
                    </a:cubicBezTo>
                    <a:cubicBezTo>
                      <a:pt x="18" y="22"/>
                      <a:pt x="19" y="19"/>
                      <a:pt x="20" y="15"/>
                    </a:cubicBezTo>
                    <a:cubicBezTo>
                      <a:pt x="21" y="11"/>
                      <a:pt x="22" y="7"/>
                      <a:pt x="24" y="5"/>
                    </a:cubicBezTo>
                    <a:cubicBezTo>
                      <a:pt x="26" y="3"/>
                      <a:pt x="29" y="1"/>
                      <a:pt x="33" y="1"/>
                    </a:cubicBezTo>
                    <a:cubicBezTo>
                      <a:pt x="35" y="1"/>
                      <a:pt x="37" y="2"/>
                      <a:pt x="39" y="3"/>
                    </a:cubicBezTo>
                    <a:cubicBezTo>
                      <a:pt x="41" y="4"/>
                      <a:pt x="43" y="6"/>
                      <a:pt x="44" y="9"/>
                    </a:cubicBezTo>
                    <a:cubicBezTo>
                      <a:pt x="45" y="11"/>
                      <a:pt x="45" y="14"/>
                      <a:pt x="45" y="17"/>
                    </a:cubicBezTo>
                    <a:cubicBezTo>
                      <a:pt x="45" y="23"/>
                      <a:pt x="44" y="27"/>
                      <a:pt x="42" y="30"/>
                    </a:cubicBezTo>
                    <a:cubicBezTo>
                      <a:pt x="39" y="33"/>
                      <a:pt x="36" y="34"/>
                      <a:pt x="32" y="34"/>
                    </a:cubicBezTo>
                    <a:cubicBezTo>
                      <a:pt x="31" y="25"/>
                      <a:pt x="31" y="25"/>
                      <a:pt x="31" y="25"/>
                    </a:cubicBezTo>
                    <a:cubicBezTo>
                      <a:pt x="34" y="25"/>
                      <a:pt x="35" y="24"/>
                      <a:pt x="36" y="23"/>
                    </a:cubicBezTo>
                    <a:cubicBezTo>
                      <a:pt x="37" y="22"/>
                      <a:pt x="38" y="20"/>
                      <a:pt x="38" y="17"/>
                    </a:cubicBezTo>
                    <a:cubicBezTo>
                      <a:pt x="38" y="15"/>
                      <a:pt x="37" y="13"/>
                      <a:pt x="36" y="11"/>
                    </a:cubicBezTo>
                    <a:cubicBezTo>
                      <a:pt x="35" y="10"/>
                      <a:pt x="35" y="10"/>
                      <a:pt x="33" y="10"/>
                    </a:cubicBezTo>
                    <a:cubicBezTo>
                      <a:pt x="32" y="10"/>
                      <a:pt x="31" y="10"/>
                      <a:pt x="31" y="11"/>
                    </a:cubicBezTo>
                    <a:cubicBezTo>
                      <a:pt x="30" y="12"/>
                      <a:pt x="29" y="15"/>
                      <a:pt x="28" y="19"/>
                    </a:cubicBezTo>
                    <a:cubicBezTo>
                      <a:pt x="27" y="24"/>
                      <a:pt x="26" y="27"/>
                      <a:pt x="25" y="29"/>
                    </a:cubicBezTo>
                    <a:cubicBezTo>
                      <a:pt x="24" y="31"/>
                      <a:pt x="22" y="33"/>
                      <a:pt x="20" y="34"/>
                    </a:cubicBezTo>
                    <a:cubicBezTo>
                      <a:pt x="18" y="35"/>
                      <a:pt x="16" y="36"/>
                      <a:pt x="13" y="36"/>
                    </a:cubicBezTo>
                    <a:cubicBezTo>
                      <a:pt x="11" y="36"/>
                      <a:pt x="8" y="35"/>
                      <a:pt x="6" y="33"/>
                    </a:cubicBezTo>
                    <a:cubicBezTo>
                      <a:pt x="4" y="32"/>
                      <a:pt x="2" y="30"/>
                      <a:pt x="1" y="28"/>
                    </a:cubicBezTo>
                    <a:cubicBezTo>
                      <a:pt x="0" y="25"/>
                      <a:pt x="0" y="22"/>
                      <a:pt x="0" y="18"/>
                    </a:cubicBezTo>
                    <a:cubicBezTo>
                      <a:pt x="0" y="12"/>
                      <a:pt x="1" y="8"/>
                      <a:pt x="3" y="5"/>
                    </a:cubicBezTo>
                    <a:cubicBezTo>
                      <a:pt x="6" y="2"/>
                      <a:pt x="10" y="0"/>
                      <a:pt x="15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323" name="íş1ïḓe"/>
              <p:cNvSpPr/>
              <p:nvPr/>
            </p:nvSpPr>
            <p:spPr bwMode="auto">
              <a:xfrm>
                <a:off x="1642959" y="5385390"/>
                <a:ext cx="84138" cy="22225"/>
              </a:xfrm>
              <a:custGeom>
                <a:avLst/>
                <a:gdLst>
                  <a:gd name="T0" fmla="*/ 0 w 53"/>
                  <a:gd name="T1" fmla="*/ 5 h 14"/>
                  <a:gd name="T2" fmla="*/ 51 w 53"/>
                  <a:gd name="T3" fmla="*/ 0 h 14"/>
                  <a:gd name="T4" fmla="*/ 53 w 53"/>
                  <a:gd name="T5" fmla="*/ 11 h 14"/>
                  <a:gd name="T6" fmla="*/ 1 w 53"/>
                  <a:gd name="T7" fmla="*/ 14 h 14"/>
                  <a:gd name="T8" fmla="*/ 0 w 53"/>
                  <a:gd name="T9" fmla="*/ 5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3" h="14">
                    <a:moveTo>
                      <a:pt x="0" y="5"/>
                    </a:moveTo>
                    <a:lnTo>
                      <a:pt x="51" y="0"/>
                    </a:lnTo>
                    <a:lnTo>
                      <a:pt x="53" y="11"/>
                    </a:lnTo>
                    <a:lnTo>
                      <a:pt x="1" y="14"/>
                    </a:lnTo>
                    <a:lnTo>
                      <a:pt x="0" y="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324" name="ïṩlîḋè"/>
              <p:cNvSpPr/>
              <p:nvPr/>
            </p:nvSpPr>
            <p:spPr bwMode="auto">
              <a:xfrm>
                <a:off x="1649309" y="5407615"/>
                <a:ext cx="84138" cy="66675"/>
              </a:xfrm>
              <a:custGeom>
                <a:avLst/>
                <a:gdLst>
                  <a:gd name="T0" fmla="*/ 0 w 53"/>
                  <a:gd name="T1" fmla="*/ 22 h 42"/>
                  <a:gd name="T2" fmla="*/ 42 w 53"/>
                  <a:gd name="T3" fmla="*/ 17 h 42"/>
                  <a:gd name="T4" fmla="*/ 39 w 53"/>
                  <a:gd name="T5" fmla="*/ 1 h 42"/>
                  <a:gd name="T6" fmla="*/ 49 w 53"/>
                  <a:gd name="T7" fmla="*/ 0 h 42"/>
                  <a:gd name="T8" fmla="*/ 53 w 53"/>
                  <a:gd name="T9" fmla="*/ 41 h 42"/>
                  <a:gd name="T10" fmla="*/ 45 w 53"/>
                  <a:gd name="T11" fmla="*/ 42 h 42"/>
                  <a:gd name="T12" fmla="*/ 43 w 53"/>
                  <a:gd name="T13" fmla="*/ 27 h 42"/>
                  <a:gd name="T14" fmla="*/ 1 w 53"/>
                  <a:gd name="T15" fmla="*/ 33 h 42"/>
                  <a:gd name="T16" fmla="*/ 0 w 53"/>
                  <a:gd name="T17" fmla="*/ 22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3" h="42">
                    <a:moveTo>
                      <a:pt x="0" y="22"/>
                    </a:moveTo>
                    <a:lnTo>
                      <a:pt x="42" y="17"/>
                    </a:lnTo>
                    <a:lnTo>
                      <a:pt x="39" y="1"/>
                    </a:lnTo>
                    <a:lnTo>
                      <a:pt x="49" y="0"/>
                    </a:lnTo>
                    <a:lnTo>
                      <a:pt x="53" y="41"/>
                    </a:lnTo>
                    <a:lnTo>
                      <a:pt x="45" y="42"/>
                    </a:lnTo>
                    <a:lnTo>
                      <a:pt x="43" y="27"/>
                    </a:lnTo>
                    <a:lnTo>
                      <a:pt x="1" y="33"/>
                    </a:lnTo>
                    <a:lnTo>
                      <a:pt x="0" y="2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325" name="ïṣľîďe"/>
              <p:cNvSpPr/>
              <p:nvPr/>
            </p:nvSpPr>
            <p:spPr bwMode="auto">
              <a:xfrm>
                <a:off x="1662009" y="5471115"/>
                <a:ext cx="90488" cy="73025"/>
              </a:xfrm>
              <a:custGeom>
                <a:avLst/>
                <a:gdLst>
                  <a:gd name="T0" fmla="*/ 0 w 57"/>
                  <a:gd name="T1" fmla="*/ 29 h 46"/>
                  <a:gd name="T2" fmla="*/ 21 w 57"/>
                  <a:gd name="T3" fmla="*/ 24 h 46"/>
                  <a:gd name="T4" fmla="*/ 45 w 57"/>
                  <a:gd name="T5" fmla="*/ 0 h 46"/>
                  <a:gd name="T6" fmla="*/ 49 w 57"/>
                  <a:gd name="T7" fmla="*/ 11 h 46"/>
                  <a:gd name="T8" fmla="*/ 31 w 57"/>
                  <a:gd name="T9" fmla="*/ 28 h 46"/>
                  <a:gd name="T10" fmla="*/ 53 w 57"/>
                  <a:gd name="T11" fmla="*/ 35 h 46"/>
                  <a:gd name="T12" fmla="*/ 57 w 57"/>
                  <a:gd name="T13" fmla="*/ 46 h 46"/>
                  <a:gd name="T14" fmla="*/ 23 w 57"/>
                  <a:gd name="T15" fmla="*/ 35 h 46"/>
                  <a:gd name="T16" fmla="*/ 2 w 57"/>
                  <a:gd name="T17" fmla="*/ 39 h 46"/>
                  <a:gd name="T18" fmla="*/ 0 w 57"/>
                  <a:gd name="T19" fmla="*/ 29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57" h="46">
                    <a:moveTo>
                      <a:pt x="0" y="29"/>
                    </a:moveTo>
                    <a:lnTo>
                      <a:pt x="21" y="24"/>
                    </a:lnTo>
                    <a:lnTo>
                      <a:pt x="45" y="0"/>
                    </a:lnTo>
                    <a:lnTo>
                      <a:pt x="49" y="11"/>
                    </a:lnTo>
                    <a:lnTo>
                      <a:pt x="31" y="28"/>
                    </a:lnTo>
                    <a:lnTo>
                      <a:pt x="53" y="35"/>
                    </a:lnTo>
                    <a:lnTo>
                      <a:pt x="57" y="46"/>
                    </a:lnTo>
                    <a:lnTo>
                      <a:pt x="23" y="35"/>
                    </a:lnTo>
                    <a:lnTo>
                      <a:pt x="2" y="39"/>
                    </a:lnTo>
                    <a:lnTo>
                      <a:pt x="0" y="2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326" name="íśļiḓe"/>
              <p:cNvSpPr/>
              <p:nvPr/>
            </p:nvSpPr>
            <p:spPr bwMode="auto">
              <a:xfrm>
                <a:off x="1704872" y="5609228"/>
                <a:ext cx="85725" cy="80963"/>
              </a:xfrm>
              <a:custGeom>
                <a:avLst/>
                <a:gdLst>
                  <a:gd name="T0" fmla="*/ 15 w 47"/>
                  <a:gd name="T1" fmla="*/ 2 h 44"/>
                  <a:gd name="T2" fmla="*/ 26 w 47"/>
                  <a:gd name="T3" fmla="*/ 0 h 44"/>
                  <a:gd name="T4" fmla="*/ 33 w 47"/>
                  <a:gd name="T5" fmla="*/ 1 h 44"/>
                  <a:gd name="T6" fmla="*/ 39 w 47"/>
                  <a:gd name="T7" fmla="*/ 4 h 44"/>
                  <a:gd name="T8" fmla="*/ 44 w 47"/>
                  <a:gd name="T9" fmla="*/ 12 h 44"/>
                  <a:gd name="T10" fmla="*/ 45 w 47"/>
                  <a:gd name="T11" fmla="*/ 29 h 44"/>
                  <a:gd name="T12" fmla="*/ 32 w 47"/>
                  <a:gd name="T13" fmla="*/ 41 h 44"/>
                  <a:gd name="T14" fmla="*/ 15 w 47"/>
                  <a:gd name="T15" fmla="*/ 43 h 44"/>
                  <a:gd name="T16" fmla="*/ 3 w 47"/>
                  <a:gd name="T17" fmla="*/ 31 h 44"/>
                  <a:gd name="T18" fmla="*/ 2 w 47"/>
                  <a:gd name="T19" fmla="*/ 14 h 44"/>
                  <a:gd name="T20" fmla="*/ 15 w 47"/>
                  <a:gd name="T21" fmla="*/ 2 h 44"/>
                  <a:gd name="T22" fmla="*/ 19 w 47"/>
                  <a:gd name="T23" fmla="*/ 10 h 44"/>
                  <a:gd name="T24" fmla="*/ 10 w 47"/>
                  <a:gd name="T25" fmla="*/ 18 h 44"/>
                  <a:gd name="T26" fmla="*/ 10 w 47"/>
                  <a:gd name="T27" fmla="*/ 28 h 44"/>
                  <a:gd name="T28" fmla="*/ 17 w 47"/>
                  <a:gd name="T29" fmla="*/ 34 h 44"/>
                  <a:gd name="T30" fmla="*/ 29 w 47"/>
                  <a:gd name="T31" fmla="*/ 33 h 44"/>
                  <a:gd name="T32" fmla="*/ 38 w 47"/>
                  <a:gd name="T33" fmla="*/ 25 h 44"/>
                  <a:gd name="T34" fmla="*/ 37 w 47"/>
                  <a:gd name="T35" fmla="*/ 16 h 44"/>
                  <a:gd name="T36" fmla="*/ 30 w 47"/>
                  <a:gd name="T37" fmla="*/ 9 h 44"/>
                  <a:gd name="T38" fmla="*/ 19 w 47"/>
                  <a:gd name="T39" fmla="*/ 10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47" h="44">
                    <a:moveTo>
                      <a:pt x="15" y="2"/>
                    </a:moveTo>
                    <a:cubicBezTo>
                      <a:pt x="19" y="0"/>
                      <a:pt x="23" y="0"/>
                      <a:pt x="26" y="0"/>
                    </a:cubicBezTo>
                    <a:cubicBezTo>
                      <a:pt x="28" y="0"/>
                      <a:pt x="31" y="0"/>
                      <a:pt x="33" y="1"/>
                    </a:cubicBezTo>
                    <a:cubicBezTo>
                      <a:pt x="35" y="2"/>
                      <a:pt x="37" y="3"/>
                      <a:pt x="39" y="4"/>
                    </a:cubicBezTo>
                    <a:cubicBezTo>
                      <a:pt x="41" y="6"/>
                      <a:pt x="43" y="9"/>
                      <a:pt x="44" y="12"/>
                    </a:cubicBezTo>
                    <a:cubicBezTo>
                      <a:pt x="47" y="18"/>
                      <a:pt x="47" y="24"/>
                      <a:pt x="45" y="29"/>
                    </a:cubicBezTo>
                    <a:cubicBezTo>
                      <a:pt x="43" y="34"/>
                      <a:pt x="39" y="38"/>
                      <a:pt x="32" y="41"/>
                    </a:cubicBezTo>
                    <a:cubicBezTo>
                      <a:pt x="26" y="44"/>
                      <a:pt x="20" y="44"/>
                      <a:pt x="15" y="43"/>
                    </a:cubicBezTo>
                    <a:cubicBezTo>
                      <a:pt x="9" y="41"/>
                      <a:pt x="5" y="37"/>
                      <a:pt x="3" y="31"/>
                    </a:cubicBezTo>
                    <a:cubicBezTo>
                      <a:pt x="0" y="25"/>
                      <a:pt x="0" y="19"/>
                      <a:pt x="2" y="14"/>
                    </a:cubicBezTo>
                    <a:cubicBezTo>
                      <a:pt x="4" y="9"/>
                      <a:pt x="8" y="5"/>
                      <a:pt x="15" y="2"/>
                    </a:cubicBezTo>
                    <a:close/>
                    <a:moveTo>
                      <a:pt x="19" y="10"/>
                    </a:moveTo>
                    <a:cubicBezTo>
                      <a:pt x="14" y="12"/>
                      <a:pt x="11" y="15"/>
                      <a:pt x="10" y="18"/>
                    </a:cubicBezTo>
                    <a:cubicBezTo>
                      <a:pt x="8" y="21"/>
                      <a:pt x="8" y="24"/>
                      <a:pt x="10" y="28"/>
                    </a:cubicBezTo>
                    <a:cubicBezTo>
                      <a:pt x="11" y="31"/>
                      <a:pt x="13" y="33"/>
                      <a:pt x="17" y="34"/>
                    </a:cubicBezTo>
                    <a:cubicBezTo>
                      <a:pt x="20" y="35"/>
                      <a:pt x="24" y="35"/>
                      <a:pt x="29" y="33"/>
                    </a:cubicBezTo>
                    <a:cubicBezTo>
                      <a:pt x="33" y="31"/>
                      <a:pt x="36" y="28"/>
                      <a:pt x="38" y="25"/>
                    </a:cubicBezTo>
                    <a:cubicBezTo>
                      <a:pt x="39" y="22"/>
                      <a:pt x="39" y="19"/>
                      <a:pt x="37" y="16"/>
                    </a:cubicBezTo>
                    <a:cubicBezTo>
                      <a:pt x="36" y="12"/>
                      <a:pt x="34" y="10"/>
                      <a:pt x="30" y="9"/>
                    </a:cubicBezTo>
                    <a:cubicBezTo>
                      <a:pt x="27" y="8"/>
                      <a:pt x="23" y="8"/>
                      <a:pt x="19" y="1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327" name="î$ḷïďe"/>
              <p:cNvSpPr/>
              <p:nvPr/>
            </p:nvSpPr>
            <p:spPr bwMode="auto">
              <a:xfrm>
                <a:off x="1733447" y="5675903"/>
                <a:ext cx="98425" cy="66675"/>
              </a:xfrm>
              <a:custGeom>
                <a:avLst/>
                <a:gdLst>
                  <a:gd name="T0" fmla="*/ 0 w 62"/>
                  <a:gd name="T1" fmla="*/ 26 h 42"/>
                  <a:gd name="T2" fmla="*/ 45 w 62"/>
                  <a:gd name="T3" fmla="*/ 0 h 42"/>
                  <a:gd name="T4" fmla="*/ 62 w 62"/>
                  <a:gd name="T5" fmla="*/ 30 h 42"/>
                  <a:gd name="T6" fmla="*/ 55 w 62"/>
                  <a:gd name="T7" fmla="*/ 35 h 42"/>
                  <a:gd name="T8" fmla="*/ 43 w 62"/>
                  <a:gd name="T9" fmla="*/ 14 h 42"/>
                  <a:gd name="T10" fmla="*/ 32 w 62"/>
                  <a:gd name="T11" fmla="*/ 20 h 42"/>
                  <a:gd name="T12" fmla="*/ 43 w 62"/>
                  <a:gd name="T13" fmla="*/ 38 h 42"/>
                  <a:gd name="T14" fmla="*/ 35 w 62"/>
                  <a:gd name="T15" fmla="*/ 42 h 42"/>
                  <a:gd name="T16" fmla="*/ 25 w 62"/>
                  <a:gd name="T17" fmla="*/ 23 h 42"/>
                  <a:gd name="T18" fmla="*/ 6 w 62"/>
                  <a:gd name="T19" fmla="*/ 35 h 42"/>
                  <a:gd name="T20" fmla="*/ 0 w 62"/>
                  <a:gd name="T21" fmla="*/ 26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62" h="42">
                    <a:moveTo>
                      <a:pt x="0" y="26"/>
                    </a:moveTo>
                    <a:lnTo>
                      <a:pt x="45" y="0"/>
                    </a:lnTo>
                    <a:lnTo>
                      <a:pt x="62" y="30"/>
                    </a:lnTo>
                    <a:lnTo>
                      <a:pt x="55" y="35"/>
                    </a:lnTo>
                    <a:lnTo>
                      <a:pt x="43" y="14"/>
                    </a:lnTo>
                    <a:lnTo>
                      <a:pt x="32" y="20"/>
                    </a:lnTo>
                    <a:lnTo>
                      <a:pt x="43" y="38"/>
                    </a:lnTo>
                    <a:lnTo>
                      <a:pt x="35" y="42"/>
                    </a:lnTo>
                    <a:lnTo>
                      <a:pt x="25" y="23"/>
                    </a:lnTo>
                    <a:lnTo>
                      <a:pt x="6" y="35"/>
                    </a:lnTo>
                    <a:lnTo>
                      <a:pt x="0" y="26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328" name="îśḻîḍe"/>
              <p:cNvSpPr/>
              <p:nvPr/>
            </p:nvSpPr>
            <p:spPr bwMode="auto">
              <a:xfrm>
                <a:off x="1812822" y="5785440"/>
                <a:ext cx="85725" cy="82550"/>
              </a:xfrm>
              <a:custGeom>
                <a:avLst/>
                <a:gdLst>
                  <a:gd name="T0" fmla="*/ 6 w 46"/>
                  <a:gd name="T1" fmla="*/ 13 h 45"/>
                  <a:gd name="T2" fmla="*/ 12 w 46"/>
                  <a:gd name="T3" fmla="*/ 19 h 45"/>
                  <a:gd name="T4" fmla="*/ 9 w 46"/>
                  <a:gd name="T5" fmla="*/ 26 h 45"/>
                  <a:gd name="T6" fmla="*/ 11 w 46"/>
                  <a:gd name="T7" fmla="*/ 32 h 45"/>
                  <a:gd name="T8" fmla="*/ 17 w 46"/>
                  <a:gd name="T9" fmla="*/ 36 h 45"/>
                  <a:gd name="T10" fmla="*/ 22 w 46"/>
                  <a:gd name="T11" fmla="*/ 35 h 45"/>
                  <a:gd name="T12" fmla="*/ 23 w 46"/>
                  <a:gd name="T13" fmla="*/ 32 h 45"/>
                  <a:gd name="T14" fmla="*/ 22 w 46"/>
                  <a:gd name="T15" fmla="*/ 29 h 45"/>
                  <a:gd name="T16" fmla="*/ 19 w 46"/>
                  <a:gd name="T17" fmla="*/ 22 h 45"/>
                  <a:gd name="T18" fmla="*/ 16 w 46"/>
                  <a:gd name="T19" fmla="*/ 12 h 45"/>
                  <a:gd name="T20" fmla="*/ 21 w 46"/>
                  <a:gd name="T21" fmla="*/ 3 h 45"/>
                  <a:gd name="T22" fmla="*/ 27 w 46"/>
                  <a:gd name="T23" fmla="*/ 0 h 45"/>
                  <a:gd name="T24" fmla="*/ 34 w 46"/>
                  <a:gd name="T25" fmla="*/ 2 h 45"/>
                  <a:gd name="T26" fmla="*/ 40 w 46"/>
                  <a:gd name="T27" fmla="*/ 8 h 45"/>
                  <a:gd name="T28" fmla="*/ 45 w 46"/>
                  <a:gd name="T29" fmla="*/ 19 h 45"/>
                  <a:gd name="T30" fmla="*/ 41 w 46"/>
                  <a:gd name="T31" fmla="*/ 29 h 45"/>
                  <a:gd name="T32" fmla="*/ 35 w 46"/>
                  <a:gd name="T33" fmla="*/ 22 h 45"/>
                  <a:gd name="T34" fmla="*/ 37 w 46"/>
                  <a:gd name="T35" fmla="*/ 17 h 45"/>
                  <a:gd name="T36" fmla="*/ 35 w 46"/>
                  <a:gd name="T37" fmla="*/ 12 h 45"/>
                  <a:gd name="T38" fmla="*/ 30 w 46"/>
                  <a:gd name="T39" fmla="*/ 8 h 45"/>
                  <a:gd name="T40" fmla="*/ 27 w 46"/>
                  <a:gd name="T41" fmla="*/ 9 h 45"/>
                  <a:gd name="T42" fmla="*/ 25 w 46"/>
                  <a:gd name="T43" fmla="*/ 12 h 45"/>
                  <a:gd name="T44" fmla="*/ 28 w 46"/>
                  <a:gd name="T45" fmla="*/ 20 h 45"/>
                  <a:gd name="T46" fmla="*/ 32 w 46"/>
                  <a:gd name="T47" fmla="*/ 29 h 45"/>
                  <a:gd name="T48" fmla="*/ 31 w 46"/>
                  <a:gd name="T49" fmla="*/ 36 h 45"/>
                  <a:gd name="T50" fmla="*/ 27 w 46"/>
                  <a:gd name="T51" fmla="*/ 42 h 45"/>
                  <a:gd name="T52" fmla="*/ 20 w 46"/>
                  <a:gd name="T53" fmla="*/ 45 h 45"/>
                  <a:gd name="T54" fmla="*/ 13 w 46"/>
                  <a:gd name="T55" fmla="*/ 43 h 45"/>
                  <a:gd name="T56" fmla="*/ 6 w 46"/>
                  <a:gd name="T57" fmla="*/ 37 h 45"/>
                  <a:gd name="T58" fmla="*/ 0 w 46"/>
                  <a:gd name="T59" fmla="*/ 24 h 45"/>
                  <a:gd name="T60" fmla="*/ 6 w 46"/>
                  <a:gd name="T61" fmla="*/ 13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46" h="45">
                    <a:moveTo>
                      <a:pt x="6" y="13"/>
                    </a:moveTo>
                    <a:cubicBezTo>
                      <a:pt x="12" y="19"/>
                      <a:pt x="12" y="19"/>
                      <a:pt x="12" y="19"/>
                    </a:cubicBezTo>
                    <a:cubicBezTo>
                      <a:pt x="10" y="21"/>
                      <a:pt x="9" y="24"/>
                      <a:pt x="9" y="26"/>
                    </a:cubicBezTo>
                    <a:cubicBezTo>
                      <a:pt x="9" y="28"/>
                      <a:pt x="10" y="30"/>
                      <a:pt x="11" y="32"/>
                    </a:cubicBezTo>
                    <a:cubicBezTo>
                      <a:pt x="13" y="34"/>
                      <a:pt x="15" y="35"/>
                      <a:pt x="17" y="36"/>
                    </a:cubicBezTo>
                    <a:cubicBezTo>
                      <a:pt x="19" y="36"/>
                      <a:pt x="20" y="36"/>
                      <a:pt x="22" y="35"/>
                    </a:cubicBezTo>
                    <a:cubicBezTo>
                      <a:pt x="22" y="34"/>
                      <a:pt x="23" y="33"/>
                      <a:pt x="23" y="32"/>
                    </a:cubicBezTo>
                    <a:cubicBezTo>
                      <a:pt x="23" y="32"/>
                      <a:pt x="23" y="30"/>
                      <a:pt x="22" y="29"/>
                    </a:cubicBezTo>
                    <a:cubicBezTo>
                      <a:pt x="22" y="28"/>
                      <a:pt x="21" y="26"/>
                      <a:pt x="19" y="22"/>
                    </a:cubicBezTo>
                    <a:cubicBezTo>
                      <a:pt x="17" y="18"/>
                      <a:pt x="16" y="14"/>
                      <a:pt x="16" y="12"/>
                    </a:cubicBezTo>
                    <a:cubicBezTo>
                      <a:pt x="17" y="8"/>
                      <a:pt x="18" y="5"/>
                      <a:pt x="21" y="3"/>
                    </a:cubicBezTo>
                    <a:cubicBezTo>
                      <a:pt x="23" y="1"/>
                      <a:pt x="25" y="1"/>
                      <a:pt x="27" y="0"/>
                    </a:cubicBezTo>
                    <a:cubicBezTo>
                      <a:pt x="29" y="0"/>
                      <a:pt x="31" y="1"/>
                      <a:pt x="34" y="2"/>
                    </a:cubicBezTo>
                    <a:cubicBezTo>
                      <a:pt x="36" y="3"/>
                      <a:pt x="38" y="5"/>
                      <a:pt x="40" y="8"/>
                    </a:cubicBezTo>
                    <a:cubicBezTo>
                      <a:pt x="44" y="12"/>
                      <a:pt x="46" y="16"/>
                      <a:pt x="45" y="19"/>
                    </a:cubicBezTo>
                    <a:cubicBezTo>
                      <a:pt x="45" y="23"/>
                      <a:pt x="44" y="26"/>
                      <a:pt x="41" y="29"/>
                    </a:cubicBezTo>
                    <a:cubicBezTo>
                      <a:pt x="35" y="22"/>
                      <a:pt x="35" y="22"/>
                      <a:pt x="35" y="22"/>
                    </a:cubicBezTo>
                    <a:cubicBezTo>
                      <a:pt x="36" y="21"/>
                      <a:pt x="37" y="19"/>
                      <a:pt x="37" y="17"/>
                    </a:cubicBezTo>
                    <a:cubicBezTo>
                      <a:pt x="37" y="16"/>
                      <a:pt x="36" y="14"/>
                      <a:pt x="35" y="12"/>
                    </a:cubicBezTo>
                    <a:cubicBezTo>
                      <a:pt x="33" y="10"/>
                      <a:pt x="31" y="9"/>
                      <a:pt x="30" y="8"/>
                    </a:cubicBezTo>
                    <a:cubicBezTo>
                      <a:pt x="28" y="8"/>
                      <a:pt x="27" y="8"/>
                      <a:pt x="27" y="9"/>
                    </a:cubicBezTo>
                    <a:cubicBezTo>
                      <a:pt x="26" y="10"/>
                      <a:pt x="25" y="11"/>
                      <a:pt x="25" y="12"/>
                    </a:cubicBezTo>
                    <a:cubicBezTo>
                      <a:pt x="25" y="13"/>
                      <a:pt x="26" y="16"/>
                      <a:pt x="28" y="20"/>
                    </a:cubicBezTo>
                    <a:cubicBezTo>
                      <a:pt x="30" y="24"/>
                      <a:pt x="31" y="27"/>
                      <a:pt x="32" y="29"/>
                    </a:cubicBezTo>
                    <a:cubicBezTo>
                      <a:pt x="32" y="32"/>
                      <a:pt x="32" y="34"/>
                      <a:pt x="31" y="36"/>
                    </a:cubicBezTo>
                    <a:cubicBezTo>
                      <a:pt x="31" y="38"/>
                      <a:pt x="29" y="40"/>
                      <a:pt x="27" y="42"/>
                    </a:cubicBezTo>
                    <a:cubicBezTo>
                      <a:pt x="25" y="43"/>
                      <a:pt x="23" y="44"/>
                      <a:pt x="20" y="45"/>
                    </a:cubicBezTo>
                    <a:cubicBezTo>
                      <a:pt x="18" y="45"/>
                      <a:pt x="15" y="44"/>
                      <a:pt x="13" y="43"/>
                    </a:cubicBezTo>
                    <a:cubicBezTo>
                      <a:pt x="10" y="42"/>
                      <a:pt x="8" y="40"/>
                      <a:pt x="6" y="37"/>
                    </a:cubicBezTo>
                    <a:cubicBezTo>
                      <a:pt x="2" y="32"/>
                      <a:pt x="0" y="28"/>
                      <a:pt x="0" y="24"/>
                    </a:cubicBezTo>
                    <a:cubicBezTo>
                      <a:pt x="1" y="20"/>
                      <a:pt x="2" y="17"/>
                      <a:pt x="6" y="1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329" name="í$ļîḋê"/>
              <p:cNvSpPr/>
              <p:nvPr/>
            </p:nvSpPr>
            <p:spPr bwMode="auto">
              <a:xfrm>
                <a:off x="1868384" y="5844178"/>
                <a:ext cx="82550" cy="82550"/>
              </a:xfrm>
              <a:custGeom>
                <a:avLst/>
                <a:gdLst>
                  <a:gd name="T0" fmla="*/ 25 w 45"/>
                  <a:gd name="T1" fmla="*/ 33 h 45"/>
                  <a:gd name="T2" fmla="*/ 29 w 45"/>
                  <a:gd name="T3" fmla="*/ 41 h 45"/>
                  <a:gd name="T4" fmla="*/ 17 w 45"/>
                  <a:gd name="T5" fmla="*/ 44 h 45"/>
                  <a:gd name="T6" fmla="*/ 6 w 45"/>
                  <a:gd name="T7" fmla="*/ 38 h 45"/>
                  <a:gd name="T8" fmla="*/ 0 w 45"/>
                  <a:gd name="T9" fmla="*/ 24 h 45"/>
                  <a:gd name="T10" fmla="*/ 8 w 45"/>
                  <a:gd name="T11" fmla="*/ 8 h 45"/>
                  <a:gd name="T12" fmla="*/ 24 w 45"/>
                  <a:gd name="T13" fmla="*/ 0 h 45"/>
                  <a:gd name="T14" fmla="*/ 39 w 45"/>
                  <a:gd name="T15" fmla="*/ 7 h 45"/>
                  <a:gd name="T16" fmla="*/ 45 w 45"/>
                  <a:gd name="T17" fmla="*/ 19 h 45"/>
                  <a:gd name="T18" fmla="*/ 42 w 45"/>
                  <a:gd name="T19" fmla="*/ 28 h 45"/>
                  <a:gd name="T20" fmla="*/ 34 w 45"/>
                  <a:gd name="T21" fmla="*/ 23 h 45"/>
                  <a:gd name="T22" fmla="*/ 36 w 45"/>
                  <a:gd name="T23" fmla="*/ 17 h 45"/>
                  <a:gd name="T24" fmla="*/ 33 w 45"/>
                  <a:gd name="T25" fmla="*/ 12 h 45"/>
                  <a:gd name="T26" fmla="*/ 25 w 45"/>
                  <a:gd name="T27" fmla="*/ 9 h 45"/>
                  <a:gd name="T28" fmla="*/ 15 w 45"/>
                  <a:gd name="T29" fmla="*/ 14 h 45"/>
                  <a:gd name="T30" fmla="*/ 8 w 45"/>
                  <a:gd name="T31" fmla="*/ 25 h 45"/>
                  <a:gd name="T32" fmla="*/ 11 w 45"/>
                  <a:gd name="T33" fmla="*/ 33 h 45"/>
                  <a:gd name="T34" fmla="*/ 17 w 45"/>
                  <a:gd name="T35" fmla="*/ 36 h 45"/>
                  <a:gd name="T36" fmla="*/ 25 w 45"/>
                  <a:gd name="T37" fmla="*/ 33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45" h="45">
                    <a:moveTo>
                      <a:pt x="25" y="33"/>
                    </a:moveTo>
                    <a:cubicBezTo>
                      <a:pt x="29" y="41"/>
                      <a:pt x="29" y="41"/>
                      <a:pt x="29" y="41"/>
                    </a:cubicBezTo>
                    <a:cubicBezTo>
                      <a:pt x="25" y="44"/>
                      <a:pt x="21" y="45"/>
                      <a:pt x="17" y="44"/>
                    </a:cubicBezTo>
                    <a:cubicBezTo>
                      <a:pt x="13" y="44"/>
                      <a:pt x="9" y="42"/>
                      <a:pt x="6" y="38"/>
                    </a:cubicBezTo>
                    <a:cubicBezTo>
                      <a:pt x="2" y="34"/>
                      <a:pt x="0" y="29"/>
                      <a:pt x="0" y="24"/>
                    </a:cubicBezTo>
                    <a:cubicBezTo>
                      <a:pt x="0" y="19"/>
                      <a:pt x="3" y="13"/>
                      <a:pt x="8" y="8"/>
                    </a:cubicBezTo>
                    <a:cubicBezTo>
                      <a:pt x="13" y="3"/>
                      <a:pt x="18" y="1"/>
                      <a:pt x="24" y="0"/>
                    </a:cubicBezTo>
                    <a:cubicBezTo>
                      <a:pt x="29" y="0"/>
                      <a:pt x="34" y="2"/>
                      <a:pt x="39" y="7"/>
                    </a:cubicBezTo>
                    <a:cubicBezTo>
                      <a:pt x="42" y="10"/>
                      <a:pt x="44" y="15"/>
                      <a:pt x="45" y="19"/>
                    </a:cubicBezTo>
                    <a:cubicBezTo>
                      <a:pt x="45" y="22"/>
                      <a:pt x="44" y="25"/>
                      <a:pt x="42" y="28"/>
                    </a:cubicBezTo>
                    <a:cubicBezTo>
                      <a:pt x="34" y="23"/>
                      <a:pt x="34" y="23"/>
                      <a:pt x="34" y="23"/>
                    </a:cubicBezTo>
                    <a:cubicBezTo>
                      <a:pt x="36" y="21"/>
                      <a:pt x="36" y="19"/>
                      <a:pt x="36" y="17"/>
                    </a:cubicBezTo>
                    <a:cubicBezTo>
                      <a:pt x="36" y="15"/>
                      <a:pt x="35" y="13"/>
                      <a:pt x="33" y="12"/>
                    </a:cubicBezTo>
                    <a:cubicBezTo>
                      <a:pt x="31" y="9"/>
                      <a:pt x="28" y="8"/>
                      <a:pt x="25" y="9"/>
                    </a:cubicBezTo>
                    <a:cubicBezTo>
                      <a:pt x="22" y="9"/>
                      <a:pt x="18" y="11"/>
                      <a:pt x="15" y="14"/>
                    </a:cubicBezTo>
                    <a:cubicBezTo>
                      <a:pt x="11" y="18"/>
                      <a:pt x="9" y="22"/>
                      <a:pt x="8" y="25"/>
                    </a:cubicBezTo>
                    <a:cubicBezTo>
                      <a:pt x="8" y="28"/>
                      <a:pt x="9" y="31"/>
                      <a:pt x="11" y="33"/>
                    </a:cubicBezTo>
                    <a:cubicBezTo>
                      <a:pt x="13" y="35"/>
                      <a:pt x="15" y="36"/>
                      <a:pt x="17" y="36"/>
                    </a:cubicBezTo>
                    <a:cubicBezTo>
                      <a:pt x="20" y="36"/>
                      <a:pt x="22" y="35"/>
                      <a:pt x="25" y="3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330" name="íṩḷiḋé"/>
              <p:cNvSpPr/>
              <p:nvPr/>
            </p:nvSpPr>
            <p:spPr bwMode="auto">
              <a:xfrm>
                <a:off x="1916009" y="5887040"/>
                <a:ext cx="65088" cy="71438"/>
              </a:xfrm>
              <a:custGeom>
                <a:avLst/>
                <a:gdLst>
                  <a:gd name="T0" fmla="*/ 0 w 41"/>
                  <a:gd name="T1" fmla="*/ 38 h 45"/>
                  <a:gd name="T2" fmla="*/ 34 w 41"/>
                  <a:gd name="T3" fmla="*/ 0 h 45"/>
                  <a:gd name="T4" fmla="*/ 41 w 41"/>
                  <a:gd name="T5" fmla="*/ 6 h 45"/>
                  <a:gd name="T6" fmla="*/ 8 w 41"/>
                  <a:gd name="T7" fmla="*/ 45 h 45"/>
                  <a:gd name="T8" fmla="*/ 0 w 41"/>
                  <a:gd name="T9" fmla="*/ 38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1" h="45">
                    <a:moveTo>
                      <a:pt x="0" y="38"/>
                    </a:moveTo>
                    <a:lnTo>
                      <a:pt x="34" y="0"/>
                    </a:lnTo>
                    <a:lnTo>
                      <a:pt x="41" y="6"/>
                    </a:lnTo>
                    <a:lnTo>
                      <a:pt x="8" y="45"/>
                    </a:lnTo>
                    <a:lnTo>
                      <a:pt x="0" y="3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331" name="îsľïďé"/>
              <p:cNvSpPr/>
              <p:nvPr/>
            </p:nvSpPr>
            <p:spPr bwMode="auto">
              <a:xfrm>
                <a:off x="1941409" y="5904503"/>
                <a:ext cx="96838" cy="101600"/>
              </a:xfrm>
              <a:custGeom>
                <a:avLst/>
                <a:gdLst>
                  <a:gd name="T0" fmla="*/ 0 w 61"/>
                  <a:gd name="T1" fmla="*/ 41 h 64"/>
                  <a:gd name="T2" fmla="*/ 31 w 61"/>
                  <a:gd name="T3" fmla="*/ 0 h 64"/>
                  <a:gd name="T4" fmla="*/ 61 w 61"/>
                  <a:gd name="T5" fmla="*/ 22 h 64"/>
                  <a:gd name="T6" fmla="*/ 56 w 61"/>
                  <a:gd name="T7" fmla="*/ 29 h 64"/>
                  <a:gd name="T8" fmla="*/ 34 w 61"/>
                  <a:gd name="T9" fmla="*/ 13 h 64"/>
                  <a:gd name="T10" fmla="*/ 27 w 61"/>
                  <a:gd name="T11" fmla="*/ 22 h 64"/>
                  <a:gd name="T12" fmla="*/ 47 w 61"/>
                  <a:gd name="T13" fmla="*/ 37 h 64"/>
                  <a:gd name="T14" fmla="*/ 42 w 61"/>
                  <a:gd name="T15" fmla="*/ 44 h 64"/>
                  <a:gd name="T16" fmla="*/ 21 w 61"/>
                  <a:gd name="T17" fmla="*/ 29 h 64"/>
                  <a:gd name="T18" fmla="*/ 13 w 61"/>
                  <a:gd name="T19" fmla="*/ 40 h 64"/>
                  <a:gd name="T20" fmla="*/ 36 w 61"/>
                  <a:gd name="T21" fmla="*/ 57 h 64"/>
                  <a:gd name="T22" fmla="*/ 31 w 61"/>
                  <a:gd name="T23" fmla="*/ 64 h 64"/>
                  <a:gd name="T24" fmla="*/ 0 w 61"/>
                  <a:gd name="T25" fmla="*/ 41 h 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1" h="64">
                    <a:moveTo>
                      <a:pt x="0" y="41"/>
                    </a:moveTo>
                    <a:lnTo>
                      <a:pt x="31" y="0"/>
                    </a:lnTo>
                    <a:lnTo>
                      <a:pt x="61" y="22"/>
                    </a:lnTo>
                    <a:lnTo>
                      <a:pt x="56" y="29"/>
                    </a:lnTo>
                    <a:lnTo>
                      <a:pt x="34" y="13"/>
                    </a:lnTo>
                    <a:lnTo>
                      <a:pt x="27" y="22"/>
                    </a:lnTo>
                    <a:lnTo>
                      <a:pt x="47" y="37"/>
                    </a:lnTo>
                    <a:lnTo>
                      <a:pt x="42" y="44"/>
                    </a:lnTo>
                    <a:lnTo>
                      <a:pt x="21" y="29"/>
                    </a:lnTo>
                    <a:lnTo>
                      <a:pt x="13" y="40"/>
                    </a:lnTo>
                    <a:lnTo>
                      <a:pt x="36" y="57"/>
                    </a:lnTo>
                    <a:lnTo>
                      <a:pt x="31" y="64"/>
                    </a:lnTo>
                    <a:lnTo>
                      <a:pt x="0" y="4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332" name="íśliḋé"/>
              <p:cNvSpPr/>
              <p:nvPr/>
            </p:nvSpPr>
            <p:spPr bwMode="auto">
              <a:xfrm>
                <a:off x="2004909" y="5947365"/>
                <a:ext cx="96838" cy="101600"/>
              </a:xfrm>
              <a:custGeom>
                <a:avLst/>
                <a:gdLst>
                  <a:gd name="T0" fmla="*/ 0 w 61"/>
                  <a:gd name="T1" fmla="*/ 43 h 64"/>
                  <a:gd name="T2" fmla="*/ 27 w 61"/>
                  <a:gd name="T3" fmla="*/ 0 h 64"/>
                  <a:gd name="T4" fmla="*/ 35 w 61"/>
                  <a:gd name="T5" fmla="*/ 5 h 64"/>
                  <a:gd name="T6" fmla="*/ 36 w 61"/>
                  <a:gd name="T7" fmla="*/ 45 h 64"/>
                  <a:gd name="T8" fmla="*/ 53 w 61"/>
                  <a:gd name="T9" fmla="*/ 15 h 64"/>
                  <a:gd name="T10" fmla="*/ 61 w 61"/>
                  <a:gd name="T11" fmla="*/ 21 h 64"/>
                  <a:gd name="T12" fmla="*/ 35 w 61"/>
                  <a:gd name="T13" fmla="*/ 64 h 64"/>
                  <a:gd name="T14" fmla="*/ 27 w 61"/>
                  <a:gd name="T15" fmla="*/ 59 h 64"/>
                  <a:gd name="T16" fmla="*/ 25 w 61"/>
                  <a:gd name="T17" fmla="*/ 20 h 64"/>
                  <a:gd name="T18" fmla="*/ 8 w 61"/>
                  <a:gd name="T19" fmla="*/ 49 h 64"/>
                  <a:gd name="T20" fmla="*/ 0 w 61"/>
                  <a:gd name="T21" fmla="*/ 43 h 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61" h="64">
                    <a:moveTo>
                      <a:pt x="0" y="43"/>
                    </a:moveTo>
                    <a:lnTo>
                      <a:pt x="27" y="0"/>
                    </a:lnTo>
                    <a:lnTo>
                      <a:pt x="35" y="5"/>
                    </a:lnTo>
                    <a:lnTo>
                      <a:pt x="36" y="45"/>
                    </a:lnTo>
                    <a:lnTo>
                      <a:pt x="53" y="15"/>
                    </a:lnTo>
                    <a:lnTo>
                      <a:pt x="61" y="21"/>
                    </a:lnTo>
                    <a:lnTo>
                      <a:pt x="35" y="64"/>
                    </a:lnTo>
                    <a:lnTo>
                      <a:pt x="27" y="59"/>
                    </a:lnTo>
                    <a:lnTo>
                      <a:pt x="25" y="20"/>
                    </a:lnTo>
                    <a:lnTo>
                      <a:pt x="8" y="49"/>
                    </a:lnTo>
                    <a:lnTo>
                      <a:pt x="0" y="4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333" name="iSļiďê"/>
              <p:cNvSpPr/>
              <p:nvPr/>
            </p:nvSpPr>
            <p:spPr bwMode="auto">
              <a:xfrm>
                <a:off x="2087459" y="5993403"/>
                <a:ext cx="79375" cy="87313"/>
              </a:xfrm>
              <a:custGeom>
                <a:avLst/>
                <a:gdLst>
                  <a:gd name="T0" fmla="*/ 28 w 43"/>
                  <a:gd name="T1" fmla="*/ 33 h 47"/>
                  <a:gd name="T2" fmla="*/ 34 w 43"/>
                  <a:gd name="T3" fmla="*/ 39 h 47"/>
                  <a:gd name="T4" fmla="*/ 24 w 43"/>
                  <a:gd name="T5" fmla="*/ 46 h 47"/>
                  <a:gd name="T6" fmla="*/ 12 w 43"/>
                  <a:gd name="T7" fmla="*/ 44 h 47"/>
                  <a:gd name="T8" fmla="*/ 1 w 43"/>
                  <a:gd name="T9" fmla="*/ 33 h 47"/>
                  <a:gd name="T10" fmla="*/ 3 w 43"/>
                  <a:gd name="T11" fmla="*/ 15 h 47"/>
                  <a:gd name="T12" fmla="*/ 15 w 43"/>
                  <a:gd name="T13" fmla="*/ 2 h 47"/>
                  <a:gd name="T14" fmla="*/ 32 w 43"/>
                  <a:gd name="T15" fmla="*/ 3 h 47"/>
                  <a:gd name="T16" fmla="*/ 41 w 43"/>
                  <a:gd name="T17" fmla="*/ 13 h 47"/>
                  <a:gd name="T18" fmla="*/ 42 w 43"/>
                  <a:gd name="T19" fmla="*/ 22 h 47"/>
                  <a:gd name="T20" fmla="*/ 33 w 43"/>
                  <a:gd name="T21" fmla="*/ 20 h 47"/>
                  <a:gd name="T22" fmla="*/ 33 w 43"/>
                  <a:gd name="T23" fmla="*/ 14 h 47"/>
                  <a:gd name="T24" fmla="*/ 28 w 43"/>
                  <a:gd name="T25" fmla="*/ 10 h 47"/>
                  <a:gd name="T26" fmla="*/ 19 w 43"/>
                  <a:gd name="T27" fmla="*/ 10 h 47"/>
                  <a:gd name="T28" fmla="*/ 12 w 43"/>
                  <a:gd name="T29" fmla="*/ 19 h 47"/>
                  <a:gd name="T30" fmla="*/ 9 w 43"/>
                  <a:gd name="T31" fmla="*/ 31 h 47"/>
                  <a:gd name="T32" fmla="*/ 15 w 43"/>
                  <a:gd name="T33" fmla="*/ 37 h 47"/>
                  <a:gd name="T34" fmla="*/ 22 w 43"/>
                  <a:gd name="T35" fmla="*/ 38 h 47"/>
                  <a:gd name="T36" fmla="*/ 28 w 43"/>
                  <a:gd name="T37" fmla="*/ 33 h 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43" h="47">
                    <a:moveTo>
                      <a:pt x="28" y="33"/>
                    </a:moveTo>
                    <a:cubicBezTo>
                      <a:pt x="34" y="39"/>
                      <a:pt x="34" y="39"/>
                      <a:pt x="34" y="39"/>
                    </a:cubicBezTo>
                    <a:cubicBezTo>
                      <a:pt x="31" y="43"/>
                      <a:pt x="28" y="45"/>
                      <a:pt x="24" y="46"/>
                    </a:cubicBezTo>
                    <a:cubicBezTo>
                      <a:pt x="20" y="47"/>
                      <a:pt x="16" y="46"/>
                      <a:pt x="12" y="44"/>
                    </a:cubicBezTo>
                    <a:cubicBezTo>
                      <a:pt x="7" y="42"/>
                      <a:pt x="3" y="38"/>
                      <a:pt x="1" y="33"/>
                    </a:cubicBezTo>
                    <a:cubicBezTo>
                      <a:pt x="0" y="27"/>
                      <a:pt x="0" y="22"/>
                      <a:pt x="3" y="15"/>
                    </a:cubicBezTo>
                    <a:cubicBezTo>
                      <a:pt x="6" y="9"/>
                      <a:pt x="10" y="4"/>
                      <a:pt x="15" y="2"/>
                    </a:cubicBezTo>
                    <a:cubicBezTo>
                      <a:pt x="21" y="0"/>
                      <a:pt x="26" y="1"/>
                      <a:pt x="32" y="3"/>
                    </a:cubicBezTo>
                    <a:cubicBezTo>
                      <a:pt x="36" y="5"/>
                      <a:pt x="40" y="9"/>
                      <a:pt x="41" y="13"/>
                    </a:cubicBezTo>
                    <a:cubicBezTo>
                      <a:pt x="42" y="16"/>
                      <a:pt x="43" y="19"/>
                      <a:pt x="42" y="22"/>
                    </a:cubicBezTo>
                    <a:cubicBezTo>
                      <a:pt x="33" y="20"/>
                      <a:pt x="33" y="20"/>
                      <a:pt x="33" y="20"/>
                    </a:cubicBezTo>
                    <a:cubicBezTo>
                      <a:pt x="34" y="18"/>
                      <a:pt x="34" y="16"/>
                      <a:pt x="33" y="14"/>
                    </a:cubicBezTo>
                    <a:cubicBezTo>
                      <a:pt x="32" y="12"/>
                      <a:pt x="30" y="11"/>
                      <a:pt x="28" y="10"/>
                    </a:cubicBezTo>
                    <a:cubicBezTo>
                      <a:pt x="25" y="8"/>
                      <a:pt x="22" y="8"/>
                      <a:pt x="19" y="10"/>
                    </a:cubicBezTo>
                    <a:cubicBezTo>
                      <a:pt x="16" y="11"/>
                      <a:pt x="14" y="14"/>
                      <a:pt x="12" y="19"/>
                    </a:cubicBezTo>
                    <a:cubicBezTo>
                      <a:pt x="9" y="24"/>
                      <a:pt x="9" y="28"/>
                      <a:pt x="9" y="31"/>
                    </a:cubicBezTo>
                    <a:cubicBezTo>
                      <a:pt x="10" y="34"/>
                      <a:pt x="12" y="36"/>
                      <a:pt x="15" y="37"/>
                    </a:cubicBezTo>
                    <a:cubicBezTo>
                      <a:pt x="17" y="38"/>
                      <a:pt x="19" y="38"/>
                      <a:pt x="22" y="38"/>
                    </a:cubicBezTo>
                    <a:cubicBezTo>
                      <a:pt x="24" y="37"/>
                      <a:pt x="26" y="35"/>
                      <a:pt x="28" y="3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334" name="íSliḋé"/>
              <p:cNvSpPr/>
              <p:nvPr/>
            </p:nvSpPr>
            <p:spPr bwMode="auto">
              <a:xfrm>
                <a:off x="2157309" y="6017215"/>
                <a:ext cx="82550" cy="96838"/>
              </a:xfrm>
              <a:custGeom>
                <a:avLst/>
                <a:gdLst>
                  <a:gd name="T0" fmla="*/ 0 w 52"/>
                  <a:gd name="T1" fmla="*/ 49 h 61"/>
                  <a:gd name="T2" fmla="*/ 16 w 52"/>
                  <a:gd name="T3" fmla="*/ 0 h 61"/>
                  <a:gd name="T4" fmla="*/ 52 w 52"/>
                  <a:gd name="T5" fmla="*/ 13 h 61"/>
                  <a:gd name="T6" fmla="*/ 50 w 52"/>
                  <a:gd name="T7" fmla="*/ 21 h 61"/>
                  <a:gd name="T8" fmla="*/ 23 w 52"/>
                  <a:gd name="T9" fmla="*/ 12 h 61"/>
                  <a:gd name="T10" fmla="*/ 20 w 52"/>
                  <a:gd name="T11" fmla="*/ 22 h 61"/>
                  <a:gd name="T12" fmla="*/ 44 w 52"/>
                  <a:gd name="T13" fmla="*/ 30 h 61"/>
                  <a:gd name="T14" fmla="*/ 41 w 52"/>
                  <a:gd name="T15" fmla="*/ 38 h 61"/>
                  <a:gd name="T16" fmla="*/ 18 w 52"/>
                  <a:gd name="T17" fmla="*/ 30 h 61"/>
                  <a:gd name="T18" fmla="*/ 13 w 52"/>
                  <a:gd name="T19" fmla="*/ 43 h 61"/>
                  <a:gd name="T20" fmla="*/ 40 w 52"/>
                  <a:gd name="T21" fmla="*/ 52 h 61"/>
                  <a:gd name="T22" fmla="*/ 36 w 52"/>
                  <a:gd name="T23" fmla="*/ 61 h 61"/>
                  <a:gd name="T24" fmla="*/ 0 w 52"/>
                  <a:gd name="T25" fmla="*/ 49 h 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52" h="61">
                    <a:moveTo>
                      <a:pt x="0" y="49"/>
                    </a:moveTo>
                    <a:lnTo>
                      <a:pt x="16" y="0"/>
                    </a:lnTo>
                    <a:lnTo>
                      <a:pt x="52" y="13"/>
                    </a:lnTo>
                    <a:lnTo>
                      <a:pt x="50" y="21"/>
                    </a:lnTo>
                    <a:lnTo>
                      <a:pt x="23" y="12"/>
                    </a:lnTo>
                    <a:lnTo>
                      <a:pt x="20" y="22"/>
                    </a:lnTo>
                    <a:lnTo>
                      <a:pt x="44" y="30"/>
                    </a:lnTo>
                    <a:lnTo>
                      <a:pt x="41" y="38"/>
                    </a:lnTo>
                    <a:lnTo>
                      <a:pt x="18" y="30"/>
                    </a:lnTo>
                    <a:lnTo>
                      <a:pt x="13" y="43"/>
                    </a:lnTo>
                    <a:lnTo>
                      <a:pt x="40" y="52"/>
                    </a:lnTo>
                    <a:lnTo>
                      <a:pt x="36" y="61"/>
                    </a:lnTo>
                    <a:lnTo>
                      <a:pt x="0" y="4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335" name="îŝ1îḑè"/>
              <p:cNvSpPr/>
              <p:nvPr/>
            </p:nvSpPr>
            <p:spPr bwMode="auto">
              <a:xfrm>
                <a:off x="2663722" y="6026740"/>
                <a:ext cx="77788" cy="92075"/>
              </a:xfrm>
              <a:custGeom>
                <a:avLst/>
                <a:gdLst>
                  <a:gd name="T0" fmla="*/ 49 w 49"/>
                  <a:gd name="T1" fmla="*/ 42 h 58"/>
                  <a:gd name="T2" fmla="*/ 39 w 49"/>
                  <a:gd name="T3" fmla="*/ 45 h 58"/>
                  <a:gd name="T4" fmla="*/ 31 w 49"/>
                  <a:gd name="T5" fmla="*/ 36 h 58"/>
                  <a:gd name="T6" fmla="*/ 11 w 49"/>
                  <a:gd name="T7" fmla="*/ 43 h 58"/>
                  <a:gd name="T8" fmla="*/ 11 w 49"/>
                  <a:gd name="T9" fmla="*/ 55 h 58"/>
                  <a:gd name="T10" fmla="*/ 0 w 49"/>
                  <a:gd name="T11" fmla="*/ 58 h 58"/>
                  <a:gd name="T12" fmla="*/ 3 w 49"/>
                  <a:gd name="T13" fmla="*/ 3 h 58"/>
                  <a:gd name="T14" fmla="*/ 13 w 49"/>
                  <a:gd name="T15" fmla="*/ 0 h 58"/>
                  <a:gd name="T16" fmla="*/ 49 w 49"/>
                  <a:gd name="T17" fmla="*/ 42 h 58"/>
                  <a:gd name="T18" fmla="*/ 25 w 49"/>
                  <a:gd name="T19" fmla="*/ 29 h 58"/>
                  <a:gd name="T20" fmla="*/ 12 w 49"/>
                  <a:gd name="T21" fmla="*/ 14 h 58"/>
                  <a:gd name="T22" fmla="*/ 11 w 49"/>
                  <a:gd name="T23" fmla="*/ 34 h 58"/>
                  <a:gd name="T24" fmla="*/ 25 w 49"/>
                  <a:gd name="T25" fmla="*/ 29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49" h="58">
                    <a:moveTo>
                      <a:pt x="49" y="42"/>
                    </a:moveTo>
                    <a:lnTo>
                      <a:pt x="39" y="45"/>
                    </a:lnTo>
                    <a:lnTo>
                      <a:pt x="31" y="36"/>
                    </a:lnTo>
                    <a:lnTo>
                      <a:pt x="11" y="43"/>
                    </a:lnTo>
                    <a:lnTo>
                      <a:pt x="11" y="55"/>
                    </a:lnTo>
                    <a:lnTo>
                      <a:pt x="0" y="58"/>
                    </a:lnTo>
                    <a:lnTo>
                      <a:pt x="3" y="3"/>
                    </a:lnTo>
                    <a:lnTo>
                      <a:pt x="13" y="0"/>
                    </a:lnTo>
                    <a:lnTo>
                      <a:pt x="49" y="42"/>
                    </a:lnTo>
                    <a:close/>
                    <a:moveTo>
                      <a:pt x="25" y="29"/>
                    </a:moveTo>
                    <a:lnTo>
                      <a:pt x="12" y="14"/>
                    </a:lnTo>
                    <a:lnTo>
                      <a:pt x="11" y="34"/>
                    </a:lnTo>
                    <a:lnTo>
                      <a:pt x="25" y="2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336" name="íṩḻiḋê"/>
              <p:cNvSpPr/>
              <p:nvPr/>
            </p:nvSpPr>
            <p:spPr bwMode="auto">
              <a:xfrm>
                <a:off x="2714522" y="5990228"/>
                <a:ext cx="92075" cy="101600"/>
              </a:xfrm>
              <a:custGeom>
                <a:avLst/>
                <a:gdLst>
                  <a:gd name="T0" fmla="*/ 21 w 58"/>
                  <a:gd name="T1" fmla="*/ 64 h 64"/>
                  <a:gd name="T2" fmla="*/ 0 w 58"/>
                  <a:gd name="T3" fmla="*/ 17 h 64"/>
                  <a:gd name="T4" fmla="*/ 9 w 58"/>
                  <a:gd name="T5" fmla="*/ 12 h 64"/>
                  <a:gd name="T6" fmla="*/ 43 w 58"/>
                  <a:gd name="T7" fmla="*/ 36 h 64"/>
                  <a:gd name="T8" fmla="*/ 29 w 58"/>
                  <a:gd name="T9" fmla="*/ 4 h 64"/>
                  <a:gd name="T10" fmla="*/ 37 w 58"/>
                  <a:gd name="T11" fmla="*/ 0 h 64"/>
                  <a:gd name="T12" fmla="*/ 58 w 58"/>
                  <a:gd name="T13" fmla="*/ 46 h 64"/>
                  <a:gd name="T14" fmla="*/ 49 w 58"/>
                  <a:gd name="T15" fmla="*/ 51 h 64"/>
                  <a:gd name="T16" fmla="*/ 16 w 58"/>
                  <a:gd name="T17" fmla="*/ 29 h 64"/>
                  <a:gd name="T18" fmla="*/ 30 w 58"/>
                  <a:gd name="T19" fmla="*/ 59 h 64"/>
                  <a:gd name="T20" fmla="*/ 21 w 58"/>
                  <a:gd name="T21" fmla="*/ 64 h 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58" h="64">
                    <a:moveTo>
                      <a:pt x="21" y="64"/>
                    </a:moveTo>
                    <a:lnTo>
                      <a:pt x="0" y="17"/>
                    </a:lnTo>
                    <a:lnTo>
                      <a:pt x="9" y="12"/>
                    </a:lnTo>
                    <a:lnTo>
                      <a:pt x="43" y="36"/>
                    </a:lnTo>
                    <a:lnTo>
                      <a:pt x="29" y="4"/>
                    </a:lnTo>
                    <a:lnTo>
                      <a:pt x="37" y="0"/>
                    </a:lnTo>
                    <a:lnTo>
                      <a:pt x="58" y="46"/>
                    </a:lnTo>
                    <a:lnTo>
                      <a:pt x="49" y="51"/>
                    </a:lnTo>
                    <a:lnTo>
                      <a:pt x="16" y="29"/>
                    </a:lnTo>
                    <a:lnTo>
                      <a:pt x="30" y="59"/>
                    </a:lnTo>
                    <a:lnTo>
                      <a:pt x="21" y="6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337" name="îṧľíḍe"/>
              <p:cNvSpPr/>
              <p:nvPr/>
            </p:nvSpPr>
            <p:spPr bwMode="auto">
              <a:xfrm>
                <a:off x="2781197" y="5963240"/>
                <a:ext cx="85725" cy="95250"/>
              </a:xfrm>
              <a:custGeom>
                <a:avLst/>
                <a:gdLst>
                  <a:gd name="T0" fmla="*/ 0 w 47"/>
                  <a:gd name="T1" fmla="*/ 13 h 51"/>
                  <a:gd name="T2" fmla="*/ 14 w 47"/>
                  <a:gd name="T3" fmla="*/ 4 h 51"/>
                  <a:gd name="T4" fmla="*/ 22 w 47"/>
                  <a:gd name="T5" fmla="*/ 1 h 51"/>
                  <a:gd name="T6" fmla="*/ 29 w 47"/>
                  <a:gd name="T7" fmla="*/ 1 h 51"/>
                  <a:gd name="T8" fmla="*/ 37 w 47"/>
                  <a:gd name="T9" fmla="*/ 5 h 51"/>
                  <a:gd name="T10" fmla="*/ 43 w 47"/>
                  <a:gd name="T11" fmla="*/ 14 h 51"/>
                  <a:gd name="T12" fmla="*/ 47 w 47"/>
                  <a:gd name="T13" fmla="*/ 22 h 51"/>
                  <a:gd name="T14" fmla="*/ 46 w 47"/>
                  <a:gd name="T15" fmla="*/ 31 h 51"/>
                  <a:gd name="T16" fmla="*/ 43 w 47"/>
                  <a:gd name="T17" fmla="*/ 38 h 51"/>
                  <a:gd name="T18" fmla="*/ 36 w 47"/>
                  <a:gd name="T19" fmla="*/ 42 h 51"/>
                  <a:gd name="T20" fmla="*/ 22 w 47"/>
                  <a:gd name="T21" fmla="*/ 51 h 51"/>
                  <a:gd name="T22" fmla="*/ 0 w 47"/>
                  <a:gd name="T23" fmla="*/ 13 h 51"/>
                  <a:gd name="T24" fmla="*/ 11 w 47"/>
                  <a:gd name="T25" fmla="*/ 15 h 51"/>
                  <a:gd name="T26" fmla="*/ 26 w 47"/>
                  <a:gd name="T27" fmla="*/ 40 h 51"/>
                  <a:gd name="T28" fmla="*/ 32 w 47"/>
                  <a:gd name="T29" fmla="*/ 37 h 51"/>
                  <a:gd name="T30" fmla="*/ 36 w 47"/>
                  <a:gd name="T31" fmla="*/ 33 h 51"/>
                  <a:gd name="T32" fmla="*/ 38 w 47"/>
                  <a:gd name="T33" fmla="*/ 30 h 51"/>
                  <a:gd name="T34" fmla="*/ 38 w 47"/>
                  <a:gd name="T35" fmla="*/ 25 h 51"/>
                  <a:gd name="T36" fmla="*/ 35 w 47"/>
                  <a:gd name="T37" fmla="*/ 18 h 51"/>
                  <a:gd name="T38" fmla="*/ 30 w 47"/>
                  <a:gd name="T39" fmla="*/ 11 h 51"/>
                  <a:gd name="T40" fmla="*/ 26 w 47"/>
                  <a:gd name="T41" fmla="*/ 9 h 51"/>
                  <a:gd name="T42" fmla="*/ 21 w 47"/>
                  <a:gd name="T43" fmla="*/ 9 h 51"/>
                  <a:gd name="T44" fmla="*/ 15 w 47"/>
                  <a:gd name="T45" fmla="*/ 13 h 51"/>
                  <a:gd name="T46" fmla="*/ 11 w 47"/>
                  <a:gd name="T47" fmla="*/ 15 h 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47" h="51">
                    <a:moveTo>
                      <a:pt x="0" y="13"/>
                    </a:moveTo>
                    <a:cubicBezTo>
                      <a:pt x="14" y="4"/>
                      <a:pt x="14" y="4"/>
                      <a:pt x="14" y="4"/>
                    </a:cubicBezTo>
                    <a:cubicBezTo>
                      <a:pt x="17" y="3"/>
                      <a:pt x="20" y="1"/>
                      <a:pt x="22" y="1"/>
                    </a:cubicBezTo>
                    <a:cubicBezTo>
                      <a:pt x="24" y="0"/>
                      <a:pt x="27" y="0"/>
                      <a:pt x="29" y="1"/>
                    </a:cubicBezTo>
                    <a:cubicBezTo>
                      <a:pt x="32" y="2"/>
                      <a:pt x="34" y="3"/>
                      <a:pt x="37" y="5"/>
                    </a:cubicBezTo>
                    <a:cubicBezTo>
                      <a:pt x="39" y="7"/>
                      <a:pt x="41" y="10"/>
                      <a:pt x="43" y="14"/>
                    </a:cubicBezTo>
                    <a:cubicBezTo>
                      <a:pt x="45" y="17"/>
                      <a:pt x="46" y="20"/>
                      <a:pt x="47" y="22"/>
                    </a:cubicBezTo>
                    <a:cubicBezTo>
                      <a:pt x="47" y="26"/>
                      <a:pt x="47" y="29"/>
                      <a:pt x="46" y="31"/>
                    </a:cubicBezTo>
                    <a:cubicBezTo>
                      <a:pt x="46" y="34"/>
                      <a:pt x="45" y="36"/>
                      <a:pt x="43" y="38"/>
                    </a:cubicBezTo>
                    <a:cubicBezTo>
                      <a:pt x="41" y="39"/>
                      <a:pt x="39" y="41"/>
                      <a:pt x="36" y="42"/>
                    </a:cubicBezTo>
                    <a:cubicBezTo>
                      <a:pt x="22" y="51"/>
                      <a:pt x="22" y="51"/>
                      <a:pt x="22" y="51"/>
                    </a:cubicBezTo>
                    <a:lnTo>
                      <a:pt x="0" y="13"/>
                    </a:lnTo>
                    <a:close/>
                    <a:moveTo>
                      <a:pt x="11" y="15"/>
                    </a:moveTo>
                    <a:cubicBezTo>
                      <a:pt x="26" y="40"/>
                      <a:pt x="26" y="40"/>
                      <a:pt x="26" y="40"/>
                    </a:cubicBezTo>
                    <a:cubicBezTo>
                      <a:pt x="32" y="37"/>
                      <a:pt x="32" y="37"/>
                      <a:pt x="32" y="37"/>
                    </a:cubicBezTo>
                    <a:cubicBezTo>
                      <a:pt x="34" y="35"/>
                      <a:pt x="35" y="34"/>
                      <a:pt x="36" y="33"/>
                    </a:cubicBezTo>
                    <a:cubicBezTo>
                      <a:pt x="37" y="32"/>
                      <a:pt x="38" y="31"/>
                      <a:pt x="38" y="30"/>
                    </a:cubicBezTo>
                    <a:cubicBezTo>
                      <a:pt x="39" y="29"/>
                      <a:pt x="39" y="27"/>
                      <a:pt x="38" y="25"/>
                    </a:cubicBezTo>
                    <a:cubicBezTo>
                      <a:pt x="38" y="23"/>
                      <a:pt x="37" y="21"/>
                      <a:pt x="35" y="18"/>
                    </a:cubicBezTo>
                    <a:cubicBezTo>
                      <a:pt x="33" y="15"/>
                      <a:pt x="32" y="13"/>
                      <a:pt x="30" y="11"/>
                    </a:cubicBezTo>
                    <a:cubicBezTo>
                      <a:pt x="29" y="10"/>
                      <a:pt x="27" y="9"/>
                      <a:pt x="26" y="9"/>
                    </a:cubicBezTo>
                    <a:cubicBezTo>
                      <a:pt x="25" y="9"/>
                      <a:pt x="23" y="9"/>
                      <a:pt x="21" y="9"/>
                    </a:cubicBezTo>
                    <a:cubicBezTo>
                      <a:pt x="20" y="10"/>
                      <a:pt x="18" y="11"/>
                      <a:pt x="15" y="13"/>
                    </a:cubicBezTo>
                    <a:lnTo>
                      <a:pt x="11" y="1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338" name="ïṩḻiḍe"/>
              <p:cNvSpPr/>
              <p:nvPr/>
            </p:nvSpPr>
            <p:spPr bwMode="auto">
              <a:xfrm>
                <a:off x="2876447" y="5888628"/>
                <a:ext cx="80963" cy="88900"/>
              </a:xfrm>
              <a:custGeom>
                <a:avLst/>
                <a:gdLst>
                  <a:gd name="T0" fmla="*/ 43 w 51"/>
                  <a:gd name="T1" fmla="*/ 56 h 56"/>
                  <a:gd name="T2" fmla="*/ 16 w 51"/>
                  <a:gd name="T3" fmla="*/ 22 h 56"/>
                  <a:gd name="T4" fmla="*/ 5 w 51"/>
                  <a:gd name="T5" fmla="*/ 31 h 56"/>
                  <a:gd name="T6" fmla="*/ 0 w 51"/>
                  <a:gd name="T7" fmla="*/ 25 h 56"/>
                  <a:gd name="T8" fmla="*/ 31 w 51"/>
                  <a:gd name="T9" fmla="*/ 0 h 56"/>
                  <a:gd name="T10" fmla="*/ 37 w 51"/>
                  <a:gd name="T11" fmla="*/ 7 h 56"/>
                  <a:gd name="T12" fmla="*/ 24 w 51"/>
                  <a:gd name="T13" fmla="*/ 16 h 56"/>
                  <a:gd name="T14" fmla="*/ 51 w 51"/>
                  <a:gd name="T15" fmla="*/ 49 h 56"/>
                  <a:gd name="T16" fmla="*/ 43 w 51"/>
                  <a:gd name="T17" fmla="*/ 56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1" h="56">
                    <a:moveTo>
                      <a:pt x="43" y="56"/>
                    </a:moveTo>
                    <a:lnTo>
                      <a:pt x="16" y="22"/>
                    </a:lnTo>
                    <a:lnTo>
                      <a:pt x="5" y="31"/>
                    </a:lnTo>
                    <a:lnTo>
                      <a:pt x="0" y="25"/>
                    </a:lnTo>
                    <a:lnTo>
                      <a:pt x="31" y="0"/>
                    </a:lnTo>
                    <a:lnTo>
                      <a:pt x="37" y="7"/>
                    </a:lnTo>
                    <a:lnTo>
                      <a:pt x="24" y="16"/>
                    </a:lnTo>
                    <a:lnTo>
                      <a:pt x="51" y="49"/>
                    </a:lnTo>
                    <a:lnTo>
                      <a:pt x="43" y="56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339" name="íśļïḓè"/>
              <p:cNvSpPr/>
              <p:nvPr/>
            </p:nvSpPr>
            <p:spPr bwMode="auto">
              <a:xfrm>
                <a:off x="2925659" y="5845765"/>
                <a:ext cx="101600" cy="100013"/>
              </a:xfrm>
              <a:custGeom>
                <a:avLst/>
                <a:gdLst>
                  <a:gd name="T0" fmla="*/ 36 w 64"/>
                  <a:gd name="T1" fmla="*/ 63 h 63"/>
                  <a:gd name="T2" fmla="*/ 0 w 64"/>
                  <a:gd name="T3" fmla="*/ 26 h 63"/>
                  <a:gd name="T4" fmla="*/ 28 w 64"/>
                  <a:gd name="T5" fmla="*/ 0 h 63"/>
                  <a:gd name="T6" fmla="*/ 34 w 64"/>
                  <a:gd name="T7" fmla="*/ 6 h 63"/>
                  <a:gd name="T8" fmla="*/ 14 w 64"/>
                  <a:gd name="T9" fmla="*/ 26 h 63"/>
                  <a:gd name="T10" fmla="*/ 22 w 64"/>
                  <a:gd name="T11" fmla="*/ 34 h 63"/>
                  <a:gd name="T12" fmla="*/ 41 w 64"/>
                  <a:gd name="T13" fmla="*/ 16 h 63"/>
                  <a:gd name="T14" fmla="*/ 47 w 64"/>
                  <a:gd name="T15" fmla="*/ 22 h 63"/>
                  <a:gd name="T16" fmla="*/ 28 w 64"/>
                  <a:gd name="T17" fmla="*/ 39 h 63"/>
                  <a:gd name="T18" fmla="*/ 38 w 64"/>
                  <a:gd name="T19" fmla="*/ 50 h 63"/>
                  <a:gd name="T20" fmla="*/ 58 w 64"/>
                  <a:gd name="T21" fmla="*/ 30 h 63"/>
                  <a:gd name="T22" fmla="*/ 64 w 64"/>
                  <a:gd name="T23" fmla="*/ 36 h 63"/>
                  <a:gd name="T24" fmla="*/ 36 w 64"/>
                  <a:gd name="T25" fmla="*/ 63 h 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4" h="63">
                    <a:moveTo>
                      <a:pt x="36" y="63"/>
                    </a:moveTo>
                    <a:lnTo>
                      <a:pt x="0" y="26"/>
                    </a:lnTo>
                    <a:lnTo>
                      <a:pt x="28" y="0"/>
                    </a:lnTo>
                    <a:lnTo>
                      <a:pt x="34" y="6"/>
                    </a:lnTo>
                    <a:lnTo>
                      <a:pt x="14" y="26"/>
                    </a:lnTo>
                    <a:lnTo>
                      <a:pt x="22" y="34"/>
                    </a:lnTo>
                    <a:lnTo>
                      <a:pt x="41" y="16"/>
                    </a:lnTo>
                    <a:lnTo>
                      <a:pt x="47" y="22"/>
                    </a:lnTo>
                    <a:lnTo>
                      <a:pt x="28" y="39"/>
                    </a:lnTo>
                    <a:lnTo>
                      <a:pt x="38" y="50"/>
                    </a:lnTo>
                    <a:lnTo>
                      <a:pt x="58" y="30"/>
                    </a:lnTo>
                    <a:lnTo>
                      <a:pt x="64" y="36"/>
                    </a:lnTo>
                    <a:lnTo>
                      <a:pt x="36" y="6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340" name="íṩḻîde"/>
              <p:cNvSpPr/>
              <p:nvPr/>
            </p:nvSpPr>
            <p:spPr bwMode="auto">
              <a:xfrm>
                <a:off x="2985984" y="5801315"/>
                <a:ext cx="82550" cy="80963"/>
              </a:xfrm>
              <a:custGeom>
                <a:avLst/>
                <a:gdLst>
                  <a:gd name="T0" fmla="*/ 34 w 45"/>
                  <a:gd name="T1" fmla="*/ 19 h 44"/>
                  <a:gd name="T2" fmla="*/ 41 w 45"/>
                  <a:gd name="T3" fmla="*/ 14 h 44"/>
                  <a:gd name="T4" fmla="*/ 45 w 45"/>
                  <a:gd name="T5" fmla="*/ 26 h 44"/>
                  <a:gd name="T6" fmla="*/ 40 w 45"/>
                  <a:gd name="T7" fmla="*/ 37 h 44"/>
                  <a:gd name="T8" fmla="*/ 26 w 45"/>
                  <a:gd name="T9" fmla="*/ 44 h 44"/>
                  <a:gd name="T10" fmla="*/ 10 w 45"/>
                  <a:gd name="T11" fmla="*/ 38 h 44"/>
                  <a:gd name="T12" fmla="*/ 1 w 45"/>
                  <a:gd name="T13" fmla="*/ 22 h 44"/>
                  <a:gd name="T14" fmla="*/ 6 w 45"/>
                  <a:gd name="T15" fmla="*/ 7 h 44"/>
                  <a:gd name="T16" fmla="*/ 18 w 45"/>
                  <a:gd name="T17" fmla="*/ 0 h 44"/>
                  <a:gd name="T18" fmla="*/ 27 w 45"/>
                  <a:gd name="T19" fmla="*/ 2 h 44"/>
                  <a:gd name="T20" fmla="*/ 23 w 45"/>
                  <a:gd name="T21" fmla="*/ 10 h 44"/>
                  <a:gd name="T22" fmla="*/ 17 w 45"/>
                  <a:gd name="T23" fmla="*/ 9 h 44"/>
                  <a:gd name="T24" fmla="*/ 11 w 45"/>
                  <a:gd name="T25" fmla="*/ 12 h 44"/>
                  <a:gd name="T26" fmla="*/ 9 w 45"/>
                  <a:gd name="T27" fmla="*/ 21 h 44"/>
                  <a:gd name="T28" fmla="*/ 15 w 45"/>
                  <a:gd name="T29" fmla="*/ 30 h 44"/>
                  <a:gd name="T30" fmla="*/ 26 w 45"/>
                  <a:gd name="T31" fmla="*/ 36 h 44"/>
                  <a:gd name="T32" fmla="*/ 34 w 45"/>
                  <a:gd name="T33" fmla="*/ 32 h 44"/>
                  <a:gd name="T34" fmla="*/ 36 w 45"/>
                  <a:gd name="T35" fmla="*/ 26 h 44"/>
                  <a:gd name="T36" fmla="*/ 34 w 45"/>
                  <a:gd name="T37" fmla="*/ 19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45" h="44">
                    <a:moveTo>
                      <a:pt x="34" y="19"/>
                    </a:moveTo>
                    <a:cubicBezTo>
                      <a:pt x="41" y="14"/>
                      <a:pt x="41" y="14"/>
                      <a:pt x="41" y="14"/>
                    </a:cubicBezTo>
                    <a:cubicBezTo>
                      <a:pt x="44" y="18"/>
                      <a:pt x="45" y="22"/>
                      <a:pt x="45" y="26"/>
                    </a:cubicBezTo>
                    <a:cubicBezTo>
                      <a:pt x="45" y="30"/>
                      <a:pt x="43" y="34"/>
                      <a:pt x="40" y="37"/>
                    </a:cubicBezTo>
                    <a:cubicBezTo>
                      <a:pt x="36" y="42"/>
                      <a:pt x="31" y="44"/>
                      <a:pt x="26" y="44"/>
                    </a:cubicBezTo>
                    <a:cubicBezTo>
                      <a:pt x="21" y="44"/>
                      <a:pt x="15" y="42"/>
                      <a:pt x="10" y="38"/>
                    </a:cubicBezTo>
                    <a:cubicBezTo>
                      <a:pt x="4" y="33"/>
                      <a:pt x="1" y="28"/>
                      <a:pt x="1" y="22"/>
                    </a:cubicBezTo>
                    <a:cubicBezTo>
                      <a:pt x="0" y="17"/>
                      <a:pt x="2" y="12"/>
                      <a:pt x="6" y="7"/>
                    </a:cubicBezTo>
                    <a:cubicBezTo>
                      <a:pt x="10" y="3"/>
                      <a:pt x="14" y="1"/>
                      <a:pt x="18" y="0"/>
                    </a:cubicBezTo>
                    <a:cubicBezTo>
                      <a:pt x="21" y="0"/>
                      <a:pt x="24" y="1"/>
                      <a:pt x="27" y="2"/>
                    </a:cubicBezTo>
                    <a:cubicBezTo>
                      <a:pt x="23" y="10"/>
                      <a:pt x="23" y="10"/>
                      <a:pt x="23" y="10"/>
                    </a:cubicBezTo>
                    <a:cubicBezTo>
                      <a:pt x="21" y="9"/>
                      <a:pt x="19" y="9"/>
                      <a:pt x="17" y="9"/>
                    </a:cubicBezTo>
                    <a:cubicBezTo>
                      <a:pt x="15" y="9"/>
                      <a:pt x="13" y="11"/>
                      <a:pt x="11" y="12"/>
                    </a:cubicBezTo>
                    <a:cubicBezTo>
                      <a:pt x="9" y="15"/>
                      <a:pt x="8" y="18"/>
                      <a:pt x="9" y="21"/>
                    </a:cubicBezTo>
                    <a:cubicBezTo>
                      <a:pt x="9" y="24"/>
                      <a:pt x="12" y="27"/>
                      <a:pt x="15" y="30"/>
                    </a:cubicBezTo>
                    <a:cubicBezTo>
                      <a:pt x="20" y="34"/>
                      <a:pt x="23" y="36"/>
                      <a:pt x="26" y="36"/>
                    </a:cubicBezTo>
                    <a:cubicBezTo>
                      <a:pt x="29" y="36"/>
                      <a:pt x="32" y="35"/>
                      <a:pt x="34" y="32"/>
                    </a:cubicBezTo>
                    <a:cubicBezTo>
                      <a:pt x="36" y="31"/>
                      <a:pt x="36" y="29"/>
                      <a:pt x="36" y="26"/>
                    </a:cubicBezTo>
                    <a:cubicBezTo>
                      <a:pt x="36" y="24"/>
                      <a:pt x="35" y="22"/>
                      <a:pt x="34" y="1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341" name="îŝḷïḓê"/>
              <p:cNvSpPr/>
              <p:nvPr/>
            </p:nvSpPr>
            <p:spPr bwMode="auto">
              <a:xfrm>
                <a:off x="3022497" y="5733053"/>
                <a:ext cx="103188" cy="101600"/>
              </a:xfrm>
              <a:custGeom>
                <a:avLst/>
                <a:gdLst>
                  <a:gd name="T0" fmla="*/ 42 w 65"/>
                  <a:gd name="T1" fmla="*/ 64 h 64"/>
                  <a:gd name="T2" fmla="*/ 0 w 65"/>
                  <a:gd name="T3" fmla="*/ 34 h 64"/>
                  <a:gd name="T4" fmla="*/ 6 w 65"/>
                  <a:gd name="T5" fmla="*/ 26 h 64"/>
                  <a:gd name="T6" fmla="*/ 22 w 65"/>
                  <a:gd name="T7" fmla="*/ 37 h 64"/>
                  <a:gd name="T8" fmla="*/ 33 w 65"/>
                  <a:gd name="T9" fmla="*/ 21 h 64"/>
                  <a:gd name="T10" fmla="*/ 17 w 65"/>
                  <a:gd name="T11" fmla="*/ 9 h 64"/>
                  <a:gd name="T12" fmla="*/ 23 w 65"/>
                  <a:gd name="T13" fmla="*/ 0 h 64"/>
                  <a:gd name="T14" fmla="*/ 65 w 65"/>
                  <a:gd name="T15" fmla="*/ 30 h 64"/>
                  <a:gd name="T16" fmla="*/ 59 w 65"/>
                  <a:gd name="T17" fmla="*/ 38 h 64"/>
                  <a:gd name="T18" fmla="*/ 40 w 65"/>
                  <a:gd name="T19" fmla="*/ 26 h 64"/>
                  <a:gd name="T20" fmla="*/ 29 w 65"/>
                  <a:gd name="T21" fmla="*/ 42 h 64"/>
                  <a:gd name="T22" fmla="*/ 47 w 65"/>
                  <a:gd name="T23" fmla="*/ 55 h 64"/>
                  <a:gd name="T24" fmla="*/ 42 w 65"/>
                  <a:gd name="T25" fmla="*/ 64 h 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5" h="64">
                    <a:moveTo>
                      <a:pt x="42" y="64"/>
                    </a:moveTo>
                    <a:lnTo>
                      <a:pt x="0" y="34"/>
                    </a:lnTo>
                    <a:lnTo>
                      <a:pt x="6" y="26"/>
                    </a:lnTo>
                    <a:lnTo>
                      <a:pt x="22" y="37"/>
                    </a:lnTo>
                    <a:lnTo>
                      <a:pt x="33" y="21"/>
                    </a:lnTo>
                    <a:lnTo>
                      <a:pt x="17" y="9"/>
                    </a:lnTo>
                    <a:lnTo>
                      <a:pt x="23" y="0"/>
                    </a:lnTo>
                    <a:lnTo>
                      <a:pt x="65" y="30"/>
                    </a:lnTo>
                    <a:lnTo>
                      <a:pt x="59" y="38"/>
                    </a:lnTo>
                    <a:lnTo>
                      <a:pt x="40" y="26"/>
                    </a:lnTo>
                    <a:lnTo>
                      <a:pt x="29" y="42"/>
                    </a:lnTo>
                    <a:lnTo>
                      <a:pt x="47" y="55"/>
                    </a:lnTo>
                    <a:lnTo>
                      <a:pt x="42" y="6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342" name="îşḷîḑe"/>
              <p:cNvSpPr/>
              <p:nvPr/>
            </p:nvSpPr>
            <p:spPr bwMode="auto">
              <a:xfrm>
                <a:off x="3062184" y="5672728"/>
                <a:ext cx="103188" cy="95250"/>
              </a:xfrm>
              <a:custGeom>
                <a:avLst/>
                <a:gdLst>
                  <a:gd name="T0" fmla="*/ 44 w 65"/>
                  <a:gd name="T1" fmla="*/ 60 h 60"/>
                  <a:gd name="T2" fmla="*/ 0 w 65"/>
                  <a:gd name="T3" fmla="*/ 34 h 60"/>
                  <a:gd name="T4" fmla="*/ 5 w 65"/>
                  <a:gd name="T5" fmla="*/ 26 h 60"/>
                  <a:gd name="T6" fmla="*/ 46 w 65"/>
                  <a:gd name="T7" fmla="*/ 24 h 60"/>
                  <a:gd name="T8" fmla="*/ 15 w 65"/>
                  <a:gd name="T9" fmla="*/ 8 h 60"/>
                  <a:gd name="T10" fmla="*/ 20 w 65"/>
                  <a:gd name="T11" fmla="*/ 0 h 60"/>
                  <a:gd name="T12" fmla="*/ 65 w 65"/>
                  <a:gd name="T13" fmla="*/ 24 h 60"/>
                  <a:gd name="T14" fmla="*/ 59 w 65"/>
                  <a:gd name="T15" fmla="*/ 33 h 60"/>
                  <a:gd name="T16" fmla="*/ 20 w 65"/>
                  <a:gd name="T17" fmla="*/ 34 h 60"/>
                  <a:gd name="T18" fmla="*/ 49 w 65"/>
                  <a:gd name="T19" fmla="*/ 52 h 60"/>
                  <a:gd name="T20" fmla="*/ 44 w 65"/>
                  <a:gd name="T21" fmla="*/ 60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65" h="60">
                    <a:moveTo>
                      <a:pt x="44" y="60"/>
                    </a:moveTo>
                    <a:lnTo>
                      <a:pt x="0" y="34"/>
                    </a:lnTo>
                    <a:lnTo>
                      <a:pt x="5" y="26"/>
                    </a:lnTo>
                    <a:lnTo>
                      <a:pt x="46" y="24"/>
                    </a:lnTo>
                    <a:lnTo>
                      <a:pt x="15" y="8"/>
                    </a:lnTo>
                    <a:lnTo>
                      <a:pt x="20" y="0"/>
                    </a:lnTo>
                    <a:lnTo>
                      <a:pt x="65" y="24"/>
                    </a:lnTo>
                    <a:lnTo>
                      <a:pt x="59" y="33"/>
                    </a:lnTo>
                    <a:lnTo>
                      <a:pt x="20" y="34"/>
                    </a:lnTo>
                    <a:lnTo>
                      <a:pt x="49" y="52"/>
                    </a:lnTo>
                    <a:lnTo>
                      <a:pt x="44" y="6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343" name="îşḷïḋê"/>
              <p:cNvSpPr/>
              <p:nvPr/>
            </p:nvSpPr>
            <p:spPr bwMode="auto">
              <a:xfrm>
                <a:off x="3106634" y="5606053"/>
                <a:ext cx="87313" cy="84138"/>
              </a:xfrm>
              <a:custGeom>
                <a:avLst/>
                <a:gdLst>
                  <a:gd name="T0" fmla="*/ 15 w 47"/>
                  <a:gd name="T1" fmla="*/ 43 h 46"/>
                  <a:gd name="T2" fmla="*/ 5 w 47"/>
                  <a:gd name="T3" fmla="*/ 36 h 46"/>
                  <a:gd name="T4" fmla="*/ 2 w 47"/>
                  <a:gd name="T5" fmla="*/ 30 h 46"/>
                  <a:gd name="T6" fmla="*/ 0 w 47"/>
                  <a:gd name="T7" fmla="*/ 23 h 46"/>
                  <a:gd name="T8" fmla="*/ 2 w 47"/>
                  <a:gd name="T9" fmla="*/ 14 h 46"/>
                  <a:gd name="T10" fmla="*/ 14 w 47"/>
                  <a:gd name="T11" fmla="*/ 2 h 46"/>
                  <a:gd name="T12" fmla="*/ 32 w 47"/>
                  <a:gd name="T13" fmla="*/ 3 h 46"/>
                  <a:gd name="T14" fmla="*/ 45 w 47"/>
                  <a:gd name="T15" fmla="*/ 15 h 46"/>
                  <a:gd name="T16" fmla="*/ 44 w 47"/>
                  <a:gd name="T17" fmla="*/ 32 h 46"/>
                  <a:gd name="T18" fmla="*/ 32 w 47"/>
                  <a:gd name="T19" fmla="*/ 44 h 46"/>
                  <a:gd name="T20" fmla="*/ 15 w 47"/>
                  <a:gd name="T21" fmla="*/ 43 h 46"/>
                  <a:gd name="T22" fmla="*/ 18 w 47"/>
                  <a:gd name="T23" fmla="*/ 34 h 46"/>
                  <a:gd name="T24" fmla="*/ 30 w 47"/>
                  <a:gd name="T25" fmla="*/ 35 h 46"/>
                  <a:gd name="T26" fmla="*/ 37 w 47"/>
                  <a:gd name="T27" fmla="*/ 29 h 46"/>
                  <a:gd name="T28" fmla="*/ 37 w 47"/>
                  <a:gd name="T29" fmla="*/ 19 h 46"/>
                  <a:gd name="T30" fmla="*/ 28 w 47"/>
                  <a:gd name="T31" fmla="*/ 12 h 46"/>
                  <a:gd name="T32" fmla="*/ 16 w 47"/>
                  <a:gd name="T33" fmla="*/ 10 h 46"/>
                  <a:gd name="T34" fmla="*/ 9 w 47"/>
                  <a:gd name="T35" fmla="*/ 17 h 46"/>
                  <a:gd name="T36" fmla="*/ 9 w 47"/>
                  <a:gd name="T37" fmla="*/ 27 h 46"/>
                  <a:gd name="T38" fmla="*/ 18 w 47"/>
                  <a:gd name="T39" fmla="*/ 34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47" h="46">
                    <a:moveTo>
                      <a:pt x="15" y="43"/>
                    </a:moveTo>
                    <a:cubicBezTo>
                      <a:pt x="11" y="41"/>
                      <a:pt x="8" y="39"/>
                      <a:pt x="5" y="36"/>
                    </a:cubicBezTo>
                    <a:cubicBezTo>
                      <a:pt x="4" y="34"/>
                      <a:pt x="2" y="32"/>
                      <a:pt x="2" y="30"/>
                    </a:cubicBezTo>
                    <a:cubicBezTo>
                      <a:pt x="1" y="28"/>
                      <a:pt x="0" y="26"/>
                      <a:pt x="0" y="23"/>
                    </a:cubicBezTo>
                    <a:cubicBezTo>
                      <a:pt x="0" y="20"/>
                      <a:pt x="1" y="17"/>
                      <a:pt x="2" y="14"/>
                    </a:cubicBezTo>
                    <a:cubicBezTo>
                      <a:pt x="5" y="8"/>
                      <a:pt x="9" y="4"/>
                      <a:pt x="14" y="2"/>
                    </a:cubicBezTo>
                    <a:cubicBezTo>
                      <a:pt x="19" y="0"/>
                      <a:pt x="25" y="1"/>
                      <a:pt x="32" y="3"/>
                    </a:cubicBezTo>
                    <a:cubicBezTo>
                      <a:pt x="38" y="6"/>
                      <a:pt x="43" y="10"/>
                      <a:pt x="45" y="15"/>
                    </a:cubicBezTo>
                    <a:cubicBezTo>
                      <a:pt x="47" y="21"/>
                      <a:pt x="47" y="26"/>
                      <a:pt x="44" y="32"/>
                    </a:cubicBezTo>
                    <a:cubicBezTo>
                      <a:pt x="41" y="38"/>
                      <a:pt x="38" y="42"/>
                      <a:pt x="32" y="44"/>
                    </a:cubicBezTo>
                    <a:cubicBezTo>
                      <a:pt x="27" y="46"/>
                      <a:pt x="21" y="45"/>
                      <a:pt x="15" y="43"/>
                    </a:cubicBezTo>
                    <a:close/>
                    <a:moveTo>
                      <a:pt x="18" y="34"/>
                    </a:moveTo>
                    <a:cubicBezTo>
                      <a:pt x="23" y="36"/>
                      <a:pt x="27" y="37"/>
                      <a:pt x="30" y="35"/>
                    </a:cubicBezTo>
                    <a:cubicBezTo>
                      <a:pt x="33" y="34"/>
                      <a:pt x="36" y="32"/>
                      <a:pt x="37" y="29"/>
                    </a:cubicBezTo>
                    <a:cubicBezTo>
                      <a:pt x="39" y="26"/>
                      <a:pt x="39" y="23"/>
                      <a:pt x="37" y="19"/>
                    </a:cubicBezTo>
                    <a:cubicBezTo>
                      <a:pt x="36" y="16"/>
                      <a:pt x="33" y="14"/>
                      <a:pt x="28" y="12"/>
                    </a:cubicBezTo>
                    <a:cubicBezTo>
                      <a:pt x="23" y="10"/>
                      <a:pt x="19" y="9"/>
                      <a:pt x="16" y="10"/>
                    </a:cubicBezTo>
                    <a:cubicBezTo>
                      <a:pt x="13" y="11"/>
                      <a:pt x="11" y="14"/>
                      <a:pt x="9" y="17"/>
                    </a:cubicBezTo>
                    <a:cubicBezTo>
                      <a:pt x="8" y="20"/>
                      <a:pt x="8" y="23"/>
                      <a:pt x="9" y="27"/>
                    </a:cubicBezTo>
                    <a:cubicBezTo>
                      <a:pt x="11" y="30"/>
                      <a:pt x="14" y="32"/>
                      <a:pt x="18" y="3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344" name="îṣlïḍè"/>
              <p:cNvSpPr/>
              <p:nvPr/>
            </p:nvSpPr>
            <p:spPr bwMode="auto">
              <a:xfrm>
                <a:off x="3128859" y="5560015"/>
                <a:ext cx="93663" cy="57150"/>
              </a:xfrm>
              <a:custGeom>
                <a:avLst/>
                <a:gdLst>
                  <a:gd name="T0" fmla="*/ 49 w 59"/>
                  <a:gd name="T1" fmla="*/ 36 h 36"/>
                  <a:gd name="T2" fmla="*/ 0 w 59"/>
                  <a:gd name="T3" fmla="*/ 21 h 36"/>
                  <a:gd name="T4" fmla="*/ 4 w 59"/>
                  <a:gd name="T5" fmla="*/ 10 h 36"/>
                  <a:gd name="T6" fmla="*/ 43 w 59"/>
                  <a:gd name="T7" fmla="*/ 24 h 36"/>
                  <a:gd name="T8" fmla="*/ 51 w 59"/>
                  <a:gd name="T9" fmla="*/ 0 h 36"/>
                  <a:gd name="T10" fmla="*/ 59 w 59"/>
                  <a:gd name="T11" fmla="*/ 2 h 36"/>
                  <a:gd name="T12" fmla="*/ 49 w 59"/>
                  <a:gd name="T13" fmla="*/ 36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59" h="36">
                    <a:moveTo>
                      <a:pt x="49" y="36"/>
                    </a:moveTo>
                    <a:lnTo>
                      <a:pt x="0" y="21"/>
                    </a:lnTo>
                    <a:lnTo>
                      <a:pt x="4" y="10"/>
                    </a:lnTo>
                    <a:lnTo>
                      <a:pt x="43" y="24"/>
                    </a:lnTo>
                    <a:lnTo>
                      <a:pt x="51" y="0"/>
                    </a:lnTo>
                    <a:lnTo>
                      <a:pt x="59" y="2"/>
                    </a:lnTo>
                    <a:lnTo>
                      <a:pt x="49" y="36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345" name="ïṩḷîḓê"/>
              <p:cNvSpPr/>
              <p:nvPr/>
            </p:nvSpPr>
            <p:spPr bwMode="auto">
              <a:xfrm>
                <a:off x="3152672" y="5469528"/>
                <a:ext cx="85725" cy="80963"/>
              </a:xfrm>
              <a:custGeom>
                <a:avLst/>
                <a:gdLst>
                  <a:gd name="T0" fmla="*/ 18 w 46"/>
                  <a:gd name="T1" fmla="*/ 43 h 44"/>
                  <a:gd name="T2" fmla="*/ 8 w 46"/>
                  <a:gd name="T3" fmla="*/ 38 h 44"/>
                  <a:gd name="T4" fmla="*/ 3 w 46"/>
                  <a:gd name="T5" fmla="*/ 33 h 44"/>
                  <a:gd name="T6" fmla="*/ 0 w 46"/>
                  <a:gd name="T7" fmla="*/ 27 h 44"/>
                  <a:gd name="T8" fmla="*/ 1 w 46"/>
                  <a:gd name="T9" fmla="*/ 17 h 44"/>
                  <a:gd name="T10" fmla="*/ 10 w 46"/>
                  <a:gd name="T11" fmla="*/ 3 h 44"/>
                  <a:gd name="T12" fmla="*/ 28 w 46"/>
                  <a:gd name="T13" fmla="*/ 1 h 44"/>
                  <a:gd name="T14" fmla="*/ 43 w 46"/>
                  <a:gd name="T15" fmla="*/ 11 h 44"/>
                  <a:gd name="T16" fmla="*/ 45 w 46"/>
                  <a:gd name="T17" fmla="*/ 27 h 44"/>
                  <a:gd name="T18" fmla="*/ 36 w 46"/>
                  <a:gd name="T19" fmla="*/ 41 h 44"/>
                  <a:gd name="T20" fmla="*/ 18 w 46"/>
                  <a:gd name="T21" fmla="*/ 43 h 44"/>
                  <a:gd name="T22" fmla="*/ 20 w 46"/>
                  <a:gd name="T23" fmla="*/ 34 h 44"/>
                  <a:gd name="T24" fmla="*/ 32 w 46"/>
                  <a:gd name="T25" fmla="*/ 33 h 44"/>
                  <a:gd name="T26" fmla="*/ 38 w 46"/>
                  <a:gd name="T27" fmla="*/ 25 h 44"/>
                  <a:gd name="T28" fmla="*/ 36 w 46"/>
                  <a:gd name="T29" fmla="*/ 16 h 44"/>
                  <a:gd name="T30" fmla="*/ 25 w 46"/>
                  <a:gd name="T31" fmla="*/ 10 h 44"/>
                  <a:gd name="T32" fmla="*/ 14 w 46"/>
                  <a:gd name="T33" fmla="*/ 11 h 44"/>
                  <a:gd name="T34" fmla="*/ 8 w 46"/>
                  <a:gd name="T35" fmla="*/ 19 h 44"/>
                  <a:gd name="T36" fmla="*/ 10 w 46"/>
                  <a:gd name="T37" fmla="*/ 28 h 44"/>
                  <a:gd name="T38" fmla="*/ 20 w 46"/>
                  <a:gd name="T39" fmla="*/ 34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46" h="44">
                    <a:moveTo>
                      <a:pt x="18" y="43"/>
                    </a:moveTo>
                    <a:cubicBezTo>
                      <a:pt x="14" y="42"/>
                      <a:pt x="10" y="40"/>
                      <a:pt x="8" y="38"/>
                    </a:cubicBezTo>
                    <a:cubicBezTo>
                      <a:pt x="6" y="37"/>
                      <a:pt x="4" y="35"/>
                      <a:pt x="3" y="33"/>
                    </a:cubicBezTo>
                    <a:cubicBezTo>
                      <a:pt x="1" y="31"/>
                      <a:pt x="1" y="29"/>
                      <a:pt x="0" y="27"/>
                    </a:cubicBezTo>
                    <a:cubicBezTo>
                      <a:pt x="0" y="24"/>
                      <a:pt x="0" y="21"/>
                      <a:pt x="1" y="17"/>
                    </a:cubicBezTo>
                    <a:cubicBezTo>
                      <a:pt x="2" y="11"/>
                      <a:pt x="5" y="6"/>
                      <a:pt x="10" y="3"/>
                    </a:cubicBezTo>
                    <a:cubicBezTo>
                      <a:pt x="15" y="0"/>
                      <a:pt x="21" y="0"/>
                      <a:pt x="28" y="1"/>
                    </a:cubicBezTo>
                    <a:cubicBezTo>
                      <a:pt x="34" y="3"/>
                      <a:pt x="39" y="6"/>
                      <a:pt x="43" y="11"/>
                    </a:cubicBezTo>
                    <a:cubicBezTo>
                      <a:pt x="46" y="15"/>
                      <a:pt x="46" y="21"/>
                      <a:pt x="45" y="27"/>
                    </a:cubicBezTo>
                    <a:cubicBezTo>
                      <a:pt x="44" y="33"/>
                      <a:pt x="40" y="38"/>
                      <a:pt x="36" y="41"/>
                    </a:cubicBezTo>
                    <a:cubicBezTo>
                      <a:pt x="31" y="44"/>
                      <a:pt x="25" y="44"/>
                      <a:pt x="18" y="43"/>
                    </a:cubicBezTo>
                    <a:close/>
                    <a:moveTo>
                      <a:pt x="20" y="34"/>
                    </a:moveTo>
                    <a:cubicBezTo>
                      <a:pt x="25" y="35"/>
                      <a:pt x="29" y="35"/>
                      <a:pt x="32" y="33"/>
                    </a:cubicBezTo>
                    <a:cubicBezTo>
                      <a:pt x="35" y="31"/>
                      <a:pt x="37" y="29"/>
                      <a:pt x="38" y="25"/>
                    </a:cubicBezTo>
                    <a:cubicBezTo>
                      <a:pt x="38" y="22"/>
                      <a:pt x="38" y="19"/>
                      <a:pt x="36" y="16"/>
                    </a:cubicBezTo>
                    <a:cubicBezTo>
                      <a:pt x="34" y="13"/>
                      <a:pt x="30" y="11"/>
                      <a:pt x="25" y="10"/>
                    </a:cubicBezTo>
                    <a:cubicBezTo>
                      <a:pt x="20" y="9"/>
                      <a:pt x="16" y="9"/>
                      <a:pt x="14" y="11"/>
                    </a:cubicBezTo>
                    <a:cubicBezTo>
                      <a:pt x="11" y="13"/>
                      <a:pt x="9" y="15"/>
                      <a:pt x="8" y="19"/>
                    </a:cubicBezTo>
                    <a:cubicBezTo>
                      <a:pt x="7" y="22"/>
                      <a:pt x="8" y="25"/>
                      <a:pt x="10" y="28"/>
                    </a:cubicBezTo>
                    <a:cubicBezTo>
                      <a:pt x="12" y="31"/>
                      <a:pt x="15" y="33"/>
                      <a:pt x="20" y="3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346" name="ïSļiďé"/>
              <p:cNvSpPr/>
              <p:nvPr/>
            </p:nvSpPr>
            <p:spPr bwMode="auto">
              <a:xfrm>
                <a:off x="3165372" y="5390153"/>
                <a:ext cx="85725" cy="77788"/>
              </a:xfrm>
              <a:custGeom>
                <a:avLst/>
                <a:gdLst>
                  <a:gd name="T0" fmla="*/ 29 w 46"/>
                  <a:gd name="T1" fmla="*/ 21 h 42"/>
                  <a:gd name="T2" fmla="*/ 22 w 46"/>
                  <a:gd name="T3" fmla="*/ 20 h 42"/>
                  <a:gd name="T4" fmla="*/ 24 w 46"/>
                  <a:gd name="T5" fmla="*/ 1 h 42"/>
                  <a:gd name="T6" fmla="*/ 41 w 46"/>
                  <a:gd name="T7" fmla="*/ 3 h 42"/>
                  <a:gd name="T8" fmla="*/ 45 w 46"/>
                  <a:gd name="T9" fmla="*/ 11 h 42"/>
                  <a:gd name="T10" fmla="*/ 46 w 46"/>
                  <a:gd name="T11" fmla="*/ 22 h 42"/>
                  <a:gd name="T12" fmla="*/ 42 w 46"/>
                  <a:gd name="T13" fmla="*/ 34 h 42"/>
                  <a:gd name="T14" fmla="*/ 33 w 46"/>
                  <a:gd name="T15" fmla="*/ 41 h 42"/>
                  <a:gd name="T16" fmla="*/ 21 w 46"/>
                  <a:gd name="T17" fmla="*/ 42 h 42"/>
                  <a:gd name="T18" fmla="*/ 9 w 46"/>
                  <a:gd name="T19" fmla="*/ 38 h 42"/>
                  <a:gd name="T20" fmla="*/ 2 w 46"/>
                  <a:gd name="T21" fmla="*/ 28 h 42"/>
                  <a:gd name="T22" fmla="*/ 1 w 46"/>
                  <a:gd name="T23" fmla="*/ 18 h 42"/>
                  <a:gd name="T24" fmla="*/ 6 w 46"/>
                  <a:gd name="T25" fmla="*/ 5 h 42"/>
                  <a:gd name="T26" fmla="*/ 16 w 46"/>
                  <a:gd name="T27" fmla="*/ 0 h 42"/>
                  <a:gd name="T28" fmla="*/ 16 w 46"/>
                  <a:gd name="T29" fmla="*/ 9 h 42"/>
                  <a:gd name="T30" fmla="*/ 11 w 46"/>
                  <a:gd name="T31" fmla="*/ 12 h 42"/>
                  <a:gd name="T32" fmla="*/ 8 w 46"/>
                  <a:gd name="T33" fmla="*/ 18 h 42"/>
                  <a:gd name="T34" fmla="*/ 11 w 46"/>
                  <a:gd name="T35" fmla="*/ 28 h 42"/>
                  <a:gd name="T36" fmla="*/ 21 w 46"/>
                  <a:gd name="T37" fmla="*/ 33 h 42"/>
                  <a:gd name="T38" fmla="*/ 34 w 46"/>
                  <a:gd name="T39" fmla="*/ 31 h 42"/>
                  <a:gd name="T40" fmla="*/ 38 w 46"/>
                  <a:gd name="T41" fmla="*/ 22 h 42"/>
                  <a:gd name="T42" fmla="*/ 38 w 46"/>
                  <a:gd name="T43" fmla="*/ 16 h 42"/>
                  <a:gd name="T44" fmla="*/ 36 w 46"/>
                  <a:gd name="T45" fmla="*/ 11 h 42"/>
                  <a:gd name="T46" fmla="*/ 30 w 46"/>
                  <a:gd name="T47" fmla="*/ 11 h 42"/>
                  <a:gd name="T48" fmla="*/ 29 w 46"/>
                  <a:gd name="T49" fmla="*/ 21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46" h="42">
                    <a:moveTo>
                      <a:pt x="29" y="21"/>
                    </a:moveTo>
                    <a:cubicBezTo>
                      <a:pt x="22" y="20"/>
                      <a:pt x="22" y="20"/>
                      <a:pt x="22" y="20"/>
                    </a:cubicBezTo>
                    <a:cubicBezTo>
                      <a:pt x="24" y="1"/>
                      <a:pt x="24" y="1"/>
                      <a:pt x="24" y="1"/>
                    </a:cubicBezTo>
                    <a:cubicBezTo>
                      <a:pt x="41" y="3"/>
                      <a:pt x="41" y="3"/>
                      <a:pt x="41" y="3"/>
                    </a:cubicBezTo>
                    <a:cubicBezTo>
                      <a:pt x="43" y="5"/>
                      <a:pt x="44" y="8"/>
                      <a:pt x="45" y="11"/>
                    </a:cubicBezTo>
                    <a:cubicBezTo>
                      <a:pt x="46" y="15"/>
                      <a:pt x="46" y="19"/>
                      <a:pt x="46" y="22"/>
                    </a:cubicBezTo>
                    <a:cubicBezTo>
                      <a:pt x="46" y="27"/>
                      <a:pt x="44" y="31"/>
                      <a:pt x="42" y="34"/>
                    </a:cubicBezTo>
                    <a:cubicBezTo>
                      <a:pt x="39" y="37"/>
                      <a:pt x="36" y="39"/>
                      <a:pt x="33" y="41"/>
                    </a:cubicBezTo>
                    <a:cubicBezTo>
                      <a:pt x="29" y="42"/>
                      <a:pt x="25" y="42"/>
                      <a:pt x="21" y="42"/>
                    </a:cubicBezTo>
                    <a:cubicBezTo>
                      <a:pt x="16" y="41"/>
                      <a:pt x="12" y="40"/>
                      <a:pt x="9" y="38"/>
                    </a:cubicBezTo>
                    <a:cubicBezTo>
                      <a:pt x="6" y="35"/>
                      <a:pt x="3" y="32"/>
                      <a:pt x="2" y="28"/>
                    </a:cubicBezTo>
                    <a:cubicBezTo>
                      <a:pt x="1" y="25"/>
                      <a:pt x="0" y="22"/>
                      <a:pt x="1" y="18"/>
                    </a:cubicBezTo>
                    <a:cubicBezTo>
                      <a:pt x="1" y="12"/>
                      <a:pt x="3" y="8"/>
                      <a:pt x="6" y="5"/>
                    </a:cubicBezTo>
                    <a:cubicBezTo>
                      <a:pt x="8" y="2"/>
                      <a:pt x="12" y="1"/>
                      <a:pt x="16" y="0"/>
                    </a:cubicBezTo>
                    <a:cubicBezTo>
                      <a:pt x="16" y="9"/>
                      <a:pt x="16" y="9"/>
                      <a:pt x="16" y="9"/>
                    </a:cubicBezTo>
                    <a:cubicBezTo>
                      <a:pt x="14" y="10"/>
                      <a:pt x="12" y="11"/>
                      <a:pt x="11" y="12"/>
                    </a:cubicBezTo>
                    <a:cubicBezTo>
                      <a:pt x="10" y="14"/>
                      <a:pt x="9" y="16"/>
                      <a:pt x="8" y="18"/>
                    </a:cubicBezTo>
                    <a:cubicBezTo>
                      <a:pt x="8" y="22"/>
                      <a:pt x="9" y="25"/>
                      <a:pt x="11" y="28"/>
                    </a:cubicBezTo>
                    <a:cubicBezTo>
                      <a:pt x="13" y="31"/>
                      <a:pt x="17" y="32"/>
                      <a:pt x="21" y="33"/>
                    </a:cubicBezTo>
                    <a:cubicBezTo>
                      <a:pt x="27" y="33"/>
                      <a:pt x="31" y="33"/>
                      <a:pt x="34" y="31"/>
                    </a:cubicBezTo>
                    <a:cubicBezTo>
                      <a:pt x="36" y="29"/>
                      <a:pt x="38" y="26"/>
                      <a:pt x="38" y="22"/>
                    </a:cubicBezTo>
                    <a:cubicBezTo>
                      <a:pt x="39" y="20"/>
                      <a:pt x="39" y="18"/>
                      <a:pt x="38" y="16"/>
                    </a:cubicBezTo>
                    <a:cubicBezTo>
                      <a:pt x="37" y="14"/>
                      <a:pt x="37" y="13"/>
                      <a:pt x="36" y="11"/>
                    </a:cubicBezTo>
                    <a:cubicBezTo>
                      <a:pt x="30" y="11"/>
                      <a:pt x="30" y="11"/>
                      <a:pt x="30" y="11"/>
                    </a:cubicBezTo>
                    <a:lnTo>
                      <a:pt x="29" y="2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347" name="îSḷiḋè"/>
              <p:cNvSpPr/>
              <p:nvPr/>
            </p:nvSpPr>
            <p:spPr bwMode="auto">
              <a:xfrm>
                <a:off x="3173309" y="5313953"/>
                <a:ext cx="80963" cy="76200"/>
              </a:xfrm>
              <a:custGeom>
                <a:avLst/>
                <a:gdLst>
                  <a:gd name="T0" fmla="*/ 51 w 51"/>
                  <a:gd name="T1" fmla="*/ 30 h 48"/>
                  <a:gd name="T2" fmla="*/ 29 w 51"/>
                  <a:gd name="T3" fmla="*/ 29 h 48"/>
                  <a:gd name="T4" fmla="*/ 0 w 51"/>
                  <a:gd name="T5" fmla="*/ 48 h 48"/>
                  <a:gd name="T6" fmla="*/ 0 w 51"/>
                  <a:gd name="T7" fmla="*/ 36 h 48"/>
                  <a:gd name="T8" fmla="*/ 20 w 51"/>
                  <a:gd name="T9" fmla="*/ 24 h 48"/>
                  <a:gd name="T10" fmla="*/ 0 w 51"/>
                  <a:gd name="T11" fmla="*/ 12 h 48"/>
                  <a:gd name="T12" fmla="*/ 0 w 51"/>
                  <a:gd name="T13" fmla="*/ 0 h 48"/>
                  <a:gd name="T14" fmla="*/ 30 w 51"/>
                  <a:gd name="T15" fmla="*/ 20 h 48"/>
                  <a:gd name="T16" fmla="*/ 51 w 51"/>
                  <a:gd name="T17" fmla="*/ 20 h 48"/>
                  <a:gd name="T18" fmla="*/ 51 w 51"/>
                  <a:gd name="T19" fmla="*/ 30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51" h="48">
                    <a:moveTo>
                      <a:pt x="51" y="30"/>
                    </a:moveTo>
                    <a:lnTo>
                      <a:pt x="29" y="29"/>
                    </a:lnTo>
                    <a:lnTo>
                      <a:pt x="0" y="48"/>
                    </a:lnTo>
                    <a:lnTo>
                      <a:pt x="0" y="36"/>
                    </a:lnTo>
                    <a:lnTo>
                      <a:pt x="20" y="24"/>
                    </a:lnTo>
                    <a:lnTo>
                      <a:pt x="0" y="12"/>
                    </a:lnTo>
                    <a:lnTo>
                      <a:pt x="0" y="0"/>
                    </a:lnTo>
                    <a:lnTo>
                      <a:pt x="30" y="20"/>
                    </a:lnTo>
                    <a:lnTo>
                      <a:pt x="51" y="20"/>
                    </a:lnTo>
                    <a:lnTo>
                      <a:pt x="51" y="3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348" name="îṣḷíḋé"/>
              <p:cNvSpPr/>
              <p:nvPr/>
            </p:nvSpPr>
            <p:spPr bwMode="auto">
              <a:xfrm>
                <a:off x="3163784" y="5193303"/>
                <a:ext cx="87313" cy="76200"/>
              </a:xfrm>
              <a:custGeom>
                <a:avLst/>
                <a:gdLst>
                  <a:gd name="T0" fmla="*/ 4 w 47"/>
                  <a:gd name="T1" fmla="*/ 41 h 41"/>
                  <a:gd name="T2" fmla="*/ 1 w 47"/>
                  <a:gd name="T3" fmla="*/ 24 h 41"/>
                  <a:gd name="T4" fmla="*/ 0 w 47"/>
                  <a:gd name="T5" fmla="*/ 16 h 41"/>
                  <a:gd name="T6" fmla="*/ 2 w 47"/>
                  <a:gd name="T7" fmla="*/ 11 h 41"/>
                  <a:gd name="T8" fmla="*/ 5 w 47"/>
                  <a:gd name="T9" fmla="*/ 7 h 41"/>
                  <a:gd name="T10" fmla="*/ 10 w 47"/>
                  <a:gd name="T11" fmla="*/ 5 h 41"/>
                  <a:gd name="T12" fmla="*/ 16 w 47"/>
                  <a:gd name="T13" fmla="*/ 6 h 41"/>
                  <a:gd name="T14" fmla="*/ 20 w 47"/>
                  <a:gd name="T15" fmla="*/ 10 h 41"/>
                  <a:gd name="T16" fmla="*/ 23 w 47"/>
                  <a:gd name="T17" fmla="*/ 3 h 41"/>
                  <a:gd name="T18" fmla="*/ 29 w 47"/>
                  <a:gd name="T19" fmla="*/ 0 h 41"/>
                  <a:gd name="T20" fmla="*/ 35 w 47"/>
                  <a:gd name="T21" fmla="*/ 1 h 41"/>
                  <a:gd name="T22" fmla="*/ 40 w 47"/>
                  <a:gd name="T23" fmla="*/ 4 h 41"/>
                  <a:gd name="T24" fmla="*/ 43 w 47"/>
                  <a:gd name="T25" fmla="*/ 10 h 41"/>
                  <a:gd name="T26" fmla="*/ 45 w 47"/>
                  <a:gd name="T27" fmla="*/ 20 h 41"/>
                  <a:gd name="T28" fmla="*/ 47 w 47"/>
                  <a:gd name="T29" fmla="*/ 35 h 41"/>
                  <a:gd name="T30" fmla="*/ 4 w 47"/>
                  <a:gd name="T31" fmla="*/ 41 h 41"/>
                  <a:gd name="T32" fmla="*/ 10 w 47"/>
                  <a:gd name="T33" fmla="*/ 31 h 41"/>
                  <a:gd name="T34" fmla="*/ 20 w 47"/>
                  <a:gd name="T35" fmla="*/ 30 h 41"/>
                  <a:gd name="T36" fmla="*/ 19 w 47"/>
                  <a:gd name="T37" fmla="*/ 24 h 41"/>
                  <a:gd name="T38" fmla="*/ 18 w 47"/>
                  <a:gd name="T39" fmla="*/ 18 h 41"/>
                  <a:gd name="T40" fmla="*/ 16 w 47"/>
                  <a:gd name="T41" fmla="*/ 15 h 41"/>
                  <a:gd name="T42" fmla="*/ 12 w 47"/>
                  <a:gd name="T43" fmla="*/ 14 h 41"/>
                  <a:gd name="T44" fmla="*/ 9 w 47"/>
                  <a:gd name="T45" fmla="*/ 15 h 41"/>
                  <a:gd name="T46" fmla="*/ 8 w 47"/>
                  <a:gd name="T47" fmla="*/ 19 h 41"/>
                  <a:gd name="T48" fmla="*/ 9 w 47"/>
                  <a:gd name="T49" fmla="*/ 26 h 41"/>
                  <a:gd name="T50" fmla="*/ 10 w 47"/>
                  <a:gd name="T51" fmla="*/ 31 h 41"/>
                  <a:gd name="T52" fmla="*/ 27 w 47"/>
                  <a:gd name="T53" fmla="*/ 29 h 41"/>
                  <a:gd name="T54" fmla="*/ 39 w 47"/>
                  <a:gd name="T55" fmla="*/ 27 h 41"/>
                  <a:gd name="T56" fmla="*/ 37 w 47"/>
                  <a:gd name="T57" fmla="*/ 19 h 41"/>
                  <a:gd name="T58" fmla="*/ 36 w 47"/>
                  <a:gd name="T59" fmla="*/ 13 h 41"/>
                  <a:gd name="T60" fmla="*/ 34 w 47"/>
                  <a:gd name="T61" fmla="*/ 10 h 41"/>
                  <a:gd name="T62" fmla="*/ 30 w 47"/>
                  <a:gd name="T63" fmla="*/ 10 h 41"/>
                  <a:gd name="T64" fmla="*/ 27 w 47"/>
                  <a:gd name="T65" fmla="*/ 11 h 41"/>
                  <a:gd name="T66" fmla="*/ 25 w 47"/>
                  <a:gd name="T67" fmla="*/ 14 h 41"/>
                  <a:gd name="T68" fmla="*/ 26 w 47"/>
                  <a:gd name="T69" fmla="*/ 22 h 41"/>
                  <a:gd name="T70" fmla="*/ 27 w 47"/>
                  <a:gd name="T71" fmla="*/ 29 h 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47" h="41">
                    <a:moveTo>
                      <a:pt x="4" y="41"/>
                    </a:moveTo>
                    <a:cubicBezTo>
                      <a:pt x="1" y="24"/>
                      <a:pt x="1" y="24"/>
                      <a:pt x="1" y="24"/>
                    </a:cubicBezTo>
                    <a:cubicBezTo>
                      <a:pt x="1" y="20"/>
                      <a:pt x="0" y="18"/>
                      <a:pt x="0" y="16"/>
                    </a:cubicBezTo>
                    <a:cubicBezTo>
                      <a:pt x="1" y="14"/>
                      <a:pt x="1" y="13"/>
                      <a:pt x="2" y="11"/>
                    </a:cubicBezTo>
                    <a:cubicBezTo>
                      <a:pt x="2" y="10"/>
                      <a:pt x="3" y="9"/>
                      <a:pt x="5" y="7"/>
                    </a:cubicBezTo>
                    <a:cubicBezTo>
                      <a:pt x="6" y="6"/>
                      <a:pt x="8" y="6"/>
                      <a:pt x="10" y="5"/>
                    </a:cubicBezTo>
                    <a:cubicBezTo>
                      <a:pt x="12" y="5"/>
                      <a:pt x="14" y="5"/>
                      <a:pt x="16" y="6"/>
                    </a:cubicBezTo>
                    <a:cubicBezTo>
                      <a:pt x="17" y="7"/>
                      <a:pt x="19" y="8"/>
                      <a:pt x="20" y="10"/>
                    </a:cubicBezTo>
                    <a:cubicBezTo>
                      <a:pt x="20" y="7"/>
                      <a:pt x="21" y="5"/>
                      <a:pt x="23" y="3"/>
                    </a:cubicBezTo>
                    <a:cubicBezTo>
                      <a:pt x="25" y="2"/>
                      <a:pt x="27" y="1"/>
                      <a:pt x="29" y="0"/>
                    </a:cubicBezTo>
                    <a:cubicBezTo>
                      <a:pt x="31" y="0"/>
                      <a:pt x="33" y="0"/>
                      <a:pt x="35" y="1"/>
                    </a:cubicBezTo>
                    <a:cubicBezTo>
                      <a:pt x="37" y="2"/>
                      <a:pt x="39" y="3"/>
                      <a:pt x="40" y="4"/>
                    </a:cubicBezTo>
                    <a:cubicBezTo>
                      <a:pt x="42" y="5"/>
                      <a:pt x="43" y="7"/>
                      <a:pt x="43" y="10"/>
                    </a:cubicBezTo>
                    <a:cubicBezTo>
                      <a:pt x="44" y="11"/>
                      <a:pt x="44" y="15"/>
                      <a:pt x="45" y="20"/>
                    </a:cubicBezTo>
                    <a:cubicBezTo>
                      <a:pt x="47" y="35"/>
                      <a:pt x="47" y="35"/>
                      <a:pt x="47" y="35"/>
                    </a:cubicBezTo>
                    <a:lnTo>
                      <a:pt x="4" y="41"/>
                    </a:lnTo>
                    <a:close/>
                    <a:moveTo>
                      <a:pt x="10" y="31"/>
                    </a:moveTo>
                    <a:cubicBezTo>
                      <a:pt x="20" y="30"/>
                      <a:pt x="20" y="30"/>
                      <a:pt x="20" y="30"/>
                    </a:cubicBezTo>
                    <a:cubicBezTo>
                      <a:pt x="19" y="24"/>
                      <a:pt x="19" y="24"/>
                      <a:pt x="19" y="24"/>
                    </a:cubicBezTo>
                    <a:cubicBezTo>
                      <a:pt x="18" y="21"/>
                      <a:pt x="18" y="19"/>
                      <a:pt x="18" y="18"/>
                    </a:cubicBezTo>
                    <a:cubicBezTo>
                      <a:pt x="17" y="16"/>
                      <a:pt x="17" y="15"/>
                      <a:pt x="16" y="15"/>
                    </a:cubicBezTo>
                    <a:cubicBezTo>
                      <a:pt x="15" y="14"/>
                      <a:pt x="14" y="14"/>
                      <a:pt x="12" y="14"/>
                    </a:cubicBezTo>
                    <a:cubicBezTo>
                      <a:pt x="11" y="14"/>
                      <a:pt x="10" y="14"/>
                      <a:pt x="9" y="15"/>
                    </a:cubicBezTo>
                    <a:cubicBezTo>
                      <a:pt x="8" y="16"/>
                      <a:pt x="8" y="17"/>
                      <a:pt x="8" y="19"/>
                    </a:cubicBezTo>
                    <a:cubicBezTo>
                      <a:pt x="8" y="20"/>
                      <a:pt x="8" y="22"/>
                      <a:pt x="9" y="26"/>
                    </a:cubicBezTo>
                    <a:lnTo>
                      <a:pt x="10" y="31"/>
                    </a:lnTo>
                    <a:close/>
                    <a:moveTo>
                      <a:pt x="27" y="29"/>
                    </a:moveTo>
                    <a:cubicBezTo>
                      <a:pt x="39" y="27"/>
                      <a:pt x="39" y="27"/>
                      <a:pt x="39" y="27"/>
                    </a:cubicBezTo>
                    <a:cubicBezTo>
                      <a:pt x="37" y="19"/>
                      <a:pt x="37" y="19"/>
                      <a:pt x="37" y="19"/>
                    </a:cubicBezTo>
                    <a:cubicBezTo>
                      <a:pt x="37" y="16"/>
                      <a:pt x="37" y="14"/>
                      <a:pt x="36" y="13"/>
                    </a:cubicBezTo>
                    <a:cubicBezTo>
                      <a:pt x="36" y="12"/>
                      <a:pt x="35" y="11"/>
                      <a:pt x="34" y="10"/>
                    </a:cubicBezTo>
                    <a:cubicBezTo>
                      <a:pt x="33" y="10"/>
                      <a:pt x="32" y="9"/>
                      <a:pt x="30" y="10"/>
                    </a:cubicBezTo>
                    <a:cubicBezTo>
                      <a:pt x="29" y="10"/>
                      <a:pt x="28" y="10"/>
                      <a:pt x="27" y="11"/>
                    </a:cubicBezTo>
                    <a:cubicBezTo>
                      <a:pt x="26" y="12"/>
                      <a:pt x="26" y="13"/>
                      <a:pt x="25" y="14"/>
                    </a:cubicBezTo>
                    <a:cubicBezTo>
                      <a:pt x="25" y="15"/>
                      <a:pt x="25" y="18"/>
                      <a:pt x="26" y="22"/>
                    </a:cubicBezTo>
                    <a:lnTo>
                      <a:pt x="27" y="2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349" name="îṩliďè"/>
              <p:cNvSpPr/>
              <p:nvPr/>
            </p:nvSpPr>
            <p:spPr bwMode="auto">
              <a:xfrm>
                <a:off x="3146322" y="5120278"/>
                <a:ext cx="93663" cy="79375"/>
              </a:xfrm>
              <a:custGeom>
                <a:avLst/>
                <a:gdLst>
                  <a:gd name="T0" fmla="*/ 59 w 59"/>
                  <a:gd name="T1" fmla="*/ 37 h 50"/>
                  <a:gd name="T2" fmla="*/ 9 w 59"/>
                  <a:gd name="T3" fmla="*/ 50 h 50"/>
                  <a:gd name="T4" fmla="*/ 0 w 59"/>
                  <a:gd name="T5" fmla="*/ 13 h 50"/>
                  <a:gd name="T6" fmla="*/ 8 w 59"/>
                  <a:gd name="T7" fmla="*/ 10 h 50"/>
                  <a:gd name="T8" fmla="*/ 15 w 59"/>
                  <a:gd name="T9" fmla="*/ 37 h 50"/>
                  <a:gd name="T10" fmla="*/ 25 w 59"/>
                  <a:gd name="T11" fmla="*/ 35 h 50"/>
                  <a:gd name="T12" fmla="*/ 19 w 59"/>
                  <a:gd name="T13" fmla="*/ 9 h 50"/>
                  <a:gd name="T14" fmla="*/ 27 w 59"/>
                  <a:gd name="T15" fmla="*/ 8 h 50"/>
                  <a:gd name="T16" fmla="*/ 34 w 59"/>
                  <a:gd name="T17" fmla="*/ 32 h 50"/>
                  <a:gd name="T18" fmla="*/ 47 w 59"/>
                  <a:gd name="T19" fmla="*/ 29 h 50"/>
                  <a:gd name="T20" fmla="*/ 40 w 59"/>
                  <a:gd name="T21" fmla="*/ 1 h 50"/>
                  <a:gd name="T22" fmla="*/ 49 w 59"/>
                  <a:gd name="T23" fmla="*/ 0 h 50"/>
                  <a:gd name="T24" fmla="*/ 59 w 59"/>
                  <a:gd name="T25" fmla="*/ 37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59" h="50">
                    <a:moveTo>
                      <a:pt x="59" y="37"/>
                    </a:moveTo>
                    <a:lnTo>
                      <a:pt x="9" y="50"/>
                    </a:lnTo>
                    <a:lnTo>
                      <a:pt x="0" y="13"/>
                    </a:lnTo>
                    <a:lnTo>
                      <a:pt x="8" y="10"/>
                    </a:lnTo>
                    <a:lnTo>
                      <a:pt x="15" y="37"/>
                    </a:lnTo>
                    <a:lnTo>
                      <a:pt x="25" y="35"/>
                    </a:lnTo>
                    <a:lnTo>
                      <a:pt x="19" y="9"/>
                    </a:lnTo>
                    <a:lnTo>
                      <a:pt x="27" y="8"/>
                    </a:lnTo>
                    <a:lnTo>
                      <a:pt x="34" y="32"/>
                    </a:lnTo>
                    <a:lnTo>
                      <a:pt x="47" y="29"/>
                    </a:lnTo>
                    <a:lnTo>
                      <a:pt x="40" y="1"/>
                    </a:lnTo>
                    <a:lnTo>
                      <a:pt x="49" y="0"/>
                    </a:lnTo>
                    <a:lnTo>
                      <a:pt x="59" y="3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350" name="iṧlíḋè"/>
              <p:cNvSpPr/>
              <p:nvPr/>
            </p:nvSpPr>
            <p:spPr bwMode="auto">
              <a:xfrm>
                <a:off x="3138384" y="5096465"/>
                <a:ext cx="82550" cy="38100"/>
              </a:xfrm>
              <a:custGeom>
                <a:avLst/>
                <a:gdLst>
                  <a:gd name="T0" fmla="*/ 52 w 52"/>
                  <a:gd name="T1" fmla="*/ 9 h 24"/>
                  <a:gd name="T2" fmla="*/ 3 w 52"/>
                  <a:gd name="T3" fmla="*/ 24 h 24"/>
                  <a:gd name="T4" fmla="*/ 0 w 52"/>
                  <a:gd name="T5" fmla="*/ 15 h 24"/>
                  <a:gd name="T6" fmla="*/ 49 w 52"/>
                  <a:gd name="T7" fmla="*/ 0 h 24"/>
                  <a:gd name="T8" fmla="*/ 52 w 52"/>
                  <a:gd name="T9" fmla="*/ 9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2" h="24">
                    <a:moveTo>
                      <a:pt x="52" y="9"/>
                    </a:moveTo>
                    <a:lnTo>
                      <a:pt x="3" y="24"/>
                    </a:lnTo>
                    <a:lnTo>
                      <a:pt x="0" y="15"/>
                    </a:lnTo>
                    <a:lnTo>
                      <a:pt x="49" y="0"/>
                    </a:lnTo>
                    <a:lnTo>
                      <a:pt x="52" y="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351" name="islïḓè"/>
              <p:cNvSpPr/>
              <p:nvPr/>
            </p:nvSpPr>
            <p:spPr bwMode="auto">
              <a:xfrm>
                <a:off x="3120922" y="5047253"/>
                <a:ext cx="88900" cy="52388"/>
              </a:xfrm>
              <a:custGeom>
                <a:avLst/>
                <a:gdLst>
                  <a:gd name="T0" fmla="*/ 3 w 48"/>
                  <a:gd name="T1" fmla="*/ 20 h 28"/>
                  <a:gd name="T2" fmla="*/ 0 w 48"/>
                  <a:gd name="T3" fmla="*/ 12 h 28"/>
                  <a:gd name="T4" fmla="*/ 26 w 48"/>
                  <a:gd name="T5" fmla="*/ 2 h 28"/>
                  <a:gd name="T6" fmla="*/ 34 w 48"/>
                  <a:gd name="T7" fmla="*/ 0 h 28"/>
                  <a:gd name="T8" fmla="*/ 42 w 48"/>
                  <a:gd name="T9" fmla="*/ 3 h 28"/>
                  <a:gd name="T10" fmla="*/ 47 w 48"/>
                  <a:gd name="T11" fmla="*/ 10 h 28"/>
                  <a:gd name="T12" fmla="*/ 47 w 48"/>
                  <a:gd name="T13" fmla="*/ 21 h 28"/>
                  <a:gd name="T14" fmla="*/ 38 w 48"/>
                  <a:gd name="T15" fmla="*/ 28 h 28"/>
                  <a:gd name="T16" fmla="*/ 34 w 48"/>
                  <a:gd name="T17" fmla="*/ 20 h 28"/>
                  <a:gd name="T18" fmla="*/ 39 w 48"/>
                  <a:gd name="T19" fmla="*/ 17 h 28"/>
                  <a:gd name="T20" fmla="*/ 40 w 48"/>
                  <a:gd name="T21" fmla="*/ 13 h 28"/>
                  <a:gd name="T22" fmla="*/ 37 w 48"/>
                  <a:gd name="T23" fmla="*/ 9 h 28"/>
                  <a:gd name="T24" fmla="*/ 30 w 48"/>
                  <a:gd name="T25" fmla="*/ 10 h 28"/>
                  <a:gd name="T26" fmla="*/ 3 w 48"/>
                  <a:gd name="T27" fmla="*/ 20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48" h="28">
                    <a:moveTo>
                      <a:pt x="3" y="20"/>
                    </a:moveTo>
                    <a:cubicBezTo>
                      <a:pt x="0" y="12"/>
                      <a:pt x="0" y="12"/>
                      <a:pt x="0" y="12"/>
                    </a:cubicBezTo>
                    <a:cubicBezTo>
                      <a:pt x="26" y="2"/>
                      <a:pt x="26" y="2"/>
                      <a:pt x="26" y="2"/>
                    </a:cubicBezTo>
                    <a:cubicBezTo>
                      <a:pt x="29" y="1"/>
                      <a:pt x="32" y="0"/>
                      <a:pt x="34" y="0"/>
                    </a:cubicBezTo>
                    <a:cubicBezTo>
                      <a:pt x="37" y="0"/>
                      <a:pt x="39" y="1"/>
                      <a:pt x="42" y="3"/>
                    </a:cubicBezTo>
                    <a:cubicBezTo>
                      <a:pt x="44" y="4"/>
                      <a:pt x="46" y="7"/>
                      <a:pt x="47" y="10"/>
                    </a:cubicBezTo>
                    <a:cubicBezTo>
                      <a:pt x="48" y="14"/>
                      <a:pt x="48" y="18"/>
                      <a:pt x="47" y="21"/>
                    </a:cubicBezTo>
                    <a:cubicBezTo>
                      <a:pt x="45" y="24"/>
                      <a:pt x="42" y="26"/>
                      <a:pt x="38" y="28"/>
                    </a:cubicBezTo>
                    <a:cubicBezTo>
                      <a:pt x="34" y="20"/>
                      <a:pt x="34" y="20"/>
                      <a:pt x="34" y="20"/>
                    </a:cubicBezTo>
                    <a:cubicBezTo>
                      <a:pt x="37" y="19"/>
                      <a:pt x="38" y="18"/>
                      <a:pt x="39" y="17"/>
                    </a:cubicBezTo>
                    <a:cubicBezTo>
                      <a:pt x="40" y="16"/>
                      <a:pt x="40" y="14"/>
                      <a:pt x="40" y="13"/>
                    </a:cubicBezTo>
                    <a:cubicBezTo>
                      <a:pt x="39" y="11"/>
                      <a:pt x="38" y="10"/>
                      <a:pt x="37" y="9"/>
                    </a:cubicBezTo>
                    <a:cubicBezTo>
                      <a:pt x="35" y="9"/>
                      <a:pt x="33" y="9"/>
                      <a:pt x="30" y="10"/>
                    </a:cubicBezTo>
                    <a:lnTo>
                      <a:pt x="3" y="2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352" name="íṥ1iḍe"/>
              <p:cNvSpPr/>
              <p:nvPr/>
            </p:nvSpPr>
            <p:spPr bwMode="auto">
              <a:xfrm>
                <a:off x="3112984" y="5017090"/>
                <a:ext cx="80963" cy="46038"/>
              </a:xfrm>
              <a:custGeom>
                <a:avLst/>
                <a:gdLst>
                  <a:gd name="T0" fmla="*/ 51 w 51"/>
                  <a:gd name="T1" fmla="*/ 9 h 29"/>
                  <a:gd name="T2" fmla="*/ 3 w 51"/>
                  <a:gd name="T3" fmla="*/ 29 h 29"/>
                  <a:gd name="T4" fmla="*/ 0 w 51"/>
                  <a:gd name="T5" fmla="*/ 19 h 29"/>
                  <a:gd name="T6" fmla="*/ 46 w 51"/>
                  <a:gd name="T7" fmla="*/ 0 h 29"/>
                  <a:gd name="T8" fmla="*/ 51 w 51"/>
                  <a:gd name="T9" fmla="*/ 9 h 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1" h="29">
                    <a:moveTo>
                      <a:pt x="51" y="9"/>
                    </a:moveTo>
                    <a:lnTo>
                      <a:pt x="3" y="29"/>
                    </a:lnTo>
                    <a:lnTo>
                      <a:pt x="0" y="19"/>
                    </a:lnTo>
                    <a:lnTo>
                      <a:pt x="46" y="0"/>
                    </a:lnTo>
                    <a:lnTo>
                      <a:pt x="51" y="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353" name="iṥľîḋé"/>
              <p:cNvSpPr/>
              <p:nvPr/>
            </p:nvSpPr>
            <p:spPr bwMode="auto">
              <a:xfrm>
                <a:off x="3081234" y="4948828"/>
                <a:ext cx="101600" cy="93663"/>
              </a:xfrm>
              <a:custGeom>
                <a:avLst/>
                <a:gdLst>
                  <a:gd name="T0" fmla="*/ 64 w 64"/>
                  <a:gd name="T1" fmla="*/ 36 h 59"/>
                  <a:gd name="T2" fmla="*/ 18 w 64"/>
                  <a:gd name="T3" fmla="*/ 59 h 59"/>
                  <a:gd name="T4" fmla="*/ 14 w 64"/>
                  <a:gd name="T5" fmla="*/ 50 h 59"/>
                  <a:gd name="T6" fmla="*/ 35 w 64"/>
                  <a:gd name="T7" fmla="*/ 16 h 59"/>
                  <a:gd name="T8" fmla="*/ 3 w 64"/>
                  <a:gd name="T9" fmla="*/ 31 h 59"/>
                  <a:gd name="T10" fmla="*/ 0 w 64"/>
                  <a:gd name="T11" fmla="*/ 22 h 59"/>
                  <a:gd name="T12" fmla="*/ 45 w 64"/>
                  <a:gd name="T13" fmla="*/ 0 h 59"/>
                  <a:gd name="T14" fmla="*/ 50 w 64"/>
                  <a:gd name="T15" fmla="*/ 8 h 59"/>
                  <a:gd name="T16" fmla="*/ 29 w 64"/>
                  <a:gd name="T17" fmla="*/ 42 h 59"/>
                  <a:gd name="T18" fmla="*/ 59 w 64"/>
                  <a:gd name="T19" fmla="*/ 26 h 59"/>
                  <a:gd name="T20" fmla="*/ 64 w 64"/>
                  <a:gd name="T21" fmla="*/ 36 h 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64" h="59">
                    <a:moveTo>
                      <a:pt x="64" y="36"/>
                    </a:moveTo>
                    <a:lnTo>
                      <a:pt x="18" y="59"/>
                    </a:lnTo>
                    <a:lnTo>
                      <a:pt x="14" y="50"/>
                    </a:lnTo>
                    <a:lnTo>
                      <a:pt x="35" y="16"/>
                    </a:lnTo>
                    <a:lnTo>
                      <a:pt x="3" y="31"/>
                    </a:lnTo>
                    <a:lnTo>
                      <a:pt x="0" y="22"/>
                    </a:lnTo>
                    <a:lnTo>
                      <a:pt x="45" y="0"/>
                    </a:lnTo>
                    <a:lnTo>
                      <a:pt x="50" y="8"/>
                    </a:lnTo>
                    <a:lnTo>
                      <a:pt x="29" y="42"/>
                    </a:lnTo>
                    <a:lnTo>
                      <a:pt x="59" y="26"/>
                    </a:lnTo>
                    <a:lnTo>
                      <a:pt x="64" y="36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354" name="îślidè"/>
              <p:cNvSpPr/>
              <p:nvPr/>
            </p:nvSpPr>
            <p:spPr bwMode="auto">
              <a:xfrm>
                <a:off x="3047897" y="4877390"/>
                <a:ext cx="84138" cy="88900"/>
              </a:xfrm>
              <a:custGeom>
                <a:avLst/>
                <a:gdLst>
                  <a:gd name="T0" fmla="*/ 28 w 46"/>
                  <a:gd name="T1" fmla="*/ 21 h 48"/>
                  <a:gd name="T2" fmla="*/ 22 w 46"/>
                  <a:gd name="T3" fmla="*/ 25 h 48"/>
                  <a:gd name="T4" fmla="*/ 11 w 46"/>
                  <a:gd name="T5" fmla="*/ 9 h 48"/>
                  <a:gd name="T6" fmla="*/ 26 w 46"/>
                  <a:gd name="T7" fmla="*/ 0 h 48"/>
                  <a:gd name="T8" fmla="*/ 35 w 46"/>
                  <a:gd name="T9" fmla="*/ 4 h 48"/>
                  <a:gd name="T10" fmla="*/ 42 w 46"/>
                  <a:gd name="T11" fmla="*/ 12 h 48"/>
                  <a:gd name="T12" fmla="*/ 46 w 46"/>
                  <a:gd name="T13" fmla="*/ 24 h 48"/>
                  <a:gd name="T14" fmla="*/ 43 w 46"/>
                  <a:gd name="T15" fmla="*/ 35 h 48"/>
                  <a:gd name="T16" fmla="*/ 35 w 46"/>
                  <a:gd name="T17" fmla="*/ 43 h 48"/>
                  <a:gd name="T18" fmla="*/ 23 w 46"/>
                  <a:gd name="T19" fmla="*/ 47 h 48"/>
                  <a:gd name="T20" fmla="*/ 12 w 46"/>
                  <a:gd name="T21" fmla="*/ 45 h 48"/>
                  <a:gd name="T22" fmla="*/ 4 w 46"/>
                  <a:gd name="T23" fmla="*/ 37 h 48"/>
                  <a:gd name="T24" fmla="*/ 0 w 46"/>
                  <a:gd name="T25" fmla="*/ 24 h 48"/>
                  <a:gd name="T26" fmla="*/ 5 w 46"/>
                  <a:gd name="T27" fmla="*/ 14 h 48"/>
                  <a:gd name="T28" fmla="*/ 11 w 46"/>
                  <a:gd name="T29" fmla="*/ 21 h 48"/>
                  <a:gd name="T30" fmla="*/ 9 w 46"/>
                  <a:gd name="T31" fmla="*/ 27 h 48"/>
                  <a:gd name="T32" fmla="*/ 11 w 46"/>
                  <a:gd name="T33" fmla="*/ 33 h 48"/>
                  <a:gd name="T34" fmla="*/ 19 w 46"/>
                  <a:gd name="T35" fmla="*/ 39 h 48"/>
                  <a:gd name="T36" fmla="*/ 30 w 46"/>
                  <a:gd name="T37" fmla="*/ 36 h 48"/>
                  <a:gd name="T38" fmla="*/ 38 w 46"/>
                  <a:gd name="T39" fmla="*/ 26 h 48"/>
                  <a:gd name="T40" fmla="*/ 36 w 46"/>
                  <a:gd name="T41" fmla="*/ 17 h 48"/>
                  <a:gd name="T42" fmla="*/ 32 w 46"/>
                  <a:gd name="T43" fmla="*/ 13 h 48"/>
                  <a:gd name="T44" fmla="*/ 27 w 46"/>
                  <a:gd name="T45" fmla="*/ 10 h 48"/>
                  <a:gd name="T46" fmla="*/ 23 w 46"/>
                  <a:gd name="T47" fmla="*/ 13 h 48"/>
                  <a:gd name="T48" fmla="*/ 28 w 46"/>
                  <a:gd name="T49" fmla="*/ 21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46" h="48">
                    <a:moveTo>
                      <a:pt x="28" y="21"/>
                    </a:moveTo>
                    <a:cubicBezTo>
                      <a:pt x="22" y="25"/>
                      <a:pt x="22" y="25"/>
                      <a:pt x="22" y="25"/>
                    </a:cubicBezTo>
                    <a:cubicBezTo>
                      <a:pt x="11" y="9"/>
                      <a:pt x="11" y="9"/>
                      <a:pt x="11" y="9"/>
                    </a:cubicBezTo>
                    <a:cubicBezTo>
                      <a:pt x="26" y="0"/>
                      <a:pt x="26" y="0"/>
                      <a:pt x="26" y="0"/>
                    </a:cubicBezTo>
                    <a:cubicBezTo>
                      <a:pt x="29" y="1"/>
                      <a:pt x="31" y="2"/>
                      <a:pt x="35" y="4"/>
                    </a:cubicBezTo>
                    <a:cubicBezTo>
                      <a:pt x="38" y="6"/>
                      <a:pt x="40" y="9"/>
                      <a:pt x="42" y="12"/>
                    </a:cubicBezTo>
                    <a:cubicBezTo>
                      <a:pt x="45" y="16"/>
                      <a:pt x="46" y="20"/>
                      <a:pt x="46" y="24"/>
                    </a:cubicBezTo>
                    <a:cubicBezTo>
                      <a:pt x="46" y="28"/>
                      <a:pt x="45" y="31"/>
                      <a:pt x="43" y="35"/>
                    </a:cubicBezTo>
                    <a:cubicBezTo>
                      <a:pt x="41" y="38"/>
                      <a:pt x="38" y="41"/>
                      <a:pt x="35" y="43"/>
                    </a:cubicBezTo>
                    <a:cubicBezTo>
                      <a:pt x="31" y="46"/>
                      <a:pt x="27" y="47"/>
                      <a:pt x="23" y="47"/>
                    </a:cubicBezTo>
                    <a:cubicBezTo>
                      <a:pt x="19" y="48"/>
                      <a:pt x="15" y="47"/>
                      <a:pt x="12" y="45"/>
                    </a:cubicBezTo>
                    <a:cubicBezTo>
                      <a:pt x="9" y="43"/>
                      <a:pt x="6" y="41"/>
                      <a:pt x="4" y="37"/>
                    </a:cubicBezTo>
                    <a:cubicBezTo>
                      <a:pt x="1" y="32"/>
                      <a:pt x="0" y="28"/>
                      <a:pt x="0" y="24"/>
                    </a:cubicBezTo>
                    <a:cubicBezTo>
                      <a:pt x="0" y="21"/>
                      <a:pt x="2" y="17"/>
                      <a:pt x="5" y="14"/>
                    </a:cubicBezTo>
                    <a:cubicBezTo>
                      <a:pt x="11" y="21"/>
                      <a:pt x="11" y="21"/>
                      <a:pt x="11" y="21"/>
                    </a:cubicBezTo>
                    <a:cubicBezTo>
                      <a:pt x="10" y="23"/>
                      <a:pt x="9" y="24"/>
                      <a:pt x="9" y="27"/>
                    </a:cubicBezTo>
                    <a:cubicBezTo>
                      <a:pt x="8" y="29"/>
                      <a:pt x="9" y="31"/>
                      <a:pt x="11" y="33"/>
                    </a:cubicBezTo>
                    <a:cubicBezTo>
                      <a:pt x="13" y="36"/>
                      <a:pt x="15" y="38"/>
                      <a:pt x="19" y="39"/>
                    </a:cubicBezTo>
                    <a:cubicBezTo>
                      <a:pt x="22" y="39"/>
                      <a:pt x="26" y="38"/>
                      <a:pt x="30" y="36"/>
                    </a:cubicBezTo>
                    <a:cubicBezTo>
                      <a:pt x="34" y="33"/>
                      <a:pt x="37" y="30"/>
                      <a:pt x="38" y="26"/>
                    </a:cubicBezTo>
                    <a:cubicBezTo>
                      <a:pt x="39" y="23"/>
                      <a:pt x="38" y="20"/>
                      <a:pt x="36" y="17"/>
                    </a:cubicBezTo>
                    <a:cubicBezTo>
                      <a:pt x="35" y="15"/>
                      <a:pt x="34" y="14"/>
                      <a:pt x="32" y="13"/>
                    </a:cubicBezTo>
                    <a:cubicBezTo>
                      <a:pt x="30" y="11"/>
                      <a:pt x="29" y="10"/>
                      <a:pt x="27" y="10"/>
                    </a:cubicBezTo>
                    <a:cubicBezTo>
                      <a:pt x="23" y="13"/>
                      <a:pt x="23" y="13"/>
                      <a:pt x="23" y="13"/>
                    </a:cubicBezTo>
                    <a:lnTo>
                      <a:pt x="28" y="2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355" name="îŝ1ide"/>
              <p:cNvSpPr/>
              <p:nvPr/>
            </p:nvSpPr>
            <p:spPr bwMode="auto">
              <a:xfrm>
                <a:off x="1981097" y="4907553"/>
                <a:ext cx="931863" cy="969963"/>
              </a:xfrm>
              <a:custGeom>
                <a:avLst/>
                <a:gdLst>
                  <a:gd name="T0" fmla="*/ 488 w 506"/>
                  <a:gd name="T1" fmla="*/ 144 h 525"/>
                  <a:gd name="T2" fmla="*/ 449 w 506"/>
                  <a:gd name="T3" fmla="*/ 161 h 525"/>
                  <a:gd name="T4" fmla="*/ 473 w 506"/>
                  <a:gd name="T5" fmla="*/ 361 h 525"/>
                  <a:gd name="T6" fmla="*/ 434 w 506"/>
                  <a:gd name="T7" fmla="*/ 382 h 525"/>
                  <a:gd name="T8" fmla="*/ 463 w 506"/>
                  <a:gd name="T9" fmla="*/ 392 h 525"/>
                  <a:gd name="T10" fmla="*/ 434 w 506"/>
                  <a:gd name="T11" fmla="*/ 455 h 525"/>
                  <a:gd name="T12" fmla="*/ 418 w 506"/>
                  <a:gd name="T13" fmla="*/ 525 h 525"/>
                  <a:gd name="T14" fmla="*/ 328 w 506"/>
                  <a:gd name="T15" fmla="*/ 392 h 525"/>
                  <a:gd name="T16" fmla="*/ 200 w 506"/>
                  <a:gd name="T17" fmla="*/ 376 h 525"/>
                  <a:gd name="T18" fmla="*/ 179 w 506"/>
                  <a:gd name="T19" fmla="*/ 525 h 525"/>
                  <a:gd name="T20" fmla="*/ 72 w 506"/>
                  <a:gd name="T21" fmla="*/ 510 h 525"/>
                  <a:gd name="T22" fmla="*/ 44 w 506"/>
                  <a:gd name="T23" fmla="*/ 439 h 525"/>
                  <a:gd name="T24" fmla="*/ 72 w 506"/>
                  <a:gd name="T25" fmla="*/ 392 h 525"/>
                  <a:gd name="T26" fmla="*/ 57 w 506"/>
                  <a:gd name="T27" fmla="*/ 382 h 525"/>
                  <a:gd name="T28" fmla="*/ 18 w 506"/>
                  <a:gd name="T29" fmla="*/ 161 h 525"/>
                  <a:gd name="T30" fmla="*/ 56 w 506"/>
                  <a:gd name="T31" fmla="*/ 144 h 525"/>
                  <a:gd name="T32" fmla="*/ 0 w 506"/>
                  <a:gd name="T33" fmla="*/ 21 h 525"/>
                  <a:gd name="T34" fmla="*/ 92 w 506"/>
                  <a:gd name="T35" fmla="*/ 21 h 525"/>
                  <a:gd name="T36" fmla="*/ 403 w 506"/>
                  <a:gd name="T37" fmla="*/ 82 h 525"/>
                  <a:gd name="T38" fmla="*/ 457 w 506"/>
                  <a:gd name="T39" fmla="*/ 0 h 525"/>
                  <a:gd name="T40" fmla="*/ 461 w 506"/>
                  <a:gd name="T41" fmla="*/ 82 h 525"/>
                  <a:gd name="T42" fmla="*/ 455 w 506"/>
                  <a:gd name="T43" fmla="*/ 24 h 525"/>
                  <a:gd name="T44" fmla="*/ 435 w 506"/>
                  <a:gd name="T45" fmla="*/ 82 h 525"/>
                  <a:gd name="T46" fmla="*/ 454 w 506"/>
                  <a:gd name="T47" fmla="*/ 127 h 525"/>
                  <a:gd name="T48" fmla="*/ 49 w 506"/>
                  <a:gd name="T49" fmla="*/ 112 h 525"/>
                  <a:gd name="T50" fmla="*/ 78 w 506"/>
                  <a:gd name="T51" fmla="*/ 127 h 525"/>
                  <a:gd name="T52" fmla="*/ 81 w 506"/>
                  <a:gd name="T53" fmla="*/ 161 h 525"/>
                  <a:gd name="T54" fmla="*/ 426 w 506"/>
                  <a:gd name="T55" fmla="*/ 145 h 525"/>
                  <a:gd name="T56" fmla="*/ 454 w 506"/>
                  <a:gd name="T57" fmla="*/ 127 h 525"/>
                  <a:gd name="T58" fmla="*/ 450 w 506"/>
                  <a:gd name="T59" fmla="*/ 178 h 525"/>
                  <a:gd name="T60" fmla="*/ 65 w 506"/>
                  <a:gd name="T61" fmla="*/ 335 h 525"/>
                  <a:gd name="T62" fmla="*/ 421 w 506"/>
                  <a:gd name="T63" fmla="*/ 349 h 525"/>
                  <a:gd name="T64" fmla="*/ 398 w 506"/>
                  <a:gd name="T65" fmla="*/ 490 h 525"/>
                  <a:gd name="T66" fmla="*/ 356 w 506"/>
                  <a:gd name="T67" fmla="*/ 371 h 525"/>
                  <a:gd name="T68" fmla="*/ 389 w 506"/>
                  <a:gd name="T69" fmla="*/ 496 h 525"/>
                  <a:gd name="T70" fmla="*/ 150 w 506"/>
                  <a:gd name="T71" fmla="*/ 496 h 525"/>
                  <a:gd name="T72" fmla="*/ 108 w 506"/>
                  <a:gd name="T73" fmla="*/ 371 h 525"/>
                  <a:gd name="T74" fmla="*/ 117 w 506"/>
                  <a:gd name="T75" fmla="*/ 496 h 525"/>
                  <a:gd name="T76" fmla="*/ 71 w 506"/>
                  <a:gd name="T77" fmla="*/ 82 h 525"/>
                  <a:gd name="T78" fmla="*/ 51 w 506"/>
                  <a:gd name="T79" fmla="*/ 24 h 525"/>
                  <a:gd name="T80" fmla="*/ 45 w 506"/>
                  <a:gd name="T81" fmla="*/ 82 h 5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506" h="525">
                    <a:moveTo>
                      <a:pt x="506" y="21"/>
                    </a:moveTo>
                    <a:cubicBezTo>
                      <a:pt x="488" y="144"/>
                      <a:pt x="488" y="144"/>
                      <a:pt x="488" y="144"/>
                    </a:cubicBezTo>
                    <a:cubicBezTo>
                      <a:pt x="450" y="144"/>
                      <a:pt x="450" y="144"/>
                      <a:pt x="450" y="144"/>
                    </a:cubicBezTo>
                    <a:cubicBezTo>
                      <a:pt x="449" y="161"/>
                      <a:pt x="449" y="161"/>
                      <a:pt x="449" y="161"/>
                    </a:cubicBezTo>
                    <a:cubicBezTo>
                      <a:pt x="488" y="161"/>
                      <a:pt x="488" y="161"/>
                      <a:pt x="488" y="161"/>
                    </a:cubicBezTo>
                    <a:cubicBezTo>
                      <a:pt x="473" y="361"/>
                      <a:pt x="473" y="361"/>
                      <a:pt x="473" y="361"/>
                    </a:cubicBezTo>
                    <a:cubicBezTo>
                      <a:pt x="473" y="372"/>
                      <a:pt x="462" y="382"/>
                      <a:pt x="450" y="382"/>
                    </a:cubicBezTo>
                    <a:cubicBezTo>
                      <a:pt x="434" y="382"/>
                      <a:pt x="434" y="382"/>
                      <a:pt x="434" y="382"/>
                    </a:cubicBezTo>
                    <a:cubicBezTo>
                      <a:pt x="434" y="392"/>
                      <a:pt x="434" y="392"/>
                      <a:pt x="434" y="392"/>
                    </a:cubicBezTo>
                    <a:cubicBezTo>
                      <a:pt x="463" y="392"/>
                      <a:pt x="463" y="392"/>
                      <a:pt x="463" y="392"/>
                    </a:cubicBezTo>
                    <a:cubicBezTo>
                      <a:pt x="463" y="439"/>
                      <a:pt x="463" y="439"/>
                      <a:pt x="463" y="439"/>
                    </a:cubicBezTo>
                    <a:cubicBezTo>
                      <a:pt x="463" y="448"/>
                      <a:pt x="450" y="455"/>
                      <a:pt x="434" y="455"/>
                    </a:cubicBezTo>
                    <a:cubicBezTo>
                      <a:pt x="434" y="510"/>
                      <a:pt x="434" y="510"/>
                      <a:pt x="434" y="510"/>
                    </a:cubicBezTo>
                    <a:cubicBezTo>
                      <a:pt x="434" y="518"/>
                      <a:pt x="427" y="525"/>
                      <a:pt x="418" y="525"/>
                    </a:cubicBezTo>
                    <a:cubicBezTo>
                      <a:pt x="328" y="525"/>
                      <a:pt x="328" y="525"/>
                      <a:pt x="328" y="525"/>
                    </a:cubicBezTo>
                    <a:cubicBezTo>
                      <a:pt x="328" y="392"/>
                      <a:pt x="328" y="392"/>
                      <a:pt x="328" y="392"/>
                    </a:cubicBezTo>
                    <a:cubicBezTo>
                      <a:pt x="328" y="383"/>
                      <a:pt x="318" y="376"/>
                      <a:pt x="307" y="376"/>
                    </a:cubicBezTo>
                    <a:cubicBezTo>
                      <a:pt x="200" y="376"/>
                      <a:pt x="200" y="376"/>
                      <a:pt x="200" y="376"/>
                    </a:cubicBezTo>
                    <a:cubicBezTo>
                      <a:pt x="188" y="376"/>
                      <a:pt x="179" y="383"/>
                      <a:pt x="179" y="392"/>
                    </a:cubicBezTo>
                    <a:cubicBezTo>
                      <a:pt x="179" y="525"/>
                      <a:pt x="179" y="525"/>
                      <a:pt x="179" y="525"/>
                    </a:cubicBezTo>
                    <a:cubicBezTo>
                      <a:pt x="89" y="525"/>
                      <a:pt x="89" y="525"/>
                      <a:pt x="89" y="525"/>
                    </a:cubicBezTo>
                    <a:cubicBezTo>
                      <a:pt x="80" y="525"/>
                      <a:pt x="72" y="518"/>
                      <a:pt x="72" y="510"/>
                    </a:cubicBezTo>
                    <a:cubicBezTo>
                      <a:pt x="72" y="455"/>
                      <a:pt x="72" y="455"/>
                      <a:pt x="72" y="455"/>
                    </a:cubicBezTo>
                    <a:cubicBezTo>
                      <a:pt x="56" y="455"/>
                      <a:pt x="44" y="448"/>
                      <a:pt x="44" y="439"/>
                    </a:cubicBezTo>
                    <a:cubicBezTo>
                      <a:pt x="44" y="392"/>
                      <a:pt x="44" y="392"/>
                      <a:pt x="44" y="392"/>
                    </a:cubicBezTo>
                    <a:cubicBezTo>
                      <a:pt x="72" y="392"/>
                      <a:pt x="72" y="392"/>
                      <a:pt x="72" y="392"/>
                    </a:cubicBezTo>
                    <a:cubicBezTo>
                      <a:pt x="72" y="382"/>
                      <a:pt x="72" y="382"/>
                      <a:pt x="72" y="382"/>
                    </a:cubicBezTo>
                    <a:cubicBezTo>
                      <a:pt x="57" y="382"/>
                      <a:pt x="57" y="382"/>
                      <a:pt x="57" y="382"/>
                    </a:cubicBezTo>
                    <a:cubicBezTo>
                      <a:pt x="44" y="382"/>
                      <a:pt x="34" y="372"/>
                      <a:pt x="34" y="361"/>
                    </a:cubicBezTo>
                    <a:cubicBezTo>
                      <a:pt x="18" y="161"/>
                      <a:pt x="18" y="161"/>
                      <a:pt x="18" y="161"/>
                    </a:cubicBezTo>
                    <a:cubicBezTo>
                      <a:pt x="58" y="161"/>
                      <a:pt x="58" y="161"/>
                      <a:pt x="58" y="161"/>
                    </a:cubicBezTo>
                    <a:cubicBezTo>
                      <a:pt x="56" y="144"/>
                      <a:pt x="56" y="144"/>
                      <a:pt x="56" y="144"/>
                    </a:cubicBezTo>
                    <a:cubicBezTo>
                      <a:pt x="18" y="144"/>
                      <a:pt x="18" y="144"/>
                      <a:pt x="18" y="144"/>
                    </a:cubicBezTo>
                    <a:cubicBezTo>
                      <a:pt x="0" y="21"/>
                      <a:pt x="0" y="21"/>
                      <a:pt x="0" y="21"/>
                    </a:cubicBezTo>
                    <a:cubicBezTo>
                      <a:pt x="2" y="7"/>
                      <a:pt x="31" y="0"/>
                      <a:pt x="49" y="0"/>
                    </a:cubicBezTo>
                    <a:cubicBezTo>
                      <a:pt x="73" y="0"/>
                      <a:pt x="80" y="3"/>
                      <a:pt x="92" y="21"/>
                    </a:cubicBezTo>
                    <a:cubicBezTo>
                      <a:pt x="103" y="82"/>
                      <a:pt x="103" y="82"/>
                      <a:pt x="103" y="82"/>
                    </a:cubicBezTo>
                    <a:cubicBezTo>
                      <a:pt x="403" y="82"/>
                      <a:pt x="403" y="82"/>
                      <a:pt x="403" y="82"/>
                    </a:cubicBezTo>
                    <a:cubicBezTo>
                      <a:pt x="415" y="21"/>
                      <a:pt x="415" y="21"/>
                      <a:pt x="415" y="21"/>
                    </a:cubicBezTo>
                    <a:cubicBezTo>
                      <a:pt x="426" y="3"/>
                      <a:pt x="433" y="0"/>
                      <a:pt x="457" y="0"/>
                    </a:cubicBezTo>
                    <a:cubicBezTo>
                      <a:pt x="475" y="0"/>
                      <a:pt x="504" y="7"/>
                      <a:pt x="506" y="21"/>
                    </a:cubicBezTo>
                    <a:close/>
                    <a:moveTo>
                      <a:pt x="461" y="82"/>
                    </a:moveTo>
                    <a:cubicBezTo>
                      <a:pt x="469" y="32"/>
                      <a:pt x="469" y="32"/>
                      <a:pt x="469" y="32"/>
                    </a:cubicBezTo>
                    <a:cubicBezTo>
                      <a:pt x="469" y="24"/>
                      <a:pt x="463" y="24"/>
                      <a:pt x="455" y="24"/>
                    </a:cubicBezTo>
                    <a:cubicBezTo>
                      <a:pt x="450" y="24"/>
                      <a:pt x="447" y="26"/>
                      <a:pt x="445" y="32"/>
                    </a:cubicBezTo>
                    <a:cubicBezTo>
                      <a:pt x="435" y="82"/>
                      <a:pt x="435" y="82"/>
                      <a:pt x="435" y="82"/>
                    </a:cubicBezTo>
                    <a:lnTo>
                      <a:pt x="461" y="82"/>
                    </a:lnTo>
                    <a:close/>
                    <a:moveTo>
                      <a:pt x="454" y="127"/>
                    </a:moveTo>
                    <a:cubicBezTo>
                      <a:pt x="457" y="112"/>
                      <a:pt x="457" y="112"/>
                      <a:pt x="457" y="112"/>
                    </a:cubicBezTo>
                    <a:cubicBezTo>
                      <a:pt x="49" y="112"/>
                      <a:pt x="49" y="112"/>
                      <a:pt x="49" y="112"/>
                    </a:cubicBezTo>
                    <a:cubicBezTo>
                      <a:pt x="52" y="127"/>
                      <a:pt x="52" y="127"/>
                      <a:pt x="52" y="127"/>
                    </a:cubicBezTo>
                    <a:cubicBezTo>
                      <a:pt x="78" y="127"/>
                      <a:pt x="78" y="127"/>
                      <a:pt x="78" y="127"/>
                    </a:cubicBezTo>
                    <a:cubicBezTo>
                      <a:pt x="80" y="145"/>
                      <a:pt x="80" y="145"/>
                      <a:pt x="80" y="145"/>
                    </a:cubicBezTo>
                    <a:cubicBezTo>
                      <a:pt x="81" y="161"/>
                      <a:pt x="81" y="161"/>
                      <a:pt x="81" y="161"/>
                    </a:cubicBezTo>
                    <a:cubicBezTo>
                      <a:pt x="425" y="161"/>
                      <a:pt x="425" y="161"/>
                      <a:pt x="425" y="161"/>
                    </a:cubicBezTo>
                    <a:cubicBezTo>
                      <a:pt x="426" y="145"/>
                      <a:pt x="426" y="145"/>
                      <a:pt x="426" y="145"/>
                    </a:cubicBezTo>
                    <a:cubicBezTo>
                      <a:pt x="428" y="127"/>
                      <a:pt x="428" y="127"/>
                      <a:pt x="428" y="127"/>
                    </a:cubicBezTo>
                    <a:lnTo>
                      <a:pt x="454" y="127"/>
                    </a:lnTo>
                    <a:close/>
                    <a:moveTo>
                      <a:pt x="441" y="335"/>
                    </a:moveTo>
                    <a:cubicBezTo>
                      <a:pt x="450" y="178"/>
                      <a:pt x="450" y="178"/>
                      <a:pt x="450" y="178"/>
                    </a:cubicBezTo>
                    <a:cubicBezTo>
                      <a:pt x="56" y="178"/>
                      <a:pt x="56" y="178"/>
                      <a:pt x="56" y="178"/>
                    </a:cubicBezTo>
                    <a:cubicBezTo>
                      <a:pt x="65" y="335"/>
                      <a:pt x="65" y="335"/>
                      <a:pt x="65" y="335"/>
                    </a:cubicBezTo>
                    <a:cubicBezTo>
                      <a:pt x="65" y="343"/>
                      <a:pt x="74" y="349"/>
                      <a:pt x="85" y="349"/>
                    </a:cubicBezTo>
                    <a:cubicBezTo>
                      <a:pt x="421" y="349"/>
                      <a:pt x="421" y="349"/>
                      <a:pt x="421" y="349"/>
                    </a:cubicBezTo>
                    <a:cubicBezTo>
                      <a:pt x="432" y="349"/>
                      <a:pt x="441" y="343"/>
                      <a:pt x="441" y="335"/>
                    </a:cubicBezTo>
                    <a:close/>
                    <a:moveTo>
                      <a:pt x="398" y="490"/>
                    </a:moveTo>
                    <a:cubicBezTo>
                      <a:pt x="398" y="371"/>
                      <a:pt x="398" y="371"/>
                      <a:pt x="398" y="371"/>
                    </a:cubicBezTo>
                    <a:cubicBezTo>
                      <a:pt x="356" y="371"/>
                      <a:pt x="356" y="371"/>
                      <a:pt x="356" y="371"/>
                    </a:cubicBezTo>
                    <a:cubicBezTo>
                      <a:pt x="356" y="496"/>
                      <a:pt x="356" y="496"/>
                      <a:pt x="356" y="496"/>
                    </a:cubicBezTo>
                    <a:cubicBezTo>
                      <a:pt x="389" y="496"/>
                      <a:pt x="389" y="496"/>
                      <a:pt x="389" y="496"/>
                    </a:cubicBezTo>
                    <a:cubicBezTo>
                      <a:pt x="394" y="496"/>
                      <a:pt x="398" y="496"/>
                      <a:pt x="398" y="490"/>
                    </a:cubicBezTo>
                    <a:close/>
                    <a:moveTo>
                      <a:pt x="150" y="496"/>
                    </a:moveTo>
                    <a:cubicBezTo>
                      <a:pt x="150" y="371"/>
                      <a:pt x="150" y="371"/>
                      <a:pt x="150" y="371"/>
                    </a:cubicBezTo>
                    <a:cubicBezTo>
                      <a:pt x="108" y="371"/>
                      <a:pt x="108" y="371"/>
                      <a:pt x="108" y="371"/>
                    </a:cubicBezTo>
                    <a:cubicBezTo>
                      <a:pt x="108" y="490"/>
                      <a:pt x="108" y="490"/>
                      <a:pt x="108" y="490"/>
                    </a:cubicBezTo>
                    <a:cubicBezTo>
                      <a:pt x="108" y="496"/>
                      <a:pt x="112" y="496"/>
                      <a:pt x="117" y="496"/>
                    </a:cubicBezTo>
                    <a:lnTo>
                      <a:pt x="150" y="496"/>
                    </a:lnTo>
                    <a:close/>
                    <a:moveTo>
                      <a:pt x="71" y="82"/>
                    </a:moveTo>
                    <a:cubicBezTo>
                      <a:pt x="61" y="32"/>
                      <a:pt x="61" y="32"/>
                      <a:pt x="61" y="32"/>
                    </a:cubicBezTo>
                    <a:cubicBezTo>
                      <a:pt x="60" y="26"/>
                      <a:pt x="57" y="24"/>
                      <a:pt x="51" y="24"/>
                    </a:cubicBezTo>
                    <a:cubicBezTo>
                      <a:pt x="43" y="24"/>
                      <a:pt x="37" y="24"/>
                      <a:pt x="37" y="32"/>
                    </a:cubicBezTo>
                    <a:cubicBezTo>
                      <a:pt x="45" y="82"/>
                      <a:pt x="45" y="82"/>
                      <a:pt x="45" y="82"/>
                    </a:cubicBezTo>
                    <a:lnTo>
                      <a:pt x="71" y="8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356" name="í$ḻíde"/>
              <p:cNvSpPr/>
              <p:nvPr/>
            </p:nvSpPr>
            <p:spPr bwMode="auto">
              <a:xfrm>
                <a:off x="2144609" y="5142503"/>
                <a:ext cx="604838" cy="31750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</p:grpSp>
        <p:grpSp>
          <p:nvGrpSpPr>
            <p:cNvPr id="130" name="组合 129"/>
            <p:cNvGrpSpPr/>
            <p:nvPr userDrawn="1"/>
          </p:nvGrpSpPr>
          <p:grpSpPr>
            <a:xfrm>
              <a:off x="10250573" y="283036"/>
              <a:ext cx="1640266" cy="338554"/>
              <a:chOff x="5180266" y="4756740"/>
              <a:chExt cx="5753100" cy="1187451"/>
            </a:xfrm>
            <a:solidFill>
              <a:srgbClr val="CA351C"/>
            </a:solidFill>
          </p:grpSpPr>
          <p:sp>
            <p:nvSpPr>
              <p:cNvPr id="131" name="ïṩļîḑê"/>
              <p:cNvSpPr/>
              <p:nvPr/>
            </p:nvSpPr>
            <p:spPr bwMode="auto">
              <a:xfrm>
                <a:off x="10319003" y="4805953"/>
                <a:ext cx="600075" cy="771525"/>
              </a:xfrm>
              <a:custGeom>
                <a:avLst/>
                <a:gdLst>
                  <a:gd name="T0" fmla="*/ 210 w 325"/>
                  <a:gd name="T1" fmla="*/ 140 h 418"/>
                  <a:gd name="T2" fmla="*/ 237 w 325"/>
                  <a:gd name="T3" fmla="*/ 155 h 418"/>
                  <a:gd name="T4" fmla="*/ 161 w 325"/>
                  <a:gd name="T5" fmla="*/ 179 h 418"/>
                  <a:gd name="T6" fmla="*/ 187 w 325"/>
                  <a:gd name="T7" fmla="*/ 68 h 418"/>
                  <a:gd name="T8" fmla="*/ 230 w 325"/>
                  <a:gd name="T9" fmla="*/ 40 h 418"/>
                  <a:gd name="T10" fmla="*/ 199 w 325"/>
                  <a:gd name="T11" fmla="*/ 85 h 418"/>
                  <a:gd name="T12" fmla="*/ 99 w 325"/>
                  <a:gd name="T13" fmla="*/ 132 h 418"/>
                  <a:gd name="T14" fmla="*/ 132 w 325"/>
                  <a:gd name="T15" fmla="*/ 83 h 418"/>
                  <a:gd name="T16" fmla="*/ 174 w 325"/>
                  <a:gd name="T17" fmla="*/ 116 h 418"/>
                  <a:gd name="T18" fmla="*/ 59 w 325"/>
                  <a:gd name="T19" fmla="*/ 198 h 418"/>
                  <a:gd name="T20" fmla="*/ 16 w 325"/>
                  <a:gd name="T21" fmla="*/ 224 h 418"/>
                  <a:gd name="T22" fmla="*/ 17 w 325"/>
                  <a:gd name="T23" fmla="*/ 314 h 418"/>
                  <a:gd name="T24" fmla="*/ 55 w 325"/>
                  <a:gd name="T25" fmla="*/ 244 h 418"/>
                  <a:gd name="T26" fmla="*/ 131 w 325"/>
                  <a:gd name="T27" fmla="*/ 194 h 418"/>
                  <a:gd name="T28" fmla="*/ 111 w 325"/>
                  <a:gd name="T29" fmla="*/ 251 h 418"/>
                  <a:gd name="T30" fmla="*/ 148 w 325"/>
                  <a:gd name="T31" fmla="*/ 246 h 418"/>
                  <a:gd name="T32" fmla="*/ 184 w 325"/>
                  <a:gd name="T33" fmla="*/ 243 h 418"/>
                  <a:gd name="T34" fmla="*/ 131 w 325"/>
                  <a:gd name="T35" fmla="*/ 281 h 418"/>
                  <a:gd name="T36" fmla="*/ 76 w 325"/>
                  <a:gd name="T37" fmla="*/ 299 h 418"/>
                  <a:gd name="T38" fmla="*/ 134 w 325"/>
                  <a:gd name="T39" fmla="*/ 334 h 418"/>
                  <a:gd name="T40" fmla="*/ 203 w 325"/>
                  <a:gd name="T41" fmla="*/ 298 h 418"/>
                  <a:gd name="T42" fmla="*/ 206 w 325"/>
                  <a:gd name="T43" fmla="*/ 350 h 418"/>
                  <a:gd name="T44" fmla="*/ 165 w 325"/>
                  <a:gd name="T45" fmla="*/ 378 h 418"/>
                  <a:gd name="T46" fmla="*/ 144 w 325"/>
                  <a:gd name="T47" fmla="*/ 410 h 418"/>
                  <a:gd name="T48" fmla="*/ 228 w 325"/>
                  <a:gd name="T49" fmla="*/ 408 h 418"/>
                  <a:gd name="T50" fmla="*/ 239 w 325"/>
                  <a:gd name="T51" fmla="*/ 307 h 418"/>
                  <a:gd name="T52" fmla="*/ 273 w 325"/>
                  <a:gd name="T53" fmla="*/ 283 h 418"/>
                  <a:gd name="T54" fmla="*/ 271 w 325"/>
                  <a:gd name="T55" fmla="*/ 239 h 418"/>
                  <a:gd name="T56" fmla="*/ 233 w 325"/>
                  <a:gd name="T57" fmla="*/ 226 h 418"/>
                  <a:gd name="T58" fmla="*/ 261 w 325"/>
                  <a:gd name="T59" fmla="*/ 181 h 418"/>
                  <a:gd name="T60" fmla="*/ 316 w 325"/>
                  <a:gd name="T61" fmla="*/ 167 h 418"/>
                  <a:gd name="T62" fmla="*/ 297 w 325"/>
                  <a:gd name="T63" fmla="*/ 119 h 418"/>
                  <a:gd name="T64" fmla="*/ 251 w 325"/>
                  <a:gd name="T65" fmla="*/ 93 h 418"/>
                  <a:gd name="T66" fmla="*/ 276 w 325"/>
                  <a:gd name="T67" fmla="*/ 34 h 418"/>
                  <a:gd name="T68" fmla="*/ 217 w 325"/>
                  <a:gd name="T69" fmla="*/ 11 h 418"/>
                  <a:gd name="T70" fmla="*/ 164 w 325"/>
                  <a:gd name="T71" fmla="*/ 29 h 418"/>
                  <a:gd name="T72" fmla="*/ 136 w 325"/>
                  <a:gd name="T73" fmla="*/ 43 h 418"/>
                  <a:gd name="T74" fmla="*/ 113 w 325"/>
                  <a:gd name="T75" fmla="*/ 21 h 418"/>
                  <a:gd name="T76" fmla="*/ 78 w 325"/>
                  <a:gd name="T77" fmla="*/ 52 h 4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325" h="418">
                    <a:moveTo>
                      <a:pt x="161" y="179"/>
                    </a:moveTo>
                    <a:cubicBezTo>
                      <a:pt x="160" y="178"/>
                      <a:pt x="188" y="143"/>
                      <a:pt x="210" y="140"/>
                    </a:cubicBezTo>
                    <a:cubicBezTo>
                      <a:pt x="232" y="137"/>
                      <a:pt x="226" y="133"/>
                      <a:pt x="238" y="138"/>
                    </a:cubicBezTo>
                    <a:cubicBezTo>
                      <a:pt x="250" y="144"/>
                      <a:pt x="252" y="148"/>
                      <a:pt x="237" y="155"/>
                    </a:cubicBezTo>
                    <a:cubicBezTo>
                      <a:pt x="222" y="162"/>
                      <a:pt x="215" y="168"/>
                      <a:pt x="196" y="171"/>
                    </a:cubicBezTo>
                    <a:cubicBezTo>
                      <a:pt x="177" y="175"/>
                      <a:pt x="163" y="181"/>
                      <a:pt x="161" y="179"/>
                    </a:cubicBezTo>
                    <a:close/>
                    <a:moveTo>
                      <a:pt x="199" y="85"/>
                    </a:moveTo>
                    <a:cubicBezTo>
                      <a:pt x="197" y="87"/>
                      <a:pt x="186" y="79"/>
                      <a:pt x="187" y="68"/>
                    </a:cubicBezTo>
                    <a:cubicBezTo>
                      <a:pt x="188" y="57"/>
                      <a:pt x="197" y="38"/>
                      <a:pt x="211" y="34"/>
                    </a:cubicBezTo>
                    <a:cubicBezTo>
                      <a:pt x="225" y="30"/>
                      <a:pt x="230" y="30"/>
                      <a:pt x="230" y="40"/>
                    </a:cubicBezTo>
                    <a:cubicBezTo>
                      <a:pt x="229" y="51"/>
                      <a:pt x="229" y="62"/>
                      <a:pt x="219" y="71"/>
                    </a:cubicBezTo>
                    <a:cubicBezTo>
                      <a:pt x="210" y="80"/>
                      <a:pt x="201" y="84"/>
                      <a:pt x="199" y="85"/>
                    </a:cubicBezTo>
                    <a:close/>
                    <a:moveTo>
                      <a:pt x="79" y="112"/>
                    </a:moveTo>
                    <a:cubicBezTo>
                      <a:pt x="79" y="113"/>
                      <a:pt x="87" y="125"/>
                      <a:pt x="99" y="132"/>
                    </a:cubicBezTo>
                    <a:cubicBezTo>
                      <a:pt x="112" y="138"/>
                      <a:pt x="119" y="135"/>
                      <a:pt x="129" y="127"/>
                    </a:cubicBezTo>
                    <a:cubicBezTo>
                      <a:pt x="139" y="118"/>
                      <a:pt x="130" y="95"/>
                      <a:pt x="132" y="83"/>
                    </a:cubicBezTo>
                    <a:cubicBezTo>
                      <a:pt x="135" y="70"/>
                      <a:pt x="136" y="73"/>
                      <a:pt x="146" y="75"/>
                    </a:cubicBezTo>
                    <a:cubicBezTo>
                      <a:pt x="156" y="76"/>
                      <a:pt x="173" y="108"/>
                      <a:pt x="174" y="116"/>
                    </a:cubicBezTo>
                    <a:cubicBezTo>
                      <a:pt x="174" y="123"/>
                      <a:pt x="170" y="123"/>
                      <a:pt x="128" y="142"/>
                    </a:cubicBezTo>
                    <a:cubicBezTo>
                      <a:pt x="86" y="161"/>
                      <a:pt x="67" y="195"/>
                      <a:pt x="59" y="198"/>
                    </a:cubicBezTo>
                    <a:cubicBezTo>
                      <a:pt x="52" y="202"/>
                      <a:pt x="55" y="191"/>
                      <a:pt x="40" y="188"/>
                    </a:cubicBezTo>
                    <a:cubicBezTo>
                      <a:pt x="26" y="186"/>
                      <a:pt x="23" y="211"/>
                      <a:pt x="16" y="224"/>
                    </a:cubicBezTo>
                    <a:cubicBezTo>
                      <a:pt x="8" y="238"/>
                      <a:pt x="5" y="266"/>
                      <a:pt x="5" y="277"/>
                    </a:cubicBezTo>
                    <a:cubicBezTo>
                      <a:pt x="5" y="288"/>
                      <a:pt x="0" y="301"/>
                      <a:pt x="17" y="314"/>
                    </a:cubicBezTo>
                    <a:cubicBezTo>
                      <a:pt x="33" y="326"/>
                      <a:pt x="49" y="311"/>
                      <a:pt x="53" y="304"/>
                    </a:cubicBezTo>
                    <a:cubicBezTo>
                      <a:pt x="57" y="298"/>
                      <a:pt x="53" y="269"/>
                      <a:pt x="55" y="244"/>
                    </a:cubicBezTo>
                    <a:cubicBezTo>
                      <a:pt x="57" y="220"/>
                      <a:pt x="89" y="204"/>
                      <a:pt x="100" y="197"/>
                    </a:cubicBezTo>
                    <a:cubicBezTo>
                      <a:pt x="115" y="189"/>
                      <a:pt x="129" y="190"/>
                      <a:pt x="131" y="194"/>
                    </a:cubicBezTo>
                    <a:cubicBezTo>
                      <a:pt x="134" y="197"/>
                      <a:pt x="119" y="214"/>
                      <a:pt x="112" y="219"/>
                    </a:cubicBezTo>
                    <a:cubicBezTo>
                      <a:pt x="105" y="224"/>
                      <a:pt x="110" y="244"/>
                      <a:pt x="111" y="251"/>
                    </a:cubicBezTo>
                    <a:cubicBezTo>
                      <a:pt x="113" y="257"/>
                      <a:pt x="111" y="260"/>
                      <a:pt x="125" y="265"/>
                    </a:cubicBezTo>
                    <a:cubicBezTo>
                      <a:pt x="142" y="271"/>
                      <a:pt x="139" y="257"/>
                      <a:pt x="148" y="246"/>
                    </a:cubicBezTo>
                    <a:cubicBezTo>
                      <a:pt x="157" y="236"/>
                      <a:pt x="163" y="224"/>
                      <a:pt x="170" y="224"/>
                    </a:cubicBezTo>
                    <a:cubicBezTo>
                      <a:pt x="177" y="224"/>
                      <a:pt x="180" y="238"/>
                      <a:pt x="184" y="243"/>
                    </a:cubicBezTo>
                    <a:cubicBezTo>
                      <a:pt x="187" y="248"/>
                      <a:pt x="189" y="257"/>
                      <a:pt x="177" y="263"/>
                    </a:cubicBezTo>
                    <a:cubicBezTo>
                      <a:pt x="165" y="269"/>
                      <a:pt x="131" y="281"/>
                      <a:pt x="131" y="281"/>
                    </a:cubicBezTo>
                    <a:cubicBezTo>
                      <a:pt x="131" y="281"/>
                      <a:pt x="112" y="284"/>
                      <a:pt x="101" y="287"/>
                    </a:cubicBezTo>
                    <a:cubicBezTo>
                      <a:pt x="90" y="289"/>
                      <a:pt x="78" y="285"/>
                      <a:pt x="76" y="299"/>
                    </a:cubicBezTo>
                    <a:cubicBezTo>
                      <a:pt x="73" y="312"/>
                      <a:pt x="78" y="305"/>
                      <a:pt x="86" y="319"/>
                    </a:cubicBezTo>
                    <a:cubicBezTo>
                      <a:pt x="94" y="333"/>
                      <a:pt x="119" y="337"/>
                      <a:pt x="134" y="334"/>
                    </a:cubicBezTo>
                    <a:cubicBezTo>
                      <a:pt x="149" y="332"/>
                      <a:pt x="157" y="324"/>
                      <a:pt x="168" y="316"/>
                    </a:cubicBezTo>
                    <a:cubicBezTo>
                      <a:pt x="178" y="308"/>
                      <a:pt x="194" y="298"/>
                      <a:pt x="203" y="298"/>
                    </a:cubicBezTo>
                    <a:cubicBezTo>
                      <a:pt x="211" y="299"/>
                      <a:pt x="211" y="311"/>
                      <a:pt x="211" y="325"/>
                    </a:cubicBezTo>
                    <a:cubicBezTo>
                      <a:pt x="211" y="339"/>
                      <a:pt x="210" y="337"/>
                      <a:pt x="206" y="350"/>
                    </a:cubicBezTo>
                    <a:cubicBezTo>
                      <a:pt x="202" y="364"/>
                      <a:pt x="199" y="368"/>
                      <a:pt x="194" y="372"/>
                    </a:cubicBezTo>
                    <a:cubicBezTo>
                      <a:pt x="189" y="377"/>
                      <a:pt x="184" y="376"/>
                      <a:pt x="165" y="378"/>
                    </a:cubicBezTo>
                    <a:cubicBezTo>
                      <a:pt x="145" y="380"/>
                      <a:pt x="131" y="393"/>
                      <a:pt x="129" y="400"/>
                    </a:cubicBezTo>
                    <a:cubicBezTo>
                      <a:pt x="128" y="407"/>
                      <a:pt x="135" y="405"/>
                      <a:pt x="144" y="410"/>
                    </a:cubicBezTo>
                    <a:cubicBezTo>
                      <a:pt x="152" y="414"/>
                      <a:pt x="163" y="416"/>
                      <a:pt x="185" y="417"/>
                    </a:cubicBezTo>
                    <a:cubicBezTo>
                      <a:pt x="208" y="418"/>
                      <a:pt x="219" y="417"/>
                      <a:pt x="228" y="408"/>
                    </a:cubicBezTo>
                    <a:cubicBezTo>
                      <a:pt x="238" y="400"/>
                      <a:pt x="240" y="373"/>
                      <a:pt x="241" y="354"/>
                    </a:cubicBezTo>
                    <a:cubicBezTo>
                      <a:pt x="243" y="335"/>
                      <a:pt x="239" y="315"/>
                      <a:pt x="239" y="307"/>
                    </a:cubicBezTo>
                    <a:cubicBezTo>
                      <a:pt x="239" y="299"/>
                      <a:pt x="239" y="297"/>
                      <a:pt x="244" y="288"/>
                    </a:cubicBezTo>
                    <a:cubicBezTo>
                      <a:pt x="249" y="280"/>
                      <a:pt x="257" y="284"/>
                      <a:pt x="273" y="283"/>
                    </a:cubicBezTo>
                    <a:cubicBezTo>
                      <a:pt x="288" y="281"/>
                      <a:pt x="286" y="270"/>
                      <a:pt x="287" y="261"/>
                    </a:cubicBezTo>
                    <a:cubicBezTo>
                      <a:pt x="288" y="251"/>
                      <a:pt x="281" y="247"/>
                      <a:pt x="271" y="239"/>
                    </a:cubicBezTo>
                    <a:cubicBezTo>
                      <a:pt x="260" y="231"/>
                      <a:pt x="250" y="236"/>
                      <a:pt x="240" y="236"/>
                    </a:cubicBezTo>
                    <a:cubicBezTo>
                      <a:pt x="230" y="236"/>
                      <a:pt x="233" y="234"/>
                      <a:pt x="233" y="226"/>
                    </a:cubicBezTo>
                    <a:cubicBezTo>
                      <a:pt x="233" y="219"/>
                      <a:pt x="238" y="215"/>
                      <a:pt x="239" y="207"/>
                    </a:cubicBezTo>
                    <a:cubicBezTo>
                      <a:pt x="241" y="200"/>
                      <a:pt x="251" y="192"/>
                      <a:pt x="261" y="181"/>
                    </a:cubicBezTo>
                    <a:cubicBezTo>
                      <a:pt x="270" y="170"/>
                      <a:pt x="276" y="175"/>
                      <a:pt x="289" y="176"/>
                    </a:cubicBezTo>
                    <a:cubicBezTo>
                      <a:pt x="302" y="176"/>
                      <a:pt x="307" y="176"/>
                      <a:pt x="316" y="167"/>
                    </a:cubicBezTo>
                    <a:cubicBezTo>
                      <a:pt x="325" y="157"/>
                      <a:pt x="318" y="138"/>
                      <a:pt x="316" y="132"/>
                    </a:cubicBezTo>
                    <a:cubicBezTo>
                      <a:pt x="315" y="125"/>
                      <a:pt x="309" y="129"/>
                      <a:pt x="297" y="119"/>
                    </a:cubicBezTo>
                    <a:cubicBezTo>
                      <a:pt x="285" y="108"/>
                      <a:pt x="274" y="111"/>
                      <a:pt x="261" y="111"/>
                    </a:cubicBezTo>
                    <a:cubicBezTo>
                      <a:pt x="248" y="111"/>
                      <a:pt x="244" y="100"/>
                      <a:pt x="251" y="93"/>
                    </a:cubicBezTo>
                    <a:cubicBezTo>
                      <a:pt x="259" y="87"/>
                      <a:pt x="265" y="77"/>
                      <a:pt x="272" y="66"/>
                    </a:cubicBezTo>
                    <a:cubicBezTo>
                      <a:pt x="278" y="55"/>
                      <a:pt x="276" y="45"/>
                      <a:pt x="276" y="34"/>
                    </a:cubicBezTo>
                    <a:cubicBezTo>
                      <a:pt x="275" y="24"/>
                      <a:pt x="264" y="20"/>
                      <a:pt x="252" y="10"/>
                    </a:cubicBezTo>
                    <a:cubicBezTo>
                      <a:pt x="240" y="0"/>
                      <a:pt x="225" y="8"/>
                      <a:pt x="217" y="11"/>
                    </a:cubicBezTo>
                    <a:cubicBezTo>
                      <a:pt x="208" y="14"/>
                      <a:pt x="196" y="20"/>
                      <a:pt x="187" y="25"/>
                    </a:cubicBezTo>
                    <a:cubicBezTo>
                      <a:pt x="178" y="30"/>
                      <a:pt x="172" y="30"/>
                      <a:pt x="164" y="29"/>
                    </a:cubicBezTo>
                    <a:cubicBezTo>
                      <a:pt x="157" y="29"/>
                      <a:pt x="150" y="29"/>
                      <a:pt x="147" y="29"/>
                    </a:cubicBezTo>
                    <a:cubicBezTo>
                      <a:pt x="144" y="29"/>
                      <a:pt x="141" y="35"/>
                      <a:pt x="136" y="43"/>
                    </a:cubicBezTo>
                    <a:cubicBezTo>
                      <a:pt x="131" y="51"/>
                      <a:pt x="126" y="47"/>
                      <a:pt x="124" y="43"/>
                    </a:cubicBezTo>
                    <a:cubicBezTo>
                      <a:pt x="121" y="38"/>
                      <a:pt x="116" y="28"/>
                      <a:pt x="113" y="21"/>
                    </a:cubicBezTo>
                    <a:cubicBezTo>
                      <a:pt x="110" y="15"/>
                      <a:pt x="97" y="18"/>
                      <a:pt x="91" y="21"/>
                    </a:cubicBezTo>
                    <a:cubicBezTo>
                      <a:pt x="84" y="25"/>
                      <a:pt x="80" y="41"/>
                      <a:pt x="78" y="52"/>
                    </a:cubicBezTo>
                    <a:cubicBezTo>
                      <a:pt x="75" y="63"/>
                      <a:pt x="78" y="111"/>
                      <a:pt x="79" y="1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132" name="îşḷïḍe"/>
              <p:cNvSpPr/>
              <p:nvPr/>
            </p:nvSpPr>
            <p:spPr bwMode="auto">
              <a:xfrm>
                <a:off x="9461753" y="4939303"/>
                <a:ext cx="388938" cy="534988"/>
              </a:xfrm>
              <a:custGeom>
                <a:avLst/>
                <a:gdLst>
                  <a:gd name="T0" fmla="*/ 4 w 211"/>
                  <a:gd name="T1" fmla="*/ 137 h 290"/>
                  <a:gd name="T2" fmla="*/ 41 w 211"/>
                  <a:gd name="T3" fmla="*/ 117 h 290"/>
                  <a:gd name="T4" fmla="*/ 75 w 211"/>
                  <a:gd name="T5" fmla="*/ 83 h 290"/>
                  <a:gd name="T6" fmla="*/ 82 w 211"/>
                  <a:gd name="T7" fmla="*/ 29 h 290"/>
                  <a:gd name="T8" fmla="*/ 94 w 211"/>
                  <a:gd name="T9" fmla="*/ 6 h 290"/>
                  <a:gd name="T10" fmla="*/ 126 w 211"/>
                  <a:gd name="T11" fmla="*/ 27 h 290"/>
                  <a:gd name="T12" fmla="*/ 145 w 211"/>
                  <a:gd name="T13" fmla="*/ 65 h 290"/>
                  <a:gd name="T14" fmla="*/ 170 w 211"/>
                  <a:gd name="T15" fmla="*/ 93 h 290"/>
                  <a:gd name="T16" fmla="*/ 164 w 211"/>
                  <a:gd name="T17" fmla="*/ 119 h 290"/>
                  <a:gd name="T18" fmla="*/ 127 w 211"/>
                  <a:gd name="T19" fmla="*/ 151 h 290"/>
                  <a:gd name="T20" fmla="*/ 123 w 211"/>
                  <a:gd name="T21" fmla="*/ 165 h 290"/>
                  <a:gd name="T22" fmla="*/ 181 w 211"/>
                  <a:gd name="T23" fmla="*/ 187 h 290"/>
                  <a:gd name="T24" fmla="*/ 210 w 211"/>
                  <a:gd name="T25" fmla="*/ 231 h 290"/>
                  <a:gd name="T26" fmla="*/ 202 w 211"/>
                  <a:gd name="T27" fmla="*/ 281 h 290"/>
                  <a:gd name="T28" fmla="*/ 185 w 211"/>
                  <a:gd name="T29" fmla="*/ 289 h 290"/>
                  <a:gd name="T30" fmla="*/ 162 w 211"/>
                  <a:gd name="T31" fmla="*/ 267 h 290"/>
                  <a:gd name="T32" fmla="*/ 158 w 211"/>
                  <a:gd name="T33" fmla="*/ 217 h 290"/>
                  <a:gd name="T34" fmla="*/ 134 w 211"/>
                  <a:gd name="T35" fmla="*/ 188 h 290"/>
                  <a:gd name="T36" fmla="*/ 117 w 211"/>
                  <a:gd name="T37" fmla="*/ 183 h 290"/>
                  <a:gd name="T38" fmla="*/ 105 w 211"/>
                  <a:gd name="T39" fmla="*/ 191 h 290"/>
                  <a:gd name="T40" fmla="*/ 95 w 211"/>
                  <a:gd name="T41" fmla="*/ 225 h 290"/>
                  <a:gd name="T42" fmla="*/ 92 w 211"/>
                  <a:gd name="T43" fmla="*/ 251 h 290"/>
                  <a:gd name="T44" fmla="*/ 58 w 211"/>
                  <a:gd name="T45" fmla="*/ 261 h 290"/>
                  <a:gd name="T46" fmla="*/ 37 w 211"/>
                  <a:gd name="T47" fmla="*/ 235 h 290"/>
                  <a:gd name="T48" fmla="*/ 39 w 211"/>
                  <a:gd name="T49" fmla="*/ 205 h 290"/>
                  <a:gd name="T50" fmla="*/ 45 w 211"/>
                  <a:gd name="T51" fmla="*/ 177 h 290"/>
                  <a:gd name="T52" fmla="*/ 18 w 211"/>
                  <a:gd name="T53" fmla="*/ 155 h 290"/>
                  <a:gd name="T54" fmla="*/ 0 w 211"/>
                  <a:gd name="T55" fmla="*/ 147 h 290"/>
                  <a:gd name="T56" fmla="*/ 4 w 211"/>
                  <a:gd name="T57" fmla="*/ 137 h 2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211" h="290">
                    <a:moveTo>
                      <a:pt x="4" y="137"/>
                    </a:moveTo>
                    <a:cubicBezTo>
                      <a:pt x="4" y="137"/>
                      <a:pt x="32" y="120"/>
                      <a:pt x="41" y="117"/>
                    </a:cubicBezTo>
                    <a:cubicBezTo>
                      <a:pt x="50" y="115"/>
                      <a:pt x="69" y="103"/>
                      <a:pt x="75" y="83"/>
                    </a:cubicBezTo>
                    <a:cubicBezTo>
                      <a:pt x="81" y="63"/>
                      <a:pt x="82" y="39"/>
                      <a:pt x="82" y="29"/>
                    </a:cubicBezTo>
                    <a:cubicBezTo>
                      <a:pt x="82" y="19"/>
                      <a:pt x="76" y="0"/>
                      <a:pt x="94" y="6"/>
                    </a:cubicBezTo>
                    <a:cubicBezTo>
                      <a:pt x="112" y="12"/>
                      <a:pt x="124" y="15"/>
                      <a:pt x="126" y="27"/>
                    </a:cubicBezTo>
                    <a:cubicBezTo>
                      <a:pt x="129" y="39"/>
                      <a:pt x="131" y="55"/>
                      <a:pt x="145" y="65"/>
                    </a:cubicBezTo>
                    <a:cubicBezTo>
                      <a:pt x="159" y="75"/>
                      <a:pt x="168" y="83"/>
                      <a:pt x="170" y="93"/>
                    </a:cubicBezTo>
                    <a:cubicBezTo>
                      <a:pt x="172" y="103"/>
                      <a:pt x="172" y="114"/>
                      <a:pt x="164" y="119"/>
                    </a:cubicBezTo>
                    <a:cubicBezTo>
                      <a:pt x="157" y="123"/>
                      <a:pt x="132" y="147"/>
                      <a:pt x="127" y="151"/>
                    </a:cubicBezTo>
                    <a:cubicBezTo>
                      <a:pt x="121" y="154"/>
                      <a:pt x="119" y="165"/>
                      <a:pt x="123" y="165"/>
                    </a:cubicBezTo>
                    <a:cubicBezTo>
                      <a:pt x="127" y="165"/>
                      <a:pt x="163" y="172"/>
                      <a:pt x="181" y="187"/>
                    </a:cubicBezTo>
                    <a:cubicBezTo>
                      <a:pt x="198" y="202"/>
                      <a:pt x="209" y="216"/>
                      <a:pt x="210" y="231"/>
                    </a:cubicBezTo>
                    <a:cubicBezTo>
                      <a:pt x="211" y="247"/>
                      <a:pt x="210" y="273"/>
                      <a:pt x="202" y="281"/>
                    </a:cubicBezTo>
                    <a:cubicBezTo>
                      <a:pt x="194" y="288"/>
                      <a:pt x="192" y="290"/>
                      <a:pt x="185" y="289"/>
                    </a:cubicBezTo>
                    <a:cubicBezTo>
                      <a:pt x="178" y="288"/>
                      <a:pt x="164" y="279"/>
                      <a:pt x="162" y="267"/>
                    </a:cubicBezTo>
                    <a:cubicBezTo>
                      <a:pt x="160" y="255"/>
                      <a:pt x="164" y="239"/>
                      <a:pt x="158" y="217"/>
                    </a:cubicBezTo>
                    <a:cubicBezTo>
                      <a:pt x="153" y="196"/>
                      <a:pt x="139" y="191"/>
                      <a:pt x="134" y="188"/>
                    </a:cubicBezTo>
                    <a:cubicBezTo>
                      <a:pt x="129" y="186"/>
                      <a:pt x="117" y="183"/>
                      <a:pt x="117" y="183"/>
                    </a:cubicBezTo>
                    <a:cubicBezTo>
                      <a:pt x="117" y="183"/>
                      <a:pt x="108" y="182"/>
                      <a:pt x="105" y="191"/>
                    </a:cubicBezTo>
                    <a:cubicBezTo>
                      <a:pt x="102" y="199"/>
                      <a:pt x="96" y="215"/>
                      <a:pt x="95" y="225"/>
                    </a:cubicBezTo>
                    <a:cubicBezTo>
                      <a:pt x="94" y="235"/>
                      <a:pt x="96" y="247"/>
                      <a:pt x="92" y="251"/>
                    </a:cubicBezTo>
                    <a:cubicBezTo>
                      <a:pt x="87" y="256"/>
                      <a:pt x="77" y="267"/>
                      <a:pt x="58" y="261"/>
                    </a:cubicBezTo>
                    <a:cubicBezTo>
                      <a:pt x="39" y="255"/>
                      <a:pt x="41" y="238"/>
                      <a:pt x="37" y="235"/>
                    </a:cubicBezTo>
                    <a:cubicBezTo>
                      <a:pt x="33" y="231"/>
                      <a:pt x="39" y="211"/>
                      <a:pt x="39" y="205"/>
                    </a:cubicBezTo>
                    <a:cubicBezTo>
                      <a:pt x="39" y="200"/>
                      <a:pt x="47" y="182"/>
                      <a:pt x="45" y="177"/>
                    </a:cubicBezTo>
                    <a:cubicBezTo>
                      <a:pt x="44" y="173"/>
                      <a:pt x="25" y="153"/>
                      <a:pt x="18" y="155"/>
                    </a:cubicBezTo>
                    <a:cubicBezTo>
                      <a:pt x="11" y="157"/>
                      <a:pt x="1" y="155"/>
                      <a:pt x="0" y="147"/>
                    </a:cubicBezTo>
                    <a:cubicBezTo>
                      <a:pt x="0" y="140"/>
                      <a:pt x="4" y="137"/>
                      <a:pt x="4" y="13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133" name="îṧļíďe"/>
              <p:cNvSpPr/>
              <p:nvPr/>
            </p:nvSpPr>
            <p:spPr bwMode="auto">
              <a:xfrm>
                <a:off x="8326691" y="4823415"/>
                <a:ext cx="746125" cy="695325"/>
              </a:xfrm>
              <a:custGeom>
                <a:avLst/>
                <a:gdLst>
                  <a:gd name="T0" fmla="*/ 159 w 405"/>
                  <a:gd name="T1" fmla="*/ 229 h 377"/>
                  <a:gd name="T2" fmla="*/ 218 w 405"/>
                  <a:gd name="T3" fmla="*/ 183 h 377"/>
                  <a:gd name="T4" fmla="*/ 234 w 405"/>
                  <a:gd name="T5" fmla="*/ 247 h 377"/>
                  <a:gd name="T6" fmla="*/ 260 w 405"/>
                  <a:gd name="T7" fmla="*/ 269 h 377"/>
                  <a:gd name="T8" fmla="*/ 209 w 405"/>
                  <a:gd name="T9" fmla="*/ 247 h 377"/>
                  <a:gd name="T10" fmla="*/ 108 w 405"/>
                  <a:gd name="T11" fmla="*/ 215 h 377"/>
                  <a:gd name="T12" fmla="*/ 73 w 405"/>
                  <a:gd name="T13" fmla="*/ 283 h 377"/>
                  <a:gd name="T14" fmla="*/ 43 w 405"/>
                  <a:gd name="T15" fmla="*/ 350 h 377"/>
                  <a:gd name="T16" fmla="*/ 91 w 405"/>
                  <a:gd name="T17" fmla="*/ 347 h 377"/>
                  <a:gd name="T18" fmla="*/ 118 w 405"/>
                  <a:gd name="T19" fmla="*/ 372 h 377"/>
                  <a:gd name="T20" fmla="*/ 136 w 405"/>
                  <a:gd name="T21" fmla="*/ 328 h 377"/>
                  <a:gd name="T22" fmla="*/ 147 w 405"/>
                  <a:gd name="T23" fmla="*/ 265 h 377"/>
                  <a:gd name="T24" fmla="*/ 242 w 405"/>
                  <a:gd name="T25" fmla="*/ 306 h 377"/>
                  <a:gd name="T26" fmla="*/ 186 w 405"/>
                  <a:gd name="T27" fmla="*/ 337 h 377"/>
                  <a:gd name="T28" fmla="*/ 172 w 405"/>
                  <a:gd name="T29" fmla="*/ 367 h 377"/>
                  <a:gd name="T30" fmla="*/ 272 w 405"/>
                  <a:gd name="T31" fmla="*/ 328 h 377"/>
                  <a:gd name="T32" fmla="*/ 352 w 405"/>
                  <a:gd name="T33" fmla="*/ 373 h 377"/>
                  <a:gd name="T34" fmla="*/ 389 w 405"/>
                  <a:gd name="T35" fmla="*/ 333 h 377"/>
                  <a:gd name="T36" fmla="*/ 292 w 405"/>
                  <a:gd name="T37" fmla="*/ 299 h 377"/>
                  <a:gd name="T38" fmla="*/ 291 w 405"/>
                  <a:gd name="T39" fmla="*/ 217 h 377"/>
                  <a:gd name="T40" fmla="*/ 261 w 405"/>
                  <a:gd name="T41" fmla="*/ 173 h 377"/>
                  <a:gd name="T42" fmla="*/ 297 w 405"/>
                  <a:gd name="T43" fmla="*/ 107 h 377"/>
                  <a:gd name="T44" fmla="*/ 283 w 405"/>
                  <a:gd name="T45" fmla="*/ 43 h 377"/>
                  <a:gd name="T46" fmla="*/ 241 w 405"/>
                  <a:gd name="T47" fmla="*/ 1 h 377"/>
                  <a:gd name="T48" fmla="*/ 241 w 405"/>
                  <a:gd name="T49" fmla="*/ 35 h 377"/>
                  <a:gd name="T50" fmla="*/ 245 w 405"/>
                  <a:gd name="T51" fmla="*/ 97 h 377"/>
                  <a:gd name="T52" fmla="*/ 194 w 405"/>
                  <a:gd name="T53" fmla="*/ 129 h 377"/>
                  <a:gd name="T54" fmla="*/ 161 w 405"/>
                  <a:gd name="T55" fmla="*/ 121 h 377"/>
                  <a:gd name="T56" fmla="*/ 150 w 405"/>
                  <a:gd name="T57" fmla="*/ 33 h 377"/>
                  <a:gd name="T58" fmla="*/ 122 w 405"/>
                  <a:gd name="T59" fmla="*/ 56 h 377"/>
                  <a:gd name="T60" fmla="*/ 121 w 405"/>
                  <a:gd name="T61" fmla="*/ 133 h 377"/>
                  <a:gd name="T62" fmla="*/ 30 w 405"/>
                  <a:gd name="T63" fmla="*/ 180 h 377"/>
                  <a:gd name="T64" fmla="*/ 22 w 405"/>
                  <a:gd name="T65" fmla="*/ 219 h 3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405" h="377">
                    <a:moveTo>
                      <a:pt x="174" y="243"/>
                    </a:moveTo>
                    <a:cubicBezTo>
                      <a:pt x="172" y="243"/>
                      <a:pt x="154" y="236"/>
                      <a:pt x="159" y="229"/>
                    </a:cubicBezTo>
                    <a:cubicBezTo>
                      <a:pt x="163" y="221"/>
                      <a:pt x="190" y="187"/>
                      <a:pt x="199" y="183"/>
                    </a:cubicBezTo>
                    <a:cubicBezTo>
                      <a:pt x="208" y="178"/>
                      <a:pt x="215" y="172"/>
                      <a:pt x="218" y="183"/>
                    </a:cubicBezTo>
                    <a:cubicBezTo>
                      <a:pt x="221" y="193"/>
                      <a:pt x="215" y="230"/>
                      <a:pt x="220" y="236"/>
                    </a:cubicBezTo>
                    <a:cubicBezTo>
                      <a:pt x="225" y="241"/>
                      <a:pt x="227" y="248"/>
                      <a:pt x="234" y="247"/>
                    </a:cubicBezTo>
                    <a:cubicBezTo>
                      <a:pt x="241" y="246"/>
                      <a:pt x="256" y="238"/>
                      <a:pt x="260" y="245"/>
                    </a:cubicBezTo>
                    <a:cubicBezTo>
                      <a:pt x="263" y="252"/>
                      <a:pt x="268" y="259"/>
                      <a:pt x="260" y="269"/>
                    </a:cubicBezTo>
                    <a:cubicBezTo>
                      <a:pt x="253" y="278"/>
                      <a:pt x="247" y="281"/>
                      <a:pt x="239" y="274"/>
                    </a:cubicBezTo>
                    <a:cubicBezTo>
                      <a:pt x="230" y="267"/>
                      <a:pt x="221" y="250"/>
                      <a:pt x="209" y="247"/>
                    </a:cubicBezTo>
                    <a:cubicBezTo>
                      <a:pt x="198" y="245"/>
                      <a:pt x="176" y="243"/>
                      <a:pt x="174" y="243"/>
                    </a:cubicBezTo>
                    <a:close/>
                    <a:moveTo>
                      <a:pt x="108" y="215"/>
                    </a:moveTo>
                    <a:cubicBezTo>
                      <a:pt x="109" y="216"/>
                      <a:pt x="102" y="238"/>
                      <a:pt x="93" y="254"/>
                    </a:cubicBezTo>
                    <a:cubicBezTo>
                      <a:pt x="84" y="271"/>
                      <a:pt x="81" y="271"/>
                      <a:pt x="73" y="283"/>
                    </a:cubicBezTo>
                    <a:cubicBezTo>
                      <a:pt x="65" y="295"/>
                      <a:pt x="45" y="309"/>
                      <a:pt x="44" y="316"/>
                    </a:cubicBezTo>
                    <a:cubicBezTo>
                      <a:pt x="43" y="323"/>
                      <a:pt x="41" y="343"/>
                      <a:pt x="43" y="350"/>
                    </a:cubicBezTo>
                    <a:cubicBezTo>
                      <a:pt x="44" y="357"/>
                      <a:pt x="61" y="358"/>
                      <a:pt x="69" y="357"/>
                    </a:cubicBezTo>
                    <a:cubicBezTo>
                      <a:pt x="77" y="355"/>
                      <a:pt x="84" y="347"/>
                      <a:pt x="91" y="347"/>
                    </a:cubicBezTo>
                    <a:cubicBezTo>
                      <a:pt x="98" y="347"/>
                      <a:pt x="96" y="355"/>
                      <a:pt x="97" y="361"/>
                    </a:cubicBezTo>
                    <a:cubicBezTo>
                      <a:pt x="97" y="366"/>
                      <a:pt x="101" y="368"/>
                      <a:pt x="118" y="372"/>
                    </a:cubicBezTo>
                    <a:cubicBezTo>
                      <a:pt x="136" y="377"/>
                      <a:pt x="140" y="364"/>
                      <a:pt x="144" y="352"/>
                    </a:cubicBezTo>
                    <a:cubicBezTo>
                      <a:pt x="148" y="339"/>
                      <a:pt x="140" y="339"/>
                      <a:pt x="136" y="328"/>
                    </a:cubicBezTo>
                    <a:cubicBezTo>
                      <a:pt x="133" y="316"/>
                      <a:pt x="136" y="302"/>
                      <a:pt x="136" y="292"/>
                    </a:cubicBezTo>
                    <a:cubicBezTo>
                      <a:pt x="135" y="281"/>
                      <a:pt x="141" y="272"/>
                      <a:pt x="147" y="265"/>
                    </a:cubicBezTo>
                    <a:cubicBezTo>
                      <a:pt x="153" y="258"/>
                      <a:pt x="160" y="248"/>
                      <a:pt x="186" y="258"/>
                    </a:cubicBezTo>
                    <a:cubicBezTo>
                      <a:pt x="212" y="267"/>
                      <a:pt x="239" y="298"/>
                      <a:pt x="242" y="306"/>
                    </a:cubicBezTo>
                    <a:cubicBezTo>
                      <a:pt x="245" y="313"/>
                      <a:pt x="232" y="318"/>
                      <a:pt x="227" y="325"/>
                    </a:cubicBezTo>
                    <a:cubicBezTo>
                      <a:pt x="222" y="332"/>
                      <a:pt x="196" y="338"/>
                      <a:pt x="186" y="337"/>
                    </a:cubicBezTo>
                    <a:cubicBezTo>
                      <a:pt x="175" y="336"/>
                      <a:pt x="172" y="344"/>
                      <a:pt x="167" y="348"/>
                    </a:cubicBezTo>
                    <a:cubicBezTo>
                      <a:pt x="162" y="351"/>
                      <a:pt x="167" y="361"/>
                      <a:pt x="172" y="367"/>
                    </a:cubicBezTo>
                    <a:cubicBezTo>
                      <a:pt x="177" y="373"/>
                      <a:pt x="211" y="373"/>
                      <a:pt x="224" y="364"/>
                    </a:cubicBezTo>
                    <a:cubicBezTo>
                      <a:pt x="237" y="354"/>
                      <a:pt x="272" y="328"/>
                      <a:pt x="272" y="328"/>
                    </a:cubicBezTo>
                    <a:cubicBezTo>
                      <a:pt x="272" y="328"/>
                      <a:pt x="285" y="340"/>
                      <a:pt x="293" y="348"/>
                    </a:cubicBezTo>
                    <a:cubicBezTo>
                      <a:pt x="301" y="357"/>
                      <a:pt x="319" y="369"/>
                      <a:pt x="352" y="373"/>
                    </a:cubicBezTo>
                    <a:cubicBezTo>
                      <a:pt x="385" y="377"/>
                      <a:pt x="398" y="356"/>
                      <a:pt x="401" y="352"/>
                    </a:cubicBezTo>
                    <a:cubicBezTo>
                      <a:pt x="405" y="348"/>
                      <a:pt x="399" y="342"/>
                      <a:pt x="389" y="333"/>
                    </a:cubicBezTo>
                    <a:cubicBezTo>
                      <a:pt x="379" y="323"/>
                      <a:pt x="353" y="312"/>
                      <a:pt x="337" y="313"/>
                    </a:cubicBezTo>
                    <a:cubicBezTo>
                      <a:pt x="321" y="315"/>
                      <a:pt x="303" y="305"/>
                      <a:pt x="292" y="299"/>
                    </a:cubicBezTo>
                    <a:cubicBezTo>
                      <a:pt x="282" y="293"/>
                      <a:pt x="287" y="293"/>
                      <a:pt x="291" y="277"/>
                    </a:cubicBezTo>
                    <a:cubicBezTo>
                      <a:pt x="295" y="261"/>
                      <a:pt x="294" y="231"/>
                      <a:pt x="291" y="217"/>
                    </a:cubicBezTo>
                    <a:cubicBezTo>
                      <a:pt x="287" y="204"/>
                      <a:pt x="269" y="200"/>
                      <a:pt x="264" y="192"/>
                    </a:cubicBezTo>
                    <a:cubicBezTo>
                      <a:pt x="258" y="184"/>
                      <a:pt x="251" y="180"/>
                      <a:pt x="261" y="173"/>
                    </a:cubicBezTo>
                    <a:cubicBezTo>
                      <a:pt x="272" y="166"/>
                      <a:pt x="282" y="146"/>
                      <a:pt x="290" y="135"/>
                    </a:cubicBezTo>
                    <a:cubicBezTo>
                      <a:pt x="298" y="123"/>
                      <a:pt x="305" y="117"/>
                      <a:pt x="297" y="107"/>
                    </a:cubicBezTo>
                    <a:cubicBezTo>
                      <a:pt x="289" y="97"/>
                      <a:pt x="283" y="94"/>
                      <a:pt x="281" y="86"/>
                    </a:cubicBezTo>
                    <a:cubicBezTo>
                      <a:pt x="280" y="79"/>
                      <a:pt x="283" y="57"/>
                      <a:pt x="283" y="43"/>
                    </a:cubicBezTo>
                    <a:cubicBezTo>
                      <a:pt x="283" y="29"/>
                      <a:pt x="285" y="30"/>
                      <a:pt x="272" y="15"/>
                    </a:cubicBezTo>
                    <a:cubicBezTo>
                      <a:pt x="260" y="0"/>
                      <a:pt x="248" y="2"/>
                      <a:pt x="241" y="1"/>
                    </a:cubicBezTo>
                    <a:cubicBezTo>
                      <a:pt x="235" y="0"/>
                      <a:pt x="231" y="21"/>
                      <a:pt x="233" y="26"/>
                    </a:cubicBezTo>
                    <a:cubicBezTo>
                      <a:pt x="235" y="31"/>
                      <a:pt x="239" y="31"/>
                      <a:pt x="241" y="35"/>
                    </a:cubicBezTo>
                    <a:cubicBezTo>
                      <a:pt x="242" y="39"/>
                      <a:pt x="239" y="36"/>
                      <a:pt x="243" y="53"/>
                    </a:cubicBezTo>
                    <a:cubicBezTo>
                      <a:pt x="247" y="70"/>
                      <a:pt x="245" y="91"/>
                      <a:pt x="245" y="97"/>
                    </a:cubicBezTo>
                    <a:cubicBezTo>
                      <a:pt x="245" y="103"/>
                      <a:pt x="240" y="107"/>
                      <a:pt x="234" y="114"/>
                    </a:cubicBezTo>
                    <a:cubicBezTo>
                      <a:pt x="228" y="121"/>
                      <a:pt x="206" y="123"/>
                      <a:pt x="194" y="129"/>
                    </a:cubicBezTo>
                    <a:cubicBezTo>
                      <a:pt x="181" y="135"/>
                      <a:pt x="179" y="146"/>
                      <a:pt x="170" y="149"/>
                    </a:cubicBezTo>
                    <a:cubicBezTo>
                      <a:pt x="161" y="151"/>
                      <a:pt x="157" y="138"/>
                      <a:pt x="161" y="121"/>
                    </a:cubicBezTo>
                    <a:cubicBezTo>
                      <a:pt x="164" y="109"/>
                      <a:pt x="168" y="79"/>
                      <a:pt x="168" y="64"/>
                    </a:cubicBezTo>
                    <a:cubicBezTo>
                      <a:pt x="167" y="54"/>
                      <a:pt x="158" y="40"/>
                      <a:pt x="150" y="33"/>
                    </a:cubicBezTo>
                    <a:cubicBezTo>
                      <a:pt x="142" y="25"/>
                      <a:pt x="136" y="30"/>
                      <a:pt x="131" y="32"/>
                    </a:cubicBezTo>
                    <a:cubicBezTo>
                      <a:pt x="126" y="35"/>
                      <a:pt x="120" y="43"/>
                      <a:pt x="122" y="56"/>
                    </a:cubicBezTo>
                    <a:cubicBezTo>
                      <a:pt x="124" y="70"/>
                      <a:pt x="127" y="72"/>
                      <a:pt x="127" y="82"/>
                    </a:cubicBezTo>
                    <a:cubicBezTo>
                      <a:pt x="128" y="92"/>
                      <a:pt x="124" y="113"/>
                      <a:pt x="121" y="133"/>
                    </a:cubicBezTo>
                    <a:cubicBezTo>
                      <a:pt x="117" y="152"/>
                      <a:pt x="104" y="151"/>
                      <a:pt x="90" y="158"/>
                    </a:cubicBezTo>
                    <a:cubicBezTo>
                      <a:pt x="76" y="165"/>
                      <a:pt x="48" y="175"/>
                      <a:pt x="30" y="180"/>
                    </a:cubicBezTo>
                    <a:cubicBezTo>
                      <a:pt x="13" y="184"/>
                      <a:pt x="0" y="191"/>
                      <a:pt x="0" y="200"/>
                    </a:cubicBezTo>
                    <a:cubicBezTo>
                      <a:pt x="0" y="209"/>
                      <a:pt x="9" y="210"/>
                      <a:pt x="22" y="219"/>
                    </a:cubicBezTo>
                    <a:cubicBezTo>
                      <a:pt x="35" y="228"/>
                      <a:pt x="107" y="215"/>
                      <a:pt x="108" y="21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134" name="íŝļïḓè"/>
              <p:cNvSpPr/>
              <p:nvPr/>
            </p:nvSpPr>
            <p:spPr bwMode="auto">
              <a:xfrm>
                <a:off x="6220078" y="4756740"/>
                <a:ext cx="627063" cy="793750"/>
              </a:xfrm>
              <a:custGeom>
                <a:avLst/>
                <a:gdLst>
                  <a:gd name="T0" fmla="*/ 194 w 340"/>
                  <a:gd name="T1" fmla="*/ 225 h 430"/>
                  <a:gd name="T2" fmla="*/ 189 w 340"/>
                  <a:gd name="T3" fmla="*/ 204 h 430"/>
                  <a:gd name="T4" fmla="*/ 222 w 340"/>
                  <a:gd name="T5" fmla="*/ 196 h 430"/>
                  <a:gd name="T6" fmla="*/ 234 w 340"/>
                  <a:gd name="T7" fmla="*/ 215 h 430"/>
                  <a:gd name="T8" fmla="*/ 217 w 340"/>
                  <a:gd name="T9" fmla="*/ 231 h 430"/>
                  <a:gd name="T10" fmla="*/ 194 w 340"/>
                  <a:gd name="T11" fmla="*/ 225 h 430"/>
                  <a:gd name="T12" fmla="*/ 33 w 340"/>
                  <a:gd name="T13" fmla="*/ 228 h 430"/>
                  <a:gd name="T14" fmla="*/ 67 w 340"/>
                  <a:gd name="T15" fmla="*/ 224 h 430"/>
                  <a:gd name="T16" fmla="*/ 105 w 340"/>
                  <a:gd name="T17" fmla="*/ 194 h 430"/>
                  <a:gd name="T18" fmla="*/ 164 w 340"/>
                  <a:gd name="T19" fmla="*/ 151 h 430"/>
                  <a:gd name="T20" fmla="*/ 170 w 340"/>
                  <a:gd name="T21" fmla="*/ 163 h 430"/>
                  <a:gd name="T22" fmla="*/ 144 w 340"/>
                  <a:gd name="T23" fmla="*/ 203 h 430"/>
                  <a:gd name="T24" fmla="*/ 142 w 340"/>
                  <a:gd name="T25" fmla="*/ 250 h 430"/>
                  <a:gd name="T26" fmla="*/ 166 w 340"/>
                  <a:gd name="T27" fmla="*/ 278 h 430"/>
                  <a:gd name="T28" fmla="*/ 170 w 340"/>
                  <a:gd name="T29" fmla="*/ 300 h 430"/>
                  <a:gd name="T30" fmla="*/ 132 w 340"/>
                  <a:gd name="T31" fmla="*/ 347 h 430"/>
                  <a:gd name="T32" fmla="*/ 133 w 340"/>
                  <a:gd name="T33" fmla="*/ 397 h 430"/>
                  <a:gd name="T34" fmla="*/ 181 w 340"/>
                  <a:gd name="T35" fmla="*/ 410 h 430"/>
                  <a:gd name="T36" fmla="*/ 184 w 340"/>
                  <a:gd name="T37" fmla="*/ 375 h 430"/>
                  <a:gd name="T38" fmla="*/ 198 w 340"/>
                  <a:gd name="T39" fmla="*/ 374 h 430"/>
                  <a:gd name="T40" fmla="*/ 215 w 340"/>
                  <a:gd name="T41" fmla="*/ 416 h 430"/>
                  <a:gd name="T42" fmla="*/ 240 w 340"/>
                  <a:gd name="T43" fmla="*/ 406 h 430"/>
                  <a:gd name="T44" fmla="*/ 230 w 340"/>
                  <a:gd name="T45" fmla="*/ 341 h 430"/>
                  <a:gd name="T46" fmla="*/ 250 w 340"/>
                  <a:gd name="T47" fmla="*/ 322 h 430"/>
                  <a:gd name="T48" fmla="*/ 268 w 340"/>
                  <a:gd name="T49" fmla="*/ 373 h 430"/>
                  <a:gd name="T50" fmla="*/ 316 w 340"/>
                  <a:gd name="T51" fmla="*/ 385 h 430"/>
                  <a:gd name="T52" fmla="*/ 295 w 340"/>
                  <a:gd name="T53" fmla="*/ 310 h 430"/>
                  <a:gd name="T54" fmla="*/ 263 w 340"/>
                  <a:gd name="T55" fmla="*/ 288 h 430"/>
                  <a:gd name="T56" fmla="*/ 264 w 340"/>
                  <a:gd name="T57" fmla="*/ 259 h 430"/>
                  <a:gd name="T58" fmla="*/ 265 w 340"/>
                  <a:gd name="T59" fmla="*/ 233 h 430"/>
                  <a:gd name="T60" fmla="*/ 300 w 340"/>
                  <a:gd name="T61" fmla="*/ 199 h 430"/>
                  <a:gd name="T62" fmla="*/ 275 w 340"/>
                  <a:gd name="T63" fmla="*/ 161 h 430"/>
                  <a:gd name="T64" fmla="*/ 217 w 340"/>
                  <a:gd name="T65" fmla="*/ 159 h 430"/>
                  <a:gd name="T66" fmla="*/ 270 w 340"/>
                  <a:gd name="T67" fmla="*/ 132 h 430"/>
                  <a:gd name="T68" fmla="*/ 316 w 340"/>
                  <a:gd name="T69" fmla="*/ 126 h 430"/>
                  <a:gd name="T70" fmla="*/ 332 w 340"/>
                  <a:gd name="T71" fmla="*/ 110 h 430"/>
                  <a:gd name="T72" fmla="*/ 321 w 340"/>
                  <a:gd name="T73" fmla="*/ 75 h 430"/>
                  <a:gd name="T74" fmla="*/ 256 w 340"/>
                  <a:gd name="T75" fmla="*/ 74 h 430"/>
                  <a:gd name="T76" fmla="*/ 240 w 340"/>
                  <a:gd name="T77" fmla="*/ 51 h 430"/>
                  <a:gd name="T78" fmla="*/ 212 w 340"/>
                  <a:gd name="T79" fmla="*/ 9 h 430"/>
                  <a:gd name="T80" fmla="*/ 190 w 340"/>
                  <a:gd name="T81" fmla="*/ 6 h 430"/>
                  <a:gd name="T82" fmla="*/ 174 w 340"/>
                  <a:gd name="T83" fmla="*/ 34 h 430"/>
                  <a:gd name="T84" fmla="*/ 183 w 340"/>
                  <a:gd name="T85" fmla="*/ 70 h 430"/>
                  <a:gd name="T86" fmla="*/ 172 w 340"/>
                  <a:gd name="T87" fmla="*/ 98 h 430"/>
                  <a:gd name="T88" fmla="*/ 65 w 340"/>
                  <a:gd name="T89" fmla="*/ 161 h 430"/>
                  <a:gd name="T90" fmla="*/ 21 w 340"/>
                  <a:gd name="T91" fmla="*/ 171 h 430"/>
                  <a:gd name="T92" fmla="*/ 10 w 340"/>
                  <a:gd name="T93" fmla="*/ 198 h 430"/>
                  <a:gd name="T94" fmla="*/ 33 w 340"/>
                  <a:gd name="T95" fmla="*/ 228 h 4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340" h="430">
                    <a:moveTo>
                      <a:pt x="194" y="225"/>
                    </a:moveTo>
                    <a:cubicBezTo>
                      <a:pt x="194" y="225"/>
                      <a:pt x="178" y="212"/>
                      <a:pt x="189" y="204"/>
                    </a:cubicBezTo>
                    <a:cubicBezTo>
                      <a:pt x="201" y="196"/>
                      <a:pt x="211" y="188"/>
                      <a:pt x="222" y="196"/>
                    </a:cubicBezTo>
                    <a:cubicBezTo>
                      <a:pt x="234" y="203"/>
                      <a:pt x="238" y="207"/>
                      <a:pt x="234" y="215"/>
                    </a:cubicBezTo>
                    <a:cubicBezTo>
                      <a:pt x="230" y="222"/>
                      <a:pt x="228" y="229"/>
                      <a:pt x="217" y="231"/>
                    </a:cubicBezTo>
                    <a:cubicBezTo>
                      <a:pt x="204" y="230"/>
                      <a:pt x="194" y="225"/>
                      <a:pt x="194" y="225"/>
                    </a:cubicBezTo>
                    <a:close/>
                    <a:moveTo>
                      <a:pt x="33" y="228"/>
                    </a:moveTo>
                    <a:cubicBezTo>
                      <a:pt x="40" y="229"/>
                      <a:pt x="52" y="231"/>
                      <a:pt x="67" y="224"/>
                    </a:cubicBezTo>
                    <a:cubicBezTo>
                      <a:pt x="82" y="216"/>
                      <a:pt x="91" y="208"/>
                      <a:pt x="105" y="194"/>
                    </a:cubicBezTo>
                    <a:cubicBezTo>
                      <a:pt x="119" y="180"/>
                      <a:pt x="153" y="155"/>
                      <a:pt x="164" y="151"/>
                    </a:cubicBezTo>
                    <a:cubicBezTo>
                      <a:pt x="176" y="146"/>
                      <a:pt x="176" y="155"/>
                      <a:pt x="170" y="163"/>
                    </a:cubicBezTo>
                    <a:cubicBezTo>
                      <a:pt x="164" y="171"/>
                      <a:pt x="150" y="188"/>
                      <a:pt x="144" y="203"/>
                    </a:cubicBezTo>
                    <a:cubicBezTo>
                      <a:pt x="139" y="218"/>
                      <a:pt x="134" y="224"/>
                      <a:pt x="142" y="250"/>
                    </a:cubicBezTo>
                    <a:cubicBezTo>
                      <a:pt x="149" y="275"/>
                      <a:pt x="160" y="275"/>
                      <a:pt x="166" y="278"/>
                    </a:cubicBezTo>
                    <a:cubicBezTo>
                      <a:pt x="172" y="281"/>
                      <a:pt x="176" y="301"/>
                      <a:pt x="170" y="300"/>
                    </a:cubicBezTo>
                    <a:cubicBezTo>
                      <a:pt x="164" y="299"/>
                      <a:pt x="136" y="327"/>
                      <a:pt x="132" y="347"/>
                    </a:cubicBezTo>
                    <a:cubicBezTo>
                      <a:pt x="127" y="366"/>
                      <a:pt x="123" y="375"/>
                      <a:pt x="133" y="397"/>
                    </a:cubicBezTo>
                    <a:cubicBezTo>
                      <a:pt x="144" y="419"/>
                      <a:pt x="174" y="413"/>
                      <a:pt x="181" y="410"/>
                    </a:cubicBezTo>
                    <a:cubicBezTo>
                      <a:pt x="189" y="407"/>
                      <a:pt x="185" y="395"/>
                      <a:pt x="184" y="375"/>
                    </a:cubicBezTo>
                    <a:cubicBezTo>
                      <a:pt x="182" y="355"/>
                      <a:pt x="192" y="364"/>
                      <a:pt x="198" y="374"/>
                    </a:cubicBezTo>
                    <a:cubicBezTo>
                      <a:pt x="204" y="384"/>
                      <a:pt x="203" y="402"/>
                      <a:pt x="215" y="416"/>
                    </a:cubicBezTo>
                    <a:cubicBezTo>
                      <a:pt x="226" y="430"/>
                      <a:pt x="235" y="419"/>
                      <a:pt x="240" y="406"/>
                    </a:cubicBezTo>
                    <a:cubicBezTo>
                      <a:pt x="245" y="393"/>
                      <a:pt x="232" y="357"/>
                      <a:pt x="230" y="341"/>
                    </a:cubicBezTo>
                    <a:cubicBezTo>
                      <a:pt x="229" y="326"/>
                      <a:pt x="238" y="322"/>
                      <a:pt x="250" y="322"/>
                    </a:cubicBezTo>
                    <a:cubicBezTo>
                      <a:pt x="262" y="322"/>
                      <a:pt x="248" y="347"/>
                      <a:pt x="268" y="373"/>
                    </a:cubicBezTo>
                    <a:cubicBezTo>
                      <a:pt x="287" y="399"/>
                      <a:pt x="292" y="396"/>
                      <a:pt x="316" y="385"/>
                    </a:cubicBezTo>
                    <a:cubicBezTo>
                      <a:pt x="340" y="375"/>
                      <a:pt x="311" y="327"/>
                      <a:pt x="295" y="310"/>
                    </a:cubicBezTo>
                    <a:cubicBezTo>
                      <a:pt x="279" y="294"/>
                      <a:pt x="263" y="294"/>
                      <a:pt x="263" y="288"/>
                    </a:cubicBezTo>
                    <a:cubicBezTo>
                      <a:pt x="263" y="282"/>
                      <a:pt x="266" y="267"/>
                      <a:pt x="264" y="259"/>
                    </a:cubicBezTo>
                    <a:cubicBezTo>
                      <a:pt x="262" y="251"/>
                      <a:pt x="258" y="239"/>
                      <a:pt x="265" y="233"/>
                    </a:cubicBezTo>
                    <a:cubicBezTo>
                      <a:pt x="273" y="226"/>
                      <a:pt x="301" y="222"/>
                      <a:pt x="300" y="199"/>
                    </a:cubicBezTo>
                    <a:cubicBezTo>
                      <a:pt x="299" y="177"/>
                      <a:pt x="294" y="175"/>
                      <a:pt x="275" y="161"/>
                    </a:cubicBezTo>
                    <a:cubicBezTo>
                      <a:pt x="257" y="148"/>
                      <a:pt x="216" y="168"/>
                      <a:pt x="217" y="159"/>
                    </a:cubicBezTo>
                    <a:cubicBezTo>
                      <a:pt x="218" y="150"/>
                      <a:pt x="250" y="138"/>
                      <a:pt x="270" y="132"/>
                    </a:cubicBezTo>
                    <a:cubicBezTo>
                      <a:pt x="290" y="125"/>
                      <a:pt x="306" y="126"/>
                      <a:pt x="316" y="126"/>
                    </a:cubicBezTo>
                    <a:cubicBezTo>
                      <a:pt x="326" y="126"/>
                      <a:pt x="326" y="118"/>
                      <a:pt x="332" y="110"/>
                    </a:cubicBezTo>
                    <a:cubicBezTo>
                      <a:pt x="337" y="102"/>
                      <a:pt x="334" y="88"/>
                      <a:pt x="321" y="75"/>
                    </a:cubicBezTo>
                    <a:cubicBezTo>
                      <a:pt x="308" y="61"/>
                      <a:pt x="263" y="74"/>
                      <a:pt x="256" y="74"/>
                    </a:cubicBezTo>
                    <a:cubicBezTo>
                      <a:pt x="250" y="74"/>
                      <a:pt x="250" y="63"/>
                      <a:pt x="240" y="51"/>
                    </a:cubicBezTo>
                    <a:cubicBezTo>
                      <a:pt x="229" y="38"/>
                      <a:pt x="220" y="18"/>
                      <a:pt x="212" y="9"/>
                    </a:cubicBezTo>
                    <a:cubicBezTo>
                      <a:pt x="205" y="0"/>
                      <a:pt x="203" y="8"/>
                      <a:pt x="190" y="6"/>
                    </a:cubicBezTo>
                    <a:cubicBezTo>
                      <a:pt x="176" y="3"/>
                      <a:pt x="165" y="15"/>
                      <a:pt x="174" y="34"/>
                    </a:cubicBezTo>
                    <a:cubicBezTo>
                      <a:pt x="183" y="53"/>
                      <a:pt x="183" y="56"/>
                      <a:pt x="183" y="70"/>
                    </a:cubicBezTo>
                    <a:cubicBezTo>
                      <a:pt x="183" y="84"/>
                      <a:pt x="197" y="88"/>
                      <a:pt x="172" y="98"/>
                    </a:cubicBezTo>
                    <a:cubicBezTo>
                      <a:pt x="147" y="108"/>
                      <a:pt x="75" y="152"/>
                      <a:pt x="65" y="161"/>
                    </a:cubicBezTo>
                    <a:cubicBezTo>
                      <a:pt x="55" y="170"/>
                      <a:pt x="26" y="169"/>
                      <a:pt x="21" y="171"/>
                    </a:cubicBezTo>
                    <a:cubicBezTo>
                      <a:pt x="15" y="173"/>
                      <a:pt x="0" y="170"/>
                      <a:pt x="10" y="198"/>
                    </a:cubicBezTo>
                    <a:cubicBezTo>
                      <a:pt x="24" y="238"/>
                      <a:pt x="26" y="227"/>
                      <a:pt x="33" y="22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135" name="ïs1îḋè"/>
              <p:cNvSpPr/>
              <p:nvPr/>
            </p:nvSpPr>
            <p:spPr bwMode="auto">
              <a:xfrm>
                <a:off x="7263066" y="4780553"/>
                <a:ext cx="674688" cy="863600"/>
              </a:xfrm>
              <a:custGeom>
                <a:avLst/>
                <a:gdLst>
                  <a:gd name="T0" fmla="*/ 258 w 366"/>
                  <a:gd name="T1" fmla="*/ 136 h 468"/>
                  <a:gd name="T2" fmla="*/ 270 w 366"/>
                  <a:gd name="T3" fmla="*/ 115 h 468"/>
                  <a:gd name="T4" fmla="*/ 287 w 366"/>
                  <a:gd name="T5" fmla="*/ 153 h 468"/>
                  <a:gd name="T6" fmla="*/ 200 w 366"/>
                  <a:gd name="T7" fmla="*/ 103 h 468"/>
                  <a:gd name="T8" fmla="*/ 227 w 366"/>
                  <a:gd name="T9" fmla="*/ 122 h 468"/>
                  <a:gd name="T10" fmla="*/ 225 w 366"/>
                  <a:gd name="T11" fmla="*/ 167 h 468"/>
                  <a:gd name="T12" fmla="*/ 215 w 366"/>
                  <a:gd name="T13" fmla="*/ 201 h 468"/>
                  <a:gd name="T14" fmla="*/ 197 w 366"/>
                  <a:gd name="T15" fmla="*/ 167 h 468"/>
                  <a:gd name="T16" fmla="*/ 204 w 366"/>
                  <a:gd name="T17" fmla="*/ 133 h 468"/>
                  <a:gd name="T18" fmla="*/ 200 w 366"/>
                  <a:gd name="T19" fmla="*/ 103 h 468"/>
                  <a:gd name="T20" fmla="*/ 271 w 366"/>
                  <a:gd name="T21" fmla="*/ 175 h 468"/>
                  <a:gd name="T22" fmla="*/ 286 w 366"/>
                  <a:gd name="T23" fmla="*/ 190 h 468"/>
                  <a:gd name="T24" fmla="*/ 146 w 366"/>
                  <a:gd name="T25" fmla="*/ 109 h 468"/>
                  <a:gd name="T26" fmla="*/ 87 w 366"/>
                  <a:gd name="T27" fmla="*/ 173 h 468"/>
                  <a:gd name="T28" fmla="*/ 7 w 366"/>
                  <a:gd name="T29" fmla="*/ 236 h 468"/>
                  <a:gd name="T30" fmla="*/ 111 w 366"/>
                  <a:gd name="T31" fmla="*/ 239 h 468"/>
                  <a:gd name="T32" fmla="*/ 108 w 366"/>
                  <a:gd name="T33" fmla="*/ 279 h 468"/>
                  <a:gd name="T34" fmla="*/ 110 w 366"/>
                  <a:gd name="T35" fmla="*/ 332 h 468"/>
                  <a:gd name="T36" fmla="*/ 139 w 366"/>
                  <a:gd name="T37" fmla="*/ 316 h 468"/>
                  <a:gd name="T38" fmla="*/ 159 w 366"/>
                  <a:gd name="T39" fmla="*/ 326 h 468"/>
                  <a:gd name="T40" fmla="*/ 189 w 366"/>
                  <a:gd name="T41" fmla="*/ 330 h 468"/>
                  <a:gd name="T42" fmla="*/ 217 w 366"/>
                  <a:gd name="T43" fmla="*/ 281 h 468"/>
                  <a:gd name="T44" fmla="*/ 284 w 366"/>
                  <a:gd name="T45" fmla="*/ 237 h 468"/>
                  <a:gd name="T46" fmla="*/ 287 w 366"/>
                  <a:gd name="T47" fmla="*/ 396 h 468"/>
                  <a:gd name="T48" fmla="*/ 284 w 366"/>
                  <a:gd name="T49" fmla="*/ 461 h 468"/>
                  <a:gd name="T50" fmla="*/ 319 w 366"/>
                  <a:gd name="T51" fmla="*/ 393 h 468"/>
                  <a:gd name="T52" fmla="*/ 327 w 366"/>
                  <a:gd name="T53" fmla="*/ 227 h 468"/>
                  <a:gd name="T54" fmla="*/ 363 w 366"/>
                  <a:gd name="T55" fmla="*/ 202 h 468"/>
                  <a:gd name="T56" fmla="*/ 324 w 366"/>
                  <a:gd name="T57" fmla="*/ 162 h 468"/>
                  <a:gd name="T58" fmla="*/ 330 w 366"/>
                  <a:gd name="T59" fmla="*/ 85 h 468"/>
                  <a:gd name="T60" fmla="*/ 324 w 366"/>
                  <a:gd name="T61" fmla="*/ 23 h 468"/>
                  <a:gd name="T62" fmla="*/ 275 w 366"/>
                  <a:gd name="T63" fmla="*/ 29 h 468"/>
                  <a:gd name="T64" fmla="*/ 286 w 366"/>
                  <a:gd name="T65" fmla="*/ 69 h 468"/>
                  <a:gd name="T66" fmla="*/ 253 w 366"/>
                  <a:gd name="T67" fmla="*/ 65 h 468"/>
                  <a:gd name="T68" fmla="*/ 212 w 366"/>
                  <a:gd name="T69" fmla="*/ 52 h 468"/>
                  <a:gd name="T70" fmla="*/ 115 w 366"/>
                  <a:gd name="T71" fmla="*/ 68 h 468"/>
                  <a:gd name="T72" fmla="*/ 30 w 366"/>
                  <a:gd name="T73" fmla="*/ 163 h 468"/>
                  <a:gd name="T74" fmla="*/ 96 w 366"/>
                  <a:gd name="T75" fmla="*/ 132 h 4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366" h="468">
                    <a:moveTo>
                      <a:pt x="270" y="152"/>
                    </a:moveTo>
                    <a:cubicBezTo>
                      <a:pt x="270" y="152"/>
                      <a:pt x="273" y="146"/>
                      <a:pt x="258" y="136"/>
                    </a:cubicBezTo>
                    <a:cubicBezTo>
                      <a:pt x="242" y="126"/>
                      <a:pt x="247" y="126"/>
                      <a:pt x="254" y="122"/>
                    </a:cubicBezTo>
                    <a:cubicBezTo>
                      <a:pt x="261" y="119"/>
                      <a:pt x="262" y="114"/>
                      <a:pt x="270" y="115"/>
                    </a:cubicBezTo>
                    <a:cubicBezTo>
                      <a:pt x="279" y="116"/>
                      <a:pt x="285" y="112"/>
                      <a:pt x="287" y="120"/>
                    </a:cubicBezTo>
                    <a:cubicBezTo>
                      <a:pt x="289" y="128"/>
                      <a:pt x="291" y="151"/>
                      <a:pt x="287" y="153"/>
                    </a:cubicBezTo>
                    <a:cubicBezTo>
                      <a:pt x="284" y="155"/>
                      <a:pt x="271" y="153"/>
                      <a:pt x="270" y="152"/>
                    </a:cubicBezTo>
                    <a:close/>
                    <a:moveTo>
                      <a:pt x="200" y="103"/>
                    </a:moveTo>
                    <a:cubicBezTo>
                      <a:pt x="200" y="99"/>
                      <a:pt x="207" y="96"/>
                      <a:pt x="216" y="102"/>
                    </a:cubicBezTo>
                    <a:cubicBezTo>
                      <a:pt x="225" y="108"/>
                      <a:pt x="228" y="113"/>
                      <a:pt x="227" y="122"/>
                    </a:cubicBezTo>
                    <a:cubicBezTo>
                      <a:pt x="225" y="131"/>
                      <a:pt x="222" y="135"/>
                      <a:pt x="223" y="145"/>
                    </a:cubicBezTo>
                    <a:cubicBezTo>
                      <a:pt x="223" y="156"/>
                      <a:pt x="217" y="162"/>
                      <a:pt x="225" y="167"/>
                    </a:cubicBezTo>
                    <a:cubicBezTo>
                      <a:pt x="232" y="173"/>
                      <a:pt x="235" y="171"/>
                      <a:pt x="233" y="185"/>
                    </a:cubicBezTo>
                    <a:cubicBezTo>
                      <a:pt x="231" y="202"/>
                      <a:pt x="214" y="210"/>
                      <a:pt x="215" y="201"/>
                    </a:cubicBezTo>
                    <a:cubicBezTo>
                      <a:pt x="215" y="192"/>
                      <a:pt x="220" y="185"/>
                      <a:pt x="213" y="176"/>
                    </a:cubicBezTo>
                    <a:cubicBezTo>
                      <a:pt x="205" y="167"/>
                      <a:pt x="204" y="178"/>
                      <a:pt x="197" y="167"/>
                    </a:cubicBezTo>
                    <a:cubicBezTo>
                      <a:pt x="191" y="155"/>
                      <a:pt x="195" y="154"/>
                      <a:pt x="199" y="152"/>
                    </a:cubicBezTo>
                    <a:cubicBezTo>
                      <a:pt x="204" y="149"/>
                      <a:pt x="209" y="147"/>
                      <a:pt x="204" y="133"/>
                    </a:cubicBezTo>
                    <a:cubicBezTo>
                      <a:pt x="199" y="119"/>
                      <a:pt x="198" y="127"/>
                      <a:pt x="197" y="119"/>
                    </a:cubicBezTo>
                    <a:cubicBezTo>
                      <a:pt x="196" y="112"/>
                      <a:pt x="200" y="107"/>
                      <a:pt x="200" y="103"/>
                    </a:cubicBezTo>
                    <a:close/>
                    <a:moveTo>
                      <a:pt x="246" y="206"/>
                    </a:moveTo>
                    <a:cubicBezTo>
                      <a:pt x="243" y="205"/>
                      <a:pt x="264" y="181"/>
                      <a:pt x="271" y="175"/>
                    </a:cubicBezTo>
                    <a:cubicBezTo>
                      <a:pt x="277" y="170"/>
                      <a:pt x="289" y="166"/>
                      <a:pt x="288" y="173"/>
                    </a:cubicBezTo>
                    <a:cubicBezTo>
                      <a:pt x="287" y="180"/>
                      <a:pt x="291" y="185"/>
                      <a:pt x="286" y="190"/>
                    </a:cubicBezTo>
                    <a:cubicBezTo>
                      <a:pt x="282" y="195"/>
                      <a:pt x="250" y="207"/>
                      <a:pt x="246" y="206"/>
                    </a:cubicBezTo>
                    <a:close/>
                    <a:moveTo>
                      <a:pt x="146" y="109"/>
                    </a:moveTo>
                    <a:cubicBezTo>
                      <a:pt x="146" y="114"/>
                      <a:pt x="141" y="124"/>
                      <a:pt x="134" y="134"/>
                    </a:cubicBezTo>
                    <a:cubicBezTo>
                      <a:pt x="127" y="144"/>
                      <a:pt x="103" y="162"/>
                      <a:pt x="87" y="173"/>
                    </a:cubicBezTo>
                    <a:cubicBezTo>
                      <a:pt x="70" y="183"/>
                      <a:pt x="23" y="206"/>
                      <a:pt x="16" y="212"/>
                    </a:cubicBezTo>
                    <a:cubicBezTo>
                      <a:pt x="10" y="218"/>
                      <a:pt x="0" y="213"/>
                      <a:pt x="7" y="236"/>
                    </a:cubicBezTo>
                    <a:cubicBezTo>
                      <a:pt x="13" y="258"/>
                      <a:pt x="24" y="253"/>
                      <a:pt x="55" y="252"/>
                    </a:cubicBezTo>
                    <a:cubicBezTo>
                      <a:pt x="85" y="250"/>
                      <a:pt x="106" y="237"/>
                      <a:pt x="111" y="239"/>
                    </a:cubicBezTo>
                    <a:cubicBezTo>
                      <a:pt x="116" y="242"/>
                      <a:pt x="119" y="251"/>
                      <a:pt x="119" y="259"/>
                    </a:cubicBezTo>
                    <a:cubicBezTo>
                      <a:pt x="120" y="266"/>
                      <a:pt x="116" y="270"/>
                      <a:pt x="108" y="279"/>
                    </a:cubicBezTo>
                    <a:cubicBezTo>
                      <a:pt x="100" y="288"/>
                      <a:pt x="100" y="303"/>
                      <a:pt x="100" y="311"/>
                    </a:cubicBezTo>
                    <a:cubicBezTo>
                      <a:pt x="101" y="318"/>
                      <a:pt x="104" y="325"/>
                      <a:pt x="110" y="332"/>
                    </a:cubicBezTo>
                    <a:cubicBezTo>
                      <a:pt x="117" y="338"/>
                      <a:pt x="119" y="333"/>
                      <a:pt x="127" y="333"/>
                    </a:cubicBezTo>
                    <a:cubicBezTo>
                      <a:pt x="134" y="332"/>
                      <a:pt x="138" y="323"/>
                      <a:pt x="139" y="316"/>
                    </a:cubicBezTo>
                    <a:cubicBezTo>
                      <a:pt x="140" y="308"/>
                      <a:pt x="148" y="313"/>
                      <a:pt x="155" y="314"/>
                    </a:cubicBezTo>
                    <a:cubicBezTo>
                      <a:pt x="161" y="316"/>
                      <a:pt x="158" y="318"/>
                      <a:pt x="159" y="326"/>
                    </a:cubicBezTo>
                    <a:cubicBezTo>
                      <a:pt x="159" y="334"/>
                      <a:pt x="159" y="336"/>
                      <a:pt x="168" y="339"/>
                    </a:cubicBezTo>
                    <a:cubicBezTo>
                      <a:pt x="177" y="343"/>
                      <a:pt x="178" y="342"/>
                      <a:pt x="189" y="330"/>
                    </a:cubicBezTo>
                    <a:cubicBezTo>
                      <a:pt x="199" y="319"/>
                      <a:pt x="187" y="291"/>
                      <a:pt x="193" y="292"/>
                    </a:cubicBezTo>
                    <a:cubicBezTo>
                      <a:pt x="198" y="293"/>
                      <a:pt x="209" y="289"/>
                      <a:pt x="217" y="281"/>
                    </a:cubicBezTo>
                    <a:cubicBezTo>
                      <a:pt x="225" y="273"/>
                      <a:pt x="232" y="272"/>
                      <a:pt x="243" y="263"/>
                    </a:cubicBezTo>
                    <a:cubicBezTo>
                      <a:pt x="253" y="254"/>
                      <a:pt x="278" y="233"/>
                      <a:pt x="284" y="237"/>
                    </a:cubicBezTo>
                    <a:cubicBezTo>
                      <a:pt x="290" y="240"/>
                      <a:pt x="285" y="282"/>
                      <a:pt x="286" y="321"/>
                    </a:cubicBezTo>
                    <a:cubicBezTo>
                      <a:pt x="288" y="361"/>
                      <a:pt x="286" y="379"/>
                      <a:pt x="287" y="396"/>
                    </a:cubicBezTo>
                    <a:cubicBezTo>
                      <a:pt x="289" y="413"/>
                      <a:pt x="278" y="425"/>
                      <a:pt x="278" y="434"/>
                    </a:cubicBezTo>
                    <a:cubicBezTo>
                      <a:pt x="277" y="443"/>
                      <a:pt x="278" y="454"/>
                      <a:pt x="284" y="461"/>
                    </a:cubicBezTo>
                    <a:cubicBezTo>
                      <a:pt x="291" y="468"/>
                      <a:pt x="296" y="458"/>
                      <a:pt x="305" y="449"/>
                    </a:cubicBezTo>
                    <a:cubicBezTo>
                      <a:pt x="314" y="440"/>
                      <a:pt x="315" y="424"/>
                      <a:pt x="319" y="393"/>
                    </a:cubicBezTo>
                    <a:cubicBezTo>
                      <a:pt x="323" y="362"/>
                      <a:pt x="318" y="269"/>
                      <a:pt x="320" y="252"/>
                    </a:cubicBezTo>
                    <a:cubicBezTo>
                      <a:pt x="321" y="236"/>
                      <a:pt x="323" y="232"/>
                      <a:pt x="327" y="227"/>
                    </a:cubicBezTo>
                    <a:cubicBezTo>
                      <a:pt x="332" y="222"/>
                      <a:pt x="332" y="212"/>
                      <a:pt x="340" y="211"/>
                    </a:cubicBezTo>
                    <a:cubicBezTo>
                      <a:pt x="349" y="210"/>
                      <a:pt x="360" y="212"/>
                      <a:pt x="363" y="202"/>
                    </a:cubicBezTo>
                    <a:cubicBezTo>
                      <a:pt x="366" y="192"/>
                      <a:pt x="364" y="182"/>
                      <a:pt x="358" y="177"/>
                    </a:cubicBezTo>
                    <a:cubicBezTo>
                      <a:pt x="352" y="172"/>
                      <a:pt x="326" y="167"/>
                      <a:pt x="324" y="162"/>
                    </a:cubicBezTo>
                    <a:cubicBezTo>
                      <a:pt x="322" y="158"/>
                      <a:pt x="323" y="119"/>
                      <a:pt x="322" y="108"/>
                    </a:cubicBezTo>
                    <a:cubicBezTo>
                      <a:pt x="322" y="96"/>
                      <a:pt x="324" y="98"/>
                      <a:pt x="330" y="85"/>
                    </a:cubicBezTo>
                    <a:cubicBezTo>
                      <a:pt x="336" y="73"/>
                      <a:pt x="333" y="65"/>
                      <a:pt x="334" y="48"/>
                    </a:cubicBezTo>
                    <a:cubicBezTo>
                      <a:pt x="334" y="32"/>
                      <a:pt x="334" y="33"/>
                      <a:pt x="324" y="23"/>
                    </a:cubicBezTo>
                    <a:cubicBezTo>
                      <a:pt x="315" y="14"/>
                      <a:pt x="306" y="6"/>
                      <a:pt x="292" y="3"/>
                    </a:cubicBezTo>
                    <a:cubicBezTo>
                      <a:pt x="278" y="0"/>
                      <a:pt x="274" y="12"/>
                      <a:pt x="275" y="29"/>
                    </a:cubicBezTo>
                    <a:cubicBezTo>
                      <a:pt x="275" y="47"/>
                      <a:pt x="278" y="37"/>
                      <a:pt x="282" y="43"/>
                    </a:cubicBezTo>
                    <a:cubicBezTo>
                      <a:pt x="286" y="49"/>
                      <a:pt x="285" y="62"/>
                      <a:pt x="286" y="69"/>
                    </a:cubicBezTo>
                    <a:cubicBezTo>
                      <a:pt x="287" y="76"/>
                      <a:pt x="283" y="77"/>
                      <a:pt x="274" y="77"/>
                    </a:cubicBezTo>
                    <a:cubicBezTo>
                      <a:pt x="265" y="78"/>
                      <a:pt x="268" y="69"/>
                      <a:pt x="253" y="65"/>
                    </a:cubicBezTo>
                    <a:cubicBezTo>
                      <a:pt x="238" y="60"/>
                      <a:pt x="225" y="74"/>
                      <a:pt x="218" y="72"/>
                    </a:cubicBezTo>
                    <a:cubicBezTo>
                      <a:pt x="212" y="71"/>
                      <a:pt x="215" y="68"/>
                      <a:pt x="212" y="52"/>
                    </a:cubicBezTo>
                    <a:cubicBezTo>
                      <a:pt x="209" y="36"/>
                      <a:pt x="191" y="26"/>
                      <a:pt x="177" y="26"/>
                    </a:cubicBezTo>
                    <a:cubicBezTo>
                      <a:pt x="164" y="26"/>
                      <a:pt x="135" y="52"/>
                      <a:pt x="115" y="68"/>
                    </a:cubicBezTo>
                    <a:cubicBezTo>
                      <a:pt x="96" y="84"/>
                      <a:pt x="55" y="129"/>
                      <a:pt x="47" y="139"/>
                    </a:cubicBezTo>
                    <a:cubicBezTo>
                      <a:pt x="39" y="149"/>
                      <a:pt x="30" y="156"/>
                      <a:pt x="30" y="163"/>
                    </a:cubicBezTo>
                    <a:cubicBezTo>
                      <a:pt x="30" y="170"/>
                      <a:pt x="28" y="170"/>
                      <a:pt x="39" y="172"/>
                    </a:cubicBezTo>
                    <a:cubicBezTo>
                      <a:pt x="49" y="174"/>
                      <a:pt x="64" y="154"/>
                      <a:pt x="96" y="132"/>
                    </a:cubicBezTo>
                    <a:cubicBezTo>
                      <a:pt x="128" y="110"/>
                      <a:pt x="147" y="103"/>
                      <a:pt x="146" y="10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254" name="îš1ïdè"/>
              <p:cNvSpPr/>
              <p:nvPr/>
            </p:nvSpPr>
            <p:spPr bwMode="auto">
              <a:xfrm>
                <a:off x="5180266" y="4845640"/>
                <a:ext cx="635000" cy="660400"/>
              </a:xfrm>
              <a:custGeom>
                <a:avLst/>
                <a:gdLst>
                  <a:gd name="T0" fmla="*/ 5 w 344"/>
                  <a:gd name="T1" fmla="*/ 147 h 358"/>
                  <a:gd name="T2" fmla="*/ 38 w 344"/>
                  <a:gd name="T3" fmla="*/ 142 h 358"/>
                  <a:gd name="T4" fmla="*/ 53 w 344"/>
                  <a:gd name="T5" fmla="*/ 125 h 358"/>
                  <a:gd name="T6" fmla="*/ 43 w 344"/>
                  <a:gd name="T7" fmla="*/ 70 h 358"/>
                  <a:gd name="T8" fmla="*/ 48 w 344"/>
                  <a:gd name="T9" fmla="*/ 43 h 358"/>
                  <a:gd name="T10" fmla="*/ 76 w 344"/>
                  <a:gd name="T11" fmla="*/ 45 h 358"/>
                  <a:gd name="T12" fmla="*/ 122 w 344"/>
                  <a:gd name="T13" fmla="*/ 89 h 358"/>
                  <a:gd name="T14" fmla="*/ 122 w 344"/>
                  <a:gd name="T15" fmla="*/ 185 h 358"/>
                  <a:gd name="T16" fmla="*/ 141 w 344"/>
                  <a:gd name="T17" fmla="*/ 192 h 358"/>
                  <a:gd name="T18" fmla="*/ 231 w 344"/>
                  <a:gd name="T19" fmla="*/ 135 h 358"/>
                  <a:gd name="T20" fmla="*/ 241 w 344"/>
                  <a:gd name="T21" fmla="*/ 87 h 358"/>
                  <a:gd name="T22" fmla="*/ 234 w 344"/>
                  <a:gd name="T23" fmla="*/ 48 h 358"/>
                  <a:gd name="T24" fmla="*/ 263 w 344"/>
                  <a:gd name="T25" fmla="*/ 17 h 358"/>
                  <a:gd name="T26" fmla="*/ 298 w 344"/>
                  <a:gd name="T27" fmla="*/ 76 h 358"/>
                  <a:gd name="T28" fmla="*/ 292 w 344"/>
                  <a:gd name="T29" fmla="*/ 111 h 358"/>
                  <a:gd name="T30" fmla="*/ 317 w 344"/>
                  <a:gd name="T31" fmla="*/ 138 h 358"/>
                  <a:gd name="T32" fmla="*/ 292 w 344"/>
                  <a:gd name="T33" fmla="*/ 181 h 358"/>
                  <a:gd name="T34" fmla="*/ 270 w 344"/>
                  <a:gd name="T35" fmla="*/ 217 h 358"/>
                  <a:gd name="T36" fmla="*/ 276 w 344"/>
                  <a:gd name="T37" fmla="*/ 252 h 358"/>
                  <a:gd name="T38" fmla="*/ 334 w 344"/>
                  <a:gd name="T39" fmla="*/ 270 h 358"/>
                  <a:gd name="T40" fmla="*/ 333 w 344"/>
                  <a:gd name="T41" fmla="*/ 304 h 358"/>
                  <a:gd name="T42" fmla="*/ 226 w 344"/>
                  <a:gd name="T43" fmla="*/ 338 h 358"/>
                  <a:gd name="T44" fmla="*/ 166 w 344"/>
                  <a:gd name="T45" fmla="*/ 352 h 358"/>
                  <a:gd name="T46" fmla="*/ 191 w 344"/>
                  <a:gd name="T47" fmla="*/ 319 h 358"/>
                  <a:gd name="T48" fmla="*/ 228 w 344"/>
                  <a:gd name="T49" fmla="*/ 287 h 358"/>
                  <a:gd name="T50" fmla="*/ 231 w 344"/>
                  <a:gd name="T51" fmla="*/ 223 h 358"/>
                  <a:gd name="T52" fmla="*/ 194 w 344"/>
                  <a:gd name="T53" fmla="*/ 194 h 358"/>
                  <a:gd name="T54" fmla="*/ 152 w 344"/>
                  <a:gd name="T55" fmla="*/ 228 h 358"/>
                  <a:gd name="T56" fmla="*/ 55 w 344"/>
                  <a:gd name="T57" fmla="*/ 337 h 358"/>
                  <a:gd name="T58" fmla="*/ 21 w 344"/>
                  <a:gd name="T59" fmla="*/ 316 h 358"/>
                  <a:gd name="T60" fmla="*/ 30 w 344"/>
                  <a:gd name="T61" fmla="*/ 260 h 358"/>
                  <a:gd name="T62" fmla="*/ 53 w 344"/>
                  <a:gd name="T63" fmla="*/ 228 h 358"/>
                  <a:gd name="T64" fmla="*/ 37 w 344"/>
                  <a:gd name="T65" fmla="*/ 201 h 358"/>
                  <a:gd name="T66" fmla="*/ 1 w 344"/>
                  <a:gd name="T67" fmla="*/ 170 h 358"/>
                  <a:gd name="T68" fmla="*/ 5 w 344"/>
                  <a:gd name="T69" fmla="*/ 147 h 3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344" h="358">
                    <a:moveTo>
                      <a:pt x="5" y="147"/>
                    </a:moveTo>
                    <a:cubicBezTo>
                      <a:pt x="6" y="143"/>
                      <a:pt x="22" y="140"/>
                      <a:pt x="38" y="142"/>
                    </a:cubicBezTo>
                    <a:cubicBezTo>
                      <a:pt x="54" y="144"/>
                      <a:pt x="53" y="137"/>
                      <a:pt x="53" y="125"/>
                    </a:cubicBezTo>
                    <a:cubicBezTo>
                      <a:pt x="53" y="112"/>
                      <a:pt x="60" y="89"/>
                      <a:pt x="43" y="70"/>
                    </a:cubicBezTo>
                    <a:cubicBezTo>
                      <a:pt x="25" y="52"/>
                      <a:pt x="48" y="43"/>
                      <a:pt x="48" y="43"/>
                    </a:cubicBezTo>
                    <a:cubicBezTo>
                      <a:pt x="48" y="43"/>
                      <a:pt x="55" y="32"/>
                      <a:pt x="76" y="45"/>
                    </a:cubicBezTo>
                    <a:cubicBezTo>
                      <a:pt x="97" y="58"/>
                      <a:pt x="115" y="74"/>
                      <a:pt x="122" y="89"/>
                    </a:cubicBezTo>
                    <a:cubicBezTo>
                      <a:pt x="129" y="104"/>
                      <a:pt x="118" y="174"/>
                      <a:pt x="122" y="185"/>
                    </a:cubicBezTo>
                    <a:cubicBezTo>
                      <a:pt x="125" y="195"/>
                      <a:pt x="130" y="200"/>
                      <a:pt x="141" y="192"/>
                    </a:cubicBezTo>
                    <a:cubicBezTo>
                      <a:pt x="153" y="183"/>
                      <a:pt x="214" y="138"/>
                      <a:pt x="231" y="135"/>
                    </a:cubicBezTo>
                    <a:cubicBezTo>
                      <a:pt x="249" y="132"/>
                      <a:pt x="241" y="103"/>
                      <a:pt x="241" y="87"/>
                    </a:cubicBezTo>
                    <a:cubicBezTo>
                      <a:pt x="242" y="70"/>
                      <a:pt x="234" y="59"/>
                      <a:pt x="234" y="48"/>
                    </a:cubicBezTo>
                    <a:cubicBezTo>
                      <a:pt x="234" y="36"/>
                      <a:pt x="247" y="0"/>
                      <a:pt x="263" y="17"/>
                    </a:cubicBezTo>
                    <a:cubicBezTo>
                      <a:pt x="279" y="35"/>
                      <a:pt x="303" y="58"/>
                      <a:pt x="298" y="76"/>
                    </a:cubicBezTo>
                    <a:cubicBezTo>
                      <a:pt x="294" y="95"/>
                      <a:pt x="283" y="92"/>
                      <a:pt x="292" y="111"/>
                    </a:cubicBezTo>
                    <a:cubicBezTo>
                      <a:pt x="301" y="129"/>
                      <a:pt x="320" y="117"/>
                      <a:pt x="317" y="138"/>
                    </a:cubicBezTo>
                    <a:cubicBezTo>
                      <a:pt x="315" y="160"/>
                      <a:pt x="321" y="149"/>
                      <a:pt x="292" y="181"/>
                    </a:cubicBezTo>
                    <a:cubicBezTo>
                      <a:pt x="268" y="209"/>
                      <a:pt x="270" y="208"/>
                      <a:pt x="270" y="217"/>
                    </a:cubicBezTo>
                    <a:cubicBezTo>
                      <a:pt x="270" y="226"/>
                      <a:pt x="266" y="249"/>
                      <a:pt x="276" y="252"/>
                    </a:cubicBezTo>
                    <a:cubicBezTo>
                      <a:pt x="287" y="254"/>
                      <a:pt x="325" y="250"/>
                      <a:pt x="334" y="270"/>
                    </a:cubicBezTo>
                    <a:cubicBezTo>
                      <a:pt x="344" y="290"/>
                      <a:pt x="344" y="295"/>
                      <a:pt x="333" y="304"/>
                    </a:cubicBezTo>
                    <a:cubicBezTo>
                      <a:pt x="321" y="312"/>
                      <a:pt x="288" y="320"/>
                      <a:pt x="226" y="338"/>
                    </a:cubicBezTo>
                    <a:cubicBezTo>
                      <a:pt x="180" y="351"/>
                      <a:pt x="168" y="358"/>
                      <a:pt x="166" y="352"/>
                    </a:cubicBezTo>
                    <a:cubicBezTo>
                      <a:pt x="164" y="346"/>
                      <a:pt x="175" y="331"/>
                      <a:pt x="191" y="319"/>
                    </a:cubicBezTo>
                    <a:cubicBezTo>
                      <a:pt x="207" y="307"/>
                      <a:pt x="224" y="304"/>
                      <a:pt x="228" y="287"/>
                    </a:cubicBezTo>
                    <a:cubicBezTo>
                      <a:pt x="232" y="270"/>
                      <a:pt x="235" y="234"/>
                      <a:pt x="231" y="223"/>
                    </a:cubicBezTo>
                    <a:cubicBezTo>
                      <a:pt x="227" y="212"/>
                      <a:pt x="213" y="188"/>
                      <a:pt x="194" y="194"/>
                    </a:cubicBezTo>
                    <a:cubicBezTo>
                      <a:pt x="176" y="200"/>
                      <a:pt x="166" y="210"/>
                      <a:pt x="152" y="228"/>
                    </a:cubicBezTo>
                    <a:cubicBezTo>
                      <a:pt x="138" y="247"/>
                      <a:pt x="66" y="336"/>
                      <a:pt x="55" y="337"/>
                    </a:cubicBezTo>
                    <a:cubicBezTo>
                      <a:pt x="45" y="338"/>
                      <a:pt x="22" y="340"/>
                      <a:pt x="21" y="316"/>
                    </a:cubicBezTo>
                    <a:cubicBezTo>
                      <a:pt x="20" y="292"/>
                      <a:pt x="16" y="285"/>
                      <a:pt x="30" y="260"/>
                    </a:cubicBezTo>
                    <a:cubicBezTo>
                      <a:pt x="44" y="234"/>
                      <a:pt x="53" y="241"/>
                      <a:pt x="53" y="228"/>
                    </a:cubicBezTo>
                    <a:cubicBezTo>
                      <a:pt x="53" y="216"/>
                      <a:pt x="47" y="207"/>
                      <a:pt x="37" y="201"/>
                    </a:cubicBezTo>
                    <a:cubicBezTo>
                      <a:pt x="27" y="195"/>
                      <a:pt x="2" y="182"/>
                      <a:pt x="1" y="170"/>
                    </a:cubicBezTo>
                    <a:cubicBezTo>
                      <a:pt x="0" y="157"/>
                      <a:pt x="4" y="150"/>
                      <a:pt x="5" y="14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255" name="ï$líḋé"/>
              <p:cNvSpPr/>
              <p:nvPr/>
            </p:nvSpPr>
            <p:spPr bwMode="auto">
              <a:xfrm>
                <a:off x="5596191" y="5675903"/>
                <a:ext cx="25400" cy="30163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256" name="işḷíḓè"/>
              <p:cNvSpPr/>
              <p:nvPr/>
            </p:nvSpPr>
            <p:spPr bwMode="auto">
              <a:xfrm>
                <a:off x="5596191" y="5733053"/>
                <a:ext cx="25400" cy="149225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257" name="ïSḷîḋé"/>
              <p:cNvSpPr/>
              <p:nvPr/>
            </p:nvSpPr>
            <p:spPr bwMode="auto">
              <a:xfrm>
                <a:off x="5645403" y="5733053"/>
                <a:ext cx="136525" cy="149225"/>
              </a:xfrm>
              <a:custGeom>
                <a:avLst/>
                <a:gdLst>
                  <a:gd name="T0" fmla="*/ 42 w 74"/>
                  <a:gd name="T1" fmla="*/ 50 h 81"/>
                  <a:gd name="T2" fmla="*/ 37 w 74"/>
                  <a:gd name="T3" fmla="*/ 65 h 81"/>
                  <a:gd name="T4" fmla="*/ 32 w 74"/>
                  <a:gd name="T5" fmla="*/ 49 h 81"/>
                  <a:gd name="T6" fmla="*/ 14 w 74"/>
                  <a:gd name="T7" fmla="*/ 0 h 81"/>
                  <a:gd name="T8" fmla="*/ 0 w 74"/>
                  <a:gd name="T9" fmla="*/ 0 h 81"/>
                  <a:gd name="T10" fmla="*/ 31 w 74"/>
                  <a:gd name="T11" fmla="*/ 81 h 81"/>
                  <a:gd name="T12" fmla="*/ 44 w 74"/>
                  <a:gd name="T13" fmla="*/ 81 h 81"/>
                  <a:gd name="T14" fmla="*/ 74 w 74"/>
                  <a:gd name="T15" fmla="*/ 0 h 81"/>
                  <a:gd name="T16" fmla="*/ 60 w 74"/>
                  <a:gd name="T17" fmla="*/ 0 h 81"/>
                  <a:gd name="T18" fmla="*/ 42 w 74"/>
                  <a:gd name="T19" fmla="*/ 50 h 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74" h="81">
                    <a:moveTo>
                      <a:pt x="42" y="50"/>
                    </a:moveTo>
                    <a:cubicBezTo>
                      <a:pt x="40" y="56"/>
                      <a:pt x="38" y="61"/>
                      <a:pt x="37" y="65"/>
                    </a:cubicBezTo>
                    <a:cubicBezTo>
                      <a:pt x="35" y="59"/>
                      <a:pt x="34" y="54"/>
                      <a:pt x="32" y="49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31" y="81"/>
                      <a:pt x="31" y="81"/>
                      <a:pt x="31" y="81"/>
                    </a:cubicBezTo>
                    <a:cubicBezTo>
                      <a:pt x="44" y="81"/>
                      <a:pt x="44" y="81"/>
                      <a:pt x="44" y="81"/>
                    </a:cubicBezTo>
                    <a:cubicBezTo>
                      <a:pt x="74" y="0"/>
                      <a:pt x="74" y="0"/>
                      <a:pt x="74" y="0"/>
                    </a:cubicBezTo>
                    <a:cubicBezTo>
                      <a:pt x="60" y="0"/>
                      <a:pt x="60" y="0"/>
                      <a:pt x="60" y="0"/>
                    </a:cubicBezTo>
                    <a:lnTo>
                      <a:pt x="42" y="5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258" name="išḷiḓé"/>
              <p:cNvSpPr/>
              <p:nvPr/>
            </p:nvSpPr>
            <p:spPr bwMode="auto">
              <a:xfrm>
                <a:off x="5796216" y="5729878"/>
                <a:ext cx="138113" cy="157163"/>
              </a:xfrm>
              <a:custGeom>
                <a:avLst/>
                <a:gdLst>
                  <a:gd name="T0" fmla="*/ 38 w 75"/>
                  <a:gd name="T1" fmla="*/ 0 h 85"/>
                  <a:gd name="T2" fmla="*/ 10 w 75"/>
                  <a:gd name="T3" fmla="*/ 12 h 85"/>
                  <a:gd name="T4" fmla="*/ 0 w 75"/>
                  <a:gd name="T5" fmla="*/ 43 h 85"/>
                  <a:gd name="T6" fmla="*/ 10 w 75"/>
                  <a:gd name="T7" fmla="*/ 74 h 85"/>
                  <a:gd name="T8" fmla="*/ 39 w 75"/>
                  <a:gd name="T9" fmla="*/ 85 h 85"/>
                  <a:gd name="T10" fmla="*/ 62 w 75"/>
                  <a:gd name="T11" fmla="*/ 78 h 85"/>
                  <a:gd name="T12" fmla="*/ 74 w 75"/>
                  <a:gd name="T13" fmla="*/ 59 h 85"/>
                  <a:gd name="T14" fmla="*/ 60 w 75"/>
                  <a:gd name="T15" fmla="*/ 57 h 85"/>
                  <a:gd name="T16" fmla="*/ 52 w 75"/>
                  <a:gd name="T17" fmla="*/ 70 h 85"/>
                  <a:gd name="T18" fmla="*/ 39 w 75"/>
                  <a:gd name="T19" fmla="*/ 74 h 85"/>
                  <a:gd name="T20" fmla="*/ 22 w 75"/>
                  <a:gd name="T21" fmla="*/ 67 h 85"/>
                  <a:gd name="T22" fmla="*/ 14 w 75"/>
                  <a:gd name="T23" fmla="*/ 46 h 85"/>
                  <a:gd name="T24" fmla="*/ 75 w 75"/>
                  <a:gd name="T25" fmla="*/ 46 h 85"/>
                  <a:gd name="T26" fmla="*/ 75 w 75"/>
                  <a:gd name="T27" fmla="*/ 43 h 85"/>
                  <a:gd name="T28" fmla="*/ 64 w 75"/>
                  <a:gd name="T29" fmla="*/ 11 h 85"/>
                  <a:gd name="T30" fmla="*/ 38 w 75"/>
                  <a:gd name="T31" fmla="*/ 0 h 85"/>
                  <a:gd name="T32" fmla="*/ 15 w 75"/>
                  <a:gd name="T33" fmla="*/ 35 h 85"/>
                  <a:gd name="T34" fmla="*/ 22 w 75"/>
                  <a:gd name="T35" fmla="*/ 18 h 85"/>
                  <a:gd name="T36" fmla="*/ 38 w 75"/>
                  <a:gd name="T37" fmla="*/ 12 h 85"/>
                  <a:gd name="T38" fmla="*/ 55 w 75"/>
                  <a:gd name="T39" fmla="*/ 20 h 85"/>
                  <a:gd name="T40" fmla="*/ 60 w 75"/>
                  <a:gd name="T41" fmla="*/ 35 h 85"/>
                  <a:gd name="T42" fmla="*/ 15 w 75"/>
                  <a:gd name="T43" fmla="*/ 35 h 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75" h="85">
                    <a:moveTo>
                      <a:pt x="38" y="0"/>
                    </a:moveTo>
                    <a:cubicBezTo>
                      <a:pt x="27" y="0"/>
                      <a:pt x="17" y="4"/>
                      <a:pt x="10" y="12"/>
                    </a:cubicBezTo>
                    <a:cubicBezTo>
                      <a:pt x="3" y="19"/>
                      <a:pt x="0" y="30"/>
                      <a:pt x="0" y="43"/>
                    </a:cubicBezTo>
                    <a:cubicBezTo>
                      <a:pt x="0" y="57"/>
                      <a:pt x="3" y="67"/>
                      <a:pt x="10" y="74"/>
                    </a:cubicBezTo>
                    <a:cubicBezTo>
                      <a:pt x="17" y="81"/>
                      <a:pt x="27" y="85"/>
                      <a:pt x="39" y="85"/>
                    </a:cubicBezTo>
                    <a:cubicBezTo>
                      <a:pt x="48" y="85"/>
                      <a:pt x="56" y="83"/>
                      <a:pt x="62" y="78"/>
                    </a:cubicBezTo>
                    <a:cubicBezTo>
                      <a:pt x="68" y="74"/>
                      <a:pt x="72" y="67"/>
                      <a:pt x="74" y="59"/>
                    </a:cubicBezTo>
                    <a:cubicBezTo>
                      <a:pt x="60" y="57"/>
                      <a:pt x="60" y="57"/>
                      <a:pt x="60" y="57"/>
                    </a:cubicBezTo>
                    <a:cubicBezTo>
                      <a:pt x="58" y="63"/>
                      <a:pt x="55" y="67"/>
                      <a:pt x="52" y="70"/>
                    </a:cubicBezTo>
                    <a:cubicBezTo>
                      <a:pt x="48" y="73"/>
                      <a:pt x="44" y="74"/>
                      <a:pt x="39" y="74"/>
                    </a:cubicBezTo>
                    <a:cubicBezTo>
                      <a:pt x="32" y="74"/>
                      <a:pt x="26" y="71"/>
                      <a:pt x="22" y="67"/>
                    </a:cubicBezTo>
                    <a:cubicBezTo>
                      <a:pt x="17" y="62"/>
                      <a:pt x="15" y="55"/>
                      <a:pt x="14" y="46"/>
                    </a:cubicBezTo>
                    <a:cubicBezTo>
                      <a:pt x="75" y="46"/>
                      <a:pt x="75" y="46"/>
                      <a:pt x="75" y="46"/>
                    </a:cubicBezTo>
                    <a:cubicBezTo>
                      <a:pt x="75" y="45"/>
                      <a:pt x="75" y="43"/>
                      <a:pt x="75" y="43"/>
                    </a:cubicBezTo>
                    <a:cubicBezTo>
                      <a:pt x="75" y="29"/>
                      <a:pt x="71" y="19"/>
                      <a:pt x="64" y="11"/>
                    </a:cubicBezTo>
                    <a:cubicBezTo>
                      <a:pt x="58" y="4"/>
                      <a:pt x="49" y="0"/>
                      <a:pt x="38" y="0"/>
                    </a:cubicBezTo>
                    <a:close/>
                    <a:moveTo>
                      <a:pt x="15" y="35"/>
                    </a:moveTo>
                    <a:cubicBezTo>
                      <a:pt x="15" y="28"/>
                      <a:pt x="18" y="22"/>
                      <a:pt x="22" y="18"/>
                    </a:cubicBezTo>
                    <a:cubicBezTo>
                      <a:pt x="26" y="14"/>
                      <a:pt x="32" y="12"/>
                      <a:pt x="38" y="12"/>
                    </a:cubicBezTo>
                    <a:cubicBezTo>
                      <a:pt x="45" y="12"/>
                      <a:pt x="51" y="14"/>
                      <a:pt x="55" y="20"/>
                    </a:cubicBezTo>
                    <a:cubicBezTo>
                      <a:pt x="58" y="23"/>
                      <a:pt x="60" y="28"/>
                      <a:pt x="60" y="35"/>
                    </a:cubicBezTo>
                    <a:lnTo>
                      <a:pt x="15" y="3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259" name="iṩľidè"/>
              <p:cNvSpPr/>
              <p:nvPr/>
            </p:nvSpPr>
            <p:spPr bwMode="auto">
              <a:xfrm>
                <a:off x="5964491" y="5729878"/>
                <a:ext cx="82550" cy="152400"/>
              </a:xfrm>
              <a:custGeom>
                <a:avLst/>
                <a:gdLst>
                  <a:gd name="T0" fmla="*/ 22 w 45"/>
                  <a:gd name="T1" fmla="*/ 3 h 83"/>
                  <a:gd name="T2" fmla="*/ 13 w 45"/>
                  <a:gd name="T3" fmla="*/ 14 h 83"/>
                  <a:gd name="T4" fmla="*/ 13 w 45"/>
                  <a:gd name="T5" fmla="*/ 2 h 83"/>
                  <a:gd name="T6" fmla="*/ 0 w 45"/>
                  <a:gd name="T7" fmla="*/ 2 h 83"/>
                  <a:gd name="T8" fmla="*/ 0 w 45"/>
                  <a:gd name="T9" fmla="*/ 83 h 83"/>
                  <a:gd name="T10" fmla="*/ 14 w 45"/>
                  <a:gd name="T11" fmla="*/ 83 h 83"/>
                  <a:gd name="T12" fmla="*/ 14 w 45"/>
                  <a:gd name="T13" fmla="*/ 41 h 83"/>
                  <a:gd name="T14" fmla="*/ 17 w 45"/>
                  <a:gd name="T15" fmla="*/ 25 h 83"/>
                  <a:gd name="T16" fmla="*/ 22 w 45"/>
                  <a:gd name="T17" fmla="*/ 17 h 83"/>
                  <a:gd name="T18" fmla="*/ 30 w 45"/>
                  <a:gd name="T19" fmla="*/ 14 h 83"/>
                  <a:gd name="T20" fmla="*/ 40 w 45"/>
                  <a:gd name="T21" fmla="*/ 17 h 83"/>
                  <a:gd name="T22" fmla="*/ 45 w 45"/>
                  <a:gd name="T23" fmla="*/ 5 h 83"/>
                  <a:gd name="T24" fmla="*/ 30 w 45"/>
                  <a:gd name="T25" fmla="*/ 0 h 83"/>
                  <a:gd name="T26" fmla="*/ 22 w 45"/>
                  <a:gd name="T27" fmla="*/ 3 h 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45" h="83">
                    <a:moveTo>
                      <a:pt x="22" y="3"/>
                    </a:moveTo>
                    <a:cubicBezTo>
                      <a:pt x="19" y="5"/>
                      <a:pt x="16" y="9"/>
                      <a:pt x="13" y="14"/>
                    </a:cubicBezTo>
                    <a:cubicBezTo>
                      <a:pt x="13" y="2"/>
                      <a:pt x="13" y="2"/>
                      <a:pt x="13" y="2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83"/>
                      <a:pt x="0" y="83"/>
                      <a:pt x="0" y="83"/>
                    </a:cubicBezTo>
                    <a:cubicBezTo>
                      <a:pt x="14" y="83"/>
                      <a:pt x="14" y="83"/>
                      <a:pt x="14" y="83"/>
                    </a:cubicBezTo>
                    <a:cubicBezTo>
                      <a:pt x="14" y="41"/>
                      <a:pt x="14" y="41"/>
                      <a:pt x="14" y="41"/>
                    </a:cubicBezTo>
                    <a:cubicBezTo>
                      <a:pt x="14" y="35"/>
                      <a:pt x="15" y="30"/>
                      <a:pt x="17" y="25"/>
                    </a:cubicBezTo>
                    <a:cubicBezTo>
                      <a:pt x="18" y="21"/>
                      <a:pt x="19" y="19"/>
                      <a:pt x="22" y="17"/>
                    </a:cubicBezTo>
                    <a:cubicBezTo>
                      <a:pt x="24" y="15"/>
                      <a:pt x="27" y="14"/>
                      <a:pt x="30" y="14"/>
                    </a:cubicBezTo>
                    <a:cubicBezTo>
                      <a:pt x="33" y="14"/>
                      <a:pt x="37" y="15"/>
                      <a:pt x="40" y="17"/>
                    </a:cubicBezTo>
                    <a:cubicBezTo>
                      <a:pt x="45" y="5"/>
                      <a:pt x="45" y="5"/>
                      <a:pt x="45" y="5"/>
                    </a:cubicBezTo>
                    <a:cubicBezTo>
                      <a:pt x="40" y="2"/>
                      <a:pt x="35" y="0"/>
                      <a:pt x="30" y="0"/>
                    </a:cubicBezTo>
                    <a:cubicBezTo>
                      <a:pt x="27" y="0"/>
                      <a:pt x="24" y="1"/>
                      <a:pt x="22" y="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260" name="îṡļiḑe"/>
              <p:cNvSpPr/>
              <p:nvPr/>
            </p:nvSpPr>
            <p:spPr bwMode="auto">
              <a:xfrm>
                <a:off x="6050216" y="5729878"/>
                <a:ext cx="125413" cy="157163"/>
              </a:xfrm>
              <a:custGeom>
                <a:avLst/>
                <a:gdLst>
                  <a:gd name="T0" fmla="*/ 55 w 68"/>
                  <a:gd name="T1" fmla="*/ 40 h 85"/>
                  <a:gd name="T2" fmla="*/ 35 w 68"/>
                  <a:gd name="T3" fmla="*/ 34 h 85"/>
                  <a:gd name="T4" fmla="*/ 23 w 68"/>
                  <a:gd name="T5" fmla="*/ 31 h 85"/>
                  <a:gd name="T6" fmla="*/ 18 w 68"/>
                  <a:gd name="T7" fmla="*/ 27 h 85"/>
                  <a:gd name="T8" fmla="*/ 16 w 68"/>
                  <a:gd name="T9" fmla="*/ 22 h 85"/>
                  <a:gd name="T10" fmla="*/ 20 w 68"/>
                  <a:gd name="T11" fmla="*/ 15 h 85"/>
                  <a:gd name="T12" fmla="*/ 34 w 68"/>
                  <a:gd name="T13" fmla="*/ 12 h 85"/>
                  <a:gd name="T14" fmla="*/ 46 w 68"/>
                  <a:gd name="T15" fmla="*/ 15 h 85"/>
                  <a:gd name="T16" fmla="*/ 51 w 68"/>
                  <a:gd name="T17" fmla="*/ 25 h 85"/>
                  <a:gd name="T18" fmla="*/ 65 w 68"/>
                  <a:gd name="T19" fmla="*/ 23 h 85"/>
                  <a:gd name="T20" fmla="*/ 60 w 68"/>
                  <a:gd name="T21" fmla="*/ 10 h 85"/>
                  <a:gd name="T22" fmla="*/ 49 w 68"/>
                  <a:gd name="T23" fmla="*/ 3 h 85"/>
                  <a:gd name="T24" fmla="*/ 33 w 68"/>
                  <a:gd name="T25" fmla="*/ 0 h 85"/>
                  <a:gd name="T26" fmla="*/ 21 w 68"/>
                  <a:gd name="T27" fmla="*/ 2 h 85"/>
                  <a:gd name="T28" fmla="*/ 12 w 68"/>
                  <a:gd name="T29" fmla="*/ 6 h 85"/>
                  <a:gd name="T30" fmla="*/ 5 w 68"/>
                  <a:gd name="T31" fmla="*/ 14 h 85"/>
                  <a:gd name="T32" fmla="*/ 3 w 68"/>
                  <a:gd name="T33" fmla="*/ 24 h 85"/>
                  <a:gd name="T34" fmla="*/ 6 w 68"/>
                  <a:gd name="T35" fmla="*/ 35 h 85"/>
                  <a:gd name="T36" fmla="*/ 15 w 68"/>
                  <a:gd name="T37" fmla="*/ 42 h 85"/>
                  <a:gd name="T38" fmla="*/ 36 w 68"/>
                  <a:gd name="T39" fmla="*/ 49 h 85"/>
                  <a:gd name="T40" fmla="*/ 50 w 68"/>
                  <a:gd name="T41" fmla="*/ 54 h 85"/>
                  <a:gd name="T42" fmla="*/ 54 w 68"/>
                  <a:gd name="T43" fmla="*/ 61 h 85"/>
                  <a:gd name="T44" fmla="*/ 49 w 68"/>
                  <a:gd name="T45" fmla="*/ 70 h 85"/>
                  <a:gd name="T46" fmla="*/ 35 w 68"/>
                  <a:gd name="T47" fmla="*/ 74 h 85"/>
                  <a:gd name="T48" fmla="*/ 20 w 68"/>
                  <a:gd name="T49" fmla="*/ 69 h 85"/>
                  <a:gd name="T50" fmla="*/ 14 w 68"/>
                  <a:gd name="T51" fmla="*/ 57 h 85"/>
                  <a:gd name="T52" fmla="*/ 0 w 68"/>
                  <a:gd name="T53" fmla="*/ 59 h 85"/>
                  <a:gd name="T54" fmla="*/ 11 w 68"/>
                  <a:gd name="T55" fmla="*/ 79 h 85"/>
                  <a:gd name="T56" fmla="*/ 35 w 68"/>
                  <a:gd name="T57" fmla="*/ 85 h 85"/>
                  <a:gd name="T58" fmla="*/ 52 w 68"/>
                  <a:gd name="T59" fmla="*/ 82 h 85"/>
                  <a:gd name="T60" fmla="*/ 64 w 68"/>
                  <a:gd name="T61" fmla="*/ 72 h 85"/>
                  <a:gd name="T62" fmla="*/ 68 w 68"/>
                  <a:gd name="T63" fmla="*/ 59 h 85"/>
                  <a:gd name="T64" fmla="*/ 65 w 68"/>
                  <a:gd name="T65" fmla="*/ 48 h 85"/>
                  <a:gd name="T66" fmla="*/ 55 w 68"/>
                  <a:gd name="T67" fmla="*/ 40 h 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68" h="85">
                    <a:moveTo>
                      <a:pt x="55" y="40"/>
                    </a:moveTo>
                    <a:cubicBezTo>
                      <a:pt x="52" y="39"/>
                      <a:pt x="45" y="37"/>
                      <a:pt x="35" y="34"/>
                    </a:cubicBezTo>
                    <a:cubicBezTo>
                      <a:pt x="28" y="32"/>
                      <a:pt x="24" y="31"/>
                      <a:pt x="23" y="31"/>
                    </a:cubicBezTo>
                    <a:cubicBezTo>
                      <a:pt x="20" y="30"/>
                      <a:pt x="19" y="28"/>
                      <a:pt x="18" y="27"/>
                    </a:cubicBezTo>
                    <a:cubicBezTo>
                      <a:pt x="16" y="25"/>
                      <a:pt x="16" y="24"/>
                      <a:pt x="16" y="22"/>
                    </a:cubicBezTo>
                    <a:cubicBezTo>
                      <a:pt x="16" y="19"/>
                      <a:pt x="17" y="17"/>
                      <a:pt x="20" y="15"/>
                    </a:cubicBezTo>
                    <a:cubicBezTo>
                      <a:pt x="23" y="13"/>
                      <a:pt x="27" y="12"/>
                      <a:pt x="34" y="12"/>
                    </a:cubicBezTo>
                    <a:cubicBezTo>
                      <a:pt x="39" y="12"/>
                      <a:pt x="43" y="13"/>
                      <a:pt x="46" y="15"/>
                    </a:cubicBezTo>
                    <a:cubicBezTo>
                      <a:pt x="49" y="17"/>
                      <a:pt x="51" y="21"/>
                      <a:pt x="51" y="25"/>
                    </a:cubicBezTo>
                    <a:cubicBezTo>
                      <a:pt x="65" y="23"/>
                      <a:pt x="65" y="23"/>
                      <a:pt x="65" y="23"/>
                    </a:cubicBezTo>
                    <a:cubicBezTo>
                      <a:pt x="64" y="18"/>
                      <a:pt x="62" y="14"/>
                      <a:pt x="60" y="10"/>
                    </a:cubicBezTo>
                    <a:cubicBezTo>
                      <a:pt x="58" y="7"/>
                      <a:pt x="54" y="5"/>
                      <a:pt x="49" y="3"/>
                    </a:cubicBezTo>
                    <a:cubicBezTo>
                      <a:pt x="44" y="1"/>
                      <a:pt x="39" y="0"/>
                      <a:pt x="33" y="0"/>
                    </a:cubicBezTo>
                    <a:cubicBezTo>
                      <a:pt x="28" y="0"/>
                      <a:pt x="24" y="1"/>
                      <a:pt x="21" y="2"/>
                    </a:cubicBezTo>
                    <a:cubicBezTo>
                      <a:pt x="17" y="3"/>
                      <a:pt x="14" y="4"/>
                      <a:pt x="12" y="6"/>
                    </a:cubicBezTo>
                    <a:cubicBezTo>
                      <a:pt x="9" y="8"/>
                      <a:pt x="7" y="10"/>
                      <a:pt x="5" y="14"/>
                    </a:cubicBezTo>
                    <a:cubicBezTo>
                      <a:pt x="3" y="17"/>
                      <a:pt x="3" y="20"/>
                      <a:pt x="3" y="24"/>
                    </a:cubicBezTo>
                    <a:cubicBezTo>
                      <a:pt x="3" y="28"/>
                      <a:pt x="4" y="31"/>
                      <a:pt x="6" y="35"/>
                    </a:cubicBezTo>
                    <a:cubicBezTo>
                      <a:pt x="8" y="38"/>
                      <a:pt x="11" y="40"/>
                      <a:pt x="15" y="42"/>
                    </a:cubicBezTo>
                    <a:cubicBezTo>
                      <a:pt x="18" y="44"/>
                      <a:pt x="25" y="46"/>
                      <a:pt x="36" y="49"/>
                    </a:cubicBezTo>
                    <a:cubicBezTo>
                      <a:pt x="43" y="51"/>
                      <a:pt x="48" y="52"/>
                      <a:pt x="50" y="54"/>
                    </a:cubicBezTo>
                    <a:cubicBezTo>
                      <a:pt x="52" y="55"/>
                      <a:pt x="54" y="58"/>
                      <a:pt x="54" y="61"/>
                    </a:cubicBezTo>
                    <a:cubicBezTo>
                      <a:pt x="54" y="64"/>
                      <a:pt x="52" y="67"/>
                      <a:pt x="49" y="70"/>
                    </a:cubicBezTo>
                    <a:cubicBezTo>
                      <a:pt x="46" y="73"/>
                      <a:pt x="41" y="74"/>
                      <a:pt x="35" y="74"/>
                    </a:cubicBezTo>
                    <a:cubicBezTo>
                      <a:pt x="29" y="74"/>
                      <a:pt x="24" y="72"/>
                      <a:pt x="20" y="69"/>
                    </a:cubicBezTo>
                    <a:cubicBezTo>
                      <a:pt x="17" y="67"/>
                      <a:pt x="15" y="62"/>
                      <a:pt x="14" y="57"/>
                    </a:cubicBezTo>
                    <a:cubicBezTo>
                      <a:pt x="0" y="59"/>
                      <a:pt x="0" y="59"/>
                      <a:pt x="0" y="59"/>
                    </a:cubicBezTo>
                    <a:cubicBezTo>
                      <a:pt x="2" y="68"/>
                      <a:pt x="5" y="74"/>
                      <a:pt x="11" y="79"/>
                    </a:cubicBezTo>
                    <a:cubicBezTo>
                      <a:pt x="16" y="83"/>
                      <a:pt x="24" y="85"/>
                      <a:pt x="35" y="85"/>
                    </a:cubicBezTo>
                    <a:cubicBezTo>
                      <a:pt x="41" y="85"/>
                      <a:pt x="47" y="84"/>
                      <a:pt x="52" y="82"/>
                    </a:cubicBezTo>
                    <a:cubicBezTo>
                      <a:pt x="57" y="80"/>
                      <a:pt x="61" y="76"/>
                      <a:pt x="64" y="72"/>
                    </a:cubicBezTo>
                    <a:cubicBezTo>
                      <a:pt x="66" y="68"/>
                      <a:pt x="68" y="64"/>
                      <a:pt x="68" y="59"/>
                    </a:cubicBezTo>
                    <a:cubicBezTo>
                      <a:pt x="68" y="55"/>
                      <a:pt x="67" y="51"/>
                      <a:pt x="65" y="48"/>
                    </a:cubicBezTo>
                    <a:cubicBezTo>
                      <a:pt x="62" y="45"/>
                      <a:pt x="59" y="42"/>
                      <a:pt x="55" y="4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261" name="ïśļíḓe"/>
              <p:cNvSpPr/>
              <p:nvPr/>
            </p:nvSpPr>
            <p:spPr bwMode="auto">
              <a:xfrm>
                <a:off x="6205791" y="5675903"/>
                <a:ext cx="25400" cy="30163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262" name="îṡľîdè"/>
              <p:cNvSpPr/>
              <p:nvPr/>
            </p:nvSpPr>
            <p:spPr bwMode="auto">
              <a:xfrm>
                <a:off x="6205791" y="5733053"/>
                <a:ext cx="25400" cy="149225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263" name="îś1iḋê"/>
              <p:cNvSpPr/>
              <p:nvPr/>
            </p:nvSpPr>
            <p:spPr bwMode="auto">
              <a:xfrm>
                <a:off x="6255003" y="5680665"/>
                <a:ext cx="74613" cy="203200"/>
              </a:xfrm>
              <a:custGeom>
                <a:avLst/>
                <a:gdLst>
                  <a:gd name="T0" fmla="*/ 32 w 40"/>
                  <a:gd name="T1" fmla="*/ 98 h 110"/>
                  <a:gd name="T2" fmla="*/ 27 w 40"/>
                  <a:gd name="T3" fmla="*/ 97 h 110"/>
                  <a:gd name="T4" fmla="*/ 25 w 40"/>
                  <a:gd name="T5" fmla="*/ 94 h 110"/>
                  <a:gd name="T6" fmla="*/ 24 w 40"/>
                  <a:gd name="T7" fmla="*/ 86 h 110"/>
                  <a:gd name="T8" fmla="*/ 24 w 40"/>
                  <a:gd name="T9" fmla="*/ 39 h 110"/>
                  <a:gd name="T10" fmla="*/ 38 w 40"/>
                  <a:gd name="T11" fmla="*/ 39 h 110"/>
                  <a:gd name="T12" fmla="*/ 38 w 40"/>
                  <a:gd name="T13" fmla="*/ 28 h 110"/>
                  <a:gd name="T14" fmla="*/ 24 w 40"/>
                  <a:gd name="T15" fmla="*/ 28 h 110"/>
                  <a:gd name="T16" fmla="*/ 24 w 40"/>
                  <a:gd name="T17" fmla="*/ 0 h 110"/>
                  <a:gd name="T18" fmla="*/ 11 w 40"/>
                  <a:gd name="T19" fmla="*/ 8 h 110"/>
                  <a:gd name="T20" fmla="*/ 11 w 40"/>
                  <a:gd name="T21" fmla="*/ 28 h 110"/>
                  <a:gd name="T22" fmla="*/ 0 w 40"/>
                  <a:gd name="T23" fmla="*/ 28 h 110"/>
                  <a:gd name="T24" fmla="*/ 0 w 40"/>
                  <a:gd name="T25" fmla="*/ 39 h 110"/>
                  <a:gd name="T26" fmla="*/ 11 w 40"/>
                  <a:gd name="T27" fmla="*/ 39 h 110"/>
                  <a:gd name="T28" fmla="*/ 11 w 40"/>
                  <a:gd name="T29" fmla="*/ 86 h 110"/>
                  <a:gd name="T30" fmla="*/ 12 w 40"/>
                  <a:gd name="T31" fmla="*/ 102 h 110"/>
                  <a:gd name="T32" fmla="*/ 18 w 40"/>
                  <a:gd name="T33" fmla="*/ 108 h 110"/>
                  <a:gd name="T34" fmla="*/ 30 w 40"/>
                  <a:gd name="T35" fmla="*/ 110 h 110"/>
                  <a:gd name="T36" fmla="*/ 40 w 40"/>
                  <a:gd name="T37" fmla="*/ 109 h 110"/>
                  <a:gd name="T38" fmla="*/ 38 w 40"/>
                  <a:gd name="T39" fmla="*/ 97 h 110"/>
                  <a:gd name="T40" fmla="*/ 32 w 40"/>
                  <a:gd name="T41" fmla="*/ 98 h 1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40" h="110">
                    <a:moveTo>
                      <a:pt x="32" y="98"/>
                    </a:moveTo>
                    <a:cubicBezTo>
                      <a:pt x="30" y="98"/>
                      <a:pt x="28" y="97"/>
                      <a:pt x="27" y="97"/>
                    </a:cubicBezTo>
                    <a:cubicBezTo>
                      <a:pt x="26" y="96"/>
                      <a:pt x="25" y="95"/>
                      <a:pt x="25" y="94"/>
                    </a:cubicBezTo>
                    <a:cubicBezTo>
                      <a:pt x="24" y="93"/>
                      <a:pt x="24" y="90"/>
                      <a:pt x="24" y="86"/>
                    </a:cubicBezTo>
                    <a:cubicBezTo>
                      <a:pt x="24" y="39"/>
                      <a:pt x="24" y="39"/>
                      <a:pt x="24" y="39"/>
                    </a:cubicBezTo>
                    <a:cubicBezTo>
                      <a:pt x="38" y="39"/>
                      <a:pt x="38" y="39"/>
                      <a:pt x="38" y="39"/>
                    </a:cubicBezTo>
                    <a:cubicBezTo>
                      <a:pt x="38" y="28"/>
                      <a:pt x="38" y="28"/>
                      <a:pt x="38" y="28"/>
                    </a:cubicBezTo>
                    <a:cubicBezTo>
                      <a:pt x="24" y="28"/>
                      <a:pt x="24" y="28"/>
                      <a:pt x="24" y="28"/>
                    </a:cubicBezTo>
                    <a:cubicBezTo>
                      <a:pt x="24" y="0"/>
                      <a:pt x="24" y="0"/>
                      <a:pt x="24" y="0"/>
                    </a:cubicBezTo>
                    <a:cubicBezTo>
                      <a:pt x="11" y="8"/>
                      <a:pt x="11" y="8"/>
                      <a:pt x="11" y="8"/>
                    </a:cubicBezTo>
                    <a:cubicBezTo>
                      <a:pt x="11" y="28"/>
                      <a:pt x="11" y="28"/>
                      <a:pt x="11" y="28"/>
                    </a:cubicBezTo>
                    <a:cubicBezTo>
                      <a:pt x="0" y="28"/>
                      <a:pt x="0" y="28"/>
                      <a:pt x="0" y="28"/>
                    </a:cubicBezTo>
                    <a:cubicBezTo>
                      <a:pt x="0" y="39"/>
                      <a:pt x="0" y="39"/>
                      <a:pt x="0" y="39"/>
                    </a:cubicBezTo>
                    <a:cubicBezTo>
                      <a:pt x="11" y="39"/>
                      <a:pt x="11" y="39"/>
                      <a:pt x="11" y="39"/>
                    </a:cubicBezTo>
                    <a:cubicBezTo>
                      <a:pt x="11" y="86"/>
                      <a:pt x="11" y="86"/>
                      <a:pt x="11" y="86"/>
                    </a:cubicBezTo>
                    <a:cubicBezTo>
                      <a:pt x="11" y="94"/>
                      <a:pt x="11" y="99"/>
                      <a:pt x="12" y="102"/>
                    </a:cubicBezTo>
                    <a:cubicBezTo>
                      <a:pt x="13" y="104"/>
                      <a:pt x="15" y="106"/>
                      <a:pt x="18" y="108"/>
                    </a:cubicBezTo>
                    <a:cubicBezTo>
                      <a:pt x="21" y="110"/>
                      <a:pt x="25" y="110"/>
                      <a:pt x="30" y="110"/>
                    </a:cubicBezTo>
                    <a:cubicBezTo>
                      <a:pt x="33" y="110"/>
                      <a:pt x="36" y="110"/>
                      <a:pt x="40" y="109"/>
                    </a:cubicBezTo>
                    <a:cubicBezTo>
                      <a:pt x="38" y="97"/>
                      <a:pt x="38" y="97"/>
                      <a:pt x="38" y="97"/>
                    </a:cubicBezTo>
                    <a:cubicBezTo>
                      <a:pt x="36" y="97"/>
                      <a:pt x="34" y="98"/>
                      <a:pt x="32" y="9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264" name="išľîḋê"/>
              <p:cNvSpPr/>
              <p:nvPr/>
            </p:nvSpPr>
            <p:spPr bwMode="auto">
              <a:xfrm>
                <a:off x="6335966" y="5733053"/>
                <a:ext cx="136525" cy="211138"/>
              </a:xfrm>
              <a:custGeom>
                <a:avLst/>
                <a:gdLst>
                  <a:gd name="T0" fmla="*/ 43 w 74"/>
                  <a:gd name="T1" fmla="*/ 47 h 114"/>
                  <a:gd name="T2" fmla="*/ 37 w 74"/>
                  <a:gd name="T3" fmla="*/ 66 h 114"/>
                  <a:gd name="T4" fmla="*/ 32 w 74"/>
                  <a:gd name="T5" fmla="*/ 47 h 114"/>
                  <a:gd name="T6" fmla="*/ 15 w 74"/>
                  <a:gd name="T7" fmla="*/ 0 h 114"/>
                  <a:gd name="T8" fmla="*/ 0 w 74"/>
                  <a:gd name="T9" fmla="*/ 0 h 114"/>
                  <a:gd name="T10" fmla="*/ 31 w 74"/>
                  <a:gd name="T11" fmla="*/ 81 h 114"/>
                  <a:gd name="T12" fmla="*/ 29 w 74"/>
                  <a:gd name="T13" fmla="*/ 85 h 114"/>
                  <a:gd name="T14" fmla="*/ 25 w 74"/>
                  <a:gd name="T15" fmla="*/ 95 h 114"/>
                  <a:gd name="T16" fmla="*/ 21 w 74"/>
                  <a:gd name="T17" fmla="*/ 99 h 114"/>
                  <a:gd name="T18" fmla="*/ 13 w 74"/>
                  <a:gd name="T19" fmla="*/ 101 h 114"/>
                  <a:gd name="T20" fmla="*/ 5 w 74"/>
                  <a:gd name="T21" fmla="*/ 100 h 114"/>
                  <a:gd name="T22" fmla="*/ 7 w 74"/>
                  <a:gd name="T23" fmla="*/ 113 h 114"/>
                  <a:gd name="T24" fmla="*/ 16 w 74"/>
                  <a:gd name="T25" fmla="*/ 114 h 114"/>
                  <a:gd name="T26" fmla="*/ 27 w 74"/>
                  <a:gd name="T27" fmla="*/ 111 h 114"/>
                  <a:gd name="T28" fmla="*/ 36 w 74"/>
                  <a:gd name="T29" fmla="*/ 101 h 114"/>
                  <a:gd name="T30" fmla="*/ 43 w 74"/>
                  <a:gd name="T31" fmla="*/ 83 h 114"/>
                  <a:gd name="T32" fmla="*/ 74 w 74"/>
                  <a:gd name="T33" fmla="*/ 0 h 114"/>
                  <a:gd name="T34" fmla="*/ 60 w 74"/>
                  <a:gd name="T35" fmla="*/ 0 h 114"/>
                  <a:gd name="T36" fmla="*/ 43 w 74"/>
                  <a:gd name="T37" fmla="*/ 47 h 1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74" h="114">
                    <a:moveTo>
                      <a:pt x="43" y="47"/>
                    </a:moveTo>
                    <a:cubicBezTo>
                      <a:pt x="41" y="53"/>
                      <a:pt x="39" y="60"/>
                      <a:pt x="37" y="66"/>
                    </a:cubicBezTo>
                    <a:cubicBezTo>
                      <a:pt x="36" y="59"/>
                      <a:pt x="34" y="53"/>
                      <a:pt x="32" y="47"/>
                    </a:cubicBezTo>
                    <a:cubicBezTo>
                      <a:pt x="15" y="0"/>
                      <a:pt x="15" y="0"/>
                      <a:pt x="15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31" y="81"/>
                      <a:pt x="31" y="81"/>
                      <a:pt x="31" y="81"/>
                    </a:cubicBezTo>
                    <a:cubicBezTo>
                      <a:pt x="30" y="83"/>
                      <a:pt x="30" y="84"/>
                      <a:pt x="29" y="85"/>
                    </a:cubicBezTo>
                    <a:cubicBezTo>
                      <a:pt x="27" y="90"/>
                      <a:pt x="26" y="94"/>
                      <a:pt x="25" y="95"/>
                    </a:cubicBezTo>
                    <a:cubicBezTo>
                      <a:pt x="24" y="97"/>
                      <a:pt x="22" y="98"/>
                      <a:pt x="21" y="99"/>
                    </a:cubicBezTo>
                    <a:cubicBezTo>
                      <a:pt x="19" y="100"/>
                      <a:pt x="16" y="101"/>
                      <a:pt x="13" y="101"/>
                    </a:cubicBezTo>
                    <a:cubicBezTo>
                      <a:pt x="11" y="101"/>
                      <a:pt x="8" y="101"/>
                      <a:pt x="5" y="100"/>
                    </a:cubicBezTo>
                    <a:cubicBezTo>
                      <a:pt x="7" y="113"/>
                      <a:pt x="7" y="113"/>
                      <a:pt x="7" y="113"/>
                    </a:cubicBezTo>
                    <a:cubicBezTo>
                      <a:pt x="10" y="114"/>
                      <a:pt x="13" y="114"/>
                      <a:pt x="16" y="114"/>
                    </a:cubicBezTo>
                    <a:cubicBezTo>
                      <a:pt x="20" y="114"/>
                      <a:pt x="24" y="113"/>
                      <a:pt x="27" y="111"/>
                    </a:cubicBezTo>
                    <a:cubicBezTo>
                      <a:pt x="30" y="109"/>
                      <a:pt x="33" y="106"/>
                      <a:pt x="36" y="101"/>
                    </a:cubicBezTo>
                    <a:cubicBezTo>
                      <a:pt x="37" y="98"/>
                      <a:pt x="40" y="92"/>
                      <a:pt x="43" y="83"/>
                    </a:cubicBezTo>
                    <a:cubicBezTo>
                      <a:pt x="74" y="0"/>
                      <a:pt x="74" y="0"/>
                      <a:pt x="74" y="0"/>
                    </a:cubicBezTo>
                    <a:cubicBezTo>
                      <a:pt x="60" y="0"/>
                      <a:pt x="60" y="0"/>
                      <a:pt x="60" y="0"/>
                    </a:cubicBezTo>
                    <a:lnTo>
                      <a:pt x="43" y="4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265" name="íSḷiḑè"/>
              <p:cNvSpPr/>
              <p:nvPr/>
            </p:nvSpPr>
            <p:spPr bwMode="auto">
              <a:xfrm>
                <a:off x="6564566" y="5729878"/>
                <a:ext cx="142875" cy="157163"/>
              </a:xfrm>
              <a:custGeom>
                <a:avLst/>
                <a:gdLst>
                  <a:gd name="T0" fmla="*/ 38 w 77"/>
                  <a:gd name="T1" fmla="*/ 0 h 85"/>
                  <a:gd name="T2" fmla="*/ 13 w 77"/>
                  <a:gd name="T3" fmla="*/ 9 h 85"/>
                  <a:gd name="T4" fmla="*/ 0 w 77"/>
                  <a:gd name="T5" fmla="*/ 43 h 85"/>
                  <a:gd name="T6" fmla="*/ 11 w 77"/>
                  <a:gd name="T7" fmla="*/ 74 h 85"/>
                  <a:gd name="T8" fmla="*/ 38 w 77"/>
                  <a:gd name="T9" fmla="*/ 85 h 85"/>
                  <a:gd name="T10" fmla="*/ 58 w 77"/>
                  <a:gd name="T11" fmla="*/ 80 h 85"/>
                  <a:gd name="T12" fmla="*/ 72 w 77"/>
                  <a:gd name="T13" fmla="*/ 66 h 85"/>
                  <a:gd name="T14" fmla="*/ 77 w 77"/>
                  <a:gd name="T15" fmla="*/ 42 h 85"/>
                  <a:gd name="T16" fmla="*/ 66 w 77"/>
                  <a:gd name="T17" fmla="*/ 11 h 85"/>
                  <a:gd name="T18" fmla="*/ 38 w 77"/>
                  <a:gd name="T19" fmla="*/ 0 h 85"/>
                  <a:gd name="T20" fmla="*/ 56 w 77"/>
                  <a:gd name="T21" fmla="*/ 66 h 85"/>
                  <a:gd name="T22" fmla="*/ 38 w 77"/>
                  <a:gd name="T23" fmla="*/ 74 h 85"/>
                  <a:gd name="T24" fmla="*/ 21 w 77"/>
                  <a:gd name="T25" fmla="*/ 66 h 85"/>
                  <a:gd name="T26" fmla="*/ 15 w 77"/>
                  <a:gd name="T27" fmla="*/ 43 h 85"/>
                  <a:gd name="T28" fmla="*/ 21 w 77"/>
                  <a:gd name="T29" fmla="*/ 19 h 85"/>
                  <a:gd name="T30" fmla="*/ 38 w 77"/>
                  <a:gd name="T31" fmla="*/ 12 h 85"/>
                  <a:gd name="T32" fmla="*/ 56 w 77"/>
                  <a:gd name="T33" fmla="*/ 19 h 85"/>
                  <a:gd name="T34" fmla="*/ 62 w 77"/>
                  <a:gd name="T35" fmla="*/ 42 h 85"/>
                  <a:gd name="T36" fmla="*/ 56 w 77"/>
                  <a:gd name="T37" fmla="*/ 66 h 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77" h="85">
                    <a:moveTo>
                      <a:pt x="38" y="0"/>
                    </a:moveTo>
                    <a:cubicBezTo>
                      <a:pt x="28" y="0"/>
                      <a:pt x="20" y="3"/>
                      <a:pt x="13" y="9"/>
                    </a:cubicBezTo>
                    <a:cubicBezTo>
                      <a:pt x="5" y="16"/>
                      <a:pt x="0" y="28"/>
                      <a:pt x="0" y="43"/>
                    </a:cubicBezTo>
                    <a:cubicBezTo>
                      <a:pt x="0" y="56"/>
                      <a:pt x="4" y="67"/>
                      <a:pt x="11" y="74"/>
                    </a:cubicBezTo>
                    <a:cubicBezTo>
                      <a:pt x="18" y="82"/>
                      <a:pt x="27" y="85"/>
                      <a:pt x="38" y="85"/>
                    </a:cubicBezTo>
                    <a:cubicBezTo>
                      <a:pt x="46" y="85"/>
                      <a:pt x="52" y="84"/>
                      <a:pt x="58" y="80"/>
                    </a:cubicBezTo>
                    <a:cubicBezTo>
                      <a:pt x="64" y="77"/>
                      <a:pt x="69" y="72"/>
                      <a:pt x="72" y="66"/>
                    </a:cubicBezTo>
                    <a:cubicBezTo>
                      <a:pt x="75" y="60"/>
                      <a:pt x="77" y="52"/>
                      <a:pt x="77" y="42"/>
                    </a:cubicBezTo>
                    <a:cubicBezTo>
                      <a:pt x="77" y="29"/>
                      <a:pt x="73" y="19"/>
                      <a:pt x="66" y="11"/>
                    </a:cubicBezTo>
                    <a:cubicBezTo>
                      <a:pt x="59" y="4"/>
                      <a:pt x="50" y="0"/>
                      <a:pt x="38" y="0"/>
                    </a:cubicBezTo>
                    <a:close/>
                    <a:moveTo>
                      <a:pt x="56" y="66"/>
                    </a:moveTo>
                    <a:cubicBezTo>
                      <a:pt x="51" y="71"/>
                      <a:pt x="45" y="74"/>
                      <a:pt x="38" y="74"/>
                    </a:cubicBezTo>
                    <a:cubicBezTo>
                      <a:pt x="32" y="74"/>
                      <a:pt x="26" y="71"/>
                      <a:pt x="21" y="66"/>
                    </a:cubicBezTo>
                    <a:cubicBezTo>
                      <a:pt x="17" y="61"/>
                      <a:pt x="15" y="53"/>
                      <a:pt x="15" y="43"/>
                    </a:cubicBezTo>
                    <a:cubicBezTo>
                      <a:pt x="15" y="32"/>
                      <a:pt x="17" y="24"/>
                      <a:pt x="21" y="19"/>
                    </a:cubicBezTo>
                    <a:cubicBezTo>
                      <a:pt x="26" y="14"/>
                      <a:pt x="32" y="12"/>
                      <a:pt x="38" y="12"/>
                    </a:cubicBezTo>
                    <a:cubicBezTo>
                      <a:pt x="45" y="12"/>
                      <a:pt x="51" y="14"/>
                      <a:pt x="56" y="19"/>
                    </a:cubicBezTo>
                    <a:cubicBezTo>
                      <a:pt x="60" y="25"/>
                      <a:pt x="62" y="32"/>
                      <a:pt x="62" y="42"/>
                    </a:cubicBezTo>
                    <a:cubicBezTo>
                      <a:pt x="62" y="53"/>
                      <a:pt x="60" y="61"/>
                      <a:pt x="56" y="6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266" name="ïṣľïḑe"/>
              <p:cNvSpPr/>
              <p:nvPr/>
            </p:nvSpPr>
            <p:spPr bwMode="auto">
              <a:xfrm>
                <a:off x="6720141" y="5672728"/>
                <a:ext cx="85725" cy="209550"/>
              </a:xfrm>
              <a:custGeom>
                <a:avLst/>
                <a:gdLst>
                  <a:gd name="T0" fmla="*/ 20 w 47"/>
                  <a:gd name="T1" fmla="*/ 4 h 114"/>
                  <a:gd name="T2" fmla="*/ 13 w 47"/>
                  <a:gd name="T3" fmla="*/ 12 h 114"/>
                  <a:gd name="T4" fmla="*/ 12 w 47"/>
                  <a:gd name="T5" fmla="*/ 24 h 114"/>
                  <a:gd name="T6" fmla="*/ 12 w 47"/>
                  <a:gd name="T7" fmla="*/ 33 h 114"/>
                  <a:gd name="T8" fmla="*/ 0 w 47"/>
                  <a:gd name="T9" fmla="*/ 33 h 114"/>
                  <a:gd name="T10" fmla="*/ 0 w 47"/>
                  <a:gd name="T11" fmla="*/ 44 h 114"/>
                  <a:gd name="T12" fmla="*/ 12 w 47"/>
                  <a:gd name="T13" fmla="*/ 44 h 114"/>
                  <a:gd name="T14" fmla="*/ 12 w 47"/>
                  <a:gd name="T15" fmla="*/ 114 h 114"/>
                  <a:gd name="T16" fmla="*/ 26 w 47"/>
                  <a:gd name="T17" fmla="*/ 114 h 114"/>
                  <a:gd name="T18" fmla="*/ 26 w 47"/>
                  <a:gd name="T19" fmla="*/ 44 h 114"/>
                  <a:gd name="T20" fmla="*/ 41 w 47"/>
                  <a:gd name="T21" fmla="*/ 44 h 114"/>
                  <a:gd name="T22" fmla="*/ 41 w 47"/>
                  <a:gd name="T23" fmla="*/ 33 h 114"/>
                  <a:gd name="T24" fmla="*/ 26 w 47"/>
                  <a:gd name="T25" fmla="*/ 33 h 114"/>
                  <a:gd name="T26" fmla="*/ 26 w 47"/>
                  <a:gd name="T27" fmla="*/ 26 h 114"/>
                  <a:gd name="T28" fmla="*/ 28 w 47"/>
                  <a:gd name="T29" fmla="*/ 16 h 114"/>
                  <a:gd name="T30" fmla="*/ 37 w 47"/>
                  <a:gd name="T31" fmla="*/ 13 h 114"/>
                  <a:gd name="T32" fmla="*/ 45 w 47"/>
                  <a:gd name="T33" fmla="*/ 14 h 114"/>
                  <a:gd name="T34" fmla="*/ 47 w 47"/>
                  <a:gd name="T35" fmla="*/ 2 h 114"/>
                  <a:gd name="T36" fmla="*/ 34 w 47"/>
                  <a:gd name="T37" fmla="*/ 0 h 114"/>
                  <a:gd name="T38" fmla="*/ 20 w 47"/>
                  <a:gd name="T39" fmla="*/ 4 h 1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47" h="114">
                    <a:moveTo>
                      <a:pt x="20" y="4"/>
                    </a:moveTo>
                    <a:cubicBezTo>
                      <a:pt x="17" y="6"/>
                      <a:pt x="15" y="9"/>
                      <a:pt x="13" y="12"/>
                    </a:cubicBezTo>
                    <a:cubicBezTo>
                      <a:pt x="12" y="15"/>
                      <a:pt x="12" y="19"/>
                      <a:pt x="12" y="24"/>
                    </a:cubicBezTo>
                    <a:cubicBezTo>
                      <a:pt x="12" y="33"/>
                      <a:pt x="12" y="33"/>
                      <a:pt x="12" y="33"/>
                    </a:cubicBezTo>
                    <a:cubicBezTo>
                      <a:pt x="0" y="33"/>
                      <a:pt x="0" y="33"/>
                      <a:pt x="0" y="33"/>
                    </a:cubicBezTo>
                    <a:cubicBezTo>
                      <a:pt x="0" y="44"/>
                      <a:pt x="0" y="44"/>
                      <a:pt x="0" y="44"/>
                    </a:cubicBezTo>
                    <a:cubicBezTo>
                      <a:pt x="12" y="44"/>
                      <a:pt x="12" y="44"/>
                      <a:pt x="12" y="44"/>
                    </a:cubicBezTo>
                    <a:cubicBezTo>
                      <a:pt x="12" y="114"/>
                      <a:pt x="12" y="114"/>
                      <a:pt x="12" y="114"/>
                    </a:cubicBezTo>
                    <a:cubicBezTo>
                      <a:pt x="26" y="114"/>
                      <a:pt x="26" y="114"/>
                      <a:pt x="26" y="114"/>
                    </a:cubicBezTo>
                    <a:cubicBezTo>
                      <a:pt x="26" y="44"/>
                      <a:pt x="26" y="44"/>
                      <a:pt x="26" y="44"/>
                    </a:cubicBezTo>
                    <a:cubicBezTo>
                      <a:pt x="41" y="44"/>
                      <a:pt x="41" y="44"/>
                      <a:pt x="41" y="44"/>
                    </a:cubicBezTo>
                    <a:cubicBezTo>
                      <a:pt x="41" y="33"/>
                      <a:pt x="41" y="33"/>
                      <a:pt x="41" y="33"/>
                    </a:cubicBezTo>
                    <a:cubicBezTo>
                      <a:pt x="26" y="33"/>
                      <a:pt x="26" y="33"/>
                      <a:pt x="26" y="33"/>
                    </a:cubicBezTo>
                    <a:cubicBezTo>
                      <a:pt x="26" y="26"/>
                      <a:pt x="26" y="26"/>
                      <a:pt x="26" y="26"/>
                    </a:cubicBezTo>
                    <a:cubicBezTo>
                      <a:pt x="26" y="21"/>
                      <a:pt x="27" y="17"/>
                      <a:pt x="28" y="16"/>
                    </a:cubicBezTo>
                    <a:cubicBezTo>
                      <a:pt x="30" y="14"/>
                      <a:pt x="33" y="13"/>
                      <a:pt x="37" y="13"/>
                    </a:cubicBezTo>
                    <a:cubicBezTo>
                      <a:pt x="40" y="13"/>
                      <a:pt x="42" y="13"/>
                      <a:pt x="45" y="14"/>
                    </a:cubicBezTo>
                    <a:cubicBezTo>
                      <a:pt x="47" y="2"/>
                      <a:pt x="47" y="2"/>
                      <a:pt x="47" y="2"/>
                    </a:cubicBezTo>
                    <a:cubicBezTo>
                      <a:pt x="43" y="1"/>
                      <a:pt x="38" y="0"/>
                      <a:pt x="34" y="0"/>
                    </a:cubicBezTo>
                    <a:cubicBezTo>
                      <a:pt x="28" y="0"/>
                      <a:pt x="24" y="1"/>
                      <a:pt x="20" y="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267" name="ïš1îḍè"/>
              <p:cNvSpPr/>
              <p:nvPr/>
            </p:nvSpPr>
            <p:spPr bwMode="auto">
              <a:xfrm>
                <a:off x="6890003" y="5672728"/>
                <a:ext cx="165100" cy="214313"/>
              </a:xfrm>
              <a:custGeom>
                <a:avLst/>
                <a:gdLst>
                  <a:gd name="T0" fmla="*/ 71 w 90"/>
                  <a:gd name="T1" fmla="*/ 55 h 116"/>
                  <a:gd name="T2" fmla="*/ 46 w 90"/>
                  <a:gd name="T3" fmla="*/ 48 h 116"/>
                  <a:gd name="T4" fmla="*/ 23 w 90"/>
                  <a:gd name="T5" fmla="*/ 40 h 116"/>
                  <a:gd name="T6" fmla="*/ 19 w 90"/>
                  <a:gd name="T7" fmla="*/ 30 h 116"/>
                  <a:gd name="T8" fmla="*/ 25 w 90"/>
                  <a:gd name="T9" fmla="*/ 18 h 116"/>
                  <a:gd name="T10" fmla="*/ 45 w 90"/>
                  <a:gd name="T11" fmla="*/ 13 h 116"/>
                  <a:gd name="T12" fmla="*/ 64 w 90"/>
                  <a:gd name="T13" fmla="*/ 19 h 116"/>
                  <a:gd name="T14" fmla="*/ 72 w 90"/>
                  <a:gd name="T15" fmla="*/ 35 h 116"/>
                  <a:gd name="T16" fmla="*/ 86 w 90"/>
                  <a:gd name="T17" fmla="*/ 34 h 116"/>
                  <a:gd name="T18" fmla="*/ 81 w 90"/>
                  <a:gd name="T19" fmla="*/ 16 h 116"/>
                  <a:gd name="T20" fmla="*/ 66 w 90"/>
                  <a:gd name="T21" fmla="*/ 4 h 116"/>
                  <a:gd name="T22" fmla="*/ 44 w 90"/>
                  <a:gd name="T23" fmla="*/ 0 h 116"/>
                  <a:gd name="T24" fmla="*/ 24 w 90"/>
                  <a:gd name="T25" fmla="*/ 4 h 116"/>
                  <a:gd name="T26" fmla="*/ 10 w 90"/>
                  <a:gd name="T27" fmla="*/ 15 h 116"/>
                  <a:gd name="T28" fmla="*/ 5 w 90"/>
                  <a:gd name="T29" fmla="*/ 31 h 116"/>
                  <a:gd name="T30" fmla="*/ 9 w 90"/>
                  <a:gd name="T31" fmla="*/ 45 h 116"/>
                  <a:gd name="T32" fmla="*/ 21 w 90"/>
                  <a:gd name="T33" fmla="*/ 56 h 116"/>
                  <a:gd name="T34" fmla="*/ 42 w 90"/>
                  <a:gd name="T35" fmla="*/ 63 h 116"/>
                  <a:gd name="T36" fmla="*/ 62 w 90"/>
                  <a:gd name="T37" fmla="*/ 68 h 116"/>
                  <a:gd name="T38" fmla="*/ 72 w 90"/>
                  <a:gd name="T39" fmla="*/ 75 h 116"/>
                  <a:gd name="T40" fmla="*/ 75 w 90"/>
                  <a:gd name="T41" fmla="*/ 84 h 116"/>
                  <a:gd name="T42" fmla="*/ 72 w 90"/>
                  <a:gd name="T43" fmla="*/ 93 h 116"/>
                  <a:gd name="T44" fmla="*/ 63 w 90"/>
                  <a:gd name="T45" fmla="*/ 100 h 116"/>
                  <a:gd name="T46" fmla="*/ 48 w 90"/>
                  <a:gd name="T47" fmla="*/ 103 h 116"/>
                  <a:gd name="T48" fmla="*/ 30 w 90"/>
                  <a:gd name="T49" fmla="*/ 100 h 116"/>
                  <a:gd name="T50" fmla="*/ 19 w 90"/>
                  <a:gd name="T51" fmla="*/ 91 h 116"/>
                  <a:gd name="T52" fmla="*/ 14 w 90"/>
                  <a:gd name="T53" fmla="*/ 77 h 116"/>
                  <a:gd name="T54" fmla="*/ 0 w 90"/>
                  <a:gd name="T55" fmla="*/ 78 h 116"/>
                  <a:gd name="T56" fmla="*/ 7 w 90"/>
                  <a:gd name="T57" fmla="*/ 98 h 116"/>
                  <a:gd name="T58" fmla="*/ 23 w 90"/>
                  <a:gd name="T59" fmla="*/ 112 h 116"/>
                  <a:gd name="T60" fmla="*/ 48 w 90"/>
                  <a:gd name="T61" fmla="*/ 116 h 116"/>
                  <a:gd name="T62" fmla="*/ 70 w 90"/>
                  <a:gd name="T63" fmla="*/ 112 h 116"/>
                  <a:gd name="T64" fmla="*/ 85 w 90"/>
                  <a:gd name="T65" fmla="*/ 100 h 116"/>
                  <a:gd name="T66" fmla="*/ 90 w 90"/>
                  <a:gd name="T67" fmla="*/ 83 h 116"/>
                  <a:gd name="T68" fmla="*/ 85 w 90"/>
                  <a:gd name="T69" fmla="*/ 67 h 116"/>
                  <a:gd name="T70" fmla="*/ 71 w 90"/>
                  <a:gd name="T71" fmla="*/ 55 h 1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90" h="116">
                    <a:moveTo>
                      <a:pt x="71" y="55"/>
                    </a:moveTo>
                    <a:cubicBezTo>
                      <a:pt x="66" y="53"/>
                      <a:pt x="58" y="51"/>
                      <a:pt x="46" y="48"/>
                    </a:cubicBezTo>
                    <a:cubicBezTo>
                      <a:pt x="34" y="45"/>
                      <a:pt x="26" y="43"/>
                      <a:pt x="23" y="40"/>
                    </a:cubicBezTo>
                    <a:cubicBezTo>
                      <a:pt x="21" y="38"/>
                      <a:pt x="19" y="34"/>
                      <a:pt x="19" y="30"/>
                    </a:cubicBezTo>
                    <a:cubicBezTo>
                      <a:pt x="19" y="26"/>
                      <a:pt x="21" y="22"/>
                      <a:pt x="25" y="18"/>
                    </a:cubicBezTo>
                    <a:cubicBezTo>
                      <a:pt x="29" y="15"/>
                      <a:pt x="36" y="13"/>
                      <a:pt x="45" y="13"/>
                    </a:cubicBezTo>
                    <a:cubicBezTo>
                      <a:pt x="53" y="13"/>
                      <a:pt x="60" y="15"/>
                      <a:pt x="64" y="19"/>
                    </a:cubicBezTo>
                    <a:cubicBezTo>
                      <a:pt x="69" y="22"/>
                      <a:pt x="71" y="28"/>
                      <a:pt x="72" y="35"/>
                    </a:cubicBezTo>
                    <a:cubicBezTo>
                      <a:pt x="86" y="34"/>
                      <a:pt x="86" y="34"/>
                      <a:pt x="86" y="34"/>
                    </a:cubicBezTo>
                    <a:cubicBezTo>
                      <a:pt x="86" y="27"/>
                      <a:pt x="84" y="21"/>
                      <a:pt x="81" y="16"/>
                    </a:cubicBezTo>
                    <a:cubicBezTo>
                      <a:pt x="77" y="11"/>
                      <a:pt x="73" y="7"/>
                      <a:pt x="66" y="4"/>
                    </a:cubicBezTo>
                    <a:cubicBezTo>
                      <a:pt x="60" y="2"/>
                      <a:pt x="53" y="0"/>
                      <a:pt x="44" y="0"/>
                    </a:cubicBezTo>
                    <a:cubicBezTo>
                      <a:pt x="37" y="0"/>
                      <a:pt x="30" y="1"/>
                      <a:pt x="24" y="4"/>
                    </a:cubicBezTo>
                    <a:cubicBezTo>
                      <a:pt x="17" y="7"/>
                      <a:pt x="13" y="10"/>
                      <a:pt x="10" y="15"/>
                    </a:cubicBezTo>
                    <a:cubicBezTo>
                      <a:pt x="6" y="20"/>
                      <a:pt x="5" y="25"/>
                      <a:pt x="5" y="31"/>
                    </a:cubicBezTo>
                    <a:cubicBezTo>
                      <a:pt x="5" y="36"/>
                      <a:pt x="6" y="41"/>
                      <a:pt x="9" y="45"/>
                    </a:cubicBezTo>
                    <a:cubicBezTo>
                      <a:pt x="11" y="49"/>
                      <a:pt x="15" y="53"/>
                      <a:pt x="21" y="56"/>
                    </a:cubicBezTo>
                    <a:cubicBezTo>
                      <a:pt x="25" y="58"/>
                      <a:pt x="32" y="60"/>
                      <a:pt x="42" y="63"/>
                    </a:cubicBezTo>
                    <a:cubicBezTo>
                      <a:pt x="53" y="65"/>
                      <a:pt x="59" y="67"/>
                      <a:pt x="62" y="68"/>
                    </a:cubicBezTo>
                    <a:cubicBezTo>
                      <a:pt x="67" y="70"/>
                      <a:pt x="70" y="72"/>
                      <a:pt x="72" y="75"/>
                    </a:cubicBezTo>
                    <a:cubicBezTo>
                      <a:pt x="74" y="77"/>
                      <a:pt x="75" y="80"/>
                      <a:pt x="75" y="84"/>
                    </a:cubicBezTo>
                    <a:cubicBezTo>
                      <a:pt x="75" y="87"/>
                      <a:pt x="74" y="91"/>
                      <a:pt x="72" y="93"/>
                    </a:cubicBezTo>
                    <a:cubicBezTo>
                      <a:pt x="70" y="96"/>
                      <a:pt x="67" y="99"/>
                      <a:pt x="63" y="100"/>
                    </a:cubicBezTo>
                    <a:cubicBezTo>
                      <a:pt x="58" y="102"/>
                      <a:pt x="53" y="103"/>
                      <a:pt x="48" y="103"/>
                    </a:cubicBezTo>
                    <a:cubicBezTo>
                      <a:pt x="41" y="103"/>
                      <a:pt x="35" y="102"/>
                      <a:pt x="30" y="100"/>
                    </a:cubicBezTo>
                    <a:cubicBezTo>
                      <a:pt x="25" y="97"/>
                      <a:pt x="22" y="94"/>
                      <a:pt x="19" y="91"/>
                    </a:cubicBezTo>
                    <a:cubicBezTo>
                      <a:pt x="17" y="87"/>
                      <a:pt x="15" y="83"/>
                      <a:pt x="14" y="77"/>
                    </a:cubicBezTo>
                    <a:cubicBezTo>
                      <a:pt x="0" y="78"/>
                      <a:pt x="0" y="78"/>
                      <a:pt x="0" y="78"/>
                    </a:cubicBezTo>
                    <a:cubicBezTo>
                      <a:pt x="1" y="86"/>
                      <a:pt x="3" y="93"/>
                      <a:pt x="7" y="98"/>
                    </a:cubicBezTo>
                    <a:cubicBezTo>
                      <a:pt x="11" y="104"/>
                      <a:pt x="16" y="109"/>
                      <a:pt x="23" y="112"/>
                    </a:cubicBezTo>
                    <a:cubicBezTo>
                      <a:pt x="30" y="115"/>
                      <a:pt x="38" y="116"/>
                      <a:pt x="48" y="116"/>
                    </a:cubicBezTo>
                    <a:cubicBezTo>
                      <a:pt x="56" y="116"/>
                      <a:pt x="64" y="115"/>
                      <a:pt x="70" y="112"/>
                    </a:cubicBezTo>
                    <a:cubicBezTo>
                      <a:pt x="76" y="109"/>
                      <a:pt x="81" y="105"/>
                      <a:pt x="85" y="100"/>
                    </a:cubicBezTo>
                    <a:cubicBezTo>
                      <a:pt x="88" y="94"/>
                      <a:pt x="90" y="89"/>
                      <a:pt x="90" y="83"/>
                    </a:cubicBezTo>
                    <a:cubicBezTo>
                      <a:pt x="90" y="77"/>
                      <a:pt x="88" y="71"/>
                      <a:pt x="85" y="67"/>
                    </a:cubicBezTo>
                    <a:cubicBezTo>
                      <a:pt x="82" y="62"/>
                      <a:pt x="77" y="58"/>
                      <a:pt x="71" y="5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268" name="iṥľïḍê"/>
              <p:cNvSpPr/>
              <p:nvPr/>
            </p:nvSpPr>
            <p:spPr bwMode="auto">
              <a:xfrm>
                <a:off x="7080503" y="5729878"/>
                <a:ext cx="131763" cy="157163"/>
              </a:xfrm>
              <a:custGeom>
                <a:avLst/>
                <a:gdLst>
                  <a:gd name="T0" fmla="*/ 50 w 71"/>
                  <a:gd name="T1" fmla="*/ 69 h 85"/>
                  <a:gd name="T2" fmla="*/ 37 w 71"/>
                  <a:gd name="T3" fmla="*/ 74 h 85"/>
                  <a:gd name="T4" fmla="*/ 21 w 71"/>
                  <a:gd name="T5" fmla="*/ 66 h 85"/>
                  <a:gd name="T6" fmla="*/ 14 w 71"/>
                  <a:gd name="T7" fmla="*/ 43 h 85"/>
                  <a:gd name="T8" fmla="*/ 21 w 71"/>
                  <a:gd name="T9" fmla="*/ 19 h 85"/>
                  <a:gd name="T10" fmla="*/ 38 w 71"/>
                  <a:gd name="T11" fmla="*/ 12 h 85"/>
                  <a:gd name="T12" fmla="*/ 49 w 71"/>
                  <a:gd name="T13" fmla="*/ 16 h 85"/>
                  <a:gd name="T14" fmla="*/ 56 w 71"/>
                  <a:gd name="T15" fmla="*/ 28 h 85"/>
                  <a:gd name="T16" fmla="*/ 70 w 71"/>
                  <a:gd name="T17" fmla="*/ 26 h 85"/>
                  <a:gd name="T18" fmla="*/ 59 w 71"/>
                  <a:gd name="T19" fmla="*/ 7 h 85"/>
                  <a:gd name="T20" fmla="*/ 37 w 71"/>
                  <a:gd name="T21" fmla="*/ 0 h 85"/>
                  <a:gd name="T22" fmla="*/ 18 w 71"/>
                  <a:gd name="T23" fmla="*/ 5 h 85"/>
                  <a:gd name="T24" fmla="*/ 4 w 71"/>
                  <a:gd name="T25" fmla="*/ 20 h 85"/>
                  <a:gd name="T26" fmla="*/ 0 w 71"/>
                  <a:gd name="T27" fmla="*/ 43 h 85"/>
                  <a:gd name="T28" fmla="*/ 10 w 71"/>
                  <a:gd name="T29" fmla="*/ 74 h 85"/>
                  <a:gd name="T30" fmla="*/ 37 w 71"/>
                  <a:gd name="T31" fmla="*/ 85 h 85"/>
                  <a:gd name="T32" fmla="*/ 60 w 71"/>
                  <a:gd name="T33" fmla="*/ 77 h 85"/>
                  <a:gd name="T34" fmla="*/ 71 w 71"/>
                  <a:gd name="T35" fmla="*/ 55 h 85"/>
                  <a:gd name="T36" fmla="*/ 57 w 71"/>
                  <a:gd name="T37" fmla="*/ 54 h 85"/>
                  <a:gd name="T38" fmla="*/ 50 w 71"/>
                  <a:gd name="T39" fmla="*/ 69 h 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71" h="85">
                    <a:moveTo>
                      <a:pt x="50" y="69"/>
                    </a:moveTo>
                    <a:cubicBezTo>
                      <a:pt x="47" y="72"/>
                      <a:pt x="42" y="74"/>
                      <a:pt x="37" y="74"/>
                    </a:cubicBezTo>
                    <a:cubicBezTo>
                      <a:pt x="30" y="74"/>
                      <a:pt x="25" y="71"/>
                      <a:pt x="21" y="66"/>
                    </a:cubicBezTo>
                    <a:cubicBezTo>
                      <a:pt x="16" y="61"/>
                      <a:pt x="14" y="54"/>
                      <a:pt x="14" y="43"/>
                    </a:cubicBezTo>
                    <a:cubicBezTo>
                      <a:pt x="14" y="32"/>
                      <a:pt x="16" y="24"/>
                      <a:pt x="21" y="19"/>
                    </a:cubicBezTo>
                    <a:cubicBezTo>
                      <a:pt x="25" y="14"/>
                      <a:pt x="31" y="12"/>
                      <a:pt x="38" y="12"/>
                    </a:cubicBezTo>
                    <a:cubicBezTo>
                      <a:pt x="42" y="12"/>
                      <a:pt x="46" y="13"/>
                      <a:pt x="49" y="16"/>
                    </a:cubicBezTo>
                    <a:cubicBezTo>
                      <a:pt x="53" y="18"/>
                      <a:pt x="55" y="23"/>
                      <a:pt x="56" y="28"/>
                    </a:cubicBezTo>
                    <a:cubicBezTo>
                      <a:pt x="70" y="26"/>
                      <a:pt x="70" y="26"/>
                      <a:pt x="70" y="26"/>
                    </a:cubicBezTo>
                    <a:cubicBezTo>
                      <a:pt x="68" y="18"/>
                      <a:pt x="64" y="11"/>
                      <a:pt x="59" y="7"/>
                    </a:cubicBezTo>
                    <a:cubicBezTo>
                      <a:pt x="53" y="2"/>
                      <a:pt x="46" y="0"/>
                      <a:pt x="37" y="0"/>
                    </a:cubicBezTo>
                    <a:cubicBezTo>
                      <a:pt x="30" y="0"/>
                      <a:pt x="24" y="2"/>
                      <a:pt x="18" y="5"/>
                    </a:cubicBezTo>
                    <a:cubicBezTo>
                      <a:pt x="12" y="8"/>
                      <a:pt x="7" y="13"/>
                      <a:pt x="4" y="20"/>
                    </a:cubicBezTo>
                    <a:cubicBezTo>
                      <a:pt x="2" y="27"/>
                      <a:pt x="0" y="34"/>
                      <a:pt x="0" y="43"/>
                    </a:cubicBezTo>
                    <a:cubicBezTo>
                      <a:pt x="0" y="57"/>
                      <a:pt x="3" y="67"/>
                      <a:pt x="10" y="74"/>
                    </a:cubicBezTo>
                    <a:cubicBezTo>
                      <a:pt x="17" y="82"/>
                      <a:pt x="26" y="85"/>
                      <a:pt x="37" y="85"/>
                    </a:cubicBezTo>
                    <a:cubicBezTo>
                      <a:pt x="46" y="85"/>
                      <a:pt x="53" y="83"/>
                      <a:pt x="60" y="77"/>
                    </a:cubicBezTo>
                    <a:cubicBezTo>
                      <a:pt x="66" y="72"/>
                      <a:pt x="69" y="65"/>
                      <a:pt x="71" y="55"/>
                    </a:cubicBezTo>
                    <a:cubicBezTo>
                      <a:pt x="57" y="54"/>
                      <a:pt x="57" y="54"/>
                      <a:pt x="57" y="54"/>
                    </a:cubicBezTo>
                    <a:cubicBezTo>
                      <a:pt x="56" y="60"/>
                      <a:pt x="54" y="66"/>
                      <a:pt x="50" y="6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269" name="íṥ1ïdê"/>
              <p:cNvSpPr/>
              <p:nvPr/>
            </p:nvSpPr>
            <p:spPr bwMode="auto">
              <a:xfrm>
                <a:off x="7234491" y="5675903"/>
                <a:ext cx="25400" cy="30163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270" name="îṡ1îďé"/>
              <p:cNvSpPr/>
              <p:nvPr/>
            </p:nvSpPr>
            <p:spPr bwMode="auto">
              <a:xfrm>
                <a:off x="7234491" y="5733053"/>
                <a:ext cx="25400" cy="149225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271" name="íṩḷïḑé"/>
              <p:cNvSpPr/>
              <p:nvPr/>
            </p:nvSpPr>
            <p:spPr bwMode="auto">
              <a:xfrm>
                <a:off x="7290053" y="5729878"/>
                <a:ext cx="138113" cy="157163"/>
              </a:xfrm>
              <a:custGeom>
                <a:avLst/>
                <a:gdLst>
                  <a:gd name="T0" fmla="*/ 38 w 75"/>
                  <a:gd name="T1" fmla="*/ 0 h 85"/>
                  <a:gd name="T2" fmla="*/ 10 w 75"/>
                  <a:gd name="T3" fmla="*/ 12 h 85"/>
                  <a:gd name="T4" fmla="*/ 0 w 75"/>
                  <a:gd name="T5" fmla="*/ 43 h 85"/>
                  <a:gd name="T6" fmla="*/ 10 w 75"/>
                  <a:gd name="T7" fmla="*/ 74 h 85"/>
                  <a:gd name="T8" fmla="*/ 39 w 75"/>
                  <a:gd name="T9" fmla="*/ 85 h 85"/>
                  <a:gd name="T10" fmla="*/ 62 w 75"/>
                  <a:gd name="T11" fmla="*/ 78 h 85"/>
                  <a:gd name="T12" fmla="*/ 74 w 75"/>
                  <a:gd name="T13" fmla="*/ 59 h 85"/>
                  <a:gd name="T14" fmla="*/ 60 w 75"/>
                  <a:gd name="T15" fmla="*/ 57 h 85"/>
                  <a:gd name="T16" fmla="*/ 52 w 75"/>
                  <a:gd name="T17" fmla="*/ 70 h 85"/>
                  <a:gd name="T18" fmla="*/ 39 w 75"/>
                  <a:gd name="T19" fmla="*/ 74 h 85"/>
                  <a:gd name="T20" fmla="*/ 22 w 75"/>
                  <a:gd name="T21" fmla="*/ 67 h 85"/>
                  <a:gd name="T22" fmla="*/ 14 w 75"/>
                  <a:gd name="T23" fmla="*/ 46 h 85"/>
                  <a:gd name="T24" fmla="*/ 75 w 75"/>
                  <a:gd name="T25" fmla="*/ 46 h 85"/>
                  <a:gd name="T26" fmla="*/ 75 w 75"/>
                  <a:gd name="T27" fmla="*/ 43 h 85"/>
                  <a:gd name="T28" fmla="*/ 65 w 75"/>
                  <a:gd name="T29" fmla="*/ 11 h 85"/>
                  <a:gd name="T30" fmla="*/ 38 w 75"/>
                  <a:gd name="T31" fmla="*/ 0 h 85"/>
                  <a:gd name="T32" fmla="*/ 15 w 75"/>
                  <a:gd name="T33" fmla="*/ 35 h 85"/>
                  <a:gd name="T34" fmla="*/ 22 w 75"/>
                  <a:gd name="T35" fmla="*/ 18 h 85"/>
                  <a:gd name="T36" fmla="*/ 38 w 75"/>
                  <a:gd name="T37" fmla="*/ 12 h 85"/>
                  <a:gd name="T38" fmla="*/ 55 w 75"/>
                  <a:gd name="T39" fmla="*/ 20 h 85"/>
                  <a:gd name="T40" fmla="*/ 60 w 75"/>
                  <a:gd name="T41" fmla="*/ 35 h 85"/>
                  <a:gd name="T42" fmla="*/ 15 w 75"/>
                  <a:gd name="T43" fmla="*/ 35 h 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75" h="85">
                    <a:moveTo>
                      <a:pt x="38" y="0"/>
                    </a:moveTo>
                    <a:cubicBezTo>
                      <a:pt x="27" y="0"/>
                      <a:pt x="18" y="4"/>
                      <a:pt x="10" y="12"/>
                    </a:cubicBezTo>
                    <a:cubicBezTo>
                      <a:pt x="3" y="19"/>
                      <a:pt x="0" y="30"/>
                      <a:pt x="0" y="43"/>
                    </a:cubicBezTo>
                    <a:cubicBezTo>
                      <a:pt x="0" y="57"/>
                      <a:pt x="3" y="67"/>
                      <a:pt x="10" y="74"/>
                    </a:cubicBezTo>
                    <a:cubicBezTo>
                      <a:pt x="17" y="81"/>
                      <a:pt x="27" y="85"/>
                      <a:pt x="39" y="85"/>
                    </a:cubicBezTo>
                    <a:cubicBezTo>
                      <a:pt x="48" y="85"/>
                      <a:pt x="56" y="83"/>
                      <a:pt x="62" y="78"/>
                    </a:cubicBezTo>
                    <a:cubicBezTo>
                      <a:pt x="68" y="74"/>
                      <a:pt x="72" y="67"/>
                      <a:pt x="74" y="59"/>
                    </a:cubicBezTo>
                    <a:cubicBezTo>
                      <a:pt x="60" y="57"/>
                      <a:pt x="60" y="57"/>
                      <a:pt x="60" y="57"/>
                    </a:cubicBezTo>
                    <a:cubicBezTo>
                      <a:pt x="58" y="63"/>
                      <a:pt x="55" y="67"/>
                      <a:pt x="52" y="70"/>
                    </a:cubicBezTo>
                    <a:cubicBezTo>
                      <a:pt x="48" y="73"/>
                      <a:pt x="44" y="74"/>
                      <a:pt x="39" y="74"/>
                    </a:cubicBezTo>
                    <a:cubicBezTo>
                      <a:pt x="32" y="74"/>
                      <a:pt x="26" y="71"/>
                      <a:pt x="22" y="67"/>
                    </a:cubicBezTo>
                    <a:cubicBezTo>
                      <a:pt x="17" y="62"/>
                      <a:pt x="15" y="55"/>
                      <a:pt x="14" y="46"/>
                    </a:cubicBezTo>
                    <a:cubicBezTo>
                      <a:pt x="75" y="46"/>
                      <a:pt x="75" y="46"/>
                      <a:pt x="75" y="46"/>
                    </a:cubicBezTo>
                    <a:cubicBezTo>
                      <a:pt x="75" y="45"/>
                      <a:pt x="75" y="43"/>
                      <a:pt x="75" y="43"/>
                    </a:cubicBezTo>
                    <a:cubicBezTo>
                      <a:pt x="75" y="29"/>
                      <a:pt x="71" y="19"/>
                      <a:pt x="65" y="11"/>
                    </a:cubicBezTo>
                    <a:cubicBezTo>
                      <a:pt x="58" y="4"/>
                      <a:pt x="49" y="0"/>
                      <a:pt x="38" y="0"/>
                    </a:cubicBezTo>
                    <a:close/>
                    <a:moveTo>
                      <a:pt x="15" y="35"/>
                    </a:moveTo>
                    <a:cubicBezTo>
                      <a:pt x="15" y="28"/>
                      <a:pt x="18" y="22"/>
                      <a:pt x="22" y="18"/>
                    </a:cubicBezTo>
                    <a:cubicBezTo>
                      <a:pt x="26" y="14"/>
                      <a:pt x="32" y="12"/>
                      <a:pt x="38" y="12"/>
                    </a:cubicBezTo>
                    <a:cubicBezTo>
                      <a:pt x="45" y="12"/>
                      <a:pt x="51" y="14"/>
                      <a:pt x="55" y="20"/>
                    </a:cubicBezTo>
                    <a:cubicBezTo>
                      <a:pt x="58" y="23"/>
                      <a:pt x="60" y="28"/>
                      <a:pt x="60" y="35"/>
                    </a:cubicBezTo>
                    <a:lnTo>
                      <a:pt x="15" y="3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272" name="ïşḷiḋè"/>
              <p:cNvSpPr/>
              <p:nvPr/>
            </p:nvSpPr>
            <p:spPr bwMode="auto">
              <a:xfrm>
                <a:off x="7458328" y="5729878"/>
                <a:ext cx="122238" cy="152400"/>
              </a:xfrm>
              <a:custGeom>
                <a:avLst/>
                <a:gdLst>
                  <a:gd name="T0" fmla="*/ 61 w 66"/>
                  <a:gd name="T1" fmla="*/ 10 h 83"/>
                  <a:gd name="T2" fmla="*/ 51 w 66"/>
                  <a:gd name="T3" fmla="*/ 3 h 83"/>
                  <a:gd name="T4" fmla="*/ 38 w 66"/>
                  <a:gd name="T5" fmla="*/ 0 h 83"/>
                  <a:gd name="T6" fmla="*/ 12 w 66"/>
                  <a:gd name="T7" fmla="*/ 14 h 83"/>
                  <a:gd name="T8" fmla="*/ 12 w 66"/>
                  <a:gd name="T9" fmla="*/ 2 h 83"/>
                  <a:gd name="T10" fmla="*/ 0 w 66"/>
                  <a:gd name="T11" fmla="*/ 2 h 83"/>
                  <a:gd name="T12" fmla="*/ 0 w 66"/>
                  <a:gd name="T13" fmla="*/ 83 h 83"/>
                  <a:gd name="T14" fmla="*/ 13 w 66"/>
                  <a:gd name="T15" fmla="*/ 83 h 83"/>
                  <a:gd name="T16" fmla="*/ 13 w 66"/>
                  <a:gd name="T17" fmla="*/ 39 h 83"/>
                  <a:gd name="T18" fmla="*/ 20 w 66"/>
                  <a:gd name="T19" fmla="*/ 18 h 83"/>
                  <a:gd name="T20" fmla="*/ 35 w 66"/>
                  <a:gd name="T21" fmla="*/ 12 h 83"/>
                  <a:gd name="T22" fmla="*/ 45 w 66"/>
                  <a:gd name="T23" fmla="*/ 15 h 83"/>
                  <a:gd name="T24" fmla="*/ 50 w 66"/>
                  <a:gd name="T25" fmla="*/ 21 h 83"/>
                  <a:gd name="T26" fmla="*/ 52 w 66"/>
                  <a:gd name="T27" fmla="*/ 34 h 83"/>
                  <a:gd name="T28" fmla="*/ 52 w 66"/>
                  <a:gd name="T29" fmla="*/ 83 h 83"/>
                  <a:gd name="T30" fmla="*/ 66 w 66"/>
                  <a:gd name="T31" fmla="*/ 83 h 83"/>
                  <a:gd name="T32" fmla="*/ 66 w 66"/>
                  <a:gd name="T33" fmla="*/ 33 h 83"/>
                  <a:gd name="T34" fmla="*/ 65 w 66"/>
                  <a:gd name="T35" fmla="*/ 20 h 83"/>
                  <a:gd name="T36" fmla="*/ 61 w 66"/>
                  <a:gd name="T37" fmla="*/ 10 h 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66" h="83">
                    <a:moveTo>
                      <a:pt x="61" y="10"/>
                    </a:moveTo>
                    <a:cubicBezTo>
                      <a:pt x="59" y="7"/>
                      <a:pt x="56" y="5"/>
                      <a:pt x="51" y="3"/>
                    </a:cubicBezTo>
                    <a:cubicBezTo>
                      <a:pt x="47" y="1"/>
                      <a:pt x="43" y="0"/>
                      <a:pt x="38" y="0"/>
                    </a:cubicBezTo>
                    <a:cubicBezTo>
                      <a:pt x="27" y="0"/>
                      <a:pt x="18" y="5"/>
                      <a:pt x="12" y="14"/>
                    </a:cubicBezTo>
                    <a:cubicBezTo>
                      <a:pt x="12" y="2"/>
                      <a:pt x="12" y="2"/>
                      <a:pt x="12" y="2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83"/>
                      <a:pt x="0" y="83"/>
                      <a:pt x="0" y="83"/>
                    </a:cubicBezTo>
                    <a:cubicBezTo>
                      <a:pt x="13" y="83"/>
                      <a:pt x="13" y="83"/>
                      <a:pt x="13" y="83"/>
                    </a:cubicBezTo>
                    <a:cubicBezTo>
                      <a:pt x="13" y="39"/>
                      <a:pt x="13" y="39"/>
                      <a:pt x="13" y="39"/>
                    </a:cubicBezTo>
                    <a:cubicBezTo>
                      <a:pt x="13" y="29"/>
                      <a:pt x="16" y="21"/>
                      <a:pt x="20" y="18"/>
                    </a:cubicBezTo>
                    <a:cubicBezTo>
                      <a:pt x="24" y="14"/>
                      <a:pt x="29" y="12"/>
                      <a:pt x="35" y="12"/>
                    </a:cubicBezTo>
                    <a:cubicBezTo>
                      <a:pt x="39" y="12"/>
                      <a:pt x="42" y="13"/>
                      <a:pt x="45" y="15"/>
                    </a:cubicBezTo>
                    <a:cubicBezTo>
                      <a:pt x="47" y="16"/>
                      <a:pt x="49" y="19"/>
                      <a:pt x="50" y="21"/>
                    </a:cubicBezTo>
                    <a:cubicBezTo>
                      <a:pt x="51" y="24"/>
                      <a:pt x="52" y="28"/>
                      <a:pt x="52" y="34"/>
                    </a:cubicBezTo>
                    <a:cubicBezTo>
                      <a:pt x="52" y="83"/>
                      <a:pt x="52" y="83"/>
                      <a:pt x="52" y="83"/>
                    </a:cubicBezTo>
                    <a:cubicBezTo>
                      <a:pt x="66" y="83"/>
                      <a:pt x="66" y="83"/>
                      <a:pt x="66" y="83"/>
                    </a:cubicBezTo>
                    <a:cubicBezTo>
                      <a:pt x="66" y="33"/>
                      <a:pt x="66" y="33"/>
                      <a:pt x="66" y="33"/>
                    </a:cubicBezTo>
                    <a:cubicBezTo>
                      <a:pt x="66" y="27"/>
                      <a:pt x="65" y="23"/>
                      <a:pt x="65" y="20"/>
                    </a:cubicBezTo>
                    <a:cubicBezTo>
                      <a:pt x="64" y="16"/>
                      <a:pt x="63" y="13"/>
                      <a:pt x="61" y="1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273" name="îṩľiḍé"/>
              <p:cNvSpPr/>
              <p:nvPr/>
            </p:nvSpPr>
            <p:spPr bwMode="auto">
              <a:xfrm>
                <a:off x="7612316" y="5729878"/>
                <a:ext cx="128588" cy="157163"/>
              </a:xfrm>
              <a:custGeom>
                <a:avLst/>
                <a:gdLst>
                  <a:gd name="T0" fmla="*/ 50 w 70"/>
                  <a:gd name="T1" fmla="*/ 69 h 85"/>
                  <a:gd name="T2" fmla="*/ 36 w 70"/>
                  <a:gd name="T3" fmla="*/ 74 h 85"/>
                  <a:gd name="T4" fmla="*/ 20 w 70"/>
                  <a:gd name="T5" fmla="*/ 66 h 85"/>
                  <a:gd name="T6" fmla="*/ 14 w 70"/>
                  <a:gd name="T7" fmla="*/ 43 h 85"/>
                  <a:gd name="T8" fmla="*/ 20 w 70"/>
                  <a:gd name="T9" fmla="*/ 19 h 85"/>
                  <a:gd name="T10" fmla="*/ 37 w 70"/>
                  <a:gd name="T11" fmla="*/ 12 h 85"/>
                  <a:gd name="T12" fmla="*/ 49 w 70"/>
                  <a:gd name="T13" fmla="*/ 16 h 85"/>
                  <a:gd name="T14" fmla="*/ 56 w 70"/>
                  <a:gd name="T15" fmla="*/ 28 h 85"/>
                  <a:gd name="T16" fmla="*/ 69 w 70"/>
                  <a:gd name="T17" fmla="*/ 26 h 85"/>
                  <a:gd name="T18" fmla="*/ 58 w 70"/>
                  <a:gd name="T19" fmla="*/ 7 h 85"/>
                  <a:gd name="T20" fmla="*/ 37 w 70"/>
                  <a:gd name="T21" fmla="*/ 0 h 85"/>
                  <a:gd name="T22" fmla="*/ 17 w 70"/>
                  <a:gd name="T23" fmla="*/ 5 h 85"/>
                  <a:gd name="T24" fmla="*/ 4 w 70"/>
                  <a:gd name="T25" fmla="*/ 20 h 85"/>
                  <a:gd name="T26" fmla="*/ 0 w 70"/>
                  <a:gd name="T27" fmla="*/ 43 h 85"/>
                  <a:gd name="T28" fmla="*/ 10 w 70"/>
                  <a:gd name="T29" fmla="*/ 74 h 85"/>
                  <a:gd name="T30" fmla="*/ 37 w 70"/>
                  <a:gd name="T31" fmla="*/ 85 h 85"/>
                  <a:gd name="T32" fmla="*/ 59 w 70"/>
                  <a:gd name="T33" fmla="*/ 77 h 85"/>
                  <a:gd name="T34" fmla="*/ 70 w 70"/>
                  <a:gd name="T35" fmla="*/ 55 h 85"/>
                  <a:gd name="T36" fmla="*/ 57 w 70"/>
                  <a:gd name="T37" fmla="*/ 54 h 85"/>
                  <a:gd name="T38" fmla="*/ 50 w 70"/>
                  <a:gd name="T39" fmla="*/ 69 h 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70" h="85">
                    <a:moveTo>
                      <a:pt x="50" y="69"/>
                    </a:moveTo>
                    <a:cubicBezTo>
                      <a:pt x="46" y="72"/>
                      <a:pt x="42" y="74"/>
                      <a:pt x="36" y="74"/>
                    </a:cubicBezTo>
                    <a:cubicBezTo>
                      <a:pt x="30" y="74"/>
                      <a:pt x="24" y="71"/>
                      <a:pt x="20" y="66"/>
                    </a:cubicBezTo>
                    <a:cubicBezTo>
                      <a:pt x="16" y="61"/>
                      <a:pt x="14" y="54"/>
                      <a:pt x="14" y="43"/>
                    </a:cubicBezTo>
                    <a:cubicBezTo>
                      <a:pt x="14" y="32"/>
                      <a:pt x="16" y="24"/>
                      <a:pt x="20" y="19"/>
                    </a:cubicBezTo>
                    <a:cubicBezTo>
                      <a:pt x="25" y="14"/>
                      <a:pt x="30" y="12"/>
                      <a:pt x="37" y="12"/>
                    </a:cubicBezTo>
                    <a:cubicBezTo>
                      <a:pt x="42" y="12"/>
                      <a:pt x="46" y="13"/>
                      <a:pt x="49" y="16"/>
                    </a:cubicBezTo>
                    <a:cubicBezTo>
                      <a:pt x="52" y="18"/>
                      <a:pt x="54" y="23"/>
                      <a:pt x="56" y="28"/>
                    </a:cubicBezTo>
                    <a:cubicBezTo>
                      <a:pt x="69" y="26"/>
                      <a:pt x="69" y="26"/>
                      <a:pt x="69" y="26"/>
                    </a:cubicBezTo>
                    <a:cubicBezTo>
                      <a:pt x="68" y="18"/>
                      <a:pt x="64" y="11"/>
                      <a:pt x="58" y="7"/>
                    </a:cubicBezTo>
                    <a:cubicBezTo>
                      <a:pt x="53" y="2"/>
                      <a:pt x="46" y="0"/>
                      <a:pt x="37" y="0"/>
                    </a:cubicBezTo>
                    <a:cubicBezTo>
                      <a:pt x="30" y="0"/>
                      <a:pt x="23" y="2"/>
                      <a:pt x="17" y="5"/>
                    </a:cubicBezTo>
                    <a:cubicBezTo>
                      <a:pt x="11" y="8"/>
                      <a:pt x="7" y="13"/>
                      <a:pt x="4" y="20"/>
                    </a:cubicBezTo>
                    <a:cubicBezTo>
                      <a:pt x="1" y="27"/>
                      <a:pt x="0" y="34"/>
                      <a:pt x="0" y="43"/>
                    </a:cubicBezTo>
                    <a:cubicBezTo>
                      <a:pt x="0" y="57"/>
                      <a:pt x="3" y="67"/>
                      <a:pt x="10" y="74"/>
                    </a:cubicBezTo>
                    <a:cubicBezTo>
                      <a:pt x="17" y="82"/>
                      <a:pt x="26" y="85"/>
                      <a:pt x="37" y="85"/>
                    </a:cubicBezTo>
                    <a:cubicBezTo>
                      <a:pt x="45" y="85"/>
                      <a:pt x="53" y="83"/>
                      <a:pt x="59" y="77"/>
                    </a:cubicBezTo>
                    <a:cubicBezTo>
                      <a:pt x="65" y="72"/>
                      <a:pt x="69" y="65"/>
                      <a:pt x="70" y="55"/>
                    </a:cubicBezTo>
                    <a:cubicBezTo>
                      <a:pt x="57" y="54"/>
                      <a:pt x="57" y="54"/>
                      <a:pt x="57" y="54"/>
                    </a:cubicBezTo>
                    <a:cubicBezTo>
                      <a:pt x="56" y="60"/>
                      <a:pt x="54" y="66"/>
                      <a:pt x="50" y="6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274" name="íṡḷïďe"/>
              <p:cNvSpPr/>
              <p:nvPr/>
            </p:nvSpPr>
            <p:spPr bwMode="auto">
              <a:xfrm>
                <a:off x="7755191" y="5729878"/>
                <a:ext cx="138113" cy="157163"/>
              </a:xfrm>
              <a:custGeom>
                <a:avLst/>
                <a:gdLst>
                  <a:gd name="T0" fmla="*/ 38 w 75"/>
                  <a:gd name="T1" fmla="*/ 0 h 85"/>
                  <a:gd name="T2" fmla="*/ 10 w 75"/>
                  <a:gd name="T3" fmla="*/ 12 h 85"/>
                  <a:gd name="T4" fmla="*/ 0 w 75"/>
                  <a:gd name="T5" fmla="*/ 43 h 85"/>
                  <a:gd name="T6" fmla="*/ 10 w 75"/>
                  <a:gd name="T7" fmla="*/ 74 h 85"/>
                  <a:gd name="T8" fmla="*/ 38 w 75"/>
                  <a:gd name="T9" fmla="*/ 85 h 85"/>
                  <a:gd name="T10" fmla="*/ 62 w 75"/>
                  <a:gd name="T11" fmla="*/ 78 h 85"/>
                  <a:gd name="T12" fmla="*/ 74 w 75"/>
                  <a:gd name="T13" fmla="*/ 59 h 85"/>
                  <a:gd name="T14" fmla="*/ 60 w 75"/>
                  <a:gd name="T15" fmla="*/ 57 h 85"/>
                  <a:gd name="T16" fmla="*/ 51 w 75"/>
                  <a:gd name="T17" fmla="*/ 70 h 85"/>
                  <a:gd name="T18" fmla="*/ 38 w 75"/>
                  <a:gd name="T19" fmla="*/ 74 h 85"/>
                  <a:gd name="T20" fmla="*/ 21 w 75"/>
                  <a:gd name="T21" fmla="*/ 67 h 85"/>
                  <a:gd name="T22" fmla="*/ 14 w 75"/>
                  <a:gd name="T23" fmla="*/ 46 h 85"/>
                  <a:gd name="T24" fmla="*/ 75 w 75"/>
                  <a:gd name="T25" fmla="*/ 46 h 85"/>
                  <a:gd name="T26" fmla="*/ 75 w 75"/>
                  <a:gd name="T27" fmla="*/ 43 h 85"/>
                  <a:gd name="T28" fmla="*/ 64 w 75"/>
                  <a:gd name="T29" fmla="*/ 11 h 85"/>
                  <a:gd name="T30" fmla="*/ 38 w 75"/>
                  <a:gd name="T31" fmla="*/ 0 h 85"/>
                  <a:gd name="T32" fmla="*/ 15 w 75"/>
                  <a:gd name="T33" fmla="*/ 35 h 85"/>
                  <a:gd name="T34" fmla="*/ 22 w 75"/>
                  <a:gd name="T35" fmla="*/ 18 h 85"/>
                  <a:gd name="T36" fmla="*/ 38 w 75"/>
                  <a:gd name="T37" fmla="*/ 12 h 85"/>
                  <a:gd name="T38" fmla="*/ 55 w 75"/>
                  <a:gd name="T39" fmla="*/ 20 h 85"/>
                  <a:gd name="T40" fmla="*/ 60 w 75"/>
                  <a:gd name="T41" fmla="*/ 35 h 85"/>
                  <a:gd name="T42" fmla="*/ 15 w 75"/>
                  <a:gd name="T43" fmla="*/ 35 h 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75" h="85">
                    <a:moveTo>
                      <a:pt x="38" y="0"/>
                    </a:moveTo>
                    <a:cubicBezTo>
                      <a:pt x="26" y="0"/>
                      <a:pt x="17" y="4"/>
                      <a:pt x="10" y="12"/>
                    </a:cubicBezTo>
                    <a:cubicBezTo>
                      <a:pt x="3" y="19"/>
                      <a:pt x="0" y="30"/>
                      <a:pt x="0" y="43"/>
                    </a:cubicBezTo>
                    <a:cubicBezTo>
                      <a:pt x="0" y="57"/>
                      <a:pt x="3" y="67"/>
                      <a:pt x="10" y="74"/>
                    </a:cubicBezTo>
                    <a:cubicBezTo>
                      <a:pt x="17" y="81"/>
                      <a:pt x="26" y="85"/>
                      <a:pt x="38" y="85"/>
                    </a:cubicBezTo>
                    <a:cubicBezTo>
                      <a:pt x="48" y="85"/>
                      <a:pt x="56" y="83"/>
                      <a:pt x="62" y="78"/>
                    </a:cubicBezTo>
                    <a:cubicBezTo>
                      <a:pt x="68" y="74"/>
                      <a:pt x="72" y="67"/>
                      <a:pt x="74" y="59"/>
                    </a:cubicBezTo>
                    <a:cubicBezTo>
                      <a:pt x="60" y="57"/>
                      <a:pt x="60" y="57"/>
                      <a:pt x="60" y="57"/>
                    </a:cubicBezTo>
                    <a:cubicBezTo>
                      <a:pt x="58" y="63"/>
                      <a:pt x="55" y="67"/>
                      <a:pt x="51" y="70"/>
                    </a:cubicBezTo>
                    <a:cubicBezTo>
                      <a:pt x="48" y="73"/>
                      <a:pt x="43" y="74"/>
                      <a:pt x="38" y="74"/>
                    </a:cubicBezTo>
                    <a:cubicBezTo>
                      <a:pt x="32" y="74"/>
                      <a:pt x="26" y="71"/>
                      <a:pt x="21" y="67"/>
                    </a:cubicBezTo>
                    <a:cubicBezTo>
                      <a:pt x="17" y="62"/>
                      <a:pt x="14" y="55"/>
                      <a:pt x="14" y="46"/>
                    </a:cubicBezTo>
                    <a:cubicBezTo>
                      <a:pt x="75" y="46"/>
                      <a:pt x="75" y="46"/>
                      <a:pt x="75" y="46"/>
                    </a:cubicBezTo>
                    <a:cubicBezTo>
                      <a:pt x="75" y="45"/>
                      <a:pt x="75" y="43"/>
                      <a:pt x="75" y="43"/>
                    </a:cubicBezTo>
                    <a:cubicBezTo>
                      <a:pt x="75" y="29"/>
                      <a:pt x="71" y="19"/>
                      <a:pt x="64" y="11"/>
                    </a:cubicBezTo>
                    <a:cubicBezTo>
                      <a:pt x="57" y="4"/>
                      <a:pt x="48" y="0"/>
                      <a:pt x="38" y="0"/>
                    </a:cubicBezTo>
                    <a:close/>
                    <a:moveTo>
                      <a:pt x="15" y="35"/>
                    </a:moveTo>
                    <a:cubicBezTo>
                      <a:pt x="15" y="28"/>
                      <a:pt x="17" y="22"/>
                      <a:pt x="22" y="18"/>
                    </a:cubicBezTo>
                    <a:cubicBezTo>
                      <a:pt x="26" y="14"/>
                      <a:pt x="31" y="12"/>
                      <a:pt x="38" y="12"/>
                    </a:cubicBezTo>
                    <a:cubicBezTo>
                      <a:pt x="45" y="12"/>
                      <a:pt x="50" y="14"/>
                      <a:pt x="55" y="20"/>
                    </a:cubicBezTo>
                    <a:cubicBezTo>
                      <a:pt x="58" y="23"/>
                      <a:pt x="59" y="28"/>
                      <a:pt x="60" y="35"/>
                    </a:cubicBezTo>
                    <a:lnTo>
                      <a:pt x="15" y="3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275" name="í$ľîde"/>
              <p:cNvSpPr/>
              <p:nvPr/>
            </p:nvSpPr>
            <p:spPr bwMode="auto">
              <a:xfrm>
                <a:off x="7994903" y="5729878"/>
                <a:ext cx="138113" cy="157163"/>
              </a:xfrm>
              <a:custGeom>
                <a:avLst/>
                <a:gdLst>
                  <a:gd name="T0" fmla="*/ 71 w 75"/>
                  <a:gd name="T1" fmla="*/ 49 h 85"/>
                  <a:gd name="T2" fmla="*/ 71 w 75"/>
                  <a:gd name="T3" fmla="*/ 31 h 85"/>
                  <a:gd name="T4" fmla="*/ 70 w 75"/>
                  <a:gd name="T5" fmla="*/ 18 h 85"/>
                  <a:gd name="T6" fmla="*/ 66 w 75"/>
                  <a:gd name="T7" fmla="*/ 9 h 85"/>
                  <a:gd name="T8" fmla="*/ 56 w 75"/>
                  <a:gd name="T9" fmla="*/ 3 h 85"/>
                  <a:gd name="T10" fmla="*/ 39 w 75"/>
                  <a:gd name="T11" fmla="*/ 0 h 85"/>
                  <a:gd name="T12" fmla="*/ 21 w 75"/>
                  <a:gd name="T13" fmla="*/ 3 h 85"/>
                  <a:gd name="T14" fmla="*/ 9 w 75"/>
                  <a:gd name="T15" fmla="*/ 11 h 85"/>
                  <a:gd name="T16" fmla="*/ 3 w 75"/>
                  <a:gd name="T17" fmla="*/ 25 h 85"/>
                  <a:gd name="T18" fmla="*/ 16 w 75"/>
                  <a:gd name="T19" fmla="*/ 27 h 85"/>
                  <a:gd name="T20" fmla="*/ 23 w 75"/>
                  <a:gd name="T21" fmla="*/ 15 h 85"/>
                  <a:gd name="T22" fmla="*/ 37 w 75"/>
                  <a:gd name="T23" fmla="*/ 12 h 85"/>
                  <a:gd name="T24" fmla="*/ 53 w 75"/>
                  <a:gd name="T25" fmla="*/ 16 h 85"/>
                  <a:gd name="T26" fmla="*/ 57 w 75"/>
                  <a:gd name="T27" fmla="*/ 28 h 85"/>
                  <a:gd name="T28" fmla="*/ 57 w 75"/>
                  <a:gd name="T29" fmla="*/ 32 h 85"/>
                  <a:gd name="T30" fmla="*/ 32 w 75"/>
                  <a:gd name="T31" fmla="*/ 36 h 85"/>
                  <a:gd name="T32" fmla="*/ 20 w 75"/>
                  <a:gd name="T33" fmla="*/ 39 h 85"/>
                  <a:gd name="T34" fmla="*/ 10 w 75"/>
                  <a:gd name="T35" fmla="*/ 43 h 85"/>
                  <a:gd name="T36" fmla="*/ 3 w 75"/>
                  <a:gd name="T37" fmla="*/ 51 h 85"/>
                  <a:gd name="T38" fmla="*/ 0 w 75"/>
                  <a:gd name="T39" fmla="*/ 62 h 85"/>
                  <a:gd name="T40" fmla="*/ 7 w 75"/>
                  <a:gd name="T41" fmla="*/ 79 h 85"/>
                  <a:gd name="T42" fmla="*/ 28 w 75"/>
                  <a:gd name="T43" fmla="*/ 85 h 85"/>
                  <a:gd name="T44" fmla="*/ 43 w 75"/>
                  <a:gd name="T45" fmla="*/ 82 h 85"/>
                  <a:gd name="T46" fmla="*/ 58 w 75"/>
                  <a:gd name="T47" fmla="*/ 73 h 85"/>
                  <a:gd name="T48" fmla="*/ 61 w 75"/>
                  <a:gd name="T49" fmla="*/ 83 h 85"/>
                  <a:gd name="T50" fmla="*/ 75 w 75"/>
                  <a:gd name="T51" fmla="*/ 83 h 85"/>
                  <a:gd name="T52" fmla="*/ 72 w 75"/>
                  <a:gd name="T53" fmla="*/ 74 h 85"/>
                  <a:gd name="T54" fmla="*/ 71 w 75"/>
                  <a:gd name="T55" fmla="*/ 49 h 85"/>
                  <a:gd name="T56" fmla="*/ 57 w 75"/>
                  <a:gd name="T57" fmla="*/ 48 h 85"/>
                  <a:gd name="T58" fmla="*/ 55 w 75"/>
                  <a:gd name="T59" fmla="*/ 61 h 85"/>
                  <a:gd name="T60" fmla="*/ 46 w 75"/>
                  <a:gd name="T61" fmla="*/ 71 h 85"/>
                  <a:gd name="T62" fmla="*/ 31 w 75"/>
                  <a:gd name="T63" fmla="*/ 74 h 85"/>
                  <a:gd name="T64" fmla="*/ 19 w 75"/>
                  <a:gd name="T65" fmla="*/ 71 h 85"/>
                  <a:gd name="T66" fmla="*/ 15 w 75"/>
                  <a:gd name="T67" fmla="*/ 62 h 85"/>
                  <a:gd name="T68" fmla="*/ 17 w 75"/>
                  <a:gd name="T69" fmla="*/ 55 h 85"/>
                  <a:gd name="T70" fmla="*/ 22 w 75"/>
                  <a:gd name="T71" fmla="*/ 50 h 85"/>
                  <a:gd name="T72" fmla="*/ 34 w 75"/>
                  <a:gd name="T73" fmla="*/ 48 h 85"/>
                  <a:gd name="T74" fmla="*/ 57 w 75"/>
                  <a:gd name="T75" fmla="*/ 43 h 85"/>
                  <a:gd name="T76" fmla="*/ 57 w 75"/>
                  <a:gd name="T77" fmla="*/ 48 h 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75" h="85">
                    <a:moveTo>
                      <a:pt x="71" y="49"/>
                    </a:moveTo>
                    <a:cubicBezTo>
                      <a:pt x="71" y="31"/>
                      <a:pt x="71" y="31"/>
                      <a:pt x="71" y="31"/>
                    </a:cubicBezTo>
                    <a:cubicBezTo>
                      <a:pt x="71" y="25"/>
                      <a:pt x="71" y="21"/>
                      <a:pt x="70" y="18"/>
                    </a:cubicBezTo>
                    <a:cubicBezTo>
                      <a:pt x="69" y="14"/>
                      <a:pt x="68" y="11"/>
                      <a:pt x="66" y="9"/>
                    </a:cubicBezTo>
                    <a:cubicBezTo>
                      <a:pt x="64" y="6"/>
                      <a:pt x="61" y="4"/>
                      <a:pt x="56" y="3"/>
                    </a:cubicBezTo>
                    <a:cubicBezTo>
                      <a:pt x="52" y="1"/>
                      <a:pt x="46" y="0"/>
                      <a:pt x="39" y="0"/>
                    </a:cubicBezTo>
                    <a:cubicBezTo>
                      <a:pt x="32" y="0"/>
                      <a:pt x="26" y="1"/>
                      <a:pt x="21" y="3"/>
                    </a:cubicBezTo>
                    <a:cubicBezTo>
                      <a:pt x="16" y="5"/>
                      <a:pt x="12" y="8"/>
                      <a:pt x="9" y="11"/>
                    </a:cubicBezTo>
                    <a:cubicBezTo>
                      <a:pt x="6" y="15"/>
                      <a:pt x="4" y="19"/>
                      <a:pt x="3" y="25"/>
                    </a:cubicBezTo>
                    <a:cubicBezTo>
                      <a:pt x="16" y="27"/>
                      <a:pt x="16" y="27"/>
                      <a:pt x="16" y="27"/>
                    </a:cubicBezTo>
                    <a:cubicBezTo>
                      <a:pt x="18" y="21"/>
                      <a:pt x="20" y="17"/>
                      <a:pt x="23" y="15"/>
                    </a:cubicBezTo>
                    <a:cubicBezTo>
                      <a:pt x="26" y="13"/>
                      <a:pt x="31" y="12"/>
                      <a:pt x="37" y="12"/>
                    </a:cubicBezTo>
                    <a:cubicBezTo>
                      <a:pt x="44" y="12"/>
                      <a:pt x="50" y="13"/>
                      <a:pt x="53" y="16"/>
                    </a:cubicBezTo>
                    <a:cubicBezTo>
                      <a:pt x="56" y="19"/>
                      <a:pt x="57" y="23"/>
                      <a:pt x="57" y="28"/>
                    </a:cubicBezTo>
                    <a:cubicBezTo>
                      <a:pt x="57" y="29"/>
                      <a:pt x="57" y="30"/>
                      <a:pt x="57" y="32"/>
                    </a:cubicBezTo>
                    <a:cubicBezTo>
                      <a:pt x="52" y="34"/>
                      <a:pt x="43" y="35"/>
                      <a:pt x="32" y="36"/>
                    </a:cubicBezTo>
                    <a:cubicBezTo>
                      <a:pt x="27" y="37"/>
                      <a:pt x="23" y="38"/>
                      <a:pt x="20" y="39"/>
                    </a:cubicBezTo>
                    <a:cubicBezTo>
                      <a:pt x="16" y="40"/>
                      <a:pt x="13" y="41"/>
                      <a:pt x="10" y="43"/>
                    </a:cubicBezTo>
                    <a:cubicBezTo>
                      <a:pt x="7" y="45"/>
                      <a:pt x="5" y="48"/>
                      <a:pt x="3" y="51"/>
                    </a:cubicBezTo>
                    <a:cubicBezTo>
                      <a:pt x="1" y="54"/>
                      <a:pt x="0" y="58"/>
                      <a:pt x="0" y="62"/>
                    </a:cubicBezTo>
                    <a:cubicBezTo>
                      <a:pt x="0" y="69"/>
                      <a:pt x="3" y="74"/>
                      <a:pt x="7" y="79"/>
                    </a:cubicBezTo>
                    <a:cubicBezTo>
                      <a:pt x="12" y="83"/>
                      <a:pt x="19" y="85"/>
                      <a:pt x="28" y="85"/>
                    </a:cubicBezTo>
                    <a:cubicBezTo>
                      <a:pt x="33" y="85"/>
                      <a:pt x="39" y="84"/>
                      <a:pt x="43" y="82"/>
                    </a:cubicBezTo>
                    <a:cubicBezTo>
                      <a:pt x="48" y="81"/>
                      <a:pt x="53" y="78"/>
                      <a:pt x="58" y="73"/>
                    </a:cubicBezTo>
                    <a:cubicBezTo>
                      <a:pt x="58" y="77"/>
                      <a:pt x="59" y="80"/>
                      <a:pt x="61" y="83"/>
                    </a:cubicBezTo>
                    <a:cubicBezTo>
                      <a:pt x="75" y="83"/>
                      <a:pt x="75" y="83"/>
                      <a:pt x="75" y="83"/>
                    </a:cubicBezTo>
                    <a:cubicBezTo>
                      <a:pt x="73" y="80"/>
                      <a:pt x="72" y="77"/>
                      <a:pt x="72" y="74"/>
                    </a:cubicBezTo>
                    <a:cubicBezTo>
                      <a:pt x="71" y="70"/>
                      <a:pt x="71" y="62"/>
                      <a:pt x="71" y="49"/>
                    </a:cubicBezTo>
                    <a:close/>
                    <a:moveTo>
                      <a:pt x="57" y="48"/>
                    </a:moveTo>
                    <a:cubicBezTo>
                      <a:pt x="57" y="54"/>
                      <a:pt x="56" y="58"/>
                      <a:pt x="55" y="61"/>
                    </a:cubicBezTo>
                    <a:cubicBezTo>
                      <a:pt x="53" y="65"/>
                      <a:pt x="50" y="69"/>
                      <a:pt x="46" y="71"/>
                    </a:cubicBezTo>
                    <a:cubicBezTo>
                      <a:pt x="41" y="73"/>
                      <a:pt x="37" y="74"/>
                      <a:pt x="31" y="74"/>
                    </a:cubicBezTo>
                    <a:cubicBezTo>
                      <a:pt x="26" y="74"/>
                      <a:pt x="22" y="73"/>
                      <a:pt x="19" y="71"/>
                    </a:cubicBezTo>
                    <a:cubicBezTo>
                      <a:pt x="16" y="68"/>
                      <a:pt x="15" y="65"/>
                      <a:pt x="15" y="62"/>
                    </a:cubicBezTo>
                    <a:cubicBezTo>
                      <a:pt x="15" y="59"/>
                      <a:pt x="16" y="57"/>
                      <a:pt x="17" y="55"/>
                    </a:cubicBezTo>
                    <a:cubicBezTo>
                      <a:pt x="18" y="53"/>
                      <a:pt x="20" y="52"/>
                      <a:pt x="22" y="50"/>
                    </a:cubicBezTo>
                    <a:cubicBezTo>
                      <a:pt x="25" y="49"/>
                      <a:pt x="29" y="49"/>
                      <a:pt x="34" y="48"/>
                    </a:cubicBezTo>
                    <a:cubicBezTo>
                      <a:pt x="44" y="46"/>
                      <a:pt x="52" y="45"/>
                      <a:pt x="57" y="43"/>
                    </a:cubicBezTo>
                    <a:lnTo>
                      <a:pt x="57" y="4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276" name="ï$ḻíḋê"/>
              <p:cNvSpPr/>
              <p:nvPr/>
            </p:nvSpPr>
            <p:spPr bwMode="auto">
              <a:xfrm>
                <a:off x="8164766" y="5729878"/>
                <a:ext cx="122238" cy="152400"/>
              </a:xfrm>
              <a:custGeom>
                <a:avLst/>
                <a:gdLst>
                  <a:gd name="T0" fmla="*/ 61 w 66"/>
                  <a:gd name="T1" fmla="*/ 10 h 83"/>
                  <a:gd name="T2" fmla="*/ 52 w 66"/>
                  <a:gd name="T3" fmla="*/ 3 h 83"/>
                  <a:gd name="T4" fmla="*/ 38 w 66"/>
                  <a:gd name="T5" fmla="*/ 0 h 83"/>
                  <a:gd name="T6" fmla="*/ 13 w 66"/>
                  <a:gd name="T7" fmla="*/ 14 h 83"/>
                  <a:gd name="T8" fmla="*/ 13 w 66"/>
                  <a:gd name="T9" fmla="*/ 2 h 83"/>
                  <a:gd name="T10" fmla="*/ 0 w 66"/>
                  <a:gd name="T11" fmla="*/ 2 h 83"/>
                  <a:gd name="T12" fmla="*/ 0 w 66"/>
                  <a:gd name="T13" fmla="*/ 83 h 83"/>
                  <a:gd name="T14" fmla="*/ 14 w 66"/>
                  <a:gd name="T15" fmla="*/ 83 h 83"/>
                  <a:gd name="T16" fmla="*/ 14 w 66"/>
                  <a:gd name="T17" fmla="*/ 39 h 83"/>
                  <a:gd name="T18" fmla="*/ 20 w 66"/>
                  <a:gd name="T19" fmla="*/ 18 h 83"/>
                  <a:gd name="T20" fmla="*/ 36 w 66"/>
                  <a:gd name="T21" fmla="*/ 12 h 83"/>
                  <a:gd name="T22" fmla="*/ 45 w 66"/>
                  <a:gd name="T23" fmla="*/ 15 h 83"/>
                  <a:gd name="T24" fmla="*/ 51 w 66"/>
                  <a:gd name="T25" fmla="*/ 21 h 83"/>
                  <a:gd name="T26" fmla="*/ 52 w 66"/>
                  <a:gd name="T27" fmla="*/ 34 h 83"/>
                  <a:gd name="T28" fmla="*/ 52 w 66"/>
                  <a:gd name="T29" fmla="*/ 83 h 83"/>
                  <a:gd name="T30" fmla="*/ 66 w 66"/>
                  <a:gd name="T31" fmla="*/ 83 h 83"/>
                  <a:gd name="T32" fmla="*/ 66 w 66"/>
                  <a:gd name="T33" fmla="*/ 33 h 83"/>
                  <a:gd name="T34" fmla="*/ 65 w 66"/>
                  <a:gd name="T35" fmla="*/ 20 h 83"/>
                  <a:gd name="T36" fmla="*/ 61 w 66"/>
                  <a:gd name="T37" fmla="*/ 10 h 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66" h="83">
                    <a:moveTo>
                      <a:pt x="61" y="10"/>
                    </a:moveTo>
                    <a:cubicBezTo>
                      <a:pt x="59" y="7"/>
                      <a:pt x="56" y="5"/>
                      <a:pt x="52" y="3"/>
                    </a:cubicBezTo>
                    <a:cubicBezTo>
                      <a:pt x="48" y="1"/>
                      <a:pt x="43" y="0"/>
                      <a:pt x="38" y="0"/>
                    </a:cubicBezTo>
                    <a:cubicBezTo>
                      <a:pt x="27" y="0"/>
                      <a:pt x="19" y="5"/>
                      <a:pt x="13" y="14"/>
                    </a:cubicBezTo>
                    <a:cubicBezTo>
                      <a:pt x="13" y="2"/>
                      <a:pt x="13" y="2"/>
                      <a:pt x="13" y="2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83"/>
                      <a:pt x="0" y="83"/>
                      <a:pt x="0" y="83"/>
                    </a:cubicBezTo>
                    <a:cubicBezTo>
                      <a:pt x="14" y="83"/>
                      <a:pt x="14" y="83"/>
                      <a:pt x="14" y="83"/>
                    </a:cubicBezTo>
                    <a:cubicBezTo>
                      <a:pt x="14" y="39"/>
                      <a:pt x="14" y="39"/>
                      <a:pt x="14" y="39"/>
                    </a:cubicBezTo>
                    <a:cubicBezTo>
                      <a:pt x="14" y="29"/>
                      <a:pt x="16" y="21"/>
                      <a:pt x="20" y="18"/>
                    </a:cubicBezTo>
                    <a:cubicBezTo>
                      <a:pt x="25" y="14"/>
                      <a:pt x="30" y="12"/>
                      <a:pt x="36" y="12"/>
                    </a:cubicBezTo>
                    <a:cubicBezTo>
                      <a:pt x="39" y="12"/>
                      <a:pt x="42" y="13"/>
                      <a:pt x="45" y="15"/>
                    </a:cubicBezTo>
                    <a:cubicBezTo>
                      <a:pt x="48" y="16"/>
                      <a:pt x="50" y="19"/>
                      <a:pt x="51" y="21"/>
                    </a:cubicBezTo>
                    <a:cubicBezTo>
                      <a:pt x="52" y="24"/>
                      <a:pt x="52" y="28"/>
                      <a:pt x="52" y="34"/>
                    </a:cubicBezTo>
                    <a:cubicBezTo>
                      <a:pt x="52" y="83"/>
                      <a:pt x="52" y="83"/>
                      <a:pt x="52" y="83"/>
                    </a:cubicBezTo>
                    <a:cubicBezTo>
                      <a:pt x="66" y="83"/>
                      <a:pt x="66" y="83"/>
                      <a:pt x="66" y="83"/>
                    </a:cubicBezTo>
                    <a:cubicBezTo>
                      <a:pt x="66" y="33"/>
                      <a:pt x="66" y="33"/>
                      <a:pt x="66" y="33"/>
                    </a:cubicBezTo>
                    <a:cubicBezTo>
                      <a:pt x="66" y="27"/>
                      <a:pt x="66" y="23"/>
                      <a:pt x="65" y="20"/>
                    </a:cubicBezTo>
                    <a:cubicBezTo>
                      <a:pt x="65" y="16"/>
                      <a:pt x="63" y="13"/>
                      <a:pt x="61" y="1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277" name="îśḻïďè"/>
              <p:cNvSpPr/>
              <p:nvPr/>
            </p:nvSpPr>
            <p:spPr bwMode="auto">
              <a:xfrm>
                <a:off x="8315578" y="5675903"/>
                <a:ext cx="131763" cy="211138"/>
              </a:xfrm>
              <a:custGeom>
                <a:avLst/>
                <a:gdLst>
                  <a:gd name="T0" fmla="*/ 57 w 71"/>
                  <a:gd name="T1" fmla="*/ 40 h 114"/>
                  <a:gd name="T2" fmla="*/ 48 w 71"/>
                  <a:gd name="T3" fmla="*/ 32 h 114"/>
                  <a:gd name="T4" fmla="*/ 35 w 71"/>
                  <a:gd name="T5" fmla="*/ 29 h 114"/>
                  <a:gd name="T6" fmla="*/ 17 w 71"/>
                  <a:gd name="T7" fmla="*/ 35 h 114"/>
                  <a:gd name="T8" fmla="*/ 4 w 71"/>
                  <a:gd name="T9" fmla="*/ 50 h 114"/>
                  <a:gd name="T10" fmla="*/ 0 w 71"/>
                  <a:gd name="T11" fmla="*/ 72 h 114"/>
                  <a:gd name="T12" fmla="*/ 5 w 71"/>
                  <a:gd name="T13" fmla="*/ 94 h 114"/>
                  <a:gd name="T14" fmla="*/ 17 w 71"/>
                  <a:gd name="T15" fmla="*/ 109 h 114"/>
                  <a:gd name="T16" fmla="*/ 35 w 71"/>
                  <a:gd name="T17" fmla="*/ 114 h 114"/>
                  <a:gd name="T18" fmla="*/ 58 w 71"/>
                  <a:gd name="T19" fmla="*/ 102 h 114"/>
                  <a:gd name="T20" fmla="*/ 58 w 71"/>
                  <a:gd name="T21" fmla="*/ 112 h 114"/>
                  <a:gd name="T22" fmla="*/ 71 w 71"/>
                  <a:gd name="T23" fmla="*/ 112 h 114"/>
                  <a:gd name="T24" fmla="*/ 71 w 71"/>
                  <a:gd name="T25" fmla="*/ 0 h 114"/>
                  <a:gd name="T26" fmla="*/ 57 w 71"/>
                  <a:gd name="T27" fmla="*/ 0 h 114"/>
                  <a:gd name="T28" fmla="*/ 57 w 71"/>
                  <a:gd name="T29" fmla="*/ 40 h 114"/>
                  <a:gd name="T30" fmla="*/ 52 w 71"/>
                  <a:gd name="T31" fmla="*/ 95 h 114"/>
                  <a:gd name="T32" fmla="*/ 37 w 71"/>
                  <a:gd name="T33" fmla="*/ 103 h 114"/>
                  <a:gd name="T34" fmla="*/ 21 w 71"/>
                  <a:gd name="T35" fmla="*/ 95 h 114"/>
                  <a:gd name="T36" fmla="*/ 15 w 71"/>
                  <a:gd name="T37" fmla="*/ 72 h 114"/>
                  <a:gd name="T38" fmla="*/ 21 w 71"/>
                  <a:gd name="T39" fmla="*/ 48 h 114"/>
                  <a:gd name="T40" fmla="*/ 36 w 71"/>
                  <a:gd name="T41" fmla="*/ 41 h 114"/>
                  <a:gd name="T42" fmla="*/ 52 w 71"/>
                  <a:gd name="T43" fmla="*/ 48 h 114"/>
                  <a:gd name="T44" fmla="*/ 58 w 71"/>
                  <a:gd name="T45" fmla="*/ 73 h 114"/>
                  <a:gd name="T46" fmla="*/ 52 w 71"/>
                  <a:gd name="T47" fmla="*/ 95 h 1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71" h="114">
                    <a:moveTo>
                      <a:pt x="57" y="40"/>
                    </a:moveTo>
                    <a:cubicBezTo>
                      <a:pt x="55" y="37"/>
                      <a:pt x="52" y="34"/>
                      <a:pt x="48" y="32"/>
                    </a:cubicBezTo>
                    <a:cubicBezTo>
                      <a:pt x="44" y="30"/>
                      <a:pt x="40" y="29"/>
                      <a:pt x="35" y="29"/>
                    </a:cubicBezTo>
                    <a:cubicBezTo>
                      <a:pt x="28" y="29"/>
                      <a:pt x="22" y="31"/>
                      <a:pt x="17" y="35"/>
                    </a:cubicBezTo>
                    <a:cubicBezTo>
                      <a:pt x="11" y="38"/>
                      <a:pt x="7" y="43"/>
                      <a:pt x="4" y="50"/>
                    </a:cubicBezTo>
                    <a:cubicBezTo>
                      <a:pt x="2" y="56"/>
                      <a:pt x="0" y="64"/>
                      <a:pt x="0" y="72"/>
                    </a:cubicBezTo>
                    <a:cubicBezTo>
                      <a:pt x="0" y="80"/>
                      <a:pt x="2" y="87"/>
                      <a:pt x="5" y="94"/>
                    </a:cubicBezTo>
                    <a:cubicBezTo>
                      <a:pt x="8" y="100"/>
                      <a:pt x="12" y="105"/>
                      <a:pt x="17" y="109"/>
                    </a:cubicBezTo>
                    <a:cubicBezTo>
                      <a:pt x="23" y="112"/>
                      <a:pt x="29" y="114"/>
                      <a:pt x="35" y="114"/>
                    </a:cubicBezTo>
                    <a:cubicBezTo>
                      <a:pt x="45" y="114"/>
                      <a:pt x="53" y="110"/>
                      <a:pt x="58" y="102"/>
                    </a:cubicBezTo>
                    <a:cubicBezTo>
                      <a:pt x="58" y="112"/>
                      <a:pt x="58" y="112"/>
                      <a:pt x="58" y="112"/>
                    </a:cubicBezTo>
                    <a:cubicBezTo>
                      <a:pt x="71" y="112"/>
                      <a:pt x="71" y="112"/>
                      <a:pt x="71" y="112"/>
                    </a:cubicBezTo>
                    <a:cubicBezTo>
                      <a:pt x="71" y="0"/>
                      <a:pt x="71" y="0"/>
                      <a:pt x="71" y="0"/>
                    </a:cubicBezTo>
                    <a:cubicBezTo>
                      <a:pt x="57" y="0"/>
                      <a:pt x="57" y="0"/>
                      <a:pt x="57" y="0"/>
                    </a:cubicBezTo>
                    <a:lnTo>
                      <a:pt x="57" y="40"/>
                    </a:lnTo>
                    <a:close/>
                    <a:moveTo>
                      <a:pt x="52" y="95"/>
                    </a:moveTo>
                    <a:cubicBezTo>
                      <a:pt x="48" y="100"/>
                      <a:pt x="43" y="103"/>
                      <a:pt x="37" y="103"/>
                    </a:cubicBezTo>
                    <a:cubicBezTo>
                      <a:pt x="31" y="103"/>
                      <a:pt x="25" y="100"/>
                      <a:pt x="21" y="95"/>
                    </a:cubicBezTo>
                    <a:cubicBezTo>
                      <a:pt x="17" y="90"/>
                      <a:pt x="15" y="82"/>
                      <a:pt x="15" y="72"/>
                    </a:cubicBezTo>
                    <a:cubicBezTo>
                      <a:pt x="15" y="61"/>
                      <a:pt x="17" y="53"/>
                      <a:pt x="21" y="48"/>
                    </a:cubicBezTo>
                    <a:cubicBezTo>
                      <a:pt x="25" y="43"/>
                      <a:pt x="30" y="41"/>
                      <a:pt x="36" y="41"/>
                    </a:cubicBezTo>
                    <a:cubicBezTo>
                      <a:pt x="42" y="41"/>
                      <a:pt x="48" y="43"/>
                      <a:pt x="52" y="48"/>
                    </a:cubicBezTo>
                    <a:cubicBezTo>
                      <a:pt x="56" y="54"/>
                      <a:pt x="58" y="62"/>
                      <a:pt x="58" y="73"/>
                    </a:cubicBezTo>
                    <a:cubicBezTo>
                      <a:pt x="58" y="83"/>
                      <a:pt x="56" y="91"/>
                      <a:pt x="52" y="9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278" name="iṡľîdé"/>
              <p:cNvSpPr/>
              <p:nvPr/>
            </p:nvSpPr>
            <p:spPr bwMode="auto">
              <a:xfrm>
                <a:off x="8550528" y="5675903"/>
                <a:ext cx="163513" cy="206375"/>
              </a:xfrm>
              <a:custGeom>
                <a:avLst/>
                <a:gdLst>
                  <a:gd name="T0" fmla="*/ 103 w 103"/>
                  <a:gd name="T1" fmla="*/ 0 h 130"/>
                  <a:gd name="T2" fmla="*/ 0 w 103"/>
                  <a:gd name="T3" fmla="*/ 0 h 130"/>
                  <a:gd name="T4" fmla="*/ 0 w 103"/>
                  <a:gd name="T5" fmla="*/ 15 h 130"/>
                  <a:gd name="T6" fmla="*/ 43 w 103"/>
                  <a:gd name="T7" fmla="*/ 15 h 130"/>
                  <a:gd name="T8" fmla="*/ 43 w 103"/>
                  <a:gd name="T9" fmla="*/ 130 h 130"/>
                  <a:gd name="T10" fmla="*/ 59 w 103"/>
                  <a:gd name="T11" fmla="*/ 130 h 130"/>
                  <a:gd name="T12" fmla="*/ 59 w 103"/>
                  <a:gd name="T13" fmla="*/ 15 h 130"/>
                  <a:gd name="T14" fmla="*/ 103 w 103"/>
                  <a:gd name="T15" fmla="*/ 15 h 130"/>
                  <a:gd name="T16" fmla="*/ 103 w 103"/>
                  <a:gd name="T17" fmla="*/ 0 h 1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03" h="130">
                    <a:moveTo>
                      <a:pt x="103" y="0"/>
                    </a:moveTo>
                    <a:lnTo>
                      <a:pt x="0" y="0"/>
                    </a:lnTo>
                    <a:lnTo>
                      <a:pt x="0" y="15"/>
                    </a:lnTo>
                    <a:lnTo>
                      <a:pt x="43" y="15"/>
                    </a:lnTo>
                    <a:lnTo>
                      <a:pt x="43" y="130"/>
                    </a:lnTo>
                    <a:lnTo>
                      <a:pt x="59" y="130"/>
                    </a:lnTo>
                    <a:lnTo>
                      <a:pt x="59" y="15"/>
                    </a:lnTo>
                    <a:lnTo>
                      <a:pt x="103" y="15"/>
                    </a:lnTo>
                    <a:lnTo>
                      <a:pt x="103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279" name="íṥḻíḋé"/>
              <p:cNvSpPr/>
              <p:nvPr/>
            </p:nvSpPr>
            <p:spPr bwMode="auto">
              <a:xfrm>
                <a:off x="8698166" y="5729878"/>
                <a:ext cx="138113" cy="157163"/>
              </a:xfrm>
              <a:custGeom>
                <a:avLst/>
                <a:gdLst>
                  <a:gd name="T0" fmla="*/ 38 w 75"/>
                  <a:gd name="T1" fmla="*/ 0 h 85"/>
                  <a:gd name="T2" fmla="*/ 11 w 75"/>
                  <a:gd name="T3" fmla="*/ 12 h 85"/>
                  <a:gd name="T4" fmla="*/ 0 w 75"/>
                  <a:gd name="T5" fmla="*/ 43 h 85"/>
                  <a:gd name="T6" fmla="*/ 10 w 75"/>
                  <a:gd name="T7" fmla="*/ 74 h 85"/>
                  <a:gd name="T8" fmla="*/ 39 w 75"/>
                  <a:gd name="T9" fmla="*/ 85 h 85"/>
                  <a:gd name="T10" fmla="*/ 62 w 75"/>
                  <a:gd name="T11" fmla="*/ 78 h 85"/>
                  <a:gd name="T12" fmla="*/ 74 w 75"/>
                  <a:gd name="T13" fmla="*/ 59 h 85"/>
                  <a:gd name="T14" fmla="*/ 60 w 75"/>
                  <a:gd name="T15" fmla="*/ 57 h 85"/>
                  <a:gd name="T16" fmla="*/ 52 w 75"/>
                  <a:gd name="T17" fmla="*/ 70 h 85"/>
                  <a:gd name="T18" fmla="*/ 39 w 75"/>
                  <a:gd name="T19" fmla="*/ 74 h 85"/>
                  <a:gd name="T20" fmla="*/ 22 w 75"/>
                  <a:gd name="T21" fmla="*/ 67 h 85"/>
                  <a:gd name="T22" fmla="*/ 14 w 75"/>
                  <a:gd name="T23" fmla="*/ 46 h 85"/>
                  <a:gd name="T24" fmla="*/ 75 w 75"/>
                  <a:gd name="T25" fmla="*/ 46 h 85"/>
                  <a:gd name="T26" fmla="*/ 75 w 75"/>
                  <a:gd name="T27" fmla="*/ 43 h 85"/>
                  <a:gd name="T28" fmla="*/ 65 w 75"/>
                  <a:gd name="T29" fmla="*/ 11 h 85"/>
                  <a:gd name="T30" fmla="*/ 38 w 75"/>
                  <a:gd name="T31" fmla="*/ 0 h 85"/>
                  <a:gd name="T32" fmla="*/ 15 w 75"/>
                  <a:gd name="T33" fmla="*/ 35 h 85"/>
                  <a:gd name="T34" fmla="*/ 22 w 75"/>
                  <a:gd name="T35" fmla="*/ 18 h 85"/>
                  <a:gd name="T36" fmla="*/ 38 w 75"/>
                  <a:gd name="T37" fmla="*/ 12 h 85"/>
                  <a:gd name="T38" fmla="*/ 55 w 75"/>
                  <a:gd name="T39" fmla="*/ 20 h 85"/>
                  <a:gd name="T40" fmla="*/ 60 w 75"/>
                  <a:gd name="T41" fmla="*/ 35 h 85"/>
                  <a:gd name="T42" fmla="*/ 15 w 75"/>
                  <a:gd name="T43" fmla="*/ 35 h 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75" h="85">
                    <a:moveTo>
                      <a:pt x="38" y="0"/>
                    </a:moveTo>
                    <a:cubicBezTo>
                      <a:pt x="27" y="0"/>
                      <a:pt x="18" y="4"/>
                      <a:pt x="11" y="12"/>
                    </a:cubicBezTo>
                    <a:cubicBezTo>
                      <a:pt x="4" y="19"/>
                      <a:pt x="0" y="30"/>
                      <a:pt x="0" y="43"/>
                    </a:cubicBezTo>
                    <a:cubicBezTo>
                      <a:pt x="0" y="57"/>
                      <a:pt x="3" y="67"/>
                      <a:pt x="10" y="74"/>
                    </a:cubicBezTo>
                    <a:cubicBezTo>
                      <a:pt x="17" y="81"/>
                      <a:pt x="27" y="85"/>
                      <a:pt x="39" y="85"/>
                    </a:cubicBezTo>
                    <a:cubicBezTo>
                      <a:pt x="48" y="85"/>
                      <a:pt x="56" y="83"/>
                      <a:pt x="62" y="78"/>
                    </a:cubicBezTo>
                    <a:cubicBezTo>
                      <a:pt x="68" y="74"/>
                      <a:pt x="72" y="67"/>
                      <a:pt x="74" y="59"/>
                    </a:cubicBezTo>
                    <a:cubicBezTo>
                      <a:pt x="60" y="57"/>
                      <a:pt x="60" y="57"/>
                      <a:pt x="60" y="57"/>
                    </a:cubicBezTo>
                    <a:cubicBezTo>
                      <a:pt x="58" y="63"/>
                      <a:pt x="55" y="67"/>
                      <a:pt x="52" y="70"/>
                    </a:cubicBezTo>
                    <a:cubicBezTo>
                      <a:pt x="48" y="73"/>
                      <a:pt x="44" y="74"/>
                      <a:pt x="39" y="74"/>
                    </a:cubicBezTo>
                    <a:cubicBezTo>
                      <a:pt x="32" y="74"/>
                      <a:pt x="26" y="71"/>
                      <a:pt x="22" y="67"/>
                    </a:cubicBezTo>
                    <a:cubicBezTo>
                      <a:pt x="17" y="62"/>
                      <a:pt x="15" y="55"/>
                      <a:pt x="14" y="46"/>
                    </a:cubicBezTo>
                    <a:cubicBezTo>
                      <a:pt x="75" y="46"/>
                      <a:pt x="75" y="46"/>
                      <a:pt x="75" y="46"/>
                    </a:cubicBezTo>
                    <a:cubicBezTo>
                      <a:pt x="75" y="45"/>
                      <a:pt x="75" y="43"/>
                      <a:pt x="75" y="43"/>
                    </a:cubicBezTo>
                    <a:cubicBezTo>
                      <a:pt x="75" y="29"/>
                      <a:pt x="72" y="19"/>
                      <a:pt x="65" y="11"/>
                    </a:cubicBezTo>
                    <a:cubicBezTo>
                      <a:pt x="58" y="4"/>
                      <a:pt x="49" y="0"/>
                      <a:pt x="38" y="0"/>
                    </a:cubicBezTo>
                    <a:close/>
                    <a:moveTo>
                      <a:pt x="15" y="35"/>
                    </a:moveTo>
                    <a:cubicBezTo>
                      <a:pt x="15" y="28"/>
                      <a:pt x="18" y="22"/>
                      <a:pt x="22" y="18"/>
                    </a:cubicBezTo>
                    <a:cubicBezTo>
                      <a:pt x="26" y="14"/>
                      <a:pt x="32" y="12"/>
                      <a:pt x="38" y="12"/>
                    </a:cubicBezTo>
                    <a:cubicBezTo>
                      <a:pt x="45" y="12"/>
                      <a:pt x="51" y="14"/>
                      <a:pt x="55" y="20"/>
                    </a:cubicBezTo>
                    <a:cubicBezTo>
                      <a:pt x="58" y="23"/>
                      <a:pt x="60" y="28"/>
                      <a:pt x="60" y="35"/>
                    </a:cubicBezTo>
                    <a:lnTo>
                      <a:pt x="15" y="3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280" name="ïṡļïḍè"/>
              <p:cNvSpPr/>
              <p:nvPr/>
            </p:nvSpPr>
            <p:spPr bwMode="auto">
              <a:xfrm>
                <a:off x="8860091" y="5729878"/>
                <a:ext cx="128588" cy="157163"/>
              </a:xfrm>
              <a:custGeom>
                <a:avLst/>
                <a:gdLst>
                  <a:gd name="T0" fmla="*/ 50 w 70"/>
                  <a:gd name="T1" fmla="*/ 69 h 85"/>
                  <a:gd name="T2" fmla="*/ 36 w 70"/>
                  <a:gd name="T3" fmla="*/ 74 h 85"/>
                  <a:gd name="T4" fmla="*/ 20 w 70"/>
                  <a:gd name="T5" fmla="*/ 66 h 85"/>
                  <a:gd name="T6" fmla="*/ 14 w 70"/>
                  <a:gd name="T7" fmla="*/ 43 h 85"/>
                  <a:gd name="T8" fmla="*/ 20 w 70"/>
                  <a:gd name="T9" fmla="*/ 19 h 85"/>
                  <a:gd name="T10" fmla="*/ 37 w 70"/>
                  <a:gd name="T11" fmla="*/ 12 h 85"/>
                  <a:gd name="T12" fmla="*/ 49 w 70"/>
                  <a:gd name="T13" fmla="*/ 16 h 85"/>
                  <a:gd name="T14" fmla="*/ 56 w 70"/>
                  <a:gd name="T15" fmla="*/ 28 h 85"/>
                  <a:gd name="T16" fmla="*/ 69 w 70"/>
                  <a:gd name="T17" fmla="*/ 26 h 85"/>
                  <a:gd name="T18" fmla="*/ 58 w 70"/>
                  <a:gd name="T19" fmla="*/ 7 h 85"/>
                  <a:gd name="T20" fmla="*/ 37 w 70"/>
                  <a:gd name="T21" fmla="*/ 0 h 85"/>
                  <a:gd name="T22" fmla="*/ 17 w 70"/>
                  <a:gd name="T23" fmla="*/ 5 h 85"/>
                  <a:gd name="T24" fmla="*/ 4 w 70"/>
                  <a:gd name="T25" fmla="*/ 20 h 85"/>
                  <a:gd name="T26" fmla="*/ 0 w 70"/>
                  <a:gd name="T27" fmla="*/ 43 h 85"/>
                  <a:gd name="T28" fmla="*/ 10 w 70"/>
                  <a:gd name="T29" fmla="*/ 74 h 85"/>
                  <a:gd name="T30" fmla="*/ 37 w 70"/>
                  <a:gd name="T31" fmla="*/ 85 h 85"/>
                  <a:gd name="T32" fmla="*/ 59 w 70"/>
                  <a:gd name="T33" fmla="*/ 77 h 85"/>
                  <a:gd name="T34" fmla="*/ 70 w 70"/>
                  <a:gd name="T35" fmla="*/ 55 h 85"/>
                  <a:gd name="T36" fmla="*/ 57 w 70"/>
                  <a:gd name="T37" fmla="*/ 54 h 85"/>
                  <a:gd name="T38" fmla="*/ 50 w 70"/>
                  <a:gd name="T39" fmla="*/ 69 h 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70" h="85">
                    <a:moveTo>
                      <a:pt x="50" y="69"/>
                    </a:moveTo>
                    <a:cubicBezTo>
                      <a:pt x="46" y="72"/>
                      <a:pt x="42" y="74"/>
                      <a:pt x="36" y="74"/>
                    </a:cubicBezTo>
                    <a:cubicBezTo>
                      <a:pt x="30" y="74"/>
                      <a:pt x="24" y="71"/>
                      <a:pt x="20" y="66"/>
                    </a:cubicBezTo>
                    <a:cubicBezTo>
                      <a:pt x="16" y="61"/>
                      <a:pt x="14" y="54"/>
                      <a:pt x="14" y="43"/>
                    </a:cubicBezTo>
                    <a:cubicBezTo>
                      <a:pt x="14" y="32"/>
                      <a:pt x="16" y="24"/>
                      <a:pt x="20" y="19"/>
                    </a:cubicBezTo>
                    <a:cubicBezTo>
                      <a:pt x="25" y="14"/>
                      <a:pt x="30" y="12"/>
                      <a:pt x="37" y="12"/>
                    </a:cubicBezTo>
                    <a:cubicBezTo>
                      <a:pt x="42" y="12"/>
                      <a:pt x="46" y="13"/>
                      <a:pt x="49" y="16"/>
                    </a:cubicBezTo>
                    <a:cubicBezTo>
                      <a:pt x="52" y="18"/>
                      <a:pt x="54" y="23"/>
                      <a:pt x="56" y="28"/>
                    </a:cubicBezTo>
                    <a:cubicBezTo>
                      <a:pt x="69" y="26"/>
                      <a:pt x="69" y="26"/>
                      <a:pt x="69" y="26"/>
                    </a:cubicBezTo>
                    <a:cubicBezTo>
                      <a:pt x="67" y="18"/>
                      <a:pt x="64" y="11"/>
                      <a:pt x="58" y="7"/>
                    </a:cubicBezTo>
                    <a:cubicBezTo>
                      <a:pt x="53" y="2"/>
                      <a:pt x="45" y="0"/>
                      <a:pt x="37" y="0"/>
                    </a:cubicBezTo>
                    <a:cubicBezTo>
                      <a:pt x="30" y="0"/>
                      <a:pt x="23" y="2"/>
                      <a:pt x="17" y="5"/>
                    </a:cubicBezTo>
                    <a:cubicBezTo>
                      <a:pt x="11" y="8"/>
                      <a:pt x="7" y="13"/>
                      <a:pt x="4" y="20"/>
                    </a:cubicBezTo>
                    <a:cubicBezTo>
                      <a:pt x="1" y="27"/>
                      <a:pt x="0" y="34"/>
                      <a:pt x="0" y="43"/>
                    </a:cubicBezTo>
                    <a:cubicBezTo>
                      <a:pt x="0" y="57"/>
                      <a:pt x="3" y="67"/>
                      <a:pt x="10" y="74"/>
                    </a:cubicBezTo>
                    <a:cubicBezTo>
                      <a:pt x="16" y="82"/>
                      <a:pt x="25" y="85"/>
                      <a:pt x="37" y="85"/>
                    </a:cubicBezTo>
                    <a:cubicBezTo>
                      <a:pt x="45" y="85"/>
                      <a:pt x="53" y="83"/>
                      <a:pt x="59" y="77"/>
                    </a:cubicBezTo>
                    <a:cubicBezTo>
                      <a:pt x="65" y="72"/>
                      <a:pt x="69" y="65"/>
                      <a:pt x="70" y="55"/>
                    </a:cubicBezTo>
                    <a:cubicBezTo>
                      <a:pt x="57" y="54"/>
                      <a:pt x="57" y="54"/>
                      <a:pt x="57" y="54"/>
                    </a:cubicBezTo>
                    <a:cubicBezTo>
                      <a:pt x="56" y="60"/>
                      <a:pt x="54" y="66"/>
                      <a:pt x="50" y="6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281" name="iṩḷídê"/>
              <p:cNvSpPr/>
              <p:nvPr/>
            </p:nvSpPr>
            <p:spPr bwMode="auto">
              <a:xfrm>
                <a:off x="9010903" y="5675903"/>
                <a:ext cx="122238" cy="206375"/>
              </a:xfrm>
              <a:custGeom>
                <a:avLst/>
                <a:gdLst>
                  <a:gd name="T0" fmla="*/ 54 w 66"/>
                  <a:gd name="T1" fmla="*/ 33 h 112"/>
                  <a:gd name="T2" fmla="*/ 38 w 66"/>
                  <a:gd name="T3" fmla="*/ 29 h 112"/>
                  <a:gd name="T4" fmla="*/ 14 w 66"/>
                  <a:gd name="T5" fmla="*/ 40 h 112"/>
                  <a:gd name="T6" fmla="*/ 14 w 66"/>
                  <a:gd name="T7" fmla="*/ 0 h 112"/>
                  <a:gd name="T8" fmla="*/ 0 w 66"/>
                  <a:gd name="T9" fmla="*/ 0 h 112"/>
                  <a:gd name="T10" fmla="*/ 0 w 66"/>
                  <a:gd name="T11" fmla="*/ 112 h 112"/>
                  <a:gd name="T12" fmla="*/ 14 w 66"/>
                  <a:gd name="T13" fmla="*/ 112 h 112"/>
                  <a:gd name="T14" fmla="*/ 14 w 66"/>
                  <a:gd name="T15" fmla="*/ 68 h 112"/>
                  <a:gd name="T16" fmla="*/ 16 w 66"/>
                  <a:gd name="T17" fmla="*/ 53 h 112"/>
                  <a:gd name="T18" fmla="*/ 24 w 66"/>
                  <a:gd name="T19" fmla="*/ 44 h 112"/>
                  <a:gd name="T20" fmla="*/ 35 w 66"/>
                  <a:gd name="T21" fmla="*/ 41 h 112"/>
                  <a:gd name="T22" fmla="*/ 48 w 66"/>
                  <a:gd name="T23" fmla="*/ 46 h 112"/>
                  <a:gd name="T24" fmla="*/ 53 w 66"/>
                  <a:gd name="T25" fmla="*/ 61 h 112"/>
                  <a:gd name="T26" fmla="*/ 53 w 66"/>
                  <a:gd name="T27" fmla="*/ 112 h 112"/>
                  <a:gd name="T28" fmla="*/ 66 w 66"/>
                  <a:gd name="T29" fmla="*/ 112 h 112"/>
                  <a:gd name="T30" fmla="*/ 66 w 66"/>
                  <a:gd name="T31" fmla="*/ 61 h 112"/>
                  <a:gd name="T32" fmla="*/ 63 w 66"/>
                  <a:gd name="T33" fmla="*/ 43 h 112"/>
                  <a:gd name="T34" fmla="*/ 54 w 66"/>
                  <a:gd name="T35" fmla="*/ 33 h 1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66" h="112">
                    <a:moveTo>
                      <a:pt x="54" y="33"/>
                    </a:moveTo>
                    <a:cubicBezTo>
                      <a:pt x="50" y="30"/>
                      <a:pt x="44" y="29"/>
                      <a:pt x="38" y="29"/>
                    </a:cubicBezTo>
                    <a:cubicBezTo>
                      <a:pt x="28" y="29"/>
                      <a:pt x="20" y="33"/>
                      <a:pt x="14" y="4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112"/>
                      <a:pt x="0" y="112"/>
                      <a:pt x="0" y="112"/>
                    </a:cubicBezTo>
                    <a:cubicBezTo>
                      <a:pt x="14" y="112"/>
                      <a:pt x="14" y="112"/>
                      <a:pt x="14" y="112"/>
                    </a:cubicBezTo>
                    <a:cubicBezTo>
                      <a:pt x="14" y="68"/>
                      <a:pt x="14" y="68"/>
                      <a:pt x="14" y="68"/>
                    </a:cubicBezTo>
                    <a:cubicBezTo>
                      <a:pt x="14" y="61"/>
                      <a:pt x="15" y="56"/>
                      <a:pt x="16" y="53"/>
                    </a:cubicBezTo>
                    <a:cubicBezTo>
                      <a:pt x="18" y="49"/>
                      <a:pt x="20" y="46"/>
                      <a:pt x="24" y="44"/>
                    </a:cubicBezTo>
                    <a:cubicBezTo>
                      <a:pt x="28" y="42"/>
                      <a:pt x="31" y="41"/>
                      <a:pt x="35" y="41"/>
                    </a:cubicBezTo>
                    <a:cubicBezTo>
                      <a:pt x="41" y="41"/>
                      <a:pt x="45" y="43"/>
                      <a:pt x="48" y="46"/>
                    </a:cubicBezTo>
                    <a:cubicBezTo>
                      <a:pt x="51" y="49"/>
                      <a:pt x="53" y="54"/>
                      <a:pt x="53" y="61"/>
                    </a:cubicBezTo>
                    <a:cubicBezTo>
                      <a:pt x="53" y="112"/>
                      <a:pt x="53" y="112"/>
                      <a:pt x="53" y="112"/>
                    </a:cubicBezTo>
                    <a:cubicBezTo>
                      <a:pt x="66" y="112"/>
                      <a:pt x="66" y="112"/>
                      <a:pt x="66" y="112"/>
                    </a:cubicBezTo>
                    <a:cubicBezTo>
                      <a:pt x="66" y="61"/>
                      <a:pt x="66" y="61"/>
                      <a:pt x="66" y="61"/>
                    </a:cubicBezTo>
                    <a:cubicBezTo>
                      <a:pt x="66" y="53"/>
                      <a:pt x="65" y="47"/>
                      <a:pt x="63" y="43"/>
                    </a:cubicBezTo>
                    <a:cubicBezTo>
                      <a:pt x="62" y="38"/>
                      <a:pt x="58" y="35"/>
                      <a:pt x="54" y="3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282" name="íslîḍe"/>
              <p:cNvSpPr/>
              <p:nvPr/>
            </p:nvSpPr>
            <p:spPr bwMode="auto">
              <a:xfrm>
                <a:off x="9171241" y="5729878"/>
                <a:ext cx="122238" cy="152400"/>
              </a:xfrm>
              <a:custGeom>
                <a:avLst/>
                <a:gdLst>
                  <a:gd name="T0" fmla="*/ 61 w 66"/>
                  <a:gd name="T1" fmla="*/ 10 h 83"/>
                  <a:gd name="T2" fmla="*/ 52 w 66"/>
                  <a:gd name="T3" fmla="*/ 3 h 83"/>
                  <a:gd name="T4" fmla="*/ 39 w 66"/>
                  <a:gd name="T5" fmla="*/ 0 h 83"/>
                  <a:gd name="T6" fmla="*/ 13 w 66"/>
                  <a:gd name="T7" fmla="*/ 14 h 83"/>
                  <a:gd name="T8" fmla="*/ 13 w 66"/>
                  <a:gd name="T9" fmla="*/ 2 h 83"/>
                  <a:gd name="T10" fmla="*/ 0 w 66"/>
                  <a:gd name="T11" fmla="*/ 2 h 83"/>
                  <a:gd name="T12" fmla="*/ 0 w 66"/>
                  <a:gd name="T13" fmla="*/ 83 h 83"/>
                  <a:gd name="T14" fmla="*/ 14 w 66"/>
                  <a:gd name="T15" fmla="*/ 83 h 83"/>
                  <a:gd name="T16" fmla="*/ 14 w 66"/>
                  <a:gd name="T17" fmla="*/ 39 h 83"/>
                  <a:gd name="T18" fmla="*/ 20 w 66"/>
                  <a:gd name="T19" fmla="*/ 18 h 83"/>
                  <a:gd name="T20" fmla="*/ 36 w 66"/>
                  <a:gd name="T21" fmla="*/ 12 h 83"/>
                  <a:gd name="T22" fmla="*/ 45 w 66"/>
                  <a:gd name="T23" fmla="*/ 15 h 83"/>
                  <a:gd name="T24" fmla="*/ 51 w 66"/>
                  <a:gd name="T25" fmla="*/ 21 h 83"/>
                  <a:gd name="T26" fmla="*/ 53 w 66"/>
                  <a:gd name="T27" fmla="*/ 34 h 83"/>
                  <a:gd name="T28" fmla="*/ 53 w 66"/>
                  <a:gd name="T29" fmla="*/ 83 h 83"/>
                  <a:gd name="T30" fmla="*/ 66 w 66"/>
                  <a:gd name="T31" fmla="*/ 83 h 83"/>
                  <a:gd name="T32" fmla="*/ 66 w 66"/>
                  <a:gd name="T33" fmla="*/ 33 h 83"/>
                  <a:gd name="T34" fmla="*/ 66 w 66"/>
                  <a:gd name="T35" fmla="*/ 20 h 83"/>
                  <a:gd name="T36" fmla="*/ 61 w 66"/>
                  <a:gd name="T37" fmla="*/ 10 h 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66" h="83">
                    <a:moveTo>
                      <a:pt x="61" y="10"/>
                    </a:moveTo>
                    <a:cubicBezTo>
                      <a:pt x="59" y="7"/>
                      <a:pt x="56" y="5"/>
                      <a:pt x="52" y="3"/>
                    </a:cubicBezTo>
                    <a:cubicBezTo>
                      <a:pt x="48" y="1"/>
                      <a:pt x="43" y="0"/>
                      <a:pt x="39" y="0"/>
                    </a:cubicBezTo>
                    <a:cubicBezTo>
                      <a:pt x="27" y="0"/>
                      <a:pt x="19" y="5"/>
                      <a:pt x="13" y="14"/>
                    </a:cubicBezTo>
                    <a:cubicBezTo>
                      <a:pt x="13" y="2"/>
                      <a:pt x="13" y="2"/>
                      <a:pt x="13" y="2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83"/>
                      <a:pt x="0" y="83"/>
                      <a:pt x="0" y="83"/>
                    </a:cubicBezTo>
                    <a:cubicBezTo>
                      <a:pt x="14" y="83"/>
                      <a:pt x="14" y="83"/>
                      <a:pt x="14" y="83"/>
                    </a:cubicBezTo>
                    <a:cubicBezTo>
                      <a:pt x="14" y="39"/>
                      <a:pt x="14" y="39"/>
                      <a:pt x="14" y="39"/>
                    </a:cubicBezTo>
                    <a:cubicBezTo>
                      <a:pt x="14" y="29"/>
                      <a:pt x="16" y="21"/>
                      <a:pt x="20" y="18"/>
                    </a:cubicBezTo>
                    <a:cubicBezTo>
                      <a:pt x="25" y="14"/>
                      <a:pt x="30" y="12"/>
                      <a:pt x="36" y="12"/>
                    </a:cubicBezTo>
                    <a:cubicBezTo>
                      <a:pt x="39" y="12"/>
                      <a:pt x="43" y="13"/>
                      <a:pt x="45" y="15"/>
                    </a:cubicBezTo>
                    <a:cubicBezTo>
                      <a:pt x="48" y="16"/>
                      <a:pt x="50" y="19"/>
                      <a:pt x="51" y="21"/>
                    </a:cubicBezTo>
                    <a:cubicBezTo>
                      <a:pt x="52" y="24"/>
                      <a:pt x="53" y="28"/>
                      <a:pt x="53" y="34"/>
                    </a:cubicBezTo>
                    <a:cubicBezTo>
                      <a:pt x="53" y="83"/>
                      <a:pt x="53" y="83"/>
                      <a:pt x="53" y="83"/>
                    </a:cubicBezTo>
                    <a:cubicBezTo>
                      <a:pt x="66" y="83"/>
                      <a:pt x="66" y="83"/>
                      <a:pt x="66" y="83"/>
                    </a:cubicBezTo>
                    <a:cubicBezTo>
                      <a:pt x="66" y="33"/>
                      <a:pt x="66" y="33"/>
                      <a:pt x="66" y="33"/>
                    </a:cubicBezTo>
                    <a:cubicBezTo>
                      <a:pt x="66" y="27"/>
                      <a:pt x="66" y="23"/>
                      <a:pt x="66" y="20"/>
                    </a:cubicBezTo>
                    <a:cubicBezTo>
                      <a:pt x="65" y="16"/>
                      <a:pt x="63" y="13"/>
                      <a:pt x="61" y="1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283" name="ïṣľíḓè"/>
              <p:cNvSpPr/>
              <p:nvPr/>
            </p:nvSpPr>
            <p:spPr bwMode="auto">
              <a:xfrm>
                <a:off x="9322053" y="5729878"/>
                <a:ext cx="142875" cy="157163"/>
              </a:xfrm>
              <a:custGeom>
                <a:avLst/>
                <a:gdLst>
                  <a:gd name="T0" fmla="*/ 38 w 77"/>
                  <a:gd name="T1" fmla="*/ 0 h 85"/>
                  <a:gd name="T2" fmla="*/ 13 w 77"/>
                  <a:gd name="T3" fmla="*/ 9 h 85"/>
                  <a:gd name="T4" fmla="*/ 0 w 77"/>
                  <a:gd name="T5" fmla="*/ 43 h 85"/>
                  <a:gd name="T6" fmla="*/ 11 w 77"/>
                  <a:gd name="T7" fmla="*/ 74 h 85"/>
                  <a:gd name="T8" fmla="*/ 38 w 77"/>
                  <a:gd name="T9" fmla="*/ 85 h 85"/>
                  <a:gd name="T10" fmla="*/ 58 w 77"/>
                  <a:gd name="T11" fmla="*/ 80 h 85"/>
                  <a:gd name="T12" fmla="*/ 72 w 77"/>
                  <a:gd name="T13" fmla="*/ 66 h 85"/>
                  <a:gd name="T14" fmla="*/ 77 w 77"/>
                  <a:gd name="T15" fmla="*/ 42 h 85"/>
                  <a:gd name="T16" fmla="*/ 66 w 77"/>
                  <a:gd name="T17" fmla="*/ 11 h 85"/>
                  <a:gd name="T18" fmla="*/ 38 w 77"/>
                  <a:gd name="T19" fmla="*/ 0 h 85"/>
                  <a:gd name="T20" fmla="*/ 56 w 77"/>
                  <a:gd name="T21" fmla="*/ 66 h 85"/>
                  <a:gd name="T22" fmla="*/ 38 w 77"/>
                  <a:gd name="T23" fmla="*/ 74 h 85"/>
                  <a:gd name="T24" fmla="*/ 21 w 77"/>
                  <a:gd name="T25" fmla="*/ 66 h 85"/>
                  <a:gd name="T26" fmla="*/ 15 w 77"/>
                  <a:gd name="T27" fmla="*/ 43 h 85"/>
                  <a:gd name="T28" fmla="*/ 21 w 77"/>
                  <a:gd name="T29" fmla="*/ 19 h 85"/>
                  <a:gd name="T30" fmla="*/ 38 w 77"/>
                  <a:gd name="T31" fmla="*/ 12 h 85"/>
                  <a:gd name="T32" fmla="*/ 56 w 77"/>
                  <a:gd name="T33" fmla="*/ 19 h 85"/>
                  <a:gd name="T34" fmla="*/ 62 w 77"/>
                  <a:gd name="T35" fmla="*/ 42 h 85"/>
                  <a:gd name="T36" fmla="*/ 56 w 77"/>
                  <a:gd name="T37" fmla="*/ 66 h 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77" h="85">
                    <a:moveTo>
                      <a:pt x="38" y="0"/>
                    </a:moveTo>
                    <a:cubicBezTo>
                      <a:pt x="28" y="0"/>
                      <a:pt x="20" y="3"/>
                      <a:pt x="13" y="9"/>
                    </a:cubicBezTo>
                    <a:cubicBezTo>
                      <a:pt x="5" y="16"/>
                      <a:pt x="0" y="28"/>
                      <a:pt x="0" y="43"/>
                    </a:cubicBezTo>
                    <a:cubicBezTo>
                      <a:pt x="0" y="56"/>
                      <a:pt x="4" y="67"/>
                      <a:pt x="11" y="74"/>
                    </a:cubicBezTo>
                    <a:cubicBezTo>
                      <a:pt x="18" y="82"/>
                      <a:pt x="27" y="85"/>
                      <a:pt x="38" y="85"/>
                    </a:cubicBezTo>
                    <a:cubicBezTo>
                      <a:pt x="46" y="85"/>
                      <a:pt x="52" y="84"/>
                      <a:pt x="58" y="80"/>
                    </a:cubicBezTo>
                    <a:cubicBezTo>
                      <a:pt x="64" y="77"/>
                      <a:pt x="69" y="72"/>
                      <a:pt x="72" y="66"/>
                    </a:cubicBezTo>
                    <a:cubicBezTo>
                      <a:pt x="75" y="60"/>
                      <a:pt x="77" y="52"/>
                      <a:pt x="77" y="42"/>
                    </a:cubicBezTo>
                    <a:cubicBezTo>
                      <a:pt x="77" y="29"/>
                      <a:pt x="73" y="19"/>
                      <a:pt x="66" y="11"/>
                    </a:cubicBezTo>
                    <a:cubicBezTo>
                      <a:pt x="59" y="4"/>
                      <a:pt x="50" y="0"/>
                      <a:pt x="38" y="0"/>
                    </a:cubicBezTo>
                    <a:close/>
                    <a:moveTo>
                      <a:pt x="56" y="66"/>
                    </a:moveTo>
                    <a:cubicBezTo>
                      <a:pt x="51" y="71"/>
                      <a:pt x="45" y="74"/>
                      <a:pt x="38" y="74"/>
                    </a:cubicBezTo>
                    <a:cubicBezTo>
                      <a:pt x="32" y="74"/>
                      <a:pt x="26" y="71"/>
                      <a:pt x="21" y="66"/>
                    </a:cubicBezTo>
                    <a:cubicBezTo>
                      <a:pt x="17" y="61"/>
                      <a:pt x="15" y="53"/>
                      <a:pt x="15" y="43"/>
                    </a:cubicBezTo>
                    <a:cubicBezTo>
                      <a:pt x="15" y="32"/>
                      <a:pt x="17" y="24"/>
                      <a:pt x="21" y="19"/>
                    </a:cubicBezTo>
                    <a:cubicBezTo>
                      <a:pt x="26" y="14"/>
                      <a:pt x="32" y="12"/>
                      <a:pt x="38" y="12"/>
                    </a:cubicBezTo>
                    <a:cubicBezTo>
                      <a:pt x="45" y="12"/>
                      <a:pt x="51" y="14"/>
                      <a:pt x="56" y="19"/>
                    </a:cubicBezTo>
                    <a:cubicBezTo>
                      <a:pt x="60" y="25"/>
                      <a:pt x="62" y="32"/>
                      <a:pt x="62" y="42"/>
                    </a:cubicBezTo>
                    <a:cubicBezTo>
                      <a:pt x="62" y="53"/>
                      <a:pt x="60" y="61"/>
                      <a:pt x="56" y="6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284" name="îš1ïḋé"/>
              <p:cNvSpPr/>
              <p:nvPr/>
            </p:nvSpPr>
            <p:spPr bwMode="auto">
              <a:xfrm>
                <a:off x="9491916" y="5675903"/>
                <a:ext cx="25400" cy="206375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285" name="íŝḻíḍê"/>
              <p:cNvSpPr/>
              <p:nvPr/>
            </p:nvSpPr>
            <p:spPr bwMode="auto">
              <a:xfrm>
                <a:off x="9547478" y="5729878"/>
                <a:ext cx="141288" cy="157163"/>
              </a:xfrm>
              <a:custGeom>
                <a:avLst/>
                <a:gdLst>
                  <a:gd name="T0" fmla="*/ 38 w 77"/>
                  <a:gd name="T1" fmla="*/ 0 h 85"/>
                  <a:gd name="T2" fmla="*/ 13 w 77"/>
                  <a:gd name="T3" fmla="*/ 9 h 85"/>
                  <a:gd name="T4" fmla="*/ 0 w 77"/>
                  <a:gd name="T5" fmla="*/ 43 h 85"/>
                  <a:gd name="T6" fmla="*/ 11 w 77"/>
                  <a:gd name="T7" fmla="*/ 74 h 85"/>
                  <a:gd name="T8" fmla="*/ 38 w 77"/>
                  <a:gd name="T9" fmla="*/ 85 h 85"/>
                  <a:gd name="T10" fmla="*/ 58 w 77"/>
                  <a:gd name="T11" fmla="*/ 80 h 85"/>
                  <a:gd name="T12" fmla="*/ 72 w 77"/>
                  <a:gd name="T13" fmla="*/ 66 h 85"/>
                  <a:gd name="T14" fmla="*/ 77 w 77"/>
                  <a:gd name="T15" fmla="*/ 42 h 85"/>
                  <a:gd name="T16" fmla="*/ 66 w 77"/>
                  <a:gd name="T17" fmla="*/ 11 h 85"/>
                  <a:gd name="T18" fmla="*/ 38 w 77"/>
                  <a:gd name="T19" fmla="*/ 0 h 85"/>
                  <a:gd name="T20" fmla="*/ 56 w 77"/>
                  <a:gd name="T21" fmla="*/ 66 h 85"/>
                  <a:gd name="T22" fmla="*/ 38 w 77"/>
                  <a:gd name="T23" fmla="*/ 74 h 85"/>
                  <a:gd name="T24" fmla="*/ 21 w 77"/>
                  <a:gd name="T25" fmla="*/ 66 h 85"/>
                  <a:gd name="T26" fmla="*/ 15 w 77"/>
                  <a:gd name="T27" fmla="*/ 43 h 85"/>
                  <a:gd name="T28" fmla="*/ 21 w 77"/>
                  <a:gd name="T29" fmla="*/ 19 h 85"/>
                  <a:gd name="T30" fmla="*/ 38 w 77"/>
                  <a:gd name="T31" fmla="*/ 12 h 85"/>
                  <a:gd name="T32" fmla="*/ 56 w 77"/>
                  <a:gd name="T33" fmla="*/ 19 h 85"/>
                  <a:gd name="T34" fmla="*/ 62 w 77"/>
                  <a:gd name="T35" fmla="*/ 42 h 85"/>
                  <a:gd name="T36" fmla="*/ 56 w 77"/>
                  <a:gd name="T37" fmla="*/ 66 h 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77" h="85">
                    <a:moveTo>
                      <a:pt x="38" y="0"/>
                    </a:moveTo>
                    <a:cubicBezTo>
                      <a:pt x="28" y="0"/>
                      <a:pt x="20" y="3"/>
                      <a:pt x="13" y="9"/>
                    </a:cubicBezTo>
                    <a:cubicBezTo>
                      <a:pt x="5" y="16"/>
                      <a:pt x="0" y="28"/>
                      <a:pt x="0" y="43"/>
                    </a:cubicBezTo>
                    <a:cubicBezTo>
                      <a:pt x="0" y="56"/>
                      <a:pt x="4" y="67"/>
                      <a:pt x="11" y="74"/>
                    </a:cubicBezTo>
                    <a:cubicBezTo>
                      <a:pt x="18" y="82"/>
                      <a:pt x="27" y="85"/>
                      <a:pt x="38" y="85"/>
                    </a:cubicBezTo>
                    <a:cubicBezTo>
                      <a:pt x="46" y="85"/>
                      <a:pt x="52" y="84"/>
                      <a:pt x="58" y="80"/>
                    </a:cubicBezTo>
                    <a:cubicBezTo>
                      <a:pt x="64" y="77"/>
                      <a:pt x="69" y="72"/>
                      <a:pt x="72" y="66"/>
                    </a:cubicBezTo>
                    <a:cubicBezTo>
                      <a:pt x="75" y="60"/>
                      <a:pt x="77" y="52"/>
                      <a:pt x="77" y="42"/>
                    </a:cubicBezTo>
                    <a:cubicBezTo>
                      <a:pt x="77" y="29"/>
                      <a:pt x="73" y="19"/>
                      <a:pt x="66" y="11"/>
                    </a:cubicBezTo>
                    <a:cubicBezTo>
                      <a:pt x="59" y="4"/>
                      <a:pt x="50" y="0"/>
                      <a:pt x="38" y="0"/>
                    </a:cubicBezTo>
                    <a:close/>
                    <a:moveTo>
                      <a:pt x="56" y="66"/>
                    </a:moveTo>
                    <a:cubicBezTo>
                      <a:pt x="51" y="71"/>
                      <a:pt x="45" y="74"/>
                      <a:pt x="38" y="74"/>
                    </a:cubicBezTo>
                    <a:cubicBezTo>
                      <a:pt x="32" y="74"/>
                      <a:pt x="26" y="71"/>
                      <a:pt x="21" y="66"/>
                    </a:cubicBezTo>
                    <a:cubicBezTo>
                      <a:pt x="17" y="61"/>
                      <a:pt x="15" y="53"/>
                      <a:pt x="15" y="43"/>
                    </a:cubicBezTo>
                    <a:cubicBezTo>
                      <a:pt x="15" y="32"/>
                      <a:pt x="17" y="24"/>
                      <a:pt x="21" y="19"/>
                    </a:cubicBezTo>
                    <a:cubicBezTo>
                      <a:pt x="26" y="14"/>
                      <a:pt x="32" y="12"/>
                      <a:pt x="38" y="12"/>
                    </a:cubicBezTo>
                    <a:cubicBezTo>
                      <a:pt x="45" y="12"/>
                      <a:pt x="51" y="14"/>
                      <a:pt x="56" y="19"/>
                    </a:cubicBezTo>
                    <a:cubicBezTo>
                      <a:pt x="60" y="25"/>
                      <a:pt x="62" y="32"/>
                      <a:pt x="62" y="42"/>
                    </a:cubicBezTo>
                    <a:cubicBezTo>
                      <a:pt x="62" y="53"/>
                      <a:pt x="60" y="61"/>
                      <a:pt x="56" y="6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286" name="íṧḷíḓé"/>
              <p:cNvSpPr/>
              <p:nvPr/>
            </p:nvSpPr>
            <p:spPr bwMode="auto">
              <a:xfrm>
                <a:off x="9707816" y="5729878"/>
                <a:ext cx="131763" cy="214313"/>
              </a:xfrm>
              <a:custGeom>
                <a:avLst/>
                <a:gdLst>
                  <a:gd name="T0" fmla="*/ 59 w 72"/>
                  <a:gd name="T1" fmla="*/ 12 h 116"/>
                  <a:gd name="T2" fmla="*/ 36 w 72"/>
                  <a:gd name="T3" fmla="*/ 0 h 116"/>
                  <a:gd name="T4" fmla="*/ 17 w 72"/>
                  <a:gd name="T5" fmla="*/ 6 h 116"/>
                  <a:gd name="T6" fmla="*/ 5 w 72"/>
                  <a:gd name="T7" fmla="*/ 21 h 116"/>
                  <a:gd name="T8" fmla="*/ 0 w 72"/>
                  <a:gd name="T9" fmla="*/ 42 h 116"/>
                  <a:gd name="T10" fmla="*/ 10 w 72"/>
                  <a:gd name="T11" fmla="*/ 71 h 116"/>
                  <a:gd name="T12" fmla="*/ 36 w 72"/>
                  <a:gd name="T13" fmla="*/ 83 h 116"/>
                  <a:gd name="T14" fmla="*/ 58 w 72"/>
                  <a:gd name="T15" fmla="*/ 73 h 116"/>
                  <a:gd name="T16" fmla="*/ 57 w 72"/>
                  <a:gd name="T17" fmla="*/ 90 h 116"/>
                  <a:gd name="T18" fmla="*/ 50 w 72"/>
                  <a:gd name="T19" fmla="*/ 101 h 116"/>
                  <a:gd name="T20" fmla="*/ 35 w 72"/>
                  <a:gd name="T21" fmla="*/ 105 h 116"/>
                  <a:gd name="T22" fmla="*/ 21 w 72"/>
                  <a:gd name="T23" fmla="*/ 101 h 116"/>
                  <a:gd name="T24" fmla="*/ 17 w 72"/>
                  <a:gd name="T25" fmla="*/ 92 h 116"/>
                  <a:gd name="T26" fmla="*/ 3 w 72"/>
                  <a:gd name="T27" fmla="*/ 90 h 116"/>
                  <a:gd name="T28" fmla="*/ 12 w 72"/>
                  <a:gd name="T29" fmla="*/ 110 h 116"/>
                  <a:gd name="T30" fmla="*/ 35 w 72"/>
                  <a:gd name="T31" fmla="*/ 116 h 116"/>
                  <a:gd name="T32" fmla="*/ 56 w 72"/>
                  <a:gd name="T33" fmla="*/ 112 h 116"/>
                  <a:gd name="T34" fmla="*/ 68 w 72"/>
                  <a:gd name="T35" fmla="*/ 99 h 116"/>
                  <a:gd name="T36" fmla="*/ 72 w 72"/>
                  <a:gd name="T37" fmla="*/ 72 h 116"/>
                  <a:gd name="T38" fmla="*/ 72 w 72"/>
                  <a:gd name="T39" fmla="*/ 2 h 116"/>
                  <a:gd name="T40" fmla="*/ 59 w 72"/>
                  <a:gd name="T41" fmla="*/ 2 h 116"/>
                  <a:gd name="T42" fmla="*/ 59 w 72"/>
                  <a:gd name="T43" fmla="*/ 12 h 116"/>
                  <a:gd name="T44" fmla="*/ 53 w 72"/>
                  <a:gd name="T45" fmla="*/ 65 h 116"/>
                  <a:gd name="T46" fmla="*/ 37 w 72"/>
                  <a:gd name="T47" fmla="*/ 72 h 116"/>
                  <a:gd name="T48" fmla="*/ 21 w 72"/>
                  <a:gd name="T49" fmla="*/ 65 h 116"/>
                  <a:gd name="T50" fmla="*/ 15 w 72"/>
                  <a:gd name="T51" fmla="*/ 41 h 116"/>
                  <a:gd name="T52" fmla="*/ 21 w 72"/>
                  <a:gd name="T53" fmla="*/ 19 h 116"/>
                  <a:gd name="T54" fmla="*/ 37 w 72"/>
                  <a:gd name="T55" fmla="*/ 12 h 116"/>
                  <a:gd name="T56" fmla="*/ 53 w 72"/>
                  <a:gd name="T57" fmla="*/ 19 h 116"/>
                  <a:gd name="T58" fmla="*/ 59 w 72"/>
                  <a:gd name="T59" fmla="*/ 42 h 116"/>
                  <a:gd name="T60" fmla="*/ 53 w 72"/>
                  <a:gd name="T61" fmla="*/ 65 h 1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72" h="116">
                    <a:moveTo>
                      <a:pt x="59" y="12"/>
                    </a:moveTo>
                    <a:cubicBezTo>
                      <a:pt x="53" y="4"/>
                      <a:pt x="45" y="0"/>
                      <a:pt x="36" y="0"/>
                    </a:cubicBezTo>
                    <a:cubicBezTo>
                      <a:pt x="28" y="0"/>
                      <a:pt x="22" y="2"/>
                      <a:pt x="17" y="6"/>
                    </a:cubicBezTo>
                    <a:cubicBezTo>
                      <a:pt x="11" y="9"/>
                      <a:pt x="7" y="14"/>
                      <a:pt x="5" y="21"/>
                    </a:cubicBezTo>
                    <a:cubicBezTo>
                      <a:pt x="2" y="27"/>
                      <a:pt x="0" y="34"/>
                      <a:pt x="0" y="42"/>
                    </a:cubicBezTo>
                    <a:cubicBezTo>
                      <a:pt x="0" y="53"/>
                      <a:pt x="3" y="63"/>
                      <a:pt x="10" y="71"/>
                    </a:cubicBezTo>
                    <a:cubicBezTo>
                      <a:pt x="16" y="79"/>
                      <a:pt x="24" y="83"/>
                      <a:pt x="36" y="83"/>
                    </a:cubicBezTo>
                    <a:cubicBezTo>
                      <a:pt x="45" y="83"/>
                      <a:pt x="52" y="80"/>
                      <a:pt x="58" y="73"/>
                    </a:cubicBezTo>
                    <a:cubicBezTo>
                      <a:pt x="58" y="82"/>
                      <a:pt x="58" y="88"/>
                      <a:pt x="57" y="90"/>
                    </a:cubicBezTo>
                    <a:cubicBezTo>
                      <a:pt x="56" y="95"/>
                      <a:pt x="53" y="99"/>
                      <a:pt x="50" y="101"/>
                    </a:cubicBezTo>
                    <a:cubicBezTo>
                      <a:pt x="47" y="104"/>
                      <a:pt x="42" y="105"/>
                      <a:pt x="35" y="105"/>
                    </a:cubicBezTo>
                    <a:cubicBezTo>
                      <a:pt x="29" y="105"/>
                      <a:pt x="25" y="104"/>
                      <a:pt x="21" y="101"/>
                    </a:cubicBezTo>
                    <a:cubicBezTo>
                      <a:pt x="19" y="99"/>
                      <a:pt x="17" y="96"/>
                      <a:pt x="17" y="92"/>
                    </a:cubicBezTo>
                    <a:cubicBezTo>
                      <a:pt x="3" y="90"/>
                      <a:pt x="3" y="90"/>
                      <a:pt x="3" y="90"/>
                    </a:cubicBezTo>
                    <a:cubicBezTo>
                      <a:pt x="3" y="99"/>
                      <a:pt x="6" y="105"/>
                      <a:pt x="12" y="110"/>
                    </a:cubicBezTo>
                    <a:cubicBezTo>
                      <a:pt x="18" y="114"/>
                      <a:pt x="26" y="116"/>
                      <a:pt x="35" y="116"/>
                    </a:cubicBezTo>
                    <a:cubicBezTo>
                      <a:pt x="43" y="116"/>
                      <a:pt x="50" y="115"/>
                      <a:pt x="56" y="112"/>
                    </a:cubicBezTo>
                    <a:cubicBezTo>
                      <a:pt x="62" y="109"/>
                      <a:pt x="66" y="104"/>
                      <a:pt x="68" y="99"/>
                    </a:cubicBezTo>
                    <a:cubicBezTo>
                      <a:pt x="71" y="94"/>
                      <a:pt x="72" y="85"/>
                      <a:pt x="72" y="72"/>
                    </a:cubicBezTo>
                    <a:cubicBezTo>
                      <a:pt x="72" y="2"/>
                      <a:pt x="72" y="2"/>
                      <a:pt x="72" y="2"/>
                    </a:cubicBezTo>
                    <a:cubicBezTo>
                      <a:pt x="59" y="2"/>
                      <a:pt x="59" y="2"/>
                      <a:pt x="59" y="2"/>
                    </a:cubicBezTo>
                    <a:lnTo>
                      <a:pt x="59" y="12"/>
                    </a:lnTo>
                    <a:close/>
                    <a:moveTo>
                      <a:pt x="53" y="65"/>
                    </a:moveTo>
                    <a:cubicBezTo>
                      <a:pt x="48" y="69"/>
                      <a:pt x="43" y="72"/>
                      <a:pt x="37" y="72"/>
                    </a:cubicBezTo>
                    <a:cubicBezTo>
                      <a:pt x="30" y="72"/>
                      <a:pt x="25" y="69"/>
                      <a:pt x="21" y="65"/>
                    </a:cubicBezTo>
                    <a:cubicBezTo>
                      <a:pt x="17" y="60"/>
                      <a:pt x="15" y="52"/>
                      <a:pt x="15" y="41"/>
                    </a:cubicBezTo>
                    <a:cubicBezTo>
                      <a:pt x="15" y="31"/>
                      <a:pt x="17" y="24"/>
                      <a:pt x="21" y="19"/>
                    </a:cubicBezTo>
                    <a:cubicBezTo>
                      <a:pt x="25" y="14"/>
                      <a:pt x="30" y="12"/>
                      <a:pt x="37" y="12"/>
                    </a:cubicBezTo>
                    <a:cubicBezTo>
                      <a:pt x="43" y="12"/>
                      <a:pt x="48" y="14"/>
                      <a:pt x="53" y="19"/>
                    </a:cubicBezTo>
                    <a:cubicBezTo>
                      <a:pt x="57" y="24"/>
                      <a:pt x="59" y="32"/>
                      <a:pt x="59" y="42"/>
                    </a:cubicBezTo>
                    <a:cubicBezTo>
                      <a:pt x="59" y="52"/>
                      <a:pt x="57" y="60"/>
                      <a:pt x="53" y="6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287" name="îŝlíde"/>
              <p:cNvSpPr/>
              <p:nvPr/>
            </p:nvSpPr>
            <p:spPr bwMode="auto">
              <a:xfrm>
                <a:off x="9864978" y="5733053"/>
                <a:ext cx="138113" cy="211138"/>
              </a:xfrm>
              <a:custGeom>
                <a:avLst/>
                <a:gdLst>
                  <a:gd name="T0" fmla="*/ 43 w 75"/>
                  <a:gd name="T1" fmla="*/ 47 h 114"/>
                  <a:gd name="T2" fmla="*/ 38 w 75"/>
                  <a:gd name="T3" fmla="*/ 66 h 114"/>
                  <a:gd name="T4" fmla="*/ 32 w 75"/>
                  <a:gd name="T5" fmla="*/ 47 h 114"/>
                  <a:gd name="T6" fmla="*/ 15 w 75"/>
                  <a:gd name="T7" fmla="*/ 0 h 114"/>
                  <a:gd name="T8" fmla="*/ 0 w 75"/>
                  <a:gd name="T9" fmla="*/ 0 h 114"/>
                  <a:gd name="T10" fmla="*/ 31 w 75"/>
                  <a:gd name="T11" fmla="*/ 81 h 114"/>
                  <a:gd name="T12" fmla="*/ 30 w 75"/>
                  <a:gd name="T13" fmla="*/ 85 h 114"/>
                  <a:gd name="T14" fmla="*/ 25 w 75"/>
                  <a:gd name="T15" fmla="*/ 95 h 114"/>
                  <a:gd name="T16" fmla="*/ 21 w 75"/>
                  <a:gd name="T17" fmla="*/ 99 h 114"/>
                  <a:gd name="T18" fmla="*/ 14 w 75"/>
                  <a:gd name="T19" fmla="*/ 101 h 114"/>
                  <a:gd name="T20" fmla="*/ 6 w 75"/>
                  <a:gd name="T21" fmla="*/ 100 h 114"/>
                  <a:gd name="T22" fmla="*/ 7 w 75"/>
                  <a:gd name="T23" fmla="*/ 113 h 114"/>
                  <a:gd name="T24" fmla="*/ 16 w 75"/>
                  <a:gd name="T25" fmla="*/ 114 h 114"/>
                  <a:gd name="T26" fmla="*/ 27 w 75"/>
                  <a:gd name="T27" fmla="*/ 111 h 114"/>
                  <a:gd name="T28" fmla="*/ 36 w 75"/>
                  <a:gd name="T29" fmla="*/ 101 h 114"/>
                  <a:gd name="T30" fmla="*/ 44 w 75"/>
                  <a:gd name="T31" fmla="*/ 83 h 114"/>
                  <a:gd name="T32" fmla="*/ 75 w 75"/>
                  <a:gd name="T33" fmla="*/ 0 h 114"/>
                  <a:gd name="T34" fmla="*/ 61 w 75"/>
                  <a:gd name="T35" fmla="*/ 0 h 114"/>
                  <a:gd name="T36" fmla="*/ 43 w 75"/>
                  <a:gd name="T37" fmla="*/ 47 h 1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75" h="114">
                    <a:moveTo>
                      <a:pt x="43" y="47"/>
                    </a:moveTo>
                    <a:cubicBezTo>
                      <a:pt x="41" y="53"/>
                      <a:pt x="39" y="60"/>
                      <a:pt x="38" y="66"/>
                    </a:cubicBezTo>
                    <a:cubicBezTo>
                      <a:pt x="36" y="59"/>
                      <a:pt x="34" y="53"/>
                      <a:pt x="32" y="47"/>
                    </a:cubicBezTo>
                    <a:cubicBezTo>
                      <a:pt x="15" y="0"/>
                      <a:pt x="15" y="0"/>
                      <a:pt x="15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31" y="81"/>
                      <a:pt x="31" y="81"/>
                      <a:pt x="31" y="81"/>
                    </a:cubicBezTo>
                    <a:cubicBezTo>
                      <a:pt x="30" y="83"/>
                      <a:pt x="30" y="84"/>
                      <a:pt x="30" y="85"/>
                    </a:cubicBezTo>
                    <a:cubicBezTo>
                      <a:pt x="28" y="90"/>
                      <a:pt x="26" y="94"/>
                      <a:pt x="25" y="95"/>
                    </a:cubicBezTo>
                    <a:cubicBezTo>
                      <a:pt x="24" y="97"/>
                      <a:pt x="23" y="98"/>
                      <a:pt x="21" y="99"/>
                    </a:cubicBezTo>
                    <a:cubicBezTo>
                      <a:pt x="19" y="100"/>
                      <a:pt x="17" y="101"/>
                      <a:pt x="14" y="101"/>
                    </a:cubicBezTo>
                    <a:cubicBezTo>
                      <a:pt x="11" y="101"/>
                      <a:pt x="9" y="101"/>
                      <a:pt x="6" y="100"/>
                    </a:cubicBezTo>
                    <a:cubicBezTo>
                      <a:pt x="7" y="113"/>
                      <a:pt x="7" y="113"/>
                      <a:pt x="7" y="113"/>
                    </a:cubicBezTo>
                    <a:cubicBezTo>
                      <a:pt x="11" y="114"/>
                      <a:pt x="13" y="114"/>
                      <a:pt x="16" y="114"/>
                    </a:cubicBezTo>
                    <a:cubicBezTo>
                      <a:pt x="21" y="114"/>
                      <a:pt x="24" y="113"/>
                      <a:pt x="27" y="111"/>
                    </a:cubicBezTo>
                    <a:cubicBezTo>
                      <a:pt x="31" y="109"/>
                      <a:pt x="33" y="106"/>
                      <a:pt x="36" y="101"/>
                    </a:cubicBezTo>
                    <a:cubicBezTo>
                      <a:pt x="38" y="98"/>
                      <a:pt x="40" y="92"/>
                      <a:pt x="44" y="83"/>
                    </a:cubicBezTo>
                    <a:cubicBezTo>
                      <a:pt x="75" y="0"/>
                      <a:pt x="75" y="0"/>
                      <a:pt x="75" y="0"/>
                    </a:cubicBezTo>
                    <a:cubicBezTo>
                      <a:pt x="61" y="0"/>
                      <a:pt x="61" y="0"/>
                      <a:pt x="61" y="0"/>
                    </a:cubicBezTo>
                    <a:lnTo>
                      <a:pt x="43" y="4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288" name="íṧ1ïḍé"/>
              <p:cNvSpPr/>
              <p:nvPr/>
            </p:nvSpPr>
            <p:spPr bwMode="auto">
              <a:xfrm>
                <a:off x="10106278" y="5675903"/>
                <a:ext cx="155575" cy="206375"/>
              </a:xfrm>
              <a:custGeom>
                <a:avLst/>
                <a:gdLst>
                  <a:gd name="T0" fmla="*/ 64 w 85"/>
                  <a:gd name="T1" fmla="*/ 53 h 112"/>
                  <a:gd name="T2" fmla="*/ 75 w 85"/>
                  <a:gd name="T3" fmla="*/ 42 h 112"/>
                  <a:gd name="T4" fmla="*/ 79 w 85"/>
                  <a:gd name="T5" fmla="*/ 29 h 112"/>
                  <a:gd name="T6" fmla="*/ 75 w 85"/>
                  <a:gd name="T7" fmla="*/ 14 h 112"/>
                  <a:gd name="T8" fmla="*/ 63 w 85"/>
                  <a:gd name="T9" fmla="*/ 4 h 112"/>
                  <a:gd name="T10" fmla="*/ 42 w 85"/>
                  <a:gd name="T11" fmla="*/ 0 h 112"/>
                  <a:gd name="T12" fmla="*/ 0 w 85"/>
                  <a:gd name="T13" fmla="*/ 0 h 112"/>
                  <a:gd name="T14" fmla="*/ 0 w 85"/>
                  <a:gd name="T15" fmla="*/ 112 h 112"/>
                  <a:gd name="T16" fmla="*/ 43 w 85"/>
                  <a:gd name="T17" fmla="*/ 112 h 112"/>
                  <a:gd name="T18" fmla="*/ 61 w 85"/>
                  <a:gd name="T19" fmla="*/ 110 h 112"/>
                  <a:gd name="T20" fmla="*/ 73 w 85"/>
                  <a:gd name="T21" fmla="*/ 105 h 112"/>
                  <a:gd name="T22" fmla="*/ 81 w 85"/>
                  <a:gd name="T23" fmla="*/ 94 h 112"/>
                  <a:gd name="T24" fmla="*/ 85 w 85"/>
                  <a:gd name="T25" fmla="*/ 80 h 112"/>
                  <a:gd name="T26" fmla="*/ 79 w 85"/>
                  <a:gd name="T27" fmla="*/ 63 h 112"/>
                  <a:gd name="T28" fmla="*/ 64 w 85"/>
                  <a:gd name="T29" fmla="*/ 53 h 112"/>
                  <a:gd name="T30" fmla="*/ 15 w 85"/>
                  <a:gd name="T31" fmla="*/ 13 h 112"/>
                  <a:gd name="T32" fmla="*/ 37 w 85"/>
                  <a:gd name="T33" fmla="*/ 13 h 112"/>
                  <a:gd name="T34" fmla="*/ 54 w 85"/>
                  <a:gd name="T35" fmla="*/ 15 h 112"/>
                  <a:gd name="T36" fmla="*/ 62 w 85"/>
                  <a:gd name="T37" fmla="*/ 21 h 112"/>
                  <a:gd name="T38" fmla="*/ 65 w 85"/>
                  <a:gd name="T39" fmla="*/ 31 h 112"/>
                  <a:gd name="T40" fmla="*/ 62 w 85"/>
                  <a:gd name="T41" fmla="*/ 40 h 112"/>
                  <a:gd name="T42" fmla="*/ 53 w 85"/>
                  <a:gd name="T43" fmla="*/ 46 h 112"/>
                  <a:gd name="T44" fmla="*/ 39 w 85"/>
                  <a:gd name="T45" fmla="*/ 47 h 112"/>
                  <a:gd name="T46" fmla="*/ 15 w 85"/>
                  <a:gd name="T47" fmla="*/ 47 h 112"/>
                  <a:gd name="T48" fmla="*/ 15 w 85"/>
                  <a:gd name="T49" fmla="*/ 13 h 112"/>
                  <a:gd name="T50" fmla="*/ 67 w 85"/>
                  <a:gd name="T51" fmla="*/ 89 h 112"/>
                  <a:gd name="T52" fmla="*/ 61 w 85"/>
                  <a:gd name="T53" fmla="*/ 95 h 112"/>
                  <a:gd name="T54" fmla="*/ 53 w 85"/>
                  <a:gd name="T55" fmla="*/ 99 h 112"/>
                  <a:gd name="T56" fmla="*/ 43 w 85"/>
                  <a:gd name="T57" fmla="*/ 99 h 112"/>
                  <a:gd name="T58" fmla="*/ 15 w 85"/>
                  <a:gd name="T59" fmla="*/ 99 h 112"/>
                  <a:gd name="T60" fmla="*/ 15 w 85"/>
                  <a:gd name="T61" fmla="*/ 61 h 112"/>
                  <a:gd name="T62" fmla="*/ 41 w 85"/>
                  <a:gd name="T63" fmla="*/ 61 h 112"/>
                  <a:gd name="T64" fmla="*/ 57 w 85"/>
                  <a:gd name="T65" fmla="*/ 62 h 112"/>
                  <a:gd name="T66" fmla="*/ 66 w 85"/>
                  <a:gd name="T67" fmla="*/ 69 h 112"/>
                  <a:gd name="T68" fmla="*/ 69 w 85"/>
                  <a:gd name="T69" fmla="*/ 80 h 112"/>
                  <a:gd name="T70" fmla="*/ 67 w 85"/>
                  <a:gd name="T71" fmla="*/ 89 h 1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85" h="112">
                    <a:moveTo>
                      <a:pt x="64" y="53"/>
                    </a:moveTo>
                    <a:cubicBezTo>
                      <a:pt x="69" y="50"/>
                      <a:pt x="73" y="47"/>
                      <a:pt x="75" y="42"/>
                    </a:cubicBezTo>
                    <a:cubicBezTo>
                      <a:pt x="78" y="38"/>
                      <a:pt x="79" y="34"/>
                      <a:pt x="79" y="29"/>
                    </a:cubicBezTo>
                    <a:cubicBezTo>
                      <a:pt x="79" y="24"/>
                      <a:pt x="78" y="19"/>
                      <a:pt x="75" y="14"/>
                    </a:cubicBezTo>
                    <a:cubicBezTo>
                      <a:pt x="72" y="9"/>
                      <a:pt x="68" y="6"/>
                      <a:pt x="63" y="4"/>
                    </a:cubicBezTo>
                    <a:cubicBezTo>
                      <a:pt x="57" y="1"/>
                      <a:pt x="51" y="0"/>
                      <a:pt x="42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112"/>
                      <a:pt x="0" y="112"/>
                      <a:pt x="0" y="112"/>
                    </a:cubicBezTo>
                    <a:cubicBezTo>
                      <a:pt x="43" y="112"/>
                      <a:pt x="43" y="112"/>
                      <a:pt x="43" y="112"/>
                    </a:cubicBezTo>
                    <a:cubicBezTo>
                      <a:pt x="50" y="112"/>
                      <a:pt x="56" y="112"/>
                      <a:pt x="61" y="110"/>
                    </a:cubicBezTo>
                    <a:cubicBezTo>
                      <a:pt x="66" y="109"/>
                      <a:pt x="70" y="107"/>
                      <a:pt x="73" y="105"/>
                    </a:cubicBezTo>
                    <a:cubicBezTo>
                      <a:pt x="76" y="102"/>
                      <a:pt x="79" y="99"/>
                      <a:pt x="81" y="94"/>
                    </a:cubicBezTo>
                    <a:cubicBezTo>
                      <a:pt x="84" y="90"/>
                      <a:pt x="85" y="85"/>
                      <a:pt x="85" y="80"/>
                    </a:cubicBezTo>
                    <a:cubicBezTo>
                      <a:pt x="85" y="73"/>
                      <a:pt x="83" y="68"/>
                      <a:pt x="79" y="63"/>
                    </a:cubicBezTo>
                    <a:cubicBezTo>
                      <a:pt x="76" y="58"/>
                      <a:pt x="70" y="55"/>
                      <a:pt x="64" y="53"/>
                    </a:cubicBezTo>
                    <a:close/>
                    <a:moveTo>
                      <a:pt x="15" y="13"/>
                    </a:moveTo>
                    <a:cubicBezTo>
                      <a:pt x="37" y="13"/>
                      <a:pt x="37" y="13"/>
                      <a:pt x="37" y="13"/>
                    </a:cubicBezTo>
                    <a:cubicBezTo>
                      <a:pt x="45" y="13"/>
                      <a:pt x="51" y="14"/>
                      <a:pt x="54" y="15"/>
                    </a:cubicBezTo>
                    <a:cubicBezTo>
                      <a:pt x="58" y="16"/>
                      <a:pt x="60" y="18"/>
                      <a:pt x="62" y="21"/>
                    </a:cubicBezTo>
                    <a:cubicBezTo>
                      <a:pt x="64" y="24"/>
                      <a:pt x="65" y="27"/>
                      <a:pt x="65" y="31"/>
                    </a:cubicBezTo>
                    <a:cubicBezTo>
                      <a:pt x="65" y="35"/>
                      <a:pt x="64" y="38"/>
                      <a:pt x="62" y="40"/>
                    </a:cubicBezTo>
                    <a:cubicBezTo>
                      <a:pt x="60" y="43"/>
                      <a:pt x="57" y="45"/>
                      <a:pt x="53" y="46"/>
                    </a:cubicBezTo>
                    <a:cubicBezTo>
                      <a:pt x="50" y="47"/>
                      <a:pt x="46" y="47"/>
                      <a:pt x="39" y="47"/>
                    </a:cubicBezTo>
                    <a:cubicBezTo>
                      <a:pt x="15" y="47"/>
                      <a:pt x="15" y="47"/>
                      <a:pt x="15" y="47"/>
                    </a:cubicBezTo>
                    <a:lnTo>
                      <a:pt x="15" y="13"/>
                    </a:lnTo>
                    <a:close/>
                    <a:moveTo>
                      <a:pt x="67" y="89"/>
                    </a:moveTo>
                    <a:cubicBezTo>
                      <a:pt x="66" y="92"/>
                      <a:pt x="64" y="94"/>
                      <a:pt x="61" y="95"/>
                    </a:cubicBezTo>
                    <a:cubicBezTo>
                      <a:pt x="59" y="97"/>
                      <a:pt x="56" y="98"/>
                      <a:pt x="53" y="99"/>
                    </a:cubicBezTo>
                    <a:cubicBezTo>
                      <a:pt x="51" y="99"/>
                      <a:pt x="48" y="99"/>
                      <a:pt x="43" y="99"/>
                    </a:cubicBezTo>
                    <a:cubicBezTo>
                      <a:pt x="15" y="99"/>
                      <a:pt x="15" y="99"/>
                      <a:pt x="15" y="99"/>
                    </a:cubicBezTo>
                    <a:cubicBezTo>
                      <a:pt x="15" y="61"/>
                      <a:pt x="15" y="61"/>
                      <a:pt x="15" y="61"/>
                    </a:cubicBezTo>
                    <a:cubicBezTo>
                      <a:pt x="41" y="61"/>
                      <a:pt x="41" y="61"/>
                      <a:pt x="41" y="61"/>
                    </a:cubicBezTo>
                    <a:cubicBezTo>
                      <a:pt x="48" y="61"/>
                      <a:pt x="53" y="61"/>
                      <a:pt x="57" y="62"/>
                    </a:cubicBezTo>
                    <a:cubicBezTo>
                      <a:pt x="61" y="64"/>
                      <a:pt x="64" y="66"/>
                      <a:pt x="66" y="69"/>
                    </a:cubicBezTo>
                    <a:cubicBezTo>
                      <a:pt x="68" y="72"/>
                      <a:pt x="69" y="76"/>
                      <a:pt x="69" y="80"/>
                    </a:cubicBezTo>
                    <a:cubicBezTo>
                      <a:pt x="69" y="83"/>
                      <a:pt x="69" y="87"/>
                      <a:pt x="67" y="8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289" name="iŝļidé"/>
              <p:cNvSpPr/>
              <p:nvPr/>
            </p:nvSpPr>
            <p:spPr bwMode="auto">
              <a:xfrm>
                <a:off x="10288841" y="5729878"/>
                <a:ext cx="138113" cy="157163"/>
              </a:xfrm>
              <a:custGeom>
                <a:avLst/>
                <a:gdLst>
                  <a:gd name="T0" fmla="*/ 38 w 75"/>
                  <a:gd name="T1" fmla="*/ 0 h 85"/>
                  <a:gd name="T2" fmla="*/ 10 w 75"/>
                  <a:gd name="T3" fmla="*/ 12 h 85"/>
                  <a:gd name="T4" fmla="*/ 0 w 75"/>
                  <a:gd name="T5" fmla="*/ 43 h 85"/>
                  <a:gd name="T6" fmla="*/ 10 w 75"/>
                  <a:gd name="T7" fmla="*/ 74 h 85"/>
                  <a:gd name="T8" fmla="*/ 38 w 75"/>
                  <a:gd name="T9" fmla="*/ 85 h 85"/>
                  <a:gd name="T10" fmla="*/ 62 w 75"/>
                  <a:gd name="T11" fmla="*/ 78 h 85"/>
                  <a:gd name="T12" fmla="*/ 74 w 75"/>
                  <a:gd name="T13" fmla="*/ 59 h 85"/>
                  <a:gd name="T14" fmla="*/ 60 w 75"/>
                  <a:gd name="T15" fmla="*/ 57 h 85"/>
                  <a:gd name="T16" fmla="*/ 51 w 75"/>
                  <a:gd name="T17" fmla="*/ 70 h 85"/>
                  <a:gd name="T18" fmla="*/ 39 w 75"/>
                  <a:gd name="T19" fmla="*/ 74 h 85"/>
                  <a:gd name="T20" fmla="*/ 22 w 75"/>
                  <a:gd name="T21" fmla="*/ 67 h 85"/>
                  <a:gd name="T22" fmla="*/ 14 w 75"/>
                  <a:gd name="T23" fmla="*/ 46 h 85"/>
                  <a:gd name="T24" fmla="*/ 75 w 75"/>
                  <a:gd name="T25" fmla="*/ 46 h 85"/>
                  <a:gd name="T26" fmla="*/ 75 w 75"/>
                  <a:gd name="T27" fmla="*/ 43 h 85"/>
                  <a:gd name="T28" fmla="*/ 64 w 75"/>
                  <a:gd name="T29" fmla="*/ 11 h 85"/>
                  <a:gd name="T30" fmla="*/ 38 w 75"/>
                  <a:gd name="T31" fmla="*/ 0 h 85"/>
                  <a:gd name="T32" fmla="*/ 15 w 75"/>
                  <a:gd name="T33" fmla="*/ 35 h 85"/>
                  <a:gd name="T34" fmla="*/ 22 w 75"/>
                  <a:gd name="T35" fmla="*/ 18 h 85"/>
                  <a:gd name="T36" fmla="*/ 38 w 75"/>
                  <a:gd name="T37" fmla="*/ 12 h 85"/>
                  <a:gd name="T38" fmla="*/ 55 w 75"/>
                  <a:gd name="T39" fmla="*/ 20 h 85"/>
                  <a:gd name="T40" fmla="*/ 60 w 75"/>
                  <a:gd name="T41" fmla="*/ 35 h 85"/>
                  <a:gd name="T42" fmla="*/ 15 w 75"/>
                  <a:gd name="T43" fmla="*/ 35 h 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75" h="85">
                    <a:moveTo>
                      <a:pt x="38" y="0"/>
                    </a:moveTo>
                    <a:cubicBezTo>
                      <a:pt x="26" y="0"/>
                      <a:pt x="17" y="4"/>
                      <a:pt x="10" y="12"/>
                    </a:cubicBezTo>
                    <a:cubicBezTo>
                      <a:pt x="3" y="19"/>
                      <a:pt x="0" y="30"/>
                      <a:pt x="0" y="43"/>
                    </a:cubicBezTo>
                    <a:cubicBezTo>
                      <a:pt x="0" y="57"/>
                      <a:pt x="3" y="67"/>
                      <a:pt x="10" y="74"/>
                    </a:cubicBezTo>
                    <a:cubicBezTo>
                      <a:pt x="17" y="81"/>
                      <a:pt x="27" y="85"/>
                      <a:pt x="38" y="85"/>
                    </a:cubicBezTo>
                    <a:cubicBezTo>
                      <a:pt x="48" y="85"/>
                      <a:pt x="56" y="83"/>
                      <a:pt x="62" y="78"/>
                    </a:cubicBezTo>
                    <a:cubicBezTo>
                      <a:pt x="68" y="74"/>
                      <a:pt x="72" y="67"/>
                      <a:pt x="74" y="59"/>
                    </a:cubicBezTo>
                    <a:cubicBezTo>
                      <a:pt x="60" y="57"/>
                      <a:pt x="60" y="57"/>
                      <a:pt x="60" y="57"/>
                    </a:cubicBezTo>
                    <a:cubicBezTo>
                      <a:pt x="58" y="63"/>
                      <a:pt x="55" y="67"/>
                      <a:pt x="51" y="70"/>
                    </a:cubicBezTo>
                    <a:cubicBezTo>
                      <a:pt x="48" y="73"/>
                      <a:pt x="44" y="74"/>
                      <a:pt x="39" y="74"/>
                    </a:cubicBezTo>
                    <a:cubicBezTo>
                      <a:pt x="32" y="74"/>
                      <a:pt x="26" y="71"/>
                      <a:pt x="22" y="67"/>
                    </a:cubicBezTo>
                    <a:cubicBezTo>
                      <a:pt x="17" y="62"/>
                      <a:pt x="14" y="55"/>
                      <a:pt x="14" y="46"/>
                    </a:cubicBezTo>
                    <a:cubicBezTo>
                      <a:pt x="75" y="46"/>
                      <a:pt x="75" y="46"/>
                      <a:pt x="75" y="46"/>
                    </a:cubicBezTo>
                    <a:cubicBezTo>
                      <a:pt x="75" y="45"/>
                      <a:pt x="75" y="43"/>
                      <a:pt x="75" y="43"/>
                    </a:cubicBezTo>
                    <a:cubicBezTo>
                      <a:pt x="75" y="29"/>
                      <a:pt x="71" y="19"/>
                      <a:pt x="64" y="11"/>
                    </a:cubicBezTo>
                    <a:cubicBezTo>
                      <a:pt x="57" y="4"/>
                      <a:pt x="49" y="0"/>
                      <a:pt x="38" y="0"/>
                    </a:cubicBezTo>
                    <a:close/>
                    <a:moveTo>
                      <a:pt x="15" y="35"/>
                    </a:moveTo>
                    <a:cubicBezTo>
                      <a:pt x="15" y="28"/>
                      <a:pt x="18" y="22"/>
                      <a:pt x="22" y="18"/>
                    </a:cubicBezTo>
                    <a:cubicBezTo>
                      <a:pt x="26" y="14"/>
                      <a:pt x="32" y="12"/>
                      <a:pt x="38" y="12"/>
                    </a:cubicBezTo>
                    <a:cubicBezTo>
                      <a:pt x="45" y="12"/>
                      <a:pt x="51" y="14"/>
                      <a:pt x="55" y="20"/>
                    </a:cubicBezTo>
                    <a:cubicBezTo>
                      <a:pt x="58" y="23"/>
                      <a:pt x="60" y="28"/>
                      <a:pt x="60" y="35"/>
                    </a:cubicBezTo>
                    <a:lnTo>
                      <a:pt x="15" y="3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290" name="í$lidè"/>
              <p:cNvSpPr/>
              <p:nvPr/>
            </p:nvSpPr>
            <p:spPr bwMode="auto">
              <a:xfrm>
                <a:off x="10457116" y="5675903"/>
                <a:ext cx="25400" cy="30163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291" name="iSļiḋé"/>
              <p:cNvSpPr/>
              <p:nvPr/>
            </p:nvSpPr>
            <p:spPr bwMode="auto">
              <a:xfrm>
                <a:off x="10457116" y="5733053"/>
                <a:ext cx="25400" cy="149225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292" name="íṩḷïḑe"/>
              <p:cNvSpPr/>
              <p:nvPr/>
            </p:nvSpPr>
            <p:spPr bwMode="auto">
              <a:xfrm>
                <a:off x="10520616" y="5675903"/>
                <a:ext cx="25400" cy="30163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293" name="i$ḷïḍè"/>
              <p:cNvSpPr/>
              <p:nvPr/>
            </p:nvSpPr>
            <p:spPr bwMode="auto">
              <a:xfrm>
                <a:off x="10488866" y="5733053"/>
                <a:ext cx="57150" cy="211138"/>
              </a:xfrm>
              <a:custGeom>
                <a:avLst/>
                <a:gdLst>
                  <a:gd name="T0" fmla="*/ 17 w 31"/>
                  <a:gd name="T1" fmla="*/ 85 h 114"/>
                  <a:gd name="T2" fmla="*/ 15 w 31"/>
                  <a:gd name="T3" fmla="*/ 99 h 114"/>
                  <a:gd name="T4" fmla="*/ 9 w 31"/>
                  <a:gd name="T5" fmla="*/ 102 h 114"/>
                  <a:gd name="T6" fmla="*/ 2 w 31"/>
                  <a:gd name="T7" fmla="*/ 101 h 114"/>
                  <a:gd name="T8" fmla="*/ 0 w 31"/>
                  <a:gd name="T9" fmla="*/ 113 h 114"/>
                  <a:gd name="T10" fmla="*/ 11 w 31"/>
                  <a:gd name="T11" fmla="*/ 114 h 114"/>
                  <a:gd name="T12" fmla="*/ 27 w 31"/>
                  <a:gd name="T13" fmla="*/ 107 h 114"/>
                  <a:gd name="T14" fmla="*/ 31 w 31"/>
                  <a:gd name="T15" fmla="*/ 86 h 114"/>
                  <a:gd name="T16" fmla="*/ 31 w 31"/>
                  <a:gd name="T17" fmla="*/ 0 h 114"/>
                  <a:gd name="T18" fmla="*/ 17 w 31"/>
                  <a:gd name="T19" fmla="*/ 0 h 114"/>
                  <a:gd name="T20" fmla="*/ 17 w 31"/>
                  <a:gd name="T21" fmla="*/ 85 h 1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31" h="114">
                    <a:moveTo>
                      <a:pt x="17" y="85"/>
                    </a:moveTo>
                    <a:cubicBezTo>
                      <a:pt x="17" y="93"/>
                      <a:pt x="17" y="98"/>
                      <a:pt x="15" y="99"/>
                    </a:cubicBezTo>
                    <a:cubicBezTo>
                      <a:pt x="14" y="101"/>
                      <a:pt x="12" y="102"/>
                      <a:pt x="9" y="102"/>
                    </a:cubicBezTo>
                    <a:cubicBezTo>
                      <a:pt x="7" y="102"/>
                      <a:pt x="5" y="102"/>
                      <a:pt x="2" y="101"/>
                    </a:cubicBezTo>
                    <a:cubicBezTo>
                      <a:pt x="0" y="113"/>
                      <a:pt x="0" y="113"/>
                      <a:pt x="0" y="113"/>
                    </a:cubicBezTo>
                    <a:cubicBezTo>
                      <a:pt x="3" y="114"/>
                      <a:pt x="7" y="114"/>
                      <a:pt x="11" y="114"/>
                    </a:cubicBezTo>
                    <a:cubicBezTo>
                      <a:pt x="18" y="114"/>
                      <a:pt x="24" y="112"/>
                      <a:pt x="27" y="107"/>
                    </a:cubicBezTo>
                    <a:cubicBezTo>
                      <a:pt x="30" y="103"/>
                      <a:pt x="31" y="96"/>
                      <a:pt x="31" y="86"/>
                    </a:cubicBezTo>
                    <a:cubicBezTo>
                      <a:pt x="31" y="0"/>
                      <a:pt x="31" y="0"/>
                      <a:pt x="31" y="0"/>
                    </a:cubicBezTo>
                    <a:cubicBezTo>
                      <a:pt x="17" y="0"/>
                      <a:pt x="17" y="0"/>
                      <a:pt x="17" y="0"/>
                    </a:cubicBezTo>
                    <a:lnTo>
                      <a:pt x="17" y="8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294" name="íṩliḋé"/>
              <p:cNvSpPr/>
              <p:nvPr/>
            </p:nvSpPr>
            <p:spPr bwMode="auto">
              <a:xfrm>
                <a:off x="10585703" y="5675903"/>
                <a:ext cx="25400" cy="30163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295" name="ísḷiďé"/>
              <p:cNvSpPr/>
              <p:nvPr/>
            </p:nvSpPr>
            <p:spPr bwMode="auto">
              <a:xfrm>
                <a:off x="10585703" y="5733053"/>
                <a:ext cx="25400" cy="149225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296" name="íṩļïḍe"/>
              <p:cNvSpPr/>
              <p:nvPr/>
            </p:nvSpPr>
            <p:spPr bwMode="auto">
              <a:xfrm>
                <a:off x="10649203" y="5729878"/>
                <a:ext cx="122238" cy="152400"/>
              </a:xfrm>
              <a:custGeom>
                <a:avLst/>
                <a:gdLst>
                  <a:gd name="T0" fmla="*/ 65 w 66"/>
                  <a:gd name="T1" fmla="*/ 20 h 83"/>
                  <a:gd name="T2" fmla="*/ 61 w 66"/>
                  <a:gd name="T3" fmla="*/ 10 h 83"/>
                  <a:gd name="T4" fmla="*/ 52 w 66"/>
                  <a:gd name="T5" fmla="*/ 3 h 83"/>
                  <a:gd name="T6" fmla="*/ 38 w 66"/>
                  <a:gd name="T7" fmla="*/ 0 h 83"/>
                  <a:gd name="T8" fmla="*/ 12 w 66"/>
                  <a:gd name="T9" fmla="*/ 14 h 83"/>
                  <a:gd name="T10" fmla="*/ 12 w 66"/>
                  <a:gd name="T11" fmla="*/ 2 h 83"/>
                  <a:gd name="T12" fmla="*/ 0 w 66"/>
                  <a:gd name="T13" fmla="*/ 2 h 83"/>
                  <a:gd name="T14" fmla="*/ 0 w 66"/>
                  <a:gd name="T15" fmla="*/ 83 h 83"/>
                  <a:gd name="T16" fmla="*/ 14 w 66"/>
                  <a:gd name="T17" fmla="*/ 83 h 83"/>
                  <a:gd name="T18" fmla="*/ 14 w 66"/>
                  <a:gd name="T19" fmla="*/ 39 h 83"/>
                  <a:gd name="T20" fmla="*/ 20 w 66"/>
                  <a:gd name="T21" fmla="*/ 18 h 83"/>
                  <a:gd name="T22" fmla="*/ 35 w 66"/>
                  <a:gd name="T23" fmla="*/ 12 h 83"/>
                  <a:gd name="T24" fmla="*/ 45 w 66"/>
                  <a:gd name="T25" fmla="*/ 15 h 83"/>
                  <a:gd name="T26" fmla="*/ 51 w 66"/>
                  <a:gd name="T27" fmla="*/ 21 h 83"/>
                  <a:gd name="T28" fmla="*/ 52 w 66"/>
                  <a:gd name="T29" fmla="*/ 34 h 83"/>
                  <a:gd name="T30" fmla="*/ 52 w 66"/>
                  <a:gd name="T31" fmla="*/ 83 h 83"/>
                  <a:gd name="T32" fmla="*/ 66 w 66"/>
                  <a:gd name="T33" fmla="*/ 83 h 83"/>
                  <a:gd name="T34" fmla="*/ 66 w 66"/>
                  <a:gd name="T35" fmla="*/ 33 h 83"/>
                  <a:gd name="T36" fmla="*/ 65 w 66"/>
                  <a:gd name="T37" fmla="*/ 20 h 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66" h="83">
                    <a:moveTo>
                      <a:pt x="65" y="20"/>
                    </a:moveTo>
                    <a:cubicBezTo>
                      <a:pt x="64" y="16"/>
                      <a:pt x="63" y="13"/>
                      <a:pt x="61" y="10"/>
                    </a:cubicBezTo>
                    <a:cubicBezTo>
                      <a:pt x="59" y="7"/>
                      <a:pt x="56" y="5"/>
                      <a:pt x="52" y="3"/>
                    </a:cubicBezTo>
                    <a:cubicBezTo>
                      <a:pt x="48" y="1"/>
                      <a:pt x="43" y="0"/>
                      <a:pt x="38" y="0"/>
                    </a:cubicBezTo>
                    <a:cubicBezTo>
                      <a:pt x="27" y="0"/>
                      <a:pt x="18" y="5"/>
                      <a:pt x="12" y="14"/>
                    </a:cubicBezTo>
                    <a:cubicBezTo>
                      <a:pt x="12" y="2"/>
                      <a:pt x="12" y="2"/>
                      <a:pt x="12" y="2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83"/>
                      <a:pt x="0" y="83"/>
                      <a:pt x="0" y="83"/>
                    </a:cubicBezTo>
                    <a:cubicBezTo>
                      <a:pt x="14" y="83"/>
                      <a:pt x="14" y="83"/>
                      <a:pt x="14" y="83"/>
                    </a:cubicBezTo>
                    <a:cubicBezTo>
                      <a:pt x="14" y="39"/>
                      <a:pt x="14" y="39"/>
                      <a:pt x="14" y="39"/>
                    </a:cubicBezTo>
                    <a:cubicBezTo>
                      <a:pt x="14" y="29"/>
                      <a:pt x="16" y="21"/>
                      <a:pt x="20" y="18"/>
                    </a:cubicBezTo>
                    <a:cubicBezTo>
                      <a:pt x="24" y="14"/>
                      <a:pt x="29" y="12"/>
                      <a:pt x="35" y="12"/>
                    </a:cubicBezTo>
                    <a:cubicBezTo>
                      <a:pt x="39" y="12"/>
                      <a:pt x="42" y="13"/>
                      <a:pt x="45" y="15"/>
                    </a:cubicBezTo>
                    <a:cubicBezTo>
                      <a:pt x="48" y="16"/>
                      <a:pt x="50" y="19"/>
                      <a:pt x="51" y="21"/>
                    </a:cubicBezTo>
                    <a:cubicBezTo>
                      <a:pt x="52" y="24"/>
                      <a:pt x="52" y="28"/>
                      <a:pt x="52" y="34"/>
                    </a:cubicBezTo>
                    <a:cubicBezTo>
                      <a:pt x="52" y="83"/>
                      <a:pt x="52" y="83"/>
                      <a:pt x="52" y="83"/>
                    </a:cubicBezTo>
                    <a:cubicBezTo>
                      <a:pt x="66" y="83"/>
                      <a:pt x="66" y="83"/>
                      <a:pt x="66" y="83"/>
                    </a:cubicBezTo>
                    <a:cubicBezTo>
                      <a:pt x="66" y="33"/>
                      <a:pt x="66" y="33"/>
                      <a:pt x="66" y="33"/>
                    </a:cubicBezTo>
                    <a:cubicBezTo>
                      <a:pt x="66" y="27"/>
                      <a:pt x="66" y="23"/>
                      <a:pt x="65" y="2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297" name="í$ľíḍê"/>
              <p:cNvSpPr/>
              <p:nvPr/>
            </p:nvSpPr>
            <p:spPr bwMode="auto">
              <a:xfrm>
                <a:off x="10800016" y="5729878"/>
                <a:ext cx="133350" cy="214313"/>
              </a:xfrm>
              <a:custGeom>
                <a:avLst/>
                <a:gdLst>
                  <a:gd name="T0" fmla="*/ 59 w 72"/>
                  <a:gd name="T1" fmla="*/ 2 h 116"/>
                  <a:gd name="T2" fmla="*/ 59 w 72"/>
                  <a:gd name="T3" fmla="*/ 12 h 116"/>
                  <a:gd name="T4" fmla="*/ 35 w 72"/>
                  <a:gd name="T5" fmla="*/ 0 h 116"/>
                  <a:gd name="T6" fmla="*/ 16 w 72"/>
                  <a:gd name="T7" fmla="*/ 6 h 116"/>
                  <a:gd name="T8" fmla="*/ 4 w 72"/>
                  <a:gd name="T9" fmla="*/ 21 h 116"/>
                  <a:gd name="T10" fmla="*/ 0 w 72"/>
                  <a:gd name="T11" fmla="*/ 42 h 116"/>
                  <a:gd name="T12" fmla="*/ 9 w 72"/>
                  <a:gd name="T13" fmla="*/ 71 h 116"/>
                  <a:gd name="T14" fmla="*/ 35 w 72"/>
                  <a:gd name="T15" fmla="*/ 83 h 116"/>
                  <a:gd name="T16" fmla="*/ 58 w 72"/>
                  <a:gd name="T17" fmla="*/ 73 h 116"/>
                  <a:gd name="T18" fmla="*/ 57 w 72"/>
                  <a:gd name="T19" fmla="*/ 90 h 116"/>
                  <a:gd name="T20" fmla="*/ 49 w 72"/>
                  <a:gd name="T21" fmla="*/ 101 h 116"/>
                  <a:gd name="T22" fmla="*/ 35 w 72"/>
                  <a:gd name="T23" fmla="*/ 105 h 116"/>
                  <a:gd name="T24" fmla="*/ 21 w 72"/>
                  <a:gd name="T25" fmla="*/ 101 h 116"/>
                  <a:gd name="T26" fmla="*/ 16 w 72"/>
                  <a:gd name="T27" fmla="*/ 92 h 116"/>
                  <a:gd name="T28" fmla="*/ 3 w 72"/>
                  <a:gd name="T29" fmla="*/ 90 h 116"/>
                  <a:gd name="T30" fmla="*/ 11 w 72"/>
                  <a:gd name="T31" fmla="*/ 110 h 116"/>
                  <a:gd name="T32" fmla="*/ 35 w 72"/>
                  <a:gd name="T33" fmla="*/ 116 h 116"/>
                  <a:gd name="T34" fmla="*/ 55 w 72"/>
                  <a:gd name="T35" fmla="*/ 112 h 116"/>
                  <a:gd name="T36" fmla="*/ 68 w 72"/>
                  <a:gd name="T37" fmla="*/ 99 h 116"/>
                  <a:gd name="T38" fmla="*/ 72 w 72"/>
                  <a:gd name="T39" fmla="*/ 72 h 116"/>
                  <a:gd name="T40" fmla="*/ 72 w 72"/>
                  <a:gd name="T41" fmla="*/ 2 h 116"/>
                  <a:gd name="T42" fmla="*/ 59 w 72"/>
                  <a:gd name="T43" fmla="*/ 2 h 116"/>
                  <a:gd name="T44" fmla="*/ 52 w 72"/>
                  <a:gd name="T45" fmla="*/ 65 h 116"/>
                  <a:gd name="T46" fmla="*/ 36 w 72"/>
                  <a:gd name="T47" fmla="*/ 72 h 116"/>
                  <a:gd name="T48" fmla="*/ 20 w 72"/>
                  <a:gd name="T49" fmla="*/ 65 h 116"/>
                  <a:gd name="T50" fmla="*/ 14 w 72"/>
                  <a:gd name="T51" fmla="*/ 41 h 116"/>
                  <a:gd name="T52" fmla="*/ 20 w 72"/>
                  <a:gd name="T53" fmla="*/ 19 h 116"/>
                  <a:gd name="T54" fmla="*/ 36 w 72"/>
                  <a:gd name="T55" fmla="*/ 12 h 116"/>
                  <a:gd name="T56" fmla="*/ 52 w 72"/>
                  <a:gd name="T57" fmla="*/ 19 h 116"/>
                  <a:gd name="T58" fmla="*/ 59 w 72"/>
                  <a:gd name="T59" fmla="*/ 42 h 116"/>
                  <a:gd name="T60" fmla="*/ 52 w 72"/>
                  <a:gd name="T61" fmla="*/ 65 h 1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72" h="116">
                    <a:moveTo>
                      <a:pt x="59" y="2"/>
                    </a:moveTo>
                    <a:cubicBezTo>
                      <a:pt x="59" y="12"/>
                      <a:pt x="59" y="12"/>
                      <a:pt x="59" y="12"/>
                    </a:cubicBezTo>
                    <a:cubicBezTo>
                      <a:pt x="53" y="4"/>
                      <a:pt x="45" y="0"/>
                      <a:pt x="35" y="0"/>
                    </a:cubicBezTo>
                    <a:cubicBezTo>
                      <a:pt x="28" y="0"/>
                      <a:pt x="22" y="2"/>
                      <a:pt x="16" y="6"/>
                    </a:cubicBezTo>
                    <a:cubicBezTo>
                      <a:pt x="11" y="9"/>
                      <a:pt x="7" y="14"/>
                      <a:pt x="4" y="21"/>
                    </a:cubicBezTo>
                    <a:cubicBezTo>
                      <a:pt x="1" y="27"/>
                      <a:pt x="0" y="34"/>
                      <a:pt x="0" y="42"/>
                    </a:cubicBezTo>
                    <a:cubicBezTo>
                      <a:pt x="0" y="53"/>
                      <a:pt x="3" y="63"/>
                      <a:pt x="9" y="71"/>
                    </a:cubicBezTo>
                    <a:cubicBezTo>
                      <a:pt x="15" y="79"/>
                      <a:pt x="24" y="83"/>
                      <a:pt x="35" y="83"/>
                    </a:cubicBezTo>
                    <a:cubicBezTo>
                      <a:pt x="44" y="83"/>
                      <a:pt x="51" y="80"/>
                      <a:pt x="58" y="73"/>
                    </a:cubicBezTo>
                    <a:cubicBezTo>
                      <a:pt x="58" y="82"/>
                      <a:pt x="57" y="88"/>
                      <a:pt x="57" y="90"/>
                    </a:cubicBezTo>
                    <a:cubicBezTo>
                      <a:pt x="55" y="95"/>
                      <a:pt x="53" y="99"/>
                      <a:pt x="49" y="101"/>
                    </a:cubicBezTo>
                    <a:cubicBezTo>
                      <a:pt x="46" y="104"/>
                      <a:pt x="41" y="105"/>
                      <a:pt x="35" y="105"/>
                    </a:cubicBezTo>
                    <a:cubicBezTo>
                      <a:pt x="29" y="105"/>
                      <a:pt x="24" y="104"/>
                      <a:pt x="21" y="101"/>
                    </a:cubicBezTo>
                    <a:cubicBezTo>
                      <a:pt x="18" y="99"/>
                      <a:pt x="17" y="96"/>
                      <a:pt x="16" y="92"/>
                    </a:cubicBezTo>
                    <a:cubicBezTo>
                      <a:pt x="3" y="90"/>
                      <a:pt x="3" y="90"/>
                      <a:pt x="3" y="90"/>
                    </a:cubicBezTo>
                    <a:cubicBezTo>
                      <a:pt x="2" y="99"/>
                      <a:pt x="5" y="105"/>
                      <a:pt x="11" y="110"/>
                    </a:cubicBezTo>
                    <a:cubicBezTo>
                      <a:pt x="17" y="114"/>
                      <a:pt x="25" y="116"/>
                      <a:pt x="35" y="116"/>
                    </a:cubicBezTo>
                    <a:cubicBezTo>
                      <a:pt x="43" y="116"/>
                      <a:pt x="50" y="115"/>
                      <a:pt x="55" y="112"/>
                    </a:cubicBezTo>
                    <a:cubicBezTo>
                      <a:pt x="61" y="109"/>
                      <a:pt x="65" y="104"/>
                      <a:pt x="68" y="99"/>
                    </a:cubicBezTo>
                    <a:cubicBezTo>
                      <a:pt x="70" y="94"/>
                      <a:pt x="72" y="85"/>
                      <a:pt x="72" y="72"/>
                    </a:cubicBezTo>
                    <a:cubicBezTo>
                      <a:pt x="72" y="2"/>
                      <a:pt x="72" y="2"/>
                      <a:pt x="72" y="2"/>
                    </a:cubicBezTo>
                    <a:lnTo>
                      <a:pt x="59" y="2"/>
                    </a:lnTo>
                    <a:close/>
                    <a:moveTo>
                      <a:pt x="52" y="65"/>
                    </a:moveTo>
                    <a:cubicBezTo>
                      <a:pt x="48" y="69"/>
                      <a:pt x="43" y="72"/>
                      <a:pt x="36" y="72"/>
                    </a:cubicBezTo>
                    <a:cubicBezTo>
                      <a:pt x="30" y="72"/>
                      <a:pt x="25" y="69"/>
                      <a:pt x="20" y="65"/>
                    </a:cubicBezTo>
                    <a:cubicBezTo>
                      <a:pt x="16" y="60"/>
                      <a:pt x="14" y="52"/>
                      <a:pt x="14" y="41"/>
                    </a:cubicBezTo>
                    <a:cubicBezTo>
                      <a:pt x="14" y="31"/>
                      <a:pt x="16" y="24"/>
                      <a:pt x="20" y="19"/>
                    </a:cubicBezTo>
                    <a:cubicBezTo>
                      <a:pt x="25" y="14"/>
                      <a:pt x="30" y="12"/>
                      <a:pt x="36" y="12"/>
                    </a:cubicBezTo>
                    <a:cubicBezTo>
                      <a:pt x="42" y="12"/>
                      <a:pt x="48" y="14"/>
                      <a:pt x="52" y="19"/>
                    </a:cubicBezTo>
                    <a:cubicBezTo>
                      <a:pt x="56" y="24"/>
                      <a:pt x="59" y="32"/>
                      <a:pt x="59" y="42"/>
                    </a:cubicBezTo>
                    <a:cubicBezTo>
                      <a:pt x="59" y="52"/>
                      <a:pt x="57" y="60"/>
                      <a:pt x="52" y="6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298" name="î$1ïḍè"/>
              <p:cNvSpPr/>
              <p:nvPr/>
            </p:nvSpPr>
            <p:spPr bwMode="auto">
              <a:xfrm>
                <a:off x="5231066" y="5675903"/>
                <a:ext cx="161925" cy="211138"/>
              </a:xfrm>
              <a:custGeom>
                <a:avLst/>
                <a:gdLst>
                  <a:gd name="T0" fmla="*/ 73 w 88"/>
                  <a:gd name="T1" fmla="*/ 65 h 114"/>
                  <a:gd name="T2" fmla="*/ 66 w 88"/>
                  <a:gd name="T3" fmla="*/ 93 h 114"/>
                  <a:gd name="T4" fmla="*/ 43 w 88"/>
                  <a:gd name="T5" fmla="*/ 101 h 114"/>
                  <a:gd name="T6" fmla="*/ 27 w 88"/>
                  <a:gd name="T7" fmla="*/ 97 h 114"/>
                  <a:gd name="T8" fmla="*/ 17 w 88"/>
                  <a:gd name="T9" fmla="*/ 86 h 114"/>
                  <a:gd name="T10" fmla="*/ 15 w 88"/>
                  <a:gd name="T11" fmla="*/ 65 h 114"/>
                  <a:gd name="T12" fmla="*/ 15 w 88"/>
                  <a:gd name="T13" fmla="*/ 0 h 114"/>
                  <a:gd name="T14" fmla="*/ 0 w 88"/>
                  <a:gd name="T15" fmla="*/ 0 h 114"/>
                  <a:gd name="T16" fmla="*/ 0 w 88"/>
                  <a:gd name="T17" fmla="*/ 65 h 114"/>
                  <a:gd name="T18" fmla="*/ 4 w 88"/>
                  <a:gd name="T19" fmla="*/ 93 h 114"/>
                  <a:gd name="T20" fmla="*/ 18 w 88"/>
                  <a:gd name="T21" fmla="*/ 109 h 114"/>
                  <a:gd name="T22" fmla="*/ 44 w 88"/>
                  <a:gd name="T23" fmla="*/ 114 h 114"/>
                  <a:gd name="T24" fmla="*/ 70 w 88"/>
                  <a:gd name="T25" fmla="*/ 108 h 114"/>
                  <a:gd name="T26" fmla="*/ 84 w 88"/>
                  <a:gd name="T27" fmla="*/ 92 h 114"/>
                  <a:gd name="T28" fmla="*/ 88 w 88"/>
                  <a:gd name="T29" fmla="*/ 65 h 114"/>
                  <a:gd name="T30" fmla="*/ 88 w 88"/>
                  <a:gd name="T31" fmla="*/ 0 h 114"/>
                  <a:gd name="T32" fmla="*/ 73 w 88"/>
                  <a:gd name="T33" fmla="*/ 0 h 114"/>
                  <a:gd name="T34" fmla="*/ 73 w 88"/>
                  <a:gd name="T35" fmla="*/ 65 h 1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88" h="114">
                    <a:moveTo>
                      <a:pt x="73" y="65"/>
                    </a:moveTo>
                    <a:cubicBezTo>
                      <a:pt x="73" y="79"/>
                      <a:pt x="71" y="88"/>
                      <a:pt x="66" y="93"/>
                    </a:cubicBezTo>
                    <a:cubicBezTo>
                      <a:pt x="62" y="98"/>
                      <a:pt x="54" y="101"/>
                      <a:pt x="43" y="101"/>
                    </a:cubicBezTo>
                    <a:cubicBezTo>
                      <a:pt x="37" y="101"/>
                      <a:pt x="31" y="100"/>
                      <a:pt x="27" y="97"/>
                    </a:cubicBezTo>
                    <a:cubicBezTo>
                      <a:pt x="22" y="95"/>
                      <a:pt x="19" y="91"/>
                      <a:pt x="17" y="86"/>
                    </a:cubicBezTo>
                    <a:cubicBezTo>
                      <a:pt x="16" y="82"/>
                      <a:pt x="15" y="75"/>
                      <a:pt x="15" y="65"/>
                    </a:cubicBezTo>
                    <a:cubicBezTo>
                      <a:pt x="15" y="0"/>
                      <a:pt x="15" y="0"/>
                      <a:pt x="15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65"/>
                      <a:pt x="0" y="65"/>
                      <a:pt x="0" y="65"/>
                    </a:cubicBezTo>
                    <a:cubicBezTo>
                      <a:pt x="0" y="77"/>
                      <a:pt x="1" y="86"/>
                      <a:pt x="4" y="93"/>
                    </a:cubicBezTo>
                    <a:cubicBezTo>
                      <a:pt x="7" y="100"/>
                      <a:pt x="12" y="105"/>
                      <a:pt x="18" y="109"/>
                    </a:cubicBezTo>
                    <a:cubicBezTo>
                      <a:pt x="25" y="112"/>
                      <a:pt x="34" y="114"/>
                      <a:pt x="44" y="114"/>
                    </a:cubicBezTo>
                    <a:cubicBezTo>
                      <a:pt x="55" y="114"/>
                      <a:pt x="64" y="112"/>
                      <a:pt x="70" y="108"/>
                    </a:cubicBezTo>
                    <a:cubicBezTo>
                      <a:pt x="77" y="104"/>
                      <a:pt x="82" y="98"/>
                      <a:pt x="84" y="92"/>
                    </a:cubicBezTo>
                    <a:cubicBezTo>
                      <a:pt x="87" y="85"/>
                      <a:pt x="88" y="76"/>
                      <a:pt x="88" y="65"/>
                    </a:cubicBezTo>
                    <a:cubicBezTo>
                      <a:pt x="88" y="0"/>
                      <a:pt x="88" y="0"/>
                      <a:pt x="88" y="0"/>
                    </a:cubicBezTo>
                    <a:cubicBezTo>
                      <a:pt x="73" y="0"/>
                      <a:pt x="73" y="0"/>
                      <a:pt x="73" y="0"/>
                    </a:cubicBezTo>
                    <a:lnTo>
                      <a:pt x="73" y="6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299" name="ïṡļîḑê"/>
              <p:cNvSpPr/>
              <p:nvPr/>
            </p:nvSpPr>
            <p:spPr bwMode="auto">
              <a:xfrm>
                <a:off x="5435853" y="5729878"/>
                <a:ext cx="120650" cy="152400"/>
              </a:xfrm>
              <a:custGeom>
                <a:avLst/>
                <a:gdLst>
                  <a:gd name="T0" fmla="*/ 61 w 66"/>
                  <a:gd name="T1" fmla="*/ 10 h 83"/>
                  <a:gd name="T2" fmla="*/ 52 w 66"/>
                  <a:gd name="T3" fmla="*/ 3 h 83"/>
                  <a:gd name="T4" fmla="*/ 38 w 66"/>
                  <a:gd name="T5" fmla="*/ 0 h 83"/>
                  <a:gd name="T6" fmla="*/ 12 w 66"/>
                  <a:gd name="T7" fmla="*/ 14 h 83"/>
                  <a:gd name="T8" fmla="*/ 12 w 66"/>
                  <a:gd name="T9" fmla="*/ 2 h 83"/>
                  <a:gd name="T10" fmla="*/ 0 w 66"/>
                  <a:gd name="T11" fmla="*/ 2 h 83"/>
                  <a:gd name="T12" fmla="*/ 0 w 66"/>
                  <a:gd name="T13" fmla="*/ 83 h 83"/>
                  <a:gd name="T14" fmla="*/ 14 w 66"/>
                  <a:gd name="T15" fmla="*/ 83 h 83"/>
                  <a:gd name="T16" fmla="*/ 14 w 66"/>
                  <a:gd name="T17" fmla="*/ 39 h 83"/>
                  <a:gd name="T18" fmla="*/ 20 w 66"/>
                  <a:gd name="T19" fmla="*/ 18 h 83"/>
                  <a:gd name="T20" fmla="*/ 35 w 66"/>
                  <a:gd name="T21" fmla="*/ 12 h 83"/>
                  <a:gd name="T22" fmla="*/ 45 w 66"/>
                  <a:gd name="T23" fmla="*/ 15 h 83"/>
                  <a:gd name="T24" fmla="*/ 51 w 66"/>
                  <a:gd name="T25" fmla="*/ 21 h 83"/>
                  <a:gd name="T26" fmla="*/ 52 w 66"/>
                  <a:gd name="T27" fmla="*/ 34 h 83"/>
                  <a:gd name="T28" fmla="*/ 52 w 66"/>
                  <a:gd name="T29" fmla="*/ 83 h 83"/>
                  <a:gd name="T30" fmla="*/ 66 w 66"/>
                  <a:gd name="T31" fmla="*/ 83 h 83"/>
                  <a:gd name="T32" fmla="*/ 66 w 66"/>
                  <a:gd name="T33" fmla="*/ 33 h 83"/>
                  <a:gd name="T34" fmla="*/ 65 w 66"/>
                  <a:gd name="T35" fmla="*/ 20 h 83"/>
                  <a:gd name="T36" fmla="*/ 61 w 66"/>
                  <a:gd name="T37" fmla="*/ 10 h 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66" h="83">
                    <a:moveTo>
                      <a:pt x="61" y="10"/>
                    </a:moveTo>
                    <a:cubicBezTo>
                      <a:pt x="59" y="7"/>
                      <a:pt x="56" y="5"/>
                      <a:pt x="52" y="3"/>
                    </a:cubicBezTo>
                    <a:cubicBezTo>
                      <a:pt x="48" y="1"/>
                      <a:pt x="43" y="0"/>
                      <a:pt x="38" y="0"/>
                    </a:cubicBezTo>
                    <a:cubicBezTo>
                      <a:pt x="27" y="0"/>
                      <a:pt x="18" y="5"/>
                      <a:pt x="12" y="14"/>
                    </a:cubicBezTo>
                    <a:cubicBezTo>
                      <a:pt x="12" y="2"/>
                      <a:pt x="12" y="2"/>
                      <a:pt x="12" y="2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83"/>
                      <a:pt x="0" y="83"/>
                      <a:pt x="0" y="83"/>
                    </a:cubicBezTo>
                    <a:cubicBezTo>
                      <a:pt x="14" y="83"/>
                      <a:pt x="14" y="83"/>
                      <a:pt x="14" y="83"/>
                    </a:cubicBezTo>
                    <a:cubicBezTo>
                      <a:pt x="14" y="39"/>
                      <a:pt x="14" y="39"/>
                      <a:pt x="14" y="39"/>
                    </a:cubicBezTo>
                    <a:cubicBezTo>
                      <a:pt x="14" y="29"/>
                      <a:pt x="16" y="21"/>
                      <a:pt x="20" y="18"/>
                    </a:cubicBezTo>
                    <a:cubicBezTo>
                      <a:pt x="25" y="14"/>
                      <a:pt x="30" y="12"/>
                      <a:pt x="35" y="12"/>
                    </a:cubicBezTo>
                    <a:cubicBezTo>
                      <a:pt x="39" y="12"/>
                      <a:pt x="42" y="13"/>
                      <a:pt x="45" y="15"/>
                    </a:cubicBezTo>
                    <a:cubicBezTo>
                      <a:pt x="48" y="16"/>
                      <a:pt x="50" y="19"/>
                      <a:pt x="51" y="21"/>
                    </a:cubicBezTo>
                    <a:cubicBezTo>
                      <a:pt x="52" y="24"/>
                      <a:pt x="52" y="28"/>
                      <a:pt x="52" y="34"/>
                    </a:cubicBezTo>
                    <a:cubicBezTo>
                      <a:pt x="52" y="83"/>
                      <a:pt x="52" y="83"/>
                      <a:pt x="52" y="83"/>
                    </a:cubicBezTo>
                    <a:cubicBezTo>
                      <a:pt x="66" y="83"/>
                      <a:pt x="66" y="83"/>
                      <a:pt x="66" y="83"/>
                    </a:cubicBezTo>
                    <a:cubicBezTo>
                      <a:pt x="66" y="33"/>
                      <a:pt x="66" y="33"/>
                      <a:pt x="66" y="33"/>
                    </a:cubicBezTo>
                    <a:cubicBezTo>
                      <a:pt x="66" y="27"/>
                      <a:pt x="66" y="23"/>
                      <a:pt x="65" y="20"/>
                    </a:cubicBezTo>
                    <a:cubicBezTo>
                      <a:pt x="65" y="16"/>
                      <a:pt x="63" y="13"/>
                      <a:pt x="61" y="1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</p:grpSp>
      </p:grpSp>
      <p:sp>
        <p:nvSpPr>
          <p:cNvPr id="15" name="文本框 14"/>
          <p:cNvSpPr txBox="1"/>
          <p:nvPr userDrawn="1">
            <p:custDataLst>
              <p:tags r:id="rId4"/>
            </p:custDataLst>
          </p:nvPr>
        </p:nvSpPr>
        <p:spPr>
          <a:xfrm>
            <a:off x="3503613" y="6657658"/>
            <a:ext cx="239200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1400" b="1" dirty="0">
                <a:solidFill>
                  <a:schemeClr val="bg1">
                    <a:lumMod val="9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第三讲</a:t>
            </a:r>
            <a:r>
              <a:rPr lang="en-US" altLang="zh-CN" sz="1400" b="1" dirty="0">
                <a:solidFill>
                  <a:schemeClr val="bg1">
                    <a:lumMod val="9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 </a:t>
            </a:r>
            <a:r>
              <a:rPr lang="zh-CN" altLang="en-US" sz="1400" b="1" dirty="0">
                <a:solidFill>
                  <a:schemeClr val="bg1">
                    <a:lumMod val="9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社会实践实施与执行</a:t>
            </a:r>
            <a:endParaRPr lang="zh-CN" altLang="en-US" sz="1400" b="1" dirty="0">
              <a:solidFill>
                <a:schemeClr val="bg1">
                  <a:lumMod val="9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</p:txBody>
      </p:sp>
    </p:spTree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97157" name="图片 16"/>
          <p:cNvPicPr>
            <a:picLocks noChangeAspect="1"/>
          </p:cNvPicPr>
          <p:nvPr userDrawn="1"/>
        </p:nvPicPr>
        <p:blipFill rotWithShape="1">
          <a:blip r:embed="rId2"/>
          <a:srcRect t="7796" b="7796"/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1048881" name="矩形 17"/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bg1">
              <a:alpha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350"/>
          </a:p>
        </p:txBody>
      </p:sp>
      <p:sp>
        <p:nvSpPr>
          <p:cNvPr id="1048882" name="矩形 127"/>
          <p:cNvSpPr/>
          <p:nvPr userDrawn="1"/>
        </p:nvSpPr>
        <p:spPr>
          <a:xfrm>
            <a:off x="9064520" y="319741"/>
            <a:ext cx="89822" cy="274912"/>
          </a:xfrm>
          <a:prstGeom prst="rect">
            <a:avLst/>
          </a:prstGeom>
          <a:gradFill flip="none" rotWithShape="1">
            <a:gsLst>
              <a:gs pos="0">
                <a:srgbClr val="A22B17">
                  <a:lumMod val="94000"/>
                  <a:lumOff val="6000"/>
                </a:srgbClr>
              </a:gs>
              <a:gs pos="100000">
                <a:srgbClr val="A22B17">
                  <a:alpha val="72000"/>
                  <a:lumMod val="85000"/>
                  <a:lumOff val="15000"/>
                </a:srgb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zh-CN" altLang="en-US" sz="1350"/>
          </a:p>
        </p:txBody>
      </p:sp>
      <p:sp>
        <p:nvSpPr>
          <p:cNvPr id="1048883" name="矩形 2"/>
          <p:cNvSpPr/>
          <p:nvPr userDrawn="1"/>
        </p:nvSpPr>
        <p:spPr>
          <a:xfrm>
            <a:off x="236765" y="-108856"/>
            <a:ext cx="98046" cy="847024"/>
          </a:xfrm>
          <a:prstGeom prst="rect">
            <a:avLst/>
          </a:prstGeom>
          <a:gradFill flip="none" rotWithShape="1">
            <a:gsLst>
              <a:gs pos="0">
                <a:srgbClr val="A22B17">
                  <a:lumMod val="94000"/>
                  <a:lumOff val="6000"/>
                </a:srgbClr>
              </a:gs>
              <a:gs pos="100000">
                <a:srgbClr val="A22B17">
                  <a:alpha val="72000"/>
                  <a:lumMod val="85000"/>
                  <a:lumOff val="15000"/>
                </a:srgb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zh-CN" altLang="en-US" sz="1350"/>
          </a:p>
        </p:txBody>
      </p:sp>
      <p:grpSp>
        <p:nvGrpSpPr>
          <p:cNvPr id="120" name="组合 241"/>
          <p:cNvGrpSpPr/>
          <p:nvPr userDrawn="1"/>
        </p:nvGrpSpPr>
        <p:grpSpPr>
          <a:xfrm>
            <a:off x="6906260" y="225425"/>
            <a:ext cx="2011680" cy="453390"/>
            <a:chOff x="9721458" y="225521"/>
            <a:chExt cx="2169381" cy="453584"/>
          </a:xfrm>
        </p:grpSpPr>
        <p:sp>
          <p:nvSpPr>
            <p:cNvPr id="1048884" name="îS1îḋé"/>
            <p:cNvSpPr/>
            <p:nvPr/>
          </p:nvSpPr>
          <p:spPr bwMode="auto">
            <a:xfrm>
              <a:off x="9721458" y="225521"/>
              <a:ext cx="453179" cy="453584"/>
            </a:xfrm>
            <a:prstGeom prst="ellipse">
              <a:avLst/>
            </a:prstGeom>
            <a:noFill/>
            <a:ln w="15875" cap="flat">
              <a:solidFill>
                <a:srgbClr val="CA351C"/>
              </a:solidFill>
              <a:prstDash val="solid"/>
              <a:miter lim="800000"/>
            </a:ln>
          </p:spPr>
          <p:txBody>
            <a:bodyPr anchor="ctr"/>
            <a:lstStyle/>
            <a:p>
              <a:pPr algn="r"/>
              <a:endParaRPr sz="1350"/>
            </a:p>
          </p:txBody>
        </p:sp>
        <p:sp>
          <p:nvSpPr>
            <p:cNvPr id="1048885" name="îṣḷïďé"/>
            <p:cNvSpPr/>
            <p:nvPr/>
          </p:nvSpPr>
          <p:spPr bwMode="auto">
            <a:xfrm>
              <a:off x="9777346" y="281409"/>
              <a:ext cx="340998" cy="341403"/>
            </a:xfrm>
            <a:prstGeom prst="ellipse">
              <a:avLst/>
            </a:prstGeom>
            <a:noFill/>
            <a:ln w="9525" cap="flat">
              <a:solidFill>
                <a:srgbClr val="B8311A"/>
              </a:solidFill>
              <a:prstDash val="solid"/>
              <a:miter lim="800000"/>
            </a:ln>
          </p:spPr>
          <p:txBody>
            <a:bodyPr anchor="ctr"/>
            <a:lstStyle/>
            <a:p>
              <a:pPr algn="r"/>
              <a:endParaRPr sz="1350"/>
            </a:p>
          </p:txBody>
        </p:sp>
        <p:grpSp>
          <p:nvGrpSpPr>
            <p:cNvPr id="121" name="组合 244"/>
            <p:cNvGrpSpPr/>
            <p:nvPr userDrawn="1"/>
          </p:nvGrpSpPr>
          <p:grpSpPr>
            <a:xfrm>
              <a:off x="9742315" y="240303"/>
              <a:ext cx="411466" cy="424020"/>
              <a:chOff x="1641372" y="4491628"/>
              <a:chExt cx="1612900" cy="1662113"/>
            </a:xfrm>
            <a:solidFill>
              <a:srgbClr val="CA351C"/>
            </a:solidFill>
          </p:grpSpPr>
          <p:sp>
            <p:nvSpPr>
              <p:cNvPr id="1048886" name="ïś1íďê"/>
              <p:cNvSpPr/>
              <p:nvPr/>
            </p:nvSpPr>
            <p:spPr bwMode="auto">
              <a:xfrm>
                <a:off x="2889147" y="4701178"/>
                <a:ext cx="153988" cy="138113"/>
              </a:xfrm>
              <a:custGeom>
                <a:avLst/>
                <a:gdLst>
                  <a:gd name="T0" fmla="*/ 62 w 83"/>
                  <a:gd name="T1" fmla="*/ 8 h 75"/>
                  <a:gd name="T2" fmla="*/ 53 w 83"/>
                  <a:gd name="T3" fmla="*/ 10 h 75"/>
                  <a:gd name="T4" fmla="*/ 57 w 83"/>
                  <a:gd name="T5" fmla="*/ 0 h 75"/>
                  <a:gd name="T6" fmla="*/ 44 w 83"/>
                  <a:gd name="T7" fmla="*/ 21 h 75"/>
                  <a:gd name="T8" fmla="*/ 58 w 83"/>
                  <a:gd name="T9" fmla="*/ 11 h 75"/>
                  <a:gd name="T10" fmla="*/ 54 w 83"/>
                  <a:gd name="T11" fmla="*/ 18 h 75"/>
                  <a:gd name="T12" fmla="*/ 28 w 83"/>
                  <a:gd name="T13" fmla="*/ 18 h 75"/>
                  <a:gd name="T14" fmla="*/ 19 w 83"/>
                  <a:gd name="T15" fmla="*/ 17 h 75"/>
                  <a:gd name="T16" fmla="*/ 25 w 83"/>
                  <a:gd name="T17" fmla="*/ 12 h 75"/>
                  <a:gd name="T18" fmla="*/ 1 w 83"/>
                  <a:gd name="T19" fmla="*/ 30 h 75"/>
                  <a:gd name="T20" fmla="*/ 13 w 83"/>
                  <a:gd name="T21" fmla="*/ 24 h 75"/>
                  <a:gd name="T22" fmla="*/ 36 w 83"/>
                  <a:gd name="T23" fmla="*/ 28 h 75"/>
                  <a:gd name="T24" fmla="*/ 22 w 83"/>
                  <a:gd name="T25" fmla="*/ 35 h 75"/>
                  <a:gd name="T26" fmla="*/ 45 w 83"/>
                  <a:gd name="T27" fmla="*/ 41 h 75"/>
                  <a:gd name="T28" fmla="*/ 42 w 83"/>
                  <a:gd name="T29" fmla="*/ 41 h 75"/>
                  <a:gd name="T30" fmla="*/ 35 w 83"/>
                  <a:gd name="T31" fmla="*/ 40 h 75"/>
                  <a:gd name="T32" fmla="*/ 37 w 83"/>
                  <a:gd name="T33" fmla="*/ 45 h 75"/>
                  <a:gd name="T34" fmla="*/ 12 w 83"/>
                  <a:gd name="T35" fmla="*/ 34 h 75"/>
                  <a:gd name="T36" fmla="*/ 9 w 83"/>
                  <a:gd name="T37" fmla="*/ 35 h 75"/>
                  <a:gd name="T38" fmla="*/ 20 w 83"/>
                  <a:gd name="T39" fmla="*/ 64 h 75"/>
                  <a:gd name="T40" fmla="*/ 0 w 83"/>
                  <a:gd name="T41" fmla="*/ 57 h 75"/>
                  <a:gd name="T42" fmla="*/ 35 w 83"/>
                  <a:gd name="T43" fmla="*/ 58 h 75"/>
                  <a:gd name="T44" fmla="*/ 46 w 83"/>
                  <a:gd name="T45" fmla="*/ 57 h 75"/>
                  <a:gd name="T46" fmla="*/ 42 w 83"/>
                  <a:gd name="T47" fmla="*/ 48 h 75"/>
                  <a:gd name="T48" fmla="*/ 62 w 83"/>
                  <a:gd name="T49" fmla="*/ 57 h 75"/>
                  <a:gd name="T50" fmla="*/ 61 w 83"/>
                  <a:gd name="T51" fmla="*/ 35 h 75"/>
                  <a:gd name="T52" fmla="*/ 62 w 83"/>
                  <a:gd name="T53" fmla="*/ 34 h 75"/>
                  <a:gd name="T54" fmla="*/ 66 w 83"/>
                  <a:gd name="T55" fmla="*/ 16 h 75"/>
                  <a:gd name="T56" fmla="*/ 63 w 83"/>
                  <a:gd name="T57" fmla="*/ 44 h 75"/>
                  <a:gd name="T58" fmla="*/ 54 w 83"/>
                  <a:gd name="T59" fmla="*/ 32 h 75"/>
                  <a:gd name="T60" fmla="*/ 60 w 83"/>
                  <a:gd name="T61" fmla="*/ 27 h 75"/>
                  <a:gd name="T62" fmla="*/ 67 w 83"/>
                  <a:gd name="T63" fmla="*/ 18 h 75"/>
                  <a:gd name="T64" fmla="*/ 77 w 83"/>
                  <a:gd name="T65" fmla="*/ 23 h 75"/>
                  <a:gd name="T66" fmla="*/ 60 w 83"/>
                  <a:gd name="T67" fmla="*/ 27 h 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83" h="75">
                    <a:moveTo>
                      <a:pt x="66" y="16"/>
                    </a:moveTo>
                    <a:cubicBezTo>
                      <a:pt x="65" y="13"/>
                      <a:pt x="63" y="11"/>
                      <a:pt x="62" y="8"/>
                    </a:cubicBezTo>
                    <a:cubicBezTo>
                      <a:pt x="59" y="9"/>
                      <a:pt x="57" y="9"/>
                      <a:pt x="54" y="10"/>
                    </a:cubicBezTo>
                    <a:cubicBezTo>
                      <a:pt x="54" y="10"/>
                      <a:pt x="53" y="10"/>
                      <a:pt x="53" y="10"/>
                    </a:cubicBezTo>
                    <a:cubicBezTo>
                      <a:pt x="54" y="7"/>
                      <a:pt x="57" y="6"/>
                      <a:pt x="59" y="3"/>
                    </a:cubicBezTo>
                    <a:cubicBezTo>
                      <a:pt x="58" y="2"/>
                      <a:pt x="58" y="1"/>
                      <a:pt x="57" y="0"/>
                    </a:cubicBezTo>
                    <a:cubicBezTo>
                      <a:pt x="48" y="1"/>
                      <a:pt x="37" y="9"/>
                      <a:pt x="42" y="19"/>
                    </a:cubicBezTo>
                    <a:cubicBezTo>
                      <a:pt x="42" y="19"/>
                      <a:pt x="43" y="20"/>
                      <a:pt x="44" y="21"/>
                    </a:cubicBezTo>
                    <a:cubicBezTo>
                      <a:pt x="47" y="19"/>
                      <a:pt x="48" y="15"/>
                      <a:pt x="51" y="14"/>
                    </a:cubicBezTo>
                    <a:cubicBezTo>
                      <a:pt x="53" y="13"/>
                      <a:pt x="55" y="13"/>
                      <a:pt x="58" y="11"/>
                    </a:cubicBezTo>
                    <a:cubicBezTo>
                      <a:pt x="58" y="11"/>
                      <a:pt x="59" y="11"/>
                      <a:pt x="59" y="11"/>
                    </a:cubicBezTo>
                    <a:cubicBezTo>
                      <a:pt x="57" y="14"/>
                      <a:pt x="56" y="16"/>
                      <a:pt x="54" y="18"/>
                    </a:cubicBezTo>
                    <a:cubicBezTo>
                      <a:pt x="54" y="21"/>
                      <a:pt x="55" y="24"/>
                      <a:pt x="54" y="27"/>
                    </a:cubicBezTo>
                    <a:cubicBezTo>
                      <a:pt x="54" y="27"/>
                      <a:pt x="30" y="18"/>
                      <a:pt x="28" y="18"/>
                    </a:cubicBezTo>
                    <a:cubicBezTo>
                      <a:pt x="25" y="17"/>
                      <a:pt x="22" y="17"/>
                      <a:pt x="20" y="17"/>
                    </a:cubicBezTo>
                    <a:cubicBezTo>
                      <a:pt x="19" y="17"/>
                      <a:pt x="19" y="17"/>
                      <a:pt x="19" y="17"/>
                    </a:cubicBezTo>
                    <a:cubicBezTo>
                      <a:pt x="22" y="15"/>
                      <a:pt x="23" y="15"/>
                      <a:pt x="25" y="13"/>
                    </a:cubicBezTo>
                    <a:cubicBezTo>
                      <a:pt x="25" y="12"/>
                      <a:pt x="25" y="12"/>
                      <a:pt x="25" y="12"/>
                    </a:cubicBezTo>
                    <a:cubicBezTo>
                      <a:pt x="18" y="12"/>
                      <a:pt x="11" y="16"/>
                      <a:pt x="4" y="18"/>
                    </a:cubicBezTo>
                    <a:cubicBezTo>
                      <a:pt x="0" y="22"/>
                      <a:pt x="0" y="25"/>
                      <a:pt x="1" y="30"/>
                    </a:cubicBezTo>
                    <a:cubicBezTo>
                      <a:pt x="3" y="31"/>
                      <a:pt x="3" y="31"/>
                      <a:pt x="3" y="31"/>
                    </a:cubicBezTo>
                    <a:cubicBezTo>
                      <a:pt x="6" y="29"/>
                      <a:pt x="9" y="26"/>
                      <a:pt x="13" y="24"/>
                    </a:cubicBezTo>
                    <a:cubicBezTo>
                      <a:pt x="19" y="20"/>
                      <a:pt x="30" y="22"/>
                      <a:pt x="37" y="27"/>
                    </a:cubicBezTo>
                    <a:cubicBezTo>
                      <a:pt x="37" y="28"/>
                      <a:pt x="36" y="28"/>
                      <a:pt x="36" y="28"/>
                    </a:cubicBezTo>
                    <a:cubicBezTo>
                      <a:pt x="31" y="29"/>
                      <a:pt x="28" y="28"/>
                      <a:pt x="22" y="32"/>
                    </a:cubicBezTo>
                    <a:cubicBezTo>
                      <a:pt x="22" y="33"/>
                      <a:pt x="22" y="34"/>
                      <a:pt x="22" y="35"/>
                    </a:cubicBezTo>
                    <a:cubicBezTo>
                      <a:pt x="22" y="37"/>
                      <a:pt x="22" y="37"/>
                      <a:pt x="24" y="39"/>
                    </a:cubicBezTo>
                    <a:cubicBezTo>
                      <a:pt x="31" y="37"/>
                      <a:pt x="37" y="36"/>
                      <a:pt x="45" y="41"/>
                    </a:cubicBezTo>
                    <a:cubicBezTo>
                      <a:pt x="44" y="41"/>
                      <a:pt x="44" y="41"/>
                      <a:pt x="44" y="41"/>
                    </a:cubicBezTo>
                    <a:cubicBezTo>
                      <a:pt x="43" y="41"/>
                      <a:pt x="42" y="41"/>
                      <a:pt x="42" y="41"/>
                    </a:cubicBezTo>
                    <a:cubicBezTo>
                      <a:pt x="41" y="40"/>
                      <a:pt x="40" y="39"/>
                      <a:pt x="39" y="39"/>
                    </a:cubicBezTo>
                    <a:cubicBezTo>
                      <a:pt x="37" y="41"/>
                      <a:pt x="37" y="41"/>
                      <a:pt x="35" y="40"/>
                    </a:cubicBezTo>
                    <a:cubicBezTo>
                      <a:pt x="35" y="40"/>
                      <a:pt x="34" y="41"/>
                      <a:pt x="34" y="41"/>
                    </a:cubicBezTo>
                    <a:cubicBezTo>
                      <a:pt x="35" y="43"/>
                      <a:pt x="35" y="43"/>
                      <a:pt x="37" y="45"/>
                    </a:cubicBezTo>
                    <a:cubicBezTo>
                      <a:pt x="36" y="46"/>
                      <a:pt x="36" y="47"/>
                      <a:pt x="35" y="48"/>
                    </a:cubicBezTo>
                    <a:cubicBezTo>
                      <a:pt x="27" y="44"/>
                      <a:pt x="20" y="40"/>
                      <a:pt x="12" y="34"/>
                    </a:cubicBezTo>
                    <a:cubicBezTo>
                      <a:pt x="11" y="34"/>
                      <a:pt x="11" y="34"/>
                      <a:pt x="10" y="34"/>
                    </a:cubicBezTo>
                    <a:cubicBezTo>
                      <a:pt x="9" y="34"/>
                      <a:pt x="9" y="35"/>
                      <a:pt x="9" y="35"/>
                    </a:cubicBezTo>
                    <a:cubicBezTo>
                      <a:pt x="11" y="55"/>
                      <a:pt x="20" y="44"/>
                      <a:pt x="31" y="54"/>
                    </a:cubicBezTo>
                    <a:cubicBezTo>
                      <a:pt x="27" y="58"/>
                      <a:pt x="23" y="61"/>
                      <a:pt x="20" y="64"/>
                    </a:cubicBezTo>
                    <a:cubicBezTo>
                      <a:pt x="15" y="63"/>
                      <a:pt x="6" y="55"/>
                      <a:pt x="1" y="56"/>
                    </a:cubicBezTo>
                    <a:cubicBezTo>
                      <a:pt x="1" y="56"/>
                      <a:pt x="1" y="56"/>
                      <a:pt x="0" y="57"/>
                    </a:cubicBezTo>
                    <a:cubicBezTo>
                      <a:pt x="2" y="62"/>
                      <a:pt x="7" y="67"/>
                      <a:pt x="9" y="72"/>
                    </a:cubicBezTo>
                    <a:cubicBezTo>
                      <a:pt x="17" y="75"/>
                      <a:pt x="26" y="66"/>
                      <a:pt x="35" y="58"/>
                    </a:cubicBezTo>
                    <a:cubicBezTo>
                      <a:pt x="37" y="60"/>
                      <a:pt x="39" y="63"/>
                      <a:pt x="42" y="65"/>
                    </a:cubicBezTo>
                    <a:cubicBezTo>
                      <a:pt x="46" y="63"/>
                      <a:pt x="46" y="60"/>
                      <a:pt x="46" y="57"/>
                    </a:cubicBezTo>
                    <a:cubicBezTo>
                      <a:pt x="45" y="54"/>
                      <a:pt x="43" y="53"/>
                      <a:pt x="40" y="50"/>
                    </a:cubicBezTo>
                    <a:cubicBezTo>
                      <a:pt x="41" y="49"/>
                      <a:pt x="42" y="48"/>
                      <a:pt x="42" y="48"/>
                    </a:cubicBezTo>
                    <a:cubicBezTo>
                      <a:pt x="46" y="48"/>
                      <a:pt x="49" y="48"/>
                      <a:pt x="53" y="46"/>
                    </a:cubicBezTo>
                    <a:cubicBezTo>
                      <a:pt x="56" y="49"/>
                      <a:pt x="59" y="53"/>
                      <a:pt x="62" y="57"/>
                    </a:cubicBezTo>
                    <a:cubicBezTo>
                      <a:pt x="65" y="56"/>
                      <a:pt x="68" y="55"/>
                      <a:pt x="70" y="52"/>
                    </a:cubicBezTo>
                    <a:cubicBezTo>
                      <a:pt x="72" y="47"/>
                      <a:pt x="66" y="40"/>
                      <a:pt x="61" y="35"/>
                    </a:cubicBezTo>
                    <a:cubicBezTo>
                      <a:pt x="61" y="35"/>
                      <a:pt x="61" y="35"/>
                      <a:pt x="61" y="35"/>
                    </a:cubicBezTo>
                    <a:cubicBezTo>
                      <a:pt x="62" y="34"/>
                      <a:pt x="62" y="34"/>
                      <a:pt x="62" y="34"/>
                    </a:cubicBezTo>
                    <a:cubicBezTo>
                      <a:pt x="69" y="34"/>
                      <a:pt x="72" y="37"/>
                      <a:pt x="79" y="32"/>
                    </a:cubicBezTo>
                    <a:cubicBezTo>
                      <a:pt x="83" y="17"/>
                      <a:pt x="74" y="21"/>
                      <a:pt x="66" y="16"/>
                    </a:cubicBezTo>
                    <a:close/>
                    <a:moveTo>
                      <a:pt x="63" y="44"/>
                    </a:moveTo>
                    <a:cubicBezTo>
                      <a:pt x="63" y="44"/>
                      <a:pt x="63" y="44"/>
                      <a:pt x="63" y="44"/>
                    </a:cubicBezTo>
                    <a:cubicBezTo>
                      <a:pt x="55" y="42"/>
                      <a:pt x="46" y="34"/>
                      <a:pt x="38" y="32"/>
                    </a:cubicBezTo>
                    <a:cubicBezTo>
                      <a:pt x="43" y="28"/>
                      <a:pt x="48" y="31"/>
                      <a:pt x="54" y="32"/>
                    </a:cubicBezTo>
                    <a:cubicBezTo>
                      <a:pt x="57" y="36"/>
                      <a:pt x="60" y="40"/>
                      <a:pt x="63" y="44"/>
                    </a:cubicBezTo>
                    <a:close/>
                    <a:moveTo>
                      <a:pt x="60" y="27"/>
                    </a:moveTo>
                    <a:cubicBezTo>
                      <a:pt x="60" y="27"/>
                      <a:pt x="60" y="26"/>
                      <a:pt x="59" y="26"/>
                    </a:cubicBezTo>
                    <a:cubicBezTo>
                      <a:pt x="61" y="23"/>
                      <a:pt x="63" y="20"/>
                      <a:pt x="67" y="18"/>
                    </a:cubicBezTo>
                    <a:cubicBezTo>
                      <a:pt x="69" y="19"/>
                      <a:pt x="71" y="19"/>
                      <a:pt x="74" y="20"/>
                    </a:cubicBezTo>
                    <a:cubicBezTo>
                      <a:pt x="75" y="21"/>
                      <a:pt x="76" y="22"/>
                      <a:pt x="77" y="23"/>
                    </a:cubicBezTo>
                    <a:cubicBezTo>
                      <a:pt x="77" y="24"/>
                      <a:pt x="77" y="24"/>
                      <a:pt x="77" y="25"/>
                    </a:cubicBezTo>
                    <a:cubicBezTo>
                      <a:pt x="72" y="29"/>
                      <a:pt x="66" y="27"/>
                      <a:pt x="60" y="27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1048887" name="ïṩḻîḓé"/>
              <p:cNvSpPr/>
              <p:nvPr/>
            </p:nvSpPr>
            <p:spPr bwMode="auto">
              <a:xfrm>
                <a:off x="2728809" y="4582115"/>
                <a:ext cx="101600" cy="147638"/>
              </a:xfrm>
              <a:custGeom>
                <a:avLst/>
                <a:gdLst>
                  <a:gd name="T0" fmla="*/ 47 w 55"/>
                  <a:gd name="T1" fmla="*/ 0 h 80"/>
                  <a:gd name="T2" fmla="*/ 49 w 55"/>
                  <a:gd name="T3" fmla="*/ 20 h 80"/>
                  <a:gd name="T4" fmla="*/ 51 w 55"/>
                  <a:gd name="T5" fmla="*/ 34 h 80"/>
                  <a:gd name="T6" fmla="*/ 28 w 55"/>
                  <a:gd name="T7" fmla="*/ 38 h 80"/>
                  <a:gd name="T8" fmla="*/ 41 w 55"/>
                  <a:gd name="T9" fmla="*/ 68 h 80"/>
                  <a:gd name="T10" fmla="*/ 25 w 55"/>
                  <a:gd name="T11" fmla="*/ 74 h 80"/>
                  <a:gd name="T12" fmla="*/ 26 w 55"/>
                  <a:gd name="T13" fmla="*/ 39 h 80"/>
                  <a:gd name="T14" fmla="*/ 23 w 55"/>
                  <a:gd name="T15" fmla="*/ 40 h 80"/>
                  <a:gd name="T16" fmla="*/ 7 w 55"/>
                  <a:gd name="T17" fmla="*/ 54 h 80"/>
                  <a:gd name="T18" fmla="*/ 0 w 55"/>
                  <a:gd name="T19" fmla="*/ 43 h 80"/>
                  <a:gd name="T20" fmla="*/ 14 w 55"/>
                  <a:gd name="T21" fmla="*/ 28 h 80"/>
                  <a:gd name="T22" fmla="*/ 6 w 55"/>
                  <a:gd name="T23" fmla="*/ 15 h 80"/>
                  <a:gd name="T24" fmla="*/ 7 w 55"/>
                  <a:gd name="T25" fmla="*/ 15 h 80"/>
                  <a:gd name="T26" fmla="*/ 26 w 55"/>
                  <a:gd name="T27" fmla="*/ 18 h 80"/>
                  <a:gd name="T28" fmla="*/ 47 w 55"/>
                  <a:gd name="T29" fmla="*/ 0 h 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55" h="80">
                    <a:moveTo>
                      <a:pt x="47" y="0"/>
                    </a:moveTo>
                    <a:cubicBezTo>
                      <a:pt x="55" y="7"/>
                      <a:pt x="49" y="11"/>
                      <a:pt x="49" y="20"/>
                    </a:cubicBezTo>
                    <a:cubicBezTo>
                      <a:pt x="49" y="25"/>
                      <a:pt x="55" y="25"/>
                      <a:pt x="51" y="34"/>
                    </a:cubicBezTo>
                    <a:cubicBezTo>
                      <a:pt x="44" y="37"/>
                      <a:pt x="34" y="32"/>
                      <a:pt x="28" y="38"/>
                    </a:cubicBezTo>
                    <a:cubicBezTo>
                      <a:pt x="38" y="44"/>
                      <a:pt x="45" y="59"/>
                      <a:pt x="41" y="68"/>
                    </a:cubicBezTo>
                    <a:cubicBezTo>
                      <a:pt x="39" y="74"/>
                      <a:pt x="28" y="80"/>
                      <a:pt x="25" y="74"/>
                    </a:cubicBezTo>
                    <a:cubicBezTo>
                      <a:pt x="19" y="62"/>
                      <a:pt x="39" y="55"/>
                      <a:pt x="26" y="39"/>
                    </a:cubicBezTo>
                    <a:cubicBezTo>
                      <a:pt x="25" y="39"/>
                      <a:pt x="25" y="39"/>
                      <a:pt x="23" y="40"/>
                    </a:cubicBezTo>
                    <a:cubicBezTo>
                      <a:pt x="17" y="44"/>
                      <a:pt x="14" y="52"/>
                      <a:pt x="7" y="54"/>
                    </a:cubicBezTo>
                    <a:cubicBezTo>
                      <a:pt x="2" y="51"/>
                      <a:pt x="2" y="48"/>
                      <a:pt x="0" y="43"/>
                    </a:cubicBezTo>
                    <a:cubicBezTo>
                      <a:pt x="3" y="39"/>
                      <a:pt x="14" y="30"/>
                      <a:pt x="14" y="28"/>
                    </a:cubicBezTo>
                    <a:cubicBezTo>
                      <a:pt x="14" y="25"/>
                      <a:pt x="7" y="19"/>
                      <a:pt x="6" y="15"/>
                    </a:cubicBezTo>
                    <a:cubicBezTo>
                      <a:pt x="6" y="15"/>
                      <a:pt x="7" y="15"/>
                      <a:pt x="7" y="15"/>
                    </a:cubicBezTo>
                    <a:cubicBezTo>
                      <a:pt x="13" y="15"/>
                      <a:pt x="20" y="18"/>
                      <a:pt x="26" y="18"/>
                    </a:cubicBezTo>
                    <a:cubicBezTo>
                      <a:pt x="34" y="17"/>
                      <a:pt x="41" y="5"/>
                      <a:pt x="47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1048888" name="išḷïḓe"/>
              <p:cNvSpPr/>
              <p:nvPr/>
            </p:nvSpPr>
            <p:spPr bwMode="auto">
              <a:xfrm>
                <a:off x="2490684" y="4510678"/>
                <a:ext cx="144463" cy="160338"/>
              </a:xfrm>
              <a:custGeom>
                <a:avLst/>
                <a:gdLst>
                  <a:gd name="T0" fmla="*/ 55 w 78"/>
                  <a:gd name="T1" fmla="*/ 64 h 87"/>
                  <a:gd name="T2" fmla="*/ 62 w 78"/>
                  <a:gd name="T3" fmla="*/ 50 h 87"/>
                  <a:gd name="T4" fmla="*/ 54 w 78"/>
                  <a:gd name="T5" fmla="*/ 43 h 87"/>
                  <a:gd name="T6" fmla="*/ 69 w 78"/>
                  <a:gd name="T7" fmla="*/ 29 h 87"/>
                  <a:gd name="T8" fmla="*/ 67 w 78"/>
                  <a:gd name="T9" fmla="*/ 21 h 87"/>
                  <a:gd name="T10" fmla="*/ 70 w 78"/>
                  <a:gd name="T11" fmla="*/ 11 h 87"/>
                  <a:gd name="T12" fmla="*/ 69 w 78"/>
                  <a:gd name="T13" fmla="*/ 3 h 87"/>
                  <a:gd name="T14" fmla="*/ 64 w 78"/>
                  <a:gd name="T15" fmla="*/ 0 h 87"/>
                  <a:gd name="T16" fmla="*/ 63 w 78"/>
                  <a:gd name="T17" fmla="*/ 0 h 87"/>
                  <a:gd name="T18" fmla="*/ 63 w 78"/>
                  <a:gd name="T19" fmla="*/ 12 h 87"/>
                  <a:gd name="T20" fmla="*/ 42 w 78"/>
                  <a:gd name="T21" fmla="*/ 25 h 87"/>
                  <a:gd name="T22" fmla="*/ 42 w 78"/>
                  <a:gd name="T23" fmla="*/ 33 h 87"/>
                  <a:gd name="T24" fmla="*/ 33 w 78"/>
                  <a:gd name="T25" fmla="*/ 36 h 87"/>
                  <a:gd name="T26" fmla="*/ 39 w 78"/>
                  <a:gd name="T27" fmla="*/ 33 h 87"/>
                  <a:gd name="T28" fmla="*/ 39 w 78"/>
                  <a:gd name="T29" fmla="*/ 23 h 87"/>
                  <a:gd name="T30" fmla="*/ 36 w 78"/>
                  <a:gd name="T31" fmla="*/ 0 h 87"/>
                  <a:gd name="T32" fmla="*/ 36 w 78"/>
                  <a:gd name="T33" fmla="*/ 0 h 87"/>
                  <a:gd name="T34" fmla="*/ 36 w 78"/>
                  <a:gd name="T35" fmla="*/ 8 h 87"/>
                  <a:gd name="T36" fmla="*/ 30 w 78"/>
                  <a:gd name="T37" fmla="*/ 24 h 87"/>
                  <a:gd name="T38" fmla="*/ 1 w 78"/>
                  <a:gd name="T39" fmla="*/ 29 h 87"/>
                  <a:gd name="T40" fmla="*/ 0 w 78"/>
                  <a:gd name="T41" fmla="*/ 31 h 87"/>
                  <a:gd name="T42" fmla="*/ 18 w 78"/>
                  <a:gd name="T43" fmla="*/ 39 h 87"/>
                  <a:gd name="T44" fmla="*/ 25 w 78"/>
                  <a:gd name="T45" fmla="*/ 36 h 87"/>
                  <a:gd name="T46" fmla="*/ 25 w 78"/>
                  <a:gd name="T47" fmla="*/ 36 h 87"/>
                  <a:gd name="T48" fmla="*/ 3 w 78"/>
                  <a:gd name="T49" fmla="*/ 62 h 87"/>
                  <a:gd name="T50" fmla="*/ 5 w 78"/>
                  <a:gd name="T51" fmla="*/ 67 h 87"/>
                  <a:gd name="T52" fmla="*/ 12 w 78"/>
                  <a:gd name="T53" fmla="*/ 66 h 87"/>
                  <a:gd name="T54" fmla="*/ 22 w 78"/>
                  <a:gd name="T55" fmla="*/ 74 h 87"/>
                  <a:gd name="T56" fmla="*/ 25 w 78"/>
                  <a:gd name="T57" fmla="*/ 61 h 87"/>
                  <a:gd name="T58" fmla="*/ 30 w 78"/>
                  <a:gd name="T59" fmla="*/ 49 h 87"/>
                  <a:gd name="T60" fmla="*/ 48 w 78"/>
                  <a:gd name="T61" fmla="*/ 63 h 87"/>
                  <a:gd name="T62" fmla="*/ 24 w 78"/>
                  <a:gd name="T63" fmla="*/ 71 h 87"/>
                  <a:gd name="T64" fmla="*/ 48 w 78"/>
                  <a:gd name="T65" fmla="*/ 71 h 87"/>
                  <a:gd name="T66" fmla="*/ 51 w 78"/>
                  <a:gd name="T67" fmla="*/ 69 h 87"/>
                  <a:gd name="T68" fmla="*/ 77 w 78"/>
                  <a:gd name="T69" fmla="*/ 87 h 87"/>
                  <a:gd name="T70" fmla="*/ 78 w 78"/>
                  <a:gd name="T71" fmla="*/ 86 h 87"/>
                  <a:gd name="T72" fmla="*/ 55 w 78"/>
                  <a:gd name="T73" fmla="*/ 64 h 87"/>
                  <a:gd name="T74" fmla="*/ 15 w 78"/>
                  <a:gd name="T75" fmla="*/ 64 h 87"/>
                  <a:gd name="T76" fmla="*/ 15 w 78"/>
                  <a:gd name="T77" fmla="*/ 65 h 87"/>
                  <a:gd name="T78" fmla="*/ 11 w 78"/>
                  <a:gd name="T79" fmla="*/ 63 h 87"/>
                  <a:gd name="T80" fmla="*/ 12 w 78"/>
                  <a:gd name="T81" fmla="*/ 60 h 87"/>
                  <a:gd name="T82" fmla="*/ 15 w 78"/>
                  <a:gd name="T83" fmla="*/ 57 h 87"/>
                  <a:gd name="T84" fmla="*/ 17 w 78"/>
                  <a:gd name="T85" fmla="*/ 58 h 87"/>
                  <a:gd name="T86" fmla="*/ 15 w 78"/>
                  <a:gd name="T87" fmla="*/ 64 h 87"/>
                  <a:gd name="T88" fmla="*/ 32 w 78"/>
                  <a:gd name="T89" fmla="*/ 46 h 87"/>
                  <a:gd name="T90" fmla="*/ 44 w 78"/>
                  <a:gd name="T91" fmla="*/ 34 h 87"/>
                  <a:gd name="T92" fmla="*/ 52 w 78"/>
                  <a:gd name="T93" fmla="*/ 35 h 87"/>
                  <a:gd name="T94" fmla="*/ 46 w 78"/>
                  <a:gd name="T95" fmla="*/ 50 h 87"/>
                  <a:gd name="T96" fmla="*/ 48 w 78"/>
                  <a:gd name="T97" fmla="*/ 52 h 87"/>
                  <a:gd name="T98" fmla="*/ 56 w 78"/>
                  <a:gd name="T99" fmla="*/ 50 h 87"/>
                  <a:gd name="T100" fmla="*/ 52 w 78"/>
                  <a:gd name="T101" fmla="*/ 61 h 87"/>
                  <a:gd name="T102" fmla="*/ 32 w 78"/>
                  <a:gd name="T103" fmla="*/ 46 h 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78" h="87">
                    <a:moveTo>
                      <a:pt x="55" y="64"/>
                    </a:moveTo>
                    <a:cubicBezTo>
                      <a:pt x="58" y="60"/>
                      <a:pt x="60" y="55"/>
                      <a:pt x="62" y="50"/>
                    </a:cubicBezTo>
                    <a:cubicBezTo>
                      <a:pt x="61" y="47"/>
                      <a:pt x="58" y="44"/>
                      <a:pt x="54" y="43"/>
                    </a:cubicBezTo>
                    <a:cubicBezTo>
                      <a:pt x="57" y="36"/>
                      <a:pt x="64" y="33"/>
                      <a:pt x="69" y="29"/>
                    </a:cubicBezTo>
                    <a:cubicBezTo>
                      <a:pt x="69" y="25"/>
                      <a:pt x="67" y="24"/>
                      <a:pt x="67" y="21"/>
                    </a:cubicBezTo>
                    <a:cubicBezTo>
                      <a:pt x="68" y="18"/>
                      <a:pt x="69" y="15"/>
                      <a:pt x="70" y="11"/>
                    </a:cubicBezTo>
                    <a:cubicBezTo>
                      <a:pt x="70" y="9"/>
                      <a:pt x="69" y="6"/>
                      <a:pt x="69" y="3"/>
                    </a:cubicBezTo>
                    <a:cubicBezTo>
                      <a:pt x="68" y="2"/>
                      <a:pt x="67" y="1"/>
                      <a:pt x="64" y="0"/>
                    </a:cubicBezTo>
                    <a:cubicBezTo>
                      <a:pt x="64" y="0"/>
                      <a:pt x="63" y="0"/>
                      <a:pt x="63" y="0"/>
                    </a:cubicBezTo>
                    <a:cubicBezTo>
                      <a:pt x="61" y="5"/>
                      <a:pt x="63" y="8"/>
                      <a:pt x="63" y="12"/>
                    </a:cubicBezTo>
                    <a:cubicBezTo>
                      <a:pt x="63" y="24"/>
                      <a:pt x="52" y="26"/>
                      <a:pt x="42" y="25"/>
                    </a:cubicBezTo>
                    <a:cubicBezTo>
                      <a:pt x="41" y="28"/>
                      <a:pt x="41" y="31"/>
                      <a:pt x="42" y="33"/>
                    </a:cubicBezTo>
                    <a:cubicBezTo>
                      <a:pt x="39" y="34"/>
                      <a:pt x="36" y="35"/>
                      <a:pt x="33" y="36"/>
                    </a:cubicBezTo>
                    <a:cubicBezTo>
                      <a:pt x="34" y="32"/>
                      <a:pt x="36" y="32"/>
                      <a:pt x="39" y="33"/>
                    </a:cubicBezTo>
                    <a:cubicBezTo>
                      <a:pt x="41" y="29"/>
                      <a:pt x="38" y="27"/>
                      <a:pt x="39" y="23"/>
                    </a:cubicBezTo>
                    <a:cubicBezTo>
                      <a:pt x="39" y="14"/>
                      <a:pt x="53" y="6"/>
                      <a:pt x="36" y="0"/>
                    </a:cubicBezTo>
                    <a:cubicBezTo>
                      <a:pt x="36" y="0"/>
                      <a:pt x="36" y="0"/>
                      <a:pt x="36" y="0"/>
                    </a:cubicBezTo>
                    <a:cubicBezTo>
                      <a:pt x="35" y="3"/>
                      <a:pt x="36" y="5"/>
                      <a:pt x="36" y="8"/>
                    </a:cubicBezTo>
                    <a:cubicBezTo>
                      <a:pt x="34" y="14"/>
                      <a:pt x="32" y="19"/>
                      <a:pt x="30" y="24"/>
                    </a:cubicBezTo>
                    <a:cubicBezTo>
                      <a:pt x="22" y="26"/>
                      <a:pt x="9" y="26"/>
                      <a:pt x="1" y="29"/>
                    </a:cubicBezTo>
                    <a:cubicBezTo>
                      <a:pt x="1" y="30"/>
                      <a:pt x="1" y="30"/>
                      <a:pt x="0" y="31"/>
                    </a:cubicBezTo>
                    <a:cubicBezTo>
                      <a:pt x="1" y="35"/>
                      <a:pt x="12" y="39"/>
                      <a:pt x="18" y="39"/>
                    </a:cubicBezTo>
                    <a:cubicBezTo>
                      <a:pt x="20" y="38"/>
                      <a:pt x="22" y="37"/>
                      <a:pt x="25" y="36"/>
                    </a:cubicBezTo>
                    <a:cubicBezTo>
                      <a:pt x="25" y="36"/>
                      <a:pt x="25" y="36"/>
                      <a:pt x="25" y="36"/>
                    </a:cubicBezTo>
                    <a:cubicBezTo>
                      <a:pt x="21" y="52"/>
                      <a:pt x="9" y="50"/>
                      <a:pt x="3" y="62"/>
                    </a:cubicBezTo>
                    <a:cubicBezTo>
                      <a:pt x="4" y="63"/>
                      <a:pt x="4" y="65"/>
                      <a:pt x="5" y="67"/>
                    </a:cubicBezTo>
                    <a:cubicBezTo>
                      <a:pt x="7" y="67"/>
                      <a:pt x="10" y="67"/>
                      <a:pt x="12" y="66"/>
                    </a:cubicBezTo>
                    <a:cubicBezTo>
                      <a:pt x="17" y="68"/>
                      <a:pt x="17" y="72"/>
                      <a:pt x="22" y="74"/>
                    </a:cubicBezTo>
                    <a:cubicBezTo>
                      <a:pt x="25" y="71"/>
                      <a:pt x="24" y="66"/>
                      <a:pt x="25" y="61"/>
                    </a:cubicBezTo>
                    <a:cubicBezTo>
                      <a:pt x="25" y="56"/>
                      <a:pt x="28" y="52"/>
                      <a:pt x="30" y="49"/>
                    </a:cubicBezTo>
                    <a:cubicBezTo>
                      <a:pt x="40" y="53"/>
                      <a:pt x="42" y="58"/>
                      <a:pt x="48" y="63"/>
                    </a:cubicBezTo>
                    <a:cubicBezTo>
                      <a:pt x="44" y="74"/>
                      <a:pt x="29" y="63"/>
                      <a:pt x="24" y="71"/>
                    </a:cubicBezTo>
                    <a:cubicBezTo>
                      <a:pt x="39" y="78"/>
                      <a:pt x="36" y="74"/>
                      <a:pt x="48" y="71"/>
                    </a:cubicBezTo>
                    <a:cubicBezTo>
                      <a:pt x="49" y="70"/>
                      <a:pt x="50" y="70"/>
                      <a:pt x="51" y="69"/>
                    </a:cubicBezTo>
                    <a:cubicBezTo>
                      <a:pt x="58" y="79"/>
                      <a:pt x="58" y="87"/>
                      <a:pt x="77" y="87"/>
                    </a:cubicBezTo>
                    <a:cubicBezTo>
                      <a:pt x="77" y="87"/>
                      <a:pt x="78" y="86"/>
                      <a:pt x="78" y="86"/>
                    </a:cubicBezTo>
                    <a:cubicBezTo>
                      <a:pt x="74" y="76"/>
                      <a:pt x="60" y="73"/>
                      <a:pt x="55" y="64"/>
                    </a:cubicBezTo>
                    <a:close/>
                    <a:moveTo>
                      <a:pt x="15" y="64"/>
                    </a:moveTo>
                    <a:cubicBezTo>
                      <a:pt x="15" y="65"/>
                      <a:pt x="15" y="65"/>
                      <a:pt x="15" y="65"/>
                    </a:cubicBezTo>
                    <a:cubicBezTo>
                      <a:pt x="14" y="64"/>
                      <a:pt x="13" y="64"/>
                      <a:pt x="11" y="63"/>
                    </a:cubicBezTo>
                    <a:cubicBezTo>
                      <a:pt x="11" y="62"/>
                      <a:pt x="12" y="61"/>
                      <a:pt x="12" y="60"/>
                    </a:cubicBezTo>
                    <a:cubicBezTo>
                      <a:pt x="13" y="59"/>
                      <a:pt x="14" y="58"/>
                      <a:pt x="15" y="57"/>
                    </a:cubicBezTo>
                    <a:cubicBezTo>
                      <a:pt x="16" y="57"/>
                      <a:pt x="16" y="58"/>
                      <a:pt x="17" y="58"/>
                    </a:cubicBezTo>
                    <a:cubicBezTo>
                      <a:pt x="16" y="60"/>
                      <a:pt x="16" y="62"/>
                      <a:pt x="15" y="64"/>
                    </a:cubicBezTo>
                    <a:close/>
                    <a:moveTo>
                      <a:pt x="32" y="46"/>
                    </a:moveTo>
                    <a:cubicBezTo>
                      <a:pt x="35" y="43"/>
                      <a:pt x="44" y="37"/>
                      <a:pt x="44" y="34"/>
                    </a:cubicBezTo>
                    <a:cubicBezTo>
                      <a:pt x="47" y="34"/>
                      <a:pt x="49" y="35"/>
                      <a:pt x="52" y="35"/>
                    </a:cubicBezTo>
                    <a:cubicBezTo>
                      <a:pt x="50" y="40"/>
                      <a:pt x="45" y="44"/>
                      <a:pt x="46" y="50"/>
                    </a:cubicBezTo>
                    <a:cubicBezTo>
                      <a:pt x="46" y="51"/>
                      <a:pt x="47" y="51"/>
                      <a:pt x="48" y="52"/>
                    </a:cubicBezTo>
                    <a:cubicBezTo>
                      <a:pt x="50" y="51"/>
                      <a:pt x="53" y="49"/>
                      <a:pt x="56" y="50"/>
                    </a:cubicBezTo>
                    <a:cubicBezTo>
                      <a:pt x="55" y="54"/>
                      <a:pt x="53" y="57"/>
                      <a:pt x="52" y="61"/>
                    </a:cubicBezTo>
                    <a:cubicBezTo>
                      <a:pt x="45" y="56"/>
                      <a:pt x="44" y="49"/>
                      <a:pt x="32" y="46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1048889" name="ï$ľíḍe"/>
              <p:cNvSpPr/>
              <p:nvPr/>
            </p:nvSpPr>
            <p:spPr bwMode="auto">
              <a:xfrm>
                <a:off x="2255734" y="4491628"/>
                <a:ext cx="136525" cy="174625"/>
              </a:xfrm>
              <a:custGeom>
                <a:avLst/>
                <a:gdLst>
                  <a:gd name="T0" fmla="*/ 74 w 74"/>
                  <a:gd name="T1" fmla="*/ 41 h 94"/>
                  <a:gd name="T2" fmla="*/ 64 w 74"/>
                  <a:gd name="T3" fmla="*/ 35 h 94"/>
                  <a:gd name="T4" fmla="*/ 51 w 74"/>
                  <a:gd name="T5" fmla="*/ 5 h 94"/>
                  <a:gd name="T6" fmla="*/ 58 w 74"/>
                  <a:gd name="T7" fmla="*/ 39 h 94"/>
                  <a:gd name="T8" fmla="*/ 47 w 74"/>
                  <a:gd name="T9" fmla="*/ 47 h 94"/>
                  <a:gd name="T10" fmla="*/ 55 w 74"/>
                  <a:gd name="T11" fmla="*/ 34 h 94"/>
                  <a:gd name="T12" fmla="*/ 47 w 74"/>
                  <a:gd name="T13" fmla="*/ 29 h 94"/>
                  <a:gd name="T14" fmla="*/ 54 w 74"/>
                  <a:gd name="T15" fmla="*/ 22 h 94"/>
                  <a:gd name="T16" fmla="*/ 54 w 74"/>
                  <a:gd name="T17" fmla="*/ 20 h 94"/>
                  <a:gd name="T18" fmla="*/ 54 w 74"/>
                  <a:gd name="T19" fmla="*/ 19 h 94"/>
                  <a:gd name="T20" fmla="*/ 41 w 74"/>
                  <a:gd name="T21" fmla="*/ 19 h 94"/>
                  <a:gd name="T22" fmla="*/ 44 w 74"/>
                  <a:gd name="T23" fmla="*/ 22 h 94"/>
                  <a:gd name="T24" fmla="*/ 44 w 74"/>
                  <a:gd name="T25" fmla="*/ 32 h 94"/>
                  <a:gd name="T26" fmla="*/ 48 w 74"/>
                  <a:gd name="T27" fmla="*/ 37 h 94"/>
                  <a:gd name="T28" fmla="*/ 40 w 74"/>
                  <a:gd name="T29" fmla="*/ 58 h 94"/>
                  <a:gd name="T30" fmla="*/ 44 w 74"/>
                  <a:gd name="T31" fmla="*/ 61 h 94"/>
                  <a:gd name="T32" fmla="*/ 59 w 74"/>
                  <a:gd name="T33" fmla="*/ 46 h 94"/>
                  <a:gd name="T34" fmla="*/ 59 w 74"/>
                  <a:gd name="T35" fmla="*/ 46 h 94"/>
                  <a:gd name="T36" fmla="*/ 66 w 74"/>
                  <a:gd name="T37" fmla="*/ 93 h 94"/>
                  <a:gd name="T38" fmla="*/ 68 w 74"/>
                  <a:gd name="T39" fmla="*/ 93 h 94"/>
                  <a:gd name="T40" fmla="*/ 65 w 74"/>
                  <a:gd name="T41" fmla="*/ 42 h 94"/>
                  <a:gd name="T42" fmla="*/ 73 w 74"/>
                  <a:gd name="T43" fmla="*/ 41 h 94"/>
                  <a:gd name="T44" fmla="*/ 74 w 74"/>
                  <a:gd name="T45" fmla="*/ 41 h 94"/>
                  <a:gd name="T46" fmla="*/ 43 w 74"/>
                  <a:gd name="T47" fmla="*/ 42 h 94"/>
                  <a:gd name="T48" fmla="*/ 35 w 74"/>
                  <a:gd name="T49" fmla="*/ 48 h 94"/>
                  <a:gd name="T50" fmla="*/ 39 w 74"/>
                  <a:gd name="T51" fmla="*/ 38 h 94"/>
                  <a:gd name="T52" fmla="*/ 37 w 74"/>
                  <a:gd name="T53" fmla="*/ 29 h 94"/>
                  <a:gd name="T54" fmla="*/ 40 w 74"/>
                  <a:gd name="T55" fmla="*/ 27 h 94"/>
                  <a:gd name="T56" fmla="*/ 34 w 74"/>
                  <a:gd name="T57" fmla="*/ 16 h 94"/>
                  <a:gd name="T58" fmla="*/ 32 w 74"/>
                  <a:gd name="T59" fmla="*/ 15 h 94"/>
                  <a:gd name="T60" fmla="*/ 4 w 74"/>
                  <a:gd name="T61" fmla="*/ 46 h 94"/>
                  <a:gd name="T62" fmla="*/ 30 w 74"/>
                  <a:gd name="T63" fmla="*/ 29 h 94"/>
                  <a:gd name="T64" fmla="*/ 8 w 74"/>
                  <a:gd name="T65" fmla="*/ 52 h 94"/>
                  <a:gd name="T66" fmla="*/ 0 w 74"/>
                  <a:gd name="T67" fmla="*/ 56 h 94"/>
                  <a:gd name="T68" fmla="*/ 3 w 74"/>
                  <a:gd name="T69" fmla="*/ 61 h 94"/>
                  <a:gd name="T70" fmla="*/ 23 w 74"/>
                  <a:gd name="T71" fmla="*/ 54 h 94"/>
                  <a:gd name="T72" fmla="*/ 25 w 74"/>
                  <a:gd name="T73" fmla="*/ 53 h 94"/>
                  <a:gd name="T74" fmla="*/ 25 w 74"/>
                  <a:gd name="T75" fmla="*/ 53 h 94"/>
                  <a:gd name="T76" fmla="*/ 20 w 74"/>
                  <a:gd name="T77" fmla="*/ 72 h 94"/>
                  <a:gd name="T78" fmla="*/ 25 w 74"/>
                  <a:gd name="T79" fmla="*/ 76 h 94"/>
                  <a:gd name="T80" fmla="*/ 26 w 74"/>
                  <a:gd name="T81" fmla="*/ 76 h 94"/>
                  <a:gd name="T82" fmla="*/ 30 w 74"/>
                  <a:gd name="T83" fmla="*/ 67 h 94"/>
                  <a:gd name="T84" fmla="*/ 31 w 74"/>
                  <a:gd name="T85" fmla="*/ 66 h 94"/>
                  <a:gd name="T86" fmla="*/ 32 w 74"/>
                  <a:gd name="T87" fmla="*/ 75 h 94"/>
                  <a:gd name="T88" fmla="*/ 35 w 74"/>
                  <a:gd name="T89" fmla="*/ 76 h 94"/>
                  <a:gd name="T90" fmla="*/ 38 w 74"/>
                  <a:gd name="T91" fmla="*/ 76 h 94"/>
                  <a:gd name="T92" fmla="*/ 35 w 74"/>
                  <a:gd name="T93" fmla="*/ 61 h 94"/>
                  <a:gd name="T94" fmla="*/ 43 w 74"/>
                  <a:gd name="T95" fmla="*/ 42 h 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74" h="94">
                    <a:moveTo>
                      <a:pt x="74" y="41"/>
                    </a:moveTo>
                    <a:cubicBezTo>
                      <a:pt x="73" y="36"/>
                      <a:pt x="70" y="34"/>
                      <a:pt x="64" y="35"/>
                    </a:cubicBezTo>
                    <a:cubicBezTo>
                      <a:pt x="63" y="24"/>
                      <a:pt x="67" y="0"/>
                      <a:pt x="51" y="5"/>
                    </a:cubicBezTo>
                    <a:cubicBezTo>
                      <a:pt x="50" y="9"/>
                      <a:pt x="61" y="31"/>
                      <a:pt x="58" y="39"/>
                    </a:cubicBezTo>
                    <a:cubicBezTo>
                      <a:pt x="58" y="39"/>
                      <a:pt x="47" y="47"/>
                      <a:pt x="47" y="47"/>
                    </a:cubicBezTo>
                    <a:cubicBezTo>
                      <a:pt x="48" y="41"/>
                      <a:pt x="53" y="39"/>
                      <a:pt x="55" y="34"/>
                    </a:cubicBezTo>
                    <a:cubicBezTo>
                      <a:pt x="56" y="30"/>
                      <a:pt x="49" y="31"/>
                      <a:pt x="47" y="29"/>
                    </a:cubicBezTo>
                    <a:cubicBezTo>
                      <a:pt x="48" y="26"/>
                      <a:pt x="51" y="23"/>
                      <a:pt x="54" y="22"/>
                    </a:cubicBezTo>
                    <a:cubicBezTo>
                      <a:pt x="54" y="21"/>
                      <a:pt x="54" y="21"/>
                      <a:pt x="54" y="20"/>
                    </a:cubicBezTo>
                    <a:cubicBezTo>
                      <a:pt x="54" y="20"/>
                      <a:pt x="54" y="19"/>
                      <a:pt x="54" y="19"/>
                    </a:cubicBezTo>
                    <a:cubicBezTo>
                      <a:pt x="50" y="17"/>
                      <a:pt x="45" y="17"/>
                      <a:pt x="41" y="19"/>
                    </a:cubicBezTo>
                    <a:cubicBezTo>
                      <a:pt x="41" y="22"/>
                      <a:pt x="42" y="22"/>
                      <a:pt x="44" y="22"/>
                    </a:cubicBezTo>
                    <a:cubicBezTo>
                      <a:pt x="44" y="26"/>
                      <a:pt x="44" y="29"/>
                      <a:pt x="44" y="32"/>
                    </a:cubicBezTo>
                    <a:cubicBezTo>
                      <a:pt x="45" y="34"/>
                      <a:pt x="47" y="35"/>
                      <a:pt x="48" y="37"/>
                    </a:cubicBezTo>
                    <a:cubicBezTo>
                      <a:pt x="46" y="41"/>
                      <a:pt x="35" y="51"/>
                      <a:pt x="40" y="58"/>
                    </a:cubicBezTo>
                    <a:cubicBezTo>
                      <a:pt x="41" y="60"/>
                      <a:pt x="42" y="60"/>
                      <a:pt x="44" y="61"/>
                    </a:cubicBezTo>
                    <a:cubicBezTo>
                      <a:pt x="49" y="55"/>
                      <a:pt x="51" y="50"/>
                      <a:pt x="59" y="46"/>
                    </a:cubicBezTo>
                    <a:cubicBezTo>
                      <a:pt x="59" y="46"/>
                      <a:pt x="59" y="46"/>
                      <a:pt x="59" y="46"/>
                    </a:cubicBezTo>
                    <a:cubicBezTo>
                      <a:pt x="61" y="60"/>
                      <a:pt x="59" y="83"/>
                      <a:pt x="66" y="93"/>
                    </a:cubicBezTo>
                    <a:cubicBezTo>
                      <a:pt x="67" y="94"/>
                      <a:pt x="67" y="93"/>
                      <a:pt x="68" y="93"/>
                    </a:cubicBezTo>
                    <a:cubicBezTo>
                      <a:pt x="68" y="78"/>
                      <a:pt x="67" y="60"/>
                      <a:pt x="65" y="42"/>
                    </a:cubicBezTo>
                    <a:cubicBezTo>
                      <a:pt x="68" y="42"/>
                      <a:pt x="72" y="42"/>
                      <a:pt x="73" y="41"/>
                    </a:cubicBezTo>
                    <a:cubicBezTo>
                      <a:pt x="74" y="41"/>
                      <a:pt x="74" y="41"/>
                      <a:pt x="74" y="41"/>
                    </a:cubicBezTo>
                    <a:close/>
                    <a:moveTo>
                      <a:pt x="43" y="42"/>
                    </a:moveTo>
                    <a:cubicBezTo>
                      <a:pt x="39" y="44"/>
                      <a:pt x="38" y="46"/>
                      <a:pt x="35" y="48"/>
                    </a:cubicBezTo>
                    <a:cubicBezTo>
                      <a:pt x="35" y="42"/>
                      <a:pt x="39" y="42"/>
                      <a:pt x="39" y="38"/>
                    </a:cubicBezTo>
                    <a:cubicBezTo>
                      <a:pt x="40" y="35"/>
                      <a:pt x="37" y="33"/>
                      <a:pt x="37" y="29"/>
                    </a:cubicBezTo>
                    <a:cubicBezTo>
                      <a:pt x="38" y="28"/>
                      <a:pt x="39" y="28"/>
                      <a:pt x="40" y="27"/>
                    </a:cubicBezTo>
                    <a:cubicBezTo>
                      <a:pt x="41" y="24"/>
                      <a:pt x="36" y="16"/>
                      <a:pt x="34" y="16"/>
                    </a:cubicBezTo>
                    <a:cubicBezTo>
                      <a:pt x="33" y="16"/>
                      <a:pt x="32" y="15"/>
                      <a:pt x="32" y="15"/>
                    </a:cubicBezTo>
                    <a:cubicBezTo>
                      <a:pt x="22" y="28"/>
                      <a:pt x="10" y="30"/>
                      <a:pt x="4" y="46"/>
                    </a:cubicBezTo>
                    <a:cubicBezTo>
                      <a:pt x="13" y="41"/>
                      <a:pt x="17" y="31"/>
                      <a:pt x="30" y="29"/>
                    </a:cubicBezTo>
                    <a:cubicBezTo>
                      <a:pt x="29" y="39"/>
                      <a:pt x="16" y="48"/>
                      <a:pt x="8" y="52"/>
                    </a:cubicBezTo>
                    <a:cubicBezTo>
                      <a:pt x="4" y="54"/>
                      <a:pt x="2" y="52"/>
                      <a:pt x="0" y="56"/>
                    </a:cubicBezTo>
                    <a:cubicBezTo>
                      <a:pt x="0" y="59"/>
                      <a:pt x="1" y="60"/>
                      <a:pt x="3" y="61"/>
                    </a:cubicBezTo>
                    <a:cubicBezTo>
                      <a:pt x="10" y="63"/>
                      <a:pt x="22" y="58"/>
                      <a:pt x="23" y="54"/>
                    </a:cubicBezTo>
                    <a:cubicBezTo>
                      <a:pt x="24" y="54"/>
                      <a:pt x="24" y="53"/>
                      <a:pt x="25" y="53"/>
                    </a:cubicBezTo>
                    <a:cubicBezTo>
                      <a:pt x="25" y="53"/>
                      <a:pt x="25" y="53"/>
                      <a:pt x="25" y="53"/>
                    </a:cubicBezTo>
                    <a:cubicBezTo>
                      <a:pt x="23" y="59"/>
                      <a:pt x="22" y="66"/>
                      <a:pt x="20" y="72"/>
                    </a:cubicBezTo>
                    <a:cubicBezTo>
                      <a:pt x="21" y="74"/>
                      <a:pt x="23" y="75"/>
                      <a:pt x="25" y="76"/>
                    </a:cubicBezTo>
                    <a:cubicBezTo>
                      <a:pt x="25" y="76"/>
                      <a:pt x="26" y="76"/>
                      <a:pt x="26" y="76"/>
                    </a:cubicBezTo>
                    <a:cubicBezTo>
                      <a:pt x="28" y="73"/>
                      <a:pt x="29" y="70"/>
                      <a:pt x="30" y="67"/>
                    </a:cubicBezTo>
                    <a:cubicBezTo>
                      <a:pt x="31" y="67"/>
                      <a:pt x="31" y="67"/>
                      <a:pt x="31" y="66"/>
                    </a:cubicBezTo>
                    <a:cubicBezTo>
                      <a:pt x="32" y="69"/>
                      <a:pt x="32" y="72"/>
                      <a:pt x="32" y="75"/>
                    </a:cubicBezTo>
                    <a:cubicBezTo>
                      <a:pt x="33" y="75"/>
                      <a:pt x="34" y="76"/>
                      <a:pt x="35" y="76"/>
                    </a:cubicBezTo>
                    <a:cubicBezTo>
                      <a:pt x="36" y="76"/>
                      <a:pt x="37" y="76"/>
                      <a:pt x="38" y="76"/>
                    </a:cubicBezTo>
                    <a:cubicBezTo>
                      <a:pt x="37" y="71"/>
                      <a:pt x="36" y="66"/>
                      <a:pt x="35" y="61"/>
                    </a:cubicBezTo>
                    <a:cubicBezTo>
                      <a:pt x="38" y="54"/>
                      <a:pt x="40" y="48"/>
                      <a:pt x="43" y="42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1048890" name="î$ḻîḑe"/>
              <p:cNvSpPr/>
              <p:nvPr/>
            </p:nvSpPr>
            <p:spPr bwMode="auto">
              <a:xfrm>
                <a:off x="2055709" y="4566240"/>
                <a:ext cx="136525" cy="150813"/>
              </a:xfrm>
              <a:custGeom>
                <a:avLst/>
                <a:gdLst>
                  <a:gd name="T0" fmla="*/ 55 w 74"/>
                  <a:gd name="T1" fmla="*/ 53 h 82"/>
                  <a:gd name="T2" fmla="*/ 54 w 74"/>
                  <a:gd name="T3" fmla="*/ 51 h 82"/>
                  <a:gd name="T4" fmla="*/ 57 w 74"/>
                  <a:gd name="T5" fmla="*/ 49 h 82"/>
                  <a:gd name="T6" fmla="*/ 56 w 74"/>
                  <a:gd name="T7" fmla="*/ 45 h 82"/>
                  <a:gd name="T8" fmla="*/ 52 w 74"/>
                  <a:gd name="T9" fmla="*/ 45 h 82"/>
                  <a:gd name="T10" fmla="*/ 51 w 74"/>
                  <a:gd name="T11" fmla="*/ 44 h 82"/>
                  <a:gd name="T12" fmla="*/ 60 w 74"/>
                  <a:gd name="T13" fmla="*/ 32 h 82"/>
                  <a:gd name="T14" fmla="*/ 60 w 74"/>
                  <a:gd name="T15" fmla="*/ 30 h 82"/>
                  <a:gd name="T16" fmla="*/ 34 w 74"/>
                  <a:gd name="T17" fmla="*/ 38 h 82"/>
                  <a:gd name="T18" fmla="*/ 33 w 74"/>
                  <a:gd name="T19" fmla="*/ 38 h 82"/>
                  <a:gd name="T20" fmla="*/ 60 w 74"/>
                  <a:gd name="T21" fmla="*/ 16 h 82"/>
                  <a:gd name="T22" fmla="*/ 61 w 74"/>
                  <a:gd name="T23" fmla="*/ 10 h 82"/>
                  <a:gd name="T24" fmla="*/ 42 w 74"/>
                  <a:gd name="T25" fmla="*/ 11 h 82"/>
                  <a:gd name="T26" fmla="*/ 27 w 74"/>
                  <a:gd name="T27" fmla="*/ 0 h 82"/>
                  <a:gd name="T28" fmla="*/ 24 w 74"/>
                  <a:gd name="T29" fmla="*/ 0 h 82"/>
                  <a:gd name="T30" fmla="*/ 29 w 74"/>
                  <a:gd name="T31" fmla="*/ 21 h 82"/>
                  <a:gd name="T32" fmla="*/ 11 w 74"/>
                  <a:gd name="T33" fmla="*/ 39 h 82"/>
                  <a:gd name="T34" fmla="*/ 1 w 74"/>
                  <a:gd name="T35" fmla="*/ 44 h 82"/>
                  <a:gd name="T36" fmla="*/ 0 w 74"/>
                  <a:gd name="T37" fmla="*/ 47 h 82"/>
                  <a:gd name="T38" fmla="*/ 35 w 74"/>
                  <a:gd name="T39" fmla="*/ 26 h 82"/>
                  <a:gd name="T40" fmla="*/ 35 w 74"/>
                  <a:gd name="T41" fmla="*/ 26 h 82"/>
                  <a:gd name="T42" fmla="*/ 30 w 74"/>
                  <a:gd name="T43" fmla="*/ 48 h 82"/>
                  <a:gd name="T44" fmla="*/ 40 w 74"/>
                  <a:gd name="T45" fmla="*/ 57 h 82"/>
                  <a:gd name="T46" fmla="*/ 35 w 74"/>
                  <a:gd name="T47" fmla="*/ 78 h 82"/>
                  <a:gd name="T48" fmla="*/ 45 w 74"/>
                  <a:gd name="T49" fmla="*/ 82 h 82"/>
                  <a:gd name="T50" fmla="*/ 47 w 74"/>
                  <a:gd name="T51" fmla="*/ 80 h 82"/>
                  <a:gd name="T52" fmla="*/ 46 w 74"/>
                  <a:gd name="T53" fmla="*/ 67 h 82"/>
                  <a:gd name="T54" fmla="*/ 47 w 74"/>
                  <a:gd name="T55" fmla="*/ 66 h 82"/>
                  <a:gd name="T56" fmla="*/ 50 w 74"/>
                  <a:gd name="T57" fmla="*/ 73 h 82"/>
                  <a:gd name="T58" fmla="*/ 58 w 74"/>
                  <a:gd name="T59" fmla="*/ 79 h 82"/>
                  <a:gd name="T60" fmla="*/ 59 w 74"/>
                  <a:gd name="T61" fmla="*/ 79 h 82"/>
                  <a:gd name="T62" fmla="*/ 53 w 74"/>
                  <a:gd name="T63" fmla="*/ 57 h 82"/>
                  <a:gd name="T64" fmla="*/ 56 w 74"/>
                  <a:gd name="T65" fmla="*/ 55 h 82"/>
                  <a:gd name="T66" fmla="*/ 56 w 74"/>
                  <a:gd name="T67" fmla="*/ 55 h 82"/>
                  <a:gd name="T68" fmla="*/ 69 w 74"/>
                  <a:gd name="T69" fmla="*/ 69 h 82"/>
                  <a:gd name="T70" fmla="*/ 74 w 74"/>
                  <a:gd name="T71" fmla="*/ 64 h 82"/>
                  <a:gd name="T72" fmla="*/ 55 w 74"/>
                  <a:gd name="T73" fmla="*/ 53 h 82"/>
                  <a:gd name="T74" fmla="*/ 40 w 74"/>
                  <a:gd name="T75" fmla="*/ 46 h 82"/>
                  <a:gd name="T76" fmla="*/ 39 w 74"/>
                  <a:gd name="T77" fmla="*/ 46 h 82"/>
                  <a:gd name="T78" fmla="*/ 38 w 74"/>
                  <a:gd name="T79" fmla="*/ 46 h 82"/>
                  <a:gd name="T80" fmla="*/ 37 w 74"/>
                  <a:gd name="T81" fmla="*/ 44 h 82"/>
                  <a:gd name="T82" fmla="*/ 44 w 74"/>
                  <a:gd name="T83" fmla="*/ 36 h 82"/>
                  <a:gd name="T84" fmla="*/ 46 w 74"/>
                  <a:gd name="T85" fmla="*/ 35 h 82"/>
                  <a:gd name="T86" fmla="*/ 46 w 74"/>
                  <a:gd name="T87" fmla="*/ 35 h 82"/>
                  <a:gd name="T88" fmla="*/ 40 w 74"/>
                  <a:gd name="T89" fmla="*/ 46 h 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74" h="82">
                    <a:moveTo>
                      <a:pt x="55" y="53"/>
                    </a:moveTo>
                    <a:cubicBezTo>
                      <a:pt x="55" y="53"/>
                      <a:pt x="54" y="52"/>
                      <a:pt x="54" y="51"/>
                    </a:cubicBezTo>
                    <a:cubicBezTo>
                      <a:pt x="55" y="51"/>
                      <a:pt x="56" y="50"/>
                      <a:pt x="57" y="49"/>
                    </a:cubicBezTo>
                    <a:cubicBezTo>
                      <a:pt x="57" y="48"/>
                      <a:pt x="56" y="47"/>
                      <a:pt x="56" y="45"/>
                    </a:cubicBezTo>
                    <a:cubicBezTo>
                      <a:pt x="54" y="45"/>
                      <a:pt x="53" y="45"/>
                      <a:pt x="52" y="45"/>
                    </a:cubicBezTo>
                    <a:cubicBezTo>
                      <a:pt x="51" y="45"/>
                      <a:pt x="51" y="44"/>
                      <a:pt x="51" y="44"/>
                    </a:cubicBezTo>
                    <a:cubicBezTo>
                      <a:pt x="53" y="40"/>
                      <a:pt x="59" y="36"/>
                      <a:pt x="60" y="32"/>
                    </a:cubicBezTo>
                    <a:cubicBezTo>
                      <a:pt x="60" y="31"/>
                      <a:pt x="60" y="31"/>
                      <a:pt x="60" y="30"/>
                    </a:cubicBezTo>
                    <a:cubicBezTo>
                      <a:pt x="50" y="21"/>
                      <a:pt x="41" y="31"/>
                      <a:pt x="34" y="38"/>
                    </a:cubicBezTo>
                    <a:cubicBezTo>
                      <a:pt x="33" y="38"/>
                      <a:pt x="33" y="38"/>
                      <a:pt x="33" y="38"/>
                    </a:cubicBezTo>
                    <a:cubicBezTo>
                      <a:pt x="34" y="30"/>
                      <a:pt x="48" y="16"/>
                      <a:pt x="60" y="16"/>
                    </a:cubicBezTo>
                    <a:cubicBezTo>
                      <a:pt x="61" y="14"/>
                      <a:pt x="61" y="12"/>
                      <a:pt x="61" y="10"/>
                    </a:cubicBezTo>
                    <a:cubicBezTo>
                      <a:pt x="50" y="3"/>
                      <a:pt x="52" y="11"/>
                      <a:pt x="42" y="11"/>
                    </a:cubicBezTo>
                    <a:cubicBezTo>
                      <a:pt x="38" y="10"/>
                      <a:pt x="32" y="1"/>
                      <a:pt x="27" y="0"/>
                    </a:cubicBezTo>
                    <a:cubicBezTo>
                      <a:pt x="26" y="0"/>
                      <a:pt x="25" y="0"/>
                      <a:pt x="24" y="0"/>
                    </a:cubicBezTo>
                    <a:cubicBezTo>
                      <a:pt x="21" y="5"/>
                      <a:pt x="30" y="14"/>
                      <a:pt x="29" y="21"/>
                    </a:cubicBezTo>
                    <a:cubicBezTo>
                      <a:pt x="19" y="27"/>
                      <a:pt x="17" y="33"/>
                      <a:pt x="11" y="39"/>
                    </a:cubicBezTo>
                    <a:cubicBezTo>
                      <a:pt x="8" y="42"/>
                      <a:pt x="4" y="42"/>
                      <a:pt x="1" y="44"/>
                    </a:cubicBezTo>
                    <a:cubicBezTo>
                      <a:pt x="1" y="45"/>
                      <a:pt x="0" y="46"/>
                      <a:pt x="0" y="47"/>
                    </a:cubicBezTo>
                    <a:cubicBezTo>
                      <a:pt x="11" y="69"/>
                      <a:pt x="23" y="30"/>
                      <a:pt x="35" y="26"/>
                    </a:cubicBezTo>
                    <a:cubicBezTo>
                      <a:pt x="35" y="26"/>
                      <a:pt x="35" y="26"/>
                      <a:pt x="35" y="26"/>
                    </a:cubicBezTo>
                    <a:cubicBezTo>
                      <a:pt x="33" y="33"/>
                      <a:pt x="28" y="39"/>
                      <a:pt x="30" y="48"/>
                    </a:cubicBezTo>
                    <a:cubicBezTo>
                      <a:pt x="30" y="51"/>
                      <a:pt x="37" y="56"/>
                      <a:pt x="40" y="57"/>
                    </a:cubicBezTo>
                    <a:cubicBezTo>
                      <a:pt x="37" y="64"/>
                      <a:pt x="32" y="69"/>
                      <a:pt x="35" y="78"/>
                    </a:cubicBezTo>
                    <a:cubicBezTo>
                      <a:pt x="39" y="79"/>
                      <a:pt x="42" y="80"/>
                      <a:pt x="45" y="82"/>
                    </a:cubicBezTo>
                    <a:cubicBezTo>
                      <a:pt x="46" y="81"/>
                      <a:pt x="46" y="81"/>
                      <a:pt x="47" y="80"/>
                    </a:cubicBezTo>
                    <a:cubicBezTo>
                      <a:pt x="49" y="77"/>
                      <a:pt x="45" y="70"/>
                      <a:pt x="46" y="67"/>
                    </a:cubicBezTo>
                    <a:cubicBezTo>
                      <a:pt x="46" y="66"/>
                      <a:pt x="46" y="66"/>
                      <a:pt x="47" y="66"/>
                    </a:cubicBezTo>
                    <a:cubicBezTo>
                      <a:pt x="48" y="67"/>
                      <a:pt x="49" y="71"/>
                      <a:pt x="50" y="73"/>
                    </a:cubicBezTo>
                    <a:cubicBezTo>
                      <a:pt x="52" y="76"/>
                      <a:pt x="55" y="77"/>
                      <a:pt x="58" y="79"/>
                    </a:cubicBezTo>
                    <a:cubicBezTo>
                      <a:pt x="58" y="79"/>
                      <a:pt x="58" y="79"/>
                      <a:pt x="59" y="79"/>
                    </a:cubicBezTo>
                    <a:cubicBezTo>
                      <a:pt x="60" y="72"/>
                      <a:pt x="53" y="64"/>
                      <a:pt x="53" y="57"/>
                    </a:cubicBezTo>
                    <a:cubicBezTo>
                      <a:pt x="54" y="56"/>
                      <a:pt x="55" y="56"/>
                      <a:pt x="56" y="55"/>
                    </a:cubicBezTo>
                    <a:cubicBezTo>
                      <a:pt x="56" y="55"/>
                      <a:pt x="56" y="55"/>
                      <a:pt x="56" y="55"/>
                    </a:cubicBezTo>
                    <a:cubicBezTo>
                      <a:pt x="63" y="60"/>
                      <a:pt x="59" y="67"/>
                      <a:pt x="69" y="69"/>
                    </a:cubicBezTo>
                    <a:cubicBezTo>
                      <a:pt x="71" y="67"/>
                      <a:pt x="72" y="66"/>
                      <a:pt x="74" y="64"/>
                    </a:cubicBezTo>
                    <a:cubicBezTo>
                      <a:pt x="71" y="56"/>
                      <a:pt x="63" y="51"/>
                      <a:pt x="55" y="53"/>
                    </a:cubicBezTo>
                    <a:close/>
                    <a:moveTo>
                      <a:pt x="40" y="46"/>
                    </a:moveTo>
                    <a:cubicBezTo>
                      <a:pt x="40" y="46"/>
                      <a:pt x="39" y="46"/>
                      <a:pt x="39" y="46"/>
                    </a:cubicBezTo>
                    <a:cubicBezTo>
                      <a:pt x="38" y="46"/>
                      <a:pt x="38" y="46"/>
                      <a:pt x="38" y="46"/>
                    </a:cubicBezTo>
                    <a:cubicBezTo>
                      <a:pt x="38" y="45"/>
                      <a:pt x="37" y="45"/>
                      <a:pt x="37" y="44"/>
                    </a:cubicBezTo>
                    <a:cubicBezTo>
                      <a:pt x="39" y="41"/>
                      <a:pt x="42" y="39"/>
                      <a:pt x="44" y="36"/>
                    </a:cubicBezTo>
                    <a:cubicBezTo>
                      <a:pt x="45" y="36"/>
                      <a:pt x="45" y="35"/>
                      <a:pt x="46" y="35"/>
                    </a:cubicBezTo>
                    <a:cubicBezTo>
                      <a:pt x="46" y="35"/>
                      <a:pt x="46" y="35"/>
                      <a:pt x="46" y="35"/>
                    </a:cubicBezTo>
                    <a:cubicBezTo>
                      <a:pt x="44" y="39"/>
                      <a:pt x="42" y="42"/>
                      <a:pt x="40" y="46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1048891" name="ïşḻíḍe"/>
              <p:cNvSpPr/>
              <p:nvPr/>
            </p:nvSpPr>
            <p:spPr bwMode="auto">
              <a:xfrm>
                <a:off x="1882672" y="4669428"/>
                <a:ext cx="160338" cy="169863"/>
              </a:xfrm>
              <a:custGeom>
                <a:avLst/>
                <a:gdLst>
                  <a:gd name="T0" fmla="*/ 29 w 87"/>
                  <a:gd name="T1" fmla="*/ 8 h 92"/>
                  <a:gd name="T2" fmla="*/ 52 w 87"/>
                  <a:gd name="T3" fmla="*/ 17 h 92"/>
                  <a:gd name="T4" fmla="*/ 61 w 87"/>
                  <a:gd name="T5" fmla="*/ 16 h 92"/>
                  <a:gd name="T6" fmla="*/ 62 w 87"/>
                  <a:gd name="T7" fmla="*/ 17 h 92"/>
                  <a:gd name="T8" fmla="*/ 69 w 87"/>
                  <a:gd name="T9" fmla="*/ 42 h 92"/>
                  <a:gd name="T10" fmla="*/ 86 w 87"/>
                  <a:gd name="T11" fmla="*/ 35 h 92"/>
                  <a:gd name="T12" fmla="*/ 87 w 87"/>
                  <a:gd name="T13" fmla="*/ 39 h 92"/>
                  <a:gd name="T14" fmla="*/ 76 w 87"/>
                  <a:gd name="T15" fmla="*/ 55 h 92"/>
                  <a:gd name="T16" fmla="*/ 67 w 87"/>
                  <a:gd name="T17" fmla="*/ 76 h 92"/>
                  <a:gd name="T18" fmla="*/ 65 w 87"/>
                  <a:gd name="T19" fmla="*/ 74 h 92"/>
                  <a:gd name="T20" fmla="*/ 69 w 87"/>
                  <a:gd name="T21" fmla="*/ 53 h 92"/>
                  <a:gd name="T22" fmla="*/ 55 w 87"/>
                  <a:gd name="T23" fmla="*/ 40 h 92"/>
                  <a:gd name="T24" fmla="*/ 45 w 87"/>
                  <a:gd name="T25" fmla="*/ 44 h 92"/>
                  <a:gd name="T26" fmla="*/ 46 w 87"/>
                  <a:gd name="T27" fmla="*/ 89 h 92"/>
                  <a:gd name="T28" fmla="*/ 38 w 87"/>
                  <a:gd name="T29" fmla="*/ 92 h 92"/>
                  <a:gd name="T30" fmla="*/ 27 w 87"/>
                  <a:gd name="T31" fmla="*/ 68 h 92"/>
                  <a:gd name="T32" fmla="*/ 14 w 87"/>
                  <a:gd name="T33" fmla="*/ 70 h 92"/>
                  <a:gd name="T34" fmla="*/ 12 w 87"/>
                  <a:gd name="T35" fmla="*/ 65 h 92"/>
                  <a:gd name="T36" fmla="*/ 18 w 87"/>
                  <a:gd name="T37" fmla="*/ 58 h 92"/>
                  <a:gd name="T38" fmla="*/ 0 w 87"/>
                  <a:gd name="T39" fmla="*/ 42 h 92"/>
                  <a:gd name="T40" fmla="*/ 0 w 87"/>
                  <a:gd name="T41" fmla="*/ 42 h 92"/>
                  <a:gd name="T42" fmla="*/ 21 w 87"/>
                  <a:gd name="T43" fmla="*/ 39 h 92"/>
                  <a:gd name="T44" fmla="*/ 27 w 87"/>
                  <a:gd name="T45" fmla="*/ 48 h 92"/>
                  <a:gd name="T46" fmla="*/ 34 w 87"/>
                  <a:gd name="T47" fmla="*/ 52 h 92"/>
                  <a:gd name="T48" fmla="*/ 36 w 87"/>
                  <a:gd name="T49" fmla="*/ 62 h 92"/>
                  <a:gd name="T50" fmla="*/ 39 w 87"/>
                  <a:gd name="T51" fmla="*/ 44 h 92"/>
                  <a:gd name="T52" fmla="*/ 46 w 87"/>
                  <a:gd name="T53" fmla="*/ 28 h 92"/>
                  <a:gd name="T54" fmla="*/ 29 w 87"/>
                  <a:gd name="T55" fmla="*/ 8 h 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87" h="92">
                    <a:moveTo>
                      <a:pt x="29" y="8"/>
                    </a:moveTo>
                    <a:cubicBezTo>
                      <a:pt x="42" y="0"/>
                      <a:pt x="43" y="12"/>
                      <a:pt x="52" y="17"/>
                    </a:cubicBezTo>
                    <a:cubicBezTo>
                      <a:pt x="55" y="15"/>
                      <a:pt x="58" y="15"/>
                      <a:pt x="61" y="16"/>
                    </a:cubicBezTo>
                    <a:cubicBezTo>
                      <a:pt x="61" y="16"/>
                      <a:pt x="62" y="17"/>
                      <a:pt x="62" y="17"/>
                    </a:cubicBezTo>
                    <a:cubicBezTo>
                      <a:pt x="62" y="26"/>
                      <a:pt x="58" y="33"/>
                      <a:pt x="69" y="42"/>
                    </a:cubicBezTo>
                    <a:cubicBezTo>
                      <a:pt x="75" y="35"/>
                      <a:pt x="80" y="33"/>
                      <a:pt x="86" y="35"/>
                    </a:cubicBezTo>
                    <a:cubicBezTo>
                      <a:pt x="87" y="36"/>
                      <a:pt x="87" y="38"/>
                      <a:pt x="87" y="39"/>
                    </a:cubicBezTo>
                    <a:cubicBezTo>
                      <a:pt x="83" y="45"/>
                      <a:pt x="80" y="50"/>
                      <a:pt x="76" y="55"/>
                    </a:cubicBezTo>
                    <a:cubicBezTo>
                      <a:pt x="71" y="62"/>
                      <a:pt x="71" y="70"/>
                      <a:pt x="67" y="76"/>
                    </a:cubicBezTo>
                    <a:cubicBezTo>
                      <a:pt x="66" y="75"/>
                      <a:pt x="66" y="75"/>
                      <a:pt x="65" y="74"/>
                    </a:cubicBezTo>
                    <a:cubicBezTo>
                      <a:pt x="63" y="66"/>
                      <a:pt x="67" y="60"/>
                      <a:pt x="69" y="53"/>
                    </a:cubicBezTo>
                    <a:cubicBezTo>
                      <a:pt x="64" y="51"/>
                      <a:pt x="60" y="46"/>
                      <a:pt x="55" y="40"/>
                    </a:cubicBezTo>
                    <a:cubicBezTo>
                      <a:pt x="52" y="42"/>
                      <a:pt x="49" y="41"/>
                      <a:pt x="45" y="44"/>
                    </a:cubicBezTo>
                    <a:cubicBezTo>
                      <a:pt x="40" y="59"/>
                      <a:pt x="48" y="75"/>
                      <a:pt x="46" y="89"/>
                    </a:cubicBezTo>
                    <a:cubicBezTo>
                      <a:pt x="43" y="92"/>
                      <a:pt x="41" y="91"/>
                      <a:pt x="38" y="92"/>
                    </a:cubicBezTo>
                    <a:cubicBezTo>
                      <a:pt x="31" y="83"/>
                      <a:pt x="33" y="76"/>
                      <a:pt x="27" y="68"/>
                    </a:cubicBezTo>
                    <a:cubicBezTo>
                      <a:pt x="23" y="71"/>
                      <a:pt x="18" y="71"/>
                      <a:pt x="14" y="70"/>
                    </a:cubicBezTo>
                    <a:cubicBezTo>
                      <a:pt x="12" y="68"/>
                      <a:pt x="12" y="67"/>
                      <a:pt x="12" y="65"/>
                    </a:cubicBezTo>
                    <a:cubicBezTo>
                      <a:pt x="14" y="63"/>
                      <a:pt x="16" y="60"/>
                      <a:pt x="18" y="58"/>
                    </a:cubicBezTo>
                    <a:cubicBezTo>
                      <a:pt x="13" y="49"/>
                      <a:pt x="3" y="48"/>
                      <a:pt x="0" y="42"/>
                    </a:cubicBezTo>
                    <a:cubicBezTo>
                      <a:pt x="0" y="42"/>
                      <a:pt x="0" y="42"/>
                      <a:pt x="0" y="42"/>
                    </a:cubicBezTo>
                    <a:cubicBezTo>
                      <a:pt x="6" y="39"/>
                      <a:pt x="15" y="35"/>
                      <a:pt x="21" y="39"/>
                    </a:cubicBezTo>
                    <a:cubicBezTo>
                      <a:pt x="23" y="42"/>
                      <a:pt x="25" y="45"/>
                      <a:pt x="27" y="48"/>
                    </a:cubicBezTo>
                    <a:cubicBezTo>
                      <a:pt x="29" y="50"/>
                      <a:pt x="31" y="51"/>
                      <a:pt x="34" y="52"/>
                    </a:cubicBezTo>
                    <a:cubicBezTo>
                      <a:pt x="34" y="55"/>
                      <a:pt x="35" y="58"/>
                      <a:pt x="36" y="62"/>
                    </a:cubicBezTo>
                    <a:cubicBezTo>
                      <a:pt x="39" y="56"/>
                      <a:pt x="38" y="50"/>
                      <a:pt x="39" y="44"/>
                    </a:cubicBezTo>
                    <a:cubicBezTo>
                      <a:pt x="42" y="39"/>
                      <a:pt x="44" y="34"/>
                      <a:pt x="46" y="28"/>
                    </a:cubicBezTo>
                    <a:cubicBezTo>
                      <a:pt x="42" y="22"/>
                      <a:pt x="31" y="15"/>
                      <a:pt x="29" y="8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1048892" name="íṩľíḑè"/>
              <p:cNvSpPr/>
              <p:nvPr/>
            </p:nvSpPr>
            <p:spPr bwMode="auto">
              <a:xfrm>
                <a:off x="2243034" y="6066428"/>
                <a:ext cx="22225" cy="25400"/>
              </a:xfrm>
              <a:custGeom>
                <a:avLst/>
                <a:gdLst>
                  <a:gd name="T0" fmla="*/ 0 w 14"/>
                  <a:gd name="T1" fmla="*/ 12 h 16"/>
                  <a:gd name="T2" fmla="*/ 2 w 14"/>
                  <a:gd name="T3" fmla="*/ 0 h 16"/>
                  <a:gd name="T4" fmla="*/ 14 w 14"/>
                  <a:gd name="T5" fmla="*/ 4 h 16"/>
                  <a:gd name="T6" fmla="*/ 11 w 14"/>
                  <a:gd name="T7" fmla="*/ 16 h 16"/>
                  <a:gd name="T8" fmla="*/ 0 w 14"/>
                  <a:gd name="T9" fmla="*/ 12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4" h="16">
                    <a:moveTo>
                      <a:pt x="0" y="12"/>
                    </a:moveTo>
                    <a:lnTo>
                      <a:pt x="2" y="0"/>
                    </a:lnTo>
                    <a:lnTo>
                      <a:pt x="14" y="4"/>
                    </a:lnTo>
                    <a:lnTo>
                      <a:pt x="11" y="16"/>
                    </a:lnTo>
                    <a:lnTo>
                      <a:pt x="0" y="12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1048893" name="îṣḷïḓê"/>
              <p:cNvSpPr/>
              <p:nvPr/>
            </p:nvSpPr>
            <p:spPr bwMode="auto">
              <a:xfrm>
                <a:off x="2292247" y="6042615"/>
                <a:ext cx="49213" cy="100013"/>
              </a:xfrm>
              <a:custGeom>
                <a:avLst/>
                <a:gdLst>
                  <a:gd name="T0" fmla="*/ 17 w 27"/>
                  <a:gd name="T1" fmla="*/ 54 h 54"/>
                  <a:gd name="T2" fmla="*/ 7 w 27"/>
                  <a:gd name="T3" fmla="*/ 52 h 54"/>
                  <a:gd name="T4" fmla="*/ 14 w 27"/>
                  <a:gd name="T5" fmla="*/ 15 h 54"/>
                  <a:gd name="T6" fmla="*/ 0 w 27"/>
                  <a:gd name="T7" fmla="*/ 20 h 54"/>
                  <a:gd name="T8" fmla="*/ 1 w 27"/>
                  <a:gd name="T9" fmla="*/ 11 h 54"/>
                  <a:gd name="T10" fmla="*/ 11 w 27"/>
                  <a:gd name="T11" fmla="*/ 7 h 54"/>
                  <a:gd name="T12" fmla="*/ 18 w 27"/>
                  <a:gd name="T13" fmla="*/ 0 h 54"/>
                  <a:gd name="T14" fmla="*/ 27 w 27"/>
                  <a:gd name="T15" fmla="*/ 2 h 54"/>
                  <a:gd name="T16" fmla="*/ 17 w 27"/>
                  <a:gd name="T17" fmla="*/ 54 h 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7" h="54">
                    <a:moveTo>
                      <a:pt x="17" y="54"/>
                    </a:moveTo>
                    <a:cubicBezTo>
                      <a:pt x="7" y="52"/>
                      <a:pt x="7" y="52"/>
                      <a:pt x="7" y="52"/>
                    </a:cubicBezTo>
                    <a:cubicBezTo>
                      <a:pt x="14" y="15"/>
                      <a:pt x="14" y="15"/>
                      <a:pt x="14" y="15"/>
                    </a:cubicBezTo>
                    <a:cubicBezTo>
                      <a:pt x="10" y="17"/>
                      <a:pt x="5" y="19"/>
                      <a:pt x="0" y="20"/>
                    </a:cubicBezTo>
                    <a:cubicBezTo>
                      <a:pt x="1" y="11"/>
                      <a:pt x="1" y="11"/>
                      <a:pt x="1" y="11"/>
                    </a:cubicBezTo>
                    <a:cubicBezTo>
                      <a:pt x="4" y="10"/>
                      <a:pt x="7" y="9"/>
                      <a:pt x="11" y="7"/>
                    </a:cubicBezTo>
                    <a:cubicBezTo>
                      <a:pt x="14" y="6"/>
                      <a:pt x="17" y="3"/>
                      <a:pt x="18" y="0"/>
                    </a:cubicBezTo>
                    <a:cubicBezTo>
                      <a:pt x="27" y="2"/>
                      <a:pt x="27" y="2"/>
                      <a:pt x="27" y="2"/>
                    </a:cubicBezTo>
                    <a:lnTo>
                      <a:pt x="17" y="54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1048894" name="i$ḻîḓé"/>
              <p:cNvSpPr/>
              <p:nvPr/>
            </p:nvSpPr>
            <p:spPr bwMode="auto">
              <a:xfrm>
                <a:off x="2363684" y="6052140"/>
                <a:ext cx="66675" cy="100013"/>
              </a:xfrm>
              <a:custGeom>
                <a:avLst/>
                <a:gdLst>
                  <a:gd name="T0" fmla="*/ 0 w 36"/>
                  <a:gd name="T1" fmla="*/ 40 h 54"/>
                  <a:gd name="T2" fmla="*/ 10 w 36"/>
                  <a:gd name="T3" fmla="*/ 39 h 54"/>
                  <a:gd name="T4" fmla="*/ 11 w 36"/>
                  <a:gd name="T5" fmla="*/ 44 h 54"/>
                  <a:gd name="T6" fmla="*/ 15 w 36"/>
                  <a:gd name="T7" fmla="*/ 46 h 54"/>
                  <a:gd name="T8" fmla="*/ 21 w 36"/>
                  <a:gd name="T9" fmla="*/ 43 h 54"/>
                  <a:gd name="T10" fmla="*/ 24 w 36"/>
                  <a:gd name="T11" fmla="*/ 31 h 54"/>
                  <a:gd name="T12" fmla="*/ 15 w 36"/>
                  <a:gd name="T13" fmla="*/ 35 h 54"/>
                  <a:gd name="T14" fmla="*/ 4 w 36"/>
                  <a:gd name="T15" fmla="*/ 30 h 54"/>
                  <a:gd name="T16" fmla="*/ 0 w 36"/>
                  <a:gd name="T17" fmla="*/ 17 h 54"/>
                  <a:gd name="T18" fmla="*/ 6 w 36"/>
                  <a:gd name="T19" fmla="*/ 4 h 54"/>
                  <a:gd name="T20" fmla="*/ 19 w 36"/>
                  <a:gd name="T21" fmla="*/ 0 h 54"/>
                  <a:gd name="T22" fmla="*/ 31 w 36"/>
                  <a:gd name="T23" fmla="*/ 7 h 54"/>
                  <a:gd name="T24" fmla="*/ 35 w 36"/>
                  <a:gd name="T25" fmla="*/ 28 h 54"/>
                  <a:gd name="T26" fmla="*/ 28 w 36"/>
                  <a:gd name="T27" fmla="*/ 49 h 54"/>
                  <a:gd name="T28" fmla="*/ 14 w 36"/>
                  <a:gd name="T29" fmla="*/ 54 h 54"/>
                  <a:gd name="T30" fmla="*/ 4 w 36"/>
                  <a:gd name="T31" fmla="*/ 50 h 54"/>
                  <a:gd name="T32" fmla="*/ 0 w 36"/>
                  <a:gd name="T33" fmla="*/ 40 h 54"/>
                  <a:gd name="T34" fmla="*/ 24 w 36"/>
                  <a:gd name="T35" fmla="*/ 19 h 54"/>
                  <a:gd name="T36" fmla="*/ 23 w 36"/>
                  <a:gd name="T37" fmla="*/ 11 h 54"/>
                  <a:gd name="T38" fmla="*/ 18 w 36"/>
                  <a:gd name="T39" fmla="*/ 8 h 54"/>
                  <a:gd name="T40" fmla="*/ 13 w 36"/>
                  <a:gd name="T41" fmla="*/ 10 h 54"/>
                  <a:gd name="T42" fmla="*/ 10 w 36"/>
                  <a:gd name="T43" fmla="*/ 17 h 54"/>
                  <a:gd name="T44" fmla="*/ 12 w 36"/>
                  <a:gd name="T45" fmla="*/ 25 h 54"/>
                  <a:gd name="T46" fmla="*/ 17 w 36"/>
                  <a:gd name="T47" fmla="*/ 28 h 54"/>
                  <a:gd name="T48" fmla="*/ 22 w 36"/>
                  <a:gd name="T49" fmla="*/ 26 h 54"/>
                  <a:gd name="T50" fmla="*/ 24 w 36"/>
                  <a:gd name="T51" fmla="*/ 19 h 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6" h="54">
                    <a:moveTo>
                      <a:pt x="0" y="40"/>
                    </a:moveTo>
                    <a:cubicBezTo>
                      <a:pt x="10" y="39"/>
                      <a:pt x="10" y="39"/>
                      <a:pt x="10" y="39"/>
                    </a:cubicBezTo>
                    <a:cubicBezTo>
                      <a:pt x="10" y="41"/>
                      <a:pt x="10" y="43"/>
                      <a:pt x="11" y="44"/>
                    </a:cubicBezTo>
                    <a:cubicBezTo>
                      <a:pt x="12" y="45"/>
                      <a:pt x="14" y="46"/>
                      <a:pt x="15" y="46"/>
                    </a:cubicBezTo>
                    <a:cubicBezTo>
                      <a:pt x="17" y="46"/>
                      <a:pt x="19" y="45"/>
                      <a:pt x="21" y="43"/>
                    </a:cubicBezTo>
                    <a:cubicBezTo>
                      <a:pt x="22" y="41"/>
                      <a:pt x="24" y="37"/>
                      <a:pt x="24" y="31"/>
                    </a:cubicBezTo>
                    <a:cubicBezTo>
                      <a:pt x="22" y="34"/>
                      <a:pt x="18" y="35"/>
                      <a:pt x="15" y="35"/>
                    </a:cubicBezTo>
                    <a:cubicBezTo>
                      <a:pt x="10" y="35"/>
                      <a:pt x="7" y="33"/>
                      <a:pt x="4" y="30"/>
                    </a:cubicBezTo>
                    <a:cubicBezTo>
                      <a:pt x="1" y="26"/>
                      <a:pt x="0" y="22"/>
                      <a:pt x="0" y="17"/>
                    </a:cubicBezTo>
                    <a:cubicBezTo>
                      <a:pt x="1" y="11"/>
                      <a:pt x="3" y="7"/>
                      <a:pt x="6" y="4"/>
                    </a:cubicBezTo>
                    <a:cubicBezTo>
                      <a:pt x="10" y="1"/>
                      <a:pt x="14" y="0"/>
                      <a:pt x="19" y="0"/>
                    </a:cubicBezTo>
                    <a:cubicBezTo>
                      <a:pt x="24" y="0"/>
                      <a:pt x="28" y="3"/>
                      <a:pt x="31" y="7"/>
                    </a:cubicBezTo>
                    <a:cubicBezTo>
                      <a:pt x="35" y="12"/>
                      <a:pt x="36" y="19"/>
                      <a:pt x="35" y="28"/>
                    </a:cubicBezTo>
                    <a:cubicBezTo>
                      <a:pt x="34" y="38"/>
                      <a:pt x="32" y="44"/>
                      <a:pt x="28" y="49"/>
                    </a:cubicBezTo>
                    <a:cubicBezTo>
                      <a:pt x="24" y="53"/>
                      <a:pt x="20" y="54"/>
                      <a:pt x="14" y="54"/>
                    </a:cubicBezTo>
                    <a:cubicBezTo>
                      <a:pt x="10" y="54"/>
                      <a:pt x="7" y="52"/>
                      <a:pt x="4" y="50"/>
                    </a:cubicBezTo>
                    <a:cubicBezTo>
                      <a:pt x="2" y="48"/>
                      <a:pt x="0" y="44"/>
                      <a:pt x="0" y="40"/>
                    </a:cubicBezTo>
                    <a:close/>
                    <a:moveTo>
                      <a:pt x="24" y="19"/>
                    </a:moveTo>
                    <a:cubicBezTo>
                      <a:pt x="25" y="16"/>
                      <a:pt x="24" y="13"/>
                      <a:pt x="23" y="11"/>
                    </a:cubicBezTo>
                    <a:cubicBezTo>
                      <a:pt x="21" y="10"/>
                      <a:pt x="20" y="9"/>
                      <a:pt x="18" y="8"/>
                    </a:cubicBezTo>
                    <a:cubicBezTo>
                      <a:pt x="16" y="8"/>
                      <a:pt x="14" y="9"/>
                      <a:pt x="13" y="10"/>
                    </a:cubicBezTo>
                    <a:cubicBezTo>
                      <a:pt x="11" y="12"/>
                      <a:pt x="11" y="14"/>
                      <a:pt x="10" y="17"/>
                    </a:cubicBezTo>
                    <a:cubicBezTo>
                      <a:pt x="10" y="21"/>
                      <a:pt x="11" y="23"/>
                      <a:pt x="12" y="25"/>
                    </a:cubicBezTo>
                    <a:cubicBezTo>
                      <a:pt x="13" y="27"/>
                      <a:pt x="15" y="28"/>
                      <a:pt x="17" y="28"/>
                    </a:cubicBezTo>
                    <a:cubicBezTo>
                      <a:pt x="19" y="28"/>
                      <a:pt x="20" y="27"/>
                      <a:pt x="22" y="26"/>
                    </a:cubicBezTo>
                    <a:cubicBezTo>
                      <a:pt x="23" y="24"/>
                      <a:pt x="24" y="22"/>
                      <a:pt x="24" y="1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1048895" name="îṧľîḋé"/>
              <p:cNvSpPr/>
              <p:nvPr/>
            </p:nvSpPr>
            <p:spPr bwMode="auto">
              <a:xfrm>
                <a:off x="2446234" y="6053728"/>
                <a:ext cx="66675" cy="100013"/>
              </a:xfrm>
              <a:custGeom>
                <a:avLst/>
                <a:gdLst>
                  <a:gd name="T0" fmla="*/ 0 w 36"/>
                  <a:gd name="T1" fmla="*/ 40 h 54"/>
                  <a:gd name="T2" fmla="*/ 10 w 36"/>
                  <a:gd name="T3" fmla="*/ 39 h 54"/>
                  <a:gd name="T4" fmla="*/ 13 w 36"/>
                  <a:gd name="T5" fmla="*/ 44 h 54"/>
                  <a:gd name="T6" fmla="*/ 18 w 36"/>
                  <a:gd name="T7" fmla="*/ 46 h 54"/>
                  <a:gd name="T8" fmla="*/ 23 w 36"/>
                  <a:gd name="T9" fmla="*/ 43 h 54"/>
                  <a:gd name="T10" fmla="*/ 25 w 36"/>
                  <a:gd name="T11" fmla="*/ 35 h 54"/>
                  <a:gd name="T12" fmla="*/ 23 w 36"/>
                  <a:gd name="T13" fmla="*/ 28 h 54"/>
                  <a:gd name="T14" fmla="*/ 17 w 36"/>
                  <a:gd name="T15" fmla="*/ 26 h 54"/>
                  <a:gd name="T16" fmla="*/ 9 w 36"/>
                  <a:gd name="T17" fmla="*/ 30 h 54"/>
                  <a:gd name="T18" fmla="*/ 1 w 36"/>
                  <a:gd name="T19" fmla="*/ 29 h 54"/>
                  <a:gd name="T20" fmla="*/ 5 w 36"/>
                  <a:gd name="T21" fmla="*/ 1 h 54"/>
                  <a:gd name="T22" fmla="*/ 32 w 36"/>
                  <a:gd name="T23" fmla="*/ 0 h 54"/>
                  <a:gd name="T24" fmla="*/ 32 w 36"/>
                  <a:gd name="T25" fmla="*/ 10 h 54"/>
                  <a:gd name="T26" fmla="*/ 13 w 36"/>
                  <a:gd name="T27" fmla="*/ 10 h 54"/>
                  <a:gd name="T28" fmla="*/ 12 w 36"/>
                  <a:gd name="T29" fmla="*/ 19 h 54"/>
                  <a:gd name="T30" fmla="*/ 19 w 36"/>
                  <a:gd name="T31" fmla="*/ 17 h 54"/>
                  <a:gd name="T32" fmla="*/ 30 w 36"/>
                  <a:gd name="T33" fmla="*/ 22 h 54"/>
                  <a:gd name="T34" fmla="*/ 36 w 36"/>
                  <a:gd name="T35" fmla="*/ 34 h 54"/>
                  <a:gd name="T36" fmla="*/ 32 w 36"/>
                  <a:gd name="T37" fmla="*/ 46 h 54"/>
                  <a:gd name="T38" fmla="*/ 18 w 36"/>
                  <a:gd name="T39" fmla="*/ 54 h 54"/>
                  <a:gd name="T40" fmla="*/ 6 w 36"/>
                  <a:gd name="T41" fmla="*/ 50 h 54"/>
                  <a:gd name="T42" fmla="*/ 0 w 36"/>
                  <a:gd name="T43" fmla="*/ 40 h 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36" h="54">
                    <a:moveTo>
                      <a:pt x="0" y="40"/>
                    </a:moveTo>
                    <a:cubicBezTo>
                      <a:pt x="10" y="39"/>
                      <a:pt x="10" y="39"/>
                      <a:pt x="10" y="39"/>
                    </a:cubicBezTo>
                    <a:cubicBezTo>
                      <a:pt x="11" y="41"/>
                      <a:pt x="11" y="43"/>
                      <a:pt x="13" y="44"/>
                    </a:cubicBezTo>
                    <a:cubicBezTo>
                      <a:pt x="14" y="45"/>
                      <a:pt x="16" y="46"/>
                      <a:pt x="18" y="46"/>
                    </a:cubicBezTo>
                    <a:cubicBezTo>
                      <a:pt x="20" y="46"/>
                      <a:pt x="22" y="45"/>
                      <a:pt x="23" y="43"/>
                    </a:cubicBezTo>
                    <a:cubicBezTo>
                      <a:pt x="25" y="41"/>
                      <a:pt x="25" y="38"/>
                      <a:pt x="25" y="35"/>
                    </a:cubicBezTo>
                    <a:cubicBezTo>
                      <a:pt x="25" y="32"/>
                      <a:pt x="24" y="29"/>
                      <a:pt x="23" y="28"/>
                    </a:cubicBezTo>
                    <a:cubicBezTo>
                      <a:pt x="21" y="26"/>
                      <a:pt x="19" y="25"/>
                      <a:pt x="17" y="26"/>
                    </a:cubicBezTo>
                    <a:cubicBezTo>
                      <a:pt x="14" y="26"/>
                      <a:pt x="11" y="27"/>
                      <a:pt x="9" y="30"/>
                    </a:cubicBezTo>
                    <a:cubicBezTo>
                      <a:pt x="1" y="29"/>
                      <a:pt x="1" y="29"/>
                      <a:pt x="1" y="29"/>
                    </a:cubicBezTo>
                    <a:cubicBezTo>
                      <a:pt x="5" y="1"/>
                      <a:pt x="5" y="1"/>
                      <a:pt x="5" y="1"/>
                    </a:cubicBezTo>
                    <a:cubicBezTo>
                      <a:pt x="32" y="0"/>
                      <a:pt x="32" y="0"/>
                      <a:pt x="32" y="0"/>
                    </a:cubicBezTo>
                    <a:cubicBezTo>
                      <a:pt x="32" y="10"/>
                      <a:pt x="32" y="10"/>
                      <a:pt x="32" y="10"/>
                    </a:cubicBezTo>
                    <a:cubicBezTo>
                      <a:pt x="13" y="10"/>
                      <a:pt x="13" y="10"/>
                      <a:pt x="13" y="10"/>
                    </a:cubicBezTo>
                    <a:cubicBezTo>
                      <a:pt x="12" y="19"/>
                      <a:pt x="12" y="19"/>
                      <a:pt x="12" y="19"/>
                    </a:cubicBezTo>
                    <a:cubicBezTo>
                      <a:pt x="14" y="18"/>
                      <a:pt x="16" y="17"/>
                      <a:pt x="19" y="17"/>
                    </a:cubicBezTo>
                    <a:cubicBezTo>
                      <a:pt x="23" y="17"/>
                      <a:pt x="27" y="19"/>
                      <a:pt x="30" y="22"/>
                    </a:cubicBezTo>
                    <a:cubicBezTo>
                      <a:pt x="34" y="25"/>
                      <a:pt x="35" y="29"/>
                      <a:pt x="36" y="34"/>
                    </a:cubicBezTo>
                    <a:cubicBezTo>
                      <a:pt x="36" y="39"/>
                      <a:pt x="35" y="43"/>
                      <a:pt x="32" y="46"/>
                    </a:cubicBezTo>
                    <a:cubicBezTo>
                      <a:pt x="29" y="51"/>
                      <a:pt x="24" y="54"/>
                      <a:pt x="18" y="54"/>
                    </a:cubicBezTo>
                    <a:cubicBezTo>
                      <a:pt x="13" y="54"/>
                      <a:pt x="9" y="53"/>
                      <a:pt x="6" y="50"/>
                    </a:cubicBezTo>
                    <a:cubicBezTo>
                      <a:pt x="3" y="48"/>
                      <a:pt x="1" y="44"/>
                      <a:pt x="0" y="4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1048896" name="i$ḻïḑê"/>
              <p:cNvSpPr/>
              <p:nvPr/>
            </p:nvSpPr>
            <p:spPr bwMode="auto">
              <a:xfrm>
                <a:off x="2522434" y="6045790"/>
                <a:ext cx="74613" cy="103188"/>
              </a:xfrm>
              <a:custGeom>
                <a:avLst/>
                <a:gdLst>
                  <a:gd name="T0" fmla="*/ 39 w 40"/>
                  <a:gd name="T1" fmla="*/ 42 h 56"/>
                  <a:gd name="T2" fmla="*/ 40 w 40"/>
                  <a:gd name="T3" fmla="*/ 51 h 56"/>
                  <a:gd name="T4" fmla="*/ 5 w 40"/>
                  <a:gd name="T5" fmla="*/ 56 h 56"/>
                  <a:gd name="T6" fmla="*/ 7 w 40"/>
                  <a:gd name="T7" fmla="*/ 46 h 56"/>
                  <a:gd name="T8" fmla="*/ 16 w 40"/>
                  <a:gd name="T9" fmla="*/ 32 h 56"/>
                  <a:gd name="T10" fmla="*/ 23 w 40"/>
                  <a:gd name="T11" fmla="*/ 22 h 56"/>
                  <a:gd name="T12" fmla="*/ 24 w 40"/>
                  <a:gd name="T13" fmla="*/ 15 h 56"/>
                  <a:gd name="T14" fmla="*/ 22 w 40"/>
                  <a:gd name="T15" fmla="*/ 10 h 56"/>
                  <a:gd name="T16" fmla="*/ 17 w 40"/>
                  <a:gd name="T17" fmla="*/ 9 h 56"/>
                  <a:gd name="T18" fmla="*/ 12 w 40"/>
                  <a:gd name="T19" fmla="*/ 12 h 56"/>
                  <a:gd name="T20" fmla="*/ 11 w 40"/>
                  <a:gd name="T21" fmla="*/ 19 h 56"/>
                  <a:gd name="T22" fmla="*/ 1 w 40"/>
                  <a:gd name="T23" fmla="*/ 19 h 56"/>
                  <a:gd name="T24" fmla="*/ 4 w 40"/>
                  <a:gd name="T25" fmla="*/ 6 h 56"/>
                  <a:gd name="T26" fmla="*/ 16 w 40"/>
                  <a:gd name="T27" fmla="*/ 1 h 56"/>
                  <a:gd name="T28" fmla="*/ 28 w 40"/>
                  <a:gd name="T29" fmla="*/ 3 h 56"/>
                  <a:gd name="T30" fmla="*/ 34 w 40"/>
                  <a:gd name="T31" fmla="*/ 13 h 56"/>
                  <a:gd name="T32" fmla="*/ 34 w 40"/>
                  <a:gd name="T33" fmla="*/ 20 h 56"/>
                  <a:gd name="T34" fmla="*/ 31 w 40"/>
                  <a:gd name="T35" fmla="*/ 27 h 56"/>
                  <a:gd name="T36" fmla="*/ 26 w 40"/>
                  <a:gd name="T37" fmla="*/ 35 h 56"/>
                  <a:gd name="T38" fmla="*/ 20 w 40"/>
                  <a:gd name="T39" fmla="*/ 42 h 56"/>
                  <a:gd name="T40" fmla="*/ 19 w 40"/>
                  <a:gd name="T41" fmla="*/ 45 h 56"/>
                  <a:gd name="T42" fmla="*/ 39 w 40"/>
                  <a:gd name="T43" fmla="*/ 42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40" h="56">
                    <a:moveTo>
                      <a:pt x="39" y="42"/>
                    </a:moveTo>
                    <a:cubicBezTo>
                      <a:pt x="40" y="51"/>
                      <a:pt x="40" y="51"/>
                      <a:pt x="40" y="51"/>
                    </a:cubicBezTo>
                    <a:cubicBezTo>
                      <a:pt x="5" y="56"/>
                      <a:pt x="5" y="56"/>
                      <a:pt x="5" y="56"/>
                    </a:cubicBezTo>
                    <a:cubicBezTo>
                      <a:pt x="5" y="53"/>
                      <a:pt x="5" y="49"/>
                      <a:pt x="7" y="46"/>
                    </a:cubicBezTo>
                    <a:cubicBezTo>
                      <a:pt x="8" y="42"/>
                      <a:pt x="11" y="38"/>
                      <a:pt x="16" y="32"/>
                    </a:cubicBezTo>
                    <a:cubicBezTo>
                      <a:pt x="20" y="27"/>
                      <a:pt x="22" y="23"/>
                      <a:pt x="23" y="22"/>
                    </a:cubicBezTo>
                    <a:cubicBezTo>
                      <a:pt x="24" y="19"/>
                      <a:pt x="25" y="17"/>
                      <a:pt x="24" y="15"/>
                    </a:cubicBezTo>
                    <a:cubicBezTo>
                      <a:pt x="24" y="13"/>
                      <a:pt x="23" y="11"/>
                      <a:pt x="22" y="10"/>
                    </a:cubicBezTo>
                    <a:cubicBezTo>
                      <a:pt x="21" y="9"/>
                      <a:pt x="19" y="9"/>
                      <a:pt x="17" y="9"/>
                    </a:cubicBezTo>
                    <a:cubicBezTo>
                      <a:pt x="15" y="10"/>
                      <a:pt x="13" y="11"/>
                      <a:pt x="12" y="12"/>
                    </a:cubicBezTo>
                    <a:cubicBezTo>
                      <a:pt x="11" y="13"/>
                      <a:pt x="10" y="16"/>
                      <a:pt x="11" y="19"/>
                    </a:cubicBezTo>
                    <a:cubicBezTo>
                      <a:pt x="1" y="19"/>
                      <a:pt x="1" y="19"/>
                      <a:pt x="1" y="19"/>
                    </a:cubicBezTo>
                    <a:cubicBezTo>
                      <a:pt x="0" y="13"/>
                      <a:pt x="2" y="9"/>
                      <a:pt x="4" y="6"/>
                    </a:cubicBezTo>
                    <a:cubicBezTo>
                      <a:pt x="7" y="3"/>
                      <a:pt x="11" y="2"/>
                      <a:pt x="16" y="1"/>
                    </a:cubicBezTo>
                    <a:cubicBezTo>
                      <a:pt x="21" y="0"/>
                      <a:pt x="25" y="1"/>
                      <a:pt x="28" y="3"/>
                    </a:cubicBezTo>
                    <a:cubicBezTo>
                      <a:pt x="32" y="6"/>
                      <a:pt x="34" y="9"/>
                      <a:pt x="34" y="13"/>
                    </a:cubicBezTo>
                    <a:cubicBezTo>
                      <a:pt x="35" y="15"/>
                      <a:pt x="35" y="18"/>
                      <a:pt x="34" y="20"/>
                    </a:cubicBezTo>
                    <a:cubicBezTo>
                      <a:pt x="34" y="22"/>
                      <a:pt x="33" y="25"/>
                      <a:pt x="31" y="27"/>
                    </a:cubicBezTo>
                    <a:cubicBezTo>
                      <a:pt x="30" y="29"/>
                      <a:pt x="28" y="32"/>
                      <a:pt x="26" y="35"/>
                    </a:cubicBezTo>
                    <a:cubicBezTo>
                      <a:pt x="23" y="38"/>
                      <a:pt x="21" y="41"/>
                      <a:pt x="20" y="42"/>
                    </a:cubicBezTo>
                    <a:cubicBezTo>
                      <a:pt x="20" y="43"/>
                      <a:pt x="19" y="44"/>
                      <a:pt x="19" y="45"/>
                    </a:cubicBezTo>
                    <a:lnTo>
                      <a:pt x="39" y="42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1048897" name="íṧlíḍe"/>
              <p:cNvSpPr/>
              <p:nvPr/>
            </p:nvSpPr>
            <p:spPr bwMode="auto">
              <a:xfrm>
                <a:off x="2611334" y="6072778"/>
                <a:ext cx="22225" cy="23813"/>
              </a:xfrm>
              <a:custGeom>
                <a:avLst/>
                <a:gdLst>
                  <a:gd name="T0" fmla="*/ 3 w 14"/>
                  <a:gd name="T1" fmla="*/ 15 h 15"/>
                  <a:gd name="T2" fmla="*/ 0 w 14"/>
                  <a:gd name="T3" fmla="*/ 3 h 15"/>
                  <a:gd name="T4" fmla="*/ 11 w 14"/>
                  <a:gd name="T5" fmla="*/ 0 h 15"/>
                  <a:gd name="T6" fmla="*/ 14 w 14"/>
                  <a:gd name="T7" fmla="*/ 12 h 15"/>
                  <a:gd name="T8" fmla="*/ 3 w 14"/>
                  <a:gd name="T9" fmla="*/ 15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4" h="15">
                    <a:moveTo>
                      <a:pt x="3" y="15"/>
                    </a:moveTo>
                    <a:lnTo>
                      <a:pt x="0" y="3"/>
                    </a:lnTo>
                    <a:lnTo>
                      <a:pt x="11" y="0"/>
                    </a:lnTo>
                    <a:lnTo>
                      <a:pt x="14" y="12"/>
                    </a:lnTo>
                    <a:lnTo>
                      <a:pt x="3" y="15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1048898" name="îŝľîḓê"/>
              <p:cNvSpPr/>
              <p:nvPr/>
            </p:nvSpPr>
            <p:spPr bwMode="auto">
              <a:xfrm>
                <a:off x="2108097" y="5261565"/>
                <a:ext cx="141288" cy="257175"/>
              </a:xfrm>
              <a:custGeom>
                <a:avLst/>
                <a:gdLst>
                  <a:gd name="T0" fmla="*/ 12 w 77"/>
                  <a:gd name="T1" fmla="*/ 25 h 139"/>
                  <a:gd name="T2" fmla="*/ 9 w 77"/>
                  <a:gd name="T3" fmla="*/ 21 h 139"/>
                  <a:gd name="T4" fmla="*/ 12 w 77"/>
                  <a:gd name="T5" fmla="*/ 17 h 139"/>
                  <a:gd name="T6" fmla="*/ 39 w 77"/>
                  <a:gd name="T7" fmla="*/ 21 h 139"/>
                  <a:gd name="T8" fmla="*/ 46 w 77"/>
                  <a:gd name="T9" fmla="*/ 36 h 139"/>
                  <a:gd name="T10" fmla="*/ 46 w 77"/>
                  <a:gd name="T11" fmla="*/ 39 h 139"/>
                  <a:gd name="T12" fmla="*/ 61 w 77"/>
                  <a:gd name="T13" fmla="*/ 33 h 139"/>
                  <a:gd name="T14" fmla="*/ 57 w 77"/>
                  <a:gd name="T15" fmla="*/ 16 h 139"/>
                  <a:gd name="T16" fmla="*/ 35 w 77"/>
                  <a:gd name="T17" fmla="*/ 9 h 139"/>
                  <a:gd name="T18" fmla="*/ 27 w 77"/>
                  <a:gd name="T19" fmla="*/ 3 h 139"/>
                  <a:gd name="T20" fmla="*/ 32 w 77"/>
                  <a:gd name="T21" fmla="*/ 0 h 139"/>
                  <a:gd name="T22" fmla="*/ 61 w 77"/>
                  <a:gd name="T23" fmla="*/ 9 h 139"/>
                  <a:gd name="T24" fmla="*/ 72 w 77"/>
                  <a:gd name="T25" fmla="*/ 30 h 139"/>
                  <a:gd name="T26" fmla="*/ 48 w 77"/>
                  <a:gd name="T27" fmla="*/ 45 h 139"/>
                  <a:gd name="T28" fmla="*/ 45 w 77"/>
                  <a:gd name="T29" fmla="*/ 46 h 139"/>
                  <a:gd name="T30" fmla="*/ 45 w 77"/>
                  <a:gd name="T31" fmla="*/ 54 h 139"/>
                  <a:gd name="T32" fmla="*/ 59 w 77"/>
                  <a:gd name="T33" fmla="*/ 61 h 139"/>
                  <a:gd name="T34" fmla="*/ 77 w 77"/>
                  <a:gd name="T35" fmla="*/ 80 h 139"/>
                  <a:gd name="T36" fmla="*/ 75 w 77"/>
                  <a:gd name="T37" fmla="*/ 84 h 139"/>
                  <a:gd name="T38" fmla="*/ 71 w 77"/>
                  <a:gd name="T39" fmla="*/ 83 h 139"/>
                  <a:gd name="T40" fmla="*/ 59 w 77"/>
                  <a:gd name="T41" fmla="*/ 70 h 139"/>
                  <a:gd name="T42" fmla="*/ 45 w 77"/>
                  <a:gd name="T43" fmla="*/ 63 h 139"/>
                  <a:gd name="T44" fmla="*/ 45 w 77"/>
                  <a:gd name="T45" fmla="*/ 77 h 139"/>
                  <a:gd name="T46" fmla="*/ 53 w 77"/>
                  <a:gd name="T47" fmla="*/ 83 h 139"/>
                  <a:gd name="T48" fmla="*/ 66 w 77"/>
                  <a:gd name="T49" fmla="*/ 102 h 139"/>
                  <a:gd name="T50" fmla="*/ 72 w 77"/>
                  <a:gd name="T51" fmla="*/ 121 h 139"/>
                  <a:gd name="T52" fmla="*/ 70 w 77"/>
                  <a:gd name="T53" fmla="*/ 124 h 139"/>
                  <a:gd name="T54" fmla="*/ 67 w 77"/>
                  <a:gd name="T55" fmla="*/ 122 h 139"/>
                  <a:gd name="T56" fmla="*/ 64 w 77"/>
                  <a:gd name="T57" fmla="*/ 115 h 139"/>
                  <a:gd name="T58" fmla="*/ 55 w 77"/>
                  <a:gd name="T59" fmla="*/ 97 h 139"/>
                  <a:gd name="T60" fmla="*/ 45 w 77"/>
                  <a:gd name="T61" fmla="*/ 87 h 139"/>
                  <a:gd name="T62" fmla="*/ 45 w 77"/>
                  <a:gd name="T63" fmla="*/ 102 h 139"/>
                  <a:gd name="T64" fmla="*/ 44 w 77"/>
                  <a:gd name="T65" fmla="*/ 136 h 139"/>
                  <a:gd name="T66" fmla="*/ 41 w 77"/>
                  <a:gd name="T67" fmla="*/ 139 h 139"/>
                  <a:gd name="T68" fmla="*/ 38 w 77"/>
                  <a:gd name="T69" fmla="*/ 137 h 139"/>
                  <a:gd name="T70" fmla="*/ 37 w 77"/>
                  <a:gd name="T71" fmla="*/ 103 h 139"/>
                  <a:gd name="T72" fmla="*/ 37 w 77"/>
                  <a:gd name="T73" fmla="*/ 86 h 139"/>
                  <a:gd name="T74" fmla="*/ 28 w 77"/>
                  <a:gd name="T75" fmla="*/ 92 h 139"/>
                  <a:gd name="T76" fmla="*/ 19 w 77"/>
                  <a:gd name="T77" fmla="*/ 109 h 139"/>
                  <a:gd name="T78" fmla="*/ 12 w 77"/>
                  <a:gd name="T79" fmla="*/ 121 h 139"/>
                  <a:gd name="T80" fmla="*/ 8 w 77"/>
                  <a:gd name="T81" fmla="*/ 122 h 139"/>
                  <a:gd name="T82" fmla="*/ 7 w 77"/>
                  <a:gd name="T83" fmla="*/ 120 h 139"/>
                  <a:gd name="T84" fmla="*/ 8 w 77"/>
                  <a:gd name="T85" fmla="*/ 117 h 139"/>
                  <a:gd name="T86" fmla="*/ 11 w 77"/>
                  <a:gd name="T87" fmla="*/ 106 h 139"/>
                  <a:gd name="T88" fmla="*/ 22 w 77"/>
                  <a:gd name="T89" fmla="*/ 86 h 139"/>
                  <a:gd name="T90" fmla="*/ 37 w 77"/>
                  <a:gd name="T91" fmla="*/ 76 h 139"/>
                  <a:gd name="T92" fmla="*/ 37 w 77"/>
                  <a:gd name="T93" fmla="*/ 68 h 139"/>
                  <a:gd name="T94" fmla="*/ 37 w 77"/>
                  <a:gd name="T95" fmla="*/ 63 h 139"/>
                  <a:gd name="T96" fmla="*/ 24 w 77"/>
                  <a:gd name="T97" fmla="*/ 69 h 139"/>
                  <a:gd name="T98" fmla="*/ 16 w 77"/>
                  <a:gd name="T99" fmla="*/ 77 h 139"/>
                  <a:gd name="T100" fmla="*/ 9 w 77"/>
                  <a:gd name="T101" fmla="*/ 85 h 139"/>
                  <a:gd name="T102" fmla="*/ 6 w 77"/>
                  <a:gd name="T103" fmla="*/ 86 h 139"/>
                  <a:gd name="T104" fmla="*/ 5 w 77"/>
                  <a:gd name="T105" fmla="*/ 82 h 139"/>
                  <a:gd name="T106" fmla="*/ 22 w 77"/>
                  <a:gd name="T107" fmla="*/ 60 h 139"/>
                  <a:gd name="T108" fmla="*/ 37 w 77"/>
                  <a:gd name="T109" fmla="*/ 54 h 139"/>
                  <a:gd name="T110" fmla="*/ 37 w 77"/>
                  <a:gd name="T111" fmla="*/ 47 h 139"/>
                  <a:gd name="T112" fmla="*/ 3 w 77"/>
                  <a:gd name="T113" fmla="*/ 45 h 139"/>
                  <a:gd name="T114" fmla="*/ 0 w 77"/>
                  <a:gd name="T115" fmla="*/ 40 h 139"/>
                  <a:gd name="T116" fmla="*/ 5 w 77"/>
                  <a:gd name="T117" fmla="*/ 38 h 139"/>
                  <a:gd name="T118" fmla="*/ 37 w 77"/>
                  <a:gd name="T119" fmla="*/ 39 h 139"/>
                  <a:gd name="T120" fmla="*/ 37 w 77"/>
                  <a:gd name="T121" fmla="*/ 39 h 139"/>
                  <a:gd name="T122" fmla="*/ 33 w 77"/>
                  <a:gd name="T123" fmla="*/ 28 h 139"/>
                  <a:gd name="T124" fmla="*/ 12 w 77"/>
                  <a:gd name="T125" fmla="*/ 25 h 1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77" h="139">
                    <a:moveTo>
                      <a:pt x="12" y="25"/>
                    </a:moveTo>
                    <a:cubicBezTo>
                      <a:pt x="10" y="25"/>
                      <a:pt x="9" y="24"/>
                      <a:pt x="9" y="21"/>
                    </a:cubicBezTo>
                    <a:cubicBezTo>
                      <a:pt x="9" y="18"/>
                      <a:pt x="10" y="17"/>
                      <a:pt x="12" y="17"/>
                    </a:cubicBezTo>
                    <a:cubicBezTo>
                      <a:pt x="24" y="17"/>
                      <a:pt x="33" y="18"/>
                      <a:pt x="39" y="21"/>
                    </a:cubicBezTo>
                    <a:cubicBezTo>
                      <a:pt x="45" y="24"/>
                      <a:pt x="47" y="28"/>
                      <a:pt x="46" y="36"/>
                    </a:cubicBezTo>
                    <a:cubicBezTo>
                      <a:pt x="46" y="37"/>
                      <a:pt x="46" y="38"/>
                      <a:pt x="46" y="39"/>
                    </a:cubicBezTo>
                    <a:cubicBezTo>
                      <a:pt x="53" y="38"/>
                      <a:pt x="58" y="35"/>
                      <a:pt x="61" y="33"/>
                    </a:cubicBezTo>
                    <a:cubicBezTo>
                      <a:pt x="65" y="27"/>
                      <a:pt x="64" y="22"/>
                      <a:pt x="57" y="16"/>
                    </a:cubicBezTo>
                    <a:cubicBezTo>
                      <a:pt x="52" y="12"/>
                      <a:pt x="44" y="9"/>
                      <a:pt x="35" y="9"/>
                    </a:cubicBezTo>
                    <a:cubicBezTo>
                      <a:pt x="30" y="8"/>
                      <a:pt x="28" y="6"/>
                      <a:pt x="27" y="3"/>
                    </a:cubicBezTo>
                    <a:cubicBezTo>
                      <a:pt x="27" y="1"/>
                      <a:pt x="29" y="0"/>
                      <a:pt x="32" y="0"/>
                    </a:cubicBezTo>
                    <a:cubicBezTo>
                      <a:pt x="44" y="0"/>
                      <a:pt x="53" y="3"/>
                      <a:pt x="61" y="9"/>
                    </a:cubicBezTo>
                    <a:cubicBezTo>
                      <a:pt x="69" y="16"/>
                      <a:pt x="73" y="23"/>
                      <a:pt x="72" y="30"/>
                    </a:cubicBezTo>
                    <a:cubicBezTo>
                      <a:pt x="68" y="37"/>
                      <a:pt x="60" y="43"/>
                      <a:pt x="48" y="45"/>
                    </a:cubicBezTo>
                    <a:cubicBezTo>
                      <a:pt x="47" y="46"/>
                      <a:pt x="46" y="46"/>
                      <a:pt x="45" y="46"/>
                    </a:cubicBezTo>
                    <a:cubicBezTo>
                      <a:pt x="45" y="48"/>
                      <a:pt x="45" y="51"/>
                      <a:pt x="45" y="54"/>
                    </a:cubicBezTo>
                    <a:cubicBezTo>
                      <a:pt x="49" y="54"/>
                      <a:pt x="54" y="57"/>
                      <a:pt x="59" y="61"/>
                    </a:cubicBezTo>
                    <a:cubicBezTo>
                      <a:pt x="66" y="66"/>
                      <a:pt x="72" y="72"/>
                      <a:pt x="77" y="80"/>
                    </a:cubicBezTo>
                    <a:cubicBezTo>
                      <a:pt x="77" y="82"/>
                      <a:pt x="77" y="83"/>
                      <a:pt x="75" y="84"/>
                    </a:cubicBezTo>
                    <a:cubicBezTo>
                      <a:pt x="74" y="85"/>
                      <a:pt x="72" y="85"/>
                      <a:pt x="71" y="83"/>
                    </a:cubicBezTo>
                    <a:cubicBezTo>
                      <a:pt x="69" y="80"/>
                      <a:pt x="65" y="76"/>
                      <a:pt x="59" y="70"/>
                    </a:cubicBezTo>
                    <a:cubicBezTo>
                      <a:pt x="54" y="66"/>
                      <a:pt x="49" y="64"/>
                      <a:pt x="45" y="63"/>
                    </a:cubicBezTo>
                    <a:cubicBezTo>
                      <a:pt x="45" y="77"/>
                      <a:pt x="45" y="77"/>
                      <a:pt x="45" y="77"/>
                    </a:cubicBezTo>
                    <a:cubicBezTo>
                      <a:pt x="48" y="78"/>
                      <a:pt x="51" y="80"/>
                      <a:pt x="53" y="83"/>
                    </a:cubicBezTo>
                    <a:cubicBezTo>
                      <a:pt x="59" y="88"/>
                      <a:pt x="63" y="94"/>
                      <a:pt x="66" y="102"/>
                    </a:cubicBezTo>
                    <a:cubicBezTo>
                      <a:pt x="71" y="109"/>
                      <a:pt x="73" y="116"/>
                      <a:pt x="72" y="121"/>
                    </a:cubicBezTo>
                    <a:cubicBezTo>
                      <a:pt x="72" y="122"/>
                      <a:pt x="72" y="123"/>
                      <a:pt x="70" y="124"/>
                    </a:cubicBezTo>
                    <a:cubicBezTo>
                      <a:pt x="69" y="124"/>
                      <a:pt x="68" y="124"/>
                      <a:pt x="67" y="122"/>
                    </a:cubicBezTo>
                    <a:cubicBezTo>
                      <a:pt x="67" y="121"/>
                      <a:pt x="66" y="118"/>
                      <a:pt x="64" y="115"/>
                    </a:cubicBezTo>
                    <a:cubicBezTo>
                      <a:pt x="60" y="107"/>
                      <a:pt x="57" y="102"/>
                      <a:pt x="55" y="97"/>
                    </a:cubicBezTo>
                    <a:cubicBezTo>
                      <a:pt x="51" y="91"/>
                      <a:pt x="48" y="88"/>
                      <a:pt x="45" y="87"/>
                    </a:cubicBezTo>
                    <a:cubicBezTo>
                      <a:pt x="45" y="102"/>
                      <a:pt x="45" y="102"/>
                      <a:pt x="45" y="102"/>
                    </a:cubicBezTo>
                    <a:cubicBezTo>
                      <a:pt x="45" y="117"/>
                      <a:pt x="45" y="128"/>
                      <a:pt x="44" y="136"/>
                    </a:cubicBezTo>
                    <a:cubicBezTo>
                      <a:pt x="43" y="137"/>
                      <a:pt x="42" y="138"/>
                      <a:pt x="41" y="139"/>
                    </a:cubicBezTo>
                    <a:cubicBezTo>
                      <a:pt x="40" y="139"/>
                      <a:pt x="39" y="139"/>
                      <a:pt x="38" y="137"/>
                    </a:cubicBezTo>
                    <a:cubicBezTo>
                      <a:pt x="37" y="135"/>
                      <a:pt x="37" y="123"/>
                      <a:pt x="37" y="103"/>
                    </a:cubicBezTo>
                    <a:cubicBezTo>
                      <a:pt x="37" y="97"/>
                      <a:pt x="37" y="92"/>
                      <a:pt x="37" y="86"/>
                    </a:cubicBezTo>
                    <a:cubicBezTo>
                      <a:pt x="34" y="87"/>
                      <a:pt x="31" y="89"/>
                      <a:pt x="28" y="92"/>
                    </a:cubicBezTo>
                    <a:cubicBezTo>
                      <a:pt x="24" y="98"/>
                      <a:pt x="21" y="103"/>
                      <a:pt x="19" y="109"/>
                    </a:cubicBezTo>
                    <a:cubicBezTo>
                      <a:pt x="17" y="113"/>
                      <a:pt x="15" y="117"/>
                      <a:pt x="12" y="121"/>
                    </a:cubicBezTo>
                    <a:cubicBezTo>
                      <a:pt x="11" y="122"/>
                      <a:pt x="9" y="122"/>
                      <a:pt x="8" y="122"/>
                    </a:cubicBezTo>
                    <a:cubicBezTo>
                      <a:pt x="7" y="122"/>
                      <a:pt x="7" y="121"/>
                      <a:pt x="7" y="120"/>
                    </a:cubicBezTo>
                    <a:cubicBezTo>
                      <a:pt x="7" y="119"/>
                      <a:pt x="7" y="118"/>
                      <a:pt x="8" y="117"/>
                    </a:cubicBezTo>
                    <a:cubicBezTo>
                      <a:pt x="9" y="112"/>
                      <a:pt x="10" y="108"/>
                      <a:pt x="11" y="106"/>
                    </a:cubicBezTo>
                    <a:cubicBezTo>
                      <a:pt x="13" y="101"/>
                      <a:pt x="17" y="94"/>
                      <a:pt x="22" y="86"/>
                    </a:cubicBezTo>
                    <a:cubicBezTo>
                      <a:pt x="27" y="80"/>
                      <a:pt x="32" y="77"/>
                      <a:pt x="37" y="76"/>
                    </a:cubicBezTo>
                    <a:cubicBezTo>
                      <a:pt x="37" y="68"/>
                      <a:pt x="37" y="68"/>
                      <a:pt x="37" y="68"/>
                    </a:cubicBezTo>
                    <a:cubicBezTo>
                      <a:pt x="37" y="63"/>
                      <a:pt x="37" y="63"/>
                      <a:pt x="37" y="63"/>
                    </a:cubicBezTo>
                    <a:cubicBezTo>
                      <a:pt x="33" y="64"/>
                      <a:pt x="29" y="66"/>
                      <a:pt x="24" y="69"/>
                    </a:cubicBezTo>
                    <a:cubicBezTo>
                      <a:pt x="23" y="70"/>
                      <a:pt x="20" y="72"/>
                      <a:pt x="16" y="77"/>
                    </a:cubicBezTo>
                    <a:cubicBezTo>
                      <a:pt x="13" y="81"/>
                      <a:pt x="11" y="83"/>
                      <a:pt x="9" y="85"/>
                    </a:cubicBezTo>
                    <a:cubicBezTo>
                      <a:pt x="8" y="86"/>
                      <a:pt x="7" y="87"/>
                      <a:pt x="6" y="86"/>
                    </a:cubicBezTo>
                    <a:cubicBezTo>
                      <a:pt x="5" y="86"/>
                      <a:pt x="5" y="84"/>
                      <a:pt x="5" y="82"/>
                    </a:cubicBezTo>
                    <a:cubicBezTo>
                      <a:pt x="10" y="73"/>
                      <a:pt x="15" y="65"/>
                      <a:pt x="22" y="60"/>
                    </a:cubicBezTo>
                    <a:cubicBezTo>
                      <a:pt x="27" y="56"/>
                      <a:pt x="32" y="54"/>
                      <a:pt x="37" y="54"/>
                    </a:cubicBezTo>
                    <a:cubicBezTo>
                      <a:pt x="37" y="47"/>
                      <a:pt x="37" y="47"/>
                      <a:pt x="37" y="47"/>
                    </a:cubicBezTo>
                    <a:cubicBezTo>
                      <a:pt x="22" y="49"/>
                      <a:pt x="10" y="48"/>
                      <a:pt x="3" y="45"/>
                    </a:cubicBezTo>
                    <a:cubicBezTo>
                      <a:pt x="1" y="44"/>
                      <a:pt x="0" y="42"/>
                      <a:pt x="0" y="40"/>
                    </a:cubicBezTo>
                    <a:cubicBezTo>
                      <a:pt x="1" y="38"/>
                      <a:pt x="3" y="38"/>
                      <a:pt x="5" y="38"/>
                    </a:cubicBezTo>
                    <a:cubicBezTo>
                      <a:pt x="12" y="40"/>
                      <a:pt x="22" y="40"/>
                      <a:pt x="37" y="39"/>
                    </a:cubicBezTo>
                    <a:cubicBezTo>
                      <a:pt x="37" y="39"/>
                      <a:pt x="37" y="39"/>
                      <a:pt x="37" y="39"/>
                    </a:cubicBezTo>
                    <a:cubicBezTo>
                      <a:pt x="38" y="32"/>
                      <a:pt x="36" y="29"/>
                      <a:pt x="33" y="28"/>
                    </a:cubicBezTo>
                    <a:cubicBezTo>
                      <a:pt x="26" y="25"/>
                      <a:pt x="19" y="24"/>
                      <a:pt x="12" y="25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1048899" name="íṣlíḑe"/>
              <p:cNvSpPr/>
              <p:nvPr/>
            </p:nvSpPr>
            <p:spPr bwMode="auto">
              <a:xfrm>
                <a:off x="2273197" y="5255215"/>
                <a:ext cx="163513" cy="263525"/>
              </a:xfrm>
              <a:custGeom>
                <a:avLst/>
                <a:gdLst>
                  <a:gd name="T0" fmla="*/ 47 w 88"/>
                  <a:gd name="T1" fmla="*/ 8 h 143"/>
                  <a:gd name="T2" fmla="*/ 74 w 88"/>
                  <a:gd name="T3" fmla="*/ 14 h 143"/>
                  <a:gd name="T4" fmla="*/ 82 w 88"/>
                  <a:gd name="T5" fmla="*/ 26 h 143"/>
                  <a:gd name="T6" fmla="*/ 79 w 88"/>
                  <a:gd name="T7" fmla="*/ 75 h 143"/>
                  <a:gd name="T8" fmla="*/ 86 w 88"/>
                  <a:gd name="T9" fmla="*/ 136 h 143"/>
                  <a:gd name="T10" fmla="*/ 73 w 88"/>
                  <a:gd name="T11" fmla="*/ 45 h 143"/>
                  <a:gd name="T12" fmla="*/ 67 w 88"/>
                  <a:gd name="T13" fmla="*/ 44 h 143"/>
                  <a:gd name="T14" fmla="*/ 54 w 88"/>
                  <a:gd name="T15" fmla="*/ 58 h 143"/>
                  <a:gd name="T16" fmla="*/ 22 w 88"/>
                  <a:gd name="T17" fmla="*/ 54 h 143"/>
                  <a:gd name="T18" fmla="*/ 15 w 88"/>
                  <a:gd name="T19" fmla="*/ 45 h 143"/>
                  <a:gd name="T20" fmla="*/ 11 w 88"/>
                  <a:gd name="T21" fmla="*/ 91 h 143"/>
                  <a:gd name="T22" fmla="*/ 9 w 88"/>
                  <a:gd name="T23" fmla="*/ 118 h 143"/>
                  <a:gd name="T24" fmla="*/ 2 w 88"/>
                  <a:gd name="T25" fmla="*/ 139 h 143"/>
                  <a:gd name="T26" fmla="*/ 6 w 88"/>
                  <a:gd name="T27" fmla="*/ 80 h 143"/>
                  <a:gd name="T28" fmla="*/ 2 w 88"/>
                  <a:gd name="T29" fmla="*/ 26 h 143"/>
                  <a:gd name="T30" fmla="*/ 32 w 88"/>
                  <a:gd name="T31" fmla="*/ 10 h 143"/>
                  <a:gd name="T32" fmla="*/ 39 w 88"/>
                  <a:gd name="T33" fmla="*/ 0 h 143"/>
                  <a:gd name="T34" fmla="*/ 24 w 88"/>
                  <a:gd name="T35" fmla="*/ 23 h 143"/>
                  <a:gd name="T36" fmla="*/ 66 w 88"/>
                  <a:gd name="T37" fmla="*/ 29 h 143"/>
                  <a:gd name="T38" fmla="*/ 67 w 88"/>
                  <a:gd name="T39" fmla="*/ 37 h 143"/>
                  <a:gd name="T40" fmla="*/ 73 w 88"/>
                  <a:gd name="T41" fmla="*/ 34 h 143"/>
                  <a:gd name="T42" fmla="*/ 66 w 88"/>
                  <a:gd name="T43" fmla="*/ 20 h 143"/>
                  <a:gd name="T44" fmla="*/ 13 w 88"/>
                  <a:gd name="T45" fmla="*/ 21 h 143"/>
                  <a:gd name="T46" fmla="*/ 12 w 88"/>
                  <a:gd name="T47" fmla="*/ 32 h 143"/>
                  <a:gd name="T48" fmla="*/ 17 w 88"/>
                  <a:gd name="T49" fmla="*/ 38 h 143"/>
                  <a:gd name="T50" fmla="*/ 24 w 88"/>
                  <a:gd name="T51" fmla="*/ 23 h 143"/>
                  <a:gd name="T52" fmla="*/ 61 w 88"/>
                  <a:gd name="T53" fmla="*/ 64 h 143"/>
                  <a:gd name="T54" fmla="*/ 66 w 88"/>
                  <a:gd name="T55" fmla="*/ 96 h 143"/>
                  <a:gd name="T56" fmla="*/ 61 w 88"/>
                  <a:gd name="T57" fmla="*/ 136 h 143"/>
                  <a:gd name="T58" fmla="*/ 59 w 88"/>
                  <a:gd name="T59" fmla="*/ 143 h 143"/>
                  <a:gd name="T60" fmla="*/ 46 w 88"/>
                  <a:gd name="T61" fmla="*/ 105 h 143"/>
                  <a:gd name="T62" fmla="*/ 30 w 88"/>
                  <a:gd name="T63" fmla="*/ 140 h 143"/>
                  <a:gd name="T64" fmla="*/ 26 w 88"/>
                  <a:gd name="T65" fmla="*/ 137 h 143"/>
                  <a:gd name="T66" fmla="*/ 32 w 88"/>
                  <a:gd name="T67" fmla="*/ 121 h 143"/>
                  <a:gd name="T68" fmla="*/ 35 w 88"/>
                  <a:gd name="T69" fmla="*/ 105 h 143"/>
                  <a:gd name="T70" fmla="*/ 18 w 88"/>
                  <a:gd name="T71" fmla="*/ 75 h 143"/>
                  <a:gd name="T72" fmla="*/ 24 w 88"/>
                  <a:gd name="T73" fmla="*/ 35 h 143"/>
                  <a:gd name="T74" fmla="*/ 39 w 88"/>
                  <a:gd name="T75" fmla="*/ 37 h 143"/>
                  <a:gd name="T76" fmla="*/ 34 w 88"/>
                  <a:gd name="T77" fmla="*/ 29 h 143"/>
                  <a:gd name="T78" fmla="*/ 24 w 88"/>
                  <a:gd name="T79" fmla="*/ 35 h 143"/>
                  <a:gd name="T80" fmla="*/ 62 w 88"/>
                  <a:gd name="T81" fmla="*/ 84 h 143"/>
                  <a:gd name="T82" fmla="*/ 43 w 88"/>
                  <a:gd name="T83" fmla="*/ 81 h 143"/>
                  <a:gd name="T84" fmla="*/ 25 w 88"/>
                  <a:gd name="T85" fmla="*/ 87 h 143"/>
                  <a:gd name="T86" fmla="*/ 26 w 88"/>
                  <a:gd name="T87" fmla="*/ 48 h 143"/>
                  <a:gd name="T88" fmla="*/ 38 w 88"/>
                  <a:gd name="T89" fmla="*/ 52 h 143"/>
                  <a:gd name="T90" fmla="*/ 25 w 88"/>
                  <a:gd name="T91" fmla="*/ 44 h 143"/>
                  <a:gd name="T92" fmla="*/ 32 w 88"/>
                  <a:gd name="T93" fmla="*/ 69 h 143"/>
                  <a:gd name="T94" fmla="*/ 41 w 88"/>
                  <a:gd name="T95" fmla="*/ 75 h 143"/>
                  <a:gd name="T96" fmla="*/ 57 w 88"/>
                  <a:gd name="T97" fmla="*/ 70 h 143"/>
                  <a:gd name="T98" fmla="*/ 56 w 88"/>
                  <a:gd name="T99" fmla="*/ 98 h 143"/>
                  <a:gd name="T100" fmla="*/ 54 w 88"/>
                  <a:gd name="T101" fmla="*/ 93 h 143"/>
                  <a:gd name="T102" fmla="*/ 36 w 88"/>
                  <a:gd name="T103" fmla="*/ 93 h 143"/>
                  <a:gd name="T104" fmla="*/ 32 w 88"/>
                  <a:gd name="T105" fmla="*/ 98 h 143"/>
                  <a:gd name="T106" fmla="*/ 56 w 88"/>
                  <a:gd name="T107" fmla="*/ 29 h 143"/>
                  <a:gd name="T108" fmla="*/ 46 w 88"/>
                  <a:gd name="T109" fmla="*/ 29 h 143"/>
                  <a:gd name="T110" fmla="*/ 60 w 88"/>
                  <a:gd name="T111" fmla="*/ 37 h 143"/>
                  <a:gd name="T112" fmla="*/ 56 w 88"/>
                  <a:gd name="T113" fmla="*/ 29 h 143"/>
                  <a:gd name="T114" fmla="*/ 60 w 88"/>
                  <a:gd name="T115" fmla="*/ 43 h 143"/>
                  <a:gd name="T116" fmla="*/ 46 w 88"/>
                  <a:gd name="T117" fmla="*/ 52 h 143"/>
                  <a:gd name="T118" fmla="*/ 59 w 88"/>
                  <a:gd name="T119" fmla="*/ 48 h 1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88" h="143">
                    <a:moveTo>
                      <a:pt x="43" y="2"/>
                    </a:moveTo>
                    <a:cubicBezTo>
                      <a:pt x="45" y="3"/>
                      <a:pt x="47" y="6"/>
                      <a:pt x="47" y="8"/>
                    </a:cubicBezTo>
                    <a:cubicBezTo>
                      <a:pt x="47" y="9"/>
                      <a:pt x="48" y="10"/>
                      <a:pt x="49" y="10"/>
                    </a:cubicBezTo>
                    <a:cubicBezTo>
                      <a:pt x="57" y="10"/>
                      <a:pt x="66" y="12"/>
                      <a:pt x="74" y="14"/>
                    </a:cubicBezTo>
                    <a:cubicBezTo>
                      <a:pt x="78" y="16"/>
                      <a:pt x="81" y="18"/>
                      <a:pt x="81" y="19"/>
                    </a:cubicBezTo>
                    <a:cubicBezTo>
                      <a:pt x="82" y="21"/>
                      <a:pt x="82" y="24"/>
                      <a:pt x="82" y="26"/>
                    </a:cubicBezTo>
                    <a:cubicBezTo>
                      <a:pt x="82" y="27"/>
                      <a:pt x="82" y="27"/>
                      <a:pt x="82" y="28"/>
                    </a:cubicBezTo>
                    <a:cubicBezTo>
                      <a:pt x="79" y="39"/>
                      <a:pt x="78" y="55"/>
                      <a:pt x="79" y="75"/>
                    </a:cubicBezTo>
                    <a:cubicBezTo>
                      <a:pt x="80" y="87"/>
                      <a:pt x="83" y="106"/>
                      <a:pt x="87" y="131"/>
                    </a:cubicBezTo>
                    <a:cubicBezTo>
                      <a:pt x="88" y="134"/>
                      <a:pt x="87" y="135"/>
                      <a:pt x="86" y="136"/>
                    </a:cubicBezTo>
                    <a:cubicBezTo>
                      <a:pt x="84" y="137"/>
                      <a:pt x="82" y="136"/>
                      <a:pt x="82" y="133"/>
                    </a:cubicBezTo>
                    <a:cubicBezTo>
                      <a:pt x="74" y="106"/>
                      <a:pt x="71" y="76"/>
                      <a:pt x="73" y="45"/>
                    </a:cubicBezTo>
                    <a:cubicBezTo>
                      <a:pt x="72" y="45"/>
                      <a:pt x="71" y="44"/>
                      <a:pt x="70" y="44"/>
                    </a:cubicBezTo>
                    <a:cubicBezTo>
                      <a:pt x="69" y="44"/>
                      <a:pt x="68" y="44"/>
                      <a:pt x="67" y="44"/>
                    </a:cubicBezTo>
                    <a:cubicBezTo>
                      <a:pt x="67" y="48"/>
                      <a:pt x="66" y="51"/>
                      <a:pt x="64" y="54"/>
                    </a:cubicBezTo>
                    <a:cubicBezTo>
                      <a:pt x="62" y="57"/>
                      <a:pt x="59" y="59"/>
                      <a:pt x="54" y="58"/>
                    </a:cubicBezTo>
                    <a:cubicBezTo>
                      <a:pt x="47" y="58"/>
                      <a:pt x="39" y="58"/>
                      <a:pt x="32" y="58"/>
                    </a:cubicBezTo>
                    <a:cubicBezTo>
                      <a:pt x="28" y="59"/>
                      <a:pt x="25" y="58"/>
                      <a:pt x="22" y="54"/>
                    </a:cubicBezTo>
                    <a:cubicBezTo>
                      <a:pt x="20" y="51"/>
                      <a:pt x="19" y="48"/>
                      <a:pt x="18" y="45"/>
                    </a:cubicBezTo>
                    <a:cubicBezTo>
                      <a:pt x="17" y="45"/>
                      <a:pt x="16" y="45"/>
                      <a:pt x="15" y="45"/>
                    </a:cubicBezTo>
                    <a:cubicBezTo>
                      <a:pt x="14" y="45"/>
                      <a:pt x="13" y="45"/>
                      <a:pt x="13" y="45"/>
                    </a:cubicBezTo>
                    <a:cubicBezTo>
                      <a:pt x="13" y="60"/>
                      <a:pt x="13" y="75"/>
                      <a:pt x="11" y="91"/>
                    </a:cubicBezTo>
                    <a:cubicBezTo>
                      <a:pt x="11" y="95"/>
                      <a:pt x="11" y="102"/>
                      <a:pt x="10" y="111"/>
                    </a:cubicBezTo>
                    <a:cubicBezTo>
                      <a:pt x="10" y="108"/>
                      <a:pt x="10" y="111"/>
                      <a:pt x="9" y="118"/>
                    </a:cubicBezTo>
                    <a:cubicBezTo>
                      <a:pt x="9" y="124"/>
                      <a:pt x="8" y="130"/>
                      <a:pt x="6" y="134"/>
                    </a:cubicBezTo>
                    <a:cubicBezTo>
                      <a:pt x="5" y="138"/>
                      <a:pt x="3" y="139"/>
                      <a:pt x="2" y="139"/>
                    </a:cubicBezTo>
                    <a:cubicBezTo>
                      <a:pt x="0" y="139"/>
                      <a:pt x="0" y="137"/>
                      <a:pt x="0" y="133"/>
                    </a:cubicBezTo>
                    <a:cubicBezTo>
                      <a:pt x="3" y="112"/>
                      <a:pt x="5" y="94"/>
                      <a:pt x="6" y="80"/>
                    </a:cubicBezTo>
                    <a:cubicBezTo>
                      <a:pt x="8" y="64"/>
                      <a:pt x="7" y="51"/>
                      <a:pt x="6" y="38"/>
                    </a:cubicBezTo>
                    <a:cubicBezTo>
                      <a:pt x="5" y="34"/>
                      <a:pt x="4" y="30"/>
                      <a:pt x="2" y="26"/>
                    </a:cubicBezTo>
                    <a:cubicBezTo>
                      <a:pt x="0" y="21"/>
                      <a:pt x="1" y="17"/>
                      <a:pt x="6" y="16"/>
                    </a:cubicBezTo>
                    <a:cubicBezTo>
                      <a:pt x="14" y="12"/>
                      <a:pt x="23" y="11"/>
                      <a:pt x="32" y="10"/>
                    </a:cubicBezTo>
                    <a:cubicBezTo>
                      <a:pt x="36" y="9"/>
                      <a:pt x="38" y="7"/>
                      <a:pt x="38" y="4"/>
                    </a:cubicBezTo>
                    <a:cubicBezTo>
                      <a:pt x="38" y="2"/>
                      <a:pt x="38" y="1"/>
                      <a:pt x="39" y="0"/>
                    </a:cubicBezTo>
                    <a:cubicBezTo>
                      <a:pt x="41" y="0"/>
                      <a:pt x="42" y="0"/>
                      <a:pt x="43" y="2"/>
                    </a:cubicBezTo>
                    <a:close/>
                    <a:moveTo>
                      <a:pt x="24" y="23"/>
                    </a:moveTo>
                    <a:cubicBezTo>
                      <a:pt x="33" y="22"/>
                      <a:pt x="44" y="22"/>
                      <a:pt x="58" y="23"/>
                    </a:cubicBezTo>
                    <a:cubicBezTo>
                      <a:pt x="63" y="24"/>
                      <a:pt x="66" y="26"/>
                      <a:pt x="66" y="29"/>
                    </a:cubicBezTo>
                    <a:cubicBezTo>
                      <a:pt x="66" y="30"/>
                      <a:pt x="66" y="30"/>
                      <a:pt x="67" y="31"/>
                    </a:cubicBezTo>
                    <a:cubicBezTo>
                      <a:pt x="67" y="33"/>
                      <a:pt x="67" y="35"/>
                      <a:pt x="67" y="37"/>
                    </a:cubicBezTo>
                    <a:cubicBezTo>
                      <a:pt x="69" y="38"/>
                      <a:pt x="71" y="38"/>
                      <a:pt x="73" y="38"/>
                    </a:cubicBezTo>
                    <a:cubicBezTo>
                      <a:pt x="73" y="37"/>
                      <a:pt x="73" y="36"/>
                      <a:pt x="73" y="34"/>
                    </a:cubicBezTo>
                    <a:cubicBezTo>
                      <a:pt x="73" y="32"/>
                      <a:pt x="73" y="30"/>
                      <a:pt x="74" y="29"/>
                    </a:cubicBezTo>
                    <a:cubicBezTo>
                      <a:pt x="75" y="25"/>
                      <a:pt x="72" y="21"/>
                      <a:pt x="66" y="20"/>
                    </a:cubicBezTo>
                    <a:cubicBezTo>
                      <a:pt x="58" y="17"/>
                      <a:pt x="50" y="16"/>
                      <a:pt x="40" y="16"/>
                    </a:cubicBezTo>
                    <a:cubicBezTo>
                      <a:pt x="29" y="16"/>
                      <a:pt x="20" y="18"/>
                      <a:pt x="13" y="21"/>
                    </a:cubicBezTo>
                    <a:cubicBezTo>
                      <a:pt x="11" y="22"/>
                      <a:pt x="11" y="24"/>
                      <a:pt x="11" y="26"/>
                    </a:cubicBezTo>
                    <a:cubicBezTo>
                      <a:pt x="11" y="28"/>
                      <a:pt x="12" y="30"/>
                      <a:pt x="12" y="32"/>
                    </a:cubicBezTo>
                    <a:cubicBezTo>
                      <a:pt x="12" y="35"/>
                      <a:pt x="12" y="37"/>
                      <a:pt x="12" y="38"/>
                    </a:cubicBezTo>
                    <a:cubicBezTo>
                      <a:pt x="14" y="38"/>
                      <a:pt x="15" y="38"/>
                      <a:pt x="17" y="38"/>
                    </a:cubicBezTo>
                    <a:cubicBezTo>
                      <a:pt x="17" y="35"/>
                      <a:pt x="17" y="32"/>
                      <a:pt x="17" y="30"/>
                    </a:cubicBezTo>
                    <a:cubicBezTo>
                      <a:pt x="18" y="26"/>
                      <a:pt x="20" y="24"/>
                      <a:pt x="24" y="23"/>
                    </a:cubicBezTo>
                    <a:close/>
                    <a:moveTo>
                      <a:pt x="28" y="64"/>
                    </a:moveTo>
                    <a:cubicBezTo>
                      <a:pt x="39" y="62"/>
                      <a:pt x="50" y="62"/>
                      <a:pt x="61" y="64"/>
                    </a:cubicBezTo>
                    <a:cubicBezTo>
                      <a:pt x="65" y="65"/>
                      <a:pt x="67" y="67"/>
                      <a:pt x="67" y="71"/>
                    </a:cubicBezTo>
                    <a:cubicBezTo>
                      <a:pt x="69" y="79"/>
                      <a:pt x="68" y="88"/>
                      <a:pt x="66" y="96"/>
                    </a:cubicBezTo>
                    <a:cubicBezTo>
                      <a:pt x="65" y="102"/>
                      <a:pt x="61" y="105"/>
                      <a:pt x="54" y="105"/>
                    </a:cubicBezTo>
                    <a:cubicBezTo>
                      <a:pt x="55" y="115"/>
                      <a:pt x="57" y="125"/>
                      <a:pt x="61" y="136"/>
                    </a:cubicBezTo>
                    <a:cubicBezTo>
                      <a:pt x="63" y="138"/>
                      <a:pt x="63" y="140"/>
                      <a:pt x="61" y="142"/>
                    </a:cubicBezTo>
                    <a:cubicBezTo>
                      <a:pt x="60" y="142"/>
                      <a:pt x="59" y="143"/>
                      <a:pt x="59" y="143"/>
                    </a:cubicBezTo>
                    <a:cubicBezTo>
                      <a:pt x="58" y="143"/>
                      <a:pt x="57" y="142"/>
                      <a:pt x="57" y="141"/>
                    </a:cubicBezTo>
                    <a:cubicBezTo>
                      <a:pt x="52" y="131"/>
                      <a:pt x="48" y="120"/>
                      <a:pt x="46" y="105"/>
                    </a:cubicBezTo>
                    <a:cubicBezTo>
                      <a:pt x="41" y="105"/>
                      <a:pt x="41" y="105"/>
                      <a:pt x="41" y="105"/>
                    </a:cubicBezTo>
                    <a:cubicBezTo>
                      <a:pt x="40" y="120"/>
                      <a:pt x="37" y="131"/>
                      <a:pt x="30" y="140"/>
                    </a:cubicBezTo>
                    <a:cubicBezTo>
                      <a:pt x="29" y="141"/>
                      <a:pt x="27" y="142"/>
                      <a:pt x="26" y="142"/>
                    </a:cubicBezTo>
                    <a:cubicBezTo>
                      <a:pt x="25" y="141"/>
                      <a:pt x="25" y="139"/>
                      <a:pt x="26" y="137"/>
                    </a:cubicBezTo>
                    <a:cubicBezTo>
                      <a:pt x="26" y="137"/>
                      <a:pt x="26" y="135"/>
                      <a:pt x="28" y="132"/>
                    </a:cubicBezTo>
                    <a:cubicBezTo>
                      <a:pt x="30" y="127"/>
                      <a:pt x="32" y="123"/>
                      <a:pt x="32" y="121"/>
                    </a:cubicBezTo>
                    <a:cubicBezTo>
                      <a:pt x="33" y="118"/>
                      <a:pt x="34" y="113"/>
                      <a:pt x="35" y="107"/>
                    </a:cubicBezTo>
                    <a:cubicBezTo>
                      <a:pt x="35" y="106"/>
                      <a:pt x="35" y="106"/>
                      <a:pt x="35" y="105"/>
                    </a:cubicBezTo>
                    <a:cubicBezTo>
                      <a:pt x="29" y="105"/>
                      <a:pt x="25" y="103"/>
                      <a:pt x="22" y="98"/>
                    </a:cubicBezTo>
                    <a:cubicBezTo>
                      <a:pt x="19" y="93"/>
                      <a:pt x="17" y="85"/>
                      <a:pt x="18" y="75"/>
                    </a:cubicBezTo>
                    <a:cubicBezTo>
                      <a:pt x="19" y="68"/>
                      <a:pt x="22" y="65"/>
                      <a:pt x="28" y="64"/>
                    </a:cubicBezTo>
                    <a:close/>
                    <a:moveTo>
                      <a:pt x="24" y="35"/>
                    </a:moveTo>
                    <a:cubicBezTo>
                      <a:pt x="24" y="36"/>
                      <a:pt x="24" y="36"/>
                      <a:pt x="24" y="37"/>
                    </a:cubicBezTo>
                    <a:cubicBezTo>
                      <a:pt x="29" y="37"/>
                      <a:pt x="34" y="37"/>
                      <a:pt x="39" y="37"/>
                    </a:cubicBezTo>
                    <a:cubicBezTo>
                      <a:pt x="39" y="34"/>
                      <a:pt x="38" y="31"/>
                      <a:pt x="38" y="29"/>
                    </a:cubicBezTo>
                    <a:cubicBezTo>
                      <a:pt x="37" y="29"/>
                      <a:pt x="36" y="29"/>
                      <a:pt x="34" y="29"/>
                    </a:cubicBezTo>
                    <a:cubicBezTo>
                      <a:pt x="31" y="29"/>
                      <a:pt x="30" y="29"/>
                      <a:pt x="28" y="29"/>
                    </a:cubicBezTo>
                    <a:cubicBezTo>
                      <a:pt x="25" y="31"/>
                      <a:pt x="24" y="32"/>
                      <a:pt x="24" y="35"/>
                    </a:cubicBezTo>
                    <a:close/>
                    <a:moveTo>
                      <a:pt x="61" y="87"/>
                    </a:moveTo>
                    <a:cubicBezTo>
                      <a:pt x="61" y="86"/>
                      <a:pt x="62" y="85"/>
                      <a:pt x="62" y="84"/>
                    </a:cubicBezTo>
                    <a:cubicBezTo>
                      <a:pt x="62" y="83"/>
                      <a:pt x="62" y="82"/>
                      <a:pt x="62" y="82"/>
                    </a:cubicBezTo>
                    <a:cubicBezTo>
                      <a:pt x="56" y="81"/>
                      <a:pt x="50" y="80"/>
                      <a:pt x="43" y="81"/>
                    </a:cubicBezTo>
                    <a:cubicBezTo>
                      <a:pt x="37" y="81"/>
                      <a:pt x="31" y="82"/>
                      <a:pt x="24" y="83"/>
                    </a:cubicBezTo>
                    <a:cubicBezTo>
                      <a:pt x="25" y="87"/>
                      <a:pt x="25" y="87"/>
                      <a:pt x="25" y="87"/>
                    </a:cubicBezTo>
                    <a:cubicBezTo>
                      <a:pt x="35" y="86"/>
                      <a:pt x="48" y="86"/>
                      <a:pt x="61" y="87"/>
                    </a:cubicBezTo>
                    <a:close/>
                    <a:moveTo>
                      <a:pt x="26" y="48"/>
                    </a:moveTo>
                    <a:cubicBezTo>
                      <a:pt x="28" y="51"/>
                      <a:pt x="30" y="52"/>
                      <a:pt x="35" y="52"/>
                    </a:cubicBezTo>
                    <a:cubicBezTo>
                      <a:pt x="38" y="52"/>
                      <a:pt x="38" y="52"/>
                      <a:pt x="38" y="52"/>
                    </a:cubicBezTo>
                    <a:cubicBezTo>
                      <a:pt x="38" y="49"/>
                      <a:pt x="39" y="46"/>
                      <a:pt x="39" y="44"/>
                    </a:cubicBezTo>
                    <a:cubicBezTo>
                      <a:pt x="34" y="44"/>
                      <a:pt x="30" y="44"/>
                      <a:pt x="25" y="44"/>
                    </a:cubicBezTo>
                    <a:cubicBezTo>
                      <a:pt x="25" y="46"/>
                      <a:pt x="25" y="47"/>
                      <a:pt x="26" y="48"/>
                    </a:cubicBezTo>
                    <a:close/>
                    <a:moveTo>
                      <a:pt x="32" y="69"/>
                    </a:moveTo>
                    <a:cubicBezTo>
                      <a:pt x="28" y="70"/>
                      <a:pt x="25" y="72"/>
                      <a:pt x="25" y="76"/>
                    </a:cubicBezTo>
                    <a:cubicBezTo>
                      <a:pt x="30" y="75"/>
                      <a:pt x="35" y="75"/>
                      <a:pt x="41" y="75"/>
                    </a:cubicBezTo>
                    <a:cubicBezTo>
                      <a:pt x="46" y="74"/>
                      <a:pt x="53" y="74"/>
                      <a:pt x="61" y="75"/>
                    </a:cubicBezTo>
                    <a:cubicBezTo>
                      <a:pt x="61" y="72"/>
                      <a:pt x="59" y="71"/>
                      <a:pt x="57" y="70"/>
                    </a:cubicBezTo>
                    <a:cubicBezTo>
                      <a:pt x="49" y="68"/>
                      <a:pt x="40" y="68"/>
                      <a:pt x="32" y="69"/>
                    </a:cubicBezTo>
                    <a:close/>
                    <a:moveTo>
                      <a:pt x="56" y="98"/>
                    </a:moveTo>
                    <a:cubicBezTo>
                      <a:pt x="59" y="97"/>
                      <a:pt x="60" y="96"/>
                      <a:pt x="61" y="93"/>
                    </a:cubicBezTo>
                    <a:cubicBezTo>
                      <a:pt x="60" y="93"/>
                      <a:pt x="57" y="93"/>
                      <a:pt x="54" y="93"/>
                    </a:cubicBezTo>
                    <a:cubicBezTo>
                      <a:pt x="48" y="92"/>
                      <a:pt x="44" y="92"/>
                      <a:pt x="41" y="92"/>
                    </a:cubicBezTo>
                    <a:cubicBezTo>
                      <a:pt x="40" y="92"/>
                      <a:pt x="38" y="92"/>
                      <a:pt x="36" y="93"/>
                    </a:cubicBezTo>
                    <a:cubicBezTo>
                      <a:pt x="31" y="93"/>
                      <a:pt x="28" y="94"/>
                      <a:pt x="26" y="94"/>
                    </a:cubicBezTo>
                    <a:cubicBezTo>
                      <a:pt x="27" y="96"/>
                      <a:pt x="29" y="98"/>
                      <a:pt x="32" y="98"/>
                    </a:cubicBezTo>
                    <a:cubicBezTo>
                      <a:pt x="39" y="99"/>
                      <a:pt x="47" y="99"/>
                      <a:pt x="56" y="98"/>
                    </a:cubicBezTo>
                    <a:close/>
                    <a:moveTo>
                      <a:pt x="56" y="29"/>
                    </a:moveTo>
                    <a:cubicBezTo>
                      <a:pt x="55" y="29"/>
                      <a:pt x="53" y="29"/>
                      <a:pt x="51" y="29"/>
                    </a:cubicBezTo>
                    <a:cubicBezTo>
                      <a:pt x="49" y="29"/>
                      <a:pt x="47" y="29"/>
                      <a:pt x="46" y="29"/>
                    </a:cubicBezTo>
                    <a:cubicBezTo>
                      <a:pt x="46" y="31"/>
                      <a:pt x="46" y="34"/>
                      <a:pt x="46" y="37"/>
                    </a:cubicBezTo>
                    <a:cubicBezTo>
                      <a:pt x="50" y="37"/>
                      <a:pt x="55" y="37"/>
                      <a:pt x="60" y="37"/>
                    </a:cubicBezTo>
                    <a:cubicBezTo>
                      <a:pt x="60" y="35"/>
                      <a:pt x="60" y="35"/>
                      <a:pt x="60" y="35"/>
                    </a:cubicBezTo>
                    <a:cubicBezTo>
                      <a:pt x="60" y="32"/>
                      <a:pt x="58" y="30"/>
                      <a:pt x="56" y="29"/>
                    </a:cubicBezTo>
                    <a:close/>
                    <a:moveTo>
                      <a:pt x="59" y="48"/>
                    </a:moveTo>
                    <a:cubicBezTo>
                      <a:pt x="59" y="47"/>
                      <a:pt x="59" y="45"/>
                      <a:pt x="60" y="43"/>
                    </a:cubicBezTo>
                    <a:cubicBezTo>
                      <a:pt x="55" y="43"/>
                      <a:pt x="51" y="43"/>
                      <a:pt x="46" y="43"/>
                    </a:cubicBezTo>
                    <a:cubicBezTo>
                      <a:pt x="46" y="52"/>
                      <a:pt x="46" y="52"/>
                      <a:pt x="46" y="52"/>
                    </a:cubicBezTo>
                    <a:cubicBezTo>
                      <a:pt x="48" y="52"/>
                      <a:pt x="51" y="52"/>
                      <a:pt x="54" y="52"/>
                    </a:cubicBezTo>
                    <a:cubicBezTo>
                      <a:pt x="57" y="51"/>
                      <a:pt x="59" y="49"/>
                      <a:pt x="59" y="48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1048900" name="îSḻide"/>
              <p:cNvSpPr/>
              <p:nvPr/>
            </p:nvSpPr>
            <p:spPr bwMode="auto">
              <a:xfrm>
                <a:off x="2449409" y="5256803"/>
                <a:ext cx="139700" cy="265113"/>
              </a:xfrm>
              <a:custGeom>
                <a:avLst/>
                <a:gdLst>
                  <a:gd name="T0" fmla="*/ 56 w 76"/>
                  <a:gd name="T1" fmla="*/ 3 h 144"/>
                  <a:gd name="T2" fmla="*/ 61 w 76"/>
                  <a:gd name="T3" fmla="*/ 45 h 144"/>
                  <a:gd name="T4" fmla="*/ 50 w 76"/>
                  <a:gd name="T5" fmla="*/ 74 h 144"/>
                  <a:gd name="T6" fmla="*/ 68 w 76"/>
                  <a:gd name="T7" fmla="*/ 65 h 144"/>
                  <a:gd name="T8" fmla="*/ 70 w 76"/>
                  <a:gd name="T9" fmla="*/ 31 h 144"/>
                  <a:gd name="T10" fmla="*/ 74 w 76"/>
                  <a:gd name="T11" fmla="*/ 31 h 144"/>
                  <a:gd name="T12" fmla="*/ 74 w 76"/>
                  <a:gd name="T13" fmla="*/ 64 h 144"/>
                  <a:gd name="T14" fmla="*/ 50 w 76"/>
                  <a:gd name="T15" fmla="*/ 81 h 144"/>
                  <a:gd name="T16" fmla="*/ 69 w 76"/>
                  <a:gd name="T17" fmla="*/ 103 h 144"/>
                  <a:gd name="T18" fmla="*/ 74 w 76"/>
                  <a:gd name="T19" fmla="*/ 140 h 144"/>
                  <a:gd name="T20" fmla="*/ 63 w 76"/>
                  <a:gd name="T21" fmla="*/ 105 h 144"/>
                  <a:gd name="T22" fmla="*/ 52 w 76"/>
                  <a:gd name="T23" fmla="*/ 138 h 144"/>
                  <a:gd name="T24" fmla="*/ 46 w 76"/>
                  <a:gd name="T25" fmla="*/ 139 h 144"/>
                  <a:gd name="T26" fmla="*/ 42 w 76"/>
                  <a:gd name="T27" fmla="*/ 57 h 144"/>
                  <a:gd name="T28" fmla="*/ 35 w 76"/>
                  <a:gd name="T29" fmla="*/ 132 h 144"/>
                  <a:gd name="T30" fmla="*/ 27 w 76"/>
                  <a:gd name="T31" fmla="*/ 136 h 144"/>
                  <a:gd name="T32" fmla="*/ 29 w 76"/>
                  <a:gd name="T33" fmla="*/ 95 h 144"/>
                  <a:gd name="T34" fmla="*/ 5 w 76"/>
                  <a:gd name="T35" fmla="*/ 135 h 144"/>
                  <a:gd name="T36" fmla="*/ 0 w 76"/>
                  <a:gd name="T37" fmla="*/ 135 h 144"/>
                  <a:gd name="T38" fmla="*/ 30 w 76"/>
                  <a:gd name="T39" fmla="*/ 86 h 144"/>
                  <a:gd name="T40" fmla="*/ 26 w 76"/>
                  <a:gd name="T41" fmla="*/ 80 h 144"/>
                  <a:gd name="T42" fmla="*/ 5 w 76"/>
                  <a:gd name="T43" fmla="*/ 66 h 144"/>
                  <a:gd name="T44" fmla="*/ 3 w 76"/>
                  <a:gd name="T45" fmla="*/ 29 h 144"/>
                  <a:gd name="T46" fmla="*/ 9 w 76"/>
                  <a:gd name="T47" fmla="*/ 59 h 144"/>
                  <a:gd name="T48" fmla="*/ 31 w 76"/>
                  <a:gd name="T49" fmla="*/ 74 h 144"/>
                  <a:gd name="T50" fmla="*/ 32 w 76"/>
                  <a:gd name="T51" fmla="*/ 57 h 144"/>
                  <a:gd name="T52" fmla="*/ 16 w 76"/>
                  <a:gd name="T53" fmla="*/ 14 h 144"/>
                  <a:gd name="T54" fmla="*/ 22 w 76"/>
                  <a:gd name="T55" fmla="*/ 19 h 144"/>
                  <a:gd name="T56" fmla="*/ 57 w 76"/>
                  <a:gd name="T57" fmla="*/ 19 h 144"/>
                  <a:gd name="T58" fmla="*/ 50 w 76"/>
                  <a:gd name="T59" fmla="*/ 9 h 144"/>
                  <a:gd name="T60" fmla="*/ 22 w 76"/>
                  <a:gd name="T61" fmla="*/ 19 h 144"/>
                  <a:gd name="T62" fmla="*/ 23 w 76"/>
                  <a:gd name="T63" fmla="*/ 31 h 144"/>
                  <a:gd name="T64" fmla="*/ 57 w 76"/>
                  <a:gd name="T65" fmla="*/ 34 h 144"/>
                  <a:gd name="T66" fmla="*/ 22 w 76"/>
                  <a:gd name="T67" fmla="*/ 27 h 144"/>
                  <a:gd name="T68" fmla="*/ 48 w 76"/>
                  <a:gd name="T69" fmla="*/ 50 h 144"/>
                  <a:gd name="T70" fmla="*/ 57 w 76"/>
                  <a:gd name="T71" fmla="*/ 41 h 144"/>
                  <a:gd name="T72" fmla="*/ 25 w 76"/>
                  <a:gd name="T73" fmla="*/ 44 h 1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76" h="144">
                    <a:moveTo>
                      <a:pt x="27" y="2"/>
                    </a:moveTo>
                    <a:cubicBezTo>
                      <a:pt x="37" y="0"/>
                      <a:pt x="47" y="0"/>
                      <a:pt x="56" y="3"/>
                    </a:cubicBezTo>
                    <a:cubicBezTo>
                      <a:pt x="60" y="3"/>
                      <a:pt x="62" y="7"/>
                      <a:pt x="63" y="15"/>
                    </a:cubicBezTo>
                    <a:cubicBezTo>
                      <a:pt x="65" y="25"/>
                      <a:pt x="64" y="35"/>
                      <a:pt x="61" y="45"/>
                    </a:cubicBezTo>
                    <a:cubicBezTo>
                      <a:pt x="60" y="53"/>
                      <a:pt x="55" y="56"/>
                      <a:pt x="49" y="57"/>
                    </a:cubicBezTo>
                    <a:cubicBezTo>
                      <a:pt x="49" y="62"/>
                      <a:pt x="50" y="68"/>
                      <a:pt x="50" y="74"/>
                    </a:cubicBezTo>
                    <a:cubicBezTo>
                      <a:pt x="53" y="74"/>
                      <a:pt x="56" y="74"/>
                      <a:pt x="58" y="74"/>
                    </a:cubicBezTo>
                    <a:cubicBezTo>
                      <a:pt x="62" y="75"/>
                      <a:pt x="66" y="72"/>
                      <a:pt x="68" y="65"/>
                    </a:cubicBezTo>
                    <a:cubicBezTo>
                      <a:pt x="69" y="62"/>
                      <a:pt x="70" y="53"/>
                      <a:pt x="70" y="39"/>
                    </a:cubicBezTo>
                    <a:cubicBezTo>
                      <a:pt x="70" y="35"/>
                      <a:pt x="70" y="32"/>
                      <a:pt x="70" y="31"/>
                    </a:cubicBezTo>
                    <a:cubicBezTo>
                      <a:pt x="71" y="31"/>
                      <a:pt x="71" y="30"/>
                      <a:pt x="72" y="30"/>
                    </a:cubicBezTo>
                    <a:cubicBezTo>
                      <a:pt x="73" y="30"/>
                      <a:pt x="74" y="30"/>
                      <a:pt x="74" y="31"/>
                    </a:cubicBezTo>
                    <a:cubicBezTo>
                      <a:pt x="75" y="33"/>
                      <a:pt x="76" y="36"/>
                      <a:pt x="76" y="41"/>
                    </a:cubicBezTo>
                    <a:cubicBezTo>
                      <a:pt x="76" y="49"/>
                      <a:pt x="75" y="56"/>
                      <a:pt x="74" y="64"/>
                    </a:cubicBezTo>
                    <a:cubicBezTo>
                      <a:pt x="72" y="75"/>
                      <a:pt x="67" y="81"/>
                      <a:pt x="58" y="81"/>
                    </a:cubicBezTo>
                    <a:cubicBezTo>
                      <a:pt x="50" y="81"/>
                      <a:pt x="50" y="81"/>
                      <a:pt x="50" y="81"/>
                    </a:cubicBezTo>
                    <a:cubicBezTo>
                      <a:pt x="50" y="87"/>
                      <a:pt x="50" y="87"/>
                      <a:pt x="50" y="87"/>
                    </a:cubicBezTo>
                    <a:cubicBezTo>
                      <a:pt x="60" y="87"/>
                      <a:pt x="66" y="92"/>
                      <a:pt x="69" y="103"/>
                    </a:cubicBezTo>
                    <a:cubicBezTo>
                      <a:pt x="72" y="112"/>
                      <a:pt x="74" y="122"/>
                      <a:pt x="76" y="134"/>
                    </a:cubicBezTo>
                    <a:cubicBezTo>
                      <a:pt x="76" y="138"/>
                      <a:pt x="75" y="140"/>
                      <a:pt x="74" y="140"/>
                    </a:cubicBezTo>
                    <a:cubicBezTo>
                      <a:pt x="72" y="141"/>
                      <a:pt x="71" y="139"/>
                      <a:pt x="70" y="136"/>
                    </a:cubicBezTo>
                    <a:cubicBezTo>
                      <a:pt x="68" y="126"/>
                      <a:pt x="66" y="116"/>
                      <a:pt x="63" y="105"/>
                    </a:cubicBezTo>
                    <a:cubicBezTo>
                      <a:pt x="61" y="98"/>
                      <a:pt x="57" y="95"/>
                      <a:pt x="50" y="95"/>
                    </a:cubicBezTo>
                    <a:cubicBezTo>
                      <a:pt x="50" y="109"/>
                      <a:pt x="51" y="123"/>
                      <a:pt x="52" y="138"/>
                    </a:cubicBezTo>
                    <a:cubicBezTo>
                      <a:pt x="52" y="141"/>
                      <a:pt x="51" y="143"/>
                      <a:pt x="49" y="144"/>
                    </a:cubicBezTo>
                    <a:cubicBezTo>
                      <a:pt x="47" y="144"/>
                      <a:pt x="46" y="142"/>
                      <a:pt x="46" y="139"/>
                    </a:cubicBezTo>
                    <a:cubicBezTo>
                      <a:pt x="44" y="134"/>
                      <a:pt x="43" y="118"/>
                      <a:pt x="43" y="92"/>
                    </a:cubicBezTo>
                    <a:cubicBezTo>
                      <a:pt x="43" y="76"/>
                      <a:pt x="43" y="64"/>
                      <a:pt x="42" y="57"/>
                    </a:cubicBezTo>
                    <a:cubicBezTo>
                      <a:pt x="38" y="57"/>
                      <a:pt x="38" y="57"/>
                      <a:pt x="38" y="57"/>
                    </a:cubicBezTo>
                    <a:cubicBezTo>
                      <a:pt x="36" y="88"/>
                      <a:pt x="35" y="113"/>
                      <a:pt x="35" y="132"/>
                    </a:cubicBezTo>
                    <a:cubicBezTo>
                      <a:pt x="35" y="138"/>
                      <a:pt x="33" y="142"/>
                      <a:pt x="31" y="142"/>
                    </a:cubicBezTo>
                    <a:cubicBezTo>
                      <a:pt x="29" y="142"/>
                      <a:pt x="27" y="140"/>
                      <a:pt x="27" y="136"/>
                    </a:cubicBezTo>
                    <a:cubicBezTo>
                      <a:pt x="27" y="136"/>
                      <a:pt x="27" y="134"/>
                      <a:pt x="27" y="132"/>
                    </a:cubicBezTo>
                    <a:cubicBezTo>
                      <a:pt x="28" y="118"/>
                      <a:pt x="29" y="105"/>
                      <a:pt x="29" y="95"/>
                    </a:cubicBezTo>
                    <a:cubicBezTo>
                      <a:pt x="19" y="95"/>
                      <a:pt x="14" y="98"/>
                      <a:pt x="13" y="105"/>
                    </a:cubicBezTo>
                    <a:cubicBezTo>
                      <a:pt x="10" y="114"/>
                      <a:pt x="7" y="124"/>
                      <a:pt x="5" y="135"/>
                    </a:cubicBezTo>
                    <a:cubicBezTo>
                      <a:pt x="4" y="137"/>
                      <a:pt x="3" y="139"/>
                      <a:pt x="2" y="139"/>
                    </a:cubicBezTo>
                    <a:cubicBezTo>
                      <a:pt x="1" y="140"/>
                      <a:pt x="0" y="138"/>
                      <a:pt x="0" y="135"/>
                    </a:cubicBezTo>
                    <a:cubicBezTo>
                      <a:pt x="0" y="125"/>
                      <a:pt x="2" y="115"/>
                      <a:pt x="7" y="104"/>
                    </a:cubicBezTo>
                    <a:cubicBezTo>
                      <a:pt x="11" y="92"/>
                      <a:pt x="18" y="86"/>
                      <a:pt x="30" y="86"/>
                    </a:cubicBezTo>
                    <a:cubicBezTo>
                      <a:pt x="30" y="85"/>
                      <a:pt x="30" y="83"/>
                      <a:pt x="31" y="80"/>
                    </a:cubicBezTo>
                    <a:cubicBezTo>
                      <a:pt x="29" y="81"/>
                      <a:pt x="28" y="81"/>
                      <a:pt x="26" y="80"/>
                    </a:cubicBezTo>
                    <a:cubicBezTo>
                      <a:pt x="24" y="80"/>
                      <a:pt x="23" y="80"/>
                      <a:pt x="22" y="80"/>
                    </a:cubicBezTo>
                    <a:cubicBezTo>
                      <a:pt x="14" y="81"/>
                      <a:pt x="8" y="76"/>
                      <a:pt x="5" y="66"/>
                    </a:cubicBezTo>
                    <a:cubicBezTo>
                      <a:pt x="2" y="59"/>
                      <a:pt x="0" y="49"/>
                      <a:pt x="0" y="37"/>
                    </a:cubicBezTo>
                    <a:cubicBezTo>
                      <a:pt x="0" y="32"/>
                      <a:pt x="1" y="29"/>
                      <a:pt x="3" y="29"/>
                    </a:cubicBezTo>
                    <a:cubicBezTo>
                      <a:pt x="6" y="31"/>
                      <a:pt x="8" y="35"/>
                      <a:pt x="8" y="39"/>
                    </a:cubicBezTo>
                    <a:cubicBezTo>
                      <a:pt x="7" y="45"/>
                      <a:pt x="7" y="52"/>
                      <a:pt x="9" y="59"/>
                    </a:cubicBezTo>
                    <a:cubicBezTo>
                      <a:pt x="10" y="68"/>
                      <a:pt x="16" y="73"/>
                      <a:pt x="24" y="74"/>
                    </a:cubicBezTo>
                    <a:cubicBezTo>
                      <a:pt x="26" y="74"/>
                      <a:pt x="29" y="74"/>
                      <a:pt x="31" y="74"/>
                    </a:cubicBezTo>
                    <a:cubicBezTo>
                      <a:pt x="31" y="72"/>
                      <a:pt x="31" y="69"/>
                      <a:pt x="31" y="65"/>
                    </a:cubicBezTo>
                    <a:cubicBezTo>
                      <a:pt x="31" y="61"/>
                      <a:pt x="32" y="58"/>
                      <a:pt x="32" y="57"/>
                    </a:cubicBezTo>
                    <a:cubicBezTo>
                      <a:pt x="25" y="56"/>
                      <a:pt x="20" y="53"/>
                      <a:pt x="19" y="48"/>
                    </a:cubicBezTo>
                    <a:cubicBezTo>
                      <a:pt x="15" y="36"/>
                      <a:pt x="14" y="25"/>
                      <a:pt x="16" y="14"/>
                    </a:cubicBezTo>
                    <a:cubicBezTo>
                      <a:pt x="17" y="6"/>
                      <a:pt x="21" y="2"/>
                      <a:pt x="27" y="2"/>
                    </a:cubicBezTo>
                    <a:close/>
                    <a:moveTo>
                      <a:pt x="22" y="19"/>
                    </a:moveTo>
                    <a:cubicBezTo>
                      <a:pt x="22" y="20"/>
                      <a:pt x="22" y="20"/>
                      <a:pt x="22" y="20"/>
                    </a:cubicBezTo>
                    <a:cubicBezTo>
                      <a:pt x="30" y="20"/>
                      <a:pt x="42" y="19"/>
                      <a:pt x="57" y="19"/>
                    </a:cubicBezTo>
                    <a:cubicBezTo>
                      <a:pt x="57" y="18"/>
                      <a:pt x="57" y="17"/>
                      <a:pt x="57" y="16"/>
                    </a:cubicBezTo>
                    <a:cubicBezTo>
                      <a:pt x="56" y="13"/>
                      <a:pt x="54" y="10"/>
                      <a:pt x="50" y="9"/>
                    </a:cubicBezTo>
                    <a:cubicBezTo>
                      <a:pt x="44" y="8"/>
                      <a:pt x="37" y="7"/>
                      <a:pt x="31" y="9"/>
                    </a:cubicBezTo>
                    <a:cubicBezTo>
                      <a:pt x="25" y="11"/>
                      <a:pt x="22" y="14"/>
                      <a:pt x="22" y="19"/>
                    </a:cubicBezTo>
                    <a:close/>
                    <a:moveTo>
                      <a:pt x="22" y="27"/>
                    </a:moveTo>
                    <a:cubicBezTo>
                      <a:pt x="22" y="28"/>
                      <a:pt x="22" y="29"/>
                      <a:pt x="23" y="31"/>
                    </a:cubicBezTo>
                    <a:cubicBezTo>
                      <a:pt x="23" y="32"/>
                      <a:pt x="23" y="33"/>
                      <a:pt x="23" y="34"/>
                    </a:cubicBezTo>
                    <a:cubicBezTo>
                      <a:pt x="57" y="34"/>
                      <a:pt x="57" y="34"/>
                      <a:pt x="57" y="34"/>
                    </a:cubicBezTo>
                    <a:cubicBezTo>
                      <a:pt x="57" y="27"/>
                      <a:pt x="57" y="27"/>
                      <a:pt x="57" y="27"/>
                    </a:cubicBezTo>
                    <a:cubicBezTo>
                      <a:pt x="45" y="26"/>
                      <a:pt x="33" y="26"/>
                      <a:pt x="22" y="27"/>
                    </a:cubicBezTo>
                    <a:close/>
                    <a:moveTo>
                      <a:pt x="35" y="50"/>
                    </a:moveTo>
                    <a:cubicBezTo>
                      <a:pt x="48" y="50"/>
                      <a:pt x="48" y="50"/>
                      <a:pt x="48" y="50"/>
                    </a:cubicBezTo>
                    <a:cubicBezTo>
                      <a:pt x="53" y="50"/>
                      <a:pt x="55" y="47"/>
                      <a:pt x="57" y="42"/>
                    </a:cubicBezTo>
                    <a:cubicBezTo>
                      <a:pt x="57" y="41"/>
                      <a:pt x="57" y="41"/>
                      <a:pt x="57" y="41"/>
                    </a:cubicBezTo>
                    <a:cubicBezTo>
                      <a:pt x="43" y="41"/>
                      <a:pt x="32" y="41"/>
                      <a:pt x="24" y="42"/>
                    </a:cubicBezTo>
                    <a:cubicBezTo>
                      <a:pt x="24" y="43"/>
                      <a:pt x="24" y="43"/>
                      <a:pt x="25" y="44"/>
                    </a:cubicBezTo>
                    <a:cubicBezTo>
                      <a:pt x="27" y="48"/>
                      <a:pt x="30" y="50"/>
                      <a:pt x="35" y="5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1048901" name="iṣlîḋè"/>
              <p:cNvSpPr/>
              <p:nvPr/>
            </p:nvSpPr>
            <p:spPr bwMode="auto">
              <a:xfrm>
                <a:off x="2604984" y="5259978"/>
                <a:ext cx="177800" cy="255588"/>
              </a:xfrm>
              <a:custGeom>
                <a:avLst/>
                <a:gdLst>
                  <a:gd name="T0" fmla="*/ 5 w 96"/>
                  <a:gd name="T1" fmla="*/ 37 h 138"/>
                  <a:gd name="T2" fmla="*/ 24 w 96"/>
                  <a:gd name="T3" fmla="*/ 49 h 138"/>
                  <a:gd name="T4" fmla="*/ 7 w 96"/>
                  <a:gd name="T5" fmla="*/ 26 h 138"/>
                  <a:gd name="T6" fmla="*/ 0 w 96"/>
                  <a:gd name="T7" fmla="*/ 22 h 138"/>
                  <a:gd name="T8" fmla="*/ 44 w 96"/>
                  <a:gd name="T9" fmla="*/ 19 h 138"/>
                  <a:gd name="T10" fmla="*/ 40 w 96"/>
                  <a:gd name="T11" fmla="*/ 26 h 138"/>
                  <a:gd name="T12" fmla="*/ 29 w 96"/>
                  <a:gd name="T13" fmla="*/ 49 h 138"/>
                  <a:gd name="T14" fmla="*/ 42 w 96"/>
                  <a:gd name="T15" fmla="*/ 39 h 138"/>
                  <a:gd name="T16" fmla="*/ 36 w 96"/>
                  <a:gd name="T17" fmla="*/ 64 h 138"/>
                  <a:gd name="T18" fmla="*/ 44 w 96"/>
                  <a:gd name="T19" fmla="*/ 70 h 138"/>
                  <a:gd name="T20" fmla="*/ 30 w 96"/>
                  <a:gd name="T21" fmla="*/ 78 h 138"/>
                  <a:gd name="T22" fmla="*/ 48 w 96"/>
                  <a:gd name="T23" fmla="*/ 111 h 138"/>
                  <a:gd name="T24" fmla="*/ 42 w 96"/>
                  <a:gd name="T25" fmla="*/ 124 h 138"/>
                  <a:gd name="T26" fmla="*/ 33 w 96"/>
                  <a:gd name="T27" fmla="*/ 93 h 138"/>
                  <a:gd name="T28" fmla="*/ 30 w 96"/>
                  <a:gd name="T29" fmla="*/ 116 h 138"/>
                  <a:gd name="T30" fmla="*/ 24 w 96"/>
                  <a:gd name="T31" fmla="*/ 133 h 138"/>
                  <a:gd name="T32" fmla="*/ 20 w 96"/>
                  <a:gd name="T33" fmla="*/ 93 h 138"/>
                  <a:gd name="T34" fmla="*/ 11 w 96"/>
                  <a:gd name="T35" fmla="*/ 122 h 138"/>
                  <a:gd name="T36" fmla="*/ 8 w 96"/>
                  <a:gd name="T37" fmla="*/ 102 h 138"/>
                  <a:gd name="T38" fmla="*/ 24 w 96"/>
                  <a:gd name="T39" fmla="*/ 81 h 138"/>
                  <a:gd name="T40" fmla="*/ 3 w 96"/>
                  <a:gd name="T41" fmla="*/ 77 h 138"/>
                  <a:gd name="T42" fmla="*/ 14 w 96"/>
                  <a:gd name="T43" fmla="*/ 70 h 138"/>
                  <a:gd name="T44" fmla="*/ 20 w 96"/>
                  <a:gd name="T45" fmla="*/ 65 h 138"/>
                  <a:gd name="T46" fmla="*/ 2 w 96"/>
                  <a:gd name="T47" fmla="*/ 37 h 138"/>
                  <a:gd name="T48" fmla="*/ 40 w 96"/>
                  <a:gd name="T49" fmla="*/ 3 h 138"/>
                  <a:gd name="T50" fmla="*/ 14 w 96"/>
                  <a:gd name="T51" fmla="*/ 11 h 138"/>
                  <a:gd name="T52" fmla="*/ 5 w 96"/>
                  <a:gd name="T53" fmla="*/ 6 h 138"/>
                  <a:gd name="T54" fmla="*/ 33 w 96"/>
                  <a:gd name="T55" fmla="*/ 26 h 138"/>
                  <a:gd name="T56" fmla="*/ 27 w 96"/>
                  <a:gd name="T57" fmla="*/ 45 h 138"/>
                  <a:gd name="T58" fmla="*/ 54 w 96"/>
                  <a:gd name="T59" fmla="*/ 2 h 138"/>
                  <a:gd name="T60" fmla="*/ 58 w 96"/>
                  <a:gd name="T61" fmla="*/ 10 h 138"/>
                  <a:gd name="T62" fmla="*/ 88 w 96"/>
                  <a:gd name="T63" fmla="*/ 22 h 138"/>
                  <a:gd name="T64" fmla="*/ 74 w 96"/>
                  <a:gd name="T65" fmla="*/ 37 h 138"/>
                  <a:gd name="T66" fmla="*/ 62 w 96"/>
                  <a:gd name="T67" fmla="*/ 66 h 138"/>
                  <a:gd name="T68" fmla="*/ 53 w 96"/>
                  <a:gd name="T69" fmla="*/ 136 h 138"/>
                  <a:gd name="T70" fmla="*/ 48 w 96"/>
                  <a:gd name="T71" fmla="*/ 130 h 138"/>
                  <a:gd name="T72" fmla="*/ 55 w 96"/>
                  <a:gd name="T73" fmla="*/ 48 h 138"/>
                  <a:gd name="T74" fmla="*/ 76 w 96"/>
                  <a:gd name="T75" fmla="*/ 31 h 138"/>
                  <a:gd name="T76" fmla="*/ 65 w 96"/>
                  <a:gd name="T77" fmla="*/ 18 h 138"/>
                  <a:gd name="T78" fmla="*/ 52 w 96"/>
                  <a:gd name="T79" fmla="*/ 13 h 138"/>
                  <a:gd name="T80" fmla="*/ 94 w 96"/>
                  <a:gd name="T81" fmla="*/ 74 h 138"/>
                  <a:gd name="T82" fmla="*/ 76 w 96"/>
                  <a:gd name="T83" fmla="*/ 54 h 138"/>
                  <a:gd name="T84" fmla="*/ 83 w 96"/>
                  <a:gd name="T85" fmla="*/ 119 h 138"/>
                  <a:gd name="T86" fmla="*/ 88 w 96"/>
                  <a:gd name="T87" fmla="*/ 133 h 138"/>
                  <a:gd name="T88" fmla="*/ 70 w 96"/>
                  <a:gd name="T89" fmla="*/ 93 h 138"/>
                  <a:gd name="T90" fmla="*/ 70 w 96"/>
                  <a:gd name="T91" fmla="*/ 42 h 138"/>
                  <a:gd name="T92" fmla="*/ 95 w 96"/>
                  <a:gd name="T93" fmla="*/ 70 h 1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96" h="138">
                    <a:moveTo>
                      <a:pt x="2" y="37"/>
                    </a:moveTo>
                    <a:cubicBezTo>
                      <a:pt x="2" y="36"/>
                      <a:pt x="2" y="35"/>
                      <a:pt x="3" y="35"/>
                    </a:cubicBezTo>
                    <a:cubicBezTo>
                      <a:pt x="4" y="35"/>
                      <a:pt x="5" y="36"/>
                      <a:pt x="5" y="37"/>
                    </a:cubicBezTo>
                    <a:cubicBezTo>
                      <a:pt x="9" y="49"/>
                      <a:pt x="14" y="56"/>
                      <a:pt x="21" y="59"/>
                    </a:cubicBezTo>
                    <a:cubicBezTo>
                      <a:pt x="21" y="59"/>
                      <a:pt x="22" y="60"/>
                      <a:pt x="24" y="60"/>
                    </a:cubicBezTo>
                    <a:cubicBezTo>
                      <a:pt x="24" y="56"/>
                      <a:pt x="24" y="53"/>
                      <a:pt x="24" y="49"/>
                    </a:cubicBezTo>
                    <a:cubicBezTo>
                      <a:pt x="21" y="48"/>
                      <a:pt x="18" y="46"/>
                      <a:pt x="16" y="42"/>
                    </a:cubicBezTo>
                    <a:cubicBezTo>
                      <a:pt x="13" y="38"/>
                      <a:pt x="12" y="33"/>
                      <a:pt x="12" y="26"/>
                    </a:cubicBezTo>
                    <a:cubicBezTo>
                      <a:pt x="9" y="26"/>
                      <a:pt x="8" y="26"/>
                      <a:pt x="7" y="26"/>
                    </a:cubicBezTo>
                    <a:cubicBezTo>
                      <a:pt x="4" y="27"/>
                      <a:pt x="2" y="27"/>
                      <a:pt x="1" y="25"/>
                    </a:cubicBezTo>
                    <a:cubicBezTo>
                      <a:pt x="0" y="24"/>
                      <a:pt x="0" y="23"/>
                      <a:pt x="0" y="22"/>
                    </a:cubicBezTo>
                    <a:cubicBezTo>
                      <a:pt x="0" y="22"/>
                      <a:pt x="0" y="22"/>
                      <a:pt x="0" y="22"/>
                    </a:cubicBezTo>
                    <a:cubicBezTo>
                      <a:pt x="1" y="19"/>
                      <a:pt x="2" y="18"/>
                      <a:pt x="4" y="19"/>
                    </a:cubicBezTo>
                    <a:cubicBezTo>
                      <a:pt x="6" y="19"/>
                      <a:pt x="8" y="19"/>
                      <a:pt x="11" y="19"/>
                    </a:cubicBezTo>
                    <a:cubicBezTo>
                      <a:pt x="44" y="19"/>
                      <a:pt x="44" y="19"/>
                      <a:pt x="44" y="19"/>
                    </a:cubicBezTo>
                    <a:cubicBezTo>
                      <a:pt x="46" y="19"/>
                      <a:pt x="48" y="20"/>
                      <a:pt x="48" y="23"/>
                    </a:cubicBezTo>
                    <a:cubicBezTo>
                      <a:pt x="47" y="25"/>
                      <a:pt x="45" y="26"/>
                      <a:pt x="42" y="26"/>
                    </a:cubicBezTo>
                    <a:cubicBezTo>
                      <a:pt x="42" y="26"/>
                      <a:pt x="41" y="26"/>
                      <a:pt x="40" y="26"/>
                    </a:cubicBezTo>
                    <a:cubicBezTo>
                      <a:pt x="40" y="26"/>
                      <a:pt x="40" y="26"/>
                      <a:pt x="40" y="26"/>
                    </a:cubicBezTo>
                    <a:cubicBezTo>
                      <a:pt x="39" y="34"/>
                      <a:pt x="38" y="39"/>
                      <a:pt x="37" y="42"/>
                    </a:cubicBezTo>
                    <a:cubicBezTo>
                      <a:pt x="34" y="46"/>
                      <a:pt x="32" y="49"/>
                      <a:pt x="29" y="49"/>
                    </a:cubicBezTo>
                    <a:cubicBezTo>
                      <a:pt x="30" y="53"/>
                      <a:pt x="30" y="56"/>
                      <a:pt x="30" y="60"/>
                    </a:cubicBezTo>
                    <a:cubicBezTo>
                      <a:pt x="31" y="60"/>
                      <a:pt x="32" y="59"/>
                      <a:pt x="33" y="58"/>
                    </a:cubicBezTo>
                    <a:cubicBezTo>
                      <a:pt x="39" y="56"/>
                      <a:pt x="42" y="49"/>
                      <a:pt x="42" y="39"/>
                    </a:cubicBezTo>
                    <a:cubicBezTo>
                      <a:pt x="43" y="37"/>
                      <a:pt x="44" y="36"/>
                      <a:pt x="46" y="36"/>
                    </a:cubicBezTo>
                    <a:cubicBezTo>
                      <a:pt x="47" y="36"/>
                      <a:pt x="48" y="37"/>
                      <a:pt x="48" y="39"/>
                    </a:cubicBezTo>
                    <a:cubicBezTo>
                      <a:pt x="49" y="49"/>
                      <a:pt x="45" y="57"/>
                      <a:pt x="36" y="64"/>
                    </a:cubicBezTo>
                    <a:cubicBezTo>
                      <a:pt x="34" y="65"/>
                      <a:pt x="32" y="66"/>
                      <a:pt x="30" y="66"/>
                    </a:cubicBezTo>
                    <a:cubicBezTo>
                      <a:pt x="30" y="70"/>
                      <a:pt x="30" y="70"/>
                      <a:pt x="30" y="70"/>
                    </a:cubicBezTo>
                    <a:cubicBezTo>
                      <a:pt x="44" y="70"/>
                      <a:pt x="44" y="70"/>
                      <a:pt x="44" y="70"/>
                    </a:cubicBezTo>
                    <a:cubicBezTo>
                      <a:pt x="47" y="70"/>
                      <a:pt x="49" y="71"/>
                      <a:pt x="49" y="73"/>
                    </a:cubicBezTo>
                    <a:cubicBezTo>
                      <a:pt x="49" y="76"/>
                      <a:pt x="47" y="77"/>
                      <a:pt x="43" y="77"/>
                    </a:cubicBezTo>
                    <a:cubicBezTo>
                      <a:pt x="37" y="77"/>
                      <a:pt x="33" y="77"/>
                      <a:pt x="30" y="78"/>
                    </a:cubicBezTo>
                    <a:cubicBezTo>
                      <a:pt x="30" y="80"/>
                      <a:pt x="30" y="82"/>
                      <a:pt x="30" y="84"/>
                    </a:cubicBezTo>
                    <a:cubicBezTo>
                      <a:pt x="34" y="84"/>
                      <a:pt x="37" y="87"/>
                      <a:pt x="40" y="91"/>
                    </a:cubicBezTo>
                    <a:cubicBezTo>
                      <a:pt x="44" y="96"/>
                      <a:pt x="46" y="103"/>
                      <a:pt x="48" y="111"/>
                    </a:cubicBezTo>
                    <a:cubicBezTo>
                      <a:pt x="49" y="116"/>
                      <a:pt x="49" y="120"/>
                      <a:pt x="48" y="124"/>
                    </a:cubicBezTo>
                    <a:cubicBezTo>
                      <a:pt x="47" y="125"/>
                      <a:pt x="46" y="125"/>
                      <a:pt x="45" y="125"/>
                    </a:cubicBezTo>
                    <a:cubicBezTo>
                      <a:pt x="44" y="125"/>
                      <a:pt x="43" y="125"/>
                      <a:pt x="42" y="124"/>
                    </a:cubicBezTo>
                    <a:cubicBezTo>
                      <a:pt x="42" y="123"/>
                      <a:pt x="42" y="121"/>
                      <a:pt x="42" y="118"/>
                    </a:cubicBezTo>
                    <a:cubicBezTo>
                      <a:pt x="41" y="116"/>
                      <a:pt x="41" y="114"/>
                      <a:pt x="41" y="113"/>
                    </a:cubicBezTo>
                    <a:cubicBezTo>
                      <a:pt x="40" y="104"/>
                      <a:pt x="37" y="97"/>
                      <a:pt x="33" y="93"/>
                    </a:cubicBezTo>
                    <a:cubicBezTo>
                      <a:pt x="33" y="92"/>
                      <a:pt x="32" y="91"/>
                      <a:pt x="30" y="91"/>
                    </a:cubicBezTo>
                    <a:cubicBezTo>
                      <a:pt x="31" y="97"/>
                      <a:pt x="31" y="101"/>
                      <a:pt x="31" y="105"/>
                    </a:cubicBezTo>
                    <a:cubicBezTo>
                      <a:pt x="31" y="107"/>
                      <a:pt x="31" y="111"/>
                      <a:pt x="30" y="116"/>
                    </a:cubicBezTo>
                    <a:cubicBezTo>
                      <a:pt x="30" y="124"/>
                      <a:pt x="30" y="129"/>
                      <a:pt x="29" y="133"/>
                    </a:cubicBezTo>
                    <a:cubicBezTo>
                      <a:pt x="29" y="136"/>
                      <a:pt x="28" y="137"/>
                      <a:pt x="27" y="137"/>
                    </a:cubicBezTo>
                    <a:cubicBezTo>
                      <a:pt x="26" y="137"/>
                      <a:pt x="25" y="136"/>
                      <a:pt x="24" y="133"/>
                    </a:cubicBezTo>
                    <a:cubicBezTo>
                      <a:pt x="24" y="120"/>
                      <a:pt x="24" y="111"/>
                      <a:pt x="24" y="105"/>
                    </a:cubicBezTo>
                    <a:cubicBezTo>
                      <a:pt x="24" y="100"/>
                      <a:pt x="24" y="95"/>
                      <a:pt x="24" y="90"/>
                    </a:cubicBezTo>
                    <a:cubicBezTo>
                      <a:pt x="22" y="91"/>
                      <a:pt x="21" y="92"/>
                      <a:pt x="20" y="93"/>
                    </a:cubicBezTo>
                    <a:cubicBezTo>
                      <a:pt x="18" y="94"/>
                      <a:pt x="16" y="98"/>
                      <a:pt x="14" y="102"/>
                    </a:cubicBezTo>
                    <a:cubicBezTo>
                      <a:pt x="13" y="104"/>
                      <a:pt x="13" y="104"/>
                      <a:pt x="13" y="104"/>
                    </a:cubicBezTo>
                    <a:cubicBezTo>
                      <a:pt x="12" y="108"/>
                      <a:pt x="11" y="114"/>
                      <a:pt x="11" y="122"/>
                    </a:cubicBezTo>
                    <a:cubicBezTo>
                      <a:pt x="10" y="124"/>
                      <a:pt x="9" y="125"/>
                      <a:pt x="7" y="125"/>
                    </a:cubicBezTo>
                    <a:cubicBezTo>
                      <a:pt x="6" y="125"/>
                      <a:pt x="5" y="124"/>
                      <a:pt x="5" y="122"/>
                    </a:cubicBezTo>
                    <a:cubicBezTo>
                      <a:pt x="6" y="115"/>
                      <a:pt x="7" y="108"/>
                      <a:pt x="8" y="102"/>
                    </a:cubicBezTo>
                    <a:cubicBezTo>
                      <a:pt x="9" y="97"/>
                      <a:pt x="11" y="92"/>
                      <a:pt x="14" y="89"/>
                    </a:cubicBezTo>
                    <a:cubicBezTo>
                      <a:pt x="17" y="86"/>
                      <a:pt x="20" y="84"/>
                      <a:pt x="24" y="84"/>
                    </a:cubicBezTo>
                    <a:cubicBezTo>
                      <a:pt x="24" y="81"/>
                      <a:pt x="24" y="81"/>
                      <a:pt x="24" y="81"/>
                    </a:cubicBezTo>
                    <a:cubicBezTo>
                      <a:pt x="24" y="80"/>
                      <a:pt x="24" y="79"/>
                      <a:pt x="24" y="78"/>
                    </a:cubicBezTo>
                    <a:cubicBezTo>
                      <a:pt x="14" y="78"/>
                      <a:pt x="9" y="78"/>
                      <a:pt x="9" y="78"/>
                    </a:cubicBezTo>
                    <a:cubicBezTo>
                      <a:pt x="6" y="79"/>
                      <a:pt x="4" y="79"/>
                      <a:pt x="3" y="77"/>
                    </a:cubicBezTo>
                    <a:cubicBezTo>
                      <a:pt x="2" y="76"/>
                      <a:pt x="2" y="74"/>
                      <a:pt x="3" y="72"/>
                    </a:cubicBezTo>
                    <a:cubicBezTo>
                      <a:pt x="3" y="70"/>
                      <a:pt x="4" y="70"/>
                      <a:pt x="7" y="70"/>
                    </a:cubicBezTo>
                    <a:cubicBezTo>
                      <a:pt x="8" y="70"/>
                      <a:pt x="10" y="70"/>
                      <a:pt x="14" y="70"/>
                    </a:cubicBezTo>
                    <a:cubicBezTo>
                      <a:pt x="24" y="70"/>
                      <a:pt x="24" y="70"/>
                      <a:pt x="24" y="70"/>
                    </a:cubicBezTo>
                    <a:cubicBezTo>
                      <a:pt x="24" y="66"/>
                      <a:pt x="24" y="66"/>
                      <a:pt x="24" y="66"/>
                    </a:cubicBezTo>
                    <a:cubicBezTo>
                      <a:pt x="22" y="66"/>
                      <a:pt x="21" y="66"/>
                      <a:pt x="20" y="65"/>
                    </a:cubicBezTo>
                    <a:cubicBezTo>
                      <a:pt x="12" y="62"/>
                      <a:pt x="6" y="56"/>
                      <a:pt x="2" y="46"/>
                    </a:cubicBezTo>
                    <a:cubicBezTo>
                      <a:pt x="2" y="46"/>
                      <a:pt x="2" y="43"/>
                      <a:pt x="2" y="40"/>
                    </a:cubicBezTo>
                    <a:cubicBezTo>
                      <a:pt x="2" y="39"/>
                      <a:pt x="2" y="38"/>
                      <a:pt x="2" y="37"/>
                    </a:cubicBezTo>
                    <a:close/>
                    <a:moveTo>
                      <a:pt x="9" y="3"/>
                    </a:moveTo>
                    <a:cubicBezTo>
                      <a:pt x="11" y="3"/>
                      <a:pt x="15" y="3"/>
                      <a:pt x="19" y="3"/>
                    </a:cubicBezTo>
                    <a:cubicBezTo>
                      <a:pt x="40" y="3"/>
                      <a:pt x="40" y="3"/>
                      <a:pt x="40" y="3"/>
                    </a:cubicBezTo>
                    <a:cubicBezTo>
                      <a:pt x="43" y="3"/>
                      <a:pt x="44" y="5"/>
                      <a:pt x="44" y="7"/>
                    </a:cubicBezTo>
                    <a:cubicBezTo>
                      <a:pt x="44" y="9"/>
                      <a:pt x="42" y="10"/>
                      <a:pt x="39" y="10"/>
                    </a:cubicBezTo>
                    <a:cubicBezTo>
                      <a:pt x="34" y="10"/>
                      <a:pt x="25" y="10"/>
                      <a:pt x="14" y="11"/>
                    </a:cubicBezTo>
                    <a:cubicBezTo>
                      <a:pt x="13" y="11"/>
                      <a:pt x="12" y="11"/>
                      <a:pt x="11" y="11"/>
                    </a:cubicBezTo>
                    <a:cubicBezTo>
                      <a:pt x="7" y="11"/>
                      <a:pt x="5" y="11"/>
                      <a:pt x="5" y="9"/>
                    </a:cubicBezTo>
                    <a:cubicBezTo>
                      <a:pt x="5" y="9"/>
                      <a:pt x="4" y="8"/>
                      <a:pt x="5" y="6"/>
                    </a:cubicBezTo>
                    <a:cubicBezTo>
                      <a:pt x="5" y="5"/>
                      <a:pt x="5" y="5"/>
                      <a:pt x="5" y="5"/>
                    </a:cubicBezTo>
                    <a:cubicBezTo>
                      <a:pt x="5" y="3"/>
                      <a:pt x="6" y="3"/>
                      <a:pt x="9" y="3"/>
                    </a:cubicBezTo>
                    <a:close/>
                    <a:moveTo>
                      <a:pt x="33" y="26"/>
                    </a:moveTo>
                    <a:cubicBezTo>
                      <a:pt x="28" y="26"/>
                      <a:pt x="23" y="26"/>
                      <a:pt x="17" y="26"/>
                    </a:cubicBezTo>
                    <a:cubicBezTo>
                      <a:pt x="18" y="32"/>
                      <a:pt x="20" y="38"/>
                      <a:pt x="24" y="42"/>
                    </a:cubicBezTo>
                    <a:cubicBezTo>
                      <a:pt x="25" y="44"/>
                      <a:pt x="26" y="45"/>
                      <a:pt x="27" y="45"/>
                    </a:cubicBezTo>
                    <a:cubicBezTo>
                      <a:pt x="28" y="45"/>
                      <a:pt x="29" y="44"/>
                      <a:pt x="29" y="42"/>
                    </a:cubicBezTo>
                    <a:cubicBezTo>
                      <a:pt x="32" y="38"/>
                      <a:pt x="33" y="33"/>
                      <a:pt x="33" y="26"/>
                    </a:cubicBezTo>
                    <a:close/>
                    <a:moveTo>
                      <a:pt x="54" y="2"/>
                    </a:moveTo>
                    <a:cubicBezTo>
                      <a:pt x="55" y="0"/>
                      <a:pt x="57" y="0"/>
                      <a:pt x="58" y="1"/>
                    </a:cubicBezTo>
                    <a:cubicBezTo>
                      <a:pt x="59" y="2"/>
                      <a:pt x="60" y="4"/>
                      <a:pt x="59" y="6"/>
                    </a:cubicBezTo>
                    <a:cubicBezTo>
                      <a:pt x="57" y="8"/>
                      <a:pt x="57" y="9"/>
                      <a:pt x="58" y="10"/>
                    </a:cubicBezTo>
                    <a:cubicBezTo>
                      <a:pt x="59" y="11"/>
                      <a:pt x="61" y="12"/>
                      <a:pt x="63" y="11"/>
                    </a:cubicBezTo>
                    <a:cubicBezTo>
                      <a:pt x="67" y="9"/>
                      <a:pt x="73" y="9"/>
                      <a:pt x="80" y="11"/>
                    </a:cubicBezTo>
                    <a:cubicBezTo>
                      <a:pt x="84" y="13"/>
                      <a:pt x="87" y="16"/>
                      <a:pt x="88" y="22"/>
                    </a:cubicBezTo>
                    <a:cubicBezTo>
                      <a:pt x="89" y="27"/>
                      <a:pt x="88" y="32"/>
                      <a:pt x="85" y="35"/>
                    </a:cubicBezTo>
                    <a:cubicBezTo>
                      <a:pt x="84" y="38"/>
                      <a:pt x="81" y="39"/>
                      <a:pt x="75" y="37"/>
                    </a:cubicBezTo>
                    <a:cubicBezTo>
                      <a:pt x="75" y="37"/>
                      <a:pt x="74" y="37"/>
                      <a:pt x="74" y="37"/>
                    </a:cubicBezTo>
                    <a:cubicBezTo>
                      <a:pt x="69" y="37"/>
                      <a:pt x="66" y="37"/>
                      <a:pt x="63" y="38"/>
                    </a:cubicBezTo>
                    <a:cubicBezTo>
                      <a:pt x="62" y="38"/>
                      <a:pt x="61" y="40"/>
                      <a:pt x="61" y="43"/>
                    </a:cubicBezTo>
                    <a:cubicBezTo>
                      <a:pt x="62" y="48"/>
                      <a:pt x="62" y="56"/>
                      <a:pt x="62" y="66"/>
                    </a:cubicBezTo>
                    <a:cubicBezTo>
                      <a:pt x="62" y="70"/>
                      <a:pt x="61" y="76"/>
                      <a:pt x="61" y="84"/>
                    </a:cubicBezTo>
                    <a:cubicBezTo>
                      <a:pt x="59" y="99"/>
                      <a:pt x="58" y="110"/>
                      <a:pt x="57" y="116"/>
                    </a:cubicBezTo>
                    <a:cubicBezTo>
                      <a:pt x="57" y="122"/>
                      <a:pt x="55" y="128"/>
                      <a:pt x="53" y="136"/>
                    </a:cubicBezTo>
                    <a:cubicBezTo>
                      <a:pt x="52" y="137"/>
                      <a:pt x="51" y="138"/>
                      <a:pt x="50" y="138"/>
                    </a:cubicBezTo>
                    <a:cubicBezTo>
                      <a:pt x="48" y="138"/>
                      <a:pt x="48" y="137"/>
                      <a:pt x="48" y="136"/>
                    </a:cubicBezTo>
                    <a:cubicBezTo>
                      <a:pt x="48" y="135"/>
                      <a:pt x="48" y="133"/>
                      <a:pt x="48" y="130"/>
                    </a:cubicBezTo>
                    <a:cubicBezTo>
                      <a:pt x="49" y="127"/>
                      <a:pt x="49" y="126"/>
                      <a:pt x="49" y="125"/>
                    </a:cubicBezTo>
                    <a:cubicBezTo>
                      <a:pt x="53" y="104"/>
                      <a:pt x="55" y="85"/>
                      <a:pt x="55" y="68"/>
                    </a:cubicBezTo>
                    <a:cubicBezTo>
                      <a:pt x="56" y="60"/>
                      <a:pt x="56" y="54"/>
                      <a:pt x="55" y="48"/>
                    </a:cubicBezTo>
                    <a:cubicBezTo>
                      <a:pt x="54" y="45"/>
                      <a:pt x="53" y="42"/>
                      <a:pt x="52" y="40"/>
                    </a:cubicBezTo>
                    <a:cubicBezTo>
                      <a:pt x="50" y="38"/>
                      <a:pt x="51" y="36"/>
                      <a:pt x="54" y="34"/>
                    </a:cubicBezTo>
                    <a:cubicBezTo>
                      <a:pt x="58" y="30"/>
                      <a:pt x="66" y="29"/>
                      <a:pt x="76" y="31"/>
                    </a:cubicBezTo>
                    <a:cubicBezTo>
                      <a:pt x="81" y="32"/>
                      <a:pt x="83" y="30"/>
                      <a:pt x="83" y="25"/>
                    </a:cubicBezTo>
                    <a:cubicBezTo>
                      <a:pt x="83" y="21"/>
                      <a:pt x="81" y="18"/>
                      <a:pt x="77" y="18"/>
                    </a:cubicBezTo>
                    <a:cubicBezTo>
                      <a:pt x="70" y="17"/>
                      <a:pt x="66" y="17"/>
                      <a:pt x="65" y="18"/>
                    </a:cubicBezTo>
                    <a:cubicBezTo>
                      <a:pt x="63" y="19"/>
                      <a:pt x="60" y="19"/>
                      <a:pt x="57" y="19"/>
                    </a:cubicBezTo>
                    <a:cubicBezTo>
                      <a:pt x="57" y="18"/>
                      <a:pt x="55" y="17"/>
                      <a:pt x="53" y="15"/>
                    </a:cubicBezTo>
                    <a:cubicBezTo>
                      <a:pt x="53" y="14"/>
                      <a:pt x="52" y="14"/>
                      <a:pt x="52" y="13"/>
                    </a:cubicBezTo>
                    <a:cubicBezTo>
                      <a:pt x="50" y="10"/>
                      <a:pt x="51" y="6"/>
                      <a:pt x="54" y="2"/>
                    </a:cubicBezTo>
                    <a:close/>
                    <a:moveTo>
                      <a:pt x="95" y="70"/>
                    </a:moveTo>
                    <a:cubicBezTo>
                      <a:pt x="96" y="72"/>
                      <a:pt x="95" y="73"/>
                      <a:pt x="94" y="74"/>
                    </a:cubicBezTo>
                    <a:cubicBezTo>
                      <a:pt x="92" y="74"/>
                      <a:pt x="91" y="74"/>
                      <a:pt x="90" y="72"/>
                    </a:cubicBezTo>
                    <a:cubicBezTo>
                      <a:pt x="88" y="67"/>
                      <a:pt x="84" y="62"/>
                      <a:pt x="78" y="56"/>
                    </a:cubicBezTo>
                    <a:cubicBezTo>
                      <a:pt x="77" y="55"/>
                      <a:pt x="76" y="54"/>
                      <a:pt x="76" y="54"/>
                    </a:cubicBezTo>
                    <a:cubicBezTo>
                      <a:pt x="75" y="56"/>
                      <a:pt x="75" y="56"/>
                      <a:pt x="75" y="56"/>
                    </a:cubicBezTo>
                    <a:cubicBezTo>
                      <a:pt x="75" y="61"/>
                      <a:pt x="75" y="73"/>
                      <a:pt x="77" y="93"/>
                    </a:cubicBezTo>
                    <a:cubicBezTo>
                      <a:pt x="78" y="99"/>
                      <a:pt x="80" y="107"/>
                      <a:pt x="83" y="119"/>
                    </a:cubicBezTo>
                    <a:cubicBezTo>
                      <a:pt x="84" y="122"/>
                      <a:pt x="85" y="124"/>
                      <a:pt x="85" y="124"/>
                    </a:cubicBezTo>
                    <a:cubicBezTo>
                      <a:pt x="86" y="126"/>
                      <a:pt x="86" y="128"/>
                      <a:pt x="87" y="131"/>
                    </a:cubicBezTo>
                    <a:cubicBezTo>
                      <a:pt x="88" y="132"/>
                      <a:pt x="88" y="133"/>
                      <a:pt x="88" y="133"/>
                    </a:cubicBezTo>
                    <a:cubicBezTo>
                      <a:pt x="88" y="135"/>
                      <a:pt x="88" y="136"/>
                      <a:pt x="86" y="136"/>
                    </a:cubicBezTo>
                    <a:cubicBezTo>
                      <a:pt x="84" y="136"/>
                      <a:pt x="83" y="135"/>
                      <a:pt x="82" y="133"/>
                    </a:cubicBezTo>
                    <a:cubicBezTo>
                      <a:pt x="77" y="123"/>
                      <a:pt x="73" y="110"/>
                      <a:pt x="70" y="93"/>
                    </a:cubicBezTo>
                    <a:cubicBezTo>
                      <a:pt x="69" y="79"/>
                      <a:pt x="68" y="68"/>
                      <a:pt x="68" y="58"/>
                    </a:cubicBezTo>
                    <a:cubicBezTo>
                      <a:pt x="68" y="51"/>
                      <a:pt x="68" y="46"/>
                      <a:pt x="68" y="44"/>
                    </a:cubicBezTo>
                    <a:cubicBezTo>
                      <a:pt x="68" y="43"/>
                      <a:pt x="69" y="42"/>
                      <a:pt x="70" y="42"/>
                    </a:cubicBezTo>
                    <a:cubicBezTo>
                      <a:pt x="71" y="41"/>
                      <a:pt x="71" y="41"/>
                      <a:pt x="72" y="42"/>
                    </a:cubicBezTo>
                    <a:cubicBezTo>
                      <a:pt x="76" y="45"/>
                      <a:pt x="78" y="48"/>
                      <a:pt x="80" y="49"/>
                    </a:cubicBezTo>
                    <a:cubicBezTo>
                      <a:pt x="86" y="54"/>
                      <a:pt x="91" y="61"/>
                      <a:pt x="95" y="7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1048902" name="íṣ1ïḑe"/>
              <p:cNvSpPr/>
              <p:nvPr/>
            </p:nvSpPr>
            <p:spPr bwMode="auto">
              <a:xfrm>
                <a:off x="1750909" y="4905965"/>
                <a:ext cx="93663" cy="87313"/>
              </a:xfrm>
              <a:custGeom>
                <a:avLst/>
                <a:gdLst>
                  <a:gd name="T0" fmla="*/ 51 w 51"/>
                  <a:gd name="T1" fmla="*/ 17 h 47"/>
                  <a:gd name="T2" fmla="*/ 46 w 51"/>
                  <a:gd name="T3" fmla="*/ 25 h 47"/>
                  <a:gd name="T4" fmla="*/ 26 w 51"/>
                  <a:gd name="T5" fmla="*/ 13 h 47"/>
                  <a:gd name="T6" fmla="*/ 20 w 51"/>
                  <a:gd name="T7" fmla="*/ 9 h 47"/>
                  <a:gd name="T8" fmla="*/ 14 w 51"/>
                  <a:gd name="T9" fmla="*/ 9 h 47"/>
                  <a:gd name="T10" fmla="*/ 10 w 51"/>
                  <a:gd name="T11" fmla="*/ 13 h 47"/>
                  <a:gd name="T12" fmla="*/ 8 w 51"/>
                  <a:gd name="T13" fmla="*/ 19 h 47"/>
                  <a:gd name="T14" fmla="*/ 10 w 51"/>
                  <a:gd name="T15" fmla="*/ 23 h 47"/>
                  <a:gd name="T16" fmla="*/ 17 w 51"/>
                  <a:gd name="T17" fmla="*/ 27 h 47"/>
                  <a:gd name="T18" fmla="*/ 37 w 51"/>
                  <a:gd name="T19" fmla="*/ 40 h 47"/>
                  <a:gd name="T20" fmla="*/ 33 w 51"/>
                  <a:gd name="T21" fmla="*/ 47 h 47"/>
                  <a:gd name="T22" fmla="*/ 13 w 51"/>
                  <a:gd name="T23" fmla="*/ 35 h 47"/>
                  <a:gd name="T24" fmla="*/ 4 w 51"/>
                  <a:gd name="T25" fmla="*/ 29 h 47"/>
                  <a:gd name="T26" fmla="*/ 1 w 51"/>
                  <a:gd name="T27" fmla="*/ 24 h 47"/>
                  <a:gd name="T28" fmla="*/ 0 w 51"/>
                  <a:gd name="T29" fmla="*/ 18 h 47"/>
                  <a:gd name="T30" fmla="*/ 3 w 51"/>
                  <a:gd name="T31" fmla="*/ 10 h 47"/>
                  <a:gd name="T32" fmla="*/ 10 w 51"/>
                  <a:gd name="T33" fmla="*/ 2 h 47"/>
                  <a:gd name="T34" fmla="*/ 15 w 51"/>
                  <a:gd name="T35" fmla="*/ 0 h 47"/>
                  <a:gd name="T36" fmla="*/ 21 w 51"/>
                  <a:gd name="T37" fmla="*/ 0 h 47"/>
                  <a:gd name="T38" fmla="*/ 31 w 51"/>
                  <a:gd name="T39" fmla="*/ 5 h 47"/>
                  <a:gd name="T40" fmla="*/ 51 w 51"/>
                  <a:gd name="T41" fmla="*/ 17 h 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51" h="47">
                    <a:moveTo>
                      <a:pt x="51" y="17"/>
                    </a:moveTo>
                    <a:cubicBezTo>
                      <a:pt x="46" y="25"/>
                      <a:pt x="46" y="25"/>
                      <a:pt x="46" y="25"/>
                    </a:cubicBezTo>
                    <a:cubicBezTo>
                      <a:pt x="26" y="13"/>
                      <a:pt x="26" y="13"/>
                      <a:pt x="26" y="13"/>
                    </a:cubicBezTo>
                    <a:cubicBezTo>
                      <a:pt x="23" y="11"/>
                      <a:pt x="21" y="10"/>
                      <a:pt x="20" y="9"/>
                    </a:cubicBezTo>
                    <a:cubicBezTo>
                      <a:pt x="18" y="9"/>
                      <a:pt x="16" y="9"/>
                      <a:pt x="14" y="9"/>
                    </a:cubicBezTo>
                    <a:cubicBezTo>
                      <a:pt x="13" y="10"/>
                      <a:pt x="11" y="11"/>
                      <a:pt x="10" y="13"/>
                    </a:cubicBezTo>
                    <a:cubicBezTo>
                      <a:pt x="9" y="16"/>
                      <a:pt x="8" y="17"/>
                      <a:pt x="8" y="19"/>
                    </a:cubicBezTo>
                    <a:cubicBezTo>
                      <a:pt x="9" y="21"/>
                      <a:pt x="9" y="22"/>
                      <a:pt x="10" y="23"/>
                    </a:cubicBezTo>
                    <a:cubicBezTo>
                      <a:pt x="12" y="24"/>
                      <a:pt x="14" y="25"/>
                      <a:pt x="17" y="27"/>
                    </a:cubicBezTo>
                    <a:cubicBezTo>
                      <a:pt x="37" y="40"/>
                      <a:pt x="37" y="40"/>
                      <a:pt x="37" y="40"/>
                    </a:cubicBezTo>
                    <a:cubicBezTo>
                      <a:pt x="33" y="47"/>
                      <a:pt x="33" y="47"/>
                      <a:pt x="33" y="47"/>
                    </a:cubicBezTo>
                    <a:cubicBezTo>
                      <a:pt x="13" y="35"/>
                      <a:pt x="13" y="35"/>
                      <a:pt x="13" y="35"/>
                    </a:cubicBezTo>
                    <a:cubicBezTo>
                      <a:pt x="9" y="33"/>
                      <a:pt x="6" y="31"/>
                      <a:pt x="4" y="29"/>
                    </a:cubicBezTo>
                    <a:cubicBezTo>
                      <a:pt x="2" y="28"/>
                      <a:pt x="1" y="26"/>
                      <a:pt x="1" y="24"/>
                    </a:cubicBezTo>
                    <a:cubicBezTo>
                      <a:pt x="0" y="22"/>
                      <a:pt x="0" y="20"/>
                      <a:pt x="0" y="18"/>
                    </a:cubicBezTo>
                    <a:cubicBezTo>
                      <a:pt x="0" y="15"/>
                      <a:pt x="2" y="13"/>
                      <a:pt x="3" y="10"/>
                    </a:cubicBezTo>
                    <a:cubicBezTo>
                      <a:pt x="6" y="6"/>
                      <a:pt x="8" y="4"/>
                      <a:pt x="10" y="2"/>
                    </a:cubicBezTo>
                    <a:cubicBezTo>
                      <a:pt x="11" y="1"/>
                      <a:pt x="13" y="0"/>
                      <a:pt x="15" y="0"/>
                    </a:cubicBezTo>
                    <a:cubicBezTo>
                      <a:pt x="17" y="0"/>
                      <a:pt x="19" y="0"/>
                      <a:pt x="21" y="0"/>
                    </a:cubicBezTo>
                    <a:cubicBezTo>
                      <a:pt x="23" y="1"/>
                      <a:pt x="27" y="3"/>
                      <a:pt x="31" y="5"/>
                    </a:cubicBezTo>
                    <a:lnTo>
                      <a:pt x="51" y="17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1048903" name="íṧḷîde"/>
              <p:cNvSpPr/>
              <p:nvPr/>
            </p:nvSpPr>
            <p:spPr bwMode="auto">
              <a:xfrm>
                <a:off x="1704872" y="4971053"/>
                <a:ext cx="100013" cy="92075"/>
              </a:xfrm>
              <a:custGeom>
                <a:avLst/>
                <a:gdLst>
                  <a:gd name="T0" fmla="*/ 17 w 63"/>
                  <a:gd name="T1" fmla="*/ 0 h 58"/>
                  <a:gd name="T2" fmla="*/ 63 w 63"/>
                  <a:gd name="T3" fmla="*/ 21 h 58"/>
                  <a:gd name="T4" fmla="*/ 59 w 63"/>
                  <a:gd name="T5" fmla="*/ 30 h 58"/>
                  <a:gd name="T6" fmla="*/ 19 w 63"/>
                  <a:gd name="T7" fmla="*/ 35 h 58"/>
                  <a:gd name="T8" fmla="*/ 50 w 63"/>
                  <a:gd name="T9" fmla="*/ 50 h 58"/>
                  <a:gd name="T10" fmla="*/ 46 w 63"/>
                  <a:gd name="T11" fmla="*/ 58 h 58"/>
                  <a:gd name="T12" fmla="*/ 0 w 63"/>
                  <a:gd name="T13" fmla="*/ 37 h 58"/>
                  <a:gd name="T14" fmla="*/ 4 w 63"/>
                  <a:gd name="T15" fmla="*/ 26 h 58"/>
                  <a:gd name="T16" fmla="*/ 43 w 63"/>
                  <a:gd name="T17" fmla="*/ 22 h 58"/>
                  <a:gd name="T18" fmla="*/ 12 w 63"/>
                  <a:gd name="T19" fmla="*/ 8 h 58"/>
                  <a:gd name="T20" fmla="*/ 17 w 63"/>
                  <a:gd name="T21" fmla="*/ 0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63" h="58">
                    <a:moveTo>
                      <a:pt x="17" y="0"/>
                    </a:moveTo>
                    <a:lnTo>
                      <a:pt x="63" y="21"/>
                    </a:lnTo>
                    <a:lnTo>
                      <a:pt x="59" y="30"/>
                    </a:lnTo>
                    <a:lnTo>
                      <a:pt x="19" y="35"/>
                    </a:lnTo>
                    <a:lnTo>
                      <a:pt x="50" y="50"/>
                    </a:lnTo>
                    <a:lnTo>
                      <a:pt x="46" y="58"/>
                    </a:lnTo>
                    <a:lnTo>
                      <a:pt x="0" y="37"/>
                    </a:lnTo>
                    <a:lnTo>
                      <a:pt x="4" y="26"/>
                    </a:lnTo>
                    <a:lnTo>
                      <a:pt x="43" y="22"/>
                    </a:lnTo>
                    <a:lnTo>
                      <a:pt x="12" y="8"/>
                    </a:lnTo>
                    <a:lnTo>
                      <a:pt x="17" y="0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1048904" name="íS1îḍé"/>
              <p:cNvSpPr/>
              <p:nvPr/>
            </p:nvSpPr>
            <p:spPr bwMode="auto">
              <a:xfrm>
                <a:off x="1690584" y="5045665"/>
                <a:ext cx="84138" cy="44450"/>
              </a:xfrm>
              <a:custGeom>
                <a:avLst/>
                <a:gdLst>
                  <a:gd name="T0" fmla="*/ 5 w 53"/>
                  <a:gd name="T1" fmla="*/ 0 h 28"/>
                  <a:gd name="T2" fmla="*/ 53 w 53"/>
                  <a:gd name="T3" fmla="*/ 19 h 28"/>
                  <a:gd name="T4" fmla="*/ 49 w 53"/>
                  <a:gd name="T5" fmla="*/ 28 h 28"/>
                  <a:gd name="T6" fmla="*/ 0 w 53"/>
                  <a:gd name="T7" fmla="*/ 10 h 28"/>
                  <a:gd name="T8" fmla="*/ 5 w 53"/>
                  <a:gd name="T9" fmla="*/ 0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3" h="28">
                    <a:moveTo>
                      <a:pt x="5" y="0"/>
                    </a:moveTo>
                    <a:lnTo>
                      <a:pt x="53" y="19"/>
                    </a:lnTo>
                    <a:lnTo>
                      <a:pt x="49" y="28"/>
                    </a:lnTo>
                    <a:lnTo>
                      <a:pt x="0" y="10"/>
                    </a:lnTo>
                    <a:lnTo>
                      <a:pt x="5" y="0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1048905" name="íṧļïḋè"/>
              <p:cNvSpPr/>
              <p:nvPr/>
            </p:nvSpPr>
            <p:spPr bwMode="auto">
              <a:xfrm>
                <a:off x="1674709" y="5091703"/>
                <a:ext cx="92075" cy="73025"/>
              </a:xfrm>
              <a:custGeom>
                <a:avLst/>
                <a:gdLst>
                  <a:gd name="T0" fmla="*/ 4 w 58"/>
                  <a:gd name="T1" fmla="*/ 3 h 46"/>
                  <a:gd name="T2" fmla="*/ 58 w 58"/>
                  <a:gd name="T3" fmla="*/ 0 h 46"/>
                  <a:gd name="T4" fmla="*/ 55 w 58"/>
                  <a:gd name="T5" fmla="*/ 11 h 46"/>
                  <a:gd name="T6" fmla="*/ 14 w 58"/>
                  <a:gd name="T7" fmla="*/ 13 h 46"/>
                  <a:gd name="T8" fmla="*/ 46 w 58"/>
                  <a:gd name="T9" fmla="*/ 35 h 46"/>
                  <a:gd name="T10" fmla="*/ 44 w 58"/>
                  <a:gd name="T11" fmla="*/ 46 h 46"/>
                  <a:gd name="T12" fmla="*/ 0 w 58"/>
                  <a:gd name="T13" fmla="*/ 14 h 46"/>
                  <a:gd name="T14" fmla="*/ 4 w 58"/>
                  <a:gd name="T15" fmla="*/ 3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58" h="46">
                    <a:moveTo>
                      <a:pt x="4" y="3"/>
                    </a:moveTo>
                    <a:lnTo>
                      <a:pt x="58" y="0"/>
                    </a:lnTo>
                    <a:lnTo>
                      <a:pt x="55" y="11"/>
                    </a:lnTo>
                    <a:lnTo>
                      <a:pt x="14" y="13"/>
                    </a:lnTo>
                    <a:lnTo>
                      <a:pt x="46" y="35"/>
                    </a:lnTo>
                    <a:lnTo>
                      <a:pt x="44" y="46"/>
                    </a:lnTo>
                    <a:lnTo>
                      <a:pt x="0" y="14"/>
                    </a:lnTo>
                    <a:lnTo>
                      <a:pt x="4" y="3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1048906" name="ïṡḷiḋé"/>
              <p:cNvSpPr/>
              <p:nvPr/>
            </p:nvSpPr>
            <p:spPr bwMode="auto">
              <a:xfrm>
                <a:off x="1652484" y="5153615"/>
                <a:ext cx="90488" cy="73025"/>
              </a:xfrm>
              <a:custGeom>
                <a:avLst/>
                <a:gdLst>
                  <a:gd name="T0" fmla="*/ 7 w 57"/>
                  <a:gd name="T1" fmla="*/ 0 h 46"/>
                  <a:gd name="T2" fmla="*/ 57 w 57"/>
                  <a:gd name="T3" fmla="*/ 10 h 46"/>
                  <a:gd name="T4" fmla="*/ 50 w 57"/>
                  <a:gd name="T5" fmla="*/ 46 h 46"/>
                  <a:gd name="T6" fmla="*/ 42 w 57"/>
                  <a:gd name="T7" fmla="*/ 45 h 46"/>
                  <a:gd name="T8" fmla="*/ 47 w 57"/>
                  <a:gd name="T9" fmla="*/ 18 h 46"/>
                  <a:gd name="T10" fmla="*/ 36 w 57"/>
                  <a:gd name="T11" fmla="*/ 16 h 46"/>
                  <a:gd name="T12" fmla="*/ 30 w 57"/>
                  <a:gd name="T13" fmla="*/ 40 h 46"/>
                  <a:gd name="T14" fmla="*/ 22 w 57"/>
                  <a:gd name="T15" fmla="*/ 39 h 46"/>
                  <a:gd name="T16" fmla="*/ 27 w 57"/>
                  <a:gd name="T17" fmla="*/ 14 h 46"/>
                  <a:gd name="T18" fmla="*/ 14 w 57"/>
                  <a:gd name="T19" fmla="*/ 11 h 46"/>
                  <a:gd name="T20" fmla="*/ 8 w 57"/>
                  <a:gd name="T21" fmla="*/ 39 h 46"/>
                  <a:gd name="T22" fmla="*/ 0 w 57"/>
                  <a:gd name="T23" fmla="*/ 38 h 46"/>
                  <a:gd name="T24" fmla="*/ 7 w 57"/>
                  <a:gd name="T25" fmla="*/ 0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57" h="46">
                    <a:moveTo>
                      <a:pt x="7" y="0"/>
                    </a:moveTo>
                    <a:lnTo>
                      <a:pt x="57" y="10"/>
                    </a:lnTo>
                    <a:lnTo>
                      <a:pt x="50" y="46"/>
                    </a:lnTo>
                    <a:lnTo>
                      <a:pt x="42" y="45"/>
                    </a:lnTo>
                    <a:lnTo>
                      <a:pt x="47" y="18"/>
                    </a:lnTo>
                    <a:lnTo>
                      <a:pt x="36" y="16"/>
                    </a:lnTo>
                    <a:lnTo>
                      <a:pt x="30" y="40"/>
                    </a:lnTo>
                    <a:lnTo>
                      <a:pt x="22" y="39"/>
                    </a:lnTo>
                    <a:lnTo>
                      <a:pt x="27" y="14"/>
                    </a:lnTo>
                    <a:lnTo>
                      <a:pt x="14" y="11"/>
                    </a:lnTo>
                    <a:lnTo>
                      <a:pt x="8" y="39"/>
                    </a:lnTo>
                    <a:lnTo>
                      <a:pt x="0" y="38"/>
                    </a:lnTo>
                    <a:lnTo>
                      <a:pt x="7" y="0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1048907" name="ïşļiḋe"/>
              <p:cNvSpPr/>
              <p:nvPr/>
            </p:nvSpPr>
            <p:spPr bwMode="auto">
              <a:xfrm>
                <a:off x="1641372" y="5231403"/>
                <a:ext cx="88900" cy="71438"/>
              </a:xfrm>
              <a:custGeom>
                <a:avLst/>
                <a:gdLst>
                  <a:gd name="T0" fmla="*/ 4 w 48"/>
                  <a:gd name="T1" fmla="*/ 0 h 39"/>
                  <a:gd name="T2" fmla="*/ 48 w 48"/>
                  <a:gd name="T3" fmla="*/ 4 h 39"/>
                  <a:gd name="T4" fmla="*/ 46 w 48"/>
                  <a:gd name="T5" fmla="*/ 23 h 39"/>
                  <a:gd name="T6" fmla="*/ 44 w 48"/>
                  <a:gd name="T7" fmla="*/ 33 h 39"/>
                  <a:gd name="T8" fmla="*/ 39 w 48"/>
                  <a:gd name="T9" fmla="*/ 38 h 39"/>
                  <a:gd name="T10" fmla="*/ 32 w 48"/>
                  <a:gd name="T11" fmla="*/ 39 h 39"/>
                  <a:gd name="T12" fmla="*/ 24 w 48"/>
                  <a:gd name="T13" fmla="*/ 35 h 39"/>
                  <a:gd name="T14" fmla="*/ 21 w 48"/>
                  <a:gd name="T15" fmla="*/ 26 h 39"/>
                  <a:gd name="T16" fmla="*/ 17 w 48"/>
                  <a:gd name="T17" fmla="*/ 30 h 39"/>
                  <a:gd name="T18" fmla="*/ 9 w 48"/>
                  <a:gd name="T19" fmla="*/ 35 h 39"/>
                  <a:gd name="T20" fmla="*/ 0 w 48"/>
                  <a:gd name="T21" fmla="*/ 39 h 39"/>
                  <a:gd name="T22" fmla="*/ 1 w 48"/>
                  <a:gd name="T23" fmla="*/ 29 h 39"/>
                  <a:gd name="T24" fmla="*/ 12 w 48"/>
                  <a:gd name="T25" fmla="*/ 23 h 39"/>
                  <a:gd name="T26" fmla="*/ 18 w 48"/>
                  <a:gd name="T27" fmla="*/ 19 h 39"/>
                  <a:gd name="T28" fmla="*/ 20 w 48"/>
                  <a:gd name="T29" fmla="*/ 17 h 39"/>
                  <a:gd name="T30" fmla="*/ 21 w 48"/>
                  <a:gd name="T31" fmla="*/ 12 h 39"/>
                  <a:gd name="T32" fmla="*/ 22 w 48"/>
                  <a:gd name="T33" fmla="*/ 11 h 39"/>
                  <a:gd name="T34" fmla="*/ 3 w 48"/>
                  <a:gd name="T35" fmla="*/ 9 h 39"/>
                  <a:gd name="T36" fmla="*/ 4 w 48"/>
                  <a:gd name="T37" fmla="*/ 0 h 39"/>
                  <a:gd name="T38" fmla="*/ 29 w 48"/>
                  <a:gd name="T39" fmla="*/ 11 h 39"/>
                  <a:gd name="T40" fmla="*/ 28 w 48"/>
                  <a:gd name="T41" fmla="*/ 18 h 39"/>
                  <a:gd name="T42" fmla="*/ 28 w 48"/>
                  <a:gd name="T43" fmla="*/ 26 h 39"/>
                  <a:gd name="T44" fmla="*/ 29 w 48"/>
                  <a:gd name="T45" fmla="*/ 28 h 39"/>
                  <a:gd name="T46" fmla="*/ 32 w 48"/>
                  <a:gd name="T47" fmla="*/ 30 h 39"/>
                  <a:gd name="T48" fmla="*/ 36 w 48"/>
                  <a:gd name="T49" fmla="*/ 29 h 39"/>
                  <a:gd name="T50" fmla="*/ 38 w 48"/>
                  <a:gd name="T51" fmla="*/ 26 h 39"/>
                  <a:gd name="T52" fmla="*/ 39 w 48"/>
                  <a:gd name="T53" fmla="*/ 19 h 39"/>
                  <a:gd name="T54" fmla="*/ 40 w 48"/>
                  <a:gd name="T55" fmla="*/ 12 h 39"/>
                  <a:gd name="T56" fmla="*/ 29 w 48"/>
                  <a:gd name="T57" fmla="*/ 11 h 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48" h="39">
                    <a:moveTo>
                      <a:pt x="4" y="0"/>
                    </a:moveTo>
                    <a:cubicBezTo>
                      <a:pt x="48" y="4"/>
                      <a:pt x="48" y="4"/>
                      <a:pt x="48" y="4"/>
                    </a:cubicBezTo>
                    <a:cubicBezTo>
                      <a:pt x="46" y="23"/>
                      <a:pt x="46" y="23"/>
                      <a:pt x="46" y="23"/>
                    </a:cubicBezTo>
                    <a:cubicBezTo>
                      <a:pt x="46" y="27"/>
                      <a:pt x="45" y="31"/>
                      <a:pt x="44" y="33"/>
                    </a:cubicBezTo>
                    <a:cubicBezTo>
                      <a:pt x="43" y="35"/>
                      <a:pt x="41" y="36"/>
                      <a:pt x="39" y="38"/>
                    </a:cubicBezTo>
                    <a:cubicBezTo>
                      <a:pt x="37" y="39"/>
                      <a:pt x="35" y="39"/>
                      <a:pt x="32" y="39"/>
                    </a:cubicBezTo>
                    <a:cubicBezTo>
                      <a:pt x="29" y="38"/>
                      <a:pt x="26" y="37"/>
                      <a:pt x="24" y="35"/>
                    </a:cubicBezTo>
                    <a:cubicBezTo>
                      <a:pt x="22" y="33"/>
                      <a:pt x="21" y="30"/>
                      <a:pt x="21" y="26"/>
                    </a:cubicBezTo>
                    <a:cubicBezTo>
                      <a:pt x="20" y="28"/>
                      <a:pt x="18" y="29"/>
                      <a:pt x="17" y="30"/>
                    </a:cubicBezTo>
                    <a:cubicBezTo>
                      <a:pt x="16" y="32"/>
                      <a:pt x="13" y="33"/>
                      <a:pt x="9" y="35"/>
                    </a:cubicBezTo>
                    <a:cubicBezTo>
                      <a:pt x="0" y="39"/>
                      <a:pt x="0" y="39"/>
                      <a:pt x="0" y="39"/>
                    </a:cubicBezTo>
                    <a:cubicBezTo>
                      <a:pt x="1" y="29"/>
                      <a:pt x="1" y="29"/>
                      <a:pt x="1" y="29"/>
                    </a:cubicBezTo>
                    <a:cubicBezTo>
                      <a:pt x="12" y="23"/>
                      <a:pt x="12" y="23"/>
                      <a:pt x="12" y="23"/>
                    </a:cubicBezTo>
                    <a:cubicBezTo>
                      <a:pt x="15" y="21"/>
                      <a:pt x="17" y="20"/>
                      <a:pt x="18" y="19"/>
                    </a:cubicBezTo>
                    <a:cubicBezTo>
                      <a:pt x="19" y="18"/>
                      <a:pt x="20" y="18"/>
                      <a:pt x="20" y="17"/>
                    </a:cubicBezTo>
                    <a:cubicBezTo>
                      <a:pt x="21" y="16"/>
                      <a:pt x="21" y="14"/>
                      <a:pt x="21" y="12"/>
                    </a:cubicBezTo>
                    <a:cubicBezTo>
                      <a:pt x="22" y="11"/>
                      <a:pt x="22" y="11"/>
                      <a:pt x="22" y="11"/>
                    </a:cubicBezTo>
                    <a:cubicBezTo>
                      <a:pt x="3" y="9"/>
                      <a:pt x="3" y="9"/>
                      <a:pt x="3" y="9"/>
                    </a:cubicBezTo>
                    <a:lnTo>
                      <a:pt x="4" y="0"/>
                    </a:lnTo>
                    <a:close/>
                    <a:moveTo>
                      <a:pt x="29" y="11"/>
                    </a:moveTo>
                    <a:cubicBezTo>
                      <a:pt x="28" y="18"/>
                      <a:pt x="28" y="18"/>
                      <a:pt x="28" y="18"/>
                    </a:cubicBezTo>
                    <a:cubicBezTo>
                      <a:pt x="28" y="22"/>
                      <a:pt x="27" y="25"/>
                      <a:pt x="28" y="26"/>
                    </a:cubicBezTo>
                    <a:cubicBezTo>
                      <a:pt x="28" y="27"/>
                      <a:pt x="28" y="28"/>
                      <a:pt x="29" y="28"/>
                    </a:cubicBezTo>
                    <a:cubicBezTo>
                      <a:pt x="30" y="29"/>
                      <a:pt x="31" y="30"/>
                      <a:pt x="32" y="30"/>
                    </a:cubicBezTo>
                    <a:cubicBezTo>
                      <a:pt x="34" y="30"/>
                      <a:pt x="35" y="30"/>
                      <a:pt x="36" y="29"/>
                    </a:cubicBezTo>
                    <a:cubicBezTo>
                      <a:pt x="37" y="28"/>
                      <a:pt x="38" y="27"/>
                      <a:pt x="38" y="26"/>
                    </a:cubicBezTo>
                    <a:cubicBezTo>
                      <a:pt x="38" y="25"/>
                      <a:pt x="39" y="23"/>
                      <a:pt x="39" y="19"/>
                    </a:cubicBezTo>
                    <a:cubicBezTo>
                      <a:pt x="40" y="12"/>
                      <a:pt x="40" y="12"/>
                      <a:pt x="40" y="12"/>
                    </a:cubicBezTo>
                    <a:lnTo>
                      <a:pt x="29" y="11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1048908" name="îś1iḓê"/>
              <p:cNvSpPr/>
              <p:nvPr/>
            </p:nvSpPr>
            <p:spPr bwMode="auto">
              <a:xfrm>
                <a:off x="1641372" y="5312365"/>
                <a:ext cx="82550" cy="66675"/>
              </a:xfrm>
              <a:custGeom>
                <a:avLst/>
                <a:gdLst>
                  <a:gd name="T0" fmla="*/ 15 w 45"/>
                  <a:gd name="T1" fmla="*/ 0 h 36"/>
                  <a:gd name="T2" fmla="*/ 16 w 45"/>
                  <a:gd name="T3" fmla="*/ 8 h 36"/>
                  <a:gd name="T4" fmla="*/ 9 w 45"/>
                  <a:gd name="T5" fmla="*/ 12 h 36"/>
                  <a:gd name="T6" fmla="*/ 7 w 45"/>
                  <a:gd name="T7" fmla="*/ 18 h 36"/>
                  <a:gd name="T8" fmla="*/ 9 w 45"/>
                  <a:gd name="T9" fmla="*/ 25 h 36"/>
                  <a:gd name="T10" fmla="*/ 13 w 45"/>
                  <a:gd name="T11" fmla="*/ 27 h 36"/>
                  <a:gd name="T12" fmla="*/ 16 w 45"/>
                  <a:gd name="T13" fmla="*/ 26 h 36"/>
                  <a:gd name="T14" fmla="*/ 18 w 45"/>
                  <a:gd name="T15" fmla="*/ 23 h 36"/>
                  <a:gd name="T16" fmla="*/ 20 w 45"/>
                  <a:gd name="T17" fmla="*/ 15 h 36"/>
                  <a:gd name="T18" fmla="*/ 24 w 45"/>
                  <a:gd name="T19" fmla="*/ 5 h 36"/>
                  <a:gd name="T20" fmla="*/ 33 w 45"/>
                  <a:gd name="T21" fmla="*/ 1 h 36"/>
                  <a:gd name="T22" fmla="*/ 39 w 45"/>
                  <a:gd name="T23" fmla="*/ 3 h 36"/>
                  <a:gd name="T24" fmla="*/ 44 w 45"/>
                  <a:gd name="T25" fmla="*/ 9 h 36"/>
                  <a:gd name="T26" fmla="*/ 45 w 45"/>
                  <a:gd name="T27" fmla="*/ 17 h 36"/>
                  <a:gd name="T28" fmla="*/ 42 w 45"/>
                  <a:gd name="T29" fmla="*/ 30 h 36"/>
                  <a:gd name="T30" fmla="*/ 32 w 45"/>
                  <a:gd name="T31" fmla="*/ 34 h 36"/>
                  <a:gd name="T32" fmla="*/ 31 w 45"/>
                  <a:gd name="T33" fmla="*/ 25 h 36"/>
                  <a:gd name="T34" fmla="*/ 36 w 45"/>
                  <a:gd name="T35" fmla="*/ 23 h 36"/>
                  <a:gd name="T36" fmla="*/ 38 w 45"/>
                  <a:gd name="T37" fmla="*/ 17 h 36"/>
                  <a:gd name="T38" fmla="*/ 36 w 45"/>
                  <a:gd name="T39" fmla="*/ 11 h 36"/>
                  <a:gd name="T40" fmla="*/ 33 w 45"/>
                  <a:gd name="T41" fmla="*/ 10 h 36"/>
                  <a:gd name="T42" fmla="*/ 31 w 45"/>
                  <a:gd name="T43" fmla="*/ 11 h 36"/>
                  <a:gd name="T44" fmla="*/ 28 w 45"/>
                  <a:gd name="T45" fmla="*/ 19 h 36"/>
                  <a:gd name="T46" fmla="*/ 25 w 45"/>
                  <a:gd name="T47" fmla="*/ 29 h 36"/>
                  <a:gd name="T48" fmla="*/ 20 w 45"/>
                  <a:gd name="T49" fmla="*/ 34 h 36"/>
                  <a:gd name="T50" fmla="*/ 13 w 45"/>
                  <a:gd name="T51" fmla="*/ 36 h 36"/>
                  <a:gd name="T52" fmla="*/ 6 w 45"/>
                  <a:gd name="T53" fmla="*/ 33 h 36"/>
                  <a:gd name="T54" fmla="*/ 1 w 45"/>
                  <a:gd name="T55" fmla="*/ 28 h 36"/>
                  <a:gd name="T56" fmla="*/ 0 w 45"/>
                  <a:gd name="T57" fmla="*/ 18 h 36"/>
                  <a:gd name="T58" fmla="*/ 3 w 45"/>
                  <a:gd name="T59" fmla="*/ 5 h 36"/>
                  <a:gd name="T60" fmla="*/ 15 w 45"/>
                  <a:gd name="T61" fmla="*/ 0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45" h="36">
                    <a:moveTo>
                      <a:pt x="15" y="0"/>
                    </a:moveTo>
                    <a:cubicBezTo>
                      <a:pt x="16" y="8"/>
                      <a:pt x="16" y="8"/>
                      <a:pt x="16" y="8"/>
                    </a:cubicBezTo>
                    <a:cubicBezTo>
                      <a:pt x="13" y="9"/>
                      <a:pt x="10" y="10"/>
                      <a:pt x="9" y="12"/>
                    </a:cubicBezTo>
                    <a:cubicBezTo>
                      <a:pt x="8" y="13"/>
                      <a:pt x="7" y="15"/>
                      <a:pt x="7" y="18"/>
                    </a:cubicBezTo>
                    <a:cubicBezTo>
                      <a:pt x="7" y="21"/>
                      <a:pt x="8" y="23"/>
                      <a:pt x="9" y="25"/>
                    </a:cubicBezTo>
                    <a:cubicBezTo>
                      <a:pt x="10" y="26"/>
                      <a:pt x="12" y="27"/>
                      <a:pt x="13" y="27"/>
                    </a:cubicBezTo>
                    <a:cubicBezTo>
                      <a:pt x="14" y="27"/>
                      <a:pt x="15" y="26"/>
                      <a:pt x="16" y="26"/>
                    </a:cubicBezTo>
                    <a:cubicBezTo>
                      <a:pt x="17" y="25"/>
                      <a:pt x="17" y="24"/>
                      <a:pt x="18" y="23"/>
                    </a:cubicBezTo>
                    <a:cubicBezTo>
                      <a:pt x="18" y="22"/>
                      <a:pt x="19" y="19"/>
                      <a:pt x="20" y="15"/>
                    </a:cubicBezTo>
                    <a:cubicBezTo>
                      <a:pt x="21" y="11"/>
                      <a:pt x="22" y="7"/>
                      <a:pt x="24" y="5"/>
                    </a:cubicBezTo>
                    <a:cubicBezTo>
                      <a:pt x="26" y="3"/>
                      <a:pt x="29" y="1"/>
                      <a:pt x="33" y="1"/>
                    </a:cubicBezTo>
                    <a:cubicBezTo>
                      <a:pt x="35" y="1"/>
                      <a:pt x="37" y="2"/>
                      <a:pt x="39" y="3"/>
                    </a:cubicBezTo>
                    <a:cubicBezTo>
                      <a:pt x="41" y="4"/>
                      <a:pt x="43" y="6"/>
                      <a:pt x="44" y="9"/>
                    </a:cubicBezTo>
                    <a:cubicBezTo>
                      <a:pt x="45" y="11"/>
                      <a:pt x="45" y="14"/>
                      <a:pt x="45" y="17"/>
                    </a:cubicBezTo>
                    <a:cubicBezTo>
                      <a:pt x="45" y="23"/>
                      <a:pt x="44" y="27"/>
                      <a:pt x="42" y="30"/>
                    </a:cubicBezTo>
                    <a:cubicBezTo>
                      <a:pt x="39" y="33"/>
                      <a:pt x="36" y="34"/>
                      <a:pt x="32" y="34"/>
                    </a:cubicBezTo>
                    <a:cubicBezTo>
                      <a:pt x="31" y="25"/>
                      <a:pt x="31" y="25"/>
                      <a:pt x="31" y="25"/>
                    </a:cubicBezTo>
                    <a:cubicBezTo>
                      <a:pt x="34" y="25"/>
                      <a:pt x="35" y="24"/>
                      <a:pt x="36" y="23"/>
                    </a:cubicBezTo>
                    <a:cubicBezTo>
                      <a:pt x="37" y="22"/>
                      <a:pt x="38" y="20"/>
                      <a:pt x="38" y="17"/>
                    </a:cubicBezTo>
                    <a:cubicBezTo>
                      <a:pt x="38" y="15"/>
                      <a:pt x="37" y="13"/>
                      <a:pt x="36" y="11"/>
                    </a:cubicBezTo>
                    <a:cubicBezTo>
                      <a:pt x="35" y="10"/>
                      <a:pt x="35" y="10"/>
                      <a:pt x="33" y="10"/>
                    </a:cubicBezTo>
                    <a:cubicBezTo>
                      <a:pt x="32" y="10"/>
                      <a:pt x="31" y="10"/>
                      <a:pt x="31" y="11"/>
                    </a:cubicBezTo>
                    <a:cubicBezTo>
                      <a:pt x="30" y="12"/>
                      <a:pt x="29" y="15"/>
                      <a:pt x="28" y="19"/>
                    </a:cubicBezTo>
                    <a:cubicBezTo>
                      <a:pt x="27" y="24"/>
                      <a:pt x="26" y="27"/>
                      <a:pt x="25" y="29"/>
                    </a:cubicBezTo>
                    <a:cubicBezTo>
                      <a:pt x="24" y="31"/>
                      <a:pt x="22" y="33"/>
                      <a:pt x="20" y="34"/>
                    </a:cubicBezTo>
                    <a:cubicBezTo>
                      <a:pt x="18" y="35"/>
                      <a:pt x="16" y="36"/>
                      <a:pt x="13" y="36"/>
                    </a:cubicBezTo>
                    <a:cubicBezTo>
                      <a:pt x="11" y="36"/>
                      <a:pt x="8" y="35"/>
                      <a:pt x="6" y="33"/>
                    </a:cubicBezTo>
                    <a:cubicBezTo>
                      <a:pt x="4" y="32"/>
                      <a:pt x="2" y="30"/>
                      <a:pt x="1" y="28"/>
                    </a:cubicBezTo>
                    <a:cubicBezTo>
                      <a:pt x="0" y="25"/>
                      <a:pt x="0" y="22"/>
                      <a:pt x="0" y="18"/>
                    </a:cubicBezTo>
                    <a:cubicBezTo>
                      <a:pt x="0" y="12"/>
                      <a:pt x="1" y="8"/>
                      <a:pt x="3" y="5"/>
                    </a:cubicBezTo>
                    <a:cubicBezTo>
                      <a:pt x="6" y="2"/>
                      <a:pt x="10" y="0"/>
                      <a:pt x="15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1048909" name="íş1ïḓe"/>
              <p:cNvSpPr/>
              <p:nvPr/>
            </p:nvSpPr>
            <p:spPr bwMode="auto">
              <a:xfrm>
                <a:off x="1642959" y="5385390"/>
                <a:ext cx="84138" cy="22225"/>
              </a:xfrm>
              <a:custGeom>
                <a:avLst/>
                <a:gdLst>
                  <a:gd name="T0" fmla="*/ 0 w 53"/>
                  <a:gd name="T1" fmla="*/ 5 h 14"/>
                  <a:gd name="T2" fmla="*/ 51 w 53"/>
                  <a:gd name="T3" fmla="*/ 0 h 14"/>
                  <a:gd name="T4" fmla="*/ 53 w 53"/>
                  <a:gd name="T5" fmla="*/ 11 h 14"/>
                  <a:gd name="T6" fmla="*/ 1 w 53"/>
                  <a:gd name="T7" fmla="*/ 14 h 14"/>
                  <a:gd name="T8" fmla="*/ 0 w 53"/>
                  <a:gd name="T9" fmla="*/ 5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3" h="14">
                    <a:moveTo>
                      <a:pt x="0" y="5"/>
                    </a:moveTo>
                    <a:lnTo>
                      <a:pt x="51" y="0"/>
                    </a:lnTo>
                    <a:lnTo>
                      <a:pt x="53" y="11"/>
                    </a:lnTo>
                    <a:lnTo>
                      <a:pt x="1" y="14"/>
                    </a:lnTo>
                    <a:lnTo>
                      <a:pt x="0" y="5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1048910" name="ïṩlîḋè"/>
              <p:cNvSpPr/>
              <p:nvPr/>
            </p:nvSpPr>
            <p:spPr bwMode="auto">
              <a:xfrm>
                <a:off x="1649309" y="5407615"/>
                <a:ext cx="84138" cy="66675"/>
              </a:xfrm>
              <a:custGeom>
                <a:avLst/>
                <a:gdLst>
                  <a:gd name="T0" fmla="*/ 0 w 53"/>
                  <a:gd name="T1" fmla="*/ 22 h 42"/>
                  <a:gd name="T2" fmla="*/ 42 w 53"/>
                  <a:gd name="T3" fmla="*/ 17 h 42"/>
                  <a:gd name="T4" fmla="*/ 39 w 53"/>
                  <a:gd name="T5" fmla="*/ 1 h 42"/>
                  <a:gd name="T6" fmla="*/ 49 w 53"/>
                  <a:gd name="T7" fmla="*/ 0 h 42"/>
                  <a:gd name="T8" fmla="*/ 53 w 53"/>
                  <a:gd name="T9" fmla="*/ 41 h 42"/>
                  <a:gd name="T10" fmla="*/ 45 w 53"/>
                  <a:gd name="T11" fmla="*/ 42 h 42"/>
                  <a:gd name="T12" fmla="*/ 43 w 53"/>
                  <a:gd name="T13" fmla="*/ 27 h 42"/>
                  <a:gd name="T14" fmla="*/ 1 w 53"/>
                  <a:gd name="T15" fmla="*/ 33 h 42"/>
                  <a:gd name="T16" fmla="*/ 0 w 53"/>
                  <a:gd name="T17" fmla="*/ 22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3" h="42">
                    <a:moveTo>
                      <a:pt x="0" y="22"/>
                    </a:moveTo>
                    <a:lnTo>
                      <a:pt x="42" y="17"/>
                    </a:lnTo>
                    <a:lnTo>
                      <a:pt x="39" y="1"/>
                    </a:lnTo>
                    <a:lnTo>
                      <a:pt x="49" y="0"/>
                    </a:lnTo>
                    <a:lnTo>
                      <a:pt x="53" y="41"/>
                    </a:lnTo>
                    <a:lnTo>
                      <a:pt x="45" y="42"/>
                    </a:lnTo>
                    <a:lnTo>
                      <a:pt x="43" y="27"/>
                    </a:lnTo>
                    <a:lnTo>
                      <a:pt x="1" y="33"/>
                    </a:lnTo>
                    <a:lnTo>
                      <a:pt x="0" y="22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1048911" name="ïṣľîďe"/>
              <p:cNvSpPr/>
              <p:nvPr/>
            </p:nvSpPr>
            <p:spPr bwMode="auto">
              <a:xfrm>
                <a:off x="1662009" y="5471115"/>
                <a:ext cx="90488" cy="73025"/>
              </a:xfrm>
              <a:custGeom>
                <a:avLst/>
                <a:gdLst>
                  <a:gd name="T0" fmla="*/ 0 w 57"/>
                  <a:gd name="T1" fmla="*/ 29 h 46"/>
                  <a:gd name="T2" fmla="*/ 21 w 57"/>
                  <a:gd name="T3" fmla="*/ 24 h 46"/>
                  <a:gd name="T4" fmla="*/ 45 w 57"/>
                  <a:gd name="T5" fmla="*/ 0 h 46"/>
                  <a:gd name="T6" fmla="*/ 49 w 57"/>
                  <a:gd name="T7" fmla="*/ 11 h 46"/>
                  <a:gd name="T8" fmla="*/ 31 w 57"/>
                  <a:gd name="T9" fmla="*/ 28 h 46"/>
                  <a:gd name="T10" fmla="*/ 53 w 57"/>
                  <a:gd name="T11" fmla="*/ 35 h 46"/>
                  <a:gd name="T12" fmla="*/ 57 w 57"/>
                  <a:gd name="T13" fmla="*/ 46 h 46"/>
                  <a:gd name="T14" fmla="*/ 23 w 57"/>
                  <a:gd name="T15" fmla="*/ 35 h 46"/>
                  <a:gd name="T16" fmla="*/ 2 w 57"/>
                  <a:gd name="T17" fmla="*/ 39 h 46"/>
                  <a:gd name="T18" fmla="*/ 0 w 57"/>
                  <a:gd name="T19" fmla="*/ 29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57" h="46">
                    <a:moveTo>
                      <a:pt x="0" y="29"/>
                    </a:moveTo>
                    <a:lnTo>
                      <a:pt x="21" y="24"/>
                    </a:lnTo>
                    <a:lnTo>
                      <a:pt x="45" y="0"/>
                    </a:lnTo>
                    <a:lnTo>
                      <a:pt x="49" y="11"/>
                    </a:lnTo>
                    <a:lnTo>
                      <a:pt x="31" y="28"/>
                    </a:lnTo>
                    <a:lnTo>
                      <a:pt x="53" y="35"/>
                    </a:lnTo>
                    <a:lnTo>
                      <a:pt x="57" y="46"/>
                    </a:lnTo>
                    <a:lnTo>
                      <a:pt x="23" y="35"/>
                    </a:lnTo>
                    <a:lnTo>
                      <a:pt x="2" y="39"/>
                    </a:lnTo>
                    <a:lnTo>
                      <a:pt x="0" y="29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1048912" name="íśļiḓe"/>
              <p:cNvSpPr/>
              <p:nvPr/>
            </p:nvSpPr>
            <p:spPr bwMode="auto">
              <a:xfrm>
                <a:off x="1704872" y="5609228"/>
                <a:ext cx="85725" cy="80963"/>
              </a:xfrm>
              <a:custGeom>
                <a:avLst/>
                <a:gdLst>
                  <a:gd name="T0" fmla="*/ 15 w 47"/>
                  <a:gd name="T1" fmla="*/ 2 h 44"/>
                  <a:gd name="T2" fmla="*/ 26 w 47"/>
                  <a:gd name="T3" fmla="*/ 0 h 44"/>
                  <a:gd name="T4" fmla="*/ 33 w 47"/>
                  <a:gd name="T5" fmla="*/ 1 h 44"/>
                  <a:gd name="T6" fmla="*/ 39 w 47"/>
                  <a:gd name="T7" fmla="*/ 4 h 44"/>
                  <a:gd name="T8" fmla="*/ 44 w 47"/>
                  <a:gd name="T9" fmla="*/ 12 h 44"/>
                  <a:gd name="T10" fmla="*/ 45 w 47"/>
                  <a:gd name="T11" fmla="*/ 29 h 44"/>
                  <a:gd name="T12" fmla="*/ 32 w 47"/>
                  <a:gd name="T13" fmla="*/ 41 h 44"/>
                  <a:gd name="T14" fmla="*/ 15 w 47"/>
                  <a:gd name="T15" fmla="*/ 43 h 44"/>
                  <a:gd name="T16" fmla="*/ 3 w 47"/>
                  <a:gd name="T17" fmla="*/ 31 h 44"/>
                  <a:gd name="T18" fmla="*/ 2 w 47"/>
                  <a:gd name="T19" fmla="*/ 14 h 44"/>
                  <a:gd name="T20" fmla="*/ 15 w 47"/>
                  <a:gd name="T21" fmla="*/ 2 h 44"/>
                  <a:gd name="T22" fmla="*/ 19 w 47"/>
                  <a:gd name="T23" fmla="*/ 10 h 44"/>
                  <a:gd name="T24" fmla="*/ 10 w 47"/>
                  <a:gd name="T25" fmla="*/ 18 h 44"/>
                  <a:gd name="T26" fmla="*/ 10 w 47"/>
                  <a:gd name="T27" fmla="*/ 28 h 44"/>
                  <a:gd name="T28" fmla="*/ 17 w 47"/>
                  <a:gd name="T29" fmla="*/ 34 h 44"/>
                  <a:gd name="T30" fmla="*/ 29 w 47"/>
                  <a:gd name="T31" fmla="*/ 33 h 44"/>
                  <a:gd name="T32" fmla="*/ 38 w 47"/>
                  <a:gd name="T33" fmla="*/ 25 h 44"/>
                  <a:gd name="T34" fmla="*/ 37 w 47"/>
                  <a:gd name="T35" fmla="*/ 16 h 44"/>
                  <a:gd name="T36" fmla="*/ 30 w 47"/>
                  <a:gd name="T37" fmla="*/ 9 h 44"/>
                  <a:gd name="T38" fmla="*/ 19 w 47"/>
                  <a:gd name="T39" fmla="*/ 10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47" h="44">
                    <a:moveTo>
                      <a:pt x="15" y="2"/>
                    </a:moveTo>
                    <a:cubicBezTo>
                      <a:pt x="19" y="0"/>
                      <a:pt x="23" y="0"/>
                      <a:pt x="26" y="0"/>
                    </a:cubicBezTo>
                    <a:cubicBezTo>
                      <a:pt x="28" y="0"/>
                      <a:pt x="31" y="0"/>
                      <a:pt x="33" y="1"/>
                    </a:cubicBezTo>
                    <a:cubicBezTo>
                      <a:pt x="35" y="2"/>
                      <a:pt x="37" y="3"/>
                      <a:pt x="39" y="4"/>
                    </a:cubicBezTo>
                    <a:cubicBezTo>
                      <a:pt x="41" y="6"/>
                      <a:pt x="43" y="9"/>
                      <a:pt x="44" y="12"/>
                    </a:cubicBezTo>
                    <a:cubicBezTo>
                      <a:pt x="47" y="18"/>
                      <a:pt x="47" y="24"/>
                      <a:pt x="45" y="29"/>
                    </a:cubicBezTo>
                    <a:cubicBezTo>
                      <a:pt x="43" y="34"/>
                      <a:pt x="39" y="38"/>
                      <a:pt x="32" y="41"/>
                    </a:cubicBezTo>
                    <a:cubicBezTo>
                      <a:pt x="26" y="44"/>
                      <a:pt x="20" y="44"/>
                      <a:pt x="15" y="43"/>
                    </a:cubicBezTo>
                    <a:cubicBezTo>
                      <a:pt x="9" y="41"/>
                      <a:pt x="5" y="37"/>
                      <a:pt x="3" y="31"/>
                    </a:cubicBezTo>
                    <a:cubicBezTo>
                      <a:pt x="0" y="25"/>
                      <a:pt x="0" y="19"/>
                      <a:pt x="2" y="14"/>
                    </a:cubicBezTo>
                    <a:cubicBezTo>
                      <a:pt x="4" y="9"/>
                      <a:pt x="8" y="5"/>
                      <a:pt x="15" y="2"/>
                    </a:cubicBezTo>
                    <a:close/>
                    <a:moveTo>
                      <a:pt x="19" y="10"/>
                    </a:moveTo>
                    <a:cubicBezTo>
                      <a:pt x="14" y="12"/>
                      <a:pt x="11" y="15"/>
                      <a:pt x="10" y="18"/>
                    </a:cubicBezTo>
                    <a:cubicBezTo>
                      <a:pt x="8" y="21"/>
                      <a:pt x="8" y="24"/>
                      <a:pt x="10" y="28"/>
                    </a:cubicBezTo>
                    <a:cubicBezTo>
                      <a:pt x="11" y="31"/>
                      <a:pt x="13" y="33"/>
                      <a:pt x="17" y="34"/>
                    </a:cubicBezTo>
                    <a:cubicBezTo>
                      <a:pt x="20" y="35"/>
                      <a:pt x="24" y="35"/>
                      <a:pt x="29" y="33"/>
                    </a:cubicBezTo>
                    <a:cubicBezTo>
                      <a:pt x="33" y="31"/>
                      <a:pt x="36" y="28"/>
                      <a:pt x="38" y="25"/>
                    </a:cubicBezTo>
                    <a:cubicBezTo>
                      <a:pt x="39" y="22"/>
                      <a:pt x="39" y="19"/>
                      <a:pt x="37" y="16"/>
                    </a:cubicBezTo>
                    <a:cubicBezTo>
                      <a:pt x="36" y="12"/>
                      <a:pt x="34" y="10"/>
                      <a:pt x="30" y="9"/>
                    </a:cubicBezTo>
                    <a:cubicBezTo>
                      <a:pt x="27" y="8"/>
                      <a:pt x="23" y="8"/>
                      <a:pt x="19" y="1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1048913" name="î$ḷïďe"/>
              <p:cNvSpPr/>
              <p:nvPr/>
            </p:nvSpPr>
            <p:spPr bwMode="auto">
              <a:xfrm>
                <a:off x="1733447" y="5675903"/>
                <a:ext cx="98425" cy="66675"/>
              </a:xfrm>
              <a:custGeom>
                <a:avLst/>
                <a:gdLst>
                  <a:gd name="T0" fmla="*/ 0 w 62"/>
                  <a:gd name="T1" fmla="*/ 26 h 42"/>
                  <a:gd name="T2" fmla="*/ 45 w 62"/>
                  <a:gd name="T3" fmla="*/ 0 h 42"/>
                  <a:gd name="T4" fmla="*/ 62 w 62"/>
                  <a:gd name="T5" fmla="*/ 30 h 42"/>
                  <a:gd name="T6" fmla="*/ 55 w 62"/>
                  <a:gd name="T7" fmla="*/ 35 h 42"/>
                  <a:gd name="T8" fmla="*/ 43 w 62"/>
                  <a:gd name="T9" fmla="*/ 14 h 42"/>
                  <a:gd name="T10" fmla="*/ 32 w 62"/>
                  <a:gd name="T11" fmla="*/ 20 h 42"/>
                  <a:gd name="T12" fmla="*/ 43 w 62"/>
                  <a:gd name="T13" fmla="*/ 38 h 42"/>
                  <a:gd name="T14" fmla="*/ 35 w 62"/>
                  <a:gd name="T15" fmla="*/ 42 h 42"/>
                  <a:gd name="T16" fmla="*/ 25 w 62"/>
                  <a:gd name="T17" fmla="*/ 23 h 42"/>
                  <a:gd name="T18" fmla="*/ 6 w 62"/>
                  <a:gd name="T19" fmla="*/ 35 h 42"/>
                  <a:gd name="T20" fmla="*/ 0 w 62"/>
                  <a:gd name="T21" fmla="*/ 26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62" h="42">
                    <a:moveTo>
                      <a:pt x="0" y="26"/>
                    </a:moveTo>
                    <a:lnTo>
                      <a:pt x="45" y="0"/>
                    </a:lnTo>
                    <a:lnTo>
                      <a:pt x="62" y="30"/>
                    </a:lnTo>
                    <a:lnTo>
                      <a:pt x="55" y="35"/>
                    </a:lnTo>
                    <a:lnTo>
                      <a:pt x="43" y="14"/>
                    </a:lnTo>
                    <a:lnTo>
                      <a:pt x="32" y="20"/>
                    </a:lnTo>
                    <a:lnTo>
                      <a:pt x="43" y="38"/>
                    </a:lnTo>
                    <a:lnTo>
                      <a:pt x="35" y="42"/>
                    </a:lnTo>
                    <a:lnTo>
                      <a:pt x="25" y="23"/>
                    </a:lnTo>
                    <a:lnTo>
                      <a:pt x="6" y="35"/>
                    </a:lnTo>
                    <a:lnTo>
                      <a:pt x="0" y="26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1048914" name="îśḻîḍe"/>
              <p:cNvSpPr/>
              <p:nvPr/>
            </p:nvSpPr>
            <p:spPr bwMode="auto">
              <a:xfrm>
                <a:off x="1812822" y="5785440"/>
                <a:ext cx="85725" cy="82550"/>
              </a:xfrm>
              <a:custGeom>
                <a:avLst/>
                <a:gdLst>
                  <a:gd name="T0" fmla="*/ 6 w 46"/>
                  <a:gd name="T1" fmla="*/ 13 h 45"/>
                  <a:gd name="T2" fmla="*/ 12 w 46"/>
                  <a:gd name="T3" fmla="*/ 19 h 45"/>
                  <a:gd name="T4" fmla="*/ 9 w 46"/>
                  <a:gd name="T5" fmla="*/ 26 h 45"/>
                  <a:gd name="T6" fmla="*/ 11 w 46"/>
                  <a:gd name="T7" fmla="*/ 32 h 45"/>
                  <a:gd name="T8" fmla="*/ 17 w 46"/>
                  <a:gd name="T9" fmla="*/ 36 h 45"/>
                  <a:gd name="T10" fmla="*/ 22 w 46"/>
                  <a:gd name="T11" fmla="*/ 35 h 45"/>
                  <a:gd name="T12" fmla="*/ 23 w 46"/>
                  <a:gd name="T13" fmla="*/ 32 h 45"/>
                  <a:gd name="T14" fmla="*/ 22 w 46"/>
                  <a:gd name="T15" fmla="*/ 29 h 45"/>
                  <a:gd name="T16" fmla="*/ 19 w 46"/>
                  <a:gd name="T17" fmla="*/ 22 h 45"/>
                  <a:gd name="T18" fmla="*/ 16 w 46"/>
                  <a:gd name="T19" fmla="*/ 12 h 45"/>
                  <a:gd name="T20" fmla="*/ 21 w 46"/>
                  <a:gd name="T21" fmla="*/ 3 h 45"/>
                  <a:gd name="T22" fmla="*/ 27 w 46"/>
                  <a:gd name="T23" fmla="*/ 0 h 45"/>
                  <a:gd name="T24" fmla="*/ 34 w 46"/>
                  <a:gd name="T25" fmla="*/ 2 h 45"/>
                  <a:gd name="T26" fmla="*/ 40 w 46"/>
                  <a:gd name="T27" fmla="*/ 8 h 45"/>
                  <a:gd name="T28" fmla="*/ 45 w 46"/>
                  <a:gd name="T29" fmla="*/ 19 h 45"/>
                  <a:gd name="T30" fmla="*/ 41 w 46"/>
                  <a:gd name="T31" fmla="*/ 29 h 45"/>
                  <a:gd name="T32" fmla="*/ 35 w 46"/>
                  <a:gd name="T33" fmla="*/ 22 h 45"/>
                  <a:gd name="T34" fmla="*/ 37 w 46"/>
                  <a:gd name="T35" fmla="*/ 17 h 45"/>
                  <a:gd name="T36" fmla="*/ 35 w 46"/>
                  <a:gd name="T37" fmla="*/ 12 h 45"/>
                  <a:gd name="T38" fmla="*/ 30 w 46"/>
                  <a:gd name="T39" fmla="*/ 8 h 45"/>
                  <a:gd name="T40" fmla="*/ 27 w 46"/>
                  <a:gd name="T41" fmla="*/ 9 h 45"/>
                  <a:gd name="T42" fmla="*/ 25 w 46"/>
                  <a:gd name="T43" fmla="*/ 12 h 45"/>
                  <a:gd name="T44" fmla="*/ 28 w 46"/>
                  <a:gd name="T45" fmla="*/ 20 h 45"/>
                  <a:gd name="T46" fmla="*/ 32 w 46"/>
                  <a:gd name="T47" fmla="*/ 29 h 45"/>
                  <a:gd name="T48" fmla="*/ 31 w 46"/>
                  <a:gd name="T49" fmla="*/ 36 h 45"/>
                  <a:gd name="T50" fmla="*/ 27 w 46"/>
                  <a:gd name="T51" fmla="*/ 42 h 45"/>
                  <a:gd name="T52" fmla="*/ 20 w 46"/>
                  <a:gd name="T53" fmla="*/ 45 h 45"/>
                  <a:gd name="T54" fmla="*/ 13 w 46"/>
                  <a:gd name="T55" fmla="*/ 43 h 45"/>
                  <a:gd name="T56" fmla="*/ 6 w 46"/>
                  <a:gd name="T57" fmla="*/ 37 h 45"/>
                  <a:gd name="T58" fmla="*/ 0 w 46"/>
                  <a:gd name="T59" fmla="*/ 24 h 45"/>
                  <a:gd name="T60" fmla="*/ 6 w 46"/>
                  <a:gd name="T61" fmla="*/ 13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46" h="45">
                    <a:moveTo>
                      <a:pt x="6" y="13"/>
                    </a:moveTo>
                    <a:cubicBezTo>
                      <a:pt x="12" y="19"/>
                      <a:pt x="12" y="19"/>
                      <a:pt x="12" y="19"/>
                    </a:cubicBezTo>
                    <a:cubicBezTo>
                      <a:pt x="10" y="21"/>
                      <a:pt x="9" y="24"/>
                      <a:pt x="9" y="26"/>
                    </a:cubicBezTo>
                    <a:cubicBezTo>
                      <a:pt x="9" y="28"/>
                      <a:pt x="10" y="30"/>
                      <a:pt x="11" y="32"/>
                    </a:cubicBezTo>
                    <a:cubicBezTo>
                      <a:pt x="13" y="34"/>
                      <a:pt x="15" y="35"/>
                      <a:pt x="17" y="36"/>
                    </a:cubicBezTo>
                    <a:cubicBezTo>
                      <a:pt x="19" y="36"/>
                      <a:pt x="20" y="36"/>
                      <a:pt x="22" y="35"/>
                    </a:cubicBezTo>
                    <a:cubicBezTo>
                      <a:pt x="22" y="34"/>
                      <a:pt x="23" y="33"/>
                      <a:pt x="23" y="32"/>
                    </a:cubicBezTo>
                    <a:cubicBezTo>
                      <a:pt x="23" y="32"/>
                      <a:pt x="23" y="30"/>
                      <a:pt x="22" y="29"/>
                    </a:cubicBezTo>
                    <a:cubicBezTo>
                      <a:pt x="22" y="28"/>
                      <a:pt x="21" y="26"/>
                      <a:pt x="19" y="22"/>
                    </a:cubicBezTo>
                    <a:cubicBezTo>
                      <a:pt x="17" y="18"/>
                      <a:pt x="16" y="14"/>
                      <a:pt x="16" y="12"/>
                    </a:cubicBezTo>
                    <a:cubicBezTo>
                      <a:pt x="17" y="8"/>
                      <a:pt x="18" y="5"/>
                      <a:pt x="21" y="3"/>
                    </a:cubicBezTo>
                    <a:cubicBezTo>
                      <a:pt x="23" y="1"/>
                      <a:pt x="25" y="1"/>
                      <a:pt x="27" y="0"/>
                    </a:cubicBezTo>
                    <a:cubicBezTo>
                      <a:pt x="29" y="0"/>
                      <a:pt x="31" y="1"/>
                      <a:pt x="34" y="2"/>
                    </a:cubicBezTo>
                    <a:cubicBezTo>
                      <a:pt x="36" y="3"/>
                      <a:pt x="38" y="5"/>
                      <a:pt x="40" y="8"/>
                    </a:cubicBezTo>
                    <a:cubicBezTo>
                      <a:pt x="44" y="12"/>
                      <a:pt x="46" y="16"/>
                      <a:pt x="45" y="19"/>
                    </a:cubicBezTo>
                    <a:cubicBezTo>
                      <a:pt x="45" y="23"/>
                      <a:pt x="44" y="26"/>
                      <a:pt x="41" y="29"/>
                    </a:cubicBezTo>
                    <a:cubicBezTo>
                      <a:pt x="35" y="22"/>
                      <a:pt x="35" y="22"/>
                      <a:pt x="35" y="22"/>
                    </a:cubicBezTo>
                    <a:cubicBezTo>
                      <a:pt x="36" y="21"/>
                      <a:pt x="37" y="19"/>
                      <a:pt x="37" y="17"/>
                    </a:cubicBezTo>
                    <a:cubicBezTo>
                      <a:pt x="37" y="16"/>
                      <a:pt x="36" y="14"/>
                      <a:pt x="35" y="12"/>
                    </a:cubicBezTo>
                    <a:cubicBezTo>
                      <a:pt x="33" y="10"/>
                      <a:pt x="31" y="9"/>
                      <a:pt x="30" y="8"/>
                    </a:cubicBezTo>
                    <a:cubicBezTo>
                      <a:pt x="28" y="8"/>
                      <a:pt x="27" y="8"/>
                      <a:pt x="27" y="9"/>
                    </a:cubicBezTo>
                    <a:cubicBezTo>
                      <a:pt x="26" y="10"/>
                      <a:pt x="25" y="11"/>
                      <a:pt x="25" y="12"/>
                    </a:cubicBezTo>
                    <a:cubicBezTo>
                      <a:pt x="25" y="13"/>
                      <a:pt x="26" y="16"/>
                      <a:pt x="28" y="20"/>
                    </a:cubicBezTo>
                    <a:cubicBezTo>
                      <a:pt x="30" y="24"/>
                      <a:pt x="31" y="27"/>
                      <a:pt x="32" y="29"/>
                    </a:cubicBezTo>
                    <a:cubicBezTo>
                      <a:pt x="32" y="32"/>
                      <a:pt x="32" y="34"/>
                      <a:pt x="31" y="36"/>
                    </a:cubicBezTo>
                    <a:cubicBezTo>
                      <a:pt x="31" y="38"/>
                      <a:pt x="29" y="40"/>
                      <a:pt x="27" y="42"/>
                    </a:cubicBezTo>
                    <a:cubicBezTo>
                      <a:pt x="25" y="43"/>
                      <a:pt x="23" y="44"/>
                      <a:pt x="20" y="45"/>
                    </a:cubicBezTo>
                    <a:cubicBezTo>
                      <a:pt x="18" y="45"/>
                      <a:pt x="15" y="44"/>
                      <a:pt x="13" y="43"/>
                    </a:cubicBezTo>
                    <a:cubicBezTo>
                      <a:pt x="10" y="42"/>
                      <a:pt x="8" y="40"/>
                      <a:pt x="6" y="37"/>
                    </a:cubicBezTo>
                    <a:cubicBezTo>
                      <a:pt x="2" y="32"/>
                      <a:pt x="0" y="28"/>
                      <a:pt x="0" y="24"/>
                    </a:cubicBezTo>
                    <a:cubicBezTo>
                      <a:pt x="1" y="20"/>
                      <a:pt x="2" y="17"/>
                      <a:pt x="6" y="13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1048915" name="í$ļîḋê"/>
              <p:cNvSpPr/>
              <p:nvPr/>
            </p:nvSpPr>
            <p:spPr bwMode="auto">
              <a:xfrm>
                <a:off x="1868384" y="5844178"/>
                <a:ext cx="82550" cy="82550"/>
              </a:xfrm>
              <a:custGeom>
                <a:avLst/>
                <a:gdLst>
                  <a:gd name="T0" fmla="*/ 25 w 45"/>
                  <a:gd name="T1" fmla="*/ 33 h 45"/>
                  <a:gd name="T2" fmla="*/ 29 w 45"/>
                  <a:gd name="T3" fmla="*/ 41 h 45"/>
                  <a:gd name="T4" fmla="*/ 17 w 45"/>
                  <a:gd name="T5" fmla="*/ 44 h 45"/>
                  <a:gd name="T6" fmla="*/ 6 w 45"/>
                  <a:gd name="T7" fmla="*/ 38 h 45"/>
                  <a:gd name="T8" fmla="*/ 0 w 45"/>
                  <a:gd name="T9" fmla="*/ 24 h 45"/>
                  <a:gd name="T10" fmla="*/ 8 w 45"/>
                  <a:gd name="T11" fmla="*/ 8 h 45"/>
                  <a:gd name="T12" fmla="*/ 24 w 45"/>
                  <a:gd name="T13" fmla="*/ 0 h 45"/>
                  <a:gd name="T14" fmla="*/ 39 w 45"/>
                  <a:gd name="T15" fmla="*/ 7 h 45"/>
                  <a:gd name="T16" fmla="*/ 45 w 45"/>
                  <a:gd name="T17" fmla="*/ 19 h 45"/>
                  <a:gd name="T18" fmla="*/ 42 w 45"/>
                  <a:gd name="T19" fmla="*/ 28 h 45"/>
                  <a:gd name="T20" fmla="*/ 34 w 45"/>
                  <a:gd name="T21" fmla="*/ 23 h 45"/>
                  <a:gd name="T22" fmla="*/ 36 w 45"/>
                  <a:gd name="T23" fmla="*/ 17 h 45"/>
                  <a:gd name="T24" fmla="*/ 33 w 45"/>
                  <a:gd name="T25" fmla="*/ 12 h 45"/>
                  <a:gd name="T26" fmla="*/ 25 w 45"/>
                  <a:gd name="T27" fmla="*/ 9 h 45"/>
                  <a:gd name="T28" fmla="*/ 15 w 45"/>
                  <a:gd name="T29" fmla="*/ 14 h 45"/>
                  <a:gd name="T30" fmla="*/ 8 w 45"/>
                  <a:gd name="T31" fmla="*/ 25 h 45"/>
                  <a:gd name="T32" fmla="*/ 11 w 45"/>
                  <a:gd name="T33" fmla="*/ 33 h 45"/>
                  <a:gd name="T34" fmla="*/ 17 w 45"/>
                  <a:gd name="T35" fmla="*/ 36 h 45"/>
                  <a:gd name="T36" fmla="*/ 25 w 45"/>
                  <a:gd name="T37" fmla="*/ 33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45" h="45">
                    <a:moveTo>
                      <a:pt x="25" y="33"/>
                    </a:moveTo>
                    <a:cubicBezTo>
                      <a:pt x="29" y="41"/>
                      <a:pt x="29" y="41"/>
                      <a:pt x="29" y="41"/>
                    </a:cubicBezTo>
                    <a:cubicBezTo>
                      <a:pt x="25" y="44"/>
                      <a:pt x="21" y="45"/>
                      <a:pt x="17" y="44"/>
                    </a:cubicBezTo>
                    <a:cubicBezTo>
                      <a:pt x="13" y="44"/>
                      <a:pt x="9" y="42"/>
                      <a:pt x="6" y="38"/>
                    </a:cubicBezTo>
                    <a:cubicBezTo>
                      <a:pt x="2" y="34"/>
                      <a:pt x="0" y="29"/>
                      <a:pt x="0" y="24"/>
                    </a:cubicBezTo>
                    <a:cubicBezTo>
                      <a:pt x="0" y="19"/>
                      <a:pt x="3" y="13"/>
                      <a:pt x="8" y="8"/>
                    </a:cubicBezTo>
                    <a:cubicBezTo>
                      <a:pt x="13" y="3"/>
                      <a:pt x="18" y="1"/>
                      <a:pt x="24" y="0"/>
                    </a:cubicBezTo>
                    <a:cubicBezTo>
                      <a:pt x="29" y="0"/>
                      <a:pt x="34" y="2"/>
                      <a:pt x="39" y="7"/>
                    </a:cubicBezTo>
                    <a:cubicBezTo>
                      <a:pt x="42" y="10"/>
                      <a:pt x="44" y="15"/>
                      <a:pt x="45" y="19"/>
                    </a:cubicBezTo>
                    <a:cubicBezTo>
                      <a:pt x="45" y="22"/>
                      <a:pt x="44" y="25"/>
                      <a:pt x="42" y="28"/>
                    </a:cubicBezTo>
                    <a:cubicBezTo>
                      <a:pt x="34" y="23"/>
                      <a:pt x="34" y="23"/>
                      <a:pt x="34" y="23"/>
                    </a:cubicBezTo>
                    <a:cubicBezTo>
                      <a:pt x="36" y="21"/>
                      <a:pt x="36" y="19"/>
                      <a:pt x="36" y="17"/>
                    </a:cubicBezTo>
                    <a:cubicBezTo>
                      <a:pt x="36" y="15"/>
                      <a:pt x="35" y="13"/>
                      <a:pt x="33" y="12"/>
                    </a:cubicBezTo>
                    <a:cubicBezTo>
                      <a:pt x="31" y="9"/>
                      <a:pt x="28" y="8"/>
                      <a:pt x="25" y="9"/>
                    </a:cubicBezTo>
                    <a:cubicBezTo>
                      <a:pt x="22" y="9"/>
                      <a:pt x="18" y="11"/>
                      <a:pt x="15" y="14"/>
                    </a:cubicBezTo>
                    <a:cubicBezTo>
                      <a:pt x="11" y="18"/>
                      <a:pt x="9" y="22"/>
                      <a:pt x="8" y="25"/>
                    </a:cubicBezTo>
                    <a:cubicBezTo>
                      <a:pt x="8" y="28"/>
                      <a:pt x="9" y="31"/>
                      <a:pt x="11" y="33"/>
                    </a:cubicBezTo>
                    <a:cubicBezTo>
                      <a:pt x="13" y="35"/>
                      <a:pt x="15" y="36"/>
                      <a:pt x="17" y="36"/>
                    </a:cubicBezTo>
                    <a:cubicBezTo>
                      <a:pt x="20" y="36"/>
                      <a:pt x="22" y="35"/>
                      <a:pt x="25" y="33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1048916" name="íṩḷiḋé"/>
              <p:cNvSpPr/>
              <p:nvPr/>
            </p:nvSpPr>
            <p:spPr bwMode="auto">
              <a:xfrm>
                <a:off x="1916009" y="5887040"/>
                <a:ext cx="65088" cy="71438"/>
              </a:xfrm>
              <a:custGeom>
                <a:avLst/>
                <a:gdLst>
                  <a:gd name="T0" fmla="*/ 0 w 41"/>
                  <a:gd name="T1" fmla="*/ 38 h 45"/>
                  <a:gd name="T2" fmla="*/ 34 w 41"/>
                  <a:gd name="T3" fmla="*/ 0 h 45"/>
                  <a:gd name="T4" fmla="*/ 41 w 41"/>
                  <a:gd name="T5" fmla="*/ 6 h 45"/>
                  <a:gd name="T6" fmla="*/ 8 w 41"/>
                  <a:gd name="T7" fmla="*/ 45 h 45"/>
                  <a:gd name="T8" fmla="*/ 0 w 41"/>
                  <a:gd name="T9" fmla="*/ 38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1" h="45">
                    <a:moveTo>
                      <a:pt x="0" y="38"/>
                    </a:moveTo>
                    <a:lnTo>
                      <a:pt x="34" y="0"/>
                    </a:lnTo>
                    <a:lnTo>
                      <a:pt x="41" y="6"/>
                    </a:lnTo>
                    <a:lnTo>
                      <a:pt x="8" y="45"/>
                    </a:lnTo>
                    <a:lnTo>
                      <a:pt x="0" y="38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1048917" name="îsľïďé"/>
              <p:cNvSpPr/>
              <p:nvPr/>
            </p:nvSpPr>
            <p:spPr bwMode="auto">
              <a:xfrm>
                <a:off x="1941409" y="5904503"/>
                <a:ext cx="96838" cy="101600"/>
              </a:xfrm>
              <a:custGeom>
                <a:avLst/>
                <a:gdLst>
                  <a:gd name="T0" fmla="*/ 0 w 61"/>
                  <a:gd name="T1" fmla="*/ 41 h 64"/>
                  <a:gd name="T2" fmla="*/ 31 w 61"/>
                  <a:gd name="T3" fmla="*/ 0 h 64"/>
                  <a:gd name="T4" fmla="*/ 61 w 61"/>
                  <a:gd name="T5" fmla="*/ 22 h 64"/>
                  <a:gd name="T6" fmla="*/ 56 w 61"/>
                  <a:gd name="T7" fmla="*/ 29 h 64"/>
                  <a:gd name="T8" fmla="*/ 34 w 61"/>
                  <a:gd name="T9" fmla="*/ 13 h 64"/>
                  <a:gd name="T10" fmla="*/ 27 w 61"/>
                  <a:gd name="T11" fmla="*/ 22 h 64"/>
                  <a:gd name="T12" fmla="*/ 47 w 61"/>
                  <a:gd name="T13" fmla="*/ 37 h 64"/>
                  <a:gd name="T14" fmla="*/ 42 w 61"/>
                  <a:gd name="T15" fmla="*/ 44 h 64"/>
                  <a:gd name="T16" fmla="*/ 21 w 61"/>
                  <a:gd name="T17" fmla="*/ 29 h 64"/>
                  <a:gd name="T18" fmla="*/ 13 w 61"/>
                  <a:gd name="T19" fmla="*/ 40 h 64"/>
                  <a:gd name="T20" fmla="*/ 36 w 61"/>
                  <a:gd name="T21" fmla="*/ 57 h 64"/>
                  <a:gd name="T22" fmla="*/ 31 w 61"/>
                  <a:gd name="T23" fmla="*/ 64 h 64"/>
                  <a:gd name="T24" fmla="*/ 0 w 61"/>
                  <a:gd name="T25" fmla="*/ 41 h 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1" h="64">
                    <a:moveTo>
                      <a:pt x="0" y="41"/>
                    </a:moveTo>
                    <a:lnTo>
                      <a:pt x="31" y="0"/>
                    </a:lnTo>
                    <a:lnTo>
                      <a:pt x="61" y="22"/>
                    </a:lnTo>
                    <a:lnTo>
                      <a:pt x="56" y="29"/>
                    </a:lnTo>
                    <a:lnTo>
                      <a:pt x="34" y="13"/>
                    </a:lnTo>
                    <a:lnTo>
                      <a:pt x="27" y="22"/>
                    </a:lnTo>
                    <a:lnTo>
                      <a:pt x="47" y="37"/>
                    </a:lnTo>
                    <a:lnTo>
                      <a:pt x="42" y="44"/>
                    </a:lnTo>
                    <a:lnTo>
                      <a:pt x="21" y="29"/>
                    </a:lnTo>
                    <a:lnTo>
                      <a:pt x="13" y="40"/>
                    </a:lnTo>
                    <a:lnTo>
                      <a:pt x="36" y="57"/>
                    </a:lnTo>
                    <a:lnTo>
                      <a:pt x="31" y="64"/>
                    </a:lnTo>
                    <a:lnTo>
                      <a:pt x="0" y="41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1048918" name="íśliḋé"/>
              <p:cNvSpPr/>
              <p:nvPr/>
            </p:nvSpPr>
            <p:spPr bwMode="auto">
              <a:xfrm>
                <a:off x="2004909" y="5947365"/>
                <a:ext cx="96838" cy="101600"/>
              </a:xfrm>
              <a:custGeom>
                <a:avLst/>
                <a:gdLst>
                  <a:gd name="T0" fmla="*/ 0 w 61"/>
                  <a:gd name="T1" fmla="*/ 43 h 64"/>
                  <a:gd name="T2" fmla="*/ 27 w 61"/>
                  <a:gd name="T3" fmla="*/ 0 h 64"/>
                  <a:gd name="T4" fmla="*/ 35 w 61"/>
                  <a:gd name="T5" fmla="*/ 5 h 64"/>
                  <a:gd name="T6" fmla="*/ 36 w 61"/>
                  <a:gd name="T7" fmla="*/ 45 h 64"/>
                  <a:gd name="T8" fmla="*/ 53 w 61"/>
                  <a:gd name="T9" fmla="*/ 15 h 64"/>
                  <a:gd name="T10" fmla="*/ 61 w 61"/>
                  <a:gd name="T11" fmla="*/ 21 h 64"/>
                  <a:gd name="T12" fmla="*/ 35 w 61"/>
                  <a:gd name="T13" fmla="*/ 64 h 64"/>
                  <a:gd name="T14" fmla="*/ 27 w 61"/>
                  <a:gd name="T15" fmla="*/ 59 h 64"/>
                  <a:gd name="T16" fmla="*/ 25 w 61"/>
                  <a:gd name="T17" fmla="*/ 20 h 64"/>
                  <a:gd name="T18" fmla="*/ 8 w 61"/>
                  <a:gd name="T19" fmla="*/ 49 h 64"/>
                  <a:gd name="T20" fmla="*/ 0 w 61"/>
                  <a:gd name="T21" fmla="*/ 43 h 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61" h="64">
                    <a:moveTo>
                      <a:pt x="0" y="43"/>
                    </a:moveTo>
                    <a:lnTo>
                      <a:pt x="27" y="0"/>
                    </a:lnTo>
                    <a:lnTo>
                      <a:pt x="35" y="5"/>
                    </a:lnTo>
                    <a:lnTo>
                      <a:pt x="36" y="45"/>
                    </a:lnTo>
                    <a:lnTo>
                      <a:pt x="53" y="15"/>
                    </a:lnTo>
                    <a:lnTo>
                      <a:pt x="61" y="21"/>
                    </a:lnTo>
                    <a:lnTo>
                      <a:pt x="35" y="64"/>
                    </a:lnTo>
                    <a:lnTo>
                      <a:pt x="27" y="59"/>
                    </a:lnTo>
                    <a:lnTo>
                      <a:pt x="25" y="20"/>
                    </a:lnTo>
                    <a:lnTo>
                      <a:pt x="8" y="49"/>
                    </a:lnTo>
                    <a:lnTo>
                      <a:pt x="0" y="43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1048919" name="iSļiďê"/>
              <p:cNvSpPr/>
              <p:nvPr/>
            </p:nvSpPr>
            <p:spPr bwMode="auto">
              <a:xfrm>
                <a:off x="2087459" y="5993403"/>
                <a:ext cx="79375" cy="87313"/>
              </a:xfrm>
              <a:custGeom>
                <a:avLst/>
                <a:gdLst>
                  <a:gd name="T0" fmla="*/ 28 w 43"/>
                  <a:gd name="T1" fmla="*/ 33 h 47"/>
                  <a:gd name="T2" fmla="*/ 34 w 43"/>
                  <a:gd name="T3" fmla="*/ 39 h 47"/>
                  <a:gd name="T4" fmla="*/ 24 w 43"/>
                  <a:gd name="T5" fmla="*/ 46 h 47"/>
                  <a:gd name="T6" fmla="*/ 12 w 43"/>
                  <a:gd name="T7" fmla="*/ 44 h 47"/>
                  <a:gd name="T8" fmla="*/ 1 w 43"/>
                  <a:gd name="T9" fmla="*/ 33 h 47"/>
                  <a:gd name="T10" fmla="*/ 3 w 43"/>
                  <a:gd name="T11" fmla="*/ 15 h 47"/>
                  <a:gd name="T12" fmla="*/ 15 w 43"/>
                  <a:gd name="T13" fmla="*/ 2 h 47"/>
                  <a:gd name="T14" fmla="*/ 32 w 43"/>
                  <a:gd name="T15" fmla="*/ 3 h 47"/>
                  <a:gd name="T16" fmla="*/ 41 w 43"/>
                  <a:gd name="T17" fmla="*/ 13 h 47"/>
                  <a:gd name="T18" fmla="*/ 42 w 43"/>
                  <a:gd name="T19" fmla="*/ 22 h 47"/>
                  <a:gd name="T20" fmla="*/ 33 w 43"/>
                  <a:gd name="T21" fmla="*/ 20 h 47"/>
                  <a:gd name="T22" fmla="*/ 33 w 43"/>
                  <a:gd name="T23" fmla="*/ 14 h 47"/>
                  <a:gd name="T24" fmla="*/ 28 w 43"/>
                  <a:gd name="T25" fmla="*/ 10 h 47"/>
                  <a:gd name="T26" fmla="*/ 19 w 43"/>
                  <a:gd name="T27" fmla="*/ 10 h 47"/>
                  <a:gd name="T28" fmla="*/ 12 w 43"/>
                  <a:gd name="T29" fmla="*/ 19 h 47"/>
                  <a:gd name="T30" fmla="*/ 9 w 43"/>
                  <a:gd name="T31" fmla="*/ 31 h 47"/>
                  <a:gd name="T32" fmla="*/ 15 w 43"/>
                  <a:gd name="T33" fmla="*/ 37 h 47"/>
                  <a:gd name="T34" fmla="*/ 22 w 43"/>
                  <a:gd name="T35" fmla="*/ 38 h 47"/>
                  <a:gd name="T36" fmla="*/ 28 w 43"/>
                  <a:gd name="T37" fmla="*/ 33 h 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43" h="47">
                    <a:moveTo>
                      <a:pt x="28" y="33"/>
                    </a:moveTo>
                    <a:cubicBezTo>
                      <a:pt x="34" y="39"/>
                      <a:pt x="34" y="39"/>
                      <a:pt x="34" y="39"/>
                    </a:cubicBezTo>
                    <a:cubicBezTo>
                      <a:pt x="31" y="43"/>
                      <a:pt x="28" y="45"/>
                      <a:pt x="24" y="46"/>
                    </a:cubicBezTo>
                    <a:cubicBezTo>
                      <a:pt x="20" y="47"/>
                      <a:pt x="16" y="46"/>
                      <a:pt x="12" y="44"/>
                    </a:cubicBezTo>
                    <a:cubicBezTo>
                      <a:pt x="7" y="42"/>
                      <a:pt x="3" y="38"/>
                      <a:pt x="1" y="33"/>
                    </a:cubicBezTo>
                    <a:cubicBezTo>
                      <a:pt x="0" y="27"/>
                      <a:pt x="0" y="22"/>
                      <a:pt x="3" y="15"/>
                    </a:cubicBezTo>
                    <a:cubicBezTo>
                      <a:pt x="6" y="9"/>
                      <a:pt x="10" y="4"/>
                      <a:pt x="15" y="2"/>
                    </a:cubicBezTo>
                    <a:cubicBezTo>
                      <a:pt x="21" y="0"/>
                      <a:pt x="26" y="1"/>
                      <a:pt x="32" y="3"/>
                    </a:cubicBezTo>
                    <a:cubicBezTo>
                      <a:pt x="36" y="5"/>
                      <a:pt x="40" y="9"/>
                      <a:pt x="41" y="13"/>
                    </a:cubicBezTo>
                    <a:cubicBezTo>
                      <a:pt x="42" y="16"/>
                      <a:pt x="43" y="19"/>
                      <a:pt x="42" y="22"/>
                    </a:cubicBezTo>
                    <a:cubicBezTo>
                      <a:pt x="33" y="20"/>
                      <a:pt x="33" y="20"/>
                      <a:pt x="33" y="20"/>
                    </a:cubicBezTo>
                    <a:cubicBezTo>
                      <a:pt x="34" y="18"/>
                      <a:pt x="34" y="16"/>
                      <a:pt x="33" y="14"/>
                    </a:cubicBezTo>
                    <a:cubicBezTo>
                      <a:pt x="32" y="12"/>
                      <a:pt x="30" y="11"/>
                      <a:pt x="28" y="10"/>
                    </a:cubicBezTo>
                    <a:cubicBezTo>
                      <a:pt x="25" y="8"/>
                      <a:pt x="22" y="8"/>
                      <a:pt x="19" y="10"/>
                    </a:cubicBezTo>
                    <a:cubicBezTo>
                      <a:pt x="16" y="11"/>
                      <a:pt x="14" y="14"/>
                      <a:pt x="12" y="19"/>
                    </a:cubicBezTo>
                    <a:cubicBezTo>
                      <a:pt x="9" y="24"/>
                      <a:pt x="9" y="28"/>
                      <a:pt x="9" y="31"/>
                    </a:cubicBezTo>
                    <a:cubicBezTo>
                      <a:pt x="10" y="34"/>
                      <a:pt x="12" y="36"/>
                      <a:pt x="15" y="37"/>
                    </a:cubicBezTo>
                    <a:cubicBezTo>
                      <a:pt x="17" y="38"/>
                      <a:pt x="19" y="38"/>
                      <a:pt x="22" y="38"/>
                    </a:cubicBezTo>
                    <a:cubicBezTo>
                      <a:pt x="24" y="37"/>
                      <a:pt x="26" y="35"/>
                      <a:pt x="28" y="33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1048920" name="íSliḋé"/>
              <p:cNvSpPr/>
              <p:nvPr/>
            </p:nvSpPr>
            <p:spPr bwMode="auto">
              <a:xfrm>
                <a:off x="2157309" y="6017215"/>
                <a:ext cx="82550" cy="96838"/>
              </a:xfrm>
              <a:custGeom>
                <a:avLst/>
                <a:gdLst>
                  <a:gd name="T0" fmla="*/ 0 w 52"/>
                  <a:gd name="T1" fmla="*/ 49 h 61"/>
                  <a:gd name="T2" fmla="*/ 16 w 52"/>
                  <a:gd name="T3" fmla="*/ 0 h 61"/>
                  <a:gd name="T4" fmla="*/ 52 w 52"/>
                  <a:gd name="T5" fmla="*/ 13 h 61"/>
                  <a:gd name="T6" fmla="*/ 50 w 52"/>
                  <a:gd name="T7" fmla="*/ 21 h 61"/>
                  <a:gd name="T8" fmla="*/ 23 w 52"/>
                  <a:gd name="T9" fmla="*/ 12 h 61"/>
                  <a:gd name="T10" fmla="*/ 20 w 52"/>
                  <a:gd name="T11" fmla="*/ 22 h 61"/>
                  <a:gd name="T12" fmla="*/ 44 w 52"/>
                  <a:gd name="T13" fmla="*/ 30 h 61"/>
                  <a:gd name="T14" fmla="*/ 41 w 52"/>
                  <a:gd name="T15" fmla="*/ 38 h 61"/>
                  <a:gd name="T16" fmla="*/ 18 w 52"/>
                  <a:gd name="T17" fmla="*/ 30 h 61"/>
                  <a:gd name="T18" fmla="*/ 13 w 52"/>
                  <a:gd name="T19" fmla="*/ 43 h 61"/>
                  <a:gd name="T20" fmla="*/ 40 w 52"/>
                  <a:gd name="T21" fmla="*/ 52 h 61"/>
                  <a:gd name="T22" fmla="*/ 36 w 52"/>
                  <a:gd name="T23" fmla="*/ 61 h 61"/>
                  <a:gd name="T24" fmla="*/ 0 w 52"/>
                  <a:gd name="T25" fmla="*/ 49 h 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52" h="61">
                    <a:moveTo>
                      <a:pt x="0" y="49"/>
                    </a:moveTo>
                    <a:lnTo>
                      <a:pt x="16" y="0"/>
                    </a:lnTo>
                    <a:lnTo>
                      <a:pt x="52" y="13"/>
                    </a:lnTo>
                    <a:lnTo>
                      <a:pt x="50" y="21"/>
                    </a:lnTo>
                    <a:lnTo>
                      <a:pt x="23" y="12"/>
                    </a:lnTo>
                    <a:lnTo>
                      <a:pt x="20" y="22"/>
                    </a:lnTo>
                    <a:lnTo>
                      <a:pt x="44" y="30"/>
                    </a:lnTo>
                    <a:lnTo>
                      <a:pt x="41" y="38"/>
                    </a:lnTo>
                    <a:lnTo>
                      <a:pt x="18" y="30"/>
                    </a:lnTo>
                    <a:lnTo>
                      <a:pt x="13" y="43"/>
                    </a:lnTo>
                    <a:lnTo>
                      <a:pt x="40" y="52"/>
                    </a:lnTo>
                    <a:lnTo>
                      <a:pt x="36" y="61"/>
                    </a:lnTo>
                    <a:lnTo>
                      <a:pt x="0" y="49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1048921" name="îŝ1îḑè"/>
              <p:cNvSpPr/>
              <p:nvPr/>
            </p:nvSpPr>
            <p:spPr bwMode="auto">
              <a:xfrm>
                <a:off x="2663722" y="6026740"/>
                <a:ext cx="77788" cy="92075"/>
              </a:xfrm>
              <a:custGeom>
                <a:avLst/>
                <a:gdLst>
                  <a:gd name="T0" fmla="*/ 49 w 49"/>
                  <a:gd name="T1" fmla="*/ 42 h 58"/>
                  <a:gd name="T2" fmla="*/ 39 w 49"/>
                  <a:gd name="T3" fmla="*/ 45 h 58"/>
                  <a:gd name="T4" fmla="*/ 31 w 49"/>
                  <a:gd name="T5" fmla="*/ 36 h 58"/>
                  <a:gd name="T6" fmla="*/ 11 w 49"/>
                  <a:gd name="T7" fmla="*/ 43 h 58"/>
                  <a:gd name="T8" fmla="*/ 11 w 49"/>
                  <a:gd name="T9" fmla="*/ 55 h 58"/>
                  <a:gd name="T10" fmla="*/ 0 w 49"/>
                  <a:gd name="T11" fmla="*/ 58 h 58"/>
                  <a:gd name="T12" fmla="*/ 3 w 49"/>
                  <a:gd name="T13" fmla="*/ 3 h 58"/>
                  <a:gd name="T14" fmla="*/ 13 w 49"/>
                  <a:gd name="T15" fmla="*/ 0 h 58"/>
                  <a:gd name="T16" fmla="*/ 49 w 49"/>
                  <a:gd name="T17" fmla="*/ 42 h 58"/>
                  <a:gd name="T18" fmla="*/ 25 w 49"/>
                  <a:gd name="T19" fmla="*/ 29 h 58"/>
                  <a:gd name="T20" fmla="*/ 12 w 49"/>
                  <a:gd name="T21" fmla="*/ 14 h 58"/>
                  <a:gd name="T22" fmla="*/ 11 w 49"/>
                  <a:gd name="T23" fmla="*/ 34 h 58"/>
                  <a:gd name="T24" fmla="*/ 25 w 49"/>
                  <a:gd name="T25" fmla="*/ 29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49" h="58">
                    <a:moveTo>
                      <a:pt x="49" y="42"/>
                    </a:moveTo>
                    <a:lnTo>
                      <a:pt x="39" y="45"/>
                    </a:lnTo>
                    <a:lnTo>
                      <a:pt x="31" y="36"/>
                    </a:lnTo>
                    <a:lnTo>
                      <a:pt x="11" y="43"/>
                    </a:lnTo>
                    <a:lnTo>
                      <a:pt x="11" y="55"/>
                    </a:lnTo>
                    <a:lnTo>
                      <a:pt x="0" y="58"/>
                    </a:lnTo>
                    <a:lnTo>
                      <a:pt x="3" y="3"/>
                    </a:lnTo>
                    <a:lnTo>
                      <a:pt x="13" y="0"/>
                    </a:lnTo>
                    <a:lnTo>
                      <a:pt x="49" y="42"/>
                    </a:lnTo>
                    <a:close/>
                    <a:moveTo>
                      <a:pt x="25" y="29"/>
                    </a:moveTo>
                    <a:lnTo>
                      <a:pt x="12" y="14"/>
                    </a:lnTo>
                    <a:lnTo>
                      <a:pt x="11" y="34"/>
                    </a:lnTo>
                    <a:lnTo>
                      <a:pt x="25" y="29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1048922" name="íṩḻiḋê"/>
              <p:cNvSpPr/>
              <p:nvPr/>
            </p:nvSpPr>
            <p:spPr bwMode="auto">
              <a:xfrm>
                <a:off x="2714522" y="5990228"/>
                <a:ext cx="92075" cy="101600"/>
              </a:xfrm>
              <a:custGeom>
                <a:avLst/>
                <a:gdLst>
                  <a:gd name="T0" fmla="*/ 21 w 58"/>
                  <a:gd name="T1" fmla="*/ 64 h 64"/>
                  <a:gd name="T2" fmla="*/ 0 w 58"/>
                  <a:gd name="T3" fmla="*/ 17 h 64"/>
                  <a:gd name="T4" fmla="*/ 9 w 58"/>
                  <a:gd name="T5" fmla="*/ 12 h 64"/>
                  <a:gd name="T6" fmla="*/ 43 w 58"/>
                  <a:gd name="T7" fmla="*/ 36 h 64"/>
                  <a:gd name="T8" fmla="*/ 29 w 58"/>
                  <a:gd name="T9" fmla="*/ 4 h 64"/>
                  <a:gd name="T10" fmla="*/ 37 w 58"/>
                  <a:gd name="T11" fmla="*/ 0 h 64"/>
                  <a:gd name="T12" fmla="*/ 58 w 58"/>
                  <a:gd name="T13" fmla="*/ 46 h 64"/>
                  <a:gd name="T14" fmla="*/ 49 w 58"/>
                  <a:gd name="T15" fmla="*/ 51 h 64"/>
                  <a:gd name="T16" fmla="*/ 16 w 58"/>
                  <a:gd name="T17" fmla="*/ 29 h 64"/>
                  <a:gd name="T18" fmla="*/ 30 w 58"/>
                  <a:gd name="T19" fmla="*/ 59 h 64"/>
                  <a:gd name="T20" fmla="*/ 21 w 58"/>
                  <a:gd name="T21" fmla="*/ 64 h 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58" h="64">
                    <a:moveTo>
                      <a:pt x="21" y="64"/>
                    </a:moveTo>
                    <a:lnTo>
                      <a:pt x="0" y="17"/>
                    </a:lnTo>
                    <a:lnTo>
                      <a:pt x="9" y="12"/>
                    </a:lnTo>
                    <a:lnTo>
                      <a:pt x="43" y="36"/>
                    </a:lnTo>
                    <a:lnTo>
                      <a:pt x="29" y="4"/>
                    </a:lnTo>
                    <a:lnTo>
                      <a:pt x="37" y="0"/>
                    </a:lnTo>
                    <a:lnTo>
                      <a:pt x="58" y="46"/>
                    </a:lnTo>
                    <a:lnTo>
                      <a:pt x="49" y="51"/>
                    </a:lnTo>
                    <a:lnTo>
                      <a:pt x="16" y="29"/>
                    </a:lnTo>
                    <a:lnTo>
                      <a:pt x="30" y="59"/>
                    </a:lnTo>
                    <a:lnTo>
                      <a:pt x="21" y="64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1048923" name="îṧľíḍe"/>
              <p:cNvSpPr/>
              <p:nvPr/>
            </p:nvSpPr>
            <p:spPr bwMode="auto">
              <a:xfrm>
                <a:off x="2781197" y="5963240"/>
                <a:ext cx="85725" cy="95250"/>
              </a:xfrm>
              <a:custGeom>
                <a:avLst/>
                <a:gdLst>
                  <a:gd name="T0" fmla="*/ 0 w 47"/>
                  <a:gd name="T1" fmla="*/ 13 h 51"/>
                  <a:gd name="T2" fmla="*/ 14 w 47"/>
                  <a:gd name="T3" fmla="*/ 4 h 51"/>
                  <a:gd name="T4" fmla="*/ 22 w 47"/>
                  <a:gd name="T5" fmla="*/ 1 h 51"/>
                  <a:gd name="T6" fmla="*/ 29 w 47"/>
                  <a:gd name="T7" fmla="*/ 1 h 51"/>
                  <a:gd name="T8" fmla="*/ 37 w 47"/>
                  <a:gd name="T9" fmla="*/ 5 h 51"/>
                  <a:gd name="T10" fmla="*/ 43 w 47"/>
                  <a:gd name="T11" fmla="*/ 14 h 51"/>
                  <a:gd name="T12" fmla="*/ 47 w 47"/>
                  <a:gd name="T13" fmla="*/ 22 h 51"/>
                  <a:gd name="T14" fmla="*/ 46 w 47"/>
                  <a:gd name="T15" fmla="*/ 31 h 51"/>
                  <a:gd name="T16" fmla="*/ 43 w 47"/>
                  <a:gd name="T17" fmla="*/ 38 h 51"/>
                  <a:gd name="T18" fmla="*/ 36 w 47"/>
                  <a:gd name="T19" fmla="*/ 42 h 51"/>
                  <a:gd name="T20" fmla="*/ 22 w 47"/>
                  <a:gd name="T21" fmla="*/ 51 h 51"/>
                  <a:gd name="T22" fmla="*/ 0 w 47"/>
                  <a:gd name="T23" fmla="*/ 13 h 51"/>
                  <a:gd name="T24" fmla="*/ 11 w 47"/>
                  <a:gd name="T25" fmla="*/ 15 h 51"/>
                  <a:gd name="T26" fmla="*/ 26 w 47"/>
                  <a:gd name="T27" fmla="*/ 40 h 51"/>
                  <a:gd name="T28" fmla="*/ 32 w 47"/>
                  <a:gd name="T29" fmla="*/ 37 h 51"/>
                  <a:gd name="T30" fmla="*/ 36 w 47"/>
                  <a:gd name="T31" fmla="*/ 33 h 51"/>
                  <a:gd name="T32" fmla="*/ 38 w 47"/>
                  <a:gd name="T33" fmla="*/ 30 h 51"/>
                  <a:gd name="T34" fmla="*/ 38 w 47"/>
                  <a:gd name="T35" fmla="*/ 25 h 51"/>
                  <a:gd name="T36" fmla="*/ 35 w 47"/>
                  <a:gd name="T37" fmla="*/ 18 h 51"/>
                  <a:gd name="T38" fmla="*/ 30 w 47"/>
                  <a:gd name="T39" fmla="*/ 11 h 51"/>
                  <a:gd name="T40" fmla="*/ 26 w 47"/>
                  <a:gd name="T41" fmla="*/ 9 h 51"/>
                  <a:gd name="T42" fmla="*/ 21 w 47"/>
                  <a:gd name="T43" fmla="*/ 9 h 51"/>
                  <a:gd name="T44" fmla="*/ 15 w 47"/>
                  <a:gd name="T45" fmla="*/ 13 h 51"/>
                  <a:gd name="T46" fmla="*/ 11 w 47"/>
                  <a:gd name="T47" fmla="*/ 15 h 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47" h="51">
                    <a:moveTo>
                      <a:pt x="0" y="13"/>
                    </a:moveTo>
                    <a:cubicBezTo>
                      <a:pt x="14" y="4"/>
                      <a:pt x="14" y="4"/>
                      <a:pt x="14" y="4"/>
                    </a:cubicBezTo>
                    <a:cubicBezTo>
                      <a:pt x="17" y="3"/>
                      <a:pt x="20" y="1"/>
                      <a:pt x="22" y="1"/>
                    </a:cubicBezTo>
                    <a:cubicBezTo>
                      <a:pt x="24" y="0"/>
                      <a:pt x="27" y="0"/>
                      <a:pt x="29" y="1"/>
                    </a:cubicBezTo>
                    <a:cubicBezTo>
                      <a:pt x="32" y="2"/>
                      <a:pt x="34" y="3"/>
                      <a:pt x="37" y="5"/>
                    </a:cubicBezTo>
                    <a:cubicBezTo>
                      <a:pt x="39" y="7"/>
                      <a:pt x="41" y="10"/>
                      <a:pt x="43" y="14"/>
                    </a:cubicBezTo>
                    <a:cubicBezTo>
                      <a:pt x="45" y="17"/>
                      <a:pt x="46" y="20"/>
                      <a:pt x="47" y="22"/>
                    </a:cubicBezTo>
                    <a:cubicBezTo>
                      <a:pt x="47" y="26"/>
                      <a:pt x="47" y="29"/>
                      <a:pt x="46" y="31"/>
                    </a:cubicBezTo>
                    <a:cubicBezTo>
                      <a:pt x="46" y="34"/>
                      <a:pt x="45" y="36"/>
                      <a:pt x="43" y="38"/>
                    </a:cubicBezTo>
                    <a:cubicBezTo>
                      <a:pt x="41" y="39"/>
                      <a:pt x="39" y="41"/>
                      <a:pt x="36" y="42"/>
                    </a:cubicBezTo>
                    <a:cubicBezTo>
                      <a:pt x="22" y="51"/>
                      <a:pt x="22" y="51"/>
                      <a:pt x="22" y="51"/>
                    </a:cubicBezTo>
                    <a:lnTo>
                      <a:pt x="0" y="13"/>
                    </a:lnTo>
                    <a:close/>
                    <a:moveTo>
                      <a:pt x="11" y="15"/>
                    </a:moveTo>
                    <a:cubicBezTo>
                      <a:pt x="26" y="40"/>
                      <a:pt x="26" y="40"/>
                      <a:pt x="26" y="40"/>
                    </a:cubicBezTo>
                    <a:cubicBezTo>
                      <a:pt x="32" y="37"/>
                      <a:pt x="32" y="37"/>
                      <a:pt x="32" y="37"/>
                    </a:cubicBezTo>
                    <a:cubicBezTo>
                      <a:pt x="34" y="35"/>
                      <a:pt x="35" y="34"/>
                      <a:pt x="36" y="33"/>
                    </a:cubicBezTo>
                    <a:cubicBezTo>
                      <a:pt x="37" y="32"/>
                      <a:pt x="38" y="31"/>
                      <a:pt x="38" y="30"/>
                    </a:cubicBezTo>
                    <a:cubicBezTo>
                      <a:pt x="39" y="29"/>
                      <a:pt x="39" y="27"/>
                      <a:pt x="38" y="25"/>
                    </a:cubicBezTo>
                    <a:cubicBezTo>
                      <a:pt x="38" y="23"/>
                      <a:pt x="37" y="21"/>
                      <a:pt x="35" y="18"/>
                    </a:cubicBezTo>
                    <a:cubicBezTo>
                      <a:pt x="33" y="15"/>
                      <a:pt x="32" y="13"/>
                      <a:pt x="30" y="11"/>
                    </a:cubicBezTo>
                    <a:cubicBezTo>
                      <a:pt x="29" y="10"/>
                      <a:pt x="27" y="9"/>
                      <a:pt x="26" y="9"/>
                    </a:cubicBezTo>
                    <a:cubicBezTo>
                      <a:pt x="25" y="9"/>
                      <a:pt x="23" y="9"/>
                      <a:pt x="21" y="9"/>
                    </a:cubicBezTo>
                    <a:cubicBezTo>
                      <a:pt x="20" y="10"/>
                      <a:pt x="18" y="11"/>
                      <a:pt x="15" y="13"/>
                    </a:cubicBezTo>
                    <a:lnTo>
                      <a:pt x="11" y="15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1048924" name="ïṩḻiḍe"/>
              <p:cNvSpPr/>
              <p:nvPr/>
            </p:nvSpPr>
            <p:spPr bwMode="auto">
              <a:xfrm>
                <a:off x="2876447" y="5888628"/>
                <a:ext cx="80963" cy="88900"/>
              </a:xfrm>
              <a:custGeom>
                <a:avLst/>
                <a:gdLst>
                  <a:gd name="T0" fmla="*/ 43 w 51"/>
                  <a:gd name="T1" fmla="*/ 56 h 56"/>
                  <a:gd name="T2" fmla="*/ 16 w 51"/>
                  <a:gd name="T3" fmla="*/ 22 h 56"/>
                  <a:gd name="T4" fmla="*/ 5 w 51"/>
                  <a:gd name="T5" fmla="*/ 31 h 56"/>
                  <a:gd name="T6" fmla="*/ 0 w 51"/>
                  <a:gd name="T7" fmla="*/ 25 h 56"/>
                  <a:gd name="T8" fmla="*/ 31 w 51"/>
                  <a:gd name="T9" fmla="*/ 0 h 56"/>
                  <a:gd name="T10" fmla="*/ 37 w 51"/>
                  <a:gd name="T11" fmla="*/ 7 h 56"/>
                  <a:gd name="T12" fmla="*/ 24 w 51"/>
                  <a:gd name="T13" fmla="*/ 16 h 56"/>
                  <a:gd name="T14" fmla="*/ 51 w 51"/>
                  <a:gd name="T15" fmla="*/ 49 h 56"/>
                  <a:gd name="T16" fmla="*/ 43 w 51"/>
                  <a:gd name="T17" fmla="*/ 56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1" h="56">
                    <a:moveTo>
                      <a:pt x="43" y="56"/>
                    </a:moveTo>
                    <a:lnTo>
                      <a:pt x="16" y="22"/>
                    </a:lnTo>
                    <a:lnTo>
                      <a:pt x="5" y="31"/>
                    </a:lnTo>
                    <a:lnTo>
                      <a:pt x="0" y="25"/>
                    </a:lnTo>
                    <a:lnTo>
                      <a:pt x="31" y="0"/>
                    </a:lnTo>
                    <a:lnTo>
                      <a:pt x="37" y="7"/>
                    </a:lnTo>
                    <a:lnTo>
                      <a:pt x="24" y="16"/>
                    </a:lnTo>
                    <a:lnTo>
                      <a:pt x="51" y="49"/>
                    </a:lnTo>
                    <a:lnTo>
                      <a:pt x="43" y="56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1048925" name="íśļïḓè"/>
              <p:cNvSpPr/>
              <p:nvPr/>
            </p:nvSpPr>
            <p:spPr bwMode="auto">
              <a:xfrm>
                <a:off x="2925659" y="5845765"/>
                <a:ext cx="101600" cy="100013"/>
              </a:xfrm>
              <a:custGeom>
                <a:avLst/>
                <a:gdLst>
                  <a:gd name="T0" fmla="*/ 36 w 64"/>
                  <a:gd name="T1" fmla="*/ 63 h 63"/>
                  <a:gd name="T2" fmla="*/ 0 w 64"/>
                  <a:gd name="T3" fmla="*/ 26 h 63"/>
                  <a:gd name="T4" fmla="*/ 28 w 64"/>
                  <a:gd name="T5" fmla="*/ 0 h 63"/>
                  <a:gd name="T6" fmla="*/ 34 w 64"/>
                  <a:gd name="T7" fmla="*/ 6 h 63"/>
                  <a:gd name="T8" fmla="*/ 14 w 64"/>
                  <a:gd name="T9" fmla="*/ 26 h 63"/>
                  <a:gd name="T10" fmla="*/ 22 w 64"/>
                  <a:gd name="T11" fmla="*/ 34 h 63"/>
                  <a:gd name="T12" fmla="*/ 41 w 64"/>
                  <a:gd name="T13" fmla="*/ 16 h 63"/>
                  <a:gd name="T14" fmla="*/ 47 w 64"/>
                  <a:gd name="T15" fmla="*/ 22 h 63"/>
                  <a:gd name="T16" fmla="*/ 28 w 64"/>
                  <a:gd name="T17" fmla="*/ 39 h 63"/>
                  <a:gd name="T18" fmla="*/ 38 w 64"/>
                  <a:gd name="T19" fmla="*/ 50 h 63"/>
                  <a:gd name="T20" fmla="*/ 58 w 64"/>
                  <a:gd name="T21" fmla="*/ 30 h 63"/>
                  <a:gd name="T22" fmla="*/ 64 w 64"/>
                  <a:gd name="T23" fmla="*/ 36 h 63"/>
                  <a:gd name="T24" fmla="*/ 36 w 64"/>
                  <a:gd name="T25" fmla="*/ 63 h 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4" h="63">
                    <a:moveTo>
                      <a:pt x="36" y="63"/>
                    </a:moveTo>
                    <a:lnTo>
                      <a:pt x="0" y="26"/>
                    </a:lnTo>
                    <a:lnTo>
                      <a:pt x="28" y="0"/>
                    </a:lnTo>
                    <a:lnTo>
                      <a:pt x="34" y="6"/>
                    </a:lnTo>
                    <a:lnTo>
                      <a:pt x="14" y="26"/>
                    </a:lnTo>
                    <a:lnTo>
                      <a:pt x="22" y="34"/>
                    </a:lnTo>
                    <a:lnTo>
                      <a:pt x="41" y="16"/>
                    </a:lnTo>
                    <a:lnTo>
                      <a:pt x="47" y="22"/>
                    </a:lnTo>
                    <a:lnTo>
                      <a:pt x="28" y="39"/>
                    </a:lnTo>
                    <a:lnTo>
                      <a:pt x="38" y="50"/>
                    </a:lnTo>
                    <a:lnTo>
                      <a:pt x="58" y="30"/>
                    </a:lnTo>
                    <a:lnTo>
                      <a:pt x="64" y="36"/>
                    </a:lnTo>
                    <a:lnTo>
                      <a:pt x="36" y="63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1048926" name="íṩḻîde"/>
              <p:cNvSpPr/>
              <p:nvPr/>
            </p:nvSpPr>
            <p:spPr bwMode="auto">
              <a:xfrm>
                <a:off x="2985984" y="5801315"/>
                <a:ext cx="82550" cy="80963"/>
              </a:xfrm>
              <a:custGeom>
                <a:avLst/>
                <a:gdLst>
                  <a:gd name="T0" fmla="*/ 34 w 45"/>
                  <a:gd name="T1" fmla="*/ 19 h 44"/>
                  <a:gd name="T2" fmla="*/ 41 w 45"/>
                  <a:gd name="T3" fmla="*/ 14 h 44"/>
                  <a:gd name="T4" fmla="*/ 45 w 45"/>
                  <a:gd name="T5" fmla="*/ 26 h 44"/>
                  <a:gd name="T6" fmla="*/ 40 w 45"/>
                  <a:gd name="T7" fmla="*/ 37 h 44"/>
                  <a:gd name="T8" fmla="*/ 26 w 45"/>
                  <a:gd name="T9" fmla="*/ 44 h 44"/>
                  <a:gd name="T10" fmla="*/ 10 w 45"/>
                  <a:gd name="T11" fmla="*/ 38 h 44"/>
                  <a:gd name="T12" fmla="*/ 1 w 45"/>
                  <a:gd name="T13" fmla="*/ 22 h 44"/>
                  <a:gd name="T14" fmla="*/ 6 w 45"/>
                  <a:gd name="T15" fmla="*/ 7 h 44"/>
                  <a:gd name="T16" fmla="*/ 18 w 45"/>
                  <a:gd name="T17" fmla="*/ 0 h 44"/>
                  <a:gd name="T18" fmla="*/ 27 w 45"/>
                  <a:gd name="T19" fmla="*/ 2 h 44"/>
                  <a:gd name="T20" fmla="*/ 23 w 45"/>
                  <a:gd name="T21" fmla="*/ 10 h 44"/>
                  <a:gd name="T22" fmla="*/ 17 w 45"/>
                  <a:gd name="T23" fmla="*/ 9 h 44"/>
                  <a:gd name="T24" fmla="*/ 11 w 45"/>
                  <a:gd name="T25" fmla="*/ 12 h 44"/>
                  <a:gd name="T26" fmla="*/ 9 w 45"/>
                  <a:gd name="T27" fmla="*/ 21 h 44"/>
                  <a:gd name="T28" fmla="*/ 15 w 45"/>
                  <a:gd name="T29" fmla="*/ 30 h 44"/>
                  <a:gd name="T30" fmla="*/ 26 w 45"/>
                  <a:gd name="T31" fmla="*/ 36 h 44"/>
                  <a:gd name="T32" fmla="*/ 34 w 45"/>
                  <a:gd name="T33" fmla="*/ 32 h 44"/>
                  <a:gd name="T34" fmla="*/ 36 w 45"/>
                  <a:gd name="T35" fmla="*/ 26 h 44"/>
                  <a:gd name="T36" fmla="*/ 34 w 45"/>
                  <a:gd name="T37" fmla="*/ 19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45" h="44">
                    <a:moveTo>
                      <a:pt x="34" y="19"/>
                    </a:moveTo>
                    <a:cubicBezTo>
                      <a:pt x="41" y="14"/>
                      <a:pt x="41" y="14"/>
                      <a:pt x="41" y="14"/>
                    </a:cubicBezTo>
                    <a:cubicBezTo>
                      <a:pt x="44" y="18"/>
                      <a:pt x="45" y="22"/>
                      <a:pt x="45" y="26"/>
                    </a:cubicBezTo>
                    <a:cubicBezTo>
                      <a:pt x="45" y="30"/>
                      <a:pt x="43" y="34"/>
                      <a:pt x="40" y="37"/>
                    </a:cubicBezTo>
                    <a:cubicBezTo>
                      <a:pt x="36" y="42"/>
                      <a:pt x="31" y="44"/>
                      <a:pt x="26" y="44"/>
                    </a:cubicBezTo>
                    <a:cubicBezTo>
                      <a:pt x="21" y="44"/>
                      <a:pt x="15" y="42"/>
                      <a:pt x="10" y="38"/>
                    </a:cubicBezTo>
                    <a:cubicBezTo>
                      <a:pt x="4" y="33"/>
                      <a:pt x="1" y="28"/>
                      <a:pt x="1" y="22"/>
                    </a:cubicBezTo>
                    <a:cubicBezTo>
                      <a:pt x="0" y="17"/>
                      <a:pt x="2" y="12"/>
                      <a:pt x="6" y="7"/>
                    </a:cubicBezTo>
                    <a:cubicBezTo>
                      <a:pt x="10" y="3"/>
                      <a:pt x="14" y="1"/>
                      <a:pt x="18" y="0"/>
                    </a:cubicBezTo>
                    <a:cubicBezTo>
                      <a:pt x="21" y="0"/>
                      <a:pt x="24" y="1"/>
                      <a:pt x="27" y="2"/>
                    </a:cubicBezTo>
                    <a:cubicBezTo>
                      <a:pt x="23" y="10"/>
                      <a:pt x="23" y="10"/>
                      <a:pt x="23" y="10"/>
                    </a:cubicBezTo>
                    <a:cubicBezTo>
                      <a:pt x="21" y="9"/>
                      <a:pt x="19" y="9"/>
                      <a:pt x="17" y="9"/>
                    </a:cubicBezTo>
                    <a:cubicBezTo>
                      <a:pt x="15" y="9"/>
                      <a:pt x="13" y="11"/>
                      <a:pt x="11" y="12"/>
                    </a:cubicBezTo>
                    <a:cubicBezTo>
                      <a:pt x="9" y="15"/>
                      <a:pt x="8" y="18"/>
                      <a:pt x="9" y="21"/>
                    </a:cubicBezTo>
                    <a:cubicBezTo>
                      <a:pt x="9" y="24"/>
                      <a:pt x="12" y="27"/>
                      <a:pt x="15" y="30"/>
                    </a:cubicBezTo>
                    <a:cubicBezTo>
                      <a:pt x="20" y="34"/>
                      <a:pt x="23" y="36"/>
                      <a:pt x="26" y="36"/>
                    </a:cubicBezTo>
                    <a:cubicBezTo>
                      <a:pt x="29" y="36"/>
                      <a:pt x="32" y="35"/>
                      <a:pt x="34" y="32"/>
                    </a:cubicBezTo>
                    <a:cubicBezTo>
                      <a:pt x="36" y="31"/>
                      <a:pt x="36" y="29"/>
                      <a:pt x="36" y="26"/>
                    </a:cubicBezTo>
                    <a:cubicBezTo>
                      <a:pt x="36" y="24"/>
                      <a:pt x="35" y="22"/>
                      <a:pt x="34" y="1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1048927" name="îŝḷïḓê"/>
              <p:cNvSpPr/>
              <p:nvPr/>
            </p:nvSpPr>
            <p:spPr bwMode="auto">
              <a:xfrm>
                <a:off x="3022497" y="5733053"/>
                <a:ext cx="103188" cy="101600"/>
              </a:xfrm>
              <a:custGeom>
                <a:avLst/>
                <a:gdLst>
                  <a:gd name="T0" fmla="*/ 42 w 65"/>
                  <a:gd name="T1" fmla="*/ 64 h 64"/>
                  <a:gd name="T2" fmla="*/ 0 w 65"/>
                  <a:gd name="T3" fmla="*/ 34 h 64"/>
                  <a:gd name="T4" fmla="*/ 6 w 65"/>
                  <a:gd name="T5" fmla="*/ 26 h 64"/>
                  <a:gd name="T6" fmla="*/ 22 w 65"/>
                  <a:gd name="T7" fmla="*/ 37 h 64"/>
                  <a:gd name="T8" fmla="*/ 33 w 65"/>
                  <a:gd name="T9" fmla="*/ 21 h 64"/>
                  <a:gd name="T10" fmla="*/ 17 w 65"/>
                  <a:gd name="T11" fmla="*/ 9 h 64"/>
                  <a:gd name="T12" fmla="*/ 23 w 65"/>
                  <a:gd name="T13" fmla="*/ 0 h 64"/>
                  <a:gd name="T14" fmla="*/ 65 w 65"/>
                  <a:gd name="T15" fmla="*/ 30 h 64"/>
                  <a:gd name="T16" fmla="*/ 59 w 65"/>
                  <a:gd name="T17" fmla="*/ 38 h 64"/>
                  <a:gd name="T18" fmla="*/ 40 w 65"/>
                  <a:gd name="T19" fmla="*/ 26 h 64"/>
                  <a:gd name="T20" fmla="*/ 29 w 65"/>
                  <a:gd name="T21" fmla="*/ 42 h 64"/>
                  <a:gd name="T22" fmla="*/ 47 w 65"/>
                  <a:gd name="T23" fmla="*/ 55 h 64"/>
                  <a:gd name="T24" fmla="*/ 42 w 65"/>
                  <a:gd name="T25" fmla="*/ 64 h 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5" h="64">
                    <a:moveTo>
                      <a:pt x="42" y="64"/>
                    </a:moveTo>
                    <a:lnTo>
                      <a:pt x="0" y="34"/>
                    </a:lnTo>
                    <a:lnTo>
                      <a:pt x="6" y="26"/>
                    </a:lnTo>
                    <a:lnTo>
                      <a:pt x="22" y="37"/>
                    </a:lnTo>
                    <a:lnTo>
                      <a:pt x="33" y="21"/>
                    </a:lnTo>
                    <a:lnTo>
                      <a:pt x="17" y="9"/>
                    </a:lnTo>
                    <a:lnTo>
                      <a:pt x="23" y="0"/>
                    </a:lnTo>
                    <a:lnTo>
                      <a:pt x="65" y="30"/>
                    </a:lnTo>
                    <a:lnTo>
                      <a:pt x="59" y="38"/>
                    </a:lnTo>
                    <a:lnTo>
                      <a:pt x="40" y="26"/>
                    </a:lnTo>
                    <a:lnTo>
                      <a:pt x="29" y="42"/>
                    </a:lnTo>
                    <a:lnTo>
                      <a:pt x="47" y="55"/>
                    </a:lnTo>
                    <a:lnTo>
                      <a:pt x="42" y="64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1048928" name="îşḷîḑe"/>
              <p:cNvSpPr/>
              <p:nvPr/>
            </p:nvSpPr>
            <p:spPr bwMode="auto">
              <a:xfrm>
                <a:off x="3062184" y="5672728"/>
                <a:ext cx="103188" cy="95250"/>
              </a:xfrm>
              <a:custGeom>
                <a:avLst/>
                <a:gdLst>
                  <a:gd name="T0" fmla="*/ 44 w 65"/>
                  <a:gd name="T1" fmla="*/ 60 h 60"/>
                  <a:gd name="T2" fmla="*/ 0 w 65"/>
                  <a:gd name="T3" fmla="*/ 34 h 60"/>
                  <a:gd name="T4" fmla="*/ 5 w 65"/>
                  <a:gd name="T5" fmla="*/ 26 h 60"/>
                  <a:gd name="T6" fmla="*/ 46 w 65"/>
                  <a:gd name="T7" fmla="*/ 24 h 60"/>
                  <a:gd name="T8" fmla="*/ 15 w 65"/>
                  <a:gd name="T9" fmla="*/ 8 h 60"/>
                  <a:gd name="T10" fmla="*/ 20 w 65"/>
                  <a:gd name="T11" fmla="*/ 0 h 60"/>
                  <a:gd name="T12" fmla="*/ 65 w 65"/>
                  <a:gd name="T13" fmla="*/ 24 h 60"/>
                  <a:gd name="T14" fmla="*/ 59 w 65"/>
                  <a:gd name="T15" fmla="*/ 33 h 60"/>
                  <a:gd name="T16" fmla="*/ 20 w 65"/>
                  <a:gd name="T17" fmla="*/ 34 h 60"/>
                  <a:gd name="T18" fmla="*/ 49 w 65"/>
                  <a:gd name="T19" fmla="*/ 52 h 60"/>
                  <a:gd name="T20" fmla="*/ 44 w 65"/>
                  <a:gd name="T21" fmla="*/ 60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65" h="60">
                    <a:moveTo>
                      <a:pt x="44" y="60"/>
                    </a:moveTo>
                    <a:lnTo>
                      <a:pt x="0" y="34"/>
                    </a:lnTo>
                    <a:lnTo>
                      <a:pt x="5" y="26"/>
                    </a:lnTo>
                    <a:lnTo>
                      <a:pt x="46" y="24"/>
                    </a:lnTo>
                    <a:lnTo>
                      <a:pt x="15" y="8"/>
                    </a:lnTo>
                    <a:lnTo>
                      <a:pt x="20" y="0"/>
                    </a:lnTo>
                    <a:lnTo>
                      <a:pt x="65" y="24"/>
                    </a:lnTo>
                    <a:lnTo>
                      <a:pt x="59" y="33"/>
                    </a:lnTo>
                    <a:lnTo>
                      <a:pt x="20" y="34"/>
                    </a:lnTo>
                    <a:lnTo>
                      <a:pt x="49" y="52"/>
                    </a:lnTo>
                    <a:lnTo>
                      <a:pt x="44" y="60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1048929" name="îşḷïḋê"/>
              <p:cNvSpPr/>
              <p:nvPr/>
            </p:nvSpPr>
            <p:spPr bwMode="auto">
              <a:xfrm>
                <a:off x="3106634" y="5606053"/>
                <a:ext cx="87313" cy="84138"/>
              </a:xfrm>
              <a:custGeom>
                <a:avLst/>
                <a:gdLst>
                  <a:gd name="T0" fmla="*/ 15 w 47"/>
                  <a:gd name="T1" fmla="*/ 43 h 46"/>
                  <a:gd name="T2" fmla="*/ 5 w 47"/>
                  <a:gd name="T3" fmla="*/ 36 h 46"/>
                  <a:gd name="T4" fmla="*/ 2 w 47"/>
                  <a:gd name="T5" fmla="*/ 30 h 46"/>
                  <a:gd name="T6" fmla="*/ 0 w 47"/>
                  <a:gd name="T7" fmla="*/ 23 h 46"/>
                  <a:gd name="T8" fmla="*/ 2 w 47"/>
                  <a:gd name="T9" fmla="*/ 14 h 46"/>
                  <a:gd name="T10" fmla="*/ 14 w 47"/>
                  <a:gd name="T11" fmla="*/ 2 h 46"/>
                  <a:gd name="T12" fmla="*/ 32 w 47"/>
                  <a:gd name="T13" fmla="*/ 3 h 46"/>
                  <a:gd name="T14" fmla="*/ 45 w 47"/>
                  <a:gd name="T15" fmla="*/ 15 h 46"/>
                  <a:gd name="T16" fmla="*/ 44 w 47"/>
                  <a:gd name="T17" fmla="*/ 32 h 46"/>
                  <a:gd name="T18" fmla="*/ 32 w 47"/>
                  <a:gd name="T19" fmla="*/ 44 h 46"/>
                  <a:gd name="T20" fmla="*/ 15 w 47"/>
                  <a:gd name="T21" fmla="*/ 43 h 46"/>
                  <a:gd name="T22" fmla="*/ 18 w 47"/>
                  <a:gd name="T23" fmla="*/ 34 h 46"/>
                  <a:gd name="T24" fmla="*/ 30 w 47"/>
                  <a:gd name="T25" fmla="*/ 35 h 46"/>
                  <a:gd name="T26" fmla="*/ 37 w 47"/>
                  <a:gd name="T27" fmla="*/ 29 h 46"/>
                  <a:gd name="T28" fmla="*/ 37 w 47"/>
                  <a:gd name="T29" fmla="*/ 19 h 46"/>
                  <a:gd name="T30" fmla="*/ 28 w 47"/>
                  <a:gd name="T31" fmla="*/ 12 h 46"/>
                  <a:gd name="T32" fmla="*/ 16 w 47"/>
                  <a:gd name="T33" fmla="*/ 10 h 46"/>
                  <a:gd name="T34" fmla="*/ 9 w 47"/>
                  <a:gd name="T35" fmla="*/ 17 h 46"/>
                  <a:gd name="T36" fmla="*/ 9 w 47"/>
                  <a:gd name="T37" fmla="*/ 27 h 46"/>
                  <a:gd name="T38" fmla="*/ 18 w 47"/>
                  <a:gd name="T39" fmla="*/ 34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47" h="46">
                    <a:moveTo>
                      <a:pt x="15" y="43"/>
                    </a:moveTo>
                    <a:cubicBezTo>
                      <a:pt x="11" y="41"/>
                      <a:pt x="8" y="39"/>
                      <a:pt x="5" y="36"/>
                    </a:cubicBezTo>
                    <a:cubicBezTo>
                      <a:pt x="4" y="34"/>
                      <a:pt x="2" y="32"/>
                      <a:pt x="2" y="30"/>
                    </a:cubicBezTo>
                    <a:cubicBezTo>
                      <a:pt x="1" y="28"/>
                      <a:pt x="0" y="26"/>
                      <a:pt x="0" y="23"/>
                    </a:cubicBezTo>
                    <a:cubicBezTo>
                      <a:pt x="0" y="20"/>
                      <a:pt x="1" y="17"/>
                      <a:pt x="2" y="14"/>
                    </a:cubicBezTo>
                    <a:cubicBezTo>
                      <a:pt x="5" y="8"/>
                      <a:pt x="9" y="4"/>
                      <a:pt x="14" y="2"/>
                    </a:cubicBezTo>
                    <a:cubicBezTo>
                      <a:pt x="19" y="0"/>
                      <a:pt x="25" y="1"/>
                      <a:pt x="32" y="3"/>
                    </a:cubicBezTo>
                    <a:cubicBezTo>
                      <a:pt x="38" y="6"/>
                      <a:pt x="43" y="10"/>
                      <a:pt x="45" y="15"/>
                    </a:cubicBezTo>
                    <a:cubicBezTo>
                      <a:pt x="47" y="21"/>
                      <a:pt x="47" y="26"/>
                      <a:pt x="44" y="32"/>
                    </a:cubicBezTo>
                    <a:cubicBezTo>
                      <a:pt x="41" y="38"/>
                      <a:pt x="38" y="42"/>
                      <a:pt x="32" y="44"/>
                    </a:cubicBezTo>
                    <a:cubicBezTo>
                      <a:pt x="27" y="46"/>
                      <a:pt x="21" y="45"/>
                      <a:pt x="15" y="43"/>
                    </a:cubicBezTo>
                    <a:close/>
                    <a:moveTo>
                      <a:pt x="18" y="34"/>
                    </a:moveTo>
                    <a:cubicBezTo>
                      <a:pt x="23" y="36"/>
                      <a:pt x="27" y="37"/>
                      <a:pt x="30" y="35"/>
                    </a:cubicBezTo>
                    <a:cubicBezTo>
                      <a:pt x="33" y="34"/>
                      <a:pt x="36" y="32"/>
                      <a:pt x="37" y="29"/>
                    </a:cubicBezTo>
                    <a:cubicBezTo>
                      <a:pt x="39" y="26"/>
                      <a:pt x="39" y="23"/>
                      <a:pt x="37" y="19"/>
                    </a:cubicBezTo>
                    <a:cubicBezTo>
                      <a:pt x="36" y="16"/>
                      <a:pt x="33" y="14"/>
                      <a:pt x="28" y="12"/>
                    </a:cubicBezTo>
                    <a:cubicBezTo>
                      <a:pt x="23" y="10"/>
                      <a:pt x="19" y="9"/>
                      <a:pt x="16" y="10"/>
                    </a:cubicBezTo>
                    <a:cubicBezTo>
                      <a:pt x="13" y="11"/>
                      <a:pt x="11" y="14"/>
                      <a:pt x="9" y="17"/>
                    </a:cubicBezTo>
                    <a:cubicBezTo>
                      <a:pt x="8" y="20"/>
                      <a:pt x="8" y="23"/>
                      <a:pt x="9" y="27"/>
                    </a:cubicBezTo>
                    <a:cubicBezTo>
                      <a:pt x="11" y="30"/>
                      <a:pt x="14" y="32"/>
                      <a:pt x="18" y="3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1048930" name="îṣlïḍè"/>
              <p:cNvSpPr/>
              <p:nvPr/>
            </p:nvSpPr>
            <p:spPr bwMode="auto">
              <a:xfrm>
                <a:off x="3128859" y="5560015"/>
                <a:ext cx="93663" cy="57150"/>
              </a:xfrm>
              <a:custGeom>
                <a:avLst/>
                <a:gdLst>
                  <a:gd name="T0" fmla="*/ 49 w 59"/>
                  <a:gd name="T1" fmla="*/ 36 h 36"/>
                  <a:gd name="T2" fmla="*/ 0 w 59"/>
                  <a:gd name="T3" fmla="*/ 21 h 36"/>
                  <a:gd name="T4" fmla="*/ 4 w 59"/>
                  <a:gd name="T5" fmla="*/ 10 h 36"/>
                  <a:gd name="T6" fmla="*/ 43 w 59"/>
                  <a:gd name="T7" fmla="*/ 24 h 36"/>
                  <a:gd name="T8" fmla="*/ 51 w 59"/>
                  <a:gd name="T9" fmla="*/ 0 h 36"/>
                  <a:gd name="T10" fmla="*/ 59 w 59"/>
                  <a:gd name="T11" fmla="*/ 2 h 36"/>
                  <a:gd name="T12" fmla="*/ 49 w 59"/>
                  <a:gd name="T13" fmla="*/ 36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59" h="36">
                    <a:moveTo>
                      <a:pt x="49" y="36"/>
                    </a:moveTo>
                    <a:lnTo>
                      <a:pt x="0" y="21"/>
                    </a:lnTo>
                    <a:lnTo>
                      <a:pt x="4" y="10"/>
                    </a:lnTo>
                    <a:lnTo>
                      <a:pt x="43" y="24"/>
                    </a:lnTo>
                    <a:lnTo>
                      <a:pt x="51" y="0"/>
                    </a:lnTo>
                    <a:lnTo>
                      <a:pt x="59" y="2"/>
                    </a:lnTo>
                    <a:lnTo>
                      <a:pt x="49" y="36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1048931" name="ïṩḷîḓê"/>
              <p:cNvSpPr/>
              <p:nvPr/>
            </p:nvSpPr>
            <p:spPr bwMode="auto">
              <a:xfrm>
                <a:off x="3152672" y="5469528"/>
                <a:ext cx="85725" cy="80963"/>
              </a:xfrm>
              <a:custGeom>
                <a:avLst/>
                <a:gdLst>
                  <a:gd name="T0" fmla="*/ 18 w 46"/>
                  <a:gd name="T1" fmla="*/ 43 h 44"/>
                  <a:gd name="T2" fmla="*/ 8 w 46"/>
                  <a:gd name="T3" fmla="*/ 38 h 44"/>
                  <a:gd name="T4" fmla="*/ 3 w 46"/>
                  <a:gd name="T5" fmla="*/ 33 h 44"/>
                  <a:gd name="T6" fmla="*/ 0 w 46"/>
                  <a:gd name="T7" fmla="*/ 27 h 44"/>
                  <a:gd name="T8" fmla="*/ 1 w 46"/>
                  <a:gd name="T9" fmla="*/ 17 h 44"/>
                  <a:gd name="T10" fmla="*/ 10 w 46"/>
                  <a:gd name="T11" fmla="*/ 3 h 44"/>
                  <a:gd name="T12" fmla="*/ 28 w 46"/>
                  <a:gd name="T13" fmla="*/ 1 h 44"/>
                  <a:gd name="T14" fmla="*/ 43 w 46"/>
                  <a:gd name="T15" fmla="*/ 11 h 44"/>
                  <a:gd name="T16" fmla="*/ 45 w 46"/>
                  <a:gd name="T17" fmla="*/ 27 h 44"/>
                  <a:gd name="T18" fmla="*/ 36 w 46"/>
                  <a:gd name="T19" fmla="*/ 41 h 44"/>
                  <a:gd name="T20" fmla="*/ 18 w 46"/>
                  <a:gd name="T21" fmla="*/ 43 h 44"/>
                  <a:gd name="T22" fmla="*/ 20 w 46"/>
                  <a:gd name="T23" fmla="*/ 34 h 44"/>
                  <a:gd name="T24" fmla="*/ 32 w 46"/>
                  <a:gd name="T25" fmla="*/ 33 h 44"/>
                  <a:gd name="T26" fmla="*/ 38 w 46"/>
                  <a:gd name="T27" fmla="*/ 25 h 44"/>
                  <a:gd name="T28" fmla="*/ 36 w 46"/>
                  <a:gd name="T29" fmla="*/ 16 h 44"/>
                  <a:gd name="T30" fmla="*/ 25 w 46"/>
                  <a:gd name="T31" fmla="*/ 10 h 44"/>
                  <a:gd name="T32" fmla="*/ 14 w 46"/>
                  <a:gd name="T33" fmla="*/ 11 h 44"/>
                  <a:gd name="T34" fmla="*/ 8 w 46"/>
                  <a:gd name="T35" fmla="*/ 19 h 44"/>
                  <a:gd name="T36" fmla="*/ 10 w 46"/>
                  <a:gd name="T37" fmla="*/ 28 h 44"/>
                  <a:gd name="T38" fmla="*/ 20 w 46"/>
                  <a:gd name="T39" fmla="*/ 34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46" h="44">
                    <a:moveTo>
                      <a:pt x="18" y="43"/>
                    </a:moveTo>
                    <a:cubicBezTo>
                      <a:pt x="14" y="42"/>
                      <a:pt x="10" y="40"/>
                      <a:pt x="8" y="38"/>
                    </a:cubicBezTo>
                    <a:cubicBezTo>
                      <a:pt x="6" y="37"/>
                      <a:pt x="4" y="35"/>
                      <a:pt x="3" y="33"/>
                    </a:cubicBezTo>
                    <a:cubicBezTo>
                      <a:pt x="1" y="31"/>
                      <a:pt x="1" y="29"/>
                      <a:pt x="0" y="27"/>
                    </a:cubicBezTo>
                    <a:cubicBezTo>
                      <a:pt x="0" y="24"/>
                      <a:pt x="0" y="21"/>
                      <a:pt x="1" y="17"/>
                    </a:cubicBezTo>
                    <a:cubicBezTo>
                      <a:pt x="2" y="11"/>
                      <a:pt x="5" y="6"/>
                      <a:pt x="10" y="3"/>
                    </a:cubicBezTo>
                    <a:cubicBezTo>
                      <a:pt x="15" y="0"/>
                      <a:pt x="21" y="0"/>
                      <a:pt x="28" y="1"/>
                    </a:cubicBezTo>
                    <a:cubicBezTo>
                      <a:pt x="34" y="3"/>
                      <a:pt x="39" y="6"/>
                      <a:pt x="43" y="11"/>
                    </a:cubicBezTo>
                    <a:cubicBezTo>
                      <a:pt x="46" y="15"/>
                      <a:pt x="46" y="21"/>
                      <a:pt x="45" y="27"/>
                    </a:cubicBezTo>
                    <a:cubicBezTo>
                      <a:pt x="44" y="33"/>
                      <a:pt x="40" y="38"/>
                      <a:pt x="36" y="41"/>
                    </a:cubicBezTo>
                    <a:cubicBezTo>
                      <a:pt x="31" y="44"/>
                      <a:pt x="25" y="44"/>
                      <a:pt x="18" y="43"/>
                    </a:cubicBezTo>
                    <a:close/>
                    <a:moveTo>
                      <a:pt x="20" y="34"/>
                    </a:moveTo>
                    <a:cubicBezTo>
                      <a:pt x="25" y="35"/>
                      <a:pt x="29" y="35"/>
                      <a:pt x="32" y="33"/>
                    </a:cubicBezTo>
                    <a:cubicBezTo>
                      <a:pt x="35" y="31"/>
                      <a:pt x="37" y="29"/>
                      <a:pt x="38" y="25"/>
                    </a:cubicBezTo>
                    <a:cubicBezTo>
                      <a:pt x="38" y="22"/>
                      <a:pt x="38" y="19"/>
                      <a:pt x="36" y="16"/>
                    </a:cubicBezTo>
                    <a:cubicBezTo>
                      <a:pt x="34" y="13"/>
                      <a:pt x="30" y="11"/>
                      <a:pt x="25" y="10"/>
                    </a:cubicBezTo>
                    <a:cubicBezTo>
                      <a:pt x="20" y="9"/>
                      <a:pt x="16" y="9"/>
                      <a:pt x="14" y="11"/>
                    </a:cubicBezTo>
                    <a:cubicBezTo>
                      <a:pt x="11" y="13"/>
                      <a:pt x="9" y="15"/>
                      <a:pt x="8" y="19"/>
                    </a:cubicBezTo>
                    <a:cubicBezTo>
                      <a:pt x="7" y="22"/>
                      <a:pt x="8" y="25"/>
                      <a:pt x="10" y="28"/>
                    </a:cubicBezTo>
                    <a:cubicBezTo>
                      <a:pt x="12" y="31"/>
                      <a:pt x="15" y="33"/>
                      <a:pt x="20" y="3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1048932" name="ïSļiďé"/>
              <p:cNvSpPr/>
              <p:nvPr/>
            </p:nvSpPr>
            <p:spPr bwMode="auto">
              <a:xfrm>
                <a:off x="3165372" y="5390153"/>
                <a:ext cx="85725" cy="77788"/>
              </a:xfrm>
              <a:custGeom>
                <a:avLst/>
                <a:gdLst>
                  <a:gd name="T0" fmla="*/ 29 w 46"/>
                  <a:gd name="T1" fmla="*/ 21 h 42"/>
                  <a:gd name="T2" fmla="*/ 22 w 46"/>
                  <a:gd name="T3" fmla="*/ 20 h 42"/>
                  <a:gd name="T4" fmla="*/ 24 w 46"/>
                  <a:gd name="T5" fmla="*/ 1 h 42"/>
                  <a:gd name="T6" fmla="*/ 41 w 46"/>
                  <a:gd name="T7" fmla="*/ 3 h 42"/>
                  <a:gd name="T8" fmla="*/ 45 w 46"/>
                  <a:gd name="T9" fmla="*/ 11 h 42"/>
                  <a:gd name="T10" fmla="*/ 46 w 46"/>
                  <a:gd name="T11" fmla="*/ 22 h 42"/>
                  <a:gd name="T12" fmla="*/ 42 w 46"/>
                  <a:gd name="T13" fmla="*/ 34 h 42"/>
                  <a:gd name="T14" fmla="*/ 33 w 46"/>
                  <a:gd name="T15" fmla="*/ 41 h 42"/>
                  <a:gd name="T16" fmla="*/ 21 w 46"/>
                  <a:gd name="T17" fmla="*/ 42 h 42"/>
                  <a:gd name="T18" fmla="*/ 9 w 46"/>
                  <a:gd name="T19" fmla="*/ 38 h 42"/>
                  <a:gd name="T20" fmla="*/ 2 w 46"/>
                  <a:gd name="T21" fmla="*/ 28 h 42"/>
                  <a:gd name="T22" fmla="*/ 1 w 46"/>
                  <a:gd name="T23" fmla="*/ 18 h 42"/>
                  <a:gd name="T24" fmla="*/ 6 w 46"/>
                  <a:gd name="T25" fmla="*/ 5 h 42"/>
                  <a:gd name="T26" fmla="*/ 16 w 46"/>
                  <a:gd name="T27" fmla="*/ 0 h 42"/>
                  <a:gd name="T28" fmla="*/ 16 w 46"/>
                  <a:gd name="T29" fmla="*/ 9 h 42"/>
                  <a:gd name="T30" fmla="*/ 11 w 46"/>
                  <a:gd name="T31" fmla="*/ 12 h 42"/>
                  <a:gd name="T32" fmla="*/ 8 w 46"/>
                  <a:gd name="T33" fmla="*/ 18 h 42"/>
                  <a:gd name="T34" fmla="*/ 11 w 46"/>
                  <a:gd name="T35" fmla="*/ 28 h 42"/>
                  <a:gd name="T36" fmla="*/ 21 w 46"/>
                  <a:gd name="T37" fmla="*/ 33 h 42"/>
                  <a:gd name="T38" fmla="*/ 34 w 46"/>
                  <a:gd name="T39" fmla="*/ 31 h 42"/>
                  <a:gd name="T40" fmla="*/ 38 w 46"/>
                  <a:gd name="T41" fmla="*/ 22 h 42"/>
                  <a:gd name="T42" fmla="*/ 38 w 46"/>
                  <a:gd name="T43" fmla="*/ 16 h 42"/>
                  <a:gd name="T44" fmla="*/ 36 w 46"/>
                  <a:gd name="T45" fmla="*/ 11 h 42"/>
                  <a:gd name="T46" fmla="*/ 30 w 46"/>
                  <a:gd name="T47" fmla="*/ 11 h 42"/>
                  <a:gd name="T48" fmla="*/ 29 w 46"/>
                  <a:gd name="T49" fmla="*/ 21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46" h="42">
                    <a:moveTo>
                      <a:pt x="29" y="21"/>
                    </a:moveTo>
                    <a:cubicBezTo>
                      <a:pt x="22" y="20"/>
                      <a:pt x="22" y="20"/>
                      <a:pt x="22" y="20"/>
                    </a:cubicBezTo>
                    <a:cubicBezTo>
                      <a:pt x="24" y="1"/>
                      <a:pt x="24" y="1"/>
                      <a:pt x="24" y="1"/>
                    </a:cubicBezTo>
                    <a:cubicBezTo>
                      <a:pt x="41" y="3"/>
                      <a:pt x="41" y="3"/>
                      <a:pt x="41" y="3"/>
                    </a:cubicBezTo>
                    <a:cubicBezTo>
                      <a:pt x="43" y="5"/>
                      <a:pt x="44" y="8"/>
                      <a:pt x="45" y="11"/>
                    </a:cubicBezTo>
                    <a:cubicBezTo>
                      <a:pt x="46" y="15"/>
                      <a:pt x="46" y="19"/>
                      <a:pt x="46" y="22"/>
                    </a:cubicBezTo>
                    <a:cubicBezTo>
                      <a:pt x="46" y="27"/>
                      <a:pt x="44" y="31"/>
                      <a:pt x="42" y="34"/>
                    </a:cubicBezTo>
                    <a:cubicBezTo>
                      <a:pt x="39" y="37"/>
                      <a:pt x="36" y="39"/>
                      <a:pt x="33" y="41"/>
                    </a:cubicBezTo>
                    <a:cubicBezTo>
                      <a:pt x="29" y="42"/>
                      <a:pt x="25" y="42"/>
                      <a:pt x="21" y="42"/>
                    </a:cubicBezTo>
                    <a:cubicBezTo>
                      <a:pt x="16" y="41"/>
                      <a:pt x="12" y="40"/>
                      <a:pt x="9" y="38"/>
                    </a:cubicBezTo>
                    <a:cubicBezTo>
                      <a:pt x="6" y="35"/>
                      <a:pt x="3" y="32"/>
                      <a:pt x="2" y="28"/>
                    </a:cubicBezTo>
                    <a:cubicBezTo>
                      <a:pt x="1" y="25"/>
                      <a:pt x="0" y="22"/>
                      <a:pt x="1" y="18"/>
                    </a:cubicBezTo>
                    <a:cubicBezTo>
                      <a:pt x="1" y="12"/>
                      <a:pt x="3" y="8"/>
                      <a:pt x="6" y="5"/>
                    </a:cubicBezTo>
                    <a:cubicBezTo>
                      <a:pt x="8" y="2"/>
                      <a:pt x="12" y="1"/>
                      <a:pt x="16" y="0"/>
                    </a:cubicBezTo>
                    <a:cubicBezTo>
                      <a:pt x="16" y="9"/>
                      <a:pt x="16" y="9"/>
                      <a:pt x="16" y="9"/>
                    </a:cubicBezTo>
                    <a:cubicBezTo>
                      <a:pt x="14" y="10"/>
                      <a:pt x="12" y="11"/>
                      <a:pt x="11" y="12"/>
                    </a:cubicBezTo>
                    <a:cubicBezTo>
                      <a:pt x="10" y="14"/>
                      <a:pt x="9" y="16"/>
                      <a:pt x="8" y="18"/>
                    </a:cubicBezTo>
                    <a:cubicBezTo>
                      <a:pt x="8" y="22"/>
                      <a:pt x="9" y="25"/>
                      <a:pt x="11" y="28"/>
                    </a:cubicBezTo>
                    <a:cubicBezTo>
                      <a:pt x="13" y="31"/>
                      <a:pt x="17" y="32"/>
                      <a:pt x="21" y="33"/>
                    </a:cubicBezTo>
                    <a:cubicBezTo>
                      <a:pt x="27" y="33"/>
                      <a:pt x="31" y="33"/>
                      <a:pt x="34" y="31"/>
                    </a:cubicBezTo>
                    <a:cubicBezTo>
                      <a:pt x="36" y="29"/>
                      <a:pt x="38" y="26"/>
                      <a:pt x="38" y="22"/>
                    </a:cubicBezTo>
                    <a:cubicBezTo>
                      <a:pt x="39" y="20"/>
                      <a:pt x="39" y="18"/>
                      <a:pt x="38" y="16"/>
                    </a:cubicBezTo>
                    <a:cubicBezTo>
                      <a:pt x="37" y="14"/>
                      <a:pt x="37" y="13"/>
                      <a:pt x="36" y="11"/>
                    </a:cubicBezTo>
                    <a:cubicBezTo>
                      <a:pt x="30" y="11"/>
                      <a:pt x="30" y="11"/>
                      <a:pt x="30" y="11"/>
                    </a:cubicBezTo>
                    <a:lnTo>
                      <a:pt x="29" y="21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1048933" name="îSḷiḋè"/>
              <p:cNvSpPr/>
              <p:nvPr/>
            </p:nvSpPr>
            <p:spPr bwMode="auto">
              <a:xfrm>
                <a:off x="3173309" y="5313953"/>
                <a:ext cx="80963" cy="76200"/>
              </a:xfrm>
              <a:custGeom>
                <a:avLst/>
                <a:gdLst>
                  <a:gd name="T0" fmla="*/ 51 w 51"/>
                  <a:gd name="T1" fmla="*/ 30 h 48"/>
                  <a:gd name="T2" fmla="*/ 29 w 51"/>
                  <a:gd name="T3" fmla="*/ 29 h 48"/>
                  <a:gd name="T4" fmla="*/ 0 w 51"/>
                  <a:gd name="T5" fmla="*/ 48 h 48"/>
                  <a:gd name="T6" fmla="*/ 0 w 51"/>
                  <a:gd name="T7" fmla="*/ 36 h 48"/>
                  <a:gd name="T8" fmla="*/ 20 w 51"/>
                  <a:gd name="T9" fmla="*/ 24 h 48"/>
                  <a:gd name="T10" fmla="*/ 0 w 51"/>
                  <a:gd name="T11" fmla="*/ 12 h 48"/>
                  <a:gd name="T12" fmla="*/ 0 w 51"/>
                  <a:gd name="T13" fmla="*/ 0 h 48"/>
                  <a:gd name="T14" fmla="*/ 30 w 51"/>
                  <a:gd name="T15" fmla="*/ 20 h 48"/>
                  <a:gd name="T16" fmla="*/ 51 w 51"/>
                  <a:gd name="T17" fmla="*/ 20 h 48"/>
                  <a:gd name="T18" fmla="*/ 51 w 51"/>
                  <a:gd name="T19" fmla="*/ 30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51" h="48">
                    <a:moveTo>
                      <a:pt x="51" y="30"/>
                    </a:moveTo>
                    <a:lnTo>
                      <a:pt x="29" y="29"/>
                    </a:lnTo>
                    <a:lnTo>
                      <a:pt x="0" y="48"/>
                    </a:lnTo>
                    <a:lnTo>
                      <a:pt x="0" y="36"/>
                    </a:lnTo>
                    <a:lnTo>
                      <a:pt x="20" y="24"/>
                    </a:lnTo>
                    <a:lnTo>
                      <a:pt x="0" y="12"/>
                    </a:lnTo>
                    <a:lnTo>
                      <a:pt x="0" y="0"/>
                    </a:lnTo>
                    <a:lnTo>
                      <a:pt x="30" y="20"/>
                    </a:lnTo>
                    <a:lnTo>
                      <a:pt x="51" y="20"/>
                    </a:lnTo>
                    <a:lnTo>
                      <a:pt x="51" y="30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1048934" name="îṣḷíḋé"/>
              <p:cNvSpPr/>
              <p:nvPr/>
            </p:nvSpPr>
            <p:spPr bwMode="auto">
              <a:xfrm>
                <a:off x="3163784" y="5193303"/>
                <a:ext cx="87313" cy="76200"/>
              </a:xfrm>
              <a:custGeom>
                <a:avLst/>
                <a:gdLst>
                  <a:gd name="T0" fmla="*/ 4 w 47"/>
                  <a:gd name="T1" fmla="*/ 41 h 41"/>
                  <a:gd name="T2" fmla="*/ 1 w 47"/>
                  <a:gd name="T3" fmla="*/ 24 h 41"/>
                  <a:gd name="T4" fmla="*/ 0 w 47"/>
                  <a:gd name="T5" fmla="*/ 16 h 41"/>
                  <a:gd name="T6" fmla="*/ 2 w 47"/>
                  <a:gd name="T7" fmla="*/ 11 h 41"/>
                  <a:gd name="T8" fmla="*/ 5 w 47"/>
                  <a:gd name="T9" fmla="*/ 7 h 41"/>
                  <a:gd name="T10" fmla="*/ 10 w 47"/>
                  <a:gd name="T11" fmla="*/ 5 h 41"/>
                  <a:gd name="T12" fmla="*/ 16 w 47"/>
                  <a:gd name="T13" fmla="*/ 6 h 41"/>
                  <a:gd name="T14" fmla="*/ 20 w 47"/>
                  <a:gd name="T15" fmla="*/ 10 h 41"/>
                  <a:gd name="T16" fmla="*/ 23 w 47"/>
                  <a:gd name="T17" fmla="*/ 3 h 41"/>
                  <a:gd name="T18" fmla="*/ 29 w 47"/>
                  <a:gd name="T19" fmla="*/ 0 h 41"/>
                  <a:gd name="T20" fmla="*/ 35 w 47"/>
                  <a:gd name="T21" fmla="*/ 1 h 41"/>
                  <a:gd name="T22" fmla="*/ 40 w 47"/>
                  <a:gd name="T23" fmla="*/ 4 h 41"/>
                  <a:gd name="T24" fmla="*/ 43 w 47"/>
                  <a:gd name="T25" fmla="*/ 10 h 41"/>
                  <a:gd name="T26" fmla="*/ 45 w 47"/>
                  <a:gd name="T27" fmla="*/ 20 h 41"/>
                  <a:gd name="T28" fmla="*/ 47 w 47"/>
                  <a:gd name="T29" fmla="*/ 35 h 41"/>
                  <a:gd name="T30" fmla="*/ 4 w 47"/>
                  <a:gd name="T31" fmla="*/ 41 h 41"/>
                  <a:gd name="T32" fmla="*/ 10 w 47"/>
                  <a:gd name="T33" fmla="*/ 31 h 41"/>
                  <a:gd name="T34" fmla="*/ 20 w 47"/>
                  <a:gd name="T35" fmla="*/ 30 h 41"/>
                  <a:gd name="T36" fmla="*/ 19 w 47"/>
                  <a:gd name="T37" fmla="*/ 24 h 41"/>
                  <a:gd name="T38" fmla="*/ 18 w 47"/>
                  <a:gd name="T39" fmla="*/ 18 h 41"/>
                  <a:gd name="T40" fmla="*/ 16 w 47"/>
                  <a:gd name="T41" fmla="*/ 15 h 41"/>
                  <a:gd name="T42" fmla="*/ 12 w 47"/>
                  <a:gd name="T43" fmla="*/ 14 h 41"/>
                  <a:gd name="T44" fmla="*/ 9 w 47"/>
                  <a:gd name="T45" fmla="*/ 15 h 41"/>
                  <a:gd name="T46" fmla="*/ 8 w 47"/>
                  <a:gd name="T47" fmla="*/ 19 h 41"/>
                  <a:gd name="T48" fmla="*/ 9 w 47"/>
                  <a:gd name="T49" fmla="*/ 26 h 41"/>
                  <a:gd name="T50" fmla="*/ 10 w 47"/>
                  <a:gd name="T51" fmla="*/ 31 h 41"/>
                  <a:gd name="T52" fmla="*/ 27 w 47"/>
                  <a:gd name="T53" fmla="*/ 29 h 41"/>
                  <a:gd name="T54" fmla="*/ 39 w 47"/>
                  <a:gd name="T55" fmla="*/ 27 h 41"/>
                  <a:gd name="T56" fmla="*/ 37 w 47"/>
                  <a:gd name="T57" fmla="*/ 19 h 41"/>
                  <a:gd name="T58" fmla="*/ 36 w 47"/>
                  <a:gd name="T59" fmla="*/ 13 h 41"/>
                  <a:gd name="T60" fmla="*/ 34 w 47"/>
                  <a:gd name="T61" fmla="*/ 10 h 41"/>
                  <a:gd name="T62" fmla="*/ 30 w 47"/>
                  <a:gd name="T63" fmla="*/ 10 h 41"/>
                  <a:gd name="T64" fmla="*/ 27 w 47"/>
                  <a:gd name="T65" fmla="*/ 11 h 41"/>
                  <a:gd name="T66" fmla="*/ 25 w 47"/>
                  <a:gd name="T67" fmla="*/ 14 h 41"/>
                  <a:gd name="T68" fmla="*/ 26 w 47"/>
                  <a:gd name="T69" fmla="*/ 22 h 41"/>
                  <a:gd name="T70" fmla="*/ 27 w 47"/>
                  <a:gd name="T71" fmla="*/ 29 h 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47" h="41">
                    <a:moveTo>
                      <a:pt x="4" y="41"/>
                    </a:moveTo>
                    <a:cubicBezTo>
                      <a:pt x="1" y="24"/>
                      <a:pt x="1" y="24"/>
                      <a:pt x="1" y="24"/>
                    </a:cubicBezTo>
                    <a:cubicBezTo>
                      <a:pt x="1" y="20"/>
                      <a:pt x="0" y="18"/>
                      <a:pt x="0" y="16"/>
                    </a:cubicBezTo>
                    <a:cubicBezTo>
                      <a:pt x="1" y="14"/>
                      <a:pt x="1" y="13"/>
                      <a:pt x="2" y="11"/>
                    </a:cubicBezTo>
                    <a:cubicBezTo>
                      <a:pt x="2" y="10"/>
                      <a:pt x="3" y="9"/>
                      <a:pt x="5" y="7"/>
                    </a:cubicBezTo>
                    <a:cubicBezTo>
                      <a:pt x="6" y="6"/>
                      <a:pt x="8" y="6"/>
                      <a:pt x="10" y="5"/>
                    </a:cubicBezTo>
                    <a:cubicBezTo>
                      <a:pt x="12" y="5"/>
                      <a:pt x="14" y="5"/>
                      <a:pt x="16" y="6"/>
                    </a:cubicBezTo>
                    <a:cubicBezTo>
                      <a:pt x="17" y="7"/>
                      <a:pt x="19" y="8"/>
                      <a:pt x="20" y="10"/>
                    </a:cubicBezTo>
                    <a:cubicBezTo>
                      <a:pt x="20" y="7"/>
                      <a:pt x="21" y="5"/>
                      <a:pt x="23" y="3"/>
                    </a:cubicBezTo>
                    <a:cubicBezTo>
                      <a:pt x="25" y="2"/>
                      <a:pt x="27" y="1"/>
                      <a:pt x="29" y="0"/>
                    </a:cubicBezTo>
                    <a:cubicBezTo>
                      <a:pt x="31" y="0"/>
                      <a:pt x="33" y="0"/>
                      <a:pt x="35" y="1"/>
                    </a:cubicBezTo>
                    <a:cubicBezTo>
                      <a:pt x="37" y="2"/>
                      <a:pt x="39" y="3"/>
                      <a:pt x="40" y="4"/>
                    </a:cubicBezTo>
                    <a:cubicBezTo>
                      <a:pt x="42" y="5"/>
                      <a:pt x="43" y="7"/>
                      <a:pt x="43" y="10"/>
                    </a:cubicBezTo>
                    <a:cubicBezTo>
                      <a:pt x="44" y="11"/>
                      <a:pt x="44" y="15"/>
                      <a:pt x="45" y="20"/>
                    </a:cubicBezTo>
                    <a:cubicBezTo>
                      <a:pt x="47" y="35"/>
                      <a:pt x="47" y="35"/>
                      <a:pt x="47" y="35"/>
                    </a:cubicBezTo>
                    <a:lnTo>
                      <a:pt x="4" y="41"/>
                    </a:lnTo>
                    <a:close/>
                    <a:moveTo>
                      <a:pt x="10" y="31"/>
                    </a:moveTo>
                    <a:cubicBezTo>
                      <a:pt x="20" y="30"/>
                      <a:pt x="20" y="30"/>
                      <a:pt x="20" y="30"/>
                    </a:cubicBezTo>
                    <a:cubicBezTo>
                      <a:pt x="19" y="24"/>
                      <a:pt x="19" y="24"/>
                      <a:pt x="19" y="24"/>
                    </a:cubicBezTo>
                    <a:cubicBezTo>
                      <a:pt x="18" y="21"/>
                      <a:pt x="18" y="19"/>
                      <a:pt x="18" y="18"/>
                    </a:cubicBezTo>
                    <a:cubicBezTo>
                      <a:pt x="17" y="16"/>
                      <a:pt x="17" y="15"/>
                      <a:pt x="16" y="15"/>
                    </a:cubicBezTo>
                    <a:cubicBezTo>
                      <a:pt x="15" y="14"/>
                      <a:pt x="14" y="14"/>
                      <a:pt x="12" y="14"/>
                    </a:cubicBezTo>
                    <a:cubicBezTo>
                      <a:pt x="11" y="14"/>
                      <a:pt x="10" y="14"/>
                      <a:pt x="9" y="15"/>
                    </a:cubicBezTo>
                    <a:cubicBezTo>
                      <a:pt x="8" y="16"/>
                      <a:pt x="8" y="17"/>
                      <a:pt x="8" y="19"/>
                    </a:cubicBezTo>
                    <a:cubicBezTo>
                      <a:pt x="8" y="20"/>
                      <a:pt x="8" y="22"/>
                      <a:pt x="9" y="26"/>
                    </a:cubicBezTo>
                    <a:lnTo>
                      <a:pt x="10" y="31"/>
                    </a:lnTo>
                    <a:close/>
                    <a:moveTo>
                      <a:pt x="27" y="29"/>
                    </a:moveTo>
                    <a:cubicBezTo>
                      <a:pt x="39" y="27"/>
                      <a:pt x="39" y="27"/>
                      <a:pt x="39" y="27"/>
                    </a:cubicBezTo>
                    <a:cubicBezTo>
                      <a:pt x="37" y="19"/>
                      <a:pt x="37" y="19"/>
                      <a:pt x="37" y="19"/>
                    </a:cubicBezTo>
                    <a:cubicBezTo>
                      <a:pt x="37" y="16"/>
                      <a:pt x="37" y="14"/>
                      <a:pt x="36" y="13"/>
                    </a:cubicBezTo>
                    <a:cubicBezTo>
                      <a:pt x="36" y="12"/>
                      <a:pt x="35" y="11"/>
                      <a:pt x="34" y="10"/>
                    </a:cubicBezTo>
                    <a:cubicBezTo>
                      <a:pt x="33" y="10"/>
                      <a:pt x="32" y="9"/>
                      <a:pt x="30" y="10"/>
                    </a:cubicBezTo>
                    <a:cubicBezTo>
                      <a:pt x="29" y="10"/>
                      <a:pt x="28" y="10"/>
                      <a:pt x="27" y="11"/>
                    </a:cubicBezTo>
                    <a:cubicBezTo>
                      <a:pt x="26" y="12"/>
                      <a:pt x="26" y="13"/>
                      <a:pt x="25" y="14"/>
                    </a:cubicBezTo>
                    <a:cubicBezTo>
                      <a:pt x="25" y="15"/>
                      <a:pt x="25" y="18"/>
                      <a:pt x="26" y="22"/>
                    </a:cubicBezTo>
                    <a:lnTo>
                      <a:pt x="27" y="29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1048935" name="îṩliďè"/>
              <p:cNvSpPr/>
              <p:nvPr/>
            </p:nvSpPr>
            <p:spPr bwMode="auto">
              <a:xfrm>
                <a:off x="3146322" y="5120278"/>
                <a:ext cx="93663" cy="79375"/>
              </a:xfrm>
              <a:custGeom>
                <a:avLst/>
                <a:gdLst>
                  <a:gd name="T0" fmla="*/ 59 w 59"/>
                  <a:gd name="T1" fmla="*/ 37 h 50"/>
                  <a:gd name="T2" fmla="*/ 9 w 59"/>
                  <a:gd name="T3" fmla="*/ 50 h 50"/>
                  <a:gd name="T4" fmla="*/ 0 w 59"/>
                  <a:gd name="T5" fmla="*/ 13 h 50"/>
                  <a:gd name="T6" fmla="*/ 8 w 59"/>
                  <a:gd name="T7" fmla="*/ 10 h 50"/>
                  <a:gd name="T8" fmla="*/ 15 w 59"/>
                  <a:gd name="T9" fmla="*/ 37 h 50"/>
                  <a:gd name="T10" fmla="*/ 25 w 59"/>
                  <a:gd name="T11" fmla="*/ 35 h 50"/>
                  <a:gd name="T12" fmla="*/ 19 w 59"/>
                  <a:gd name="T13" fmla="*/ 9 h 50"/>
                  <a:gd name="T14" fmla="*/ 27 w 59"/>
                  <a:gd name="T15" fmla="*/ 8 h 50"/>
                  <a:gd name="T16" fmla="*/ 34 w 59"/>
                  <a:gd name="T17" fmla="*/ 32 h 50"/>
                  <a:gd name="T18" fmla="*/ 47 w 59"/>
                  <a:gd name="T19" fmla="*/ 29 h 50"/>
                  <a:gd name="T20" fmla="*/ 40 w 59"/>
                  <a:gd name="T21" fmla="*/ 1 h 50"/>
                  <a:gd name="T22" fmla="*/ 49 w 59"/>
                  <a:gd name="T23" fmla="*/ 0 h 50"/>
                  <a:gd name="T24" fmla="*/ 59 w 59"/>
                  <a:gd name="T25" fmla="*/ 37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59" h="50">
                    <a:moveTo>
                      <a:pt x="59" y="37"/>
                    </a:moveTo>
                    <a:lnTo>
                      <a:pt x="9" y="50"/>
                    </a:lnTo>
                    <a:lnTo>
                      <a:pt x="0" y="13"/>
                    </a:lnTo>
                    <a:lnTo>
                      <a:pt x="8" y="10"/>
                    </a:lnTo>
                    <a:lnTo>
                      <a:pt x="15" y="37"/>
                    </a:lnTo>
                    <a:lnTo>
                      <a:pt x="25" y="35"/>
                    </a:lnTo>
                    <a:lnTo>
                      <a:pt x="19" y="9"/>
                    </a:lnTo>
                    <a:lnTo>
                      <a:pt x="27" y="8"/>
                    </a:lnTo>
                    <a:lnTo>
                      <a:pt x="34" y="32"/>
                    </a:lnTo>
                    <a:lnTo>
                      <a:pt x="47" y="29"/>
                    </a:lnTo>
                    <a:lnTo>
                      <a:pt x="40" y="1"/>
                    </a:lnTo>
                    <a:lnTo>
                      <a:pt x="49" y="0"/>
                    </a:lnTo>
                    <a:lnTo>
                      <a:pt x="59" y="37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1048936" name="iṧlíḋè"/>
              <p:cNvSpPr/>
              <p:nvPr/>
            </p:nvSpPr>
            <p:spPr bwMode="auto">
              <a:xfrm>
                <a:off x="3138384" y="5096465"/>
                <a:ext cx="82550" cy="38100"/>
              </a:xfrm>
              <a:custGeom>
                <a:avLst/>
                <a:gdLst>
                  <a:gd name="T0" fmla="*/ 52 w 52"/>
                  <a:gd name="T1" fmla="*/ 9 h 24"/>
                  <a:gd name="T2" fmla="*/ 3 w 52"/>
                  <a:gd name="T3" fmla="*/ 24 h 24"/>
                  <a:gd name="T4" fmla="*/ 0 w 52"/>
                  <a:gd name="T5" fmla="*/ 15 h 24"/>
                  <a:gd name="T6" fmla="*/ 49 w 52"/>
                  <a:gd name="T7" fmla="*/ 0 h 24"/>
                  <a:gd name="T8" fmla="*/ 52 w 52"/>
                  <a:gd name="T9" fmla="*/ 9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2" h="24">
                    <a:moveTo>
                      <a:pt x="52" y="9"/>
                    </a:moveTo>
                    <a:lnTo>
                      <a:pt x="3" y="24"/>
                    </a:lnTo>
                    <a:lnTo>
                      <a:pt x="0" y="15"/>
                    </a:lnTo>
                    <a:lnTo>
                      <a:pt x="49" y="0"/>
                    </a:lnTo>
                    <a:lnTo>
                      <a:pt x="52" y="9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1048937" name="islïḓè"/>
              <p:cNvSpPr/>
              <p:nvPr/>
            </p:nvSpPr>
            <p:spPr bwMode="auto">
              <a:xfrm>
                <a:off x="3120922" y="5047253"/>
                <a:ext cx="88900" cy="52388"/>
              </a:xfrm>
              <a:custGeom>
                <a:avLst/>
                <a:gdLst>
                  <a:gd name="T0" fmla="*/ 3 w 48"/>
                  <a:gd name="T1" fmla="*/ 20 h 28"/>
                  <a:gd name="T2" fmla="*/ 0 w 48"/>
                  <a:gd name="T3" fmla="*/ 12 h 28"/>
                  <a:gd name="T4" fmla="*/ 26 w 48"/>
                  <a:gd name="T5" fmla="*/ 2 h 28"/>
                  <a:gd name="T6" fmla="*/ 34 w 48"/>
                  <a:gd name="T7" fmla="*/ 0 h 28"/>
                  <a:gd name="T8" fmla="*/ 42 w 48"/>
                  <a:gd name="T9" fmla="*/ 3 h 28"/>
                  <a:gd name="T10" fmla="*/ 47 w 48"/>
                  <a:gd name="T11" fmla="*/ 10 h 28"/>
                  <a:gd name="T12" fmla="*/ 47 w 48"/>
                  <a:gd name="T13" fmla="*/ 21 h 28"/>
                  <a:gd name="T14" fmla="*/ 38 w 48"/>
                  <a:gd name="T15" fmla="*/ 28 h 28"/>
                  <a:gd name="T16" fmla="*/ 34 w 48"/>
                  <a:gd name="T17" fmla="*/ 20 h 28"/>
                  <a:gd name="T18" fmla="*/ 39 w 48"/>
                  <a:gd name="T19" fmla="*/ 17 h 28"/>
                  <a:gd name="T20" fmla="*/ 40 w 48"/>
                  <a:gd name="T21" fmla="*/ 13 h 28"/>
                  <a:gd name="T22" fmla="*/ 37 w 48"/>
                  <a:gd name="T23" fmla="*/ 9 h 28"/>
                  <a:gd name="T24" fmla="*/ 30 w 48"/>
                  <a:gd name="T25" fmla="*/ 10 h 28"/>
                  <a:gd name="T26" fmla="*/ 3 w 48"/>
                  <a:gd name="T27" fmla="*/ 20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48" h="28">
                    <a:moveTo>
                      <a:pt x="3" y="20"/>
                    </a:moveTo>
                    <a:cubicBezTo>
                      <a:pt x="0" y="12"/>
                      <a:pt x="0" y="12"/>
                      <a:pt x="0" y="12"/>
                    </a:cubicBezTo>
                    <a:cubicBezTo>
                      <a:pt x="26" y="2"/>
                      <a:pt x="26" y="2"/>
                      <a:pt x="26" y="2"/>
                    </a:cubicBezTo>
                    <a:cubicBezTo>
                      <a:pt x="29" y="1"/>
                      <a:pt x="32" y="0"/>
                      <a:pt x="34" y="0"/>
                    </a:cubicBezTo>
                    <a:cubicBezTo>
                      <a:pt x="37" y="0"/>
                      <a:pt x="39" y="1"/>
                      <a:pt x="42" y="3"/>
                    </a:cubicBezTo>
                    <a:cubicBezTo>
                      <a:pt x="44" y="4"/>
                      <a:pt x="46" y="7"/>
                      <a:pt x="47" y="10"/>
                    </a:cubicBezTo>
                    <a:cubicBezTo>
                      <a:pt x="48" y="14"/>
                      <a:pt x="48" y="18"/>
                      <a:pt x="47" y="21"/>
                    </a:cubicBezTo>
                    <a:cubicBezTo>
                      <a:pt x="45" y="24"/>
                      <a:pt x="42" y="26"/>
                      <a:pt x="38" y="28"/>
                    </a:cubicBezTo>
                    <a:cubicBezTo>
                      <a:pt x="34" y="20"/>
                      <a:pt x="34" y="20"/>
                      <a:pt x="34" y="20"/>
                    </a:cubicBezTo>
                    <a:cubicBezTo>
                      <a:pt x="37" y="19"/>
                      <a:pt x="38" y="18"/>
                      <a:pt x="39" y="17"/>
                    </a:cubicBezTo>
                    <a:cubicBezTo>
                      <a:pt x="40" y="16"/>
                      <a:pt x="40" y="14"/>
                      <a:pt x="40" y="13"/>
                    </a:cubicBezTo>
                    <a:cubicBezTo>
                      <a:pt x="39" y="11"/>
                      <a:pt x="38" y="10"/>
                      <a:pt x="37" y="9"/>
                    </a:cubicBezTo>
                    <a:cubicBezTo>
                      <a:pt x="35" y="9"/>
                      <a:pt x="33" y="9"/>
                      <a:pt x="30" y="10"/>
                    </a:cubicBezTo>
                    <a:lnTo>
                      <a:pt x="3" y="20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1048938" name="íṥ1iḍe"/>
              <p:cNvSpPr/>
              <p:nvPr/>
            </p:nvSpPr>
            <p:spPr bwMode="auto">
              <a:xfrm>
                <a:off x="3112984" y="5017090"/>
                <a:ext cx="80963" cy="46038"/>
              </a:xfrm>
              <a:custGeom>
                <a:avLst/>
                <a:gdLst>
                  <a:gd name="T0" fmla="*/ 51 w 51"/>
                  <a:gd name="T1" fmla="*/ 9 h 29"/>
                  <a:gd name="T2" fmla="*/ 3 w 51"/>
                  <a:gd name="T3" fmla="*/ 29 h 29"/>
                  <a:gd name="T4" fmla="*/ 0 w 51"/>
                  <a:gd name="T5" fmla="*/ 19 h 29"/>
                  <a:gd name="T6" fmla="*/ 46 w 51"/>
                  <a:gd name="T7" fmla="*/ 0 h 29"/>
                  <a:gd name="T8" fmla="*/ 51 w 51"/>
                  <a:gd name="T9" fmla="*/ 9 h 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1" h="29">
                    <a:moveTo>
                      <a:pt x="51" y="9"/>
                    </a:moveTo>
                    <a:lnTo>
                      <a:pt x="3" y="29"/>
                    </a:lnTo>
                    <a:lnTo>
                      <a:pt x="0" y="19"/>
                    </a:lnTo>
                    <a:lnTo>
                      <a:pt x="46" y="0"/>
                    </a:lnTo>
                    <a:lnTo>
                      <a:pt x="51" y="9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1048939" name="iṥľîḋé"/>
              <p:cNvSpPr/>
              <p:nvPr/>
            </p:nvSpPr>
            <p:spPr bwMode="auto">
              <a:xfrm>
                <a:off x="3081234" y="4948828"/>
                <a:ext cx="101600" cy="93663"/>
              </a:xfrm>
              <a:custGeom>
                <a:avLst/>
                <a:gdLst>
                  <a:gd name="T0" fmla="*/ 64 w 64"/>
                  <a:gd name="T1" fmla="*/ 36 h 59"/>
                  <a:gd name="T2" fmla="*/ 18 w 64"/>
                  <a:gd name="T3" fmla="*/ 59 h 59"/>
                  <a:gd name="T4" fmla="*/ 14 w 64"/>
                  <a:gd name="T5" fmla="*/ 50 h 59"/>
                  <a:gd name="T6" fmla="*/ 35 w 64"/>
                  <a:gd name="T7" fmla="*/ 16 h 59"/>
                  <a:gd name="T8" fmla="*/ 3 w 64"/>
                  <a:gd name="T9" fmla="*/ 31 h 59"/>
                  <a:gd name="T10" fmla="*/ 0 w 64"/>
                  <a:gd name="T11" fmla="*/ 22 h 59"/>
                  <a:gd name="T12" fmla="*/ 45 w 64"/>
                  <a:gd name="T13" fmla="*/ 0 h 59"/>
                  <a:gd name="T14" fmla="*/ 50 w 64"/>
                  <a:gd name="T15" fmla="*/ 8 h 59"/>
                  <a:gd name="T16" fmla="*/ 29 w 64"/>
                  <a:gd name="T17" fmla="*/ 42 h 59"/>
                  <a:gd name="T18" fmla="*/ 59 w 64"/>
                  <a:gd name="T19" fmla="*/ 26 h 59"/>
                  <a:gd name="T20" fmla="*/ 64 w 64"/>
                  <a:gd name="T21" fmla="*/ 36 h 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64" h="59">
                    <a:moveTo>
                      <a:pt x="64" y="36"/>
                    </a:moveTo>
                    <a:lnTo>
                      <a:pt x="18" y="59"/>
                    </a:lnTo>
                    <a:lnTo>
                      <a:pt x="14" y="50"/>
                    </a:lnTo>
                    <a:lnTo>
                      <a:pt x="35" y="16"/>
                    </a:lnTo>
                    <a:lnTo>
                      <a:pt x="3" y="31"/>
                    </a:lnTo>
                    <a:lnTo>
                      <a:pt x="0" y="22"/>
                    </a:lnTo>
                    <a:lnTo>
                      <a:pt x="45" y="0"/>
                    </a:lnTo>
                    <a:lnTo>
                      <a:pt x="50" y="8"/>
                    </a:lnTo>
                    <a:lnTo>
                      <a:pt x="29" y="42"/>
                    </a:lnTo>
                    <a:lnTo>
                      <a:pt x="59" y="26"/>
                    </a:lnTo>
                    <a:lnTo>
                      <a:pt x="64" y="36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1048940" name="îślidè"/>
              <p:cNvSpPr/>
              <p:nvPr/>
            </p:nvSpPr>
            <p:spPr bwMode="auto">
              <a:xfrm>
                <a:off x="3047897" y="4877390"/>
                <a:ext cx="84138" cy="88900"/>
              </a:xfrm>
              <a:custGeom>
                <a:avLst/>
                <a:gdLst>
                  <a:gd name="T0" fmla="*/ 28 w 46"/>
                  <a:gd name="T1" fmla="*/ 21 h 48"/>
                  <a:gd name="T2" fmla="*/ 22 w 46"/>
                  <a:gd name="T3" fmla="*/ 25 h 48"/>
                  <a:gd name="T4" fmla="*/ 11 w 46"/>
                  <a:gd name="T5" fmla="*/ 9 h 48"/>
                  <a:gd name="T6" fmla="*/ 26 w 46"/>
                  <a:gd name="T7" fmla="*/ 0 h 48"/>
                  <a:gd name="T8" fmla="*/ 35 w 46"/>
                  <a:gd name="T9" fmla="*/ 4 h 48"/>
                  <a:gd name="T10" fmla="*/ 42 w 46"/>
                  <a:gd name="T11" fmla="*/ 12 h 48"/>
                  <a:gd name="T12" fmla="*/ 46 w 46"/>
                  <a:gd name="T13" fmla="*/ 24 h 48"/>
                  <a:gd name="T14" fmla="*/ 43 w 46"/>
                  <a:gd name="T15" fmla="*/ 35 h 48"/>
                  <a:gd name="T16" fmla="*/ 35 w 46"/>
                  <a:gd name="T17" fmla="*/ 43 h 48"/>
                  <a:gd name="T18" fmla="*/ 23 w 46"/>
                  <a:gd name="T19" fmla="*/ 47 h 48"/>
                  <a:gd name="T20" fmla="*/ 12 w 46"/>
                  <a:gd name="T21" fmla="*/ 45 h 48"/>
                  <a:gd name="T22" fmla="*/ 4 w 46"/>
                  <a:gd name="T23" fmla="*/ 37 h 48"/>
                  <a:gd name="T24" fmla="*/ 0 w 46"/>
                  <a:gd name="T25" fmla="*/ 24 h 48"/>
                  <a:gd name="T26" fmla="*/ 5 w 46"/>
                  <a:gd name="T27" fmla="*/ 14 h 48"/>
                  <a:gd name="T28" fmla="*/ 11 w 46"/>
                  <a:gd name="T29" fmla="*/ 21 h 48"/>
                  <a:gd name="T30" fmla="*/ 9 w 46"/>
                  <a:gd name="T31" fmla="*/ 27 h 48"/>
                  <a:gd name="T32" fmla="*/ 11 w 46"/>
                  <a:gd name="T33" fmla="*/ 33 h 48"/>
                  <a:gd name="T34" fmla="*/ 19 w 46"/>
                  <a:gd name="T35" fmla="*/ 39 h 48"/>
                  <a:gd name="T36" fmla="*/ 30 w 46"/>
                  <a:gd name="T37" fmla="*/ 36 h 48"/>
                  <a:gd name="T38" fmla="*/ 38 w 46"/>
                  <a:gd name="T39" fmla="*/ 26 h 48"/>
                  <a:gd name="T40" fmla="*/ 36 w 46"/>
                  <a:gd name="T41" fmla="*/ 17 h 48"/>
                  <a:gd name="T42" fmla="*/ 32 w 46"/>
                  <a:gd name="T43" fmla="*/ 13 h 48"/>
                  <a:gd name="T44" fmla="*/ 27 w 46"/>
                  <a:gd name="T45" fmla="*/ 10 h 48"/>
                  <a:gd name="T46" fmla="*/ 23 w 46"/>
                  <a:gd name="T47" fmla="*/ 13 h 48"/>
                  <a:gd name="T48" fmla="*/ 28 w 46"/>
                  <a:gd name="T49" fmla="*/ 21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46" h="48">
                    <a:moveTo>
                      <a:pt x="28" y="21"/>
                    </a:moveTo>
                    <a:cubicBezTo>
                      <a:pt x="22" y="25"/>
                      <a:pt x="22" y="25"/>
                      <a:pt x="22" y="25"/>
                    </a:cubicBezTo>
                    <a:cubicBezTo>
                      <a:pt x="11" y="9"/>
                      <a:pt x="11" y="9"/>
                      <a:pt x="11" y="9"/>
                    </a:cubicBezTo>
                    <a:cubicBezTo>
                      <a:pt x="26" y="0"/>
                      <a:pt x="26" y="0"/>
                      <a:pt x="26" y="0"/>
                    </a:cubicBezTo>
                    <a:cubicBezTo>
                      <a:pt x="29" y="1"/>
                      <a:pt x="31" y="2"/>
                      <a:pt x="35" y="4"/>
                    </a:cubicBezTo>
                    <a:cubicBezTo>
                      <a:pt x="38" y="6"/>
                      <a:pt x="40" y="9"/>
                      <a:pt x="42" y="12"/>
                    </a:cubicBezTo>
                    <a:cubicBezTo>
                      <a:pt x="45" y="16"/>
                      <a:pt x="46" y="20"/>
                      <a:pt x="46" y="24"/>
                    </a:cubicBezTo>
                    <a:cubicBezTo>
                      <a:pt x="46" y="28"/>
                      <a:pt x="45" y="31"/>
                      <a:pt x="43" y="35"/>
                    </a:cubicBezTo>
                    <a:cubicBezTo>
                      <a:pt x="41" y="38"/>
                      <a:pt x="38" y="41"/>
                      <a:pt x="35" y="43"/>
                    </a:cubicBezTo>
                    <a:cubicBezTo>
                      <a:pt x="31" y="46"/>
                      <a:pt x="27" y="47"/>
                      <a:pt x="23" y="47"/>
                    </a:cubicBezTo>
                    <a:cubicBezTo>
                      <a:pt x="19" y="48"/>
                      <a:pt x="15" y="47"/>
                      <a:pt x="12" y="45"/>
                    </a:cubicBezTo>
                    <a:cubicBezTo>
                      <a:pt x="9" y="43"/>
                      <a:pt x="6" y="41"/>
                      <a:pt x="4" y="37"/>
                    </a:cubicBezTo>
                    <a:cubicBezTo>
                      <a:pt x="1" y="32"/>
                      <a:pt x="0" y="28"/>
                      <a:pt x="0" y="24"/>
                    </a:cubicBezTo>
                    <a:cubicBezTo>
                      <a:pt x="0" y="21"/>
                      <a:pt x="2" y="17"/>
                      <a:pt x="5" y="14"/>
                    </a:cubicBezTo>
                    <a:cubicBezTo>
                      <a:pt x="11" y="21"/>
                      <a:pt x="11" y="21"/>
                      <a:pt x="11" y="21"/>
                    </a:cubicBezTo>
                    <a:cubicBezTo>
                      <a:pt x="10" y="23"/>
                      <a:pt x="9" y="24"/>
                      <a:pt x="9" y="27"/>
                    </a:cubicBezTo>
                    <a:cubicBezTo>
                      <a:pt x="8" y="29"/>
                      <a:pt x="9" y="31"/>
                      <a:pt x="11" y="33"/>
                    </a:cubicBezTo>
                    <a:cubicBezTo>
                      <a:pt x="13" y="36"/>
                      <a:pt x="15" y="38"/>
                      <a:pt x="19" y="39"/>
                    </a:cubicBezTo>
                    <a:cubicBezTo>
                      <a:pt x="22" y="39"/>
                      <a:pt x="26" y="38"/>
                      <a:pt x="30" y="36"/>
                    </a:cubicBezTo>
                    <a:cubicBezTo>
                      <a:pt x="34" y="33"/>
                      <a:pt x="37" y="30"/>
                      <a:pt x="38" y="26"/>
                    </a:cubicBezTo>
                    <a:cubicBezTo>
                      <a:pt x="39" y="23"/>
                      <a:pt x="38" y="20"/>
                      <a:pt x="36" y="17"/>
                    </a:cubicBezTo>
                    <a:cubicBezTo>
                      <a:pt x="35" y="15"/>
                      <a:pt x="34" y="14"/>
                      <a:pt x="32" y="13"/>
                    </a:cubicBezTo>
                    <a:cubicBezTo>
                      <a:pt x="30" y="11"/>
                      <a:pt x="29" y="10"/>
                      <a:pt x="27" y="10"/>
                    </a:cubicBezTo>
                    <a:cubicBezTo>
                      <a:pt x="23" y="13"/>
                      <a:pt x="23" y="13"/>
                      <a:pt x="23" y="13"/>
                    </a:cubicBezTo>
                    <a:lnTo>
                      <a:pt x="28" y="21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1048941" name="îŝ1ide"/>
              <p:cNvSpPr/>
              <p:nvPr/>
            </p:nvSpPr>
            <p:spPr bwMode="auto">
              <a:xfrm>
                <a:off x="1981097" y="4907553"/>
                <a:ext cx="931863" cy="969963"/>
              </a:xfrm>
              <a:custGeom>
                <a:avLst/>
                <a:gdLst>
                  <a:gd name="T0" fmla="*/ 488 w 506"/>
                  <a:gd name="T1" fmla="*/ 144 h 525"/>
                  <a:gd name="T2" fmla="*/ 449 w 506"/>
                  <a:gd name="T3" fmla="*/ 161 h 525"/>
                  <a:gd name="T4" fmla="*/ 473 w 506"/>
                  <a:gd name="T5" fmla="*/ 361 h 525"/>
                  <a:gd name="T6" fmla="*/ 434 w 506"/>
                  <a:gd name="T7" fmla="*/ 382 h 525"/>
                  <a:gd name="T8" fmla="*/ 463 w 506"/>
                  <a:gd name="T9" fmla="*/ 392 h 525"/>
                  <a:gd name="T10" fmla="*/ 434 w 506"/>
                  <a:gd name="T11" fmla="*/ 455 h 525"/>
                  <a:gd name="T12" fmla="*/ 418 w 506"/>
                  <a:gd name="T13" fmla="*/ 525 h 525"/>
                  <a:gd name="T14" fmla="*/ 328 w 506"/>
                  <a:gd name="T15" fmla="*/ 392 h 525"/>
                  <a:gd name="T16" fmla="*/ 200 w 506"/>
                  <a:gd name="T17" fmla="*/ 376 h 525"/>
                  <a:gd name="T18" fmla="*/ 179 w 506"/>
                  <a:gd name="T19" fmla="*/ 525 h 525"/>
                  <a:gd name="T20" fmla="*/ 72 w 506"/>
                  <a:gd name="T21" fmla="*/ 510 h 525"/>
                  <a:gd name="T22" fmla="*/ 44 w 506"/>
                  <a:gd name="T23" fmla="*/ 439 h 525"/>
                  <a:gd name="T24" fmla="*/ 72 w 506"/>
                  <a:gd name="T25" fmla="*/ 392 h 525"/>
                  <a:gd name="T26" fmla="*/ 57 w 506"/>
                  <a:gd name="T27" fmla="*/ 382 h 525"/>
                  <a:gd name="T28" fmla="*/ 18 w 506"/>
                  <a:gd name="T29" fmla="*/ 161 h 525"/>
                  <a:gd name="T30" fmla="*/ 56 w 506"/>
                  <a:gd name="T31" fmla="*/ 144 h 525"/>
                  <a:gd name="T32" fmla="*/ 0 w 506"/>
                  <a:gd name="T33" fmla="*/ 21 h 525"/>
                  <a:gd name="T34" fmla="*/ 92 w 506"/>
                  <a:gd name="T35" fmla="*/ 21 h 525"/>
                  <a:gd name="T36" fmla="*/ 403 w 506"/>
                  <a:gd name="T37" fmla="*/ 82 h 525"/>
                  <a:gd name="T38" fmla="*/ 457 w 506"/>
                  <a:gd name="T39" fmla="*/ 0 h 525"/>
                  <a:gd name="T40" fmla="*/ 461 w 506"/>
                  <a:gd name="T41" fmla="*/ 82 h 525"/>
                  <a:gd name="T42" fmla="*/ 455 w 506"/>
                  <a:gd name="T43" fmla="*/ 24 h 525"/>
                  <a:gd name="T44" fmla="*/ 435 w 506"/>
                  <a:gd name="T45" fmla="*/ 82 h 525"/>
                  <a:gd name="T46" fmla="*/ 454 w 506"/>
                  <a:gd name="T47" fmla="*/ 127 h 525"/>
                  <a:gd name="T48" fmla="*/ 49 w 506"/>
                  <a:gd name="T49" fmla="*/ 112 h 525"/>
                  <a:gd name="T50" fmla="*/ 78 w 506"/>
                  <a:gd name="T51" fmla="*/ 127 h 525"/>
                  <a:gd name="T52" fmla="*/ 81 w 506"/>
                  <a:gd name="T53" fmla="*/ 161 h 525"/>
                  <a:gd name="T54" fmla="*/ 426 w 506"/>
                  <a:gd name="T55" fmla="*/ 145 h 525"/>
                  <a:gd name="T56" fmla="*/ 454 w 506"/>
                  <a:gd name="T57" fmla="*/ 127 h 525"/>
                  <a:gd name="T58" fmla="*/ 450 w 506"/>
                  <a:gd name="T59" fmla="*/ 178 h 525"/>
                  <a:gd name="T60" fmla="*/ 65 w 506"/>
                  <a:gd name="T61" fmla="*/ 335 h 525"/>
                  <a:gd name="T62" fmla="*/ 421 w 506"/>
                  <a:gd name="T63" fmla="*/ 349 h 525"/>
                  <a:gd name="T64" fmla="*/ 398 w 506"/>
                  <a:gd name="T65" fmla="*/ 490 h 525"/>
                  <a:gd name="T66" fmla="*/ 356 w 506"/>
                  <a:gd name="T67" fmla="*/ 371 h 525"/>
                  <a:gd name="T68" fmla="*/ 389 w 506"/>
                  <a:gd name="T69" fmla="*/ 496 h 525"/>
                  <a:gd name="T70" fmla="*/ 150 w 506"/>
                  <a:gd name="T71" fmla="*/ 496 h 525"/>
                  <a:gd name="T72" fmla="*/ 108 w 506"/>
                  <a:gd name="T73" fmla="*/ 371 h 525"/>
                  <a:gd name="T74" fmla="*/ 117 w 506"/>
                  <a:gd name="T75" fmla="*/ 496 h 525"/>
                  <a:gd name="T76" fmla="*/ 71 w 506"/>
                  <a:gd name="T77" fmla="*/ 82 h 525"/>
                  <a:gd name="T78" fmla="*/ 51 w 506"/>
                  <a:gd name="T79" fmla="*/ 24 h 525"/>
                  <a:gd name="T80" fmla="*/ 45 w 506"/>
                  <a:gd name="T81" fmla="*/ 82 h 5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506" h="525">
                    <a:moveTo>
                      <a:pt x="506" y="21"/>
                    </a:moveTo>
                    <a:cubicBezTo>
                      <a:pt x="488" y="144"/>
                      <a:pt x="488" y="144"/>
                      <a:pt x="488" y="144"/>
                    </a:cubicBezTo>
                    <a:cubicBezTo>
                      <a:pt x="450" y="144"/>
                      <a:pt x="450" y="144"/>
                      <a:pt x="450" y="144"/>
                    </a:cubicBezTo>
                    <a:cubicBezTo>
                      <a:pt x="449" y="161"/>
                      <a:pt x="449" y="161"/>
                      <a:pt x="449" y="161"/>
                    </a:cubicBezTo>
                    <a:cubicBezTo>
                      <a:pt x="488" y="161"/>
                      <a:pt x="488" y="161"/>
                      <a:pt x="488" y="161"/>
                    </a:cubicBezTo>
                    <a:cubicBezTo>
                      <a:pt x="473" y="361"/>
                      <a:pt x="473" y="361"/>
                      <a:pt x="473" y="361"/>
                    </a:cubicBezTo>
                    <a:cubicBezTo>
                      <a:pt x="473" y="372"/>
                      <a:pt x="462" y="382"/>
                      <a:pt x="450" y="382"/>
                    </a:cubicBezTo>
                    <a:cubicBezTo>
                      <a:pt x="434" y="382"/>
                      <a:pt x="434" y="382"/>
                      <a:pt x="434" y="382"/>
                    </a:cubicBezTo>
                    <a:cubicBezTo>
                      <a:pt x="434" y="392"/>
                      <a:pt x="434" y="392"/>
                      <a:pt x="434" y="392"/>
                    </a:cubicBezTo>
                    <a:cubicBezTo>
                      <a:pt x="463" y="392"/>
                      <a:pt x="463" y="392"/>
                      <a:pt x="463" y="392"/>
                    </a:cubicBezTo>
                    <a:cubicBezTo>
                      <a:pt x="463" y="439"/>
                      <a:pt x="463" y="439"/>
                      <a:pt x="463" y="439"/>
                    </a:cubicBezTo>
                    <a:cubicBezTo>
                      <a:pt x="463" y="448"/>
                      <a:pt x="450" y="455"/>
                      <a:pt x="434" y="455"/>
                    </a:cubicBezTo>
                    <a:cubicBezTo>
                      <a:pt x="434" y="510"/>
                      <a:pt x="434" y="510"/>
                      <a:pt x="434" y="510"/>
                    </a:cubicBezTo>
                    <a:cubicBezTo>
                      <a:pt x="434" y="518"/>
                      <a:pt x="427" y="525"/>
                      <a:pt x="418" y="525"/>
                    </a:cubicBezTo>
                    <a:cubicBezTo>
                      <a:pt x="328" y="525"/>
                      <a:pt x="328" y="525"/>
                      <a:pt x="328" y="525"/>
                    </a:cubicBezTo>
                    <a:cubicBezTo>
                      <a:pt x="328" y="392"/>
                      <a:pt x="328" y="392"/>
                      <a:pt x="328" y="392"/>
                    </a:cubicBezTo>
                    <a:cubicBezTo>
                      <a:pt x="328" y="383"/>
                      <a:pt x="318" y="376"/>
                      <a:pt x="307" y="376"/>
                    </a:cubicBezTo>
                    <a:cubicBezTo>
                      <a:pt x="200" y="376"/>
                      <a:pt x="200" y="376"/>
                      <a:pt x="200" y="376"/>
                    </a:cubicBezTo>
                    <a:cubicBezTo>
                      <a:pt x="188" y="376"/>
                      <a:pt x="179" y="383"/>
                      <a:pt x="179" y="392"/>
                    </a:cubicBezTo>
                    <a:cubicBezTo>
                      <a:pt x="179" y="525"/>
                      <a:pt x="179" y="525"/>
                      <a:pt x="179" y="525"/>
                    </a:cubicBezTo>
                    <a:cubicBezTo>
                      <a:pt x="89" y="525"/>
                      <a:pt x="89" y="525"/>
                      <a:pt x="89" y="525"/>
                    </a:cubicBezTo>
                    <a:cubicBezTo>
                      <a:pt x="80" y="525"/>
                      <a:pt x="72" y="518"/>
                      <a:pt x="72" y="510"/>
                    </a:cubicBezTo>
                    <a:cubicBezTo>
                      <a:pt x="72" y="455"/>
                      <a:pt x="72" y="455"/>
                      <a:pt x="72" y="455"/>
                    </a:cubicBezTo>
                    <a:cubicBezTo>
                      <a:pt x="56" y="455"/>
                      <a:pt x="44" y="448"/>
                      <a:pt x="44" y="439"/>
                    </a:cubicBezTo>
                    <a:cubicBezTo>
                      <a:pt x="44" y="392"/>
                      <a:pt x="44" y="392"/>
                      <a:pt x="44" y="392"/>
                    </a:cubicBezTo>
                    <a:cubicBezTo>
                      <a:pt x="72" y="392"/>
                      <a:pt x="72" y="392"/>
                      <a:pt x="72" y="392"/>
                    </a:cubicBezTo>
                    <a:cubicBezTo>
                      <a:pt x="72" y="382"/>
                      <a:pt x="72" y="382"/>
                      <a:pt x="72" y="382"/>
                    </a:cubicBezTo>
                    <a:cubicBezTo>
                      <a:pt x="57" y="382"/>
                      <a:pt x="57" y="382"/>
                      <a:pt x="57" y="382"/>
                    </a:cubicBezTo>
                    <a:cubicBezTo>
                      <a:pt x="44" y="382"/>
                      <a:pt x="34" y="372"/>
                      <a:pt x="34" y="361"/>
                    </a:cubicBezTo>
                    <a:cubicBezTo>
                      <a:pt x="18" y="161"/>
                      <a:pt x="18" y="161"/>
                      <a:pt x="18" y="161"/>
                    </a:cubicBezTo>
                    <a:cubicBezTo>
                      <a:pt x="58" y="161"/>
                      <a:pt x="58" y="161"/>
                      <a:pt x="58" y="161"/>
                    </a:cubicBezTo>
                    <a:cubicBezTo>
                      <a:pt x="56" y="144"/>
                      <a:pt x="56" y="144"/>
                      <a:pt x="56" y="144"/>
                    </a:cubicBezTo>
                    <a:cubicBezTo>
                      <a:pt x="18" y="144"/>
                      <a:pt x="18" y="144"/>
                      <a:pt x="18" y="144"/>
                    </a:cubicBezTo>
                    <a:cubicBezTo>
                      <a:pt x="0" y="21"/>
                      <a:pt x="0" y="21"/>
                      <a:pt x="0" y="21"/>
                    </a:cubicBezTo>
                    <a:cubicBezTo>
                      <a:pt x="2" y="7"/>
                      <a:pt x="31" y="0"/>
                      <a:pt x="49" y="0"/>
                    </a:cubicBezTo>
                    <a:cubicBezTo>
                      <a:pt x="73" y="0"/>
                      <a:pt x="80" y="3"/>
                      <a:pt x="92" y="21"/>
                    </a:cubicBezTo>
                    <a:cubicBezTo>
                      <a:pt x="103" y="82"/>
                      <a:pt x="103" y="82"/>
                      <a:pt x="103" y="82"/>
                    </a:cubicBezTo>
                    <a:cubicBezTo>
                      <a:pt x="403" y="82"/>
                      <a:pt x="403" y="82"/>
                      <a:pt x="403" y="82"/>
                    </a:cubicBezTo>
                    <a:cubicBezTo>
                      <a:pt x="415" y="21"/>
                      <a:pt x="415" y="21"/>
                      <a:pt x="415" y="21"/>
                    </a:cubicBezTo>
                    <a:cubicBezTo>
                      <a:pt x="426" y="3"/>
                      <a:pt x="433" y="0"/>
                      <a:pt x="457" y="0"/>
                    </a:cubicBezTo>
                    <a:cubicBezTo>
                      <a:pt x="475" y="0"/>
                      <a:pt x="504" y="7"/>
                      <a:pt x="506" y="21"/>
                    </a:cubicBezTo>
                    <a:close/>
                    <a:moveTo>
                      <a:pt x="461" y="82"/>
                    </a:moveTo>
                    <a:cubicBezTo>
                      <a:pt x="469" y="32"/>
                      <a:pt x="469" y="32"/>
                      <a:pt x="469" y="32"/>
                    </a:cubicBezTo>
                    <a:cubicBezTo>
                      <a:pt x="469" y="24"/>
                      <a:pt x="463" y="24"/>
                      <a:pt x="455" y="24"/>
                    </a:cubicBezTo>
                    <a:cubicBezTo>
                      <a:pt x="450" y="24"/>
                      <a:pt x="447" y="26"/>
                      <a:pt x="445" y="32"/>
                    </a:cubicBezTo>
                    <a:cubicBezTo>
                      <a:pt x="435" y="82"/>
                      <a:pt x="435" y="82"/>
                      <a:pt x="435" y="82"/>
                    </a:cubicBezTo>
                    <a:lnTo>
                      <a:pt x="461" y="82"/>
                    </a:lnTo>
                    <a:close/>
                    <a:moveTo>
                      <a:pt x="454" y="127"/>
                    </a:moveTo>
                    <a:cubicBezTo>
                      <a:pt x="457" y="112"/>
                      <a:pt x="457" y="112"/>
                      <a:pt x="457" y="112"/>
                    </a:cubicBezTo>
                    <a:cubicBezTo>
                      <a:pt x="49" y="112"/>
                      <a:pt x="49" y="112"/>
                      <a:pt x="49" y="112"/>
                    </a:cubicBezTo>
                    <a:cubicBezTo>
                      <a:pt x="52" y="127"/>
                      <a:pt x="52" y="127"/>
                      <a:pt x="52" y="127"/>
                    </a:cubicBezTo>
                    <a:cubicBezTo>
                      <a:pt x="78" y="127"/>
                      <a:pt x="78" y="127"/>
                      <a:pt x="78" y="127"/>
                    </a:cubicBezTo>
                    <a:cubicBezTo>
                      <a:pt x="80" y="145"/>
                      <a:pt x="80" y="145"/>
                      <a:pt x="80" y="145"/>
                    </a:cubicBezTo>
                    <a:cubicBezTo>
                      <a:pt x="81" y="161"/>
                      <a:pt x="81" y="161"/>
                      <a:pt x="81" y="161"/>
                    </a:cubicBezTo>
                    <a:cubicBezTo>
                      <a:pt x="425" y="161"/>
                      <a:pt x="425" y="161"/>
                      <a:pt x="425" y="161"/>
                    </a:cubicBezTo>
                    <a:cubicBezTo>
                      <a:pt x="426" y="145"/>
                      <a:pt x="426" y="145"/>
                      <a:pt x="426" y="145"/>
                    </a:cubicBezTo>
                    <a:cubicBezTo>
                      <a:pt x="428" y="127"/>
                      <a:pt x="428" y="127"/>
                      <a:pt x="428" y="127"/>
                    </a:cubicBezTo>
                    <a:lnTo>
                      <a:pt x="454" y="127"/>
                    </a:lnTo>
                    <a:close/>
                    <a:moveTo>
                      <a:pt x="441" y="335"/>
                    </a:moveTo>
                    <a:cubicBezTo>
                      <a:pt x="450" y="178"/>
                      <a:pt x="450" y="178"/>
                      <a:pt x="450" y="178"/>
                    </a:cubicBezTo>
                    <a:cubicBezTo>
                      <a:pt x="56" y="178"/>
                      <a:pt x="56" y="178"/>
                      <a:pt x="56" y="178"/>
                    </a:cubicBezTo>
                    <a:cubicBezTo>
                      <a:pt x="65" y="335"/>
                      <a:pt x="65" y="335"/>
                      <a:pt x="65" y="335"/>
                    </a:cubicBezTo>
                    <a:cubicBezTo>
                      <a:pt x="65" y="343"/>
                      <a:pt x="74" y="349"/>
                      <a:pt x="85" y="349"/>
                    </a:cubicBezTo>
                    <a:cubicBezTo>
                      <a:pt x="421" y="349"/>
                      <a:pt x="421" y="349"/>
                      <a:pt x="421" y="349"/>
                    </a:cubicBezTo>
                    <a:cubicBezTo>
                      <a:pt x="432" y="349"/>
                      <a:pt x="441" y="343"/>
                      <a:pt x="441" y="335"/>
                    </a:cubicBezTo>
                    <a:close/>
                    <a:moveTo>
                      <a:pt x="398" y="490"/>
                    </a:moveTo>
                    <a:cubicBezTo>
                      <a:pt x="398" y="371"/>
                      <a:pt x="398" y="371"/>
                      <a:pt x="398" y="371"/>
                    </a:cubicBezTo>
                    <a:cubicBezTo>
                      <a:pt x="356" y="371"/>
                      <a:pt x="356" y="371"/>
                      <a:pt x="356" y="371"/>
                    </a:cubicBezTo>
                    <a:cubicBezTo>
                      <a:pt x="356" y="496"/>
                      <a:pt x="356" y="496"/>
                      <a:pt x="356" y="496"/>
                    </a:cubicBezTo>
                    <a:cubicBezTo>
                      <a:pt x="389" y="496"/>
                      <a:pt x="389" y="496"/>
                      <a:pt x="389" y="496"/>
                    </a:cubicBezTo>
                    <a:cubicBezTo>
                      <a:pt x="394" y="496"/>
                      <a:pt x="398" y="496"/>
                      <a:pt x="398" y="490"/>
                    </a:cubicBezTo>
                    <a:close/>
                    <a:moveTo>
                      <a:pt x="150" y="496"/>
                    </a:moveTo>
                    <a:cubicBezTo>
                      <a:pt x="150" y="371"/>
                      <a:pt x="150" y="371"/>
                      <a:pt x="150" y="371"/>
                    </a:cubicBezTo>
                    <a:cubicBezTo>
                      <a:pt x="108" y="371"/>
                      <a:pt x="108" y="371"/>
                      <a:pt x="108" y="371"/>
                    </a:cubicBezTo>
                    <a:cubicBezTo>
                      <a:pt x="108" y="490"/>
                      <a:pt x="108" y="490"/>
                      <a:pt x="108" y="490"/>
                    </a:cubicBezTo>
                    <a:cubicBezTo>
                      <a:pt x="108" y="496"/>
                      <a:pt x="112" y="496"/>
                      <a:pt x="117" y="496"/>
                    </a:cubicBezTo>
                    <a:lnTo>
                      <a:pt x="150" y="496"/>
                    </a:lnTo>
                    <a:close/>
                    <a:moveTo>
                      <a:pt x="71" y="82"/>
                    </a:moveTo>
                    <a:cubicBezTo>
                      <a:pt x="61" y="32"/>
                      <a:pt x="61" y="32"/>
                      <a:pt x="61" y="32"/>
                    </a:cubicBezTo>
                    <a:cubicBezTo>
                      <a:pt x="60" y="26"/>
                      <a:pt x="57" y="24"/>
                      <a:pt x="51" y="24"/>
                    </a:cubicBezTo>
                    <a:cubicBezTo>
                      <a:pt x="43" y="24"/>
                      <a:pt x="37" y="24"/>
                      <a:pt x="37" y="32"/>
                    </a:cubicBezTo>
                    <a:cubicBezTo>
                      <a:pt x="45" y="82"/>
                      <a:pt x="45" y="82"/>
                      <a:pt x="45" y="82"/>
                    </a:cubicBezTo>
                    <a:lnTo>
                      <a:pt x="71" y="82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1048942" name="í$ḻíde"/>
              <p:cNvSpPr/>
              <p:nvPr/>
            </p:nvSpPr>
            <p:spPr bwMode="auto">
              <a:xfrm>
                <a:off x="2144609" y="5142503"/>
                <a:ext cx="604838" cy="31750"/>
              </a:xfrm>
              <a:prstGeom prst="rect">
                <a:avLst/>
              </a:prstGeom>
              <a:grpFill/>
              <a:ln>
                <a:noFill/>
              </a:ln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</p:grpSp>
        <p:grpSp>
          <p:nvGrpSpPr>
            <p:cNvPr id="122" name="组合 245"/>
            <p:cNvGrpSpPr/>
            <p:nvPr userDrawn="1"/>
          </p:nvGrpSpPr>
          <p:grpSpPr>
            <a:xfrm>
              <a:off x="10250573" y="283036"/>
              <a:ext cx="1640266" cy="338554"/>
              <a:chOff x="5180266" y="4756740"/>
              <a:chExt cx="5753100" cy="1187451"/>
            </a:xfrm>
            <a:solidFill>
              <a:srgbClr val="CA351C"/>
            </a:solidFill>
          </p:grpSpPr>
          <p:sp>
            <p:nvSpPr>
              <p:cNvPr id="1048943" name="ïṩļîḑê"/>
              <p:cNvSpPr/>
              <p:nvPr/>
            </p:nvSpPr>
            <p:spPr bwMode="auto">
              <a:xfrm>
                <a:off x="10319003" y="4805953"/>
                <a:ext cx="600075" cy="771525"/>
              </a:xfrm>
              <a:custGeom>
                <a:avLst/>
                <a:gdLst>
                  <a:gd name="T0" fmla="*/ 210 w 325"/>
                  <a:gd name="T1" fmla="*/ 140 h 418"/>
                  <a:gd name="T2" fmla="*/ 237 w 325"/>
                  <a:gd name="T3" fmla="*/ 155 h 418"/>
                  <a:gd name="T4" fmla="*/ 161 w 325"/>
                  <a:gd name="T5" fmla="*/ 179 h 418"/>
                  <a:gd name="T6" fmla="*/ 187 w 325"/>
                  <a:gd name="T7" fmla="*/ 68 h 418"/>
                  <a:gd name="T8" fmla="*/ 230 w 325"/>
                  <a:gd name="T9" fmla="*/ 40 h 418"/>
                  <a:gd name="T10" fmla="*/ 199 w 325"/>
                  <a:gd name="T11" fmla="*/ 85 h 418"/>
                  <a:gd name="T12" fmla="*/ 99 w 325"/>
                  <a:gd name="T13" fmla="*/ 132 h 418"/>
                  <a:gd name="T14" fmla="*/ 132 w 325"/>
                  <a:gd name="T15" fmla="*/ 83 h 418"/>
                  <a:gd name="T16" fmla="*/ 174 w 325"/>
                  <a:gd name="T17" fmla="*/ 116 h 418"/>
                  <a:gd name="T18" fmla="*/ 59 w 325"/>
                  <a:gd name="T19" fmla="*/ 198 h 418"/>
                  <a:gd name="T20" fmla="*/ 16 w 325"/>
                  <a:gd name="T21" fmla="*/ 224 h 418"/>
                  <a:gd name="T22" fmla="*/ 17 w 325"/>
                  <a:gd name="T23" fmla="*/ 314 h 418"/>
                  <a:gd name="T24" fmla="*/ 55 w 325"/>
                  <a:gd name="T25" fmla="*/ 244 h 418"/>
                  <a:gd name="T26" fmla="*/ 131 w 325"/>
                  <a:gd name="T27" fmla="*/ 194 h 418"/>
                  <a:gd name="T28" fmla="*/ 111 w 325"/>
                  <a:gd name="T29" fmla="*/ 251 h 418"/>
                  <a:gd name="T30" fmla="*/ 148 w 325"/>
                  <a:gd name="T31" fmla="*/ 246 h 418"/>
                  <a:gd name="T32" fmla="*/ 184 w 325"/>
                  <a:gd name="T33" fmla="*/ 243 h 418"/>
                  <a:gd name="T34" fmla="*/ 131 w 325"/>
                  <a:gd name="T35" fmla="*/ 281 h 418"/>
                  <a:gd name="T36" fmla="*/ 76 w 325"/>
                  <a:gd name="T37" fmla="*/ 299 h 418"/>
                  <a:gd name="T38" fmla="*/ 134 w 325"/>
                  <a:gd name="T39" fmla="*/ 334 h 418"/>
                  <a:gd name="T40" fmla="*/ 203 w 325"/>
                  <a:gd name="T41" fmla="*/ 298 h 418"/>
                  <a:gd name="T42" fmla="*/ 206 w 325"/>
                  <a:gd name="T43" fmla="*/ 350 h 418"/>
                  <a:gd name="T44" fmla="*/ 165 w 325"/>
                  <a:gd name="T45" fmla="*/ 378 h 418"/>
                  <a:gd name="T46" fmla="*/ 144 w 325"/>
                  <a:gd name="T47" fmla="*/ 410 h 418"/>
                  <a:gd name="T48" fmla="*/ 228 w 325"/>
                  <a:gd name="T49" fmla="*/ 408 h 418"/>
                  <a:gd name="T50" fmla="*/ 239 w 325"/>
                  <a:gd name="T51" fmla="*/ 307 h 418"/>
                  <a:gd name="T52" fmla="*/ 273 w 325"/>
                  <a:gd name="T53" fmla="*/ 283 h 418"/>
                  <a:gd name="T54" fmla="*/ 271 w 325"/>
                  <a:gd name="T55" fmla="*/ 239 h 418"/>
                  <a:gd name="T56" fmla="*/ 233 w 325"/>
                  <a:gd name="T57" fmla="*/ 226 h 418"/>
                  <a:gd name="T58" fmla="*/ 261 w 325"/>
                  <a:gd name="T59" fmla="*/ 181 h 418"/>
                  <a:gd name="T60" fmla="*/ 316 w 325"/>
                  <a:gd name="T61" fmla="*/ 167 h 418"/>
                  <a:gd name="T62" fmla="*/ 297 w 325"/>
                  <a:gd name="T63" fmla="*/ 119 h 418"/>
                  <a:gd name="T64" fmla="*/ 251 w 325"/>
                  <a:gd name="T65" fmla="*/ 93 h 418"/>
                  <a:gd name="T66" fmla="*/ 276 w 325"/>
                  <a:gd name="T67" fmla="*/ 34 h 418"/>
                  <a:gd name="T68" fmla="*/ 217 w 325"/>
                  <a:gd name="T69" fmla="*/ 11 h 418"/>
                  <a:gd name="T70" fmla="*/ 164 w 325"/>
                  <a:gd name="T71" fmla="*/ 29 h 418"/>
                  <a:gd name="T72" fmla="*/ 136 w 325"/>
                  <a:gd name="T73" fmla="*/ 43 h 418"/>
                  <a:gd name="T74" fmla="*/ 113 w 325"/>
                  <a:gd name="T75" fmla="*/ 21 h 418"/>
                  <a:gd name="T76" fmla="*/ 78 w 325"/>
                  <a:gd name="T77" fmla="*/ 52 h 4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325" h="418">
                    <a:moveTo>
                      <a:pt x="161" y="179"/>
                    </a:moveTo>
                    <a:cubicBezTo>
                      <a:pt x="160" y="178"/>
                      <a:pt x="188" y="143"/>
                      <a:pt x="210" y="140"/>
                    </a:cubicBezTo>
                    <a:cubicBezTo>
                      <a:pt x="232" y="137"/>
                      <a:pt x="226" y="133"/>
                      <a:pt x="238" y="138"/>
                    </a:cubicBezTo>
                    <a:cubicBezTo>
                      <a:pt x="250" y="144"/>
                      <a:pt x="252" y="148"/>
                      <a:pt x="237" y="155"/>
                    </a:cubicBezTo>
                    <a:cubicBezTo>
                      <a:pt x="222" y="162"/>
                      <a:pt x="215" y="168"/>
                      <a:pt x="196" y="171"/>
                    </a:cubicBezTo>
                    <a:cubicBezTo>
                      <a:pt x="177" y="175"/>
                      <a:pt x="163" y="181"/>
                      <a:pt x="161" y="179"/>
                    </a:cubicBezTo>
                    <a:close/>
                    <a:moveTo>
                      <a:pt x="199" y="85"/>
                    </a:moveTo>
                    <a:cubicBezTo>
                      <a:pt x="197" y="87"/>
                      <a:pt x="186" y="79"/>
                      <a:pt x="187" y="68"/>
                    </a:cubicBezTo>
                    <a:cubicBezTo>
                      <a:pt x="188" y="57"/>
                      <a:pt x="197" y="38"/>
                      <a:pt x="211" y="34"/>
                    </a:cubicBezTo>
                    <a:cubicBezTo>
                      <a:pt x="225" y="30"/>
                      <a:pt x="230" y="30"/>
                      <a:pt x="230" y="40"/>
                    </a:cubicBezTo>
                    <a:cubicBezTo>
                      <a:pt x="229" y="51"/>
                      <a:pt x="229" y="62"/>
                      <a:pt x="219" y="71"/>
                    </a:cubicBezTo>
                    <a:cubicBezTo>
                      <a:pt x="210" y="80"/>
                      <a:pt x="201" y="84"/>
                      <a:pt x="199" y="85"/>
                    </a:cubicBezTo>
                    <a:close/>
                    <a:moveTo>
                      <a:pt x="79" y="112"/>
                    </a:moveTo>
                    <a:cubicBezTo>
                      <a:pt x="79" y="113"/>
                      <a:pt x="87" y="125"/>
                      <a:pt x="99" y="132"/>
                    </a:cubicBezTo>
                    <a:cubicBezTo>
                      <a:pt x="112" y="138"/>
                      <a:pt x="119" y="135"/>
                      <a:pt x="129" y="127"/>
                    </a:cubicBezTo>
                    <a:cubicBezTo>
                      <a:pt x="139" y="118"/>
                      <a:pt x="130" y="95"/>
                      <a:pt x="132" y="83"/>
                    </a:cubicBezTo>
                    <a:cubicBezTo>
                      <a:pt x="135" y="70"/>
                      <a:pt x="136" y="73"/>
                      <a:pt x="146" y="75"/>
                    </a:cubicBezTo>
                    <a:cubicBezTo>
                      <a:pt x="156" y="76"/>
                      <a:pt x="173" y="108"/>
                      <a:pt x="174" y="116"/>
                    </a:cubicBezTo>
                    <a:cubicBezTo>
                      <a:pt x="174" y="123"/>
                      <a:pt x="170" y="123"/>
                      <a:pt x="128" y="142"/>
                    </a:cubicBezTo>
                    <a:cubicBezTo>
                      <a:pt x="86" y="161"/>
                      <a:pt x="67" y="195"/>
                      <a:pt x="59" y="198"/>
                    </a:cubicBezTo>
                    <a:cubicBezTo>
                      <a:pt x="52" y="202"/>
                      <a:pt x="55" y="191"/>
                      <a:pt x="40" y="188"/>
                    </a:cubicBezTo>
                    <a:cubicBezTo>
                      <a:pt x="26" y="186"/>
                      <a:pt x="23" y="211"/>
                      <a:pt x="16" y="224"/>
                    </a:cubicBezTo>
                    <a:cubicBezTo>
                      <a:pt x="8" y="238"/>
                      <a:pt x="5" y="266"/>
                      <a:pt x="5" y="277"/>
                    </a:cubicBezTo>
                    <a:cubicBezTo>
                      <a:pt x="5" y="288"/>
                      <a:pt x="0" y="301"/>
                      <a:pt x="17" y="314"/>
                    </a:cubicBezTo>
                    <a:cubicBezTo>
                      <a:pt x="33" y="326"/>
                      <a:pt x="49" y="311"/>
                      <a:pt x="53" y="304"/>
                    </a:cubicBezTo>
                    <a:cubicBezTo>
                      <a:pt x="57" y="298"/>
                      <a:pt x="53" y="269"/>
                      <a:pt x="55" y="244"/>
                    </a:cubicBezTo>
                    <a:cubicBezTo>
                      <a:pt x="57" y="220"/>
                      <a:pt x="89" y="204"/>
                      <a:pt x="100" y="197"/>
                    </a:cubicBezTo>
                    <a:cubicBezTo>
                      <a:pt x="115" y="189"/>
                      <a:pt x="129" y="190"/>
                      <a:pt x="131" y="194"/>
                    </a:cubicBezTo>
                    <a:cubicBezTo>
                      <a:pt x="134" y="197"/>
                      <a:pt x="119" y="214"/>
                      <a:pt x="112" y="219"/>
                    </a:cubicBezTo>
                    <a:cubicBezTo>
                      <a:pt x="105" y="224"/>
                      <a:pt x="110" y="244"/>
                      <a:pt x="111" y="251"/>
                    </a:cubicBezTo>
                    <a:cubicBezTo>
                      <a:pt x="113" y="257"/>
                      <a:pt x="111" y="260"/>
                      <a:pt x="125" y="265"/>
                    </a:cubicBezTo>
                    <a:cubicBezTo>
                      <a:pt x="142" y="271"/>
                      <a:pt x="139" y="257"/>
                      <a:pt x="148" y="246"/>
                    </a:cubicBezTo>
                    <a:cubicBezTo>
                      <a:pt x="157" y="236"/>
                      <a:pt x="163" y="224"/>
                      <a:pt x="170" y="224"/>
                    </a:cubicBezTo>
                    <a:cubicBezTo>
                      <a:pt x="177" y="224"/>
                      <a:pt x="180" y="238"/>
                      <a:pt x="184" y="243"/>
                    </a:cubicBezTo>
                    <a:cubicBezTo>
                      <a:pt x="187" y="248"/>
                      <a:pt x="189" y="257"/>
                      <a:pt x="177" y="263"/>
                    </a:cubicBezTo>
                    <a:cubicBezTo>
                      <a:pt x="165" y="269"/>
                      <a:pt x="131" y="281"/>
                      <a:pt x="131" y="281"/>
                    </a:cubicBezTo>
                    <a:cubicBezTo>
                      <a:pt x="131" y="281"/>
                      <a:pt x="112" y="284"/>
                      <a:pt x="101" y="287"/>
                    </a:cubicBezTo>
                    <a:cubicBezTo>
                      <a:pt x="90" y="289"/>
                      <a:pt x="78" y="285"/>
                      <a:pt x="76" y="299"/>
                    </a:cubicBezTo>
                    <a:cubicBezTo>
                      <a:pt x="73" y="312"/>
                      <a:pt x="78" y="305"/>
                      <a:pt x="86" y="319"/>
                    </a:cubicBezTo>
                    <a:cubicBezTo>
                      <a:pt x="94" y="333"/>
                      <a:pt x="119" y="337"/>
                      <a:pt x="134" y="334"/>
                    </a:cubicBezTo>
                    <a:cubicBezTo>
                      <a:pt x="149" y="332"/>
                      <a:pt x="157" y="324"/>
                      <a:pt x="168" y="316"/>
                    </a:cubicBezTo>
                    <a:cubicBezTo>
                      <a:pt x="178" y="308"/>
                      <a:pt x="194" y="298"/>
                      <a:pt x="203" y="298"/>
                    </a:cubicBezTo>
                    <a:cubicBezTo>
                      <a:pt x="211" y="299"/>
                      <a:pt x="211" y="311"/>
                      <a:pt x="211" y="325"/>
                    </a:cubicBezTo>
                    <a:cubicBezTo>
                      <a:pt x="211" y="339"/>
                      <a:pt x="210" y="337"/>
                      <a:pt x="206" y="350"/>
                    </a:cubicBezTo>
                    <a:cubicBezTo>
                      <a:pt x="202" y="364"/>
                      <a:pt x="199" y="368"/>
                      <a:pt x="194" y="372"/>
                    </a:cubicBezTo>
                    <a:cubicBezTo>
                      <a:pt x="189" y="377"/>
                      <a:pt x="184" y="376"/>
                      <a:pt x="165" y="378"/>
                    </a:cubicBezTo>
                    <a:cubicBezTo>
                      <a:pt x="145" y="380"/>
                      <a:pt x="131" y="393"/>
                      <a:pt x="129" y="400"/>
                    </a:cubicBezTo>
                    <a:cubicBezTo>
                      <a:pt x="128" y="407"/>
                      <a:pt x="135" y="405"/>
                      <a:pt x="144" y="410"/>
                    </a:cubicBezTo>
                    <a:cubicBezTo>
                      <a:pt x="152" y="414"/>
                      <a:pt x="163" y="416"/>
                      <a:pt x="185" y="417"/>
                    </a:cubicBezTo>
                    <a:cubicBezTo>
                      <a:pt x="208" y="418"/>
                      <a:pt x="219" y="417"/>
                      <a:pt x="228" y="408"/>
                    </a:cubicBezTo>
                    <a:cubicBezTo>
                      <a:pt x="238" y="400"/>
                      <a:pt x="240" y="373"/>
                      <a:pt x="241" y="354"/>
                    </a:cubicBezTo>
                    <a:cubicBezTo>
                      <a:pt x="243" y="335"/>
                      <a:pt x="239" y="315"/>
                      <a:pt x="239" y="307"/>
                    </a:cubicBezTo>
                    <a:cubicBezTo>
                      <a:pt x="239" y="299"/>
                      <a:pt x="239" y="297"/>
                      <a:pt x="244" y="288"/>
                    </a:cubicBezTo>
                    <a:cubicBezTo>
                      <a:pt x="249" y="280"/>
                      <a:pt x="257" y="284"/>
                      <a:pt x="273" y="283"/>
                    </a:cubicBezTo>
                    <a:cubicBezTo>
                      <a:pt x="288" y="281"/>
                      <a:pt x="286" y="270"/>
                      <a:pt x="287" y="261"/>
                    </a:cubicBezTo>
                    <a:cubicBezTo>
                      <a:pt x="288" y="251"/>
                      <a:pt x="281" y="247"/>
                      <a:pt x="271" y="239"/>
                    </a:cubicBezTo>
                    <a:cubicBezTo>
                      <a:pt x="260" y="231"/>
                      <a:pt x="250" y="236"/>
                      <a:pt x="240" y="236"/>
                    </a:cubicBezTo>
                    <a:cubicBezTo>
                      <a:pt x="230" y="236"/>
                      <a:pt x="233" y="234"/>
                      <a:pt x="233" y="226"/>
                    </a:cubicBezTo>
                    <a:cubicBezTo>
                      <a:pt x="233" y="219"/>
                      <a:pt x="238" y="215"/>
                      <a:pt x="239" y="207"/>
                    </a:cubicBezTo>
                    <a:cubicBezTo>
                      <a:pt x="241" y="200"/>
                      <a:pt x="251" y="192"/>
                      <a:pt x="261" y="181"/>
                    </a:cubicBezTo>
                    <a:cubicBezTo>
                      <a:pt x="270" y="170"/>
                      <a:pt x="276" y="175"/>
                      <a:pt x="289" y="176"/>
                    </a:cubicBezTo>
                    <a:cubicBezTo>
                      <a:pt x="302" y="176"/>
                      <a:pt x="307" y="176"/>
                      <a:pt x="316" y="167"/>
                    </a:cubicBezTo>
                    <a:cubicBezTo>
                      <a:pt x="325" y="157"/>
                      <a:pt x="318" y="138"/>
                      <a:pt x="316" y="132"/>
                    </a:cubicBezTo>
                    <a:cubicBezTo>
                      <a:pt x="315" y="125"/>
                      <a:pt x="309" y="129"/>
                      <a:pt x="297" y="119"/>
                    </a:cubicBezTo>
                    <a:cubicBezTo>
                      <a:pt x="285" y="108"/>
                      <a:pt x="274" y="111"/>
                      <a:pt x="261" y="111"/>
                    </a:cubicBezTo>
                    <a:cubicBezTo>
                      <a:pt x="248" y="111"/>
                      <a:pt x="244" y="100"/>
                      <a:pt x="251" y="93"/>
                    </a:cubicBezTo>
                    <a:cubicBezTo>
                      <a:pt x="259" y="87"/>
                      <a:pt x="265" y="77"/>
                      <a:pt x="272" y="66"/>
                    </a:cubicBezTo>
                    <a:cubicBezTo>
                      <a:pt x="278" y="55"/>
                      <a:pt x="276" y="45"/>
                      <a:pt x="276" y="34"/>
                    </a:cubicBezTo>
                    <a:cubicBezTo>
                      <a:pt x="275" y="24"/>
                      <a:pt x="264" y="20"/>
                      <a:pt x="252" y="10"/>
                    </a:cubicBezTo>
                    <a:cubicBezTo>
                      <a:pt x="240" y="0"/>
                      <a:pt x="225" y="8"/>
                      <a:pt x="217" y="11"/>
                    </a:cubicBezTo>
                    <a:cubicBezTo>
                      <a:pt x="208" y="14"/>
                      <a:pt x="196" y="20"/>
                      <a:pt x="187" y="25"/>
                    </a:cubicBezTo>
                    <a:cubicBezTo>
                      <a:pt x="178" y="30"/>
                      <a:pt x="172" y="30"/>
                      <a:pt x="164" y="29"/>
                    </a:cubicBezTo>
                    <a:cubicBezTo>
                      <a:pt x="157" y="29"/>
                      <a:pt x="150" y="29"/>
                      <a:pt x="147" y="29"/>
                    </a:cubicBezTo>
                    <a:cubicBezTo>
                      <a:pt x="144" y="29"/>
                      <a:pt x="141" y="35"/>
                      <a:pt x="136" y="43"/>
                    </a:cubicBezTo>
                    <a:cubicBezTo>
                      <a:pt x="131" y="51"/>
                      <a:pt x="126" y="47"/>
                      <a:pt x="124" y="43"/>
                    </a:cubicBezTo>
                    <a:cubicBezTo>
                      <a:pt x="121" y="38"/>
                      <a:pt x="116" y="28"/>
                      <a:pt x="113" y="21"/>
                    </a:cubicBezTo>
                    <a:cubicBezTo>
                      <a:pt x="110" y="15"/>
                      <a:pt x="97" y="18"/>
                      <a:pt x="91" y="21"/>
                    </a:cubicBezTo>
                    <a:cubicBezTo>
                      <a:pt x="84" y="25"/>
                      <a:pt x="80" y="41"/>
                      <a:pt x="78" y="52"/>
                    </a:cubicBezTo>
                    <a:cubicBezTo>
                      <a:pt x="75" y="63"/>
                      <a:pt x="78" y="111"/>
                      <a:pt x="79" y="112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1048944" name="îşḷïḍe"/>
              <p:cNvSpPr/>
              <p:nvPr/>
            </p:nvSpPr>
            <p:spPr bwMode="auto">
              <a:xfrm>
                <a:off x="9461753" y="4939303"/>
                <a:ext cx="388938" cy="534988"/>
              </a:xfrm>
              <a:custGeom>
                <a:avLst/>
                <a:gdLst>
                  <a:gd name="T0" fmla="*/ 4 w 211"/>
                  <a:gd name="T1" fmla="*/ 137 h 290"/>
                  <a:gd name="T2" fmla="*/ 41 w 211"/>
                  <a:gd name="T3" fmla="*/ 117 h 290"/>
                  <a:gd name="T4" fmla="*/ 75 w 211"/>
                  <a:gd name="T5" fmla="*/ 83 h 290"/>
                  <a:gd name="T6" fmla="*/ 82 w 211"/>
                  <a:gd name="T7" fmla="*/ 29 h 290"/>
                  <a:gd name="T8" fmla="*/ 94 w 211"/>
                  <a:gd name="T9" fmla="*/ 6 h 290"/>
                  <a:gd name="T10" fmla="*/ 126 w 211"/>
                  <a:gd name="T11" fmla="*/ 27 h 290"/>
                  <a:gd name="T12" fmla="*/ 145 w 211"/>
                  <a:gd name="T13" fmla="*/ 65 h 290"/>
                  <a:gd name="T14" fmla="*/ 170 w 211"/>
                  <a:gd name="T15" fmla="*/ 93 h 290"/>
                  <a:gd name="T16" fmla="*/ 164 w 211"/>
                  <a:gd name="T17" fmla="*/ 119 h 290"/>
                  <a:gd name="T18" fmla="*/ 127 w 211"/>
                  <a:gd name="T19" fmla="*/ 151 h 290"/>
                  <a:gd name="T20" fmla="*/ 123 w 211"/>
                  <a:gd name="T21" fmla="*/ 165 h 290"/>
                  <a:gd name="T22" fmla="*/ 181 w 211"/>
                  <a:gd name="T23" fmla="*/ 187 h 290"/>
                  <a:gd name="T24" fmla="*/ 210 w 211"/>
                  <a:gd name="T25" fmla="*/ 231 h 290"/>
                  <a:gd name="T26" fmla="*/ 202 w 211"/>
                  <a:gd name="T27" fmla="*/ 281 h 290"/>
                  <a:gd name="T28" fmla="*/ 185 w 211"/>
                  <a:gd name="T29" fmla="*/ 289 h 290"/>
                  <a:gd name="T30" fmla="*/ 162 w 211"/>
                  <a:gd name="T31" fmla="*/ 267 h 290"/>
                  <a:gd name="T32" fmla="*/ 158 w 211"/>
                  <a:gd name="T33" fmla="*/ 217 h 290"/>
                  <a:gd name="T34" fmla="*/ 134 w 211"/>
                  <a:gd name="T35" fmla="*/ 188 h 290"/>
                  <a:gd name="T36" fmla="*/ 117 w 211"/>
                  <a:gd name="T37" fmla="*/ 183 h 290"/>
                  <a:gd name="T38" fmla="*/ 105 w 211"/>
                  <a:gd name="T39" fmla="*/ 191 h 290"/>
                  <a:gd name="T40" fmla="*/ 95 w 211"/>
                  <a:gd name="T41" fmla="*/ 225 h 290"/>
                  <a:gd name="T42" fmla="*/ 92 w 211"/>
                  <a:gd name="T43" fmla="*/ 251 h 290"/>
                  <a:gd name="T44" fmla="*/ 58 w 211"/>
                  <a:gd name="T45" fmla="*/ 261 h 290"/>
                  <a:gd name="T46" fmla="*/ 37 w 211"/>
                  <a:gd name="T47" fmla="*/ 235 h 290"/>
                  <a:gd name="T48" fmla="*/ 39 w 211"/>
                  <a:gd name="T49" fmla="*/ 205 h 290"/>
                  <a:gd name="T50" fmla="*/ 45 w 211"/>
                  <a:gd name="T51" fmla="*/ 177 h 290"/>
                  <a:gd name="T52" fmla="*/ 18 w 211"/>
                  <a:gd name="T53" fmla="*/ 155 h 290"/>
                  <a:gd name="T54" fmla="*/ 0 w 211"/>
                  <a:gd name="T55" fmla="*/ 147 h 290"/>
                  <a:gd name="T56" fmla="*/ 4 w 211"/>
                  <a:gd name="T57" fmla="*/ 137 h 2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211" h="290">
                    <a:moveTo>
                      <a:pt x="4" y="137"/>
                    </a:moveTo>
                    <a:cubicBezTo>
                      <a:pt x="4" y="137"/>
                      <a:pt x="32" y="120"/>
                      <a:pt x="41" y="117"/>
                    </a:cubicBezTo>
                    <a:cubicBezTo>
                      <a:pt x="50" y="115"/>
                      <a:pt x="69" y="103"/>
                      <a:pt x="75" y="83"/>
                    </a:cubicBezTo>
                    <a:cubicBezTo>
                      <a:pt x="81" y="63"/>
                      <a:pt x="82" y="39"/>
                      <a:pt x="82" y="29"/>
                    </a:cubicBezTo>
                    <a:cubicBezTo>
                      <a:pt x="82" y="19"/>
                      <a:pt x="76" y="0"/>
                      <a:pt x="94" y="6"/>
                    </a:cubicBezTo>
                    <a:cubicBezTo>
                      <a:pt x="112" y="12"/>
                      <a:pt x="124" y="15"/>
                      <a:pt x="126" y="27"/>
                    </a:cubicBezTo>
                    <a:cubicBezTo>
                      <a:pt x="129" y="39"/>
                      <a:pt x="131" y="55"/>
                      <a:pt x="145" y="65"/>
                    </a:cubicBezTo>
                    <a:cubicBezTo>
                      <a:pt x="159" y="75"/>
                      <a:pt x="168" y="83"/>
                      <a:pt x="170" y="93"/>
                    </a:cubicBezTo>
                    <a:cubicBezTo>
                      <a:pt x="172" y="103"/>
                      <a:pt x="172" y="114"/>
                      <a:pt x="164" y="119"/>
                    </a:cubicBezTo>
                    <a:cubicBezTo>
                      <a:pt x="157" y="123"/>
                      <a:pt x="132" y="147"/>
                      <a:pt x="127" y="151"/>
                    </a:cubicBezTo>
                    <a:cubicBezTo>
                      <a:pt x="121" y="154"/>
                      <a:pt x="119" y="165"/>
                      <a:pt x="123" y="165"/>
                    </a:cubicBezTo>
                    <a:cubicBezTo>
                      <a:pt x="127" y="165"/>
                      <a:pt x="163" y="172"/>
                      <a:pt x="181" y="187"/>
                    </a:cubicBezTo>
                    <a:cubicBezTo>
                      <a:pt x="198" y="202"/>
                      <a:pt x="209" y="216"/>
                      <a:pt x="210" y="231"/>
                    </a:cubicBezTo>
                    <a:cubicBezTo>
                      <a:pt x="211" y="247"/>
                      <a:pt x="210" y="273"/>
                      <a:pt x="202" y="281"/>
                    </a:cubicBezTo>
                    <a:cubicBezTo>
                      <a:pt x="194" y="288"/>
                      <a:pt x="192" y="290"/>
                      <a:pt x="185" y="289"/>
                    </a:cubicBezTo>
                    <a:cubicBezTo>
                      <a:pt x="178" y="288"/>
                      <a:pt x="164" y="279"/>
                      <a:pt x="162" y="267"/>
                    </a:cubicBezTo>
                    <a:cubicBezTo>
                      <a:pt x="160" y="255"/>
                      <a:pt x="164" y="239"/>
                      <a:pt x="158" y="217"/>
                    </a:cubicBezTo>
                    <a:cubicBezTo>
                      <a:pt x="153" y="196"/>
                      <a:pt x="139" y="191"/>
                      <a:pt x="134" y="188"/>
                    </a:cubicBezTo>
                    <a:cubicBezTo>
                      <a:pt x="129" y="186"/>
                      <a:pt x="117" y="183"/>
                      <a:pt x="117" y="183"/>
                    </a:cubicBezTo>
                    <a:cubicBezTo>
                      <a:pt x="117" y="183"/>
                      <a:pt x="108" y="182"/>
                      <a:pt x="105" y="191"/>
                    </a:cubicBezTo>
                    <a:cubicBezTo>
                      <a:pt x="102" y="199"/>
                      <a:pt x="96" y="215"/>
                      <a:pt x="95" y="225"/>
                    </a:cubicBezTo>
                    <a:cubicBezTo>
                      <a:pt x="94" y="235"/>
                      <a:pt x="96" y="247"/>
                      <a:pt x="92" y="251"/>
                    </a:cubicBezTo>
                    <a:cubicBezTo>
                      <a:pt x="87" y="256"/>
                      <a:pt x="77" y="267"/>
                      <a:pt x="58" y="261"/>
                    </a:cubicBezTo>
                    <a:cubicBezTo>
                      <a:pt x="39" y="255"/>
                      <a:pt x="41" y="238"/>
                      <a:pt x="37" y="235"/>
                    </a:cubicBezTo>
                    <a:cubicBezTo>
                      <a:pt x="33" y="231"/>
                      <a:pt x="39" y="211"/>
                      <a:pt x="39" y="205"/>
                    </a:cubicBezTo>
                    <a:cubicBezTo>
                      <a:pt x="39" y="200"/>
                      <a:pt x="47" y="182"/>
                      <a:pt x="45" y="177"/>
                    </a:cubicBezTo>
                    <a:cubicBezTo>
                      <a:pt x="44" y="173"/>
                      <a:pt x="25" y="153"/>
                      <a:pt x="18" y="155"/>
                    </a:cubicBezTo>
                    <a:cubicBezTo>
                      <a:pt x="11" y="157"/>
                      <a:pt x="1" y="155"/>
                      <a:pt x="0" y="147"/>
                    </a:cubicBezTo>
                    <a:cubicBezTo>
                      <a:pt x="0" y="140"/>
                      <a:pt x="4" y="137"/>
                      <a:pt x="4" y="137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1048945" name="îṧļíďe"/>
              <p:cNvSpPr/>
              <p:nvPr/>
            </p:nvSpPr>
            <p:spPr bwMode="auto">
              <a:xfrm>
                <a:off x="8326691" y="4823415"/>
                <a:ext cx="746125" cy="695325"/>
              </a:xfrm>
              <a:custGeom>
                <a:avLst/>
                <a:gdLst>
                  <a:gd name="T0" fmla="*/ 159 w 405"/>
                  <a:gd name="T1" fmla="*/ 229 h 377"/>
                  <a:gd name="T2" fmla="*/ 218 w 405"/>
                  <a:gd name="T3" fmla="*/ 183 h 377"/>
                  <a:gd name="T4" fmla="*/ 234 w 405"/>
                  <a:gd name="T5" fmla="*/ 247 h 377"/>
                  <a:gd name="T6" fmla="*/ 260 w 405"/>
                  <a:gd name="T7" fmla="*/ 269 h 377"/>
                  <a:gd name="T8" fmla="*/ 209 w 405"/>
                  <a:gd name="T9" fmla="*/ 247 h 377"/>
                  <a:gd name="T10" fmla="*/ 108 w 405"/>
                  <a:gd name="T11" fmla="*/ 215 h 377"/>
                  <a:gd name="T12" fmla="*/ 73 w 405"/>
                  <a:gd name="T13" fmla="*/ 283 h 377"/>
                  <a:gd name="T14" fmla="*/ 43 w 405"/>
                  <a:gd name="T15" fmla="*/ 350 h 377"/>
                  <a:gd name="T16" fmla="*/ 91 w 405"/>
                  <a:gd name="T17" fmla="*/ 347 h 377"/>
                  <a:gd name="T18" fmla="*/ 118 w 405"/>
                  <a:gd name="T19" fmla="*/ 372 h 377"/>
                  <a:gd name="T20" fmla="*/ 136 w 405"/>
                  <a:gd name="T21" fmla="*/ 328 h 377"/>
                  <a:gd name="T22" fmla="*/ 147 w 405"/>
                  <a:gd name="T23" fmla="*/ 265 h 377"/>
                  <a:gd name="T24" fmla="*/ 242 w 405"/>
                  <a:gd name="T25" fmla="*/ 306 h 377"/>
                  <a:gd name="T26" fmla="*/ 186 w 405"/>
                  <a:gd name="T27" fmla="*/ 337 h 377"/>
                  <a:gd name="T28" fmla="*/ 172 w 405"/>
                  <a:gd name="T29" fmla="*/ 367 h 377"/>
                  <a:gd name="T30" fmla="*/ 272 w 405"/>
                  <a:gd name="T31" fmla="*/ 328 h 377"/>
                  <a:gd name="T32" fmla="*/ 352 w 405"/>
                  <a:gd name="T33" fmla="*/ 373 h 377"/>
                  <a:gd name="T34" fmla="*/ 389 w 405"/>
                  <a:gd name="T35" fmla="*/ 333 h 377"/>
                  <a:gd name="T36" fmla="*/ 292 w 405"/>
                  <a:gd name="T37" fmla="*/ 299 h 377"/>
                  <a:gd name="T38" fmla="*/ 291 w 405"/>
                  <a:gd name="T39" fmla="*/ 217 h 377"/>
                  <a:gd name="T40" fmla="*/ 261 w 405"/>
                  <a:gd name="T41" fmla="*/ 173 h 377"/>
                  <a:gd name="T42" fmla="*/ 297 w 405"/>
                  <a:gd name="T43" fmla="*/ 107 h 377"/>
                  <a:gd name="T44" fmla="*/ 283 w 405"/>
                  <a:gd name="T45" fmla="*/ 43 h 377"/>
                  <a:gd name="T46" fmla="*/ 241 w 405"/>
                  <a:gd name="T47" fmla="*/ 1 h 377"/>
                  <a:gd name="T48" fmla="*/ 241 w 405"/>
                  <a:gd name="T49" fmla="*/ 35 h 377"/>
                  <a:gd name="T50" fmla="*/ 245 w 405"/>
                  <a:gd name="T51" fmla="*/ 97 h 377"/>
                  <a:gd name="T52" fmla="*/ 194 w 405"/>
                  <a:gd name="T53" fmla="*/ 129 h 377"/>
                  <a:gd name="T54" fmla="*/ 161 w 405"/>
                  <a:gd name="T55" fmla="*/ 121 h 377"/>
                  <a:gd name="T56" fmla="*/ 150 w 405"/>
                  <a:gd name="T57" fmla="*/ 33 h 377"/>
                  <a:gd name="T58" fmla="*/ 122 w 405"/>
                  <a:gd name="T59" fmla="*/ 56 h 377"/>
                  <a:gd name="T60" fmla="*/ 121 w 405"/>
                  <a:gd name="T61" fmla="*/ 133 h 377"/>
                  <a:gd name="T62" fmla="*/ 30 w 405"/>
                  <a:gd name="T63" fmla="*/ 180 h 377"/>
                  <a:gd name="T64" fmla="*/ 22 w 405"/>
                  <a:gd name="T65" fmla="*/ 219 h 3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405" h="377">
                    <a:moveTo>
                      <a:pt x="174" y="243"/>
                    </a:moveTo>
                    <a:cubicBezTo>
                      <a:pt x="172" y="243"/>
                      <a:pt x="154" y="236"/>
                      <a:pt x="159" y="229"/>
                    </a:cubicBezTo>
                    <a:cubicBezTo>
                      <a:pt x="163" y="221"/>
                      <a:pt x="190" y="187"/>
                      <a:pt x="199" y="183"/>
                    </a:cubicBezTo>
                    <a:cubicBezTo>
                      <a:pt x="208" y="178"/>
                      <a:pt x="215" y="172"/>
                      <a:pt x="218" y="183"/>
                    </a:cubicBezTo>
                    <a:cubicBezTo>
                      <a:pt x="221" y="193"/>
                      <a:pt x="215" y="230"/>
                      <a:pt x="220" y="236"/>
                    </a:cubicBezTo>
                    <a:cubicBezTo>
                      <a:pt x="225" y="241"/>
                      <a:pt x="227" y="248"/>
                      <a:pt x="234" y="247"/>
                    </a:cubicBezTo>
                    <a:cubicBezTo>
                      <a:pt x="241" y="246"/>
                      <a:pt x="256" y="238"/>
                      <a:pt x="260" y="245"/>
                    </a:cubicBezTo>
                    <a:cubicBezTo>
                      <a:pt x="263" y="252"/>
                      <a:pt x="268" y="259"/>
                      <a:pt x="260" y="269"/>
                    </a:cubicBezTo>
                    <a:cubicBezTo>
                      <a:pt x="253" y="278"/>
                      <a:pt x="247" y="281"/>
                      <a:pt x="239" y="274"/>
                    </a:cubicBezTo>
                    <a:cubicBezTo>
                      <a:pt x="230" y="267"/>
                      <a:pt x="221" y="250"/>
                      <a:pt x="209" y="247"/>
                    </a:cubicBezTo>
                    <a:cubicBezTo>
                      <a:pt x="198" y="245"/>
                      <a:pt x="176" y="243"/>
                      <a:pt x="174" y="243"/>
                    </a:cubicBezTo>
                    <a:close/>
                    <a:moveTo>
                      <a:pt x="108" y="215"/>
                    </a:moveTo>
                    <a:cubicBezTo>
                      <a:pt x="109" y="216"/>
                      <a:pt x="102" y="238"/>
                      <a:pt x="93" y="254"/>
                    </a:cubicBezTo>
                    <a:cubicBezTo>
                      <a:pt x="84" y="271"/>
                      <a:pt x="81" y="271"/>
                      <a:pt x="73" y="283"/>
                    </a:cubicBezTo>
                    <a:cubicBezTo>
                      <a:pt x="65" y="295"/>
                      <a:pt x="45" y="309"/>
                      <a:pt x="44" y="316"/>
                    </a:cubicBezTo>
                    <a:cubicBezTo>
                      <a:pt x="43" y="323"/>
                      <a:pt x="41" y="343"/>
                      <a:pt x="43" y="350"/>
                    </a:cubicBezTo>
                    <a:cubicBezTo>
                      <a:pt x="44" y="357"/>
                      <a:pt x="61" y="358"/>
                      <a:pt x="69" y="357"/>
                    </a:cubicBezTo>
                    <a:cubicBezTo>
                      <a:pt x="77" y="355"/>
                      <a:pt x="84" y="347"/>
                      <a:pt x="91" y="347"/>
                    </a:cubicBezTo>
                    <a:cubicBezTo>
                      <a:pt x="98" y="347"/>
                      <a:pt x="96" y="355"/>
                      <a:pt x="97" y="361"/>
                    </a:cubicBezTo>
                    <a:cubicBezTo>
                      <a:pt x="97" y="366"/>
                      <a:pt x="101" y="368"/>
                      <a:pt x="118" y="372"/>
                    </a:cubicBezTo>
                    <a:cubicBezTo>
                      <a:pt x="136" y="377"/>
                      <a:pt x="140" y="364"/>
                      <a:pt x="144" y="352"/>
                    </a:cubicBezTo>
                    <a:cubicBezTo>
                      <a:pt x="148" y="339"/>
                      <a:pt x="140" y="339"/>
                      <a:pt x="136" y="328"/>
                    </a:cubicBezTo>
                    <a:cubicBezTo>
                      <a:pt x="133" y="316"/>
                      <a:pt x="136" y="302"/>
                      <a:pt x="136" y="292"/>
                    </a:cubicBezTo>
                    <a:cubicBezTo>
                      <a:pt x="135" y="281"/>
                      <a:pt x="141" y="272"/>
                      <a:pt x="147" y="265"/>
                    </a:cubicBezTo>
                    <a:cubicBezTo>
                      <a:pt x="153" y="258"/>
                      <a:pt x="160" y="248"/>
                      <a:pt x="186" y="258"/>
                    </a:cubicBezTo>
                    <a:cubicBezTo>
                      <a:pt x="212" y="267"/>
                      <a:pt x="239" y="298"/>
                      <a:pt x="242" y="306"/>
                    </a:cubicBezTo>
                    <a:cubicBezTo>
                      <a:pt x="245" y="313"/>
                      <a:pt x="232" y="318"/>
                      <a:pt x="227" y="325"/>
                    </a:cubicBezTo>
                    <a:cubicBezTo>
                      <a:pt x="222" y="332"/>
                      <a:pt x="196" y="338"/>
                      <a:pt x="186" y="337"/>
                    </a:cubicBezTo>
                    <a:cubicBezTo>
                      <a:pt x="175" y="336"/>
                      <a:pt x="172" y="344"/>
                      <a:pt x="167" y="348"/>
                    </a:cubicBezTo>
                    <a:cubicBezTo>
                      <a:pt x="162" y="351"/>
                      <a:pt x="167" y="361"/>
                      <a:pt x="172" y="367"/>
                    </a:cubicBezTo>
                    <a:cubicBezTo>
                      <a:pt x="177" y="373"/>
                      <a:pt x="211" y="373"/>
                      <a:pt x="224" y="364"/>
                    </a:cubicBezTo>
                    <a:cubicBezTo>
                      <a:pt x="237" y="354"/>
                      <a:pt x="272" y="328"/>
                      <a:pt x="272" y="328"/>
                    </a:cubicBezTo>
                    <a:cubicBezTo>
                      <a:pt x="272" y="328"/>
                      <a:pt x="285" y="340"/>
                      <a:pt x="293" y="348"/>
                    </a:cubicBezTo>
                    <a:cubicBezTo>
                      <a:pt x="301" y="357"/>
                      <a:pt x="319" y="369"/>
                      <a:pt x="352" y="373"/>
                    </a:cubicBezTo>
                    <a:cubicBezTo>
                      <a:pt x="385" y="377"/>
                      <a:pt x="398" y="356"/>
                      <a:pt x="401" y="352"/>
                    </a:cubicBezTo>
                    <a:cubicBezTo>
                      <a:pt x="405" y="348"/>
                      <a:pt x="399" y="342"/>
                      <a:pt x="389" y="333"/>
                    </a:cubicBezTo>
                    <a:cubicBezTo>
                      <a:pt x="379" y="323"/>
                      <a:pt x="353" y="312"/>
                      <a:pt x="337" y="313"/>
                    </a:cubicBezTo>
                    <a:cubicBezTo>
                      <a:pt x="321" y="315"/>
                      <a:pt x="303" y="305"/>
                      <a:pt x="292" y="299"/>
                    </a:cubicBezTo>
                    <a:cubicBezTo>
                      <a:pt x="282" y="293"/>
                      <a:pt x="287" y="293"/>
                      <a:pt x="291" y="277"/>
                    </a:cubicBezTo>
                    <a:cubicBezTo>
                      <a:pt x="295" y="261"/>
                      <a:pt x="294" y="231"/>
                      <a:pt x="291" y="217"/>
                    </a:cubicBezTo>
                    <a:cubicBezTo>
                      <a:pt x="287" y="204"/>
                      <a:pt x="269" y="200"/>
                      <a:pt x="264" y="192"/>
                    </a:cubicBezTo>
                    <a:cubicBezTo>
                      <a:pt x="258" y="184"/>
                      <a:pt x="251" y="180"/>
                      <a:pt x="261" y="173"/>
                    </a:cubicBezTo>
                    <a:cubicBezTo>
                      <a:pt x="272" y="166"/>
                      <a:pt x="282" y="146"/>
                      <a:pt x="290" y="135"/>
                    </a:cubicBezTo>
                    <a:cubicBezTo>
                      <a:pt x="298" y="123"/>
                      <a:pt x="305" y="117"/>
                      <a:pt x="297" y="107"/>
                    </a:cubicBezTo>
                    <a:cubicBezTo>
                      <a:pt x="289" y="97"/>
                      <a:pt x="283" y="94"/>
                      <a:pt x="281" y="86"/>
                    </a:cubicBezTo>
                    <a:cubicBezTo>
                      <a:pt x="280" y="79"/>
                      <a:pt x="283" y="57"/>
                      <a:pt x="283" y="43"/>
                    </a:cubicBezTo>
                    <a:cubicBezTo>
                      <a:pt x="283" y="29"/>
                      <a:pt x="285" y="30"/>
                      <a:pt x="272" y="15"/>
                    </a:cubicBezTo>
                    <a:cubicBezTo>
                      <a:pt x="260" y="0"/>
                      <a:pt x="248" y="2"/>
                      <a:pt x="241" y="1"/>
                    </a:cubicBezTo>
                    <a:cubicBezTo>
                      <a:pt x="235" y="0"/>
                      <a:pt x="231" y="21"/>
                      <a:pt x="233" y="26"/>
                    </a:cubicBezTo>
                    <a:cubicBezTo>
                      <a:pt x="235" y="31"/>
                      <a:pt x="239" y="31"/>
                      <a:pt x="241" y="35"/>
                    </a:cubicBezTo>
                    <a:cubicBezTo>
                      <a:pt x="242" y="39"/>
                      <a:pt x="239" y="36"/>
                      <a:pt x="243" y="53"/>
                    </a:cubicBezTo>
                    <a:cubicBezTo>
                      <a:pt x="247" y="70"/>
                      <a:pt x="245" y="91"/>
                      <a:pt x="245" y="97"/>
                    </a:cubicBezTo>
                    <a:cubicBezTo>
                      <a:pt x="245" y="103"/>
                      <a:pt x="240" y="107"/>
                      <a:pt x="234" y="114"/>
                    </a:cubicBezTo>
                    <a:cubicBezTo>
                      <a:pt x="228" y="121"/>
                      <a:pt x="206" y="123"/>
                      <a:pt x="194" y="129"/>
                    </a:cubicBezTo>
                    <a:cubicBezTo>
                      <a:pt x="181" y="135"/>
                      <a:pt x="179" y="146"/>
                      <a:pt x="170" y="149"/>
                    </a:cubicBezTo>
                    <a:cubicBezTo>
                      <a:pt x="161" y="151"/>
                      <a:pt x="157" y="138"/>
                      <a:pt x="161" y="121"/>
                    </a:cubicBezTo>
                    <a:cubicBezTo>
                      <a:pt x="164" y="109"/>
                      <a:pt x="168" y="79"/>
                      <a:pt x="168" y="64"/>
                    </a:cubicBezTo>
                    <a:cubicBezTo>
                      <a:pt x="167" y="54"/>
                      <a:pt x="158" y="40"/>
                      <a:pt x="150" y="33"/>
                    </a:cubicBezTo>
                    <a:cubicBezTo>
                      <a:pt x="142" y="25"/>
                      <a:pt x="136" y="30"/>
                      <a:pt x="131" y="32"/>
                    </a:cubicBezTo>
                    <a:cubicBezTo>
                      <a:pt x="126" y="35"/>
                      <a:pt x="120" y="43"/>
                      <a:pt x="122" y="56"/>
                    </a:cubicBezTo>
                    <a:cubicBezTo>
                      <a:pt x="124" y="70"/>
                      <a:pt x="127" y="72"/>
                      <a:pt x="127" y="82"/>
                    </a:cubicBezTo>
                    <a:cubicBezTo>
                      <a:pt x="128" y="92"/>
                      <a:pt x="124" y="113"/>
                      <a:pt x="121" y="133"/>
                    </a:cubicBezTo>
                    <a:cubicBezTo>
                      <a:pt x="117" y="152"/>
                      <a:pt x="104" y="151"/>
                      <a:pt x="90" y="158"/>
                    </a:cubicBezTo>
                    <a:cubicBezTo>
                      <a:pt x="76" y="165"/>
                      <a:pt x="48" y="175"/>
                      <a:pt x="30" y="180"/>
                    </a:cubicBezTo>
                    <a:cubicBezTo>
                      <a:pt x="13" y="184"/>
                      <a:pt x="0" y="191"/>
                      <a:pt x="0" y="200"/>
                    </a:cubicBezTo>
                    <a:cubicBezTo>
                      <a:pt x="0" y="209"/>
                      <a:pt x="9" y="210"/>
                      <a:pt x="22" y="219"/>
                    </a:cubicBezTo>
                    <a:cubicBezTo>
                      <a:pt x="35" y="228"/>
                      <a:pt x="107" y="215"/>
                      <a:pt x="108" y="215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1048946" name="íŝļïḓè"/>
              <p:cNvSpPr/>
              <p:nvPr/>
            </p:nvSpPr>
            <p:spPr bwMode="auto">
              <a:xfrm>
                <a:off x="6220078" y="4756740"/>
                <a:ext cx="627063" cy="793750"/>
              </a:xfrm>
              <a:custGeom>
                <a:avLst/>
                <a:gdLst>
                  <a:gd name="T0" fmla="*/ 194 w 340"/>
                  <a:gd name="T1" fmla="*/ 225 h 430"/>
                  <a:gd name="T2" fmla="*/ 189 w 340"/>
                  <a:gd name="T3" fmla="*/ 204 h 430"/>
                  <a:gd name="T4" fmla="*/ 222 w 340"/>
                  <a:gd name="T5" fmla="*/ 196 h 430"/>
                  <a:gd name="T6" fmla="*/ 234 w 340"/>
                  <a:gd name="T7" fmla="*/ 215 h 430"/>
                  <a:gd name="T8" fmla="*/ 217 w 340"/>
                  <a:gd name="T9" fmla="*/ 231 h 430"/>
                  <a:gd name="T10" fmla="*/ 194 w 340"/>
                  <a:gd name="T11" fmla="*/ 225 h 430"/>
                  <a:gd name="T12" fmla="*/ 33 w 340"/>
                  <a:gd name="T13" fmla="*/ 228 h 430"/>
                  <a:gd name="T14" fmla="*/ 67 w 340"/>
                  <a:gd name="T15" fmla="*/ 224 h 430"/>
                  <a:gd name="T16" fmla="*/ 105 w 340"/>
                  <a:gd name="T17" fmla="*/ 194 h 430"/>
                  <a:gd name="T18" fmla="*/ 164 w 340"/>
                  <a:gd name="T19" fmla="*/ 151 h 430"/>
                  <a:gd name="T20" fmla="*/ 170 w 340"/>
                  <a:gd name="T21" fmla="*/ 163 h 430"/>
                  <a:gd name="T22" fmla="*/ 144 w 340"/>
                  <a:gd name="T23" fmla="*/ 203 h 430"/>
                  <a:gd name="T24" fmla="*/ 142 w 340"/>
                  <a:gd name="T25" fmla="*/ 250 h 430"/>
                  <a:gd name="T26" fmla="*/ 166 w 340"/>
                  <a:gd name="T27" fmla="*/ 278 h 430"/>
                  <a:gd name="T28" fmla="*/ 170 w 340"/>
                  <a:gd name="T29" fmla="*/ 300 h 430"/>
                  <a:gd name="T30" fmla="*/ 132 w 340"/>
                  <a:gd name="T31" fmla="*/ 347 h 430"/>
                  <a:gd name="T32" fmla="*/ 133 w 340"/>
                  <a:gd name="T33" fmla="*/ 397 h 430"/>
                  <a:gd name="T34" fmla="*/ 181 w 340"/>
                  <a:gd name="T35" fmla="*/ 410 h 430"/>
                  <a:gd name="T36" fmla="*/ 184 w 340"/>
                  <a:gd name="T37" fmla="*/ 375 h 430"/>
                  <a:gd name="T38" fmla="*/ 198 w 340"/>
                  <a:gd name="T39" fmla="*/ 374 h 430"/>
                  <a:gd name="T40" fmla="*/ 215 w 340"/>
                  <a:gd name="T41" fmla="*/ 416 h 430"/>
                  <a:gd name="T42" fmla="*/ 240 w 340"/>
                  <a:gd name="T43" fmla="*/ 406 h 430"/>
                  <a:gd name="T44" fmla="*/ 230 w 340"/>
                  <a:gd name="T45" fmla="*/ 341 h 430"/>
                  <a:gd name="T46" fmla="*/ 250 w 340"/>
                  <a:gd name="T47" fmla="*/ 322 h 430"/>
                  <a:gd name="T48" fmla="*/ 268 w 340"/>
                  <a:gd name="T49" fmla="*/ 373 h 430"/>
                  <a:gd name="T50" fmla="*/ 316 w 340"/>
                  <a:gd name="T51" fmla="*/ 385 h 430"/>
                  <a:gd name="T52" fmla="*/ 295 w 340"/>
                  <a:gd name="T53" fmla="*/ 310 h 430"/>
                  <a:gd name="T54" fmla="*/ 263 w 340"/>
                  <a:gd name="T55" fmla="*/ 288 h 430"/>
                  <a:gd name="T56" fmla="*/ 264 w 340"/>
                  <a:gd name="T57" fmla="*/ 259 h 430"/>
                  <a:gd name="T58" fmla="*/ 265 w 340"/>
                  <a:gd name="T59" fmla="*/ 233 h 430"/>
                  <a:gd name="T60" fmla="*/ 300 w 340"/>
                  <a:gd name="T61" fmla="*/ 199 h 430"/>
                  <a:gd name="T62" fmla="*/ 275 w 340"/>
                  <a:gd name="T63" fmla="*/ 161 h 430"/>
                  <a:gd name="T64" fmla="*/ 217 w 340"/>
                  <a:gd name="T65" fmla="*/ 159 h 430"/>
                  <a:gd name="T66" fmla="*/ 270 w 340"/>
                  <a:gd name="T67" fmla="*/ 132 h 430"/>
                  <a:gd name="T68" fmla="*/ 316 w 340"/>
                  <a:gd name="T69" fmla="*/ 126 h 430"/>
                  <a:gd name="T70" fmla="*/ 332 w 340"/>
                  <a:gd name="T71" fmla="*/ 110 h 430"/>
                  <a:gd name="T72" fmla="*/ 321 w 340"/>
                  <a:gd name="T73" fmla="*/ 75 h 430"/>
                  <a:gd name="T74" fmla="*/ 256 w 340"/>
                  <a:gd name="T75" fmla="*/ 74 h 430"/>
                  <a:gd name="T76" fmla="*/ 240 w 340"/>
                  <a:gd name="T77" fmla="*/ 51 h 430"/>
                  <a:gd name="T78" fmla="*/ 212 w 340"/>
                  <a:gd name="T79" fmla="*/ 9 h 430"/>
                  <a:gd name="T80" fmla="*/ 190 w 340"/>
                  <a:gd name="T81" fmla="*/ 6 h 430"/>
                  <a:gd name="T82" fmla="*/ 174 w 340"/>
                  <a:gd name="T83" fmla="*/ 34 h 430"/>
                  <a:gd name="T84" fmla="*/ 183 w 340"/>
                  <a:gd name="T85" fmla="*/ 70 h 430"/>
                  <a:gd name="T86" fmla="*/ 172 w 340"/>
                  <a:gd name="T87" fmla="*/ 98 h 430"/>
                  <a:gd name="T88" fmla="*/ 65 w 340"/>
                  <a:gd name="T89" fmla="*/ 161 h 430"/>
                  <a:gd name="T90" fmla="*/ 21 w 340"/>
                  <a:gd name="T91" fmla="*/ 171 h 430"/>
                  <a:gd name="T92" fmla="*/ 10 w 340"/>
                  <a:gd name="T93" fmla="*/ 198 h 430"/>
                  <a:gd name="T94" fmla="*/ 33 w 340"/>
                  <a:gd name="T95" fmla="*/ 228 h 4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340" h="430">
                    <a:moveTo>
                      <a:pt x="194" y="225"/>
                    </a:moveTo>
                    <a:cubicBezTo>
                      <a:pt x="194" y="225"/>
                      <a:pt x="178" y="212"/>
                      <a:pt x="189" y="204"/>
                    </a:cubicBezTo>
                    <a:cubicBezTo>
                      <a:pt x="201" y="196"/>
                      <a:pt x="211" y="188"/>
                      <a:pt x="222" y="196"/>
                    </a:cubicBezTo>
                    <a:cubicBezTo>
                      <a:pt x="234" y="203"/>
                      <a:pt x="238" y="207"/>
                      <a:pt x="234" y="215"/>
                    </a:cubicBezTo>
                    <a:cubicBezTo>
                      <a:pt x="230" y="222"/>
                      <a:pt x="228" y="229"/>
                      <a:pt x="217" y="231"/>
                    </a:cubicBezTo>
                    <a:cubicBezTo>
                      <a:pt x="204" y="230"/>
                      <a:pt x="194" y="225"/>
                      <a:pt x="194" y="225"/>
                    </a:cubicBezTo>
                    <a:close/>
                    <a:moveTo>
                      <a:pt x="33" y="228"/>
                    </a:moveTo>
                    <a:cubicBezTo>
                      <a:pt x="40" y="229"/>
                      <a:pt x="52" y="231"/>
                      <a:pt x="67" y="224"/>
                    </a:cubicBezTo>
                    <a:cubicBezTo>
                      <a:pt x="82" y="216"/>
                      <a:pt x="91" y="208"/>
                      <a:pt x="105" y="194"/>
                    </a:cubicBezTo>
                    <a:cubicBezTo>
                      <a:pt x="119" y="180"/>
                      <a:pt x="153" y="155"/>
                      <a:pt x="164" y="151"/>
                    </a:cubicBezTo>
                    <a:cubicBezTo>
                      <a:pt x="176" y="146"/>
                      <a:pt x="176" y="155"/>
                      <a:pt x="170" y="163"/>
                    </a:cubicBezTo>
                    <a:cubicBezTo>
                      <a:pt x="164" y="171"/>
                      <a:pt x="150" y="188"/>
                      <a:pt x="144" y="203"/>
                    </a:cubicBezTo>
                    <a:cubicBezTo>
                      <a:pt x="139" y="218"/>
                      <a:pt x="134" y="224"/>
                      <a:pt x="142" y="250"/>
                    </a:cubicBezTo>
                    <a:cubicBezTo>
                      <a:pt x="149" y="275"/>
                      <a:pt x="160" y="275"/>
                      <a:pt x="166" y="278"/>
                    </a:cubicBezTo>
                    <a:cubicBezTo>
                      <a:pt x="172" y="281"/>
                      <a:pt x="176" y="301"/>
                      <a:pt x="170" y="300"/>
                    </a:cubicBezTo>
                    <a:cubicBezTo>
                      <a:pt x="164" y="299"/>
                      <a:pt x="136" y="327"/>
                      <a:pt x="132" y="347"/>
                    </a:cubicBezTo>
                    <a:cubicBezTo>
                      <a:pt x="127" y="366"/>
                      <a:pt x="123" y="375"/>
                      <a:pt x="133" y="397"/>
                    </a:cubicBezTo>
                    <a:cubicBezTo>
                      <a:pt x="144" y="419"/>
                      <a:pt x="174" y="413"/>
                      <a:pt x="181" y="410"/>
                    </a:cubicBezTo>
                    <a:cubicBezTo>
                      <a:pt x="189" y="407"/>
                      <a:pt x="185" y="395"/>
                      <a:pt x="184" y="375"/>
                    </a:cubicBezTo>
                    <a:cubicBezTo>
                      <a:pt x="182" y="355"/>
                      <a:pt x="192" y="364"/>
                      <a:pt x="198" y="374"/>
                    </a:cubicBezTo>
                    <a:cubicBezTo>
                      <a:pt x="204" y="384"/>
                      <a:pt x="203" y="402"/>
                      <a:pt x="215" y="416"/>
                    </a:cubicBezTo>
                    <a:cubicBezTo>
                      <a:pt x="226" y="430"/>
                      <a:pt x="235" y="419"/>
                      <a:pt x="240" y="406"/>
                    </a:cubicBezTo>
                    <a:cubicBezTo>
                      <a:pt x="245" y="393"/>
                      <a:pt x="232" y="357"/>
                      <a:pt x="230" y="341"/>
                    </a:cubicBezTo>
                    <a:cubicBezTo>
                      <a:pt x="229" y="326"/>
                      <a:pt x="238" y="322"/>
                      <a:pt x="250" y="322"/>
                    </a:cubicBezTo>
                    <a:cubicBezTo>
                      <a:pt x="262" y="322"/>
                      <a:pt x="248" y="347"/>
                      <a:pt x="268" y="373"/>
                    </a:cubicBezTo>
                    <a:cubicBezTo>
                      <a:pt x="287" y="399"/>
                      <a:pt x="292" y="396"/>
                      <a:pt x="316" y="385"/>
                    </a:cubicBezTo>
                    <a:cubicBezTo>
                      <a:pt x="340" y="375"/>
                      <a:pt x="311" y="327"/>
                      <a:pt x="295" y="310"/>
                    </a:cubicBezTo>
                    <a:cubicBezTo>
                      <a:pt x="279" y="294"/>
                      <a:pt x="263" y="294"/>
                      <a:pt x="263" y="288"/>
                    </a:cubicBezTo>
                    <a:cubicBezTo>
                      <a:pt x="263" y="282"/>
                      <a:pt x="266" y="267"/>
                      <a:pt x="264" y="259"/>
                    </a:cubicBezTo>
                    <a:cubicBezTo>
                      <a:pt x="262" y="251"/>
                      <a:pt x="258" y="239"/>
                      <a:pt x="265" y="233"/>
                    </a:cubicBezTo>
                    <a:cubicBezTo>
                      <a:pt x="273" y="226"/>
                      <a:pt x="301" y="222"/>
                      <a:pt x="300" y="199"/>
                    </a:cubicBezTo>
                    <a:cubicBezTo>
                      <a:pt x="299" y="177"/>
                      <a:pt x="294" y="175"/>
                      <a:pt x="275" y="161"/>
                    </a:cubicBezTo>
                    <a:cubicBezTo>
                      <a:pt x="257" y="148"/>
                      <a:pt x="216" y="168"/>
                      <a:pt x="217" y="159"/>
                    </a:cubicBezTo>
                    <a:cubicBezTo>
                      <a:pt x="218" y="150"/>
                      <a:pt x="250" y="138"/>
                      <a:pt x="270" y="132"/>
                    </a:cubicBezTo>
                    <a:cubicBezTo>
                      <a:pt x="290" y="125"/>
                      <a:pt x="306" y="126"/>
                      <a:pt x="316" y="126"/>
                    </a:cubicBezTo>
                    <a:cubicBezTo>
                      <a:pt x="326" y="126"/>
                      <a:pt x="326" y="118"/>
                      <a:pt x="332" y="110"/>
                    </a:cubicBezTo>
                    <a:cubicBezTo>
                      <a:pt x="337" y="102"/>
                      <a:pt x="334" y="88"/>
                      <a:pt x="321" y="75"/>
                    </a:cubicBezTo>
                    <a:cubicBezTo>
                      <a:pt x="308" y="61"/>
                      <a:pt x="263" y="74"/>
                      <a:pt x="256" y="74"/>
                    </a:cubicBezTo>
                    <a:cubicBezTo>
                      <a:pt x="250" y="74"/>
                      <a:pt x="250" y="63"/>
                      <a:pt x="240" y="51"/>
                    </a:cubicBezTo>
                    <a:cubicBezTo>
                      <a:pt x="229" y="38"/>
                      <a:pt x="220" y="18"/>
                      <a:pt x="212" y="9"/>
                    </a:cubicBezTo>
                    <a:cubicBezTo>
                      <a:pt x="205" y="0"/>
                      <a:pt x="203" y="8"/>
                      <a:pt x="190" y="6"/>
                    </a:cubicBezTo>
                    <a:cubicBezTo>
                      <a:pt x="176" y="3"/>
                      <a:pt x="165" y="15"/>
                      <a:pt x="174" y="34"/>
                    </a:cubicBezTo>
                    <a:cubicBezTo>
                      <a:pt x="183" y="53"/>
                      <a:pt x="183" y="56"/>
                      <a:pt x="183" y="70"/>
                    </a:cubicBezTo>
                    <a:cubicBezTo>
                      <a:pt x="183" y="84"/>
                      <a:pt x="197" y="88"/>
                      <a:pt x="172" y="98"/>
                    </a:cubicBezTo>
                    <a:cubicBezTo>
                      <a:pt x="147" y="108"/>
                      <a:pt x="75" y="152"/>
                      <a:pt x="65" y="161"/>
                    </a:cubicBezTo>
                    <a:cubicBezTo>
                      <a:pt x="55" y="170"/>
                      <a:pt x="26" y="169"/>
                      <a:pt x="21" y="171"/>
                    </a:cubicBezTo>
                    <a:cubicBezTo>
                      <a:pt x="15" y="173"/>
                      <a:pt x="0" y="170"/>
                      <a:pt x="10" y="198"/>
                    </a:cubicBezTo>
                    <a:cubicBezTo>
                      <a:pt x="24" y="238"/>
                      <a:pt x="26" y="227"/>
                      <a:pt x="33" y="228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1048947" name="ïs1îḋè"/>
              <p:cNvSpPr/>
              <p:nvPr/>
            </p:nvSpPr>
            <p:spPr bwMode="auto">
              <a:xfrm>
                <a:off x="7263066" y="4780553"/>
                <a:ext cx="674688" cy="863600"/>
              </a:xfrm>
              <a:custGeom>
                <a:avLst/>
                <a:gdLst>
                  <a:gd name="T0" fmla="*/ 258 w 366"/>
                  <a:gd name="T1" fmla="*/ 136 h 468"/>
                  <a:gd name="T2" fmla="*/ 270 w 366"/>
                  <a:gd name="T3" fmla="*/ 115 h 468"/>
                  <a:gd name="T4" fmla="*/ 287 w 366"/>
                  <a:gd name="T5" fmla="*/ 153 h 468"/>
                  <a:gd name="T6" fmla="*/ 200 w 366"/>
                  <a:gd name="T7" fmla="*/ 103 h 468"/>
                  <a:gd name="T8" fmla="*/ 227 w 366"/>
                  <a:gd name="T9" fmla="*/ 122 h 468"/>
                  <a:gd name="T10" fmla="*/ 225 w 366"/>
                  <a:gd name="T11" fmla="*/ 167 h 468"/>
                  <a:gd name="T12" fmla="*/ 215 w 366"/>
                  <a:gd name="T13" fmla="*/ 201 h 468"/>
                  <a:gd name="T14" fmla="*/ 197 w 366"/>
                  <a:gd name="T15" fmla="*/ 167 h 468"/>
                  <a:gd name="T16" fmla="*/ 204 w 366"/>
                  <a:gd name="T17" fmla="*/ 133 h 468"/>
                  <a:gd name="T18" fmla="*/ 200 w 366"/>
                  <a:gd name="T19" fmla="*/ 103 h 468"/>
                  <a:gd name="T20" fmla="*/ 271 w 366"/>
                  <a:gd name="T21" fmla="*/ 175 h 468"/>
                  <a:gd name="T22" fmla="*/ 286 w 366"/>
                  <a:gd name="T23" fmla="*/ 190 h 468"/>
                  <a:gd name="T24" fmla="*/ 146 w 366"/>
                  <a:gd name="T25" fmla="*/ 109 h 468"/>
                  <a:gd name="T26" fmla="*/ 87 w 366"/>
                  <a:gd name="T27" fmla="*/ 173 h 468"/>
                  <a:gd name="T28" fmla="*/ 7 w 366"/>
                  <a:gd name="T29" fmla="*/ 236 h 468"/>
                  <a:gd name="T30" fmla="*/ 111 w 366"/>
                  <a:gd name="T31" fmla="*/ 239 h 468"/>
                  <a:gd name="T32" fmla="*/ 108 w 366"/>
                  <a:gd name="T33" fmla="*/ 279 h 468"/>
                  <a:gd name="T34" fmla="*/ 110 w 366"/>
                  <a:gd name="T35" fmla="*/ 332 h 468"/>
                  <a:gd name="T36" fmla="*/ 139 w 366"/>
                  <a:gd name="T37" fmla="*/ 316 h 468"/>
                  <a:gd name="T38" fmla="*/ 159 w 366"/>
                  <a:gd name="T39" fmla="*/ 326 h 468"/>
                  <a:gd name="T40" fmla="*/ 189 w 366"/>
                  <a:gd name="T41" fmla="*/ 330 h 468"/>
                  <a:gd name="T42" fmla="*/ 217 w 366"/>
                  <a:gd name="T43" fmla="*/ 281 h 468"/>
                  <a:gd name="T44" fmla="*/ 284 w 366"/>
                  <a:gd name="T45" fmla="*/ 237 h 468"/>
                  <a:gd name="T46" fmla="*/ 287 w 366"/>
                  <a:gd name="T47" fmla="*/ 396 h 468"/>
                  <a:gd name="T48" fmla="*/ 284 w 366"/>
                  <a:gd name="T49" fmla="*/ 461 h 468"/>
                  <a:gd name="T50" fmla="*/ 319 w 366"/>
                  <a:gd name="T51" fmla="*/ 393 h 468"/>
                  <a:gd name="T52" fmla="*/ 327 w 366"/>
                  <a:gd name="T53" fmla="*/ 227 h 468"/>
                  <a:gd name="T54" fmla="*/ 363 w 366"/>
                  <a:gd name="T55" fmla="*/ 202 h 468"/>
                  <a:gd name="T56" fmla="*/ 324 w 366"/>
                  <a:gd name="T57" fmla="*/ 162 h 468"/>
                  <a:gd name="T58" fmla="*/ 330 w 366"/>
                  <a:gd name="T59" fmla="*/ 85 h 468"/>
                  <a:gd name="T60" fmla="*/ 324 w 366"/>
                  <a:gd name="T61" fmla="*/ 23 h 468"/>
                  <a:gd name="T62" fmla="*/ 275 w 366"/>
                  <a:gd name="T63" fmla="*/ 29 h 468"/>
                  <a:gd name="T64" fmla="*/ 286 w 366"/>
                  <a:gd name="T65" fmla="*/ 69 h 468"/>
                  <a:gd name="T66" fmla="*/ 253 w 366"/>
                  <a:gd name="T67" fmla="*/ 65 h 468"/>
                  <a:gd name="T68" fmla="*/ 212 w 366"/>
                  <a:gd name="T69" fmla="*/ 52 h 468"/>
                  <a:gd name="T70" fmla="*/ 115 w 366"/>
                  <a:gd name="T71" fmla="*/ 68 h 468"/>
                  <a:gd name="T72" fmla="*/ 30 w 366"/>
                  <a:gd name="T73" fmla="*/ 163 h 468"/>
                  <a:gd name="T74" fmla="*/ 96 w 366"/>
                  <a:gd name="T75" fmla="*/ 132 h 4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366" h="468">
                    <a:moveTo>
                      <a:pt x="270" y="152"/>
                    </a:moveTo>
                    <a:cubicBezTo>
                      <a:pt x="270" y="152"/>
                      <a:pt x="273" y="146"/>
                      <a:pt x="258" y="136"/>
                    </a:cubicBezTo>
                    <a:cubicBezTo>
                      <a:pt x="242" y="126"/>
                      <a:pt x="247" y="126"/>
                      <a:pt x="254" y="122"/>
                    </a:cubicBezTo>
                    <a:cubicBezTo>
                      <a:pt x="261" y="119"/>
                      <a:pt x="262" y="114"/>
                      <a:pt x="270" y="115"/>
                    </a:cubicBezTo>
                    <a:cubicBezTo>
                      <a:pt x="279" y="116"/>
                      <a:pt x="285" y="112"/>
                      <a:pt x="287" y="120"/>
                    </a:cubicBezTo>
                    <a:cubicBezTo>
                      <a:pt x="289" y="128"/>
                      <a:pt x="291" y="151"/>
                      <a:pt x="287" y="153"/>
                    </a:cubicBezTo>
                    <a:cubicBezTo>
                      <a:pt x="284" y="155"/>
                      <a:pt x="271" y="153"/>
                      <a:pt x="270" y="152"/>
                    </a:cubicBezTo>
                    <a:close/>
                    <a:moveTo>
                      <a:pt x="200" y="103"/>
                    </a:moveTo>
                    <a:cubicBezTo>
                      <a:pt x="200" y="99"/>
                      <a:pt x="207" y="96"/>
                      <a:pt x="216" y="102"/>
                    </a:cubicBezTo>
                    <a:cubicBezTo>
                      <a:pt x="225" y="108"/>
                      <a:pt x="228" y="113"/>
                      <a:pt x="227" y="122"/>
                    </a:cubicBezTo>
                    <a:cubicBezTo>
                      <a:pt x="225" y="131"/>
                      <a:pt x="222" y="135"/>
                      <a:pt x="223" y="145"/>
                    </a:cubicBezTo>
                    <a:cubicBezTo>
                      <a:pt x="223" y="156"/>
                      <a:pt x="217" y="162"/>
                      <a:pt x="225" y="167"/>
                    </a:cubicBezTo>
                    <a:cubicBezTo>
                      <a:pt x="232" y="173"/>
                      <a:pt x="235" y="171"/>
                      <a:pt x="233" y="185"/>
                    </a:cubicBezTo>
                    <a:cubicBezTo>
                      <a:pt x="231" y="202"/>
                      <a:pt x="214" y="210"/>
                      <a:pt x="215" y="201"/>
                    </a:cubicBezTo>
                    <a:cubicBezTo>
                      <a:pt x="215" y="192"/>
                      <a:pt x="220" y="185"/>
                      <a:pt x="213" y="176"/>
                    </a:cubicBezTo>
                    <a:cubicBezTo>
                      <a:pt x="205" y="167"/>
                      <a:pt x="204" y="178"/>
                      <a:pt x="197" y="167"/>
                    </a:cubicBezTo>
                    <a:cubicBezTo>
                      <a:pt x="191" y="155"/>
                      <a:pt x="195" y="154"/>
                      <a:pt x="199" y="152"/>
                    </a:cubicBezTo>
                    <a:cubicBezTo>
                      <a:pt x="204" y="149"/>
                      <a:pt x="209" y="147"/>
                      <a:pt x="204" y="133"/>
                    </a:cubicBezTo>
                    <a:cubicBezTo>
                      <a:pt x="199" y="119"/>
                      <a:pt x="198" y="127"/>
                      <a:pt x="197" y="119"/>
                    </a:cubicBezTo>
                    <a:cubicBezTo>
                      <a:pt x="196" y="112"/>
                      <a:pt x="200" y="107"/>
                      <a:pt x="200" y="103"/>
                    </a:cubicBezTo>
                    <a:close/>
                    <a:moveTo>
                      <a:pt x="246" y="206"/>
                    </a:moveTo>
                    <a:cubicBezTo>
                      <a:pt x="243" y="205"/>
                      <a:pt x="264" y="181"/>
                      <a:pt x="271" y="175"/>
                    </a:cubicBezTo>
                    <a:cubicBezTo>
                      <a:pt x="277" y="170"/>
                      <a:pt x="289" y="166"/>
                      <a:pt x="288" y="173"/>
                    </a:cubicBezTo>
                    <a:cubicBezTo>
                      <a:pt x="287" y="180"/>
                      <a:pt x="291" y="185"/>
                      <a:pt x="286" y="190"/>
                    </a:cubicBezTo>
                    <a:cubicBezTo>
                      <a:pt x="282" y="195"/>
                      <a:pt x="250" y="207"/>
                      <a:pt x="246" y="206"/>
                    </a:cubicBezTo>
                    <a:close/>
                    <a:moveTo>
                      <a:pt x="146" y="109"/>
                    </a:moveTo>
                    <a:cubicBezTo>
                      <a:pt x="146" y="114"/>
                      <a:pt x="141" y="124"/>
                      <a:pt x="134" y="134"/>
                    </a:cubicBezTo>
                    <a:cubicBezTo>
                      <a:pt x="127" y="144"/>
                      <a:pt x="103" y="162"/>
                      <a:pt x="87" y="173"/>
                    </a:cubicBezTo>
                    <a:cubicBezTo>
                      <a:pt x="70" y="183"/>
                      <a:pt x="23" y="206"/>
                      <a:pt x="16" y="212"/>
                    </a:cubicBezTo>
                    <a:cubicBezTo>
                      <a:pt x="10" y="218"/>
                      <a:pt x="0" y="213"/>
                      <a:pt x="7" y="236"/>
                    </a:cubicBezTo>
                    <a:cubicBezTo>
                      <a:pt x="13" y="258"/>
                      <a:pt x="24" y="253"/>
                      <a:pt x="55" y="252"/>
                    </a:cubicBezTo>
                    <a:cubicBezTo>
                      <a:pt x="85" y="250"/>
                      <a:pt x="106" y="237"/>
                      <a:pt x="111" y="239"/>
                    </a:cubicBezTo>
                    <a:cubicBezTo>
                      <a:pt x="116" y="242"/>
                      <a:pt x="119" y="251"/>
                      <a:pt x="119" y="259"/>
                    </a:cubicBezTo>
                    <a:cubicBezTo>
                      <a:pt x="120" y="266"/>
                      <a:pt x="116" y="270"/>
                      <a:pt x="108" y="279"/>
                    </a:cubicBezTo>
                    <a:cubicBezTo>
                      <a:pt x="100" y="288"/>
                      <a:pt x="100" y="303"/>
                      <a:pt x="100" y="311"/>
                    </a:cubicBezTo>
                    <a:cubicBezTo>
                      <a:pt x="101" y="318"/>
                      <a:pt x="104" y="325"/>
                      <a:pt x="110" y="332"/>
                    </a:cubicBezTo>
                    <a:cubicBezTo>
                      <a:pt x="117" y="338"/>
                      <a:pt x="119" y="333"/>
                      <a:pt x="127" y="333"/>
                    </a:cubicBezTo>
                    <a:cubicBezTo>
                      <a:pt x="134" y="332"/>
                      <a:pt x="138" y="323"/>
                      <a:pt x="139" y="316"/>
                    </a:cubicBezTo>
                    <a:cubicBezTo>
                      <a:pt x="140" y="308"/>
                      <a:pt x="148" y="313"/>
                      <a:pt x="155" y="314"/>
                    </a:cubicBezTo>
                    <a:cubicBezTo>
                      <a:pt x="161" y="316"/>
                      <a:pt x="158" y="318"/>
                      <a:pt x="159" y="326"/>
                    </a:cubicBezTo>
                    <a:cubicBezTo>
                      <a:pt x="159" y="334"/>
                      <a:pt x="159" y="336"/>
                      <a:pt x="168" y="339"/>
                    </a:cubicBezTo>
                    <a:cubicBezTo>
                      <a:pt x="177" y="343"/>
                      <a:pt x="178" y="342"/>
                      <a:pt x="189" y="330"/>
                    </a:cubicBezTo>
                    <a:cubicBezTo>
                      <a:pt x="199" y="319"/>
                      <a:pt x="187" y="291"/>
                      <a:pt x="193" y="292"/>
                    </a:cubicBezTo>
                    <a:cubicBezTo>
                      <a:pt x="198" y="293"/>
                      <a:pt x="209" y="289"/>
                      <a:pt x="217" y="281"/>
                    </a:cubicBezTo>
                    <a:cubicBezTo>
                      <a:pt x="225" y="273"/>
                      <a:pt x="232" y="272"/>
                      <a:pt x="243" y="263"/>
                    </a:cubicBezTo>
                    <a:cubicBezTo>
                      <a:pt x="253" y="254"/>
                      <a:pt x="278" y="233"/>
                      <a:pt x="284" y="237"/>
                    </a:cubicBezTo>
                    <a:cubicBezTo>
                      <a:pt x="290" y="240"/>
                      <a:pt x="285" y="282"/>
                      <a:pt x="286" y="321"/>
                    </a:cubicBezTo>
                    <a:cubicBezTo>
                      <a:pt x="288" y="361"/>
                      <a:pt x="286" y="379"/>
                      <a:pt x="287" y="396"/>
                    </a:cubicBezTo>
                    <a:cubicBezTo>
                      <a:pt x="289" y="413"/>
                      <a:pt x="278" y="425"/>
                      <a:pt x="278" y="434"/>
                    </a:cubicBezTo>
                    <a:cubicBezTo>
                      <a:pt x="277" y="443"/>
                      <a:pt x="278" y="454"/>
                      <a:pt x="284" y="461"/>
                    </a:cubicBezTo>
                    <a:cubicBezTo>
                      <a:pt x="291" y="468"/>
                      <a:pt x="296" y="458"/>
                      <a:pt x="305" y="449"/>
                    </a:cubicBezTo>
                    <a:cubicBezTo>
                      <a:pt x="314" y="440"/>
                      <a:pt x="315" y="424"/>
                      <a:pt x="319" y="393"/>
                    </a:cubicBezTo>
                    <a:cubicBezTo>
                      <a:pt x="323" y="362"/>
                      <a:pt x="318" y="269"/>
                      <a:pt x="320" y="252"/>
                    </a:cubicBezTo>
                    <a:cubicBezTo>
                      <a:pt x="321" y="236"/>
                      <a:pt x="323" y="232"/>
                      <a:pt x="327" y="227"/>
                    </a:cubicBezTo>
                    <a:cubicBezTo>
                      <a:pt x="332" y="222"/>
                      <a:pt x="332" y="212"/>
                      <a:pt x="340" y="211"/>
                    </a:cubicBezTo>
                    <a:cubicBezTo>
                      <a:pt x="349" y="210"/>
                      <a:pt x="360" y="212"/>
                      <a:pt x="363" y="202"/>
                    </a:cubicBezTo>
                    <a:cubicBezTo>
                      <a:pt x="366" y="192"/>
                      <a:pt x="364" y="182"/>
                      <a:pt x="358" y="177"/>
                    </a:cubicBezTo>
                    <a:cubicBezTo>
                      <a:pt x="352" y="172"/>
                      <a:pt x="326" y="167"/>
                      <a:pt x="324" y="162"/>
                    </a:cubicBezTo>
                    <a:cubicBezTo>
                      <a:pt x="322" y="158"/>
                      <a:pt x="323" y="119"/>
                      <a:pt x="322" y="108"/>
                    </a:cubicBezTo>
                    <a:cubicBezTo>
                      <a:pt x="322" y="96"/>
                      <a:pt x="324" y="98"/>
                      <a:pt x="330" y="85"/>
                    </a:cubicBezTo>
                    <a:cubicBezTo>
                      <a:pt x="336" y="73"/>
                      <a:pt x="333" y="65"/>
                      <a:pt x="334" y="48"/>
                    </a:cubicBezTo>
                    <a:cubicBezTo>
                      <a:pt x="334" y="32"/>
                      <a:pt x="334" y="33"/>
                      <a:pt x="324" y="23"/>
                    </a:cubicBezTo>
                    <a:cubicBezTo>
                      <a:pt x="315" y="14"/>
                      <a:pt x="306" y="6"/>
                      <a:pt x="292" y="3"/>
                    </a:cubicBezTo>
                    <a:cubicBezTo>
                      <a:pt x="278" y="0"/>
                      <a:pt x="274" y="12"/>
                      <a:pt x="275" y="29"/>
                    </a:cubicBezTo>
                    <a:cubicBezTo>
                      <a:pt x="275" y="47"/>
                      <a:pt x="278" y="37"/>
                      <a:pt x="282" y="43"/>
                    </a:cubicBezTo>
                    <a:cubicBezTo>
                      <a:pt x="286" y="49"/>
                      <a:pt x="285" y="62"/>
                      <a:pt x="286" y="69"/>
                    </a:cubicBezTo>
                    <a:cubicBezTo>
                      <a:pt x="287" y="76"/>
                      <a:pt x="283" y="77"/>
                      <a:pt x="274" y="77"/>
                    </a:cubicBezTo>
                    <a:cubicBezTo>
                      <a:pt x="265" y="78"/>
                      <a:pt x="268" y="69"/>
                      <a:pt x="253" y="65"/>
                    </a:cubicBezTo>
                    <a:cubicBezTo>
                      <a:pt x="238" y="60"/>
                      <a:pt x="225" y="74"/>
                      <a:pt x="218" y="72"/>
                    </a:cubicBezTo>
                    <a:cubicBezTo>
                      <a:pt x="212" y="71"/>
                      <a:pt x="215" y="68"/>
                      <a:pt x="212" y="52"/>
                    </a:cubicBezTo>
                    <a:cubicBezTo>
                      <a:pt x="209" y="36"/>
                      <a:pt x="191" y="26"/>
                      <a:pt x="177" y="26"/>
                    </a:cubicBezTo>
                    <a:cubicBezTo>
                      <a:pt x="164" y="26"/>
                      <a:pt x="135" y="52"/>
                      <a:pt x="115" y="68"/>
                    </a:cubicBezTo>
                    <a:cubicBezTo>
                      <a:pt x="96" y="84"/>
                      <a:pt x="55" y="129"/>
                      <a:pt x="47" y="139"/>
                    </a:cubicBezTo>
                    <a:cubicBezTo>
                      <a:pt x="39" y="149"/>
                      <a:pt x="30" y="156"/>
                      <a:pt x="30" y="163"/>
                    </a:cubicBezTo>
                    <a:cubicBezTo>
                      <a:pt x="30" y="170"/>
                      <a:pt x="28" y="170"/>
                      <a:pt x="39" y="172"/>
                    </a:cubicBezTo>
                    <a:cubicBezTo>
                      <a:pt x="49" y="174"/>
                      <a:pt x="64" y="154"/>
                      <a:pt x="96" y="132"/>
                    </a:cubicBezTo>
                    <a:cubicBezTo>
                      <a:pt x="128" y="110"/>
                      <a:pt x="147" y="103"/>
                      <a:pt x="146" y="10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1048948" name="îš1ïdè"/>
              <p:cNvSpPr/>
              <p:nvPr/>
            </p:nvSpPr>
            <p:spPr bwMode="auto">
              <a:xfrm>
                <a:off x="5180266" y="4845640"/>
                <a:ext cx="635000" cy="660400"/>
              </a:xfrm>
              <a:custGeom>
                <a:avLst/>
                <a:gdLst>
                  <a:gd name="T0" fmla="*/ 5 w 344"/>
                  <a:gd name="T1" fmla="*/ 147 h 358"/>
                  <a:gd name="T2" fmla="*/ 38 w 344"/>
                  <a:gd name="T3" fmla="*/ 142 h 358"/>
                  <a:gd name="T4" fmla="*/ 53 w 344"/>
                  <a:gd name="T5" fmla="*/ 125 h 358"/>
                  <a:gd name="T6" fmla="*/ 43 w 344"/>
                  <a:gd name="T7" fmla="*/ 70 h 358"/>
                  <a:gd name="T8" fmla="*/ 48 w 344"/>
                  <a:gd name="T9" fmla="*/ 43 h 358"/>
                  <a:gd name="T10" fmla="*/ 76 w 344"/>
                  <a:gd name="T11" fmla="*/ 45 h 358"/>
                  <a:gd name="T12" fmla="*/ 122 w 344"/>
                  <a:gd name="T13" fmla="*/ 89 h 358"/>
                  <a:gd name="T14" fmla="*/ 122 w 344"/>
                  <a:gd name="T15" fmla="*/ 185 h 358"/>
                  <a:gd name="T16" fmla="*/ 141 w 344"/>
                  <a:gd name="T17" fmla="*/ 192 h 358"/>
                  <a:gd name="T18" fmla="*/ 231 w 344"/>
                  <a:gd name="T19" fmla="*/ 135 h 358"/>
                  <a:gd name="T20" fmla="*/ 241 w 344"/>
                  <a:gd name="T21" fmla="*/ 87 h 358"/>
                  <a:gd name="T22" fmla="*/ 234 w 344"/>
                  <a:gd name="T23" fmla="*/ 48 h 358"/>
                  <a:gd name="T24" fmla="*/ 263 w 344"/>
                  <a:gd name="T25" fmla="*/ 17 h 358"/>
                  <a:gd name="T26" fmla="*/ 298 w 344"/>
                  <a:gd name="T27" fmla="*/ 76 h 358"/>
                  <a:gd name="T28" fmla="*/ 292 w 344"/>
                  <a:gd name="T29" fmla="*/ 111 h 358"/>
                  <a:gd name="T30" fmla="*/ 317 w 344"/>
                  <a:gd name="T31" fmla="*/ 138 h 358"/>
                  <a:gd name="T32" fmla="*/ 292 w 344"/>
                  <a:gd name="T33" fmla="*/ 181 h 358"/>
                  <a:gd name="T34" fmla="*/ 270 w 344"/>
                  <a:gd name="T35" fmla="*/ 217 h 358"/>
                  <a:gd name="T36" fmla="*/ 276 w 344"/>
                  <a:gd name="T37" fmla="*/ 252 h 358"/>
                  <a:gd name="T38" fmla="*/ 334 w 344"/>
                  <a:gd name="T39" fmla="*/ 270 h 358"/>
                  <a:gd name="T40" fmla="*/ 333 w 344"/>
                  <a:gd name="T41" fmla="*/ 304 h 358"/>
                  <a:gd name="T42" fmla="*/ 226 w 344"/>
                  <a:gd name="T43" fmla="*/ 338 h 358"/>
                  <a:gd name="T44" fmla="*/ 166 w 344"/>
                  <a:gd name="T45" fmla="*/ 352 h 358"/>
                  <a:gd name="T46" fmla="*/ 191 w 344"/>
                  <a:gd name="T47" fmla="*/ 319 h 358"/>
                  <a:gd name="T48" fmla="*/ 228 w 344"/>
                  <a:gd name="T49" fmla="*/ 287 h 358"/>
                  <a:gd name="T50" fmla="*/ 231 w 344"/>
                  <a:gd name="T51" fmla="*/ 223 h 358"/>
                  <a:gd name="T52" fmla="*/ 194 w 344"/>
                  <a:gd name="T53" fmla="*/ 194 h 358"/>
                  <a:gd name="T54" fmla="*/ 152 w 344"/>
                  <a:gd name="T55" fmla="*/ 228 h 358"/>
                  <a:gd name="T56" fmla="*/ 55 w 344"/>
                  <a:gd name="T57" fmla="*/ 337 h 358"/>
                  <a:gd name="T58" fmla="*/ 21 w 344"/>
                  <a:gd name="T59" fmla="*/ 316 h 358"/>
                  <a:gd name="T60" fmla="*/ 30 w 344"/>
                  <a:gd name="T61" fmla="*/ 260 h 358"/>
                  <a:gd name="T62" fmla="*/ 53 w 344"/>
                  <a:gd name="T63" fmla="*/ 228 h 358"/>
                  <a:gd name="T64" fmla="*/ 37 w 344"/>
                  <a:gd name="T65" fmla="*/ 201 h 358"/>
                  <a:gd name="T66" fmla="*/ 1 w 344"/>
                  <a:gd name="T67" fmla="*/ 170 h 358"/>
                  <a:gd name="T68" fmla="*/ 5 w 344"/>
                  <a:gd name="T69" fmla="*/ 147 h 3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344" h="358">
                    <a:moveTo>
                      <a:pt x="5" y="147"/>
                    </a:moveTo>
                    <a:cubicBezTo>
                      <a:pt x="6" y="143"/>
                      <a:pt x="22" y="140"/>
                      <a:pt x="38" y="142"/>
                    </a:cubicBezTo>
                    <a:cubicBezTo>
                      <a:pt x="54" y="144"/>
                      <a:pt x="53" y="137"/>
                      <a:pt x="53" y="125"/>
                    </a:cubicBezTo>
                    <a:cubicBezTo>
                      <a:pt x="53" y="112"/>
                      <a:pt x="60" y="89"/>
                      <a:pt x="43" y="70"/>
                    </a:cubicBezTo>
                    <a:cubicBezTo>
                      <a:pt x="25" y="52"/>
                      <a:pt x="48" y="43"/>
                      <a:pt x="48" y="43"/>
                    </a:cubicBezTo>
                    <a:cubicBezTo>
                      <a:pt x="48" y="43"/>
                      <a:pt x="55" y="32"/>
                      <a:pt x="76" y="45"/>
                    </a:cubicBezTo>
                    <a:cubicBezTo>
                      <a:pt x="97" y="58"/>
                      <a:pt x="115" y="74"/>
                      <a:pt x="122" y="89"/>
                    </a:cubicBezTo>
                    <a:cubicBezTo>
                      <a:pt x="129" y="104"/>
                      <a:pt x="118" y="174"/>
                      <a:pt x="122" y="185"/>
                    </a:cubicBezTo>
                    <a:cubicBezTo>
                      <a:pt x="125" y="195"/>
                      <a:pt x="130" y="200"/>
                      <a:pt x="141" y="192"/>
                    </a:cubicBezTo>
                    <a:cubicBezTo>
                      <a:pt x="153" y="183"/>
                      <a:pt x="214" y="138"/>
                      <a:pt x="231" y="135"/>
                    </a:cubicBezTo>
                    <a:cubicBezTo>
                      <a:pt x="249" y="132"/>
                      <a:pt x="241" y="103"/>
                      <a:pt x="241" y="87"/>
                    </a:cubicBezTo>
                    <a:cubicBezTo>
                      <a:pt x="242" y="70"/>
                      <a:pt x="234" y="59"/>
                      <a:pt x="234" y="48"/>
                    </a:cubicBezTo>
                    <a:cubicBezTo>
                      <a:pt x="234" y="36"/>
                      <a:pt x="247" y="0"/>
                      <a:pt x="263" y="17"/>
                    </a:cubicBezTo>
                    <a:cubicBezTo>
                      <a:pt x="279" y="35"/>
                      <a:pt x="303" y="58"/>
                      <a:pt x="298" y="76"/>
                    </a:cubicBezTo>
                    <a:cubicBezTo>
                      <a:pt x="294" y="95"/>
                      <a:pt x="283" y="92"/>
                      <a:pt x="292" y="111"/>
                    </a:cubicBezTo>
                    <a:cubicBezTo>
                      <a:pt x="301" y="129"/>
                      <a:pt x="320" y="117"/>
                      <a:pt x="317" y="138"/>
                    </a:cubicBezTo>
                    <a:cubicBezTo>
                      <a:pt x="315" y="160"/>
                      <a:pt x="321" y="149"/>
                      <a:pt x="292" y="181"/>
                    </a:cubicBezTo>
                    <a:cubicBezTo>
                      <a:pt x="268" y="209"/>
                      <a:pt x="270" y="208"/>
                      <a:pt x="270" y="217"/>
                    </a:cubicBezTo>
                    <a:cubicBezTo>
                      <a:pt x="270" y="226"/>
                      <a:pt x="266" y="249"/>
                      <a:pt x="276" y="252"/>
                    </a:cubicBezTo>
                    <a:cubicBezTo>
                      <a:pt x="287" y="254"/>
                      <a:pt x="325" y="250"/>
                      <a:pt x="334" y="270"/>
                    </a:cubicBezTo>
                    <a:cubicBezTo>
                      <a:pt x="344" y="290"/>
                      <a:pt x="344" y="295"/>
                      <a:pt x="333" y="304"/>
                    </a:cubicBezTo>
                    <a:cubicBezTo>
                      <a:pt x="321" y="312"/>
                      <a:pt x="288" y="320"/>
                      <a:pt x="226" y="338"/>
                    </a:cubicBezTo>
                    <a:cubicBezTo>
                      <a:pt x="180" y="351"/>
                      <a:pt x="168" y="358"/>
                      <a:pt x="166" y="352"/>
                    </a:cubicBezTo>
                    <a:cubicBezTo>
                      <a:pt x="164" y="346"/>
                      <a:pt x="175" y="331"/>
                      <a:pt x="191" y="319"/>
                    </a:cubicBezTo>
                    <a:cubicBezTo>
                      <a:pt x="207" y="307"/>
                      <a:pt x="224" y="304"/>
                      <a:pt x="228" y="287"/>
                    </a:cubicBezTo>
                    <a:cubicBezTo>
                      <a:pt x="232" y="270"/>
                      <a:pt x="235" y="234"/>
                      <a:pt x="231" y="223"/>
                    </a:cubicBezTo>
                    <a:cubicBezTo>
                      <a:pt x="227" y="212"/>
                      <a:pt x="213" y="188"/>
                      <a:pt x="194" y="194"/>
                    </a:cubicBezTo>
                    <a:cubicBezTo>
                      <a:pt x="176" y="200"/>
                      <a:pt x="166" y="210"/>
                      <a:pt x="152" y="228"/>
                    </a:cubicBezTo>
                    <a:cubicBezTo>
                      <a:pt x="138" y="247"/>
                      <a:pt x="66" y="336"/>
                      <a:pt x="55" y="337"/>
                    </a:cubicBezTo>
                    <a:cubicBezTo>
                      <a:pt x="45" y="338"/>
                      <a:pt x="22" y="340"/>
                      <a:pt x="21" y="316"/>
                    </a:cubicBezTo>
                    <a:cubicBezTo>
                      <a:pt x="20" y="292"/>
                      <a:pt x="16" y="285"/>
                      <a:pt x="30" y="260"/>
                    </a:cubicBezTo>
                    <a:cubicBezTo>
                      <a:pt x="44" y="234"/>
                      <a:pt x="53" y="241"/>
                      <a:pt x="53" y="228"/>
                    </a:cubicBezTo>
                    <a:cubicBezTo>
                      <a:pt x="53" y="216"/>
                      <a:pt x="47" y="207"/>
                      <a:pt x="37" y="201"/>
                    </a:cubicBezTo>
                    <a:cubicBezTo>
                      <a:pt x="27" y="195"/>
                      <a:pt x="2" y="182"/>
                      <a:pt x="1" y="170"/>
                    </a:cubicBezTo>
                    <a:cubicBezTo>
                      <a:pt x="0" y="157"/>
                      <a:pt x="4" y="150"/>
                      <a:pt x="5" y="147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1048949" name="ï$líḋé"/>
              <p:cNvSpPr/>
              <p:nvPr/>
            </p:nvSpPr>
            <p:spPr bwMode="auto">
              <a:xfrm>
                <a:off x="5596191" y="5675903"/>
                <a:ext cx="25400" cy="30163"/>
              </a:xfrm>
              <a:prstGeom prst="rect">
                <a:avLst/>
              </a:prstGeom>
              <a:grpFill/>
              <a:ln>
                <a:noFill/>
              </a:ln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1048950" name="işḷíḓè"/>
              <p:cNvSpPr/>
              <p:nvPr/>
            </p:nvSpPr>
            <p:spPr bwMode="auto">
              <a:xfrm>
                <a:off x="5596191" y="5733053"/>
                <a:ext cx="25400" cy="149225"/>
              </a:xfrm>
              <a:prstGeom prst="rect">
                <a:avLst/>
              </a:prstGeom>
              <a:grpFill/>
              <a:ln>
                <a:noFill/>
              </a:ln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1048951" name="ïSḷîḋé"/>
              <p:cNvSpPr/>
              <p:nvPr/>
            </p:nvSpPr>
            <p:spPr bwMode="auto">
              <a:xfrm>
                <a:off x="5645403" y="5733053"/>
                <a:ext cx="136525" cy="149225"/>
              </a:xfrm>
              <a:custGeom>
                <a:avLst/>
                <a:gdLst>
                  <a:gd name="T0" fmla="*/ 42 w 74"/>
                  <a:gd name="T1" fmla="*/ 50 h 81"/>
                  <a:gd name="T2" fmla="*/ 37 w 74"/>
                  <a:gd name="T3" fmla="*/ 65 h 81"/>
                  <a:gd name="T4" fmla="*/ 32 w 74"/>
                  <a:gd name="T5" fmla="*/ 49 h 81"/>
                  <a:gd name="T6" fmla="*/ 14 w 74"/>
                  <a:gd name="T7" fmla="*/ 0 h 81"/>
                  <a:gd name="T8" fmla="*/ 0 w 74"/>
                  <a:gd name="T9" fmla="*/ 0 h 81"/>
                  <a:gd name="T10" fmla="*/ 31 w 74"/>
                  <a:gd name="T11" fmla="*/ 81 h 81"/>
                  <a:gd name="T12" fmla="*/ 44 w 74"/>
                  <a:gd name="T13" fmla="*/ 81 h 81"/>
                  <a:gd name="T14" fmla="*/ 74 w 74"/>
                  <a:gd name="T15" fmla="*/ 0 h 81"/>
                  <a:gd name="T16" fmla="*/ 60 w 74"/>
                  <a:gd name="T17" fmla="*/ 0 h 81"/>
                  <a:gd name="T18" fmla="*/ 42 w 74"/>
                  <a:gd name="T19" fmla="*/ 50 h 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74" h="81">
                    <a:moveTo>
                      <a:pt x="42" y="50"/>
                    </a:moveTo>
                    <a:cubicBezTo>
                      <a:pt x="40" y="56"/>
                      <a:pt x="38" y="61"/>
                      <a:pt x="37" y="65"/>
                    </a:cubicBezTo>
                    <a:cubicBezTo>
                      <a:pt x="35" y="59"/>
                      <a:pt x="34" y="54"/>
                      <a:pt x="32" y="49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31" y="81"/>
                      <a:pt x="31" y="81"/>
                      <a:pt x="31" y="81"/>
                    </a:cubicBezTo>
                    <a:cubicBezTo>
                      <a:pt x="44" y="81"/>
                      <a:pt x="44" y="81"/>
                      <a:pt x="44" y="81"/>
                    </a:cubicBezTo>
                    <a:cubicBezTo>
                      <a:pt x="74" y="0"/>
                      <a:pt x="74" y="0"/>
                      <a:pt x="74" y="0"/>
                    </a:cubicBezTo>
                    <a:cubicBezTo>
                      <a:pt x="60" y="0"/>
                      <a:pt x="60" y="0"/>
                      <a:pt x="60" y="0"/>
                    </a:cubicBezTo>
                    <a:lnTo>
                      <a:pt x="42" y="50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1048952" name="išḷiḓé"/>
              <p:cNvSpPr/>
              <p:nvPr/>
            </p:nvSpPr>
            <p:spPr bwMode="auto">
              <a:xfrm>
                <a:off x="5796216" y="5729878"/>
                <a:ext cx="138113" cy="157163"/>
              </a:xfrm>
              <a:custGeom>
                <a:avLst/>
                <a:gdLst>
                  <a:gd name="T0" fmla="*/ 38 w 75"/>
                  <a:gd name="T1" fmla="*/ 0 h 85"/>
                  <a:gd name="T2" fmla="*/ 10 w 75"/>
                  <a:gd name="T3" fmla="*/ 12 h 85"/>
                  <a:gd name="T4" fmla="*/ 0 w 75"/>
                  <a:gd name="T5" fmla="*/ 43 h 85"/>
                  <a:gd name="T6" fmla="*/ 10 w 75"/>
                  <a:gd name="T7" fmla="*/ 74 h 85"/>
                  <a:gd name="T8" fmla="*/ 39 w 75"/>
                  <a:gd name="T9" fmla="*/ 85 h 85"/>
                  <a:gd name="T10" fmla="*/ 62 w 75"/>
                  <a:gd name="T11" fmla="*/ 78 h 85"/>
                  <a:gd name="T12" fmla="*/ 74 w 75"/>
                  <a:gd name="T13" fmla="*/ 59 h 85"/>
                  <a:gd name="T14" fmla="*/ 60 w 75"/>
                  <a:gd name="T15" fmla="*/ 57 h 85"/>
                  <a:gd name="T16" fmla="*/ 52 w 75"/>
                  <a:gd name="T17" fmla="*/ 70 h 85"/>
                  <a:gd name="T18" fmla="*/ 39 w 75"/>
                  <a:gd name="T19" fmla="*/ 74 h 85"/>
                  <a:gd name="T20" fmla="*/ 22 w 75"/>
                  <a:gd name="T21" fmla="*/ 67 h 85"/>
                  <a:gd name="T22" fmla="*/ 14 w 75"/>
                  <a:gd name="T23" fmla="*/ 46 h 85"/>
                  <a:gd name="T24" fmla="*/ 75 w 75"/>
                  <a:gd name="T25" fmla="*/ 46 h 85"/>
                  <a:gd name="T26" fmla="*/ 75 w 75"/>
                  <a:gd name="T27" fmla="*/ 43 h 85"/>
                  <a:gd name="T28" fmla="*/ 64 w 75"/>
                  <a:gd name="T29" fmla="*/ 11 h 85"/>
                  <a:gd name="T30" fmla="*/ 38 w 75"/>
                  <a:gd name="T31" fmla="*/ 0 h 85"/>
                  <a:gd name="T32" fmla="*/ 15 w 75"/>
                  <a:gd name="T33" fmla="*/ 35 h 85"/>
                  <a:gd name="T34" fmla="*/ 22 w 75"/>
                  <a:gd name="T35" fmla="*/ 18 h 85"/>
                  <a:gd name="T36" fmla="*/ 38 w 75"/>
                  <a:gd name="T37" fmla="*/ 12 h 85"/>
                  <a:gd name="T38" fmla="*/ 55 w 75"/>
                  <a:gd name="T39" fmla="*/ 20 h 85"/>
                  <a:gd name="T40" fmla="*/ 60 w 75"/>
                  <a:gd name="T41" fmla="*/ 35 h 85"/>
                  <a:gd name="T42" fmla="*/ 15 w 75"/>
                  <a:gd name="T43" fmla="*/ 35 h 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75" h="85">
                    <a:moveTo>
                      <a:pt x="38" y="0"/>
                    </a:moveTo>
                    <a:cubicBezTo>
                      <a:pt x="27" y="0"/>
                      <a:pt x="17" y="4"/>
                      <a:pt x="10" y="12"/>
                    </a:cubicBezTo>
                    <a:cubicBezTo>
                      <a:pt x="3" y="19"/>
                      <a:pt x="0" y="30"/>
                      <a:pt x="0" y="43"/>
                    </a:cubicBezTo>
                    <a:cubicBezTo>
                      <a:pt x="0" y="57"/>
                      <a:pt x="3" y="67"/>
                      <a:pt x="10" y="74"/>
                    </a:cubicBezTo>
                    <a:cubicBezTo>
                      <a:pt x="17" y="81"/>
                      <a:pt x="27" y="85"/>
                      <a:pt x="39" y="85"/>
                    </a:cubicBezTo>
                    <a:cubicBezTo>
                      <a:pt x="48" y="85"/>
                      <a:pt x="56" y="83"/>
                      <a:pt x="62" y="78"/>
                    </a:cubicBezTo>
                    <a:cubicBezTo>
                      <a:pt x="68" y="74"/>
                      <a:pt x="72" y="67"/>
                      <a:pt x="74" y="59"/>
                    </a:cubicBezTo>
                    <a:cubicBezTo>
                      <a:pt x="60" y="57"/>
                      <a:pt x="60" y="57"/>
                      <a:pt x="60" y="57"/>
                    </a:cubicBezTo>
                    <a:cubicBezTo>
                      <a:pt x="58" y="63"/>
                      <a:pt x="55" y="67"/>
                      <a:pt x="52" y="70"/>
                    </a:cubicBezTo>
                    <a:cubicBezTo>
                      <a:pt x="48" y="73"/>
                      <a:pt x="44" y="74"/>
                      <a:pt x="39" y="74"/>
                    </a:cubicBezTo>
                    <a:cubicBezTo>
                      <a:pt x="32" y="74"/>
                      <a:pt x="26" y="71"/>
                      <a:pt x="22" y="67"/>
                    </a:cubicBezTo>
                    <a:cubicBezTo>
                      <a:pt x="17" y="62"/>
                      <a:pt x="15" y="55"/>
                      <a:pt x="14" y="46"/>
                    </a:cubicBezTo>
                    <a:cubicBezTo>
                      <a:pt x="75" y="46"/>
                      <a:pt x="75" y="46"/>
                      <a:pt x="75" y="46"/>
                    </a:cubicBezTo>
                    <a:cubicBezTo>
                      <a:pt x="75" y="45"/>
                      <a:pt x="75" y="43"/>
                      <a:pt x="75" y="43"/>
                    </a:cubicBezTo>
                    <a:cubicBezTo>
                      <a:pt x="75" y="29"/>
                      <a:pt x="71" y="19"/>
                      <a:pt x="64" y="11"/>
                    </a:cubicBezTo>
                    <a:cubicBezTo>
                      <a:pt x="58" y="4"/>
                      <a:pt x="49" y="0"/>
                      <a:pt x="38" y="0"/>
                    </a:cubicBezTo>
                    <a:close/>
                    <a:moveTo>
                      <a:pt x="15" y="35"/>
                    </a:moveTo>
                    <a:cubicBezTo>
                      <a:pt x="15" y="28"/>
                      <a:pt x="18" y="22"/>
                      <a:pt x="22" y="18"/>
                    </a:cubicBezTo>
                    <a:cubicBezTo>
                      <a:pt x="26" y="14"/>
                      <a:pt x="32" y="12"/>
                      <a:pt x="38" y="12"/>
                    </a:cubicBezTo>
                    <a:cubicBezTo>
                      <a:pt x="45" y="12"/>
                      <a:pt x="51" y="14"/>
                      <a:pt x="55" y="20"/>
                    </a:cubicBezTo>
                    <a:cubicBezTo>
                      <a:pt x="58" y="23"/>
                      <a:pt x="60" y="28"/>
                      <a:pt x="60" y="35"/>
                    </a:cubicBezTo>
                    <a:lnTo>
                      <a:pt x="15" y="35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1048953" name="iṩľidè"/>
              <p:cNvSpPr/>
              <p:nvPr/>
            </p:nvSpPr>
            <p:spPr bwMode="auto">
              <a:xfrm>
                <a:off x="5964491" y="5729878"/>
                <a:ext cx="82550" cy="152400"/>
              </a:xfrm>
              <a:custGeom>
                <a:avLst/>
                <a:gdLst>
                  <a:gd name="T0" fmla="*/ 22 w 45"/>
                  <a:gd name="T1" fmla="*/ 3 h 83"/>
                  <a:gd name="T2" fmla="*/ 13 w 45"/>
                  <a:gd name="T3" fmla="*/ 14 h 83"/>
                  <a:gd name="T4" fmla="*/ 13 w 45"/>
                  <a:gd name="T5" fmla="*/ 2 h 83"/>
                  <a:gd name="T6" fmla="*/ 0 w 45"/>
                  <a:gd name="T7" fmla="*/ 2 h 83"/>
                  <a:gd name="T8" fmla="*/ 0 w 45"/>
                  <a:gd name="T9" fmla="*/ 83 h 83"/>
                  <a:gd name="T10" fmla="*/ 14 w 45"/>
                  <a:gd name="T11" fmla="*/ 83 h 83"/>
                  <a:gd name="T12" fmla="*/ 14 w 45"/>
                  <a:gd name="T13" fmla="*/ 41 h 83"/>
                  <a:gd name="T14" fmla="*/ 17 w 45"/>
                  <a:gd name="T15" fmla="*/ 25 h 83"/>
                  <a:gd name="T16" fmla="*/ 22 w 45"/>
                  <a:gd name="T17" fmla="*/ 17 h 83"/>
                  <a:gd name="T18" fmla="*/ 30 w 45"/>
                  <a:gd name="T19" fmla="*/ 14 h 83"/>
                  <a:gd name="T20" fmla="*/ 40 w 45"/>
                  <a:gd name="T21" fmla="*/ 17 h 83"/>
                  <a:gd name="T22" fmla="*/ 45 w 45"/>
                  <a:gd name="T23" fmla="*/ 5 h 83"/>
                  <a:gd name="T24" fmla="*/ 30 w 45"/>
                  <a:gd name="T25" fmla="*/ 0 h 83"/>
                  <a:gd name="T26" fmla="*/ 22 w 45"/>
                  <a:gd name="T27" fmla="*/ 3 h 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45" h="83">
                    <a:moveTo>
                      <a:pt x="22" y="3"/>
                    </a:moveTo>
                    <a:cubicBezTo>
                      <a:pt x="19" y="5"/>
                      <a:pt x="16" y="9"/>
                      <a:pt x="13" y="14"/>
                    </a:cubicBezTo>
                    <a:cubicBezTo>
                      <a:pt x="13" y="2"/>
                      <a:pt x="13" y="2"/>
                      <a:pt x="13" y="2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83"/>
                      <a:pt x="0" y="83"/>
                      <a:pt x="0" y="83"/>
                    </a:cubicBezTo>
                    <a:cubicBezTo>
                      <a:pt x="14" y="83"/>
                      <a:pt x="14" y="83"/>
                      <a:pt x="14" y="83"/>
                    </a:cubicBezTo>
                    <a:cubicBezTo>
                      <a:pt x="14" y="41"/>
                      <a:pt x="14" y="41"/>
                      <a:pt x="14" y="41"/>
                    </a:cubicBezTo>
                    <a:cubicBezTo>
                      <a:pt x="14" y="35"/>
                      <a:pt x="15" y="30"/>
                      <a:pt x="17" y="25"/>
                    </a:cubicBezTo>
                    <a:cubicBezTo>
                      <a:pt x="18" y="21"/>
                      <a:pt x="19" y="19"/>
                      <a:pt x="22" y="17"/>
                    </a:cubicBezTo>
                    <a:cubicBezTo>
                      <a:pt x="24" y="15"/>
                      <a:pt x="27" y="14"/>
                      <a:pt x="30" y="14"/>
                    </a:cubicBezTo>
                    <a:cubicBezTo>
                      <a:pt x="33" y="14"/>
                      <a:pt x="37" y="15"/>
                      <a:pt x="40" y="17"/>
                    </a:cubicBezTo>
                    <a:cubicBezTo>
                      <a:pt x="45" y="5"/>
                      <a:pt x="45" y="5"/>
                      <a:pt x="45" y="5"/>
                    </a:cubicBezTo>
                    <a:cubicBezTo>
                      <a:pt x="40" y="2"/>
                      <a:pt x="35" y="0"/>
                      <a:pt x="30" y="0"/>
                    </a:cubicBezTo>
                    <a:cubicBezTo>
                      <a:pt x="27" y="0"/>
                      <a:pt x="24" y="1"/>
                      <a:pt x="22" y="3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1048954" name="îṡļiḑe"/>
              <p:cNvSpPr/>
              <p:nvPr/>
            </p:nvSpPr>
            <p:spPr bwMode="auto">
              <a:xfrm>
                <a:off x="6050216" y="5729878"/>
                <a:ext cx="125413" cy="157163"/>
              </a:xfrm>
              <a:custGeom>
                <a:avLst/>
                <a:gdLst>
                  <a:gd name="T0" fmla="*/ 55 w 68"/>
                  <a:gd name="T1" fmla="*/ 40 h 85"/>
                  <a:gd name="T2" fmla="*/ 35 w 68"/>
                  <a:gd name="T3" fmla="*/ 34 h 85"/>
                  <a:gd name="T4" fmla="*/ 23 w 68"/>
                  <a:gd name="T5" fmla="*/ 31 h 85"/>
                  <a:gd name="T6" fmla="*/ 18 w 68"/>
                  <a:gd name="T7" fmla="*/ 27 h 85"/>
                  <a:gd name="T8" fmla="*/ 16 w 68"/>
                  <a:gd name="T9" fmla="*/ 22 h 85"/>
                  <a:gd name="T10" fmla="*/ 20 w 68"/>
                  <a:gd name="T11" fmla="*/ 15 h 85"/>
                  <a:gd name="T12" fmla="*/ 34 w 68"/>
                  <a:gd name="T13" fmla="*/ 12 h 85"/>
                  <a:gd name="T14" fmla="*/ 46 w 68"/>
                  <a:gd name="T15" fmla="*/ 15 h 85"/>
                  <a:gd name="T16" fmla="*/ 51 w 68"/>
                  <a:gd name="T17" fmla="*/ 25 h 85"/>
                  <a:gd name="T18" fmla="*/ 65 w 68"/>
                  <a:gd name="T19" fmla="*/ 23 h 85"/>
                  <a:gd name="T20" fmla="*/ 60 w 68"/>
                  <a:gd name="T21" fmla="*/ 10 h 85"/>
                  <a:gd name="T22" fmla="*/ 49 w 68"/>
                  <a:gd name="T23" fmla="*/ 3 h 85"/>
                  <a:gd name="T24" fmla="*/ 33 w 68"/>
                  <a:gd name="T25" fmla="*/ 0 h 85"/>
                  <a:gd name="T26" fmla="*/ 21 w 68"/>
                  <a:gd name="T27" fmla="*/ 2 h 85"/>
                  <a:gd name="T28" fmla="*/ 12 w 68"/>
                  <a:gd name="T29" fmla="*/ 6 h 85"/>
                  <a:gd name="T30" fmla="*/ 5 w 68"/>
                  <a:gd name="T31" fmla="*/ 14 h 85"/>
                  <a:gd name="T32" fmla="*/ 3 w 68"/>
                  <a:gd name="T33" fmla="*/ 24 h 85"/>
                  <a:gd name="T34" fmla="*/ 6 w 68"/>
                  <a:gd name="T35" fmla="*/ 35 h 85"/>
                  <a:gd name="T36" fmla="*/ 15 w 68"/>
                  <a:gd name="T37" fmla="*/ 42 h 85"/>
                  <a:gd name="T38" fmla="*/ 36 w 68"/>
                  <a:gd name="T39" fmla="*/ 49 h 85"/>
                  <a:gd name="T40" fmla="*/ 50 w 68"/>
                  <a:gd name="T41" fmla="*/ 54 h 85"/>
                  <a:gd name="T42" fmla="*/ 54 w 68"/>
                  <a:gd name="T43" fmla="*/ 61 h 85"/>
                  <a:gd name="T44" fmla="*/ 49 w 68"/>
                  <a:gd name="T45" fmla="*/ 70 h 85"/>
                  <a:gd name="T46" fmla="*/ 35 w 68"/>
                  <a:gd name="T47" fmla="*/ 74 h 85"/>
                  <a:gd name="T48" fmla="*/ 20 w 68"/>
                  <a:gd name="T49" fmla="*/ 69 h 85"/>
                  <a:gd name="T50" fmla="*/ 14 w 68"/>
                  <a:gd name="T51" fmla="*/ 57 h 85"/>
                  <a:gd name="T52" fmla="*/ 0 w 68"/>
                  <a:gd name="T53" fmla="*/ 59 h 85"/>
                  <a:gd name="T54" fmla="*/ 11 w 68"/>
                  <a:gd name="T55" fmla="*/ 79 h 85"/>
                  <a:gd name="T56" fmla="*/ 35 w 68"/>
                  <a:gd name="T57" fmla="*/ 85 h 85"/>
                  <a:gd name="T58" fmla="*/ 52 w 68"/>
                  <a:gd name="T59" fmla="*/ 82 h 85"/>
                  <a:gd name="T60" fmla="*/ 64 w 68"/>
                  <a:gd name="T61" fmla="*/ 72 h 85"/>
                  <a:gd name="T62" fmla="*/ 68 w 68"/>
                  <a:gd name="T63" fmla="*/ 59 h 85"/>
                  <a:gd name="T64" fmla="*/ 65 w 68"/>
                  <a:gd name="T65" fmla="*/ 48 h 85"/>
                  <a:gd name="T66" fmla="*/ 55 w 68"/>
                  <a:gd name="T67" fmla="*/ 40 h 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68" h="85">
                    <a:moveTo>
                      <a:pt x="55" y="40"/>
                    </a:moveTo>
                    <a:cubicBezTo>
                      <a:pt x="52" y="39"/>
                      <a:pt x="45" y="37"/>
                      <a:pt x="35" y="34"/>
                    </a:cubicBezTo>
                    <a:cubicBezTo>
                      <a:pt x="28" y="32"/>
                      <a:pt x="24" y="31"/>
                      <a:pt x="23" y="31"/>
                    </a:cubicBezTo>
                    <a:cubicBezTo>
                      <a:pt x="20" y="30"/>
                      <a:pt x="19" y="28"/>
                      <a:pt x="18" y="27"/>
                    </a:cubicBezTo>
                    <a:cubicBezTo>
                      <a:pt x="16" y="25"/>
                      <a:pt x="16" y="24"/>
                      <a:pt x="16" y="22"/>
                    </a:cubicBezTo>
                    <a:cubicBezTo>
                      <a:pt x="16" y="19"/>
                      <a:pt x="17" y="17"/>
                      <a:pt x="20" y="15"/>
                    </a:cubicBezTo>
                    <a:cubicBezTo>
                      <a:pt x="23" y="13"/>
                      <a:pt x="27" y="12"/>
                      <a:pt x="34" y="12"/>
                    </a:cubicBezTo>
                    <a:cubicBezTo>
                      <a:pt x="39" y="12"/>
                      <a:pt x="43" y="13"/>
                      <a:pt x="46" y="15"/>
                    </a:cubicBezTo>
                    <a:cubicBezTo>
                      <a:pt x="49" y="17"/>
                      <a:pt x="51" y="21"/>
                      <a:pt x="51" y="25"/>
                    </a:cubicBezTo>
                    <a:cubicBezTo>
                      <a:pt x="65" y="23"/>
                      <a:pt x="65" y="23"/>
                      <a:pt x="65" y="23"/>
                    </a:cubicBezTo>
                    <a:cubicBezTo>
                      <a:pt x="64" y="18"/>
                      <a:pt x="62" y="14"/>
                      <a:pt x="60" y="10"/>
                    </a:cubicBezTo>
                    <a:cubicBezTo>
                      <a:pt x="58" y="7"/>
                      <a:pt x="54" y="5"/>
                      <a:pt x="49" y="3"/>
                    </a:cubicBezTo>
                    <a:cubicBezTo>
                      <a:pt x="44" y="1"/>
                      <a:pt x="39" y="0"/>
                      <a:pt x="33" y="0"/>
                    </a:cubicBezTo>
                    <a:cubicBezTo>
                      <a:pt x="28" y="0"/>
                      <a:pt x="24" y="1"/>
                      <a:pt x="21" y="2"/>
                    </a:cubicBezTo>
                    <a:cubicBezTo>
                      <a:pt x="17" y="3"/>
                      <a:pt x="14" y="4"/>
                      <a:pt x="12" y="6"/>
                    </a:cubicBezTo>
                    <a:cubicBezTo>
                      <a:pt x="9" y="8"/>
                      <a:pt x="7" y="10"/>
                      <a:pt x="5" y="14"/>
                    </a:cubicBezTo>
                    <a:cubicBezTo>
                      <a:pt x="3" y="17"/>
                      <a:pt x="3" y="20"/>
                      <a:pt x="3" y="24"/>
                    </a:cubicBezTo>
                    <a:cubicBezTo>
                      <a:pt x="3" y="28"/>
                      <a:pt x="4" y="31"/>
                      <a:pt x="6" y="35"/>
                    </a:cubicBezTo>
                    <a:cubicBezTo>
                      <a:pt x="8" y="38"/>
                      <a:pt x="11" y="40"/>
                      <a:pt x="15" y="42"/>
                    </a:cubicBezTo>
                    <a:cubicBezTo>
                      <a:pt x="18" y="44"/>
                      <a:pt x="25" y="46"/>
                      <a:pt x="36" y="49"/>
                    </a:cubicBezTo>
                    <a:cubicBezTo>
                      <a:pt x="43" y="51"/>
                      <a:pt x="48" y="52"/>
                      <a:pt x="50" y="54"/>
                    </a:cubicBezTo>
                    <a:cubicBezTo>
                      <a:pt x="52" y="55"/>
                      <a:pt x="54" y="58"/>
                      <a:pt x="54" y="61"/>
                    </a:cubicBezTo>
                    <a:cubicBezTo>
                      <a:pt x="54" y="64"/>
                      <a:pt x="52" y="67"/>
                      <a:pt x="49" y="70"/>
                    </a:cubicBezTo>
                    <a:cubicBezTo>
                      <a:pt x="46" y="73"/>
                      <a:pt x="41" y="74"/>
                      <a:pt x="35" y="74"/>
                    </a:cubicBezTo>
                    <a:cubicBezTo>
                      <a:pt x="29" y="74"/>
                      <a:pt x="24" y="72"/>
                      <a:pt x="20" y="69"/>
                    </a:cubicBezTo>
                    <a:cubicBezTo>
                      <a:pt x="17" y="67"/>
                      <a:pt x="15" y="62"/>
                      <a:pt x="14" y="57"/>
                    </a:cubicBezTo>
                    <a:cubicBezTo>
                      <a:pt x="0" y="59"/>
                      <a:pt x="0" y="59"/>
                      <a:pt x="0" y="59"/>
                    </a:cubicBezTo>
                    <a:cubicBezTo>
                      <a:pt x="2" y="68"/>
                      <a:pt x="5" y="74"/>
                      <a:pt x="11" y="79"/>
                    </a:cubicBezTo>
                    <a:cubicBezTo>
                      <a:pt x="16" y="83"/>
                      <a:pt x="24" y="85"/>
                      <a:pt x="35" y="85"/>
                    </a:cubicBezTo>
                    <a:cubicBezTo>
                      <a:pt x="41" y="85"/>
                      <a:pt x="47" y="84"/>
                      <a:pt x="52" y="82"/>
                    </a:cubicBezTo>
                    <a:cubicBezTo>
                      <a:pt x="57" y="80"/>
                      <a:pt x="61" y="76"/>
                      <a:pt x="64" y="72"/>
                    </a:cubicBezTo>
                    <a:cubicBezTo>
                      <a:pt x="66" y="68"/>
                      <a:pt x="68" y="64"/>
                      <a:pt x="68" y="59"/>
                    </a:cubicBezTo>
                    <a:cubicBezTo>
                      <a:pt x="68" y="55"/>
                      <a:pt x="67" y="51"/>
                      <a:pt x="65" y="48"/>
                    </a:cubicBezTo>
                    <a:cubicBezTo>
                      <a:pt x="62" y="45"/>
                      <a:pt x="59" y="42"/>
                      <a:pt x="55" y="4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1048955" name="ïśļíḓe"/>
              <p:cNvSpPr/>
              <p:nvPr/>
            </p:nvSpPr>
            <p:spPr bwMode="auto">
              <a:xfrm>
                <a:off x="6205791" y="5675903"/>
                <a:ext cx="25400" cy="30163"/>
              </a:xfrm>
              <a:prstGeom prst="rect">
                <a:avLst/>
              </a:prstGeom>
              <a:grpFill/>
              <a:ln>
                <a:noFill/>
              </a:ln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1048956" name="îṡľîdè"/>
              <p:cNvSpPr/>
              <p:nvPr/>
            </p:nvSpPr>
            <p:spPr bwMode="auto">
              <a:xfrm>
                <a:off x="6205791" y="5733053"/>
                <a:ext cx="25400" cy="149225"/>
              </a:xfrm>
              <a:prstGeom prst="rect">
                <a:avLst/>
              </a:prstGeom>
              <a:grpFill/>
              <a:ln>
                <a:noFill/>
              </a:ln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1048957" name="îś1iḋê"/>
              <p:cNvSpPr/>
              <p:nvPr/>
            </p:nvSpPr>
            <p:spPr bwMode="auto">
              <a:xfrm>
                <a:off x="6255003" y="5680665"/>
                <a:ext cx="74613" cy="203200"/>
              </a:xfrm>
              <a:custGeom>
                <a:avLst/>
                <a:gdLst>
                  <a:gd name="T0" fmla="*/ 32 w 40"/>
                  <a:gd name="T1" fmla="*/ 98 h 110"/>
                  <a:gd name="T2" fmla="*/ 27 w 40"/>
                  <a:gd name="T3" fmla="*/ 97 h 110"/>
                  <a:gd name="T4" fmla="*/ 25 w 40"/>
                  <a:gd name="T5" fmla="*/ 94 h 110"/>
                  <a:gd name="T6" fmla="*/ 24 w 40"/>
                  <a:gd name="T7" fmla="*/ 86 h 110"/>
                  <a:gd name="T8" fmla="*/ 24 w 40"/>
                  <a:gd name="T9" fmla="*/ 39 h 110"/>
                  <a:gd name="T10" fmla="*/ 38 w 40"/>
                  <a:gd name="T11" fmla="*/ 39 h 110"/>
                  <a:gd name="T12" fmla="*/ 38 w 40"/>
                  <a:gd name="T13" fmla="*/ 28 h 110"/>
                  <a:gd name="T14" fmla="*/ 24 w 40"/>
                  <a:gd name="T15" fmla="*/ 28 h 110"/>
                  <a:gd name="T16" fmla="*/ 24 w 40"/>
                  <a:gd name="T17" fmla="*/ 0 h 110"/>
                  <a:gd name="T18" fmla="*/ 11 w 40"/>
                  <a:gd name="T19" fmla="*/ 8 h 110"/>
                  <a:gd name="T20" fmla="*/ 11 w 40"/>
                  <a:gd name="T21" fmla="*/ 28 h 110"/>
                  <a:gd name="T22" fmla="*/ 0 w 40"/>
                  <a:gd name="T23" fmla="*/ 28 h 110"/>
                  <a:gd name="T24" fmla="*/ 0 w 40"/>
                  <a:gd name="T25" fmla="*/ 39 h 110"/>
                  <a:gd name="T26" fmla="*/ 11 w 40"/>
                  <a:gd name="T27" fmla="*/ 39 h 110"/>
                  <a:gd name="T28" fmla="*/ 11 w 40"/>
                  <a:gd name="T29" fmla="*/ 86 h 110"/>
                  <a:gd name="T30" fmla="*/ 12 w 40"/>
                  <a:gd name="T31" fmla="*/ 102 h 110"/>
                  <a:gd name="T32" fmla="*/ 18 w 40"/>
                  <a:gd name="T33" fmla="*/ 108 h 110"/>
                  <a:gd name="T34" fmla="*/ 30 w 40"/>
                  <a:gd name="T35" fmla="*/ 110 h 110"/>
                  <a:gd name="T36" fmla="*/ 40 w 40"/>
                  <a:gd name="T37" fmla="*/ 109 h 110"/>
                  <a:gd name="T38" fmla="*/ 38 w 40"/>
                  <a:gd name="T39" fmla="*/ 97 h 110"/>
                  <a:gd name="T40" fmla="*/ 32 w 40"/>
                  <a:gd name="T41" fmla="*/ 98 h 1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40" h="110">
                    <a:moveTo>
                      <a:pt x="32" y="98"/>
                    </a:moveTo>
                    <a:cubicBezTo>
                      <a:pt x="30" y="98"/>
                      <a:pt x="28" y="97"/>
                      <a:pt x="27" y="97"/>
                    </a:cubicBezTo>
                    <a:cubicBezTo>
                      <a:pt x="26" y="96"/>
                      <a:pt x="25" y="95"/>
                      <a:pt x="25" y="94"/>
                    </a:cubicBezTo>
                    <a:cubicBezTo>
                      <a:pt x="24" y="93"/>
                      <a:pt x="24" y="90"/>
                      <a:pt x="24" y="86"/>
                    </a:cubicBezTo>
                    <a:cubicBezTo>
                      <a:pt x="24" y="39"/>
                      <a:pt x="24" y="39"/>
                      <a:pt x="24" y="39"/>
                    </a:cubicBezTo>
                    <a:cubicBezTo>
                      <a:pt x="38" y="39"/>
                      <a:pt x="38" y="39"/>
                      <a:pt x="38" y="39"/>
                    </a:cubicBezTo>
                    <a:cubicBezTo>
                      <a:pt x="38" y="28"/>
                      <a:pt x="38" y="28"/>
                      <a:pt x="38" y="28"/>
                    </a:cubicBezTo>
                    <a:cubicBezTo>
                      <a:pt x="24" y="28"/>
                      <a:pt x="24" y="28"/>
                      <a:pt x="24" y="28"/>
                    </a:cubicBezTo>
                    <a:cubicBezTo>
                      <a:pt x="24" y="0"/>
                      <a:pt x="24" y="0"/>
                      <a:pt x="24" y="0"/>
                    </a:cubicBezTo>
                    <a:cubicBezTo>
                      <a:pt x="11" y="8"/>
                      <a:pt x="11" y="8"/>
                      <a:pt x="11" y="8"/>
                    </a:cubicBezTo>
                    <a:cubicBezTo>
                      <a:pt x="11" y="28"/>
                      <a:pt x="11" y="28"/>
                      <a:pt x="11" y="28"/>
                    </a:cubicBezTo>
                    <a:cubicBezTo>
                      <a:pt x="0" y="28"/>
                      <a:pt x="0" y="28"/>
                      <a:pt x="0" y="28"/>
                    </a:cubicBezTo>
                    <a:cubicBezTo>
                      <a:pt x="0" y="39"/>
                      <a:pt x="0" y="39"/>
                      <a:pt x="0" y="39"/>
                    </a:cubicBezTo>
                    <a:cubicBezTo>
                      <a:pt x="11" y="39"/>
                      <a:pt x="11" y="39"/>
                      <a:pt x="11" y="39"/>
                    </a:cubicBezTo>
                    <a:cubicBezTo>
                      <a:pt x="11" y="86"/>
                      <a:pt x="11" y="86"/>
                      <a:pt x="11" y="86"/>
                    </a:cubicBezTo>
                    <a:cubicBezTo>
                      <a:pt x="11" y="94"/>
                      <a:pt x="11" y="99"/>
                      <a:pt x="12" y="102"/>
                    </a:cubicBezTo>
                    <a:cubicBezTo>
                      <a:pt x="13" y="104"/>
                      <a:pt x="15" y="106"/>
                      <a:pt x="18" y="108"/>
                    </a:cubicBezTo>
                    <a:cubicBezTo>
                      <a:pt x="21" y="110"/>
                      <a:pt x="25" y="110"/>
                      <a:pt x="30" y="110"/>
                    </a:cubicBezTo>
                    <a:cubicBezTo>
                      <a:pt x="33" y="110"/>
                      <a:pt x="36" y="110"/>
                      <a:pt x="40" y="109"/>
                    </a:cubicBezTo>
                    <a:cubicBezTo>
                      <a:pt x="38" y="97"/>
                      <a:pt x="38" y="97"/>
                      <a:pt x="38" y="97"/>
                    </a:cubicBezTo>
                    <a:cubicBezTo>
                      <a:pt x="36" y="97"/>
                      <a:pt x="34" y="98"/>
                      <a:pt x="32" y="98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1048958" name="išľîḋê"/>
              <p:cNvSpPr/>
              <p:nvPr/>
            </p:nvSpPr>
            <p:spPr bwMode="auto">
              <a:xfrm>
                <a:off x="6335966" y="5733053"/>
                <a:ext cx="136525" cy="211138"/>
              </a:xfrm>
              <a:custGeom>
                <a:avLst/>
                <a:gdLst>
                  <a:gd name="T0" fmla="*/ 43 w 74"/>
                  <a:gd name="T1" fmla="*/ 47 h 114"/>
                  <a:gd name="T2" fmla="*/ 37 w 74"/>
                  <a:gd name="T3" fmla="*/ 66 h 114"/>
                  <a:gd name="T4" fmla="*/ 32 w 74"/>
                  <a:gd name="T5" fmla="*/ 47 h 114"/>
                  <a:gd name="T6" fmla="*/ 15 w 74"/>
                  <a:gd name="T7" fmla="*/ 0 h 114"/>
                  <a:gd name="T8" fmla="*/ 0 w 74"/>
                  <a:gd name="T9" fmla="*/ 0 h 114"/>
                  <a:gd name="T10" fmla="*/ 31 w 74"/>
                  <a:gd name="T11" fmla="*/ 81 h 114"/>
                  <a:gd name="T12" fmla="*/ 29 w 74"/>
                  <a:gd name="T13" fmla="*/ 85 h 114"/>
                  <a:gd name="T14" fmla="*/ 25 w 74"/>
                  <a:gd name="T15" fmla="*/ 95 h 114"/>
                  <a:gd name="T16" fmla="*/ 21 w 74"/>
                  <a:gd name="T17" fmla="*/ 99 h 114"/>
                  <a:gd name="T18" fmla="*/ 13 w 74"/>
                  <a:gd name="T19" fmla="*/ 101 h 114"/>
                  <a:gd name="T20" fmla="*/ 5 w 74"/>
                  <a:gd name="T21" fmla="*/ 100 h 114"/>
                  <a:gd name="T22" fmla="*/ 7 w 74"/>
                  <a:gd name="T23" fmla="*/ 113 h 114"/>
                  <a:gd name="T24" fmla="*/ 16 w 74"/>
                  <a:gd name="T25" fmla="*/ 114 h 114"/>
                  <a:gd name="T26" fmla="*/ 27 w 74"/>
                  <a:gd name="T27" fmla="*/ 111 h 114"/>
                  <a:gd name="T28" fmla="*/ 36 w 74"/>
                  <a:gd name="T29" fmla="*/ 101 h 114"/>
                  <a:gd name="T30" fmla="*/ 43 w 74"/>
                  <a:gd name="T31" fmla="*/ 83 h 114"/>
                  <a:gd name="T32" fmla="*/ 74 w 74"/>
                  <a:gd name="T33" fmla="*/ 0 h 114"/>
                  <a:gd name="T34" fmla="*/ 60 w 74"/>
                  <a:gd name="T35" fmla="*/ 0 h 114"/>
                  <a:gd name="T36" fmla="*/ 43 w 74"/>
                  <a:gd name="T37" fmla="*/ 47 h 1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74" h="114">
                    <a:moveTo>
                      <a:pt x="43" y="47"/>
                    </a:moveTo>
                    <a:cubicBezTo>
                      <a:pt x="41" y="53"/>
                      <a:pt x="39" y="60"/>
                      <a:pt x="37" y="66"/>
                    </a:cubicBezTo>
                    <a:cubicBezTo>
                      <a:pt x="36" y="59"/>
                      <a:pt x="34" y="53"/>
                      <a:pt x="32" y="47"/>
                    </a:cubicBezTo>
                    <a:cubicBezTo>
                      <a:pt x="15" y="0"/>
                      <a:pt x="15" y="0"/>
                      <a:pt x="15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31" y="81"/>
                      <a:pt x="31" y="81"/>
                      <a:pt x="31" y="81"/>
                    </a:cubicBezTo>
                    <a:cubicBezTo>
                      <a:pt x="30" y="83"/>
                      <a:pt x="30" y="84"/>
                      <a:pt x="29" y="85"/>
                    </a:cubicBezTo>
                    <a:cubicBezTo>
                      <a:pt x="27" y="90"/>
                      <a:pt x="26" y="94"/>
                      <a:pt x="25" y="95"/>
                    </a:cubicBezTo>
                    <a:cubicBezTo>
                      <a:pt x="24" y="97"/>
                      <a:pt x="22" y="98"/>
                      <a:pt x="21" y="99"/>
                    </a:cubicBezTo>
                    <a:cubicBezTo>
                      <a:pt x="19" y="100"/>
                      <a:pt x="16" y="101"/>
                      <a:pt x="13" y="101"/>
                    </a:cubicBezTo>
                    <a:cubicBezTo>
                      <a:pt x="11" y="101"/>
                      <a:pt x="8" y="101"/>
                      <a:pt x="5" y="100"/>
                    </a:cubicBezTo>
                    <a:cubicBezTo>
                      <a:pt x="7" y="113"/>
                      <a:pt x="7" y="113"/>
                      <a:pt x="7" y="113"/>
                    </a:cubicBezTo>
                    <a:cubicBezTo>
                      <a:pt x="10" y="114"/>
                      <a:pt x="13" y="114"/>
                      <a:pt x="16" y="114"/>
                    </a:cubicBezTo>
                    <a:cubicBezTo>
                      <a:pt x="20" y="114"/>
                      <a:pt x="24" y="113"/>
                      <a:pt x="27" y="111"/>
                    </a:cubicBezTo>
                    <a:cubicBezTo>
                      <a:pt x="30" y="109"/>
                      <a:pt x="33" y="106"/>
                      <a:pt x="36" y="101"/>
                    </a:cubicBezTo>
                    <a:cubicBezTo>
                      <a:pt x="37" y="98"/>
                      <a:pt x="40" y="92"/>
                      <a:pt x="43" y="83"/>
                    </a:cubicBezTo>
                    <a:cubicBezTo>
                      <a:pt x="74" y="0"/>
                      <a:pt x="74" y="0"/>
                      <a:pt x="74" y="0"/>
                    </a:cubicBezTo>
                    <a:cubicBezTo>
                      <a:pt x="60" y="0"/>
                      <a:pt x="60" y="0"/>
                      <a:pt x="60" y="0"/>
                    </a:cubicBezTo>
                    <a:lnTo>
                      <a:pt x="43" y="47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1048959" name="íSḷiḑè"/>
              <p:cNvSpPr/>
              <p:nvPr/>
            </p:nvSpPr>
            <p:spPr bwMode="auto">
              <a:xfrm>
                <a:off x="6564566" y="5729878"/>
                <a:ext cx="142875" cy="157163"/>
              </a:xfrm>
              <a:custGeom>
                <a:avLst/>
                <a:gdLst>
                  <a:gd name="T0" fmla="*/ 38 w 77"/>
                  <a:gd name="T1" fmla="*/ 0 h 85"/>
                  <a:gd name="T2" fmla="*/ 13 w 77"/>
                  <a:gd name="T3" fmla="*/ 9 h 85"/>
                  <a:gd name="T4" fmla="*/ 0 w 77"/>
                  <a:gd name="T5" fmla="*/ 43 h 85"/>
                  <a:gd name="T6" fmla="*/ 11 w 77"/>
                  <a:gd name="T7" fmla="*/ 74 h 85"/>
                  <a:gd name="T8" fmla="*/ 38 w 77"/>
                  <a:gd name="T9" fmla="*/ 85 h 85"/>
                  <a:gd name="T10" fmla="*/ 58 w 77"/>
                  <a:gd name="T11" fmla="*/ 80 h 85"/>
                  <a:gd name="T12" fmla="*/ 72 w 77"/>
                  <a:gd name="T13" fmla="*/ 66 h 85"/>
                  <a:gd name="T14" fmla="*/ 77 w 77"/>
                  <a:gd name="T15" fmla="*/ 42 h 85"/>
                  <a:gd name="T16" fmla="*/ 66 w 77"/>
                  <a:gd name="T17" fmla="*/ 11 h 85"/>
                  <a:gd name="T18" fmla="*/ 38 w 77"/>
                  <a:gd name="T19" fmla="*/ 0 h 85"/>
                  <a:gd name="T20" fmla="*/ 56 w 77"/>
                  <a:gd name="T21" fmla="*/ 66 h 85"/>
                  <a:gd name="T22" fmla="*/ 38 w 77"/>
                  <a:gd name="T23" fmla="*/ 74 h 85"/>
                  <a:gd name="T24" fmla="*/ 21 w 77"/>
                  <a:gd name="T25" fmla="*/ 66 h 85"/>
                  <a:gd name="T26" fmla="*/ 15 w 77"/>
                  <a:gd name="T27" fmla="*/ 43 h 85"/>
                  <a:gd name="T28" fmla="*/ 21 w 77"/>
                  <a:gd name="T29" fmla="*/ 19 h 85"/>
                  <a:gd name="T30" fmla="*/ 38 w 77"/>
                  <a:gd name="T31" fmla="*/ 12 h 85"/>
                  <a:gd name="T32" fmla="*/ 56 w 77"/>
                  <a:gd name="T33" fmla="*/ 19 h 85"/>
                  <a:gd name="T34" fmla="*/ 62 w 77"/>
                  <a:gd name="T35" fmla="*/ 42 h 85"/>
                  <a:gd name="T36" fmla="*/ 56 w 77"/>
                  <a:gd name="T37" fmla="*/ 66 h 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77" h="85">
                    <a:moveTo>
                      <a:pt x="38" y="0"/>
                    </a:moveTo>
                    <a:cubicBezTo>
                      <a:pt x="28" y="0"/>
                      <a:pt x="20" y="3"/>
                      <a:pt x="13" y="9"/>
                    </a:cubicBezTo>
                    <a:cubicBezTo>
                      <a:pt x="5" y="16"/>
                      <a:pt x="0" y="28"/>
                      <a:pt x="0" y="43"/>
                    </a:cubicBezTo>
                    <a:cubicBezTo>
                      <a:pt x="0" y="56"/>
                      <a:pt x="4" y="67"/>
                      <a:pt x="11" y="74"/>
                    </a:cubicBezTo>
                    <a:cubicBezTo>
                      <a:pt x="18" y="82"/>
                      <a:pt x="27" y="85"/>
                      <a:pt x="38" y="85"/>
                    </a:cubicBezTo>
                    <a:cubicBezTo>
                      <a:pt x="46" y="85"/>
                      <a:pt x="52" y="84"/>
                      <a:pt x="58" y="80"/>
                    </a:cubicBezTo>
                    <a:cubicBezTo>
                      <a:pt x="64" y="77"/>
                      <a:pt x="69" y="72"/>
                      <a:pt x="72" y="66"/>
                    </a:cubicBezTo>
                    <a:cubicBezTo>
                      <a:pt x="75" y="60"/>
                      <a:pt x="77" y="52"/>
                      <a:pt x="77" y="42"/>
                    </a:cubicBezTo>
                    <a:cubicBezTo>
                      <a:pt x="77" y="29"/>
                      <a:pt x="73" y="19"/>
                      <a:pt x="66" y="11"/>
                    </a:cubicBezTo>
                    <a:cubicBezTo>
                      <a:pt x="59" y="4"/>
                      <a:pt x="50" y="0"/>
                      <a:pt x="38" y="0"/>
                    </a:cubicBezTo>
                    <a:close/>
                    <a:moveTo>
                      <a:pt x="56" y="66"/>
                    </a:moveTo>
                    <a:cubicBezTo>
                      <a:pt x="51" y="71"/>
                      <a:pt x="45" y="74"/>
                      <a:pt x="38" y="74"/>
                    </a:cubicBezTo>
                    <a:cubicBezTo>
                      <a:pt x="32" y="74"/>
                      <a:pt x="26" y="71"/>
                      <a:pt x="21" y="66"/>
                    </a:cubicBezTo>
                    <a:cubicBezTo>
                      <a:pt x="17" y="61"/>
                      <a:pt x="15" y="53"/>
                      <a:pt x="15" y="43"/>
                    </a:cubicBezTo>
                    <a:cubicBezTo>
                      <a:pt x="15" y="32"/>
                      <a:pt x="17" y="24"/>
                      <a:pt x="21" y="19"/>
                    </a:cubicBezTo>
                    <a:cubicBezTo>
                      <a:pt x="26" y="14"/>
                      <a:pt x="32" y="12"/>
                      <a:pt x="38" y="12"/>
                    </a:cubicBezTo>
                    <a:cubicBezTo>
                      <a:pt x="45" y="12"/>
                      <a:pt x="51" y="14"/>
                      <a:pt x="56" y="19"/>
                    </a:cubicBezTo>
                    <a:cubicBezTo>
                      <a:pt x="60" y="25"/>
                      <a:pt x="62" y="32"/>
                      <a:pt x="62" y="42"/>
                    </a:cubicBezTo>
                    <a:cubicBezTo>
                      <a:pt x="62" y="53"/>
                      <a:pt x="60" y="61"/>
                      <a:pt x="56" y="66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1048960" name="ïṣľïḑe"/>
              <p:cNvSpPr/>
              <p:nvPr/>
            </p:nvSpPr>
            <p:spPr bwMode="auto">
              <a:xfrm>
                <a:off x="6720141" y="5672728"/>
                <a:ext cx="85725" cy="209550"/>
              </a:xfrm>
              <a:custGeom>
                <a:avLst/>
                <a:gdLst>
                  <a:gd name="T0" fmla="*/ 20 w 47"/>
                  <a:gd name="T1" fmla="*/ 4 h 114"/>
                  <a:gd name="T2" fmla="*/ 13 w 47"/>
                  <a:gd name="T3" fmla="*/ 12 h 114"/>
                  <a:gd name="T4" fmla="*/ 12 w 47"/>
                  <a:gd name="T5" fmla="*/ 24 h 114"/>
                  <a:gd name="T6" fmla="*/ 12 w 47"/>
                  <a:gd name="T7" fmla="*/ 33 h 114"/>
                  <a:gd name="T8" fmla="*/ 0 w 47"/>
                  <a:gd name="T9" fmla="*/ 33 h 114"/>
                  <a:gd name="T10" fmla="*/ 0 w 47"/>
                  <a:gd name="T11" fmla="*/ 44 h 114"/>
                  <a:gd name="T12" fmla="*/ 12 w 47"/>
                  <a:gd name="T13" fmla="*/ 44 h 114"/>
                  <a:gd name="T14" fmla="*/ 12 w 47"/>
                  <a:gd name="T15" fmla="*/ 114 h 114"/>
                  <a:gd name="T16" fmla="*/ 26 w 47"/>
                  <a:gd name="T17" fmla="*/ 114 h 114"/>
                  <a:gd name="T18" fmla="*/ 26 w 47"/>
                  <a:gd name="T19" fmla="*/ 44 h 114"/>
                  <a:gd name="T20" fmla="*/ 41 w 47"/>
                  <a:gd name="T21" fmla="*/ 44 h 114"/>
                  <a:gd name="T22" fmla="*/ 41 w 47"/>
                  <a:gd name="T23" fmla="*/ 33 h 114"/>
                  <a:gd name="T24" fmla="*/ 26 w 47"/>
                  <a:gd name="T25" fmla="*/ 33 h 114"/>
                  <a:gd name="T26" fmla="*/ 26 w 47"/>
                  <a:gd name="T27" fmla="*/ 26 h 114"/>
                  <a:gd name="T28" fmla="*/ 28 w 47"/>
                  <a:gd name="T29" fmla="*/ 16 h 114"/>
                  <a:gd name="T30" fmla="*/ 37 w 47"/>
                  <a:gd name="T31" fmla="*/ 13 h 114"/>
                  <a:gd name="T32" fmla="*/ 45 w 47"/>
                  <a:gd name="T33" fmla="*/ 14 h 114"/>
                  <a:gd name="T34" fmla="*/ 47 w 47"/>
                  <a:gd name="T35" fmla="*/ 2 h 114"/>
                  <a:gd name="T36" fmla="*/ 34 w 47"/>
                  <a:gd name="T37" fmla="*/ 0 h 114"/>
                  <a:gd name="T38" fmla="*/ 20 w 47"/>
                  <a:gd name="T39" fmla="*/ 4 h 1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47" h="114">
                    <a:moveTo>
                      <a:pt x="20" y="4"/>
                    </a:moveTo>
                    <a:cubicBezTo>
                      <a:pt x="17" y="6"/>
                      <a:pt x="15" y="9"/>
                      <a:pt x="13" y="12"/>
                    </a:cubicBezTo>
                    <a:cubicBezTo>
                      <a:pt x="12" y="15"/>
                      <a:pt x="12" y="19"/>
                      <a:pt x="12" y="24"/>
                    </a:cubicBezTo>
                    <a:cubicBezTo>
                      <a:pt x="12" y="33"/>
                      <a:pt x="12" y="33"/>
                      <a:pt x="12" y="33"/>
                    </a:cubicBezTo>
                    <a:cubicBezTo>
                      <a:pt x="0" y="33"/>
                      <a:pt x="0" y="33"/>
                      <a:pt x="0" y="33"/>
                    </a:cubicBezTo>
                    <a:cubicBezTo>
                      <a:pt x="0" y="44"/>
                      <a:pt x="0" y="44"/>
                      <a:pt x="0" y="44"/>
                    </a:cubicBezTo>
                    <a:cubicBezTo>
                      <a:pt x="12" y="44"/>
                      <a:pt x="12" y="44"/>
                      <a:pt x="12" y="44"/>
                    </a:cubicBezTo>
                    <a:cubicBezTo>
                      <a:pt x="12" y="114"/>
                      <a:pt x="12" y="114"/>
                      <a:pt x="12" y="114"/>
                    </a:cubicBezTo>
                    <a:cubicBezTo>
                      <a:pt x="26" y="114"/>
                      <a:pt x="26" y="114"/>
                      <a:pt x="26" y="114"/>
                    </a:cubicBezTo>
                    <a:cubicBezTo>
                      <a:pt x="26" y="44"/>
                      <a:pt x="26" y="44"/>
                      <a:pt x="26" y="44"/>
                    </a:cubicBezTo>
                    <a:cubicBezTo>
                      <a:pt x="41" y="44"/>
                      <a:pt x="41" y="44"/>
                      <a:pt x="41" y="44"/>
                    </a:cubicBezTo>
                    <a:cubicBezTo>
                      <a:pt x="41" y="33"/>
                      <a:pt x="41" y="33"/>
                      <a:pt x="41" y="33"/>
                    </a:cubicBezTo>
                    <a:cubicBezTo>
                      <a:pt x="26" y="33"/>
                      <a:pt x="26" y="33"/>
                      <a:pt x="26" y="33"/>
                    </a:cubicBezTo>
                    <a:cubicBezTo>
                      <a:pt x="26" y="26"/>
                      <a:pt x="26" y="26"/>
                      <a:pt x="26" y="26"/>
                    </a:cubicBezTo>
                    <a:cubicBezTo>
                      <a:pt x="26" y="21"/>
                      <a:pt x="27" y="17"/>
                      <a:pt x="28" y="16"/>
                    </a:cubicBezTo>
                    <a:cubicBezTo>
                      <a:pt x="30" y="14"/>
                      <a:pt x="33" y="13"/>
                      <a:pt x="37" y="13"/>
                    </a:cubicBezTo>
                    <a:cubicBezTo>
                      <a:pt x="40" y="13"/>
                      <a:pt x="42" y="13"/>
                      <a:pt x="45" y="14"/>
                    </a:cubicBezTo>
                    <a:cubicBezTo>
                      <a:pt x="47" y="2"/>
                      <a:pt x="47" y="2"/>
                      <a:pt x="47" y="2"/>
                    </a:cubicBezTo>
                    <a:cubicBezTo>
                      <a:pt x="43" y="1"/>
                      <a:pt x="38" y="0"/>
                      <a:pt x="34" y="0"/>
                    </a:cubicBezTo>
                    <a:cubicBezTo>
                      <a:pt x="28" y="0"/>
                      <a:pt x="24" y="1"/>
                      <a:pt x="20" y="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1048961" name="ïš1îḍè"/>
              <p:cNvSpPr/>
              <p:nvPr/>
            </p:nvSpPr>
            <p:spPr bwMode="auto">
              <a:xfrm>
                <a:off x="6890003" y="5672728"/>
                <a:ext cx="165100" cy="214313"/>
              </a:xfrm>
              <a:custGeom>
                <a:avLst/>
                <a:gdLst>
                  <a:gd name="T0" fmla="*/ 71 w 90"/>
                  <a:gd name="T1" fmla="*/ 55 h 116"/>
                  <a:gd name="T2" fmla="*/ 46 w 90"/>
                  <a:gd name="T3" fmla="*/ 48 h 116"/>
                  <a:gd name="T4" fmla="*/ 23 w 90"/>
                  <a:gd name="T5" fmla="*/ 40 h 116"/>
                  <a:gd name="T6" fmla="*/ 19 w 90"/>
                  <a:gd name="T7" fmla="*/ 30 h 116"/>
                  <a:gd name="T8" fmla="*/ 25 w 90"/>
                  <a:gd name="T9" fmla="*/ 18 h 116"/>
                  <a:gd name="T10" fmla="*/ 45 w 90"/>
                  <a:gd name="T11" fmla="*/ 13 h 116"/>
                  <a:gd name="T12" fmla="*/ 64 w 90"/>
                  <a:gd name="T13" fmla="*/ 19 h 116"/>
                  <a:gd name="T14" fmla="*/ 72 w 90"/>
                  <a:gd name="T15" fmla="*/ 35 h 116"/>
                  <a:gd name="T16" fmla="*/ 86 w 90"/>
                  <a:gd name="T17" fmla="*/ 34 h 116"/>
                  <a:gd name="T18" fmla="*/ 81 w 90"/>
                  <a:gd name="T19" fmla="*/ 16 h 116"/>
                  <a:gd name="T20" fmla="*/ 66 w 90"/>
                  <a:gd name="T21" fmla="*/ 4 h 116"/>
                  <a:gd name="T22" fmla="*/ 44 w 90"/>
                  <a:gd name="T23" fmla="*/ 0 h 116"/>
                  <a:gd name="T24" fmla="*/ 24 w 90"/>
                  <a:gd name="T25" fmla="*/ 4 h 116"/>
                  <a:gd name="T26" fmla="*/ 10 w 90"/>
                  <a:gd name="T27" fmla="*/ 15 h 116"/>
                  <a:gd name="T28" fmla="*/ 5 w 90"/>
                  <a:gd name="T29" fmla="*/ 31 h 116"/>
                  <a:gd name="T30" fmla="*/ 9 w 90"/>
                  <a:gd name="T31" fmla="*/ 45 h 116"/>
                  <a:gd name="T32" fmla="*/ 21 w 90"/>
                  <a:gd name="T33" fmla="*/ 56 h 116"/>
                  <a:gd name="T34" fmla="*/ 42 w 90"/>
                  <a:gd name="T35" fmla="*/ 63 h 116"/>
                  <a:gd name="T36" fmla="*/ 62 w 90"/>
                  <a:gd name="T37" fmla="*/ 68 h 116"/>
                  <a:gd name="T38" fmla="*/ 72 w 90"/>
                  <a:gd name="T39" fmla="*/ 75 h 116"/>
                  <a:gd name="T40" fmla="*/ 75 w 90"/>
                  <a:gd name="T41" fmla="*/ 84 h 116"/>
                  <a:gd name="T42" fmla="*/ 72 w 90"/>
                  <a:gd name="T43" fmla="*/ 93 h 116"/>
                  <a:gd name="T44" fmla="*/ 63 w 90"/>
                  <a:gd name="T45" fmla="*/ 100 h 116"/>
                  <a:gd name="T46" fmla="*/ 48 w 90"/>
                  <a:gd name="T47" fmla="*/ 103 h 116"/>
                  <a:gd name="T48" fmla="*/ 30 w 90"/>
                  <a:gd name="T49" fmla="*/ 100 h 116"/>
                  <a:gd name="T50" fmla="*/ 19 w 90"/>
                  <a:gd name="T51" fmla="*/ 91 h 116"/>
                  <a:gd name="T52" fmla="*/ 14 w 90"/>
                  <a:gd name="T53" fmla="*/ 77 h 116"/>
                  <a:gd name="T54" fmla="*/ 0 w 90"/>
                  <a:gd name="T55" fmla="*/ 78 h 116"/>
                  <a:gd name="T56" fmla="*/ 7 w 90"/>
                  <a:gd name="T57" fmla="*/ 98 h 116"/>
                  <a:gd name="T58" fmla="*/ 23 w 90"/>
                  <a:gd name="T59" fmla="*/ 112 h 116"/>
                  <a:gd name="T60" fmla="*/ 48 w 90"/>
                  <a:gd name="T61" fmla="*/ 116 h 116"/>
                  <a:gd name="T62" fmla="*/ 70 w 90"/>
                  <a:gd name="T63" fmla="*/ 112 h 116"/>
                  <a:gd name="T64" fmla="*/ 85 w 90"/>
                  <a:gd name="T65" fmla="*/ 100 h 116"/>
                  <a:gd name="T66" fmla="*/ 90 w 90"/>
                  <a:gd name="T67" fmla="*/ 83 h 116"/>
                  <a:gd name="T68" fmla="*/ 85 w 90"/>
                  <a:gd name="T69" fmla="*/ 67 h 116"/>
                  <a:gd name="T70" fmla="*/ 71 w 90"/>
                  <a:gd name="T71" fmla="*/ 55 h 1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90" h="116">
                    <a:moveTo>
                      <a:pt x="71" y="55"/>
                    </a:moveTo>
                    <a:cubicBezTo>
                      <a:pt x="66" y="53"/>
                      <a:pt x="58" y="51"/>
                      <a:pt x="46" y="48"/>
                    </a:cubicBezTo>
                    <a:cubicBezTo>
                      <a:pt x="34" y="45"/>
                      <a:pt x="26" y="43"/>
                      <a:pt x="23" y="40"/>
                    </a:cubicBezTo>
                    <a:cubicBezTo>
                      <a:pt x="21" y="38"/>
                      <a:pt x="19" y="34"/>
                      <a:pt x="19" y="30"/>
                    </a:cubicBezTo>
                    <a:cubicBezTo>
                      <a:pt x="19" y="26"/>
                      <a:pt x="21" y="22"/>
                      <a:pt x="25" y="18"/>
                    </a:cubicBezTo>
                    <a:cubicBezTo>
                      <a:pt x="29" y="15"/>
                      <a:pt x="36" y="13"/>
                      <a:pt x="45" y="13"/>
                    </a:cubicBezTo>
                    <a:cubicBezTo>
                      <a:pt x="53" y="13"/>
                      <a:pt x="60" y="15"/>
                      <a:pt x="64" y="19"/>
                    </a:cubicBezTo>
                    <a:cubicBezTo>
                      <a:pt x="69" y="22"/>
                      <a:pt x="71" y="28"/>
                      <a:pt x="72" y="35"/>
                    </a:cubicBezTo>
                    <a:cubicBezTo>
                      <a:pt x="86" y="34"/>
                      <a:pt x="86" y="34"/>
                      <a:pt x="86" y="34"/>
                    </a:cubicBezTo>
                    <a:cubicBezTo>
                      <a:pt x="86" y="27"/>
                      <a:pt x="84" y="21"/>
                      <a:pt x="81" y="16"/>
                    </a:cubicBezTo>
                    <a:cubicBezTo>
                      <a:pt x="77" y="11"/>
                      <a:pt x="73" y="7"/>
                      <a:pt x="66" y="4"/>
                    </a:cubicBezTo>
                    <a:cubicBezTo>
                      <a:pt x="60" y="2"/>
                      <a:pt x="53" y="0"/>
                      <a:pt x="44" y="0"/>
                    </a:cubicBezTo>
                    <a:cubicBezTo>
                      <a:pt x="37" y="0"/>
                      <a:pt x="30" y="1"/>
                      <a:pt x="24" y="4"/>
                    </a:cubicBezTo>
                    <a:cubicBezTo>
                      <a:pt x="17" y="7"/>
                      <a:pt x="13" y="10"/>
                      <a:pt x="10" y="15"/>
                    </a:cubicBezTo>
                    <a:cubicBezTo>
                      <a:pt x="6" y="20"/>
                      <a:pt x="5" y="25"/>
                      <a:pt x="5" y="31"/>
                    </a:cubicBezTo>
                    <a:cubicBezTo>
                      <a:pt x="5" y="36"/>
                      <a:pt x="6" y="41"/>
                      <a:pt x="9" y="45"/>
                    </a:cubicBezTo>
                    <a:cubicBezTo>
                      <a:pt x="11" y="49"/>
                      <a:pt x="15" y="53"/>
                      <a:pt x="21" y="56"/>
                    </a:cubicBezTo>
                    <a:cubicBezTo>
                      <a:pt x="25" y="58"/>
                      <a:pt x="32" y="60"/>
                      <a:pt x="42" y="63"/>
                    </a:cubicBezTo>
                    <a:cubicBezTo>
                      <a:pt x="53" y="65"/>
                      <a:pt x="59" y="67"/>
                      <a:pt x="62" y="68"/>
                    </a:cubicBezTo>
                    <a:cubicBezTo>
                      <a:pt x="67" y="70"/>
                      <a:pt x="70" y="72"/>
                      <a:pt x="72" y="75"/>
                    </a:cubicBezTo>
                    <a:cubicBezTo>
                      <a:pt x="74" y="77"/>
                      <a:pt x="75" y="80"/>
                      <a:pt x="75" y="84"/>
                    </a:cubicBezTo>
                    <a:cubicBezTo>
                      <a:pt x="75" y="87"/>
                      <a:pt x="74" y="91"/>
                      <a:pt x="72" y="93"/>
                    </a:cubicBezTo>
                    <a:cubicBezTo>
                      <a:pt x="70" y="96"/>
                      <a:pt x="67" y="99"/>
                      <a:pt x="63" y="100"/>
                    </a:cubicBezTo>
                    <a:cubicBezTo>
                      <a:pt x="58" y="102"/>
                      <a:pt x="53" y="103"/>
                      <a:pt x="48" y="103"/>
                    </a:cubicBezTo>
                    <a:cubicBezTo>
                      <a:pt x="41" y="103"/>
                      <a:pt x="35" y="102"/>
                      <a:pt x="30" y="100"/>
                    </a:cubicBezTo>
                    <a:cubicBezTo>
                      <a:pt x="25" y="97"/>
                      <a:pt x="22" y="94"/>
                      <a:pt x="19" y="91"/>
                    </a:cubicBezTo>
                    <a:cubicBezTo>
                      <a:pt x="17" y="87"/>
                      <a:pt x="15" y="83"/>
                      <a:pt x="14" y="77"/>
                    </a:cubicBezTo>
                    <a:cubicBezTo>
                      <a:pt x="0" y="78"/>
                      <a:pt x="0" y="78"/>
                      <a:pt x="0" y="78"/>
                    </a:cubicBezTo>
                    <a:cubicBezTo>
                      <a:pt x="1" y="86"/>
                      <a:pt x="3" y="93"/>
                      <a:pt x="7" y="98"/>
                    </a:cubicBezTo>
                    <a:cubicBezTo>
                      <a:pt x="11" y="104"/>
                      <a:pt x="16" y="109"/>
                      <a:pt x="23" y="112"/>
                    </a:cubicBezTo>
                    <a:cubicBezTo>
                      <a:pt x="30" y="115"/>
                      <a:pt x="38" y="116"/>
                      <a:pt x="48" y="116"/>
                    </a:cubicBezTo>
                    <a:cubicBezTo>
                      <a:pt x="56" y="116"/>
                      <a:pt x="64" y="115"/>
                      <a:pt x="70" y="112"/>
                    </a:cubicBezTo>
                    <a:cubicBezTo>
                      <a:pt x="76" y="109"/>
                      <a:pt x="81" y="105"/>
                      <a:pt x="85" y="100"/>
                    </a:cubicBezTo>
                    <a:cubicBezTo>
                      <a:pt x="88" y="94"/>
                      <a:pt x="90" y="89"/>
                      <a:pt x="90" y="83"/>
                    </a:cubicBezTo>
                    <a:cubicBezTo>
                      <a:pt x="90" y="77"/>
                      <a:pt x="88" y="71"/>
                      <a:pt x="85" y="67"/>
                    </a:cubicBezTo>
                    <a:cubicBezTo>
                      <a:pt x="82" y="62"/>
                      <a:pt x="77" y="58"/>
                      <a:pt x="71" y="55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1048962" name="iṥľïḍê"/>
              <p:cNvSpPr/>
              <p:nvPr/>
            </p:nvSpPr>
            <p:spPr bwMode="auto">
              <a:xfrm>
                <a:off x="7080503" y="5729878"/>
                <a:ext cx="131763" cy="157163"/>
              </a:xfrm>
              <a:custGeom>
                <a:avLst/>
                <a:gdLst>
                  <a:gd name="T0" fmla="*/ 50 w 71"/>
                  <a:gd name="T1" fmla="*/ 69 h 85"/>
                  <a:gd name="T2" fmla="*/ 37 w 71"/>
                  <a:gd name="T3" fmla="*/ 74 h 85"/>
                  <a:gd name="T4" fmla="*/ 21 w 71"/>
                  <a:gd name="T5" fmla="*/ 66 h 85"/>
                  <a:gd name="T6" fmla="*/ 14 w 71"/>
                  <a:gd name="T7" fmla="*/ 43 h 85"/>
                  <a:gd name="T8" fmla="*/ 21 w 71"/>
                  <a:gd name="T9" fmla="*/ 19 h 85"/>
                  <a:gd name="T10" fmla="*/ 38 w 71"/>
                  <a:gd name="T11" fmla="*/ 12 h 85"/>
                  <a:gd name="T12" fmla="*/ 49 w 71"/>
                  <a:gd name="T13" fmla="*/ 16 h 85"/>
                  <a:gd name="T14" fmla="*/ 56 w 71"/>
                  <a:gd name="T15" fmla="*/ 28 h 85"/>
                  <a:gd name="T16" fmla="*/ 70 w 71"/>
                  <a:gd name="T17" fmla="*/ 26 h 85"/>
                  <a:gd name="T18" fmla="*/ 59 w 71"/>
                  <a:gd name="T19" fmla="*/ 7 h 85"/>
                  <a:gd name="T20" fmla="*/ 37 w 71"/>
                  <a:gd name="T21" fmla="*/ 0 h 85"/>
                  <a:gd name="T22" fmla="*/ 18 w 71"/>
                  <a:gd name="T23" fmla="*/ 5 h 85"/>
                  <a:gd name="T24" fmla="*/ 4 w 71"/>
                  <a:gd name="T25" fmla="*/ 20 h 85"/>
                  <a:gd name="T26" fmla="*/ 0 w 71"/>
                  <a:gd name="T27" fmla="*/ 43 h 85"/>
                  <a:gd name="T28" fmla="*/ 10 w 71"/>
                  <a:gd name="T29" fmla="*/ 74 h 85"/>
                  <a:gd name="T30" fmla="*/ 37 w 71"/>
                  <a:gd name="T31" fmla="*/ 85 h 85"/>
                  <a:gd name="T32" fmla="*/ 60 w 71"/>
                  <a:gd name="T33" fmla="*/ 77 h 85"/>
                  <a:gd name="T34" fmla="*/ 71 w 71"/>
                  <a:gd name="T35" fmla="*/ 55 h 85"/>
                  <a:gd name="T36" fmla="*/ 57 w 71"/>
                  <a:gd name="T37" fmla="*/ 54 h 85"/>
                  <a:gd name="T38" fmla="*/ 50 w 71"/>
                  <a:gd name="T39" fmla="*/ 69 h 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71" h="85">
                    <a:moveTo>
                      <a:pt x="50" y="69"/>
                    </a:moveTo>
                    <a:cubicBezTo>
                      <a:pt x="47" y="72"/>
                      <a:pt x="42" y="74"/>
                      <a:pt x="37" y="74"/>
                    </a:cubicBezTo>
                    <a:cubicBezTo>
                      <a:pt x="30" y="74"/>
                      <a:pt x="25" y="71"/>
                      <a:pt x="21" y="66"/>
                    </a:cubicBezTo>
                    <a:cubicBezTo>
                      <a:pt x="16" y="61"/>
                      <a:pt x="14" y="54"/>
                      <a:pt x="14" y="43"/>
                    </a:cubicBezTo>
                    <a:cubicBezTo>
                      <a:pt x="14" y="32"/>
                      <a:pt x="16" y="24"/>
                      <a:pt x="21" y="19"/>
                    </a:cubicBezTo>
                    <a:cubicBezTo>
                      <a:pt x="25" y="14"/>
                      <a:pt x="31" y="12"/>
                      <a:pt x="38" y="12"/>
                    </a:cubicBezTo>
                    <a:cubicBezTo>
                      <a:pt x="42" y="12"/>
                      <a:pt x="46" y="13"/>
                      <a:pt x="49" y="16"/>
                    </a:cubicBezTo>
                    <a:cubicBezTo>
                      <a:pt x="53" y="18"/>
                      <a:pt x="55" y="23"/>
                      <a:pt x="56" y="28"/>
                    </a:cubicBezTo>
                    <a:cubicBezTo>
                      <a:pt x="70" y="26"/>
                      <a:pt x="70" y="26"/>
                      <a:pt x="70" y="26"/>
                    </a:cubicBezTo>
                    <a:cubicBezTo>
                      <a:pt x="68" y="18"/>
                      <a:pt x="64" y="11"/>
                      <a:pt x="59" y="7"/>
                    </a:cubicBezTo>
                    <a:cubicBezTo>
                      <a:pt x="53" y="2"/>
                      <a:pt x="46" y="0"/>
                      <a:pt x="37" y="0"/>
                    </a:cubicBezTo>
                    <a:cubicBezTo>
                      <a:pt x="30" y="0"/>
                      <a:pt x="24" y="2"/>
                      <a:pt x="18" y="5"/>
                    </a:cubicBezTo>
                    <a:cubicBezTo>
                      <a:pt x="12" y="8"/>
                      <a:pt x="7" y="13"/>
                      <a:pt x="4" y="20"/>
                    </a:cubicBezTo>
                    <a:cubicBezTo>
                      <a:pt x="2" y="27"/>
                      <a:pt x="0" y="34"/>
                      <a:pt x="0" y="43"/>
                    </a:cubicBezTo>
                    <a:cubicBezTo>
                      <a:pt x="0" y="57"/>
                      <a:pt x="3" y="67"/>
                      <a:pt x="10" y="74"/>
                    </a:cubicBezTo>
                    <a:cubicBezTo>
                      <a:pt x="17" y="82"/>
                      <a:pt x="26" y="85"/>
                      <a:pt x="37" y="85"/>
                    </a:cubicBezTo>
                    <a:cubicBezTo>
                      <a:pt x="46" y="85"/>
                      <a:pt x="53" y="83"/>
                      <a:pt x="60" y="77"/>
                    </a:cubicBezTo>
                    <a:cubicBezTo>
                      <a:pt x="66" y="72"/>
                      <a:pt x="69" y="65"/>
                      <a:pt x="71" y="55"/>
                    </a:cubicBezTo>
                    <a:cubicBezTo>
                      <a:pt x="57" y="54"/>
                      <a:pt x="57" y="54"/>
                      <a:pt x="57" y="54"/>
                    </a:cubicBezTo>
                    <a:cubicBezTo>
                      <a:pt x="56" y="60"/>
                      <a:pt x="54" y="66"/>
                      <a:pt x="50" y="6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1048963" name="íṥ1ïdê"/>
              <p:cNvSpPr/>
              <p:nvPr/>
            </p:nvSpPr>
            <p:spPr bwMode="auto">
              <a:xfrm>
                <a:off x="7234491" y="5675903"/>
                <a:ext cx="25400" cy="30163"/>
              </a:xfrm>
              <a:prstGeom prst="rect">
                <a:avLst/>
              </a:prstGeom>
              <a:grpFill/>
              <a:ln>
                <a:noFill/>
              </a:ln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1048964" name="îṡ1îďé"/>
              <p:cNvSpPr/>
              <p:nvPr/>
            </p:nvSpPr>
            <p:spPr bwMode="auto">
              <a:xfrm>
                <a:off x="7234491" y="5733053"/>
                <a:ext cx="25400" cy="149225"/>
              </a:xfrm>
              <a:prstGeom prst="rect">
                <a:avLst/>
              </a:prstGeom>
              <a:grpFill/>
              <a:ln>
                <a:noFill/>
              </a:ln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1048965" name="íṩḷïḑé"/>
              <p:cNvSpPr/>
              <p:nvPr/>
            </p:nvSpPr>
            <p:spPr bwMode="auto">
              <a:xfrm>
                <a:off x="7290053" y="5729878"/>
                <a:ext cx="138113" cy="157163"/>
              </a:xfrm>
              <a:custGeom>
                <a:avLst/>
                <a:gdLst>
                  <a:gd name="T0" fmla="*/ 38 w 75"/>
                  <a:gd name="T1" fmla="*/ 0 h 85"/>
                  <a:gd name="T2" fmla="*/ 10 w 75"/>
                  <a:gd name="T3" fmla="*/ 12 h 85"/>
                  <a:gd name="T4" fmla="*/ 0 w 75"/>
                  <a:gd name="T5" fmla="*/ 43 h 85"/>
                  <a:gd name="T6" fmla="*/ 10 w 75"/>
                  <a:gd name="T7" fmla="*/ 74 h 85"/>
                  <a:gd name="T8" fmla="*/ 39 w 75"/>
                  <a:gd name="T9" fmla="*/ 85 h 85"/>
                  <a:gd name="T10" fmla="*/ 62 w 75"/>
                  <a:gd name="T11" fmla="*/ 78 h 85"/>
                  <a:gd name="T12" fmla="*/ 74 w 75"/>
                  <a:gd name="T13" fmla="*/ 59 h 85"/>
                  <a:gd name="T14" fmla="*/ 60 w 75"/>
                  <a:gd name="T15" fmla="*/ 57 h 85"/>
                  <a:gd name="T16" fmla="*/ 52 w 75"/>
                  <a:gd name="T17" fmla="*/ 70 h 85"/>
                  <a:gd name="T18" fmla="*/ 39 w 75"/>
                  <a:gd name="T19" fmla="*/ 74 h 85"/>
                  <a:gd name="T20" fmla="*/ 22 w 75"/>
                  <a:gd name="T21" fmla="*/ 67 h 85"/>
                  <a:gd name="T22" fmla="*/ 14 w 75"/>
                  <a:gd name="T23" fmla="*/ 46 h 85"/>
                  <a:gd name="T24" fmla="*/ 75 w 75"/>
                  <a:gd name="T25" fmla="*/ 46 h 85"/>
                  <a:gd name="T26" fmla="*/ 75 w 75"/>
                  <a:gd name="T27" fmla="*/ 43 h 85"/>
                  <a:gd name="T28" fmla="*/ 65 w 75"/>
                  <a:gd name="T29" fmla="*/ 11 h 85"/>
                  <a:gd name="T30" fmla="*/ 38 w 75"/>
                  <a:gd name="T31" fmla="*/ 0 h 85"/>
                  <a:gd name="T32" fmla="*/ 15 w 75"/>
                  <a:gd name="T33" fmla="*/ 35 h 85"/>
                  <a:gd name="T34" fmla="*/ 22 w 75"/>
                  <a:gd name="T35" fmla="*/ 18 h 85"/>
                  <a:gd name="T36" fmla="*/ 38 w 75"/>
                  <a:gd name="T37" fmla="*/ 12 h 85"/>
                  <a:gd name="T38" fmla="*/ 55 w 75"/>
                  <a:gd name="T39" fmla="*/ 20 h 85"/>
                  <a:gd name="T40" fmla="*/ 60 w 75"/>
                  <a:gd name="T41" fmla="*/ 35 h 85"/>
                  <a:gd name="T42" fmla="*/ 15 w 75"/>
                  <a:gd name="T43" fmla="*/ 35 h 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75" h="85">
                    <a:moveTo>
                      <a:pt x="38" y="0"/>
                    </a:moveTo>
                    <a:cubicBezTo>
                      <a:pt x="27" y="0"/>
                      <a:pt x="18" y="4"/>
                      <a:pt x="10" y="12"/>
                    </a:cubicBezTo>
                    <a:cubicBezTo>
                      <a:pt x="3" y="19"/>
                      <a:pt x="0" y="30"/>
                      <a:pt x="0" y="43"/>
                    </a:cubicBezTo>
                    <a:cubicBezTo>
                      <a:pt x="0" y="57"/>
                      <a:pt x="3" y="67"/>
                      <a:pt x="10" y="74"/>
                    </a:cubicBezTo>
                    <a:cubicBezTo>
                      <a:pt x="17" y="81"/>
                      <a:pt x="27" y="85"/>
                      <a:pt x="39" y="85"/>
                    </a:cubicBezTo>
                    <a:cubicBezTo>
                      <a:pt x="48" y="85"/>
                      <a:pt x="56" y="83"/>
                      <a:pt x="62" y="78"/>
                    </a:cubicBezTo>
                    <a:cubicBezTo>
                      <a:pt x="68" y="74"/>
                      <a:pt x="72" y="67"/>
                      <a:pt x="74" y="59"/>
                    </a:cubicBezTo>
                    <a:cubicBezTo>
                      <a:pt x="60" y="57"/>
                      <a:pt x="60" y="57"/>
                      <a:pt x="60" y="57"/>
                    </a:cubicBezTo>
                    <a:cubicBezTo>
                      <a:pt x="58" y="63"/>
                      <a:pt x="55" y="67"/>
                      <a:pt x="52" y="70"/>
                    </a:cubicBezTo>
                    <a:cubicBezTo>
                      <a:pt x="48" y="73"/>
                      <a:pt x="44" y="74"/>
                      <a:pt x="39" y="74"/>
                    </a:cubicBezTo>
                    <a:cubicBezTo>
                      <a:pt x="32" y="74"/>
                      <a:pt x="26" y="71"/>
                      <a:pt x="22" y="67"/>
                    </a:cubicBezTo>
                    <a:cubicBezTo>
                      <a:pt x="17" y="62"/>
                      <a:pt x="15" y="55"/>
                      <a:pt x="14" y="46"/>
                    </a:cubicBezTo>
                    <a:cubicBezTo>
                      <a:pt x="75" y="46"/>
                      <a:pt x="75" y="46"/>
                      <a:pt x="75" y="46"/>
                    </a:cubicBezTo>
                    <a:cubicBezTo>
                      <a:pt x="75" y="45"/>
                      <a:pt x="75" y="43"/>
                      <a:pt x="75" y="43"/>
                    </a:cubicBezTo>
                    <a:cubicBezTo>
                      <a:pt x="75" y="29"/>
                      <a:pt x="71" y="19"/>
                      <a:pt x="65" y="11"/>
                    </a:cubicBezTo>
                    <a:cubicBezTo>
                      <a:pt x="58" y="4"/>
                      <a:pt x="49" y="0"/>
                      <a:pt x="38" y="0"/>
                    </a:cubicBezTo>
                    <a:close/>
                    <a:moveTo>
                      <a:pt x="15" y="35"/>
                    </a:moveTo>
                    <a:cubicBezTo>
                      <a:pt x="15" y="28"/>
                      <a:pt x="18" y="22"/>
                      <a:pt x="22" y="18"/>
                    </a:cubicBezTo>
                    <a:cubicBezTo>
                      <a:pt x="26" y="14"/>
                      <a:pt x="32" y="12"/>
                      <a:pt x="38" y="12"/>
                    </a:cubicBezTo>
                    <a:cubicBezTo>
                      <a:pt x="45" y="12"/>
                      <a:pt x="51" y="14"/>
                      <a:pt x="55" y="20"/>
                    </a:cubicBezTo>
                    <a:cubicBezTo>
                      <a:pt x="58" y="23"/>
                      <a:pt x="60" y="28"/>
                      <a:pt x="60" y="35"/>
                    </a:cubicBezTo>
                    <a:lnTo>
                      <a:pt x="15" y="35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1048966" name="ïşḷiḋè"/>
              <p:cNvSpPr/>
              <p:nvPr/>
            </p:nvSpPr>
            <p:spPr bwMode="auto">
              <a:xfrm>
                <a:off x="7458328" y="5729878"/>
                <a:ext cx="122238" cy="152400"/>
              </a:xfrm>
              <a:custGeom>
                <a:avLst/>
                <a:gdLst>
                  <a:gd name="T0" fmla="*/ 61 w 66"/>
                  <a:gd name="T1" fmla="*/ 10 h 83"/>
                  <a:gd name="T2" fmla="*/ 51 w 66"/>
                  <a:gd name="T3" fmla="*/ 3 h 83"/>
                  <a:gd name="T4" fmla="*/ 38 w 66"/>
                  <a:gd name="T5" fmla="*/ 0 h 83"/>
                  <a:gd name="T6" fmla="*/ 12 w 66"/>
                  <a:gd name="T7" fmla="*/ 14 h 83"/>
                  <a:gd name="T8" fmla="*/ 12 w 66"/>
                  <a:gd name="T9" fmla="*/ 2 h 83"/>
                  <a:gd name="T10" fmla="*/ 0 w 66"/>
                  <a:gd name="T11" fmla="*/ 2 h 83"/>
                  <a:gd name="T12" fmla="*/ 0 w 66"/>
                  <a:gd name="T13" fmla="*/ 83 h 83"/>
                  <a:gd name="T14" fmla="*/ 13 w 66"/>
                  <a:gd name="T15" fmla="*/ 83 h 83"/>
                  <a:gd name="T16" fmla="*/ 13 w 66"/>
                  <a:gd name="T17" fmla="*/ 39 h 83"/>
                  <a:gd name="T18" fmla="*/ 20 w 66"/>
                  <a:gd name="T19" fmla="*/ 18 h 83"/>
                  <a:gd name="T20" fmla="*/ 35 w 66"/>
                  <a:gd name="T21" fmla="*/ 12 h 83"/>
                  <a:gd name="T22" fmla="*/ 45 w 66"/>
                  <a:gd name="T23" fmla="*/ 15 h 83"/>
                  <a:gd name="T24" fmla="*/ 50 w 66"/>
                  <a:gd name="T25" fmla="*/ 21 h 83"/>
                  <a:gd name="T26" fmla="*/ 52 w 66"/>
                  <a:gd name="T27" fmla="*/ 34 h 83"/>
                  <a:gd name="T28" fmla="*/ 52 w 66"/>
                  <a:gd name="T29" fmla="*/ 83 h 83"/>
                  <a:gd name="T30" fmla="*/ 66 w 66"/>
                  <a:gd name="T31" fmla="*/ 83 h 83"/>
                  <a:gd name="T32" fmla="*/ 66 w 66"/>
                  <a:gd name="T33" fmla="*/ 33 h 83"/>
                  <a:gd name="T34" fmla="*/ 65 w 66"/>
                  <a:gd name="T35" fmla="*/ 20 h 83"/>
                  <a:gd name="T36" fmla="*/ 61 w 66"/>
                  <a:gd name="T37" fmla="*/ 10 h 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66" h="83">
                    <a:moveTo>
                      <a:pt x="61" y="10"/>
                    </a:moveTo>
                    <a:cubicBezTo>
                      <a:pt x="59" y="7"/>
                      <a:pt x="56" y="5"/>
                      <a:pt x="51" y="3"/>
                    </a:cubicBezTo>
                    <a:cubicBezTo>
                      <a:pt x="47" y="1"/>
                      <a:pt x="43" y="0"/>
                      <a:pt x="38" y="0"/>
                    </a:cubicBezTo>
                    <a:cubicBezTo>
                      <a:pt x="27" y="0"/>
                      <a:pt x="18" y="5"/>
                      <a:pt x="12" y="14"/>
                    </a:cubicBezTo>
                    <a:cubicBezTo>
                      <a:pt x="12" y="2"/>
                      <a:pt x="12" y="2"/>
                      <a:pt x="12" y="2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83"/>
                      <a:pt x="0" y="83"/>
                      <a:pt x="0" y="83"/>
                    </a:cubicBezTo>
                    <a:cubicBezTo>
                      <a:pt x="13" y="83"/>
                      <a:pt x="13" y="83"/>
                      <a:pt x="13" y="83"/>
                    </a:cubicBezTo>
                    <a:cubicBezTo>
                      <a:pt x="13" y="39"/>
                      <a:pt x="13" y="39"/>
                      <a:pt x="13" y="39"/>
                    </a:cubicBezTo>
                    <a:cubicBezTo>
                      <a:pt x="13" y="29"/>
                      <a:pt x="16" y="21"/>
                      <a:pt x="20" y="18"/>
                    </a:cubicBezTo>
                    <a:cubicBezTo>
                      <a:pt x="24" y="14"/>
                      <a:pt x="29" y="12"/>
                      <a:pt x="35" y="12"/>
                    </a:cubicBezTo>
                    <a:cubicBezTo>
                      <a:pt x="39" y="12"/>
                      <a:pt x="42" y="13"/>
                      <a:pt x="45" y="15"/>
                    </a:cubicBezTo>
                    <a:cubicBezTo>
                      <a:pt x="47" y="16"/>
                      <a:pt x="49" y="19"/>
                      <a:pt x="50" y="21"/>
                    </a:cubicBezTo>
                    <a:cubicBezTo>
                      <a:pt x="51" y="24"/>
                      <a:pt x="52" y="28"/>
                      <a:pt x="52" y="34"/>
                    </a:cubicBezTo>
                    <a:cubicBezTo>
                      <a:pt x="52" y="83"/>
                      <a:pt x="52" y="83"/>
                      <a:pt x="52" y="83"/>
                    </a:cubicBezTo>
                    <a:cubicBezTo>
                      <a:pt x="66" y="83"/>
                      <a:pt x="66" y="83"/>
                      <a:pt x="66" y="83"/>
                    </a:cubicBezTo>
                    <a:cubicBezTo>
                      <a:pt x="66" y="33"/>
                      <a:pt x="66" y="33"/>
                      <a:pt x="66" y="33"/>
                    </a:cubicBezTo>
                    <a:cubicBezTo>
                      <a:pt x="66" y="27"/>
                      <a:pt x="65" y="23"/>
                      <a:pt x="65" y="20"/>
                    </a:cubicBezTo>
                    <a:cubicBezTo>
                      <a:pt x="64" y="16"/>
                      <a:pt x="63" y="13"/>
                      <a:pt x="61" y="1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1048967" name="îṩľiḍé"/>
              <p:cNvSpPr/>
              <p:nvPr/>
            </p:nvSpPr>
            <p:spPr bwMode="auto">
              <a:xfrm>
                <a:off x="7612316" y="5729878"/>
                <a:ext cx="128588" cy="157163"/>
              </a:xfrm>
              <a:custGeom>
                <a:avLst/>
                <a:gdLst>
                  <a:gd name="T0" fmla="*/ 50 w 70"/>
                  <a:gd name="T1" fmla="*/ 69 h 85"/>
                  <a:gd name="T2" fmla="*/ 36 w 70"/>
                  <a:gd name="T3" fmla="*/ 74 h 85"/>
                  <a:gd name="T4" fmla="*/ 20 w 70"/>
                  <a:gd name="T5" fmla="*/ 66 h 85"/>
                  <a:gd name="T6" fmla="*/ 14 w 70"/>
                  <a:gd name="T7" fmla="*/ 43 h 85"/>
                  <a:gd name="T8" fmla="*/ 20 w 70"/>
                  <a:gd name="T9" fmla="*/ 19 h 85"/>
                  <a:gd name="T10" fmla="*/ 37 w 70"/>
                  <a:gd name="T11" fmla="*/ 12 h 85"/>
                  <a:gd name="T12" fmla="*/ 49 w 70"/>
                  <a:gd name="T13" fmla="*/ 16 h 85"/>
                  <a:gd name="T14" fmla="*/ 56 w 70"/>
                  <a:gd name="T15" fmla="*/ 28 h 85"/>
                  <a:gd name="T16" fmla="*/ 69 w 70"/>
                  <a:gd name="T17" fmla="*/ 26 h 85"/>
                  <a:gd name="T18" fmla="*/ 58 w 70"/>
                  <a:gd name="T19" fmla="*/ 7 h 85"/>
                  <a:gd name="T20" fmla="*/ 37 w 70"/>
                  <a:gd name="T21" fmla="*/ 0 h 85"/>
                  <a:gd name="T22" fmla="*/ 17 w 70"/>
                  <a:gd name="T23" fmla="*/ 5 h 85"/>
                  <a:gd name="T24" fmla="*/ 4 w 70"/>
                  <a:gd name="T25" fmla="*/ 20 h 85"/>
                  <a:gd name="T26" fmla="*/ 0 w 70"/>
                  <a:gd name="T27" fmla="*/ 43 h 85"/>
                  <a:gd name="T28" fmla="*/ 10 w 70"/>
                  <a:gd name="T29" fmla="*/ 74 h 85"/>
                  <a:gd name="T30" fmla="*/ 37 w 70"/>
                  <a:gd name="T31" fmla="*/ 85 h 85"/>
                  <a:gd name="T32" fmla="*/ 59 w 70"/>
                  <a:gd name="T33" fmla="*/ 77 h 85"/>
                  <a:gd name="T34" fmla="*/ 70 w 70"/>
                  <a:gd name="T35" fmla="*/ 55 h 85"/>
                  <a:gd name="T36" fmla="*/ 57 w 70"/>
                  <a:gd name="T37" fmla="*/ 54 h 85"/>
                  <a:gd name="T38" fmla="*/ 50 w 70"/>
                  <a:gd name="T39" fmla="*/ 69 h 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70" h="85">
                    <a:moveTo>
                      <a:pt x="50" y="69"/>
                    </a:moveTo>
                    <a:cubicBezTo>
                      <a:pt x="46" y="72"/>
                      <a:pt x="42" y="74"/>
                      <a:pt x="36" y="74"/>
                    </a:cubicBezTo>
                    <a:cubicBezTo>
                      <a:pt x="30" y="74"/>
                      <a:pt x="24" y="71"/>
                      <a:pt x="20" y="66"/>
                    </a:cubicBezTo>
                    <a:cubicBezTo>
                      <a:pt x="16" y="61"/>
                      <a:pt x="14" y="54"/>
                      <a:pt x="14" y="43"/>
                    </a:cubicBezTo>
                    <a:cubicBezTo>
                      <a:pt x="14" y="32"/>
                      <a:pt x="16" y="24"/>
                      <a:pt x="20" y="19"/>
                    </a:cubicBezTo>
                    <a:cubicBezTo>
                      <a:pt x="25" y="14"/>
                      <a:pt x="30" y="12"/>
                      <a:pt x="37" y="12"/>
                    </a:cubicBezTo>
                    <a:cubicBezTo>
                      <a:pt x="42" y="12"/>
                      <a:pt x="46" y="13"/>
                      <a:pt x="49" y="16"/>
                    </a:cubicBezTo>
                    <a:cubicBezTo>
                      <a:pt x="52" y="18"/>
                      <a:pt x="54" y="23"/>
                      <a:pt x="56" y="28"/>
                    </a:cubicBezTo>
                    <a:cubicBezTo>
                      <a:pt x="69" y="26"/>
                      <a:pt x="69" y="26"/>
                      <a:pt x="69" y="26"/>
                    </a:cubicBezTo>
                    <a:cubicBezTo>
                      <a:pt x="68" y="18"/>
                      <a:pt x="64" y="11"/>
                      <a:pt x="58" y="7"/>
                    </a:cubicBezTo>
                    <a:cubicBezTo>
                      <a:pt x="53" y="2"/>
                      <a:pt x="46" y="0"/>
                      <a:pt x="37" y="0"/>
                    </a:cubicBezTo>
                    <a:cubicBezTo>
                      <a:pt x="30" y="0"/>
                      <a:pt x="23" y="2"/>
                      <a:pt x="17" y="5"/>
                    </a:cubicBezTo>
                    <a:cubicBezTo>
                      <a:pt x="11" y="8"/>
                      <a:pt x="7" y="13"/>
                      <a:pt x="4" y="20"/>
                    </a:cubicBezTo>
                    <a:cubicBezTo>
                      <a:pt x="1" y="27"/>
                      <a:pt x="0" y="34"/>
                      <a:pt x="0" y="43"/>
                    </a:cubicBezTo>
                    <a:cubicBezTo>
                      <a:pt x="0" y="57"/>
                      <a:pt x="3" y="67"/>
                      <a:pt x="10" y="74"/>
                    </a:cubicBezTo>
                    <a:cubicBezTo>
                      <a:pt x="17" y="82"/>
                      <a:pt x="26" y="85"/>
                      <a:pt x="37" y="85"/>
                    </a:cubicBezTo>
                    <a:cubicBezTo>
                      <a:pt x="45" y="85"/>
                      <a:pt x="53" y="83"/>
                      <a:pt x="59" y="77"/>
                    </a:cubicBezTo>
                    <a:cubicBezTo>
                      <a:pt x="65" y="72"/>
                      <a:pt x="69" y="65"/>
                      <a:pt x="70" y="55"/>
                    </a:cubicBezTo>
                    <a:cubicBezTo>
                      <a:pt x="57" y="54"/>
                      <a:pt x="57" y="54"/>
                      <a:pt x="57" y="54"/>
                    </a:cubicBezTo>
                    <a:cubicBezTo>
                      <a:pt x="56" y="60"/>
                      <a:pt x="54" y="66"/>
                      <a:pt x="50" y="6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1048968" name="íṡḷïďe"/>
              <p:cNvSpPr/>
              <p:nvPr/>
            </p:nvSpPr>
            <p:spPr bwMode="auto">
              <a:xfrm>
                <a:off x="7755191" y="5729878"/>
                <a:ext cx="138113" cy="157163"/>
              </a:xfrm>
              <a:custGeom>
                <a:avLst/>
                <a:gdLst>
                  <a:gd name="T0" fmla="*/ 38 w 75"/>
                  <a:gd name="T1" fmla="*/ 0 h 85"/>
                  <a:gd name="T2" fmla="*/ 10 w 75"/>
                  <a:gd name="T3" fmla="*/ 12 h 85"/>
                  <a:gd name="T4" fmla="*/ 0 w 75"/>
                  <a:gd name="T5" fmla="*/ 43 h 85"/>
                  <a:gd name="T6" fmla="*/ 10 w 75"/>
                  <a:gd name="T7" fmla="*/ 74 h 85"/>
                  <a:gd name="T8" fmla="*/ 38 w 75"/>
                  <a:gd name="T9" fmla="*/ 85 h 85"/>
                  <a:gd name="T10" fmla="*/ 62 w 75"/>
                  <a:gd name="T11" fmla="*/ 78 h 85"/>
                  <a:gd name="T12" fmla="*/ 74 w 75"/>
                  <a:gd name="T13" fmla="*/ 59 h 85"/>
                  <a:gd name="T14" fmla="*/ 60 w 75"/>
                  <a:gd name="T15" fmla="*/ 57 h 85"/>
                  <a:gd name="T16" fmla="*/ 51 w 75"/>
                  <a:gd name="T17" fmla="*/ 70 h 85"/>
                  <a:gd name="T18" fmla="*/ 38 w 75"/>
                  <a:gd name="T19" fmla="*/ 74 h 85"/>
                  <a:gd name="T20" fmla="*/ 21 w 75"/>
                  <a:gd name="T21" fmla="*/ 67 h 85"/>
                  <a:gd name="T22" fmla="*/ 14 w 75"/>
                  <a:gd name="T23" fmla="*/ 46 h 85"/>
                  <a:gd name="T24" fmla="*/ 75 w 75"/>
                  <a:gd name="T25" fmla="*/ 46 h 85"/>
                  <a:gd name="T26" fmla="*/ 75 w 75"/>
                  <a:gd name="T27" fmla="*/ 43 h 85"/>
                  <a:gd name="T28" fmla="*/ 64 w 75"/>
                  <a:gd name="T29" fmla="*/ 11 h 85"/>
                  <a:gd name="T30" fmla="*/ 38 w 75"/>
                  <a:gd name="T31" fmla="*/ 0 h 85"/>
                  <a:gd name="T32" fmla="*/ 15 w 75"/>
                  <a:gd name="T33" fmla="*/ 35 h 85"/>
                  <a:gd name="T34" fmla="*/ 22 w 75"/>
                  <a:gd name="T35" fmla="*/ 18 h 85"/>
                  <a:gd name="T36" fmla="*/ 38 w 75"/>
                  <a:gd name="T37" fmla="*/ 12 h 85"/>
                  <a:gd name="T38" fmla="*/ 55 w 75"/>
                  <a:gd name="T39" fmla="*/ 20 h 85"/>
                  <a:gd name="T40" fmla="*/ 60 w 75"/>
                  <a:gd name="T41" fmla="*/ 35 h 85"/>
                  <a:gd name="T42" fmla="*/ 15 w 75"/>
                  <a:gd name="T43" fmla="*/ 35 h 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75" h="85">
                    <a:moveTo>
                      <a:pt x="38" y="0"/>
                    </a:moveTo>
                    <a:cubicBezTo>
                      <a:pt x="26" y="0"/>
                      <a:pt x="17" y="4"/>
                      <a:pt x="10" y="12"/>
                    </a:cubicBezTo>
                    <a:cubicBezTo>
                      <a:pt x="3" y="19"/>
                      <a:pt x="0" y="30"/>
                      <a:pt x="0" y="43"/>
                    </a:cubicBezTo>
                    <a:cubicBezTo>
                      <a:pt x="0" y="57"/>
                      <a:pt x="3" y="67"/>
                      <a:pt x="10" y="74"/>
                    </a:cubicBezTo>
                    <a:cubicBezTo>
                      <a:pt x="17" y="81"/>
                      <a:pt x="26" y="85"/>
                      <a:pt x="38" y="85"/>
                    </a:cubicBezTo>
                    <a:cubicBezTo>
                      <a:pt x="48" y="85"/>
                      <a:pt x="56" y="83"/>
                      <a:pt x="62" y="78"/>
                    </a:cubicBezTo>
                    <a:cubicBezTo>
                      <a:pt x="68" y="74"/>
                      <a:pt x="72" y="67"/>
                      <a:pt x="74" y="59"/>
                    </a:cubicBezTo>
                    <a:cubicBezTo>
                      <a:pt x="60" y="57"/>
                      <a:pt x="60" y="57"/>
                      <a:pt x="60" y="57"/>
                    </a:cubicBezTo>
                    <a:cubicBezTo>
                      <a:pt x="58" y="63"/>
                      <a:pt x="55" y="67"/>
                      <a:pt x="51" y="70"/>
                    </a:cubicBezTo>
                    <a:cubicBezTo>
                      <a:pt x="48" y="73"/>
                      <a:pt x="43" y="74"/>
                      <a:pt x="38" y="74"/>
                    </a:cubicBezTo>
                    <a:cubicBezTo>
                      <a:pt x="32" y="74"/>
                      <a:pt x="26" y="71"/>
                      <a:pt x="21" y="67"/>
                    </a:cubicBezTo>
                    <a:cubicBezTo>
                      <a:pt x="17" y="62"/>
                      <a:pt x="14" y="55"/>
                      <a:pt x="14" y="46"/>
                    </a:cubicBezTo>
                    <a:cubicBezTo>
                      <a:pt x="75" y="46"/>
                      <a:pt x="75" y="46"/>
                      <a:pt x="75" y="46"/>
                    </a:cubicBezTo>
                    <a:cubicBezTo>
                      <a:pt x="75" y="45"/>
                      <a:pt x="75" y="43"/>
                      <a:pt x="75" y="43"/>
                    </a:cubicBezTo>
                    <a:cubicBezTo>
                      <a:pt x="75" y="29"/>
                      <a:pt x="71" y="19"/>
                      <a:pt x="64" y="11"/>
                    </a:cubicBezTo>
                    <a:cubicBezTo>
                      <a:pt x="57" y="4"/>
                      <a:pt x="48" y="0"/>
                      <a:pt x="38" y="0"/>
                    </a:cubicBezTo>
                    <a:close/>
                    <a:moveTo>
                      <a:pt x="15" y="35"/>
                    </a:moveTo>
                    <a:cubicBezTo>
                      <a:pt x="15" y="28"/>
                      <a:pt x="17" y="22"/>
                      <a:pt x="22" y="18"/>
                    </a:cubicBezTo>
                    <a:cubicBezTo>
                      <a:pt x="26" y="14"/>
                      <a:pt x="31" y="12"/>
                      <a:pt x="38" y="12"/>
                    </a:cubicBezTo>
                    <a:cubicBezTo>
                      <a:pt x="45" y="12"/>
                      <a:pt x="50" y="14"/>
                      <a:pt x="55" y="20"/>
                    </a:cubicBezTo>
                    <a:cubicBezTo>
                      <a:pt x="58" y="23"/>
                      <a:pt x="59" y="28"/>
                      <a:pt x="60" y="35"/>
                    </a:cubicBezTo>
                    <a:lnTo>
                      <a:pt x="15" y="35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1048969" name="í$ľîde"/>
              <p:cNvSpPr/>
              <p:nvPr/>
            </p:nvSpPr>
            <p:spPr bwMode="auto">
              <a:xfrm>
                <a:off x="7994903" y="5729878"/>
                <a:ext cx="138113" cy="157163"/>
              </a:xfrm>
              <a:custGeom>
                <a:avLst/>
                <a:gdLst>
                  <a:gd name="T0" fmla="*/ 71 w 75"/>
                  <a:gd name="T1" fmla="*/ 49 h 85"/>
                  <a:gd name="T2" fmla="*/ 71 w 75"/>
                  <a:gd name="T3" fmla="*/ 31 h 85"/>
                  <a:gd name="T4" fmla="*/ 70 w 75"/>
                  <a:gd name="T5" fmla="*/ 18 h 85"/>
                  <a:gd name="T6" fmla="*/ 66 w 75"/>
                  <a:gd name="T7" fmla="*/ 9 h 85"/>
                  <a:gd name="T8" fmla="*/ 56 w 75"/>
                  <a:gd name="T9" fmla="*/ 3 h 85"/>
                  <a:gd name="T10" fmla="*/ 39 w 75"/>
                  <a:gd name="T11" fmla="*/ 0 h 85"/>
                  <a:gd name="T12" fmla="*/ 21 w 75"/>
                  <a:gd name="T13" fmla="*/ 3 h 85"/>
                  <a:gd name="T14" fmla="*/ 9 w 75"/>
                  <a:gd name="T15" fmla="*/ 11 h 85"/>
                  <a:gd name="T16" fmla="*/ 3 w 75"/>
                  <a:gd name="T17" fmla="*/ 25 h 85"/>
                  <a:gd name="T18" fmla="*/ 16 w 75"/>
                  <a:gd name="T19" fmla="*/ 27 h 85"/>
                  <a:gd name="T20" fmla="*/ 23 w 75"/>
                  <a:gd name="T21" fmla="*/ 15 h 85"/>
                  <a:gd name="T22" fmla="*/ 37 w 75"/>
                  <a:gd name="T23" fmla="*/ 12 h 85"/>
                  <a:gd name="T24" fmla="*/ 53 w 75"/>
                  <a:gd name="T25" fmla="*/ 16 h 85"/>
                  <a:gd name="T26" fmla="*/ 57 w 75"/>
                  <a:gd name="T27" fmla="*/ 28 h 85"/>
                  <a:gd name="T28" fmla="*/ 57 w 75"/>
                  <a:gd name="T29" fmla="*/ 32 h 85"/>
                  <a:gd name="T30" fmla="*/ 32 w 75"/>
                  <a:gd name="T31" fmla="*/ 36 h 85"/>
                  <a:gd name="T32" fmla="*/ 20 w 75"/>
                  <a:gd name="T33" fmla="*/ 39 h 85"/>
                  <a:gd name="T34" fmla="*/ 10 w 75"/>
                  <a:gd name="T35" fmla="*/ 43 h 85"/>
                  <a:gd name="T36" fmla="*/ 3 w 75"/>
                  <a:gd name="T37" fmla="*/ 51 h 85"/>
                  <a:gd name="T38" fmla="*/ 0 w 75"/>
                  <a:gd name="T39" fmla="*/ 62 h 85"/>
                  <a:gd name="T40" fmla="*/ 7 w 75"/>
                  <a:gd name="T41" fmla="*/ 79 h 85"/>
                  <a:gd name="T42" fmla="*/ 28 w 75"/>
                  <a:gd name="T43" fmla="*/ 85 h 85"/>
                  <a:gd name="T44" fmla="*/ 43 w 75"/>
                  <a:gd name="T45" fmla="*/ 82 h 85"/>
                  <a:gd name="T46" fmla="*/ 58 w 75"/>
                  <a:gd name="T47" fmla="*/ 73 h 85"/>
                  <a:gd name="T48" fmla="*/ 61 w 75"/>
                  <a:gd name="T49" fmla="*/ 83 h 85"/>
                  <a:gd name="T50" fmla="*/ 75 w 75"/>
                  <a:gd name="T51" fmla="*/ 83 h 85"/>
                  <a:gd name="T52" fmla="*/ 72 w 75"/>
                  <a:gd name="T53" fmla="*/ 74 h 85"/>
                  <a:gd name="T54" fmla="*/ 71 w 75"/>
                  <a:gd name="T55" fmla="*/ 49 h 85"/>
                  <a:gd name="T56" fmla="*/ 57 w 75"/>
                  <a:gd name="T57" fmla="*/ 48 h 85"/>
                  <a:gd name="T58" fmla="*/ 55 w 75"/>
                  <a:gd name="T59" fmla="*/ 61 h 85"/>
                  <a:gd name="T60" fmla="*/ 46 w 75"/>
                  <a:gd name="T61" fmla="*/ 71 h 85"/>
                  <a:gd name="T62" fmla="*/ 31 w 75"/>
                  <a:gd name="T63" fmla="*/ 74 h 85"/>
                  <a:gd name="T64" fmla="*/ 19 w 75"/>
                  <a:gd name="T65" fmla="*/ 71 h 85"/>
                  <a:gd name="T66" fmla="*/ 15 w 75"/>
                  <a:gd name="T67" fmla="*/ 62 h 85"/>
                  <a:gd name="T68" fmla="*/ 17 w 75"/>
                  <a:gd name="T69" fmla="*/ 55 h 85"/>
                  <a:gd name="T70" fmla="*/ 22 w 75"/>
                  <a:gd name="T71" fmla="*/ 50 h 85"/>
                  <a:gd name="T72" fmla="*/ 34 w 75"/>
                  <a:gd name="T73" fmla="*/ 48 h 85"/>
                  <a:gd name="T74" fmla="*/ 57 w 75"/>
                  <a:gd name="T75" fmla="*/ 43 h 85"/>
                  <a:gd name="T76" fmla="*/ 57 w 75"/>
                  <a:gd name="T77" fmla="*/ 48 h 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75" h="85">
                    <a:moveTo>
                      <a:pt x="71" y="49"/>
                    </a:moveTo>
                    <a:cubicBezTo>
                      <a:pt x="71" y="31"/>
                      <a:pt x="71" y="31"/>
                      <a:pt x="71" y="31"/>
                    </a:cubicBezTo>
                    <a:cubicBezTo>
                      <a:pt x="71" y="25"/>
                      <a:pt x="71" y="21"/>
                      <a:pt x="70" y="18"/>
                    </a:cubicBezTo>
                    <a:cubicBezTo>
                      <a:pt x="69" y="14"/>
                      <a:pt x="68" y="11"/>
                      <a:pt x="66" y="9"/>
                    </a:cubicBezTo>
                    <a:cubicBezTo>
                      <a:pt x="64" y="6"/>
                      <a:pt x="61" y="4"/>
                      <a:pt x="56" y="3"/>
                    </a:cubicBezTo>
                    <a:cubicBezTo>
                      <a:pt x="52" y="1"/>
                      <a:pt x="46" y="0"/>
                      <a:pt x="39" y="0"/>
                    </a:cubicBezTo>
                    <a:cubicBezTo>
                      <a:pt x="32" y="0"/>
                      <a:pt x="26" y="1"/>
                      <a:pt x="21" y="3"/>
                    </a:cubicBezTo>
                    <a:cubicBezTo>
                      <a:pt x="16" y="5"/>
                      <a:pt x="12" y="8"/>
                      <a:pt x="9" y="11"/>
                    </a:cubicBezTo>
                    <a:cubicBezTo>
                      <a:pt x="6" y="15"/>
                      <a:pt x="4" y="19"/>
                      <a:pt x="3" y="25"/>
                    </a:cubicBezTo>
                    <a:cubicBezTo>
                      <a:pt x="16" y="27"/>
                      <a:pt x="16" y="27"/>
                      <a:pt x="16" y="27"/>
                    </a:cubicBezTo>
                    <a:cubicBezTo>
                      <a:pt x="18" y="21"/>
                      <a:pt x="20" y="17"/>
                      <a:pt x="23" y="15"/>
                    </a:cubicBezTo>
                    <a:cubicBezTo>
                      <a:pt x="26" y="13"/>
                      <a:pt x="31" y="12"/>
                      <a:pt x="37" y="12"/>
                    </a:cubicBezTo>
                    <a:cubicBezTo>
                      <a:pt x="44" y="12"/>
                      <a:pt x="50" y="13"/>
                      <a:pt x="53" y="16"/>
                    </a:cubicBezTo>
                    <a:cubicBezTo>
                      <a:pt x="56" y="19"/>
                      <a:pt x="57" y="23"/>
                      <a:pt x="57" y="28"/>
                    </a:cubicBezTo>
                    <a:cubicBezTo>
                      <a:pt x="57" y="29"/>
                      <a:pt x="57" y="30"/>
                      <a:pt x="57" y="32"/>
                    </a:cubicBezTo>
                    <a:cubicBezTo>
                      <a:pt x="52" y="34"/>
                      <a:pt x="43" y="35"/>
                      <a:pt x="32" y="36"/>
                    </a:cubicBezTo>
                    <a:cubicBezTo>
                      <a:pt x="27" y="37"/>
                      <a:pt x="23" y="38"/>
                      <a:pt x="20" y="39"/>
                    </a:cubicBezTo>
                    <a:cubicBezTo>
                      <a:pt x="16" y="40"/>
                      <a:pt x="13" y="41"/>
                      <a:pt x="10" y="43"/>
                    </a:cubicBezTo>
                    <a:cubicBezTo>
                      <a:pt x="7" y="45"/>
                      <a:pt x="5" y="48"/>
                      <a:pt x="3" y="51"/>
                    </a:cubicBezTo>
                    <a:cubicBezTo>
                      <a:pt x="1" y="54"/>
                      <a:pt x="0" y="58"/>
                      <a:pt x="0" y="62"/>
                    </a:cubicBezTo>
                    <a:cubicBezTo>
                      <a:pt x="0" y="69"/>
                      <a:pt x="3" y="74"/>
                      <a:pt x="7" y="79"/>
                    </a:cubicBezTo>
                    <a:cubicBezTo>
                      <a:pt x="12" y="83"/>
                      <a:pt x="19" y="85"/>
                      <a:pt x="28" y="85"/>
                    </a:cubicBezTo>
                    <a:cubicBezTo>
                      <a:pt x="33" y="85"/>
                      <a:pt x="39" y="84"/>
                      <a:pt x="43" y="82"/>
                    </a:cubicBezTo>
                    <a:cubicBezTo>
                      <a:pt x="48" y="81"/>
                      <a:pt x="53" y="78"/>
                      <a:pt x="58" y="73"/>
                    </a:cubicBezTo>
                    <a:cubicBezTo>
                      <a:pt x="58" y="77"/>
                      <a:pt x="59" y="80"/>
                      <a:pt x="61" y="83"/>
                    </a:cubicBezTo>
                    <a:cubicBezTo>
                      <a:pt x="75" y="83"/>
                      <a:pt x="75" y="83"/>
                      <a:pt x="75" y="83"/>
                    </a:cubicBezTo>
                    <a:cubicBezTo>
                      <a:pt x="73" y="80"/>
                      <a:pt x="72" y="77"/>
                      <a:pt x="72" y="74"/>
                    </a:cubicBezTo>
                    <a:cubicBezTo>
                      <a:pt x="71" y="70"/>
                      <a:pt x="71" y="62"/>
                      <a:pt x="71" y="49"/>
                    </a:cubicBezTo>
                    <a:close/>
                    <a:moveTo>
                      <a:pt x="57" y="48"/>
                    </a:moveTo>
                    <a:cubicBezTo>
                      <a:pt x="57" y="54"/>
                      <a:pt x="56" y="58"/>
                      <a:pt x="55" y="61"/>
                    </a:cubicBezTo>
                    <a:cubicBezTo>
                      <a:pt x="53" y="65"/>
                      <a:pt x="50" y="69"/>
                      <a:pt x="46" y="71"/>
                    </a:cubicBezTo>
                    <a:cubicBezTo>
                      <a:pt x="41" y="73"/>
                      <a:pt x="37" y="74"/>
                      <a:pt x="31" y="74"/>
                    </a:cubicBezTo>
                    <a:cubicBezTo>
                      <a:pt x="26" y="74"/>
                      <a:pt x="22" y="73"/>
                      <a:pt x="19" y="71"/>
                    </a:cubicBezTo>
                    <a:cubicBezTo>
                      <a:pt x="16" y="68"/>
                      <a:pt x="15" y="65"/>
                      <a:pt x="15" y="62"/>
                    </a:cubicBezTo>
                    <a:cubicBezTo>
                      <a:pt x="15" y="59"/>
                      <a:pt x="16" y="57"/>
                      <a:pt x="17" y="55"/>
                    </a:cubicBezTo>
                    <a:cubicBezTo>
                      <a:pt x="18" y="53"/>
                      <a:pt x="20" y="52"/>
                      <a:pt x="22" y="50"/>
                    </a:cubicBezTo>
                    <a:cubicBezTo>
                      <a:pt x="25" y="49"/>
                      <a:pt x="29" y="49"/>
                      <a:pt x="34" y="48"/>
                    </a:cubicBezTo>
                    <a:cubicBezTo>
                      <a:pt x="44" y="46"/>
                      <a:pt x="52" y="45"/>
                      <a:pt x="57" y="43"/>
                    </a:cubicBezTo>
                    <a:lnTo>
                      <a:pt x="57" y="48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1048970" name="ï$ḻíḋê"/>
              <p:cNvSpPr/>
              <p:nvPr/>
            </p:nvSpPr>
            <p:spPr bwMode="auto">
              <a:xfrm>
                <a:off x="8164766" y="5729878"/>
                <a:ext cx="122238" cy="152400"/>
              </a:xfrm>
              <a:custGeom>
                <a:avLst/>
                <a:gdLst>
                  <a:gd name="T0" fmla="*/ 61 w 66"/>
                  <a:gd name="T1" fmla="*/ 10 h 83"/>
                  <a:gd name="T2" fmla="*/ 52 w 66"/>
                  <a:gd name="T3" fmla="*/ 3 h 83"/>
                  <a:gd name="T4" fmla="*/ 38 w 66"/>
                  <a:gd name="T5" fmla="*/ 0 h 83"/>
                  <a:gd name="T6" fmla="*/ 13 w 66"/>
                  <a:gd name="T7" fmla="*/ 14 h 83"/>
                  <a:gd name="T8" fmla="*/ 13 w 66"/>
                  <a:gd name="T9" fmla="*/ 2 h 83"/>
                  <a:gd name="T10" fmla="*/ 0 w 66"/>
                  <a:gd name="T11" fmla="*/ 2 h 83"/>
                  <a:gd name="T12" fmla="*/ 0 w 66"/>
                  <a:gd name="T13" fmla="*/ 83 h 83"/>
                  <a:gd name="T14" fmla="*/ 14 w 66"/>
                  <a:gd name="T15" fmla="*/ 83 h 83"/>
                  <a:gd name="T16" fmla="*/ 14 w 66"/>
                  <a:gd name="T17" fmla="*/ 39 h 83"/>
                  <a:gd name="T18" fmla="*/ 20 w 66"/>
                  <a:gd name="T19" fmla="*/ 18 h 83"/>
                  <a:gd name="T20" fmla="*/ 36 w 66"/>
                  <a:gd name="T21" fmla="*/ 12 h 83"/>
                  <a:gd name="T22" fmla="*/ 45 w 66"/>
                  <a:gd name="T23" fmla="*/ 15 h 83"/>
                  <a:gd name="T24" fmla="*/ 51 w 66"/>
                  <a:gd name="T25" fmla="*/ 21 h 83"/>
                  <a:gd name="T26" fmla="*/ 52 w 66"/>
                  <a:gd name="T27" fmla="*/ 34 h 83"/>
                  <a:gd name="T28" fmla="*/ 52 w 66"/>
                  <a:gd name="T29" fmla="*/ 83 h 83"/>
                  <a:gd name="T30" fmla="*/ 66 w 66"/>
                  <a:gd name="T31" fmla="*/ 83 h 83"/>
                  <a:gd name="T32" fmla="*/ 66 w 66"/>
                  <a:gd name="T33" fmla="*/ 33 h 83"/>
                  <a:gd name="T34" fmla="*/ 65 w 66"/>
                  <a:gd name="T35" fmla="*/ 20 h 83"/>
                  <a:gd name="T36" fmla="*/ 61 w 66"/>
                  <a:gd name="T37" fmla="*/ 10 h 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66" h="83">
                    <a:moveTo>
                      <a:pt x="61" y="10"/>
                    </a:moveTo>
                    <a:cubicBezTo>
                      <a:pt x="59" y="7"/>
                      <a:pt x="56" y="5"/>
                      <a:pt x="52" y="3"/>
                    </a:cubicBezTo>
                    <a:cubicBezTo>
                      <a:pt x="48" y="1"/>
                      <a:pt x="43" y="0"/>
                      <a:pt x="38" y="0"/>
                    </a:cubicBezTo>
                    <a:cubicBezTo>
                      <a:pt x="27" y="0"/>
                      <a:pt x="19" y="5"/>
                      <a:pt x="13" y="14"/>
                    </a:cubicBezTo>
                    <a:cubicBezTo>
                      <a:pt x="13" y="2"/>
                      <a:pt x="13" y="2"/>
                      <a:pt x="13" y="2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83"/>
                      <a:pt x="0" y="83"/>
                      <a:pt x="0" y="83"/>
                    </a:cubicBezTo>
                    <a:cubicBezTo>
                      <a:pt x="14" y="83"/>
                      <a:pt x="14" y="83"/>
                      <a:pt x="14" y="83"/>
                    </a:cubicBezTo>
                    <a:cubicBezTo>
                      <a:pt x="14" y="39"/>
                      <a:pt x="14" y="39"/>
                      <a:pt x="14" y="39"/>
                    </a:cubicBezTo>
                    <a:cubicBezTo>
                      <a:pt x="14" y="29"/>
                      <a:pt x="16" y="21"/>
                      <a:pt x="20" y="18"/>
                    </a:cubicBezTo>
                    <a:cubicBezTo>
                      <a:pt x="25" y="14"/>
                      <a:pt x="30" y="12"/>
                      <a:pt x="36" y="12"/>
                    </a:cubicBezTo>
                    <a:cubicBezTo>
                      <a:pt x="39" y="12"/>
                      <a:pt x="42" y="13"/>
                      <a:pt x="45" y="15"/>
                    </a:cubicBezTo>
                    <a:cubicBezTo>
                      <a:pt x="48" y="16"/>
                      <a:pt x="50" y="19"/>
                      <a:pt x="51" y="21"/>
                    </a:cubicBezTo>
                    <a:cubicBezTo>
                      <a:pt x="52" y="24"/>
                      <a:pt x="52" y="28"/>
                      <a:pt x="52" y="34"/>
                    </a:cubicBezTo>
                    <a:cubicBezTo>
                      <a:pt x="52" y="83"/>
                      <a:pt x="52" y="83"/>
                      <a:pt x="52" y="83"/>
                    </a:cubicBezTo>
                    <a:cubicBezTo>
                      <a:pt x="66" y="83"/>
                      <a:pt x="66" y="83"/>
                      <a:pt x="66" y="83"/>
                    </a:cubicBezTo>
                    <a:cubicBezTo>
                      <a:pt x="66" y="33"/>
                      <a:pt x="66" y="33"/>
                      <a:pt x="66" y="33"/>
                    </a:cubicBezTo>
                    <a:cubicBezTo>
                      <a:pt x="66" y="27"/>
                      <a:pt x="66" y="23"/>
                      <a:pt x="65" y="20"/>
                    </a:cubicBezTo>
                    <a:cubicBezTo>
                      <a:pt x="65" y="16"/>
                      <a:pt x="63" y="13"/>
                      <a:pt x="61" y="1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1048971" name="îśḻïďè"/>
              <p:cNvSpPr/>
              <p:nvPr/>
            </p:nvSpPr>
            <p:spPr bwMode="auto">
              <a:xfrm>
                <a:off x="8315578" y="5675903"/>
                <a:ext cx="131763" cy="211138"/>
              </a:xfrm>
              <a:custGeom>
                <a:avLst/>
                <a:gdLst>
                  <a:gd name="T0" fmla="*/ 57 w 71"/>
                  <a:gd name="T1" fmla="*/ 40 h 114"/>
                  <a:gd name="T2" fmla="*/ 48 w 71"/>
                  <a:gd name="T3" fmla="*/ 32 h 114"/>
                  <a:gd name="T4" fmla="*/ 35 w 71"/>
                  <a:gd name="T5" fmla="*/ 29 h 114"/>
                  <a:gd name="T6" fmla="*/ 17 w 71"/>
                  <a:gd name="T7" fmla="*/ 35 h 114"/>
                  <a:gd name="T8" fmla="*/ 4 w 71"/>
                  <a:gd name="T9" fmla="*/ 50 h 114"/>
                  <a:gd name="T10" fmla="*/ 0 w 71"/>
                  <a:gd name="T11" fmla="*/ 72 h 114"/>
                  <a:gd name="T12" fmla="*/ 5 w 71"/>
                  <a:gd name="T13" fmla="*/ 94 h 114"/>
                  <a:gd name="T14" fmla="*/ 17 w 71"/>
                  <a:gd name="T15" fmla="*/ 109 h 114"/>
                  <a:gd name="T16" fmla="*/ 35 w 71"/>
                  <a:gd name="T17" fmla="*/ 114 h 114"/>
                  <a:gd name="T18" fmla="*/ 58 w 71"/>
                  <a:gd name="T19" fmla="*/ 102 h 114"/>
                  <a:gd name="T20" fmla="*/ 58 w 71"/>
                  <a:gd name="T21" fmla="*/ 112 h 114"/>
                  <a:gd name="T22" fmla="*/ 71 w 71"/>
                  <a:gd name="T23" fmla="*/ 112 h 114"/>
                  <a:gd name="T24" fmla="*/ 71 w 71"/>
                  <a:gd name="T25" fmla="*/ 0 h 114"/>
                  <a:gd name="T26" fmla="*/ 57 w 71"/>
                  <a:gd name="T27" fmla="*/ 0 h 114"/>
                  <a:gd name="T28" fmla="*/ 57 w 71"/>
                  <a:gd name="T29" fmla="*/ 40 h 114"/>
                  <a:gd name="T30" fmla="*/ 52 w 71"/>
                  <a:gd name="T31" fmla="*/ 95 h 114"/>
                  <a:gd name="T32" fmla="*/ 37 w 71"/>
                  <a:gd name="T33" fmla="*/ 103 h 114"/>
                  <a:gd name="T34" fmla="*/ 21 w 71"/>
                  <a:gd name="T35" fmla="*/ 95 h 114"/>
                  <a:gd name="T36" fmla="*/ 15 w 71"/>
                  <a:gd name="T37" fmla="*/ 72 h 114"/>
                  <a:gd name="T38" fmla="*/ 21 w 71"/>
                  <a:gd name="T39" fmla="*/ 48 h 114"/>
                  <a:gd name="T40" fmla="*/ 36 w 71"/>
                  <a:gd name="T41" fmla="*/ 41 h 114"/>
                  <a:gd name="T42" fmla="*/ 52 w 71"/>
                  <a:gd name="T43" fmla="*/ 48 h 114"/>
                  <a:gd name="T44" fmla="*/ 58 w 71"/>
                  <a:gd name="T45" fmla="*/ 73 h 114"/>
                  <a:gd name="T46" fmla="*/ 52 w 71"/>
                  <a:gd name="T47" fmla="*/ 95 h 1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71" h="114">
                    <a:moveTo>
                      <a:pt x="57" y="40"/>
                    </a:moveTo>
                    <a:cubicBezTo>
                      <a:pt x="55" y="37"/>
                      <a:pt x="52" y="34"/>
                      <a:pt x="48" y="32"/>
                    </a:cubicBezTo>
                    <a:cubicBezTo>
                      <a:pt x="44" y="30"/>
                      <a:pt x="40" y="29"/>
                      <a:pt x="35" y="29"/>
                    </a:cubicBezTo>
                    <a:cubicBezTo>
                      <a:pt x="28" y="29"/>
                      <a:pt x="22" y="31"/>
                      <a:pt x="17" y="35"/>
                    </a:cubicBezTo>
                    <a:cubicBezTo>
                      <a:pt x="11" y="38"/>
                      <a:pt x="7" y="43"/>
                      <a:pt x="4" y="50"/>
                    </a:cubicBezTo>
                    <a:cubicBezTo>
                      <a:pt x="2" y="56"/>
                      <a:pt x="0" y="64"/>
                      <a:pt x="0" y="72"/>
                    </a:cubicBezTo>
                    <a:cubicBezTo>
                      <a:pt x="0" y="80"/>
                      <a:pt x="2" y="87"/>
                      <a:pt x="5" y="94"/>
                    </a:cubicBezTo>
                    <a:cubicBezTo>
                      <a:pt x="8" y="100"/>
                      <a:pt x="12" y="105"/>
                      <a:pt x="17" y="109"/>
                    </a:cubicBezTo>
                    <a:cubicBezTo>
                      <a:pt x="23" y="112"/>
                      <a:pt x="29" y="114"/>
                      <a:pt x="35" y="114"/>
                    </a:cubicBezTo>
                    <a:cubicBezTo>
                      <a:pt x="45" y="114"/>
                      <a:pt x="53" y="110"/>
                      <a:pt x="58" y="102"/>
                    </a:cubicBezTo>
                    <a:cubicBezTo>
                      <a:pt x="58" y="112"/>
                      <a:pt x="58" y="112"/>
                      <a:pt x="58" y="112"/>
                    </a:cubicBezTo>
                    <a:cubicBezTo>
                      <a:pt x="71" y="112"/>
                      <a:pt x="71" y="112"/>
                      <a:pt x="71" y="112"/>
                    </a:cubicBezTo>
                    <a:cubicBezTo>
                      <a:pt x="71" y="0"/>
                      <a:pt x="71" y="0"/>
                      <a:pt x="71" y="0"/>
                    </a:cubicBezTo>
                    <a:cubicBezTo>
                      <a:pt x="57" y="0"/>
                      <a:pt x="57" y="0"/>
                      <a:pt x="57" y="0"/>
                    </a:cubicBezTo>
                    <a:lnTo>
                      <a:pt x="57" y="40"/>
                    </a:lnTo>
                    <a:close/>
                    <a:moveTo>
                      <a:pt x="52" y="95"/>
                    </a:moveTo>
                    <a:cubicBezTo>
                      <a:pt x="48" y="100"/>
                      <a:pt x="43" y="103"/>
                      <a:pt x="37" y="103"/>
                    </a:cubicBezTo>
                    <a:cubicBezTo>
                      <a:pt x="31" y="103"/>
                      <a:pt x="25" y="100"/>
                      <a:pt x="21" y="95"/>
                    </a:cubicBezTo>
                    <a:cubicBezTo>
                      <a:pt x="17" y="90"/>
                      <a:pt x="15" y="82"/>
                      <a:pt x="15" y="72"/>
                    </a:cubicBezTo>
                    <a:cubicBezTo>
                      <a:pt x="15" y="61"/>
                      <a:pt x="17" y="53"/>
                      <a:pt x="21" y="48"/>
                    </a:cubicBezTo>
                    <a:cubicBezTo>
                      <a:pt x="25" y="43"/>
                      <a:pt x="30" y="41"/>
                      <a:pt x="36" y="41"/>
                    </a:cubicBezTo>
                    <a:cubicBezTo>
                      <a:pt x="42" y="41"/>
                      <a:pt x="48" y="43"/>
                      <a:pt x="52" y="48"/>
                    </a:cubicBezTo>
                    <a:cubicBezTo>
                      <a:pt x="56" y="54"/>
                      <a:pt x="58" y="62"/>
                      <a:pt x="58" y="73"/>
                    </a:cubicBezTo>
                    <a:cubicBezTo>
                      <a:pt x="58" y="83"/>
                      <a:pt x="56" y="91"/>
                      <a:pt x="52" y="95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1048972" name="iṡľîdé"/>
              <p:cNvSpPr/>
              <p:nvPr/>
            </p:nvSpPr>
            <p:spPr bwMode="auto">
              <a:xfrm>
                <a:off x="8550528" y="5675903"/>
                <a:ext cx="163513" cy="206375"/>
              </a:xfrm>
              <a:custGeom>
                <a:avLst/>
                <a:gdLst>
                  <a:gd name="T0" fmla="*/ 103 w 103"/>
                  <a:gd name="T1" fmla="*/ 0 h 130"/>
                  <a:gd name="T2" fmla="*/ 0 w 103"/>
                  <a:gd name="T3" fmla="*/ 0 h 130"/>
                  <a:gd name="T4" fmla="*/ 0 w 103"/>
                  <a:gd name="T5" fmla="*/ 15 h 130"/>
                  <a:gd name="T6" fmla="*/ 43 w 103"/>
                  <a:gd name="T7" fmla="*/ 15 h 130"/>
                  <a:gd name="T8" fmla="*/ 43 w 103"/>
                  <a:gd name="T9" fmla="*/ 130 h 130"/>
                  <a:gd name="T10" fmla="*/ 59 w 103"/>
                  <a:gd name="T11" fmla="*/ 130 h 130"/>
                  <a:gd name="T12" fmla="*/ 59 w 103"/>
                  <a:gd name="T13" fmla="*/ 15 h 130"/>
                  <a:gd name="T14" fmla="*/ 103 w 103"/>
                  <a:gd name="T15" fmla="*/ 15 h 130"/>
                  <a:gd name="T16" fmla="*/ 103 w 103"/>
                  <a:gd name="T17" fmla="*/ 0 h 1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03" h="130">
                    <a:moveTo>
                      <a:pt x="103" y="0"/>
                    </a:moveTo>
                    <a:lnTo>
                      <a:pt x="0" y="0"/>
                    </a:lnTo>
                    <a:lnTo>
                      <a:pt x="0" y="15"/>
                    </a:lnTo>
                    <a:lnTo>
                      <a:pt x="43" y="15"/>
                    </a:lnTo>
                    <a:lnTo>
                      <a:pt x="43" y="130"/>
                    </a:lnTo>
                    <a:lnTo>
                      <a:pt x="59" y="130"/>
                    </a:lnTo>
                    <a:lnTo>
                      <a:pt x="59" y="15"/>
                    </a:lnTo>
                    <a:lnTo>
                      <a:pt x="103" y="15"/>
                    </a:lnTo>
                    <a:lnTo>
                      <a:pt x="103" y="0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1048973" name="íṥḻíḋé"/>
              <p:cNvSpPr/>
              <p:nvPr/>
            </p:nvSpPr>
            <p:spPr bwMode="auto">
              <a:xfrm>
                <a:off x="8698166" y="5729878"/>
                <a:ext cx="138113" cy="157163"/>
              </a:xfrm>
              <a:custGeom>
                <a:avLst/>
                <a:gdLst>
                  <a:gd name="T0" fmla="*/ 38 w 75"/>
                  <a:gd name="T1" fmla="*/ 0 h 85"/>
                  <a:gd name="T2" fmla="*/ 11 w 75"/>
                  <a:gd name="T3" fmla="*/ 12 h 85"/>
                  <a:gd name="T4" fmla="*/ 0 w 75"/>
                  <a:gd name="T5" fmla="*/ 43 h 85"/>
                  <a:gd name="T6" fmla="*/ 10 w 75"/>
                  <a:gd name="T7" fmla="*/ 74 h 85"/>
                  <a:gd name="T8" fmla="*/ 39 w 75"/>
                  <a:gd name="T9" fmla="*/ 85 h 85"/>
                  <a:gd name="T10" fmla="*/ 62 w 75"/>
                  <a:gd name="T11" fmla="*/ 78 h 85"/>
                  <a:gd name="T12" fmla="*/ 74 w 75"/>
                  <a:gd name="T13" fmla="*/ 59 h 85"/>
                  <a:gd name="T14" fmla="*/ 60 w 75"/>
                  <a:gd name="T15" fmla="*/ 57 h 85"/>
                  <a:gd name="T16" fmla="*/ 52 w 75"/>
                  <a:gd name="T17" fmla="*/ 70 h 85"/>
                  <a:gd name="T18" fmla="*/ 39 w 75"/>
                  <a:gd name="T19" fmla="*/ 74 h 85"/>
                  <a:gd name="T20" fmla="*/ 22 w 75"/>
                  <a:gd name="T21" fmla="*/ 67 h 85"/>
                  <a:gd name="T22" fmla="*/ 14 w 75"/>
                  <a:gd name="T23" fmla="*/ 46 h 85"/>
                  <a:gd name="T24" fmla="*/ 75 w 75"/>
                  <a:gd name="T25" fmla="*/ 46 h 85"/>
                  <a:gd name="T26" fmla="*/ 75 w 75"/>
                  <a:gd name="T27" fmla="*/ 43 h 85"/>
                  <a:gd name="T28" fmla="*/ 65 w 75"/>
                  <a:gd name="T29" fmla="*/ 11 h 85"/>
                  <a:gd name="T30" fmla="*/ 38 w 75"/>
                  <a:gd name="T31" fmla="*/ 0 h 85"/>
                  <a:gd name="T32" fmla="*/ 15 w 75"/>
                  <a:gd name="T33" fmla="*/ 35 h 85"/>
                  <a:gd name="T34" fmla="*/ 22 w 75"/>
                  <a:gd name="T35" fmla="*/ 18 h 85"/>
                  <a:gd name="T36" fmla="*/ 38 w 75"/>
                  <a:gd name="T37" fmla="*/ 12 h 85"/>
                  <a:gd name="T38" fmla="*/ 55 w 75"/>
                  <a:gd name="T39" fmla="*/ 20 h 85"/>
                  <a:gd name="T40" fmla="*/ 60 w 75"/>
                  <a:gd name="T41" fmla="*/ 35 h 85"/>
                  <a:gd name="T42" fmla="*/ 15 w 75"/>
                  <a:gd name="T43" fmla="*/ 35 h 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75" h="85">
                    <a:moveTo>
                      <a:pt x="38" y="0"/>
                    </a:moveTo>
                    <a:cubicBezTo>
                      <a:pt x="27" y="0"/>
                      <a:pt x="18" y="4"/>
                      <a:pt x="11" y="12"/>
                    </a:cubicBezTo>
                    <a:cubicBezTo>
                      <a:pt x="4" y="19"/>
                      <a:pt x="0" y="30"/>
                      <a:pt x="0" y="43"/>
                    </a:cubicBezTo>
                    <a:cubicBezTo>
                      <a:pt x="0" y="57"/>
                      <a:pt x="3" y="67"/>
                      <a:pt x="10" y="74"/>
                    </a:cubicBezTo>
                    <a:cubicBezTo>
                      <a:pt x="17" y="81"/>
                      <a:pt x="27" y="85"/>
                      <a:pt x="39" y="85"/>
                    </a:cubicBezTo>
                    <a:cubicBezTo>
                      <a:pt x="48" y="85"/>
                      <a:pt x="56" y="83"/>
                      <a:pt x="62" y="78"/>
                    </a:cubicBezTo>
                    <a:cubicBezTo>
                      <a:pt x="68" y="74"/>
                      <a:pt x="72" y="67"/>
                      <a:pt x="74" y="59"/>
                    </a:cubicBezTo>
                    <a:cubicBezTo>
                      <a:pt x="60" y="57"/>
                      <a:pt x="60" y="57"/>
                      <a:pt x="60" y="57"/>
                    </a:cubicBezTo>
                    <a:cubicBezTo>
                      <a:pt x="58" y="63"/>
                      <a:pt x="55" y="67"/>
                      <a:pt x="52" y="70"/>
                    </a:cubicBezTo>
                    <a:cubicBezTo>
                      <a:pt x="48" y="73"/>
                      <a:pt x="44" y="74"/>
                      <a:pt x="39" y="74"/>
                    </a:cubicBezTo>
                    <a:cubicBezTo>
                      <a:pt x="32" y="74"/>
                      <a:pt x="26" y="71"/>
                      <a:pt x="22" y="67"/>
                    </a:cubicBezTo>
                    <a:cubicBezTo>
                      <a:pt x="17" y="62"/>
                      <a:pt x="15" y="55"/>
                      <a:pt x="14" y="46"/>
                    </a:cubicBezTo>
                    <a:cubicBezTo>
                      <a:pt x="75" y="46"/>
                      <a:pt x="75" y="46"/>
                      <a:pt x="75" y="46"/>
                    </a:cubicBezTo>
                    <a:cubicBezTo>
                      <a:pt x="75" y="45"/>
                      <a:pt x="75" y="43"/>
                      <a:pt x="75" y="43"/>
                    </a:cubicBezTo>
                    <a:cubicBezTo>
                      <a:pt x="75" y="29"/>
                      <a:pt x="72" y="19"/>
                      <a:pt x="65" y="11"/>
                    </a:cubicBezTo>
                    <a:cubicBezTo>
                      <a:pt x="58" y="4"/>
                      <a:pt x="49" y="0"/>
                      <a:pt x="38" y="0"/>
                    </a:cubicBezTo>
                    <a:close/>
                    <a:moveTo>
                      <a:pt x="15" y="35"/>
                    </a:moveTo>
                    <a:cubicBezTo>
                      <a:pt x="15" y="28"/>
                      <a:pt x="18" y="22"/>
                      <a:pt x="22" y="18"/>
                    </a:cubicBezTo>
                    <a:cubicBezTo>
                      <a:pt x="26" y="14"/>
                      <a:pt x="32" y="12"/>
                      <a:pt x="38" y="12"/>
                    </a:cubicBezTo>
                    <a:cubicBezTo>
                      <a:pt x="45" y="12"/>
                      <a:pt x="51" y="14"/>
                      <a:pt x="55" y="20"/>
                    </a:cubicBezTo>
                    <a:cubicBezTo>
                      <a:pt x="58" y="23"/>
                      <a:pt x="60" y="28"/>
                      <a:pt x="60" y="35"/>
                    </a:cubicBezTo>
                    <a:lnTo>
                      <a:pt x="15" y="35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1048974" name="ïṡļïḍè"/>
              <p:cNvSpPr/>
              <p:nvPr/>
            </p:nvSpPr>
            <p:spPr bwMode="auto">
              <a:xfrm>
                <a:off x="8860091" y="5729878"/>
                <a:ext cx="128588" cy="157163"/>
              </a:xfrm>
              <a:custGeom>
                <a:avLst/>
                <a:gdLst>
                  <a:gd name="T0" fmla="*/ 50 w 70"/>
                  <a:gd name="T1" fmla="*/ 69 h 85"/>
                  <a:gd name="T2" fmla="*/ 36 w 70"/>
                  <a:gd name="T3" fmla="*/ 74 h 85"/>
                  <a:gd name="T4" fmla="*/ 20 w 70"/>
                  <a:gd name="T5" fmla="*/ 66 h 85"/>
                  <a:gd name="T6" fmla="*/ 14 w 70"/>
                  <a:gd name="T7" fmla="*/ 43 h 85"/>
                  <a:gd name="T8" fmla="*/ 20 w 70"/>
                  <a:gd name="T9" fmla="*/ 19 h 85"/>
                  <a:gd name="T10" fmla="*/ 37 w 70"/>
                  <a:gd name="T11" fmla="*/ 12 h 85"/>
                  <a:gd name="T12" fmla="*/ 49 w 70"/>
                  <a:gd name="T13" fmla="*/ 16 h 85"/>
                  <a:gd name="T14" fmla="*/ 56 w 70"/>
                  <a:gd name="T15" fmla="*/ 28 h 85"/>
                  <a:gd name="T16" fmla="*/ 69 w 70"/>
                  <a:gd name="T17" fmla="*/ 26 h 85"/>
                  <a:gd name="T18" fmla="*/ 58 w 70"/>
                  <a:gd name="T19" fmla="*/ 7 h 85"/>
                  <a:gd name="T20" fmla="*/ 37 w 70"/>
                  <a:gd name="T21" fmla="*/ 0 h 85"/>
                  <a:gd name="T22" fmla="*/ 17 w 70"/>
                  <a:gd name="T23" fmla="*/ 5 h 85"/>
                  <a:gd name="T24" fmla="*/ 4 w 70"/>
                  <a:gd name="T25" fmla="*/ 20 h 85"/>
                  <a:gd name="T26" fmla="*/ 0 w 70"/>
                  <a:gd name="T27" fmla="*/ 43 h 85"/>
                  <a:gd name="T28" fmla="*/ 10 w 70"/>
                  <a:gd name="T29" fmla="*/ 74 h 85"/>
                  <a:gd name="T30" fmla="*/ 37 w 70"/>
                  <a:gd name="T31" fmla="*/ 85 h 85"/>
                  <a:gd name="T32" fmla="*/ 59 w 70"/>
                  <a:gd name="T33" fmla="*/ 77 h 85"/>
                  <a:gd name="T34" fmla="*/ 70 w 70"/>
                  <a:gd name="T35" fmla="*/ 55 h 85"/>
                  <a:gd name="T36" fmla="*/ 57 w 70"/>
                  <a:gd name="T37" fmla="*/ 54 h 85"/>
                  <a:gd name="T38" fmla="*/ 50 w 70"/>
                  <a:gd name="T39" fmla="*/ 69 h 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70" h="85">
                    <a:moveTo>
                      <a:pt x="50" y="69"/>
                    </a:moveTo>
                    <a:cubicBezTo>
                      <a:pt x="46" y="72"/>
                      <a:pt x="42" y="74"/>
                      <a:pt x="36" y="74"/>
                    </a:cubicBezTo>
                    <a:cubicBezTo>
                      <a:pt x="30" y="74"/>
                      <a:pt x="24" y="71"/>
                      <a:pt x="20" y="66"/>
                    </a:cubicBezTo>
                    <a:cubicBezTo>
                      <a:pt x="16" y="61"/>
                      <a:pt x="14" y="54"/>
                      <a:pt x="14" y="43"/>
                    </a:cubicBezTo>
                    <a:cubicBezTo>
                      <a:pt x="14" y="32"/>
                      <a:pt x="16" y="24"/>
                      <a:pt x="20" y="19"/>
                    </a:cubicBezTo>
                    <a:cubicBezTo>
                      <a:pt x="25" y="14"/>
                      <a:pt x="30" y="12"/>
                      <a:pt x="37" y="12"/>
                    </a:cubicBezTo>
                    <a:cubicBezTo>
                      <a:pt x="42" y="12"/>
                      <a:pt x="46" y="13"/>
                      <a:pt x="49" y="16"/>
                    </a:cubicBezTo>
                    <a:cubicBezTo>
                      <a:pt x="52" y="18"/>
                      <a:pt x="54" y="23"/>
                      <a:pt x="56" y="28"/>
                    </a:cubicBezTo>
                    <a:cubicBezTo>
                      <a:pt x="69" y="26"/>
                      <a:pt x="69" y="26"/>
                      <a:pt x="69" y="26"/>
                    </a:cubicBezTo>
                    <a:cubicBezTo>
                      <a:pt x="67" y="18"/>
                      <a:pt x="64" y="11"/>
                      <a:pt x="58" y="7"/>
                    </a:cubicBezTo>
                    <a:cubicBezTo>
                      <a:pt x="53" y="2"/>
                      <a:pt x="45" y="0"/>
                      <a:pt x="37" y="0"/>
                    </a:cubicBezTo>
                    <a:cubicBezTo>
                      <a:pt x="30" y="0"/>
                      <a:pt x="23" y="2"/>
                      <a:pt x="17" y="5"/>
                    </a:cubicBezTo>
                    <a:cubicBezTo>
                      <a:pt x="11" y="8"/>
                      <a:pt x="7" y="13"/>
                      <a:pt x="4" y="20"/>
                    </a:cubicBezTo>
                    <a:cubicBezTo>
                      <a:pt x="1" y="27"/>
                      <a:pt x="0" y="34"/>
                      <a:pt x="0" y="43"/>
                    </a:cubicBezTo>
                    <a:cubicBezTo>
                      <a:pt x="0" y="57"/>
                      <a:pt x="3" y="67"/>
                      <a:pt x="10" y="74"/>
                    </a:cubicBezTo>
                    <a:cubicBezTo>
                      <a:pt x="16" y="82"/>
                      <a:pt x="25" y="85"/>
                      <a:pt x="37" y="85"/>
                    </a:cubicBezTo>
                    <a:cubicBezTo>
                      <a:pt x="45" y="85"/>
                      <a:pt x="53" y="83"/>
                      <a:pt x="59" y="77"/>
                    </a:cubicBezTo>
                    <a:cubicBezTo>
                      <a:pt x="65" y="72"/>
                      <a:pt x="69" y="65"/>
                      <a:pt x="70" y="55"/>
                    </a:cubicBezTo>
                    <a:cubicBezTo>
                      <a:pt x="57" y="54"/>
                      <a:pt x="57" y="54"/>
                      <a:pt x="57" y="54"/>
                    </a:cubicBezTo>
                    <a:cubicBezTo>
                      <a:pt x="56" y="60"/>
                      <a:pt x="54" y="66"/>
                      <a:pt x="50" y="6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1048975" name="iṩḷídê"/>
              <p:cNvSpPr/>
              <p:nvPr/>
            </p:nvSpPr>
            <p:spPr bwMode="auto">
              <a:xfrm>
                <a:off x="9010903" y="5675903"/>
                <a:ext cx="122238" cy="206375"/>
              </a:xfrm>
              <a:custGeom>
                <a:avLst/>
                <a:gdLst>
                  <a:gd name="T0" fmla="*/ 54 w 66"/>
                  <a:gd name="T1" fmla="*/ 33 h 112"/>
                  <a:gd name="T2" fmla="*/ 38 w 66"/>
                  <a:gd name="T3" fmla="*/ 29 h 112"/>
                  <a:gd name="T4" fmla="*/ 14 w 66"/>
                  <a:gd name="T5" fmla="*/ 40 h 112"/>
                  <a:gd name="T6" fmla="*/ 14 w 66"/>
                  <a:gd name="T7" fmla="*/ 0 h 112"/>
                  <a:gd name="T8" fmla="*/ 0 w 66"/>
                  <a:gd name="T9" fmla="*/ 0 h 112"/>
                  <a:gd name="T10" fmla="*/ 0 w 66"/>
                  <a:gd name="T11" fmla="*/ 112 h 112"/>
                  <a:gd name="T12" fmla="*/ 14 w 66"/>
                  <a:gd name="T13" fmla="*/ 112 h 112"/>
                  <a:gd name="T14" fmla="*/ 14 w 66"/>
                  <a:gd name="T15" fmla="*/ 68 h 112"/>
                  <a:gd name="T16" fmla="*/ 16 w 66"/>
                  <a:gd name="T17" fmla="*/ 53 h 112"/>
                  <a:gd name="T18" fmla="*/ 24 w 66"/>
                  <a:gd name="T19" fmla="*/ 44 h 112"/>
                  <a:gd name="T20" fmla="*/ 35 w 66"/>
                  <a:gd name="T21" fmla="*/ 41 h 112"/>
                  <a:gd name="T22" fmla="*/ 48 w 66"/>
                  <a:gd name="T23" fmla="*/ 46 h 112"/>
                  <a:gd name="T24" fmla="*/ 53 w 66"/>
                  <a:gd name="T25" fmla="*/ 61 h 112"/>
                  <a:gd name="T26" fmla="*/ 53 w 66"/>
                  <a:gd name="T27" fmla="*/ 112 h 112"/>
                  <a:gd name="T28" fmla="*/ 66 w 66"/>
                  <a:gd name="T29" fmla="*/ 112 h 112"/>
                  <a:gd name="T30" fmla="*/ 66 w 66"/>
                  <a:gd name="T31" fmla="*/ 61 h 112"/>
                  <a:gd name="T32" fmla="*/ 63 w 66"/>
                  <a:gd name="T33" fmla="*/ 43 h 112"/>
                  <a:gd name="T34" fmla="*/ 54 w 66"/>
                  <a:gd name="T35" fmla="*/ 33 h 1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66" h="112">
                    <a:moveTo>
                      <a:pt x="54" y="33"/>
                    </a:moveTo>
                    <a:cubicBezTo>
                      <a:pt x="50" y="30"/>
                      <a:pt x="44" y="29"/>
                      <a:pt x="38" y="29"/>
                    </a:cubicBezTo>
                    <a:cubicBezTo>
                      <a:pt x="28" y="29"/>
                      <a:pt x="20" y="33"/>
                      <a:pt x="14" y="4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112"/>
                      <a:pt x="0" y="112"/>
                      <a:pt x="0" y="112"/>
                    </a:cubicBezTo>
                    <a:cubicBezTo>
                      <a:pt x="14" y="112"/>
                      <a:pt x="14" y="112"/>
                      <a:pt x="14" y="112"/>
                    </a:cubicBezTo>
                    <a:cubicBezTo>
                      <a:pt x="14" y="68"/>
                      <a:pt x="14" y="68"/>
                      <a:pt x="14" y="68"/>
                    </a:cubicBezTo>
                    <a:cubicBezTo>
                      <a:pt x="14" y="61"/>
                      <a:pt x="15" y="56"/>
                      <a:pt x="16" y="53"/>
                    </a:cubicBezTo>
                    <a:cubicBezTo>
                      <a:pt x="18" y="49"/>
                      <a:pt x="20" y="46"/>
                      <a:pt x="24" y="44"/>
                    </a:cubicBezTo>
                    <a:cubicBezTo>
                      <a:pt x="28" y="42"/>
                      <a:pt x="31" y="41"/>
                      <a:pt x="35" y="41"/>
                    </a:cubicBezTo>
                    <a:cubicBezTo>
                      <a:pt x="41" y="41"/>
                      <a:pt x="45" y="43"/>
                      <a:pt x="48" y="46"/>
                    </a:cubicBezTo>
                    <a:cubicBezTo>
                      <a:pt x="51" y="49"/>
                      <a:pt x="53" y="54"/>
                      <a:pt x="53" y="61"/>
                    </a:cubicBezTo>
                    <a:cubicBezTo>
                      <a:pt x="53" y="112"/>
                      <a:pt x="53" y="112"/>
                      <a:pt x="53" y="112"/>
                    </a:cubicBezTo>
                    <a:cubicBezTo>
                      <a:pt x="66" y="112"/>
                      <a:pt x="66" y="112"/>
                      <a:pt x="66" y="112"/>
                    </a:cubicBezTo>
                    <a:cubicBezTo>
                      <a:pt x="66" y="61"/>
                      <a:pt x="66" y="61"/>
                      <a:pt x="66" y="61"/>
                    </a:cubicBezTo>
                    <a:cubicBezTo>
                      <a:pt x="66" y="53"/>
                      <a:pt x="65" y="47"/>
                      <a:pt x="63" y="43"/>
                    </a:cubicBezTo>
                    <a:cubicBezTo>
                      <a:pt x="62" y="38"/>
                      <a:pt x="58" y="35"/>
                      <a:pt x="54" y="33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1048976" name="íslîḍe"/>
              <p:cNvSpPr/>
              <p:nvPr/>
            </p:nvSpPr>
            <p:spPr bwMode="auto">
              <a:xfrm>
                <a:off x="9171241" y="5729878"/>
                <a:ext cx="122238" cy="152400"/>
              </a:xfrm>
              <a:custGeom>
                <a:avLst/>
                <a:gdLst>
                  <a:gd name="T0" fmla="*/ 61 w 66"/>
                  <a:gd name="T1" fmla="*/ 10 h 83"/>
                  <a:gd name="T2" fmla="*/ 52 w 66"/>
                  <a:gd name="T3" fmla="*/ 3 h 83"/>
                  <a:gd name="T4" fmla="*/ 39 w 66"/>
                  <a:gd name="T5" fmla="*/ 0 h 83"/>
                  <a:gd name="T6" fmla="*/ 13 w 66"/>
                  <a:gd name="T7" fmla="*/ 14 h 83"/>
                  <a:gd name="T8" fmla="*/ 13 w 66"/>
                  <a:gd name="T9" fmla="*/ 2 h 83"/>
                  <a:gd name="T10" fmla="*/ 0 w 66"/>
                  <a:gd name="T11" fmla="*/ 2 h 83"/>
                  <a:gd name="T12" fmla="*/ 0 w 66"/>
                  <a:gd name="T13" fmla="*/ 83 h 83"/>
                  <a:gd name="T14" fmla="*/ 14 w 66"/>
                  <a:gd name="T15" fmla="*/ 83 h 83"/>
                  <a:gd name="T16" fmla="*/ 14 w 66"/>
                  <a:gd name="T17" fmla="*/ 39 h 83"/>
                  <a:gd name="T18" fmla="*/ 20 w 66"/>
                  <a:gd name="T19" fmla="*/ 18 h 83"/>
                  <a:gd name="T20" fmla="*/ 36 w 66"/>
                  <a:gd name="T21" fmla="*/ 12 h 83"/>
                  <a:gd name="T22" fmla="*/ 45 w 66"/>
                  <a:gd name="T23" fmla="*/ 15 h 83"/>
                  <a:gd name="T24" fmla="*/ 51 w 66"/>
                  <a:gd name="T25" fmla="*/ 21 h 83"/>
                  <a:gd name="T26" fmla="*/ 53 w 66"/>
                  <a:gd name="T27" fmla="*/ 34 h 83"/>
                  <a:gd name="T28" fmla="*/ 53 w 66"/>
                  <a:gd name="T29" fmla="*/ 83 h 83"/>
                  <a:gd name="T30" fmla="*/ 66 w 66"/>
                  <a:gd name="T31" fmla="*/ 83 h 83"/>
                  <a:gd name="T32" fmla="*/ 66 w 66"/>
                  <a:gd name="T33" fmla="*/ 33 h 83"/>
                  <a:gd name="T34" fmla="*/ 66 w 66"/>
                  <a:gd name="T35" fmla="*/ 20 h 83"/>
                  <a:gd name="T36" fmla="*/ 61 w 66"/>
                  <a:gd name="T37" fmla="*/ 10 h 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66" h="83">
                    <a:moveTo>
                      <a:pt x="61" y="10"/>
                    </a:moveTo>
                    <a:cubicBezTo>
                      <a:pt x="59" y="7"/>
                      <a:pt x="56" y="5"/>
                      <a:pt x="52" y="3"/>
                    </a:cubicBezTo>
                    <a:cubicBezTo>
                      <a:pt x="48" y="1"/>
                      <a:pt x="43" y="0"/>
                      <a:pt x="39" y="0"/>
                    </a:cubicBezTo>
                    <a:cubicBezTo>
                      <a:pt x="27" y="0"/>
                      <a:pt x="19" y="5"/>
                      <a:pt x="13" y="14"/>
                    </a:cubicBezTo>
                    <a:cubicBezTo>
                      <a:pt x="13" y="2"/>
                      <a:pt x="13" y="2"/>
                      <a:pt x="13" y="2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83"/>
                      <a:pt x="0" y="83"/>
                      <a:pt x="0" y="83"/>
                    </a:cubicBezTo>
                    <a:cubicBezTo>
                      <a:pt x="14" y="83"/>
                      <a:pt x="14" y="83"/>
                      <a:pt x="14" y="83"/>
                    </a:cubicBezTo>
                    <a:cubicBezTo>
                      <a:pt x="14" y="39"/>
                      <a:pt x="14" y="39"/>
                      <a:pt x="14" y="39"/>
                    </a:cubicBezTo>
                    <a:cubicBezTo>
                      <a:pt x="14" y="29"/>
                      <a:pt x="16" y="21"/>
                      <a:pt x="20" y="18"/>
                    </a:cubicBezTo>
                    <a:cubicBezTo>
                      <a:pt x="25" y="14"/>
                      <a:pt x="30" y="12"/>
                      <a:pt x="36" y="12"/>
                    </a:cubicBezTo>
                    <a:cubicBezTo>
                      <a:pt x="39" y="12"/>
                      <a:pt x="43" y="13"/>
                      <a:pt x="45" y="15"/>
                    </a:cubicBezTo>
                    <a:cubicBezTo>
                      <a:pt x="48" y="16"/>
                      <a:pt x="50" y="19"/>
                      <a:pt x="51" y="21"/>
                    </a:cubicBezTo>
                    <a:cubicBezTo>
                      <a:pt x="52" y="24"/>
                      <a:pt x="53" y="28"/>
                      <a:pt x="53" y="34"/>
                    </a:cubicBezTo>
                    <a:cubicBezTo>
                      <a:pt x="53" y="83"/>
                      <a:pt x="53" y="83"/>
                      <a:pt x="53" y="83"/>
                    </a:cubicBezTo>
                    <a:cubicBezTo>
                      <a:pt x="66" y="83"/>
                      <a:pt x="66" y="83"/>
                      <a:pt x="66" y="83"/>
                    </a:cubicBezTo>
                    <a:cubicBezTo>
                      <a:pt x="66" y="33"/>
                      <a:pt x="66" y="33"/>
                      <a:pt x="66" y="33"/>
                    </a:cubicBezTo>
                    <a:cubicBezTo>
                      <a:pt x="66" y="27"/>
                      <a:pt x="66" y="23"/>
                      <a:pt x="66" y="20"/>
                    </a:cubicBezTo>
                    <a:cubicBezTo>
                      <a:pt x="65" y="16"/>
                      <a:pt x="63" y="13"/>
                      <a:pt x="61" y="1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1048977" name="ïṣľíḓè"/>
              <p:cNvSpPr/>
              <p:nvPr/>
            </p:nvSpPr>
            <p:spPr bwMode="auto">
              <a:xfrm>
                <a:off x="9322053" y="5729878"/>
                <a:ext cx="142875" cy="157163"/>
              </a:xfrm>
              <a:custGeom>
                <a:avLst/>
                <a:gdLst>
                  <a:gd name="T0" fmla="*/ 38 w 77"/>
                  <a:gd name="T1" fmla="*/ 0 h 85"/>
                  <a:gd name="T2" fmla="*/ 13 w 77"/>
                  <a:gd name="T3" fmla="*/ 9 h 85"/>
                  <a:gd name="T4" fmla="*/ 0 w 77"/>
                  <a:gd name="T5" fmla="*/ 43 h 85"/>
                  <a:gd name="T6" fmla="*/ 11 w 77"/>
                  <a:gd name="T7" fmla="*/ 74 h 85"/>
                  <a:gd name="T8" fmla="*/ 38 w 77"/>
                  <a:gd name="T9" fmla="*/ 85 h 85"/>
                  <a:gd name="T10" fmla="*/ 58 w 77"/>
                  <a:gd name="T11" fmla="*/ 80 h 85"/>
                  <a:gd name="T12" fmla="*/ 72 w 77"/>
                  <a:gd name="T13" fmla="*/ 66 h 85"/>
                  <a:gd name="T14" fmla="*/ 77 w 77"/>
                  <a:gd name="T15" fmla="*/ 42 h 85"/>
                  <a:gd name="T16" fmla="*/ 66 w 77"/>
                  <a:gd name="T17" fmla="*/ 11 h 85"/>
                  <a:gd name="T18" fmla="*/ 38 w 77"/>
                  <a:gd name="T19" fmla="*/ 0 h 85"/>
                  <a:gd name="T20" fmla="*/ 56 w 77"/>
                  <a:gd name="T21" fmla="*/ 66 h 85"/>
                  <a:gd name="T22" fmla="*/ 38 w 77"/>
                  <a:gd name="T23" fmla="*/ 74 h 85"/>
                  <a:gd name="T24" fmla="*/ 21 w 77"/>
                  <a:gd name="T25" fmla="*/ 66 h 85"/>
                  <a:gd name="T26" fmla="*/ 15 w 77"/>
                  <a:gd name="T27" fmla="*/ 43 h 85"/>
                  <a:gd name="T28" fmla="*/ 21 w 77"/>
                  <a:gd name="T29" fmla="*/ 19 h 85"/>
                  <a:gd name="T30" fmla="*/ 38 w 77"/>
                  <a:gd name="T31" fmla="*/ 12 h 85"/>
                  <a:gd name="T32" fmla="*/ 56 w 77"/>
                  <a:gd name="T33" fmla="*/ 19 h 85"/>
                  <a:gd name="T34" fmla="*/ 62 w 77"/>
                  <a:gd name="T35" fmla="*/ 42 h 85"/>
                  <a:gd name="T36" fmla="*/ 56 w 77"/>
                  <a:gd name="T37" fmla="*/ 66 h 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77" h="85">
                    <a:moveTo>
                      <a:pt x="38" y="0"/>
                    </a:moveTo>
                    <a:cubicBezTo>
                      <a:pt x="28" y="0"/>
                      <a:pt x="20" y="3"/>
                      <a:pt x="13" y="9"/>
                    </a:cubicBezTo>
                    <a:cubicBezTo>
                      <a:pt x="5" y="16"/>
                      <a:pt x="0" y="28"/>
                      <a:pt x="0" y="43"/>
                    </a:cubicBezTo>
                    <a:cubicBezTo>
                      <a:pt x="0" y="56"/>
                      <a:pt x="4" y="67"/>
                      <a:pt x="11" y="74"/>
                    </a:cubicBezTo>
                    <a:cubicBezTo>
                      <a:pt x="18" y="82"/>
                      <a:pt x="27" y="85"/>
                      <a:pt x="38" y="85"/>
                    </a:cubicBezTo>
                    <a:cubicBezTo>
                      <a:pt x="46" y="85"/>
                      <a:pt x="52" y="84"/>
                      <a:pt x="58" y="80"/>
                    </a:cubicBezTo>
                    <a:cubicBezTo>
                      <a:pt x="64" y="77"/>
                      <a:pt x="69" y="72"/>
                      <a:pt x="72" y="66"/>
                    </a:cubicBezTo>
                    <a:cubicBezTo>
                      <a:pt x="75" y="60"/>
                      <a:pt x="77" y="52"/>
                      <a:pt x="77" y="42"/>
                    </a:cubicBezTo>
                    <a:cubicBezTo>
                      <a:pt x="77" y="29"/>
                      <a:pt x="73" y="19"/>
                      <a:pt x="66" y="11"/>
                    </a:cubicBezTo>
                    <a:cubicBezTo>
                      <a:pt x="59" y="4"/>
                      <a:pt x="50" y="0"/>
                      <a:pt x="38" y="0"/>
                    </a:cubicBezTo>
                    <a:close/>
                    <a:moveTo>
                      <a:pt x="56" y="66"/>
                    </a:moveTo>
                    <a:cubicBezTo>
                      <a:pt x="51" y="71"/>
                      <a:pt x="45" y="74"/>
                      <a:pt x="38" y="74"/>
                    </a:cubicBezTo>
                    <a:cubicBezTo>
                      <a:pt x="32" y="74"/>
                      <a:pt x="26" y="71"/>
                      <a:pt x="21" y="66"/>
                    </a:cubicBezTo>
                    <a:cubicBezTo>
                      <a:pt x="17" y="61"/>
                      <a:pt x="15" y="53"/>
                      <a:pt x="15" y="43"/>
                    </a:cubicBezTo>
                    <a:cubicBezTo>
                      <a:pt x="15" y="32"/>
                      <a:pt x="17" y="24"/>
                      <a:pt x="21" y="19"/>
                    </a:cubicBezTo>
                    <a:cubicBezTo>
                      <a:pt x="26" y="14"/>
                      <a:pt x="32" y="12"/>
                      <a:pt x="38" y="12"/>
                    </a:cubicBezTo>
                    <a:cubicBezTo>
                      <a:pt x="45" y="12"/>
                      <a:pt x="51" y="14"/>
                      <a:pt x="56" y="19"/>
                    </a:cubicBezTo>
                    <a:cubicBezTo>
                      <a:pt x="60" y="25"/>
                      <a:pt x="62" y="32"/>
                      <a:pt x="62" y="42"/>
                    </a:cubicBezTo>
                    <a:cubicBezTo>
                      <a:pt x="62" y="53"/>
                      <a:pt x="60" y="61"/>
                      <a:pt x="56" y="66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1048978" name="îš1ïḋé"/>
              <p:cNvSpPr/>
              <p:nvPr/>
            </p:nvSpPr>
            <p:spPr bwMode="auto">
              <a:xfrm>
                <a:off x="9491916" y="5675903"/>
                <a:ext cx="25400" cy="206375"/>
              </a:xfrm>
              <a:prstGeom prst="rect">
                <a:avLst/>
              </a:prstGeom>
              <a:grpFill/>
              <a:ln>
                <a:noFill/>
              </a:ln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1048979" name="íŝḻíḍê"/>
              <p:cNvSpPr/>
              <p:nvPr/>
            </p:nvSpPr>
            <p:spPr bwMode="auto">
              <a:xfrm>
                <a:off x="9547478" y="5729878"/>
                <a:ext cx="141288" cy="157163"/>
              </a:xfrm>
              <a:custGeom>
                <a:avLst/>
                <a:gdLst>
                  <a:gd name="T0" fmla="*/ 38 w 77"/>
                  <a:gd name="T1" fmla="*/ 0 h 85"/>
                  <a:gd name="T2" fmla="*/ 13 w 77"/>
                  <a:gd name="T3" fmla="*/ 9 h 85"/>
                  <a:gd name="T4" fmla="*/ 0 w 77"/>
                  <a:gd name="T5" fmla="*/ 43 h 85"/>
                  <a:gd name="T6" fmla="*/ 11 w 77"/>
                  <a:gd name="T7" fmla="*/ 74 h 85"/>
                  <a:gd name="T8" fmla="*/ 38 w 77"/>
                  <a:gd name="T9" fmla="*/ 85 h 85"/>
                  <a:gd name="T10" fmla="*/ 58 w 77"/>
                  <a:gd name="T11" fmla="*/ 80 h 85"/>
                  <a:gd name="T12" fmla="*/ 72 w 77"/>
                  <a:gd name="T13" fmla="*/ 66 h 85"/>
                  <a:gd name="T14" fmla="*/ 77 w 77"/>
                  <a:gd name="T15" fmla="*/ 42 h 85"/>
                  <a:gd name="T16" fmla="*/ 66 w 77"/>
                  <a:gd name="T17" fmla="*/ 11 h 85"/>
                  <a:gd name="T18" fmla="*/ 38 w 77"/>
                  <a:gd name="T19" fmla="*/ 0 h 85"/>
                  <a:gd name="T20" fmla="*/ 56 w 77"/>
                  <a:gd name="T21" fmla="*/ 66 h 85"/>
                  <a:gd name="T22" fmla="*/ 38 w 77"/>
                  <a:gd name="T23" fmla="*/ 74 h 85"/>
                  <a:gd name="T24" fmla="*/ 21 w 77"/>
                  <a:gd name="T25" fmla="*/ 66 h 85"/>
                  <a:gd name="T26" fmla="*/ 15 w 77"/>
                  <a:gd name="T27" fmla="*/ 43 h 85"/>
                  <a:gd name="T28" fmla="*/ 21 w 77"/>
                  <a:gd name="T29" fmla="*/ 19 h 85"/>
                  <a:gd name="T30" fmla="*/ 38 w 77"/>
                  <a:gd name="T31" fmla="*/ 12 h 85"/>
                  <a:gd name="T32" fmla="*/ 56 w 77"/>
                  <a:gd name="T33" fmla="*/ 19 h 85"/>
                  <a:gd name="T34" fmla="*/ 62 w 77"/>
                  <a:gd name="T35" fmla="*/ 42 h 85"/>
                  <a:gd name="T36" fmla="*/ 56 w 77"/>
                  <a:gd name="T37" fmla="*/ 66 h 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77" h="85">
                    <a:moveTo>
                      <a:pt x="38" y="0"/>
                    </a:moveTo>
                    <a:cubicBezTo>
                      <a:pt x="28" y="0"/>
                      <a:pt x="20" y="3"/>
                      <a:pt x="13" y="9"/>
                    </a:cubicBezTo>
                    <a:cubicBezTo>
                      <a:pt x="5" y="16"/>
                      <a:pt x="0" y="28"/>
                      <a:pt x="0" y="43"/>
                    </a:cubicBezTo>
                    <a:cubicBezTo>
                      <a:pt x="0" y="56"/>
                      <a:pt x="4" y="67"/>
                      <a:pt x="11" y="74"/>
                    </a:cubicBezTo>
                    <a:cubicBezTo>
                      <a:pt x="18" y="82"/>
                      <a:pt x="27" y="85"/>
                      <a:pt x="38" y="85"/>
                    </a:cubicBezTo>
                    <a:cubicBezTo>
                      <a:pt x="46" y="85"/>
                      <a:pt x="52" y="84"/>
                      <a:pt x="58" y="80"/>
                    </a:cubicBezTo>
                    <a:cubicBezTo>
                      <a:pt x="64" y="77"/>
                      <a:pt x="69" y="72"/>
                      <a:pt x="72" y="66"/>
                    </a:cubicBezTo>
                    <a:cubicBezTo>
                      <a:pt x="75" y="60"/>
                      <a:pt x="77" y="52"/>
                      <a:pt x="77" y="42"/>
                    </a:cubicBezTo>
                    <a:cubicBezTo>
                      <a:pt x="77" y="29"/>
                      <a:pt x="73" y="19"/>
                      <a:pt x="66" y="11"/>
                    </a:cubicBezTo>
                    <a:cubicBezTo>
                      <a:pt x="59" y="4"/>
                      <a:pt x="50" y="0"/>
                      <a:pt x="38" y="0"/>
                    </a:cubicBezTo>
                    <a:close/>
                    <a:moveTo>
                      <a:pt x="56" y="66"/>
                    </a:moveTo>
                    <a:cubicBezTo>
                      <a:pt x="51" y="71"/>
                      <a:pt x="45" y="74"/>
                      <a:pt x="38" y="74"/>
                    </a:cubicBezTo>
                    <a:cubicBezTo>
                      <a:pt x="32" y="74"/>
                      <a:pt x="26" y="71"/>
                      <a:pt x="21" y="66"/>
                    </a:cubicBezTo>
                    <a:cubicBezTo>
                      <a:pt x="17" y="61"/>
                      <a:pt x="15" y="53"/>
                      <a:pt x="15" y="43"/>
                    </a:cubicBezTo>
                    <a:cubicBezTo>
                      <a:pt x="15" y="32"/>
                      <a:pt x="17" y="24"/>
                      <a:pt x="21" y="19"/>
                    </a:cubicBezTo>
                    <a:cubicBezTo>
                      <a:pt x="26" y="14"/>
                      <a:pt x="32" y="12"/>
                      <a:pt x="38" y="12"/>
                    </a:cubicBezTo>
                    <a:cubicBezTo>
                      <a:pt x="45" y="12"/>
                      <a:pt x="51" y="14"/>
                      <a:pt x="56" y="19"/>
                    </a:cubicBezTo>
                    <a:cubicBezTo>
                      <a:pt x="60" y="25"/>
                      <a:pt x="62" y="32"/>
                      <a:pt x="62" y="42"/>
                    </a:cubicBezTo>
                    <a:cubicBezTo>
                      <a:pt x="62" y="53"/>
                      <a:pt x="60" y="61"/>
                      <a:pt x="56" y="66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1048980" name="íṧḷíḓé"/>
              <p:cNvSpPr/>
              <p:nvPr/>
            </p:nvSpPr>
            <p:spPr bwMode="auto">
              <a:xfrm>
                <a:off x="9707816" y="5729878"/>
                <a:ext cx="131763" cy="214313"/>
              </a:xfrm>
              <a:custGeom>
                <a:avLst/>
                <a:gdLst>
                  <a:gd name="T0" fmla="*/ 59 w 72"/>
                  <a:gd name="T1" fmla="*/ 12 h 116"/>
                  <a:gd name="T2" fmla="*/ 36 w 72"/>
                  <a:gd name="T3" fmla="*/ 0 h 116"/>
                  <a:gd name="T4" fmla="*/ 17 w 72"/>
                  <a:gd name="T5" fmla="*/ 6 h 116"/>
                  <a:gd name="T6" fmla="*/ 5 w 72"/>
                  <a:gd name="T7" fmla="*/ 21 h 116"/>
                  <a:gd name="T8" fmla="*/ 0 w 72"/>
                  <a:gd name="T9" fmla="*/ 42 h 116"/>
                  <a:gd name="T10" fmla="*/ 10 w 72"/>
                  <a:gd name="T11" fmla="*/ 71 h 116"/>
                  <a:gd name="T12" fmla="*/ 36 w 72"/>
                  <a:gd name="T13" fmla="*/ 83 h 116"/>
                  <a:gd name="T14" fmla="*/ 58 w 72"/>
                  <a:gd name="T15" fmla="*/ 73 h 116"/>
                  <a:gd name="T16" fmla="*/ 57 w 72"/>
                  <a:gd name="T17" fmla="*/ 90 h 116"/>
                  <a:gd name="T18" fmla="*/ 50 w 72"/>
                  <a:gd name="T19" fmla="*/ 101 h 116"/>
                  <a:gd name="T20" fmla="*/ 35 w 72"/>
                  <a:gd name="T21" fmla="*/ 105 h 116"/>
                  <a:gd name="T22" fmla="*/ 21 w 72"/>
                  <a:gd name="T23" fmla="*/ 101 h 116"/>
                  <a:gd name="T24" fmla="*/ 17 w 72"/>
                  <a:gd name="T25" fmla="*/ 92 h 116"/>
                  <a:gd name="T26" fmla="*/ 3 w 72"/>
                  <a:gd name="T27" fmla="*/ 90 h 116"/>
                  <a:gd name="T28" fmla="*/ 12 w 72"/>
                  <a:gd name="T29" fmla="*/ 110 h 116"/>
                  <a:gd name="T30" fmla="*/ 35 w 72"/>
                  <a:gd name="T31" fmla="*/ 116 h 116"/>
                  <a:gd name="T32" fmla="*/ 56 w 72"/>
                  <a:gd name="T33" fmla="*/ 112 h 116"/>
                  <a:gd name="T34" fmla="*/ 68 w 72"/>
                  <a:gd name="T35" fmla="*/ 99 h 116"/>
                  <a:gd name="T36" fmla="*/ 72 w 72"/>
                  <a:gd name="T37" fmla="*/ 72 h 116"/>
                  <a:gd name="T38" fmla="*/ 72 w 72"/>
                  <a:gd name="T39" fmla="*/ 2 h 116"/>
                  <a:gd name="T40" fmla="*/ 59 w 72"/>
                  <a:gd name="T41" fmla="*/ 2 h 116"/>
                  <a:gd name="T42" fmla="*/ 59 w 72"/>
                  <a:gd name="T43" fmla="*/ 12 h 116"/>
                  <a:gd name="T44" fmla="*/ 53 w 72"/>
                  <a:gd name="T45" fmla="*/ 65 h 116"/>
                  <a:gd name="T46" fmla="*/ 37 w 72"/>
                  <a:gd name="T47" fmla="*/ 72 h 116"/>
                  <a:gd name="T48" fmla="*/ 21 w 72"/>
                  <a:gd name="T49" fmla="*/ 65 h 116"/>
                  <a:gd name="T50" fmla="*/ 15 w 72"/>
                  <a:gd name="T51" fmla="*/ 41 h 116"/>
                  <a:gd name="T52" fmla="*/ 21 w 72"/>
                  <a:gd name="T53" fmla="*/ 19 h 116"/>
                  <a:gd name="T54" fmla="*/ 37 w 72"/>
                  <a:gd name="T55" fmla="*/ 12 h 116"/>
                  <a:gd name="T56" fmla="*/ 53 w 72"/>
                  <a:gd name="T57" fmla="*/ 19 h 116"/>
                  <a:gd name="T58" fmla="*/ 59 w 72"/>
                  <a:gd name="T59" fmla="*/ 42 h 116"/>
                  <a:gd name="T60" fmla="*/ 53 w 72"/>
                  <a:gd name="T61" fmla="*/ 65 h 1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72" h="116">
                    <a:moveTo>
                      <a:pt x="59" y="12"/>
                    </a:moveTo>
                    <a:cubicBezTo>
                      <a:pt x="53" y="4"/>
                      <a:pt x="45" y="0"/>
                      <a:pt x="36" y="0"/>
                    </a:cubicBezTo>
                    <a:cubicBezTo>
                      <a:pt x="28" y="0"/>
                      <a:pt x="22" y="2"/>
                      <a:pt x="17" y="6"/>
                    </a:cubicBezTo>
                    <a:cubicBezTo>
                      <a:pt x="11" y="9"/>
                      <a:pt x="7" y="14"/>
                      <a:pt x="5" y="21"/>
                    </a:cubicBezTo>
                    <a:cubicBezTo>
                      <a:pt x="2" y="27"/>
                      <a:pt x="0" y="34"/>
                      <a:pt x="0" y="42"/>
                    </a:cubicBezTo>
                    <a:cubicBezTo>
                      <a:pt x="0" y="53"/>
                      <a:pt x="3" y="63"/>
                      <a:pt x="10" y="71"/>
                    </a:cubicBezTo>
                    <a:cubicBezTo>
                      <a:pt x="16" y="79"/>
                      <a:pt x="24" y="83"/>
                      <a:pt x="36" y="83"/>
                    </a:cubicBezTo>
                    <a:cubicBezTo>
                      <a:pt x="45" y="83"/>
                      <a:pt x="52" y="80"/>
                      <a:pt x="58" y="73"/>
                    </a:cubicBezTo>
                    <a:cubicBezTo>
                      <a:pt x="58" y="82"/>
                      <a:pt x="58" y="88"/>
                      <a:pt x="57" y="90"/>
                    </a:cubicBezTo>
                    <a:cubicBezTo>
                      <a:pt x="56" y="95"/>
                      <a:pt x="53" y="99"/>
                      <a:pt x="50" y="101"/>
                    </a:cubicBezTo>
                    <a:cubicBezTo>
                      <a:pt x="47" y="104"/>
                      <a:pt x="42" y="105"/>
                      <a:pt x="35" y="105"/>
                    </a:cubicBezTo>
                    <a:cubicBezTo>
                      <a:pt x="29" y="105"/>
                      <a:pt x="25" y="104"/>
                      <a:pt x="21" y="101"/>
                    </a:cubicBezTo>
                    <a:cubicBezTo>
                      <a:pt x="19" y="99"/>
                      <a:pt x="17" y="96"/>
                      <a:pt x="17" y="92"/>
                    </a:cubicBezTo>
                    <a:cubicBezTo>
                      <a:pt x="3" y="90"/>
                      <a:pt x="3" y="90"/>
                      <a:pt x="3" y="90"/>
                    </a:cubicBezTo>
                    <a:cubicBezTo>
                      <a:pt x="3" y="99"/>
                      <a:pt x="6" y="105"/>
                      <a:pt x="12" y="110"/>
                    </a:cubicBezTo>
                    <a:cubicBezTo>
                      <a:pt x="18" y="114"/>
                      <a:pt x="26" y="116"/>
                      <a:pt x="35" y="116"/>
                    </a:cubicBezTo>
                    <a:cubicBezTo>
                      <a:pt x="43" y="116"/>
                      <a:pt x="50" y="115"/>
                      <a:pt x="56" y="112"/>
                    </a:cubicBezTo>
                    <a:cubicBezTo>
                      <a:pt x="62" y="109"/>
                      <a:pt x="66" y="104"/>
                      <a:pt x="68" y="99"/>
                    </a:cubicBezTo>
                    <a:cubicBezTo>
                      <a:pt x="71" y="94"/>
                      <a:pt x="72" y="85"/>
                      <a:pt x="72" y="72"/>
                    </a:cubicBezTo>
                    <a:cubicBezTo>
                      <a:pt x="72" y="2"/>
                      <a:pt x="72" y="2"/>
                      <a:pt x="72" y="2"/>
                    </a:cubicBezTo>
                    <a:cubicBezTo>
                      <a:pt x="59" y="2"/>
                      <a:pt x="59" y="2"/>
                      <a:pt x="59" y="2"/>
                    </a:cubicBezTo>
                    <a:lnTo>
                      <a:pt x="59" y="12"/>
                    </a:lnTo>
                    <a:close/>
                    <a:moveTo>
                      <a:pt x="53" y="65"/>
                    </a:moveTo>
                    <a:cubicBezTo>
                      <a:pt x="48" y="69"/>
                      <a:pt x="43" y="72"/>
                      <a:pt x="37" y="72"/>
                    </a:cubicBezTo>
                    <a:cubicBezTo>
                      <a:pt x="30" y="72"/>
                      <a:pt x="25" y="69"/>
                      <a:pt x="21" y="65"/>
                    </a:cubicBezTo>
                    <a:cubicBezTo>
                      <a:pt x="17" y="60"/>
                      <a:pt x="15" y="52"/>
                      <a:pt x="15" y="41"/>
                    </a:cubicBezTo>
                    <a:cubicBezTo>
                      <a:pt x="15" y="31"/>
                      <a:pt x="17" y="24"/>
                      <a:pt x="21" y="19"/>
                    </a:cubicBezTo>
                    <a:cubicBezTo>
                      <a:pt x="25" y="14"/>
                      <a:pt x="30" y="12"/>
                      <a:pt x="37" y="12"/>
                    </a:cubicBezTo>
                    <a:cubicBezTo>
                      <a:pt x="43" y="12"/>
                      <a:pt x="48" y="14"/>
                      <a:pt x="53" y="19"/>
                    </a:cubicBezTo>
                    <a:cubicBezTo>
                      <a:pt x="57" y="24"/>
                      <a:pt x="59" y="32"/>
                      <a:pt x="59" y="42"/>
                    </a:cubicBezTo>
                    <a:cubicBezTo>
                      <a:pt x="59" y="52"/>
                      <a:pt x="57" y="60"/>
                      <a:pt x="53" y="65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1048981" name="îŝlíde"/>
              <p:cNvSpPr/>
              <p:nvPr/>
            </p:nvSpPr>
            <p:spPr bwMode="auto">
              <a:xfrm>
                <a:off x="9864978" y="5733053"/>
                <a:ext cx="138113" cy="211138"/>
              </a:xfrm>
              <a:custGeom>
                <a:avLst/>
                <a:gdLst>
                  <a:gd name="T0" fmla="*/ 43 w 75"/>
                  <a:gd name="T1" fmla="*/ 47 h 114"/>
                  <a:gd name="T2" fmla="*/ 38 w 75"/>
                  <a:gd name="T3" fmla="*/ 66 h 114"/>
                  <a:gd name="T4" fmla="*/ 32 w 75"/>
                  <a:gd name="T5" fmla="*/ 47 h 114"/>
                  <a:gd name="T6" fmla="*/ 15 w 75"/>
                  <a:gd name="T7" fmla="*/ 0 h 114"/>
                  <a:gd name="T8" fmla="*/ 0 w 75"/>
                  <a:gd name="T9" fmla="*/ 0 h 114"/>
                  <a:gd name="T10" fmla="*/ 31 w 75"/>
                  <a:gd name="T11" fmla="*/ 81 h 114"/>
                  <a:gd name="T12" fmla="*/ 30 w 75"/>
                  <a:gd name="T13" fmla="*/ 85 h 114"/>
                  <a:gd name="T14" fmla="*/ 25 w 75"/>
                  <a:gd name="T15" fmla="*/ 95 h 114"/>
                  <a:gd name="T16" fmla="*/ 21 w 75"/>
                  <a:gd name="T17" fmla="*/ 99 h 114"/>
                  <a:gd name="T18" fmla="*/ 14 w 75"/>
                  <a:gd name="T19" fmla="*/ 101 h 114"/>
                  <a:gd name="T20" fmla="*/ 6 w 75"/>
                  <a:gd name="T21" fmla="*/ 100 h 114"/>
                  <a:gd name="T22" fmla="*/ 7 w 75"/>
                  <a:gd name="T23" fmla="*/ 113 h 114"/>
                  <a:gd name="T24" fmla="*/ 16 w 75"/>
                  <a:gd name="T25" fmla="*/ 114 h 114"/>
                  <a:gd name="T26" fmla="*/ 27 w 75"/>
                  <a:gd name="T27" fmla="*/ 111 h 114"/>
                  <a:gd name="T28" fmla="*/ 36 w 75"/>
                  <a:gd name="T29" fmla="*/ 101 h 114"/>
                  <a:gd name="T30" fmla="*/ 44 w 75"/>
                  <a:gd name="T31" fmla="*/ 83 h 114"/>
                  <a:gd name="T32" fmla="*/ 75 w 75"/>
                  <a:gd name="T33" fmla="*/ 0 h 114"/>
                  <a:gd name="T34" fmla="*/ 61 w 75"/>
                  <a:gd name="T35" fmla="*/ 0 h 114"/>
                  <a:gd name="T36" fmla="*/ 43 w 75"/>
                  <a:gd name="T37" fmla="*/ 47 h 1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75" h="114">
                    <a:moveTo>
                      <a:pt x="43" y="47"/>
                    </a:moveTo>
                    <a:cubicBezTo>
                      <a:pt x="41" y="53"/>
                      <a:pt x="39" y="60"/>
                      <a:pt x="38" y="66"/>
                    </a:cubicBezTo>
                    <a:cubicBezTo>
                      <a:pt x="36" y="59"/>
                      <a:pt x="34" y="53"/>
                      <a:pt x="32" y="47"/>
                    </a:cubicBezTo>
                    <a:cubicBezTo>
                      <a:pt x="15" y="0"/>
                      <a:pt x="15" y="0"/>
                      <a:pt x="15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31" y="81"/>
                      <a:pt x="31" y="81"/>
                      <a:pt x="31" y="81"/>
                    </a:cubicBezTo>
                    <a:cubicBezTo>
                      <a:pt x="30" y="83"/>
                      <a:pt x="30" y="84"/>
                      <a:pt x="30" y="85"/>
                    </a:cubicBezTo>
                    <a:cubicBezTo>
                      <a:pt x="28" y="90"/>
                      <a:pt x="26" y="94"/>
                      <a:pt x="25" y="95"/>
                    </a:cubicBezTo>
                    <a:cubicBezTo>
                      <a:pt x="24" y="97"/>
                      <a:pt x="23" y="98"/>
                      <a:pt x="21" y="99"/>
                    </a:cubicBezTo>
                    <a:cubicBezTo>
                      <a:pt x="19" y="100"/>
                      <a:pt x="17" y="101"/>
                      <a:pt x="14" y="101"/>
                    </a:cubicBezTo>
                    <a:cubicBezTo>
                      <a:pt x="11" y="101"/>
                      <a:pt x="9" y="101"/>
                      <a:pt x="6" y="100"/>
                    </a:cubicBezTo>
                    <a:cubicBezTo>
                      <a:pt x="7" y="113"/>
                      <a:pt x="7" y="113"/>
                      <a:pt x="7" y="113"/>
                    </a:cubicBezTo>
                    <a:cubicBezTo>
                      <a:pt x="11" y="114"/>
                      <a:pt x="13" y="114"/>
                      <a:pt x="16" y="114"/>
                    </a:cubicBezTo>
                    <a:cubicBezTo>
                      <a:pt x="21" y="114"/>
                      <a:pt x="24" y="113"/>
                      <a:pt x="27" y="111"/>
                    </a:cubicBezTo>
                    <a:cubicBezTo>
                      <a:pt x="31" y="109"/>
                      <a:pt x="33" y="106"/>
                      <a:pt x="36" y="101"/>
                    </a:cubicBezTo>
                    <a:cubicBezTo>
                      <a:pt x="38" y="98"/>
                      <a:pt x="40" y="92"/>
                      <a:pt x="44" y="83"/>
                    </a:cubicBezTo>
                    <a:cubicBezTo>
                      <a:pt x="75" y="0"/>
                      <a:pt x="75" y="0"/>
                      <a:pt x="75" y="0"/>
                    </a:cubicBezTo>
                    <a:cubicBezTo>
                      <a:pt x="61" y="0"/>
                      <a:pt x="61" y="0"/>
                      <a:pt x="61" y="0"/>
                    </a:cubicBezTo>
                    <a:lnTo>
                      <a:pt x="43" y="47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1048982" name="íṧ1ïḍé"/>
              <p:cNvSpPr/>
              <p:nvPr/>
            </p:nvSpPr>
            <p:spPr bwMode="auto">
              <a:xfrm>
                <a:off x="10106278" y="5675903"/>
                <a:ext cx="155575" cy="206375"/>
              </a:xfrm>
              <a:custGeom>
                <a:avLst/>
                <a:gdLst>
                  <a:gd name="T0" fmla="*/ 64 w 85"/>
                  <a:gd name="T1" fmla="*/ 53 h 112"/>
                  <a:gd name="T2" fmla="*/ 75 w 85"/>
                  <a:gd name="T3" fmla="*/ 42 h 112"/>
                  <a:gd name="T4" fmla="*/ 79 w 85"/>
                  <a:gd name="T5" fmla="*/ 29 h 112"/>
                  <a:gd name="T6" fmla="*/ 75 w 85"/>
                  <a:gd name="T7" fmla="*/ 14 h 112"/>
                  <a:gd name="T8" fmla="*/ 63 w 85"/>
                  <a:gd name="T9" fmla="*/ 4 h 112"/>
                  <a:gd name="T10" fmla="*/ 42 w 85"/>
                  <a:gd name="T11" fmla="*/ 0 h 112"/>
                  <a:gd name="T12" fmla="*/ 0 w 85"/>
                  <a:gd name="T13" fmla="*/ 0 h 112"/>
                  <a:gd name="T14" fmla="*/ 0 w 85"/>
                  <a:gd name="T15" fmla="*/ 112 h 112"/>
                  <a:gd name="T16" fmla="*/ 43 w 85"/>
                  <a:gd name="T17" fmla="*/ 112 h 112"/>
                  <a:gd name="T18" fmla="*/ 61 w 85"/>
                  <a:gd name="T19" fmla="*/ 110 h 112"/>
                  <a:gd name="T20" fmla="*/ 73 w 85"/>
                  <a:gd name="T21" fmla="*/ 105 h 112"/>
                  <a:gd name="T22" fmla="*/ 81 w 85"/>
                  <a:gd name="T23" fmla="*/ 94 h 112"/>
                  <a:gd name="T24" fmla="*/ 85 w 85"/>
                  <a:gd name="T25" fmla="*/ 80 h 112"/>
                  <a:gd name="T26" fmla="*/ 79 w 85"/>
                  <a:gd name="T27" fmla="*/ 63 h 112"/>
                  <a:gd name="T28" fmla="*/ 64 w 85"/>
                  <a:gd name="T29" fmla="*/ 53 h 112"/>
                  <a:gd name="T30" fmla="*/ 15 w 85"/>
                  <a:gd name="T31" fmla="*/ 13 h 112"/>
                  <a:gd name="T32" fmla="*/ 37 w 85"/>
                  <a:gd name="T33" fmla="*/ 13 h 112"/>
                  <a:gd name="T34" fmla="*/ 54 w 85"/>
                  <a:gd name="T35" fmla="*/ 15 h 112"/>
                  <a:gd name="T36" fmla="*/ 62 w 85"/>
                  <a:gd name="T37" fmla="*/ 21 h 112"/>
                  <a:gd name="T38" fmla="*/ 65 w 85"/>
                  <a:gd name="T39" fmla="*/ 31 h 112"/>
                  <a:gd name="T40" fmla="*/ 62 w 85"/>
                  <a:gd name="T41" fmla="*/ 40 h 112"/>
                  <a:gd name="T42" fmla="*/ 53 w 85"/>
                  <a:gd name="T43" fmla="*/ 46 h 112"/>
                  <a:gd name="T44" fmla="*/ 39 w 85"/>
                  <a:gd name="T45" fmla="*/ 47 h 112"/>
                  <a:gd name="T46" fmla="*/ 15 w 85"/>
                  <a:gd name="T47" fmla="*/ 47 h 112"/>
                  <a:gd name="T48" fmla="*/ 15 w 85"/>
                  <a:gd name="T49" fmla="*/ 13 h 112"/>
                  <a:gd name="T50" fmla="*/ 67 w 85"/>
                  <a:gd name="T51" fmla="*/ 89 h 112"/>
                  <a:gd name="T52" fmla="*/ 61 w 85"/>
                  <a:gd name="T53" fmla="*/ 95 h 112"/>
                  <a:gd name="T54" fmla="*/ 53 w 85"/>
                  <a:gd name="T55" fmla="*/ 99 h 112"/>
                  <a:gd name="T56" fmla="*/ 43 w 85"/>
                  <a:gd name="T57" fmla="*/ 99 h 112"/>
                  <a:gd name="T58" fmla="*/ 15 w 85"/>
                  <a:gd name="T59" fmla="*/ 99 h 112"/>
                  <a:gd name="T60" fmla="*/ 15 w 85"/>
                  <a:gd name="T61" fmla="*/ 61 h 112"/>
                  <a:gd name="T62" fmla="*/ 41 w 85"/>
                  <a:gd name="T63" fmla="*/ 61 h 112"/>
                  <a:gd name="T64" fmla="*/ 57 w 85"/>
                  <a:gd name="T65" fmla="*/ 62 h 112"/>
                  <a:gd name="T66" fmla="*/ 66 w 85"/>
                  <a:gd name="T67" fmla="*/ 69 h 112"/>
                  <a:gd name="T68" fmla="*/ 69 w 85"/>
                  <a:gd name="T69" fmla="*/ 80 h 112"/>
                  <a:gd name="T70" fmla="*/ 67 w 85"/>
                  <a:gd name="T71" fmla="*/ 89 h 1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85" h="112">
                    <a:moveTo>
                      <a:pt x="64" y="53"/>
                    </a:moveTo>
                    <a:cubicBezTo>
                      <a:pt x="69" y="50"/>
                      <a:pt x="73" y="47"/>
                      <a:pt x="75" y="42"/>
                    </a:cubicBezTo>
                    <a:cubicBezTo>
                      <a:pt x="78" y="38"/>
                      <a:pt x="79" y="34"/>
                      <a:pt x="79" y="29"/>
                    </a:cubicBezTo>
                    <a:cubicBezTo>
                      <a:pt x="79" y="24"/>
                      <a:pt x="78" y="19"/>
                      <a:pt x="75" y="14"/>
                    </a:cubicBezTo>
                    <a:cubicBezTo>
                      <a:pt x="72" y="9"/>
                      <a:pt x="68" y="6"/>
                      <a:pt x="63" y="4"/>
                    </a:cubicBezTo>
                    <a:cubicBezTo>
                      <a:pt x="57" y="1"/>
                      <a:pt x="51" y="0"/>
                      <a:pt x="42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112"/>
                      <a:pt x="0" y="112"/>
                      <a:pt x="0" y="112"/>
                    </a:cubicBezTo>
                    <a:cubicBezTo>
                      <a:pt x="43" y="112"/>
                      <a:pt x="43" y="112"/>
                      <a:pt x="43" y="112"/>
                    </a:cubicBezTo>
                    <a:cubicBezTo>
                      <a:pt x="50" y="112"/>
                      <a:pt x="56" y="112"/>
                      <a:pt x="61" y="110"/>
                    </a:cubicBezTo>
                    <a:cubicBezTo>
                      <a:pt x="66" y="109"/>
                      <a:pt x="70" y="107"/>
                      <a:pt x="73" y="105"/>
                    </a:cubicBezTo>
                    <a:cubicBezTo>
                      <a:pt x="76" y="102"/>
                      <a:pt x="79" y="99"/>
                      <a:pt x="81" y="94"/>
                    </a:cubicBezTo>
                    <a:cubicBezTo>
                      <a:pt x="84" y="90"/>
                      <a:pt x="85" y="85"/>
                      <a:pt x="85" y="80"/>
                    </a:cubicBezTo>
                    <a:cubicBezTo>
                      <a:pt x="85" y="73"/>
                      <a:pt x="83" y="68"/>
                      <a:pt x="79" y="63"/>
                    </a:cubicBezTo>
                    <a:cubicBezTo>
                      <a:pt x="76" y="58"/>
                      <a:pt x="70" y="55"/>
                      <a:pt x="64" y="53"/>
                    </a:cubicBezTo>
                    <a:close/>
                    <a:moveTo>
                      <a:pt x="15" y="13"/>
                    </a:moveTo>
                    <a:cubicBezTo>
                      <a:pt x="37" y="13"/>
                      <a:pt x="37" y="13"/>
                      <a:pt x="37" y="13"/>
                    </a:cubicBezTo>
                    <a:cubicBezTo>
                      <a:pt x="45" y="13"/>
                      <a:pt x="51" y="14"/>
                      <a:pt x="54" y="15"/>
                    </a:cubicBezTo>
                    <a:cubicBezTo>
                      <a:pt x="58" y="16"/>
                      <a:pt x="60" y="18"/>
                      <a:pt x="62" y="21"/>
                    </a:cubicBezTo>
                    <a:cubicBezTo>
                      <a:pt x="64" y="24"/>
                      <a:pt x="65" y="27"/>
                      <a:pt x="65" y="31"/>
                    </a:cubicBezTo>
                    <a:cubicBezTo>
                      <a:pt x="65" y="35"/>
                      <a:pt x="64" y="38"/>
                      <a:pt x="62" y="40"/>
                    </a:cubicBezTo>
                    <a:cubicBezTo>
                      <a:pt x="60" y="43"/>
                      <a:pt x="57" y="45"/>
                      <a:pt x="53" y="46"/>
                    </a:cubicBezTo>
                    <a:cubicBezTo>
                      <a:pt x="50" y="47"/>
                      <a:pt x="46" y="47"/>
                      <a:pt x="39" y="47"/>
                    </a:cubicBezTo>
                    <a:cubicBezTo>
                      <a:pt x="15" y="47"/>
                      <a:pt x="15" y="47"/>
                      <a:pt x="15" y="47"/>
                    </a:cubicBezTo>
                    <a:lnTo>
                      <a:pt x="15" y="13"/>
                    </a:lnTo>
                    <a:close/>
                    <a:moveTo>
                      <a:pt x="67" y="89"/>
                    </a:moveTo>
                    <a:cubicBezTo>
                      <a:pt x="66" y="92"/>
                      <a:pt x="64" y="94"/>
                      <a:pt x="61" y="95"/>
                    </a:cubicBezTo>
                    <a:cubicBezTo>
                      <a:pt x="59" y="97"/>
                      <a:pt x="56" y="98"/>
                      <a:pt x="53" y="99"/>
                    </a:cubicBezTo>
                    <a:cubicBezTo>
                      <a:pt x="51" y="99"/>
                      <a:pt x="48" y="99"/>
                      <a:pt x="43" y="99"/>
                    </a:cubicBezTo>
                    <a:cubicBezTo>
                      <a:pt x="15" y="99"/>
                      <a:pt x="15" y="99"/>
                      <a:pt x="15" y="99"/>
                    </a:cubicBezTo>
                    <a:cubicBezTo>
                      <a:pt x="15" y="61"/>
                      <a:pt x="15" y="61"/>
                      <a:pt x="15" y="61"/>
                    </a:cubicBezTo>
                    <a:cubicBezTo>
                      <a:pt x="41" y="61"/>
                      <a:pt x="41" y="61"/>
                      <a:pt x="41" y="61"/>
                    </a:cubicBezTo>
                    <a:cubicBezTo>
                      <a:pt x="48" y="61"/>
                      <a:pt x="53" y="61"/>
                      <a:pt x="57" y="62"/>
                    </a:cubicBezTo>
                    <a:cubicBezTo>
                      <a:pt x="61" y="64"/>
                      <a:pt x="64" y="66"/>
                      <a:pt x="66" y="69"/>
                    </a:cubicBezTo>
                    <a:cubicBezTo>
                      <a:pt x="68" y="72"/>
                      <a:pt x="69" y="76"/>
                      <a:pt x="69" y="80"/>
                    </a:cubicBezTo>
                    <a:cubicBezTo>
                      <a:pt x="69" y="83"/>
                      <a:pt x="69" y="87"/>
                      <a:pt x="67" y="8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1048983" name="iŝļidé"/>
              <p:cNvSpPr/>
              <p:nvPr/>
            </p:nvSpPr>
            <p:spPr bwMode="auto">
              <a:xfrm>
                <a:off x="10288841" y="5729878"/>
                <a:ext cx="138113" cy="157163"/>
              </a:xfrm>
              <a:custGeom>
                <a:avLst/>
                <a:gdLst>
                  <a:gd name="T0" fmla="*/ 38 w 75"/>
                  <a:gd name="T1" fmla="*/ 0 h 85"/>
                  <a:gd name="T2" fmla="*/ 10 w 75"/>
                  <a:gd name="T3" fmla="*/ 12 h 85"/>
                  <a:gd name="T4" fmla="*/ 0 w 75"/>
                  <a:gd name="T5" fmla="*/ 43 h 85"/>
                  <a:gd name="T6" fmla="*/ 10 w 75"/>
                  <a:gd name="T7" fmla="*/ 74 h 85"/>
                  <a:gd name="T8" fmla="*/ 38 w 75"/>
                  <a:gd name="T9" fmla="*/ 85 h 85"/>
                  <a:gd name="T10" fmla="*/ 62 w 75"/>
                  <a:gd name="T11" fmla="*/ 78 h 85"/>
                  <a:gd name="T12" fmla="*/ 74 w 75"/>
                  <a:gd name="T13" fmla="*/ 59 h 85"/>
                  <a:gd name="T14" fmla="*/ 60 w 75"/>
                  <a:gd name="T15" fmla="*/ 57 h 85"/>
                  <a:gd name="T16" fmla="*/ 51 w 75"/>
                  <a:gd name="T17" fmla="*/ 70 h 85"/>
                  <a:gd name="T18" fmla="*/ 39 w 75"/>
                  <a:gd name="T19" fmla="*/ 74 h 85"/>
                  <a:gd name="T20" fmla="*/ 22 w 75"/>
                  <a:gd name="T21" fmla="*/ 67 h 85"/>
                  <a:gd name="T22" fmla="*/ 14 w 75"/>
                  <a:gd name="T23" fmla="*/ 46 h 85"/>
                  <a:gd name="T24" fmla="*/ 75 w 75"/>
                  <a:gd name="T25" fmla="*/ 46 h 85"/>
                  <a:gd name="T26" fmla="*/ 75 w 75"/>
                  <a:gd name="T27" fmla="*/ 43 h 85"/>
                  <a:gd name="T28" fmla="*/ 64 w 75"/>
                  <a:gd name="T29" fmla="*/ 11 h 85"/>
                  <a:gd name="T30" fmla="*/ 38 w 75"/>
                  <a:gd name="T31" fmla="*/ 0 h 85"/>
                  <a:gd name="T32" fmla="*/ 15 w 75"/>
                  <a:gd name="T33" fmla="*/ 35 h 85"/>
                  <a:gd name="T34" fmla="*/ 22 w 75"/>
                  <a:gd name="T35" fmla="*/ 18 h 85"/>
                  <a:gd name="T36" fmla="*/ 38 w 75"/>
                  <a:gd name="T37" fmla="*/ 12 h 85"/>
                  <a:gd name="T38" fmla="*/ 55 w 75"/>
                  <a:gd name="T39" fmla="*/ 20 h 85"/>
                  <a:gd name="T40" fmla="*/ 60 w 75"/>
                  <a:gd name="T41" fmla="*/ 35 h 85"/>
                  <a:gd name="T42" fmla="*/ 15 w 75"/>
                  <a:gd name="T43" fmla="*/ 35 h 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75" h="85">
                    <a:moveTo>
                      <a:pt x="38" y="0"/>
                    </a:moveTo>
                    <a:cubicBezTo>
                      <a:pt x="26" y="0"/>
                      <a:pt x="17" y="4"/>
                      <a:pt x="10" y="12"/>
                    </a:cubicBezTo>
                    <a:cubicBezTo>
                      <a:pt x="3" y="19"/>
                      <a:pt x="0" y="30"/>
                      <a:pt x="0" y="43"/>
                    </a:cubicBezTo>
                    <a:cubicBezTo>
                      <a:pt x="0" y="57"/>
                      <a:pt x="3" y="67"/>
                      <a:pt x="10" y="74"/>
                    </a:cubicBezTo>
                    <a:cubicBezTo>
                      <a:pt x="17" y="81"/>
                      <a:pt x="27" y="85"/>
                      <a:pt x="38" y="85"/>
                    </a:cubicBezTo>
                    <a:cubicBezTo>
                      <a:pt x="48" y="85"/>
                      <a:pt x="56" y="83"/>
                      <a:pt x="62" y="78"/>
                    </a:cubicBezTo>
                    <a:cubicBezTo>
                      <a:pt x="68" y="74"/>
                      <a:pt x="72" y="67"/>
                      <a:pt x="74" y="59"/>
                    </a:cubicBezTo>
                    <a:cubicBezTo>
                      <a:pt x="60" y="57"/>
                      <a:pt x="60" y="57"/>
                      <a:pt x="60" y="57"/>
                    </a:cubicBezTo>
                    <a:cubicBezTo>
                      <a:pt x="58" y="63"/>
                      <a:pt x="55" y="67"/>
                      <a:pt x="51" y="70"/>
                    </a:cubicBezTo>
                    <a:cubicBezTo>
                      <a:pt x="48" y="73"/>
                      <a:pt x="44" y="74"/>
                      <a:pt x="39" y="74"/>
                    </a:cubicBezTo>
                    <a:cubicBezTo>
                      <a:pt x="32" y="74"/>
                      <a:pt x="26" y="71"/>
                      <a:pt x="22" y="67"/>
                    </a:cubicBezTo>
                    <a:cubicBezTo>
                      <a:pt x="17" y="62"/>
                      <a:pt x="14" y="55"/>
                      <a:pt x="14" y="46"/>
                    </a:cubicBezTo>
                    <a:cubicBezTo>
                      <a:pt x="75" y="46"/>
                      <a:pt x="75" y="46"/>
                      <a:pt x="75" y="46"/>
                    </a:cubicBezTo>
                    <a:cubicBezTo>
                      <a:pt x="75" y="45"/>
                      <a:pt x="75" y="43"/>
                      <a:pt x="75" y="43"/>
                    </a:cubicBezTo>
                    <a:cubicBezTo>
                      <a:pt x="75" y="29"/>
                      <a:pt x="71" y="19"/>
                      <a:pt x="64" y="11"/>
                    </a:cubicBezTo>
                    <a:cubicBezTo>
                      <a:pt x="57" y="4"/>
                      <a:pt x="49" y="0"/>
                      <a:pt x="38" y="0"/>
                    </a:cubicBezTo>
                    <a:close/>
                    <a:moveTo>
                      <a:pt x="15" y="35"/>
                    </a:moveTo>
                    <a:cubicBezTo>
                      <a:pt x="15" y="28"/>
                      <a:pt x="18" y="22"/>
                      <a:pt x="22" y="18"/>
                    </a:cubicBezTo>
                    <a:cubicBezTo>
                      <a:pt x="26" y="14"/>
                      <a:pt x="32" y="12"/>
                      <a:pt x="38" y="12"/>
                    </a:cubicBezTo>
                    <a:cubicBezTo>
                      <a:pt x="45" y="12"/>
                      <a:pt x="51" y="14"/>
                      <a:pt x="55" y="20"/>
                    </a:cubicBezTo>
                    <a:cubicBezTo>
                      <a:pt x="58" y="23"/>
                      <a:pt x="60" y="28"/>
                      <a:pt x="60" y="35"/>
                    </a:cubicBezTo>
                    <a:lnTo>
                      <a:pt x="15" y="35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1048984" name="í$lidè"/>
              <p:cNvSpPr/>
              <p:nvPr/>
            </p:nvSpPr>
            <p:spPr bwMode="auto">
              <a:xfrm>
                <a:off x="10457116" y="5675903"/>
                <a:ext cx="25400" cy="30163"/>
              </a:xfrm>
              <a:prstGeom prst="rect">
                <a:avLst/>
              </a:prstGeom>
              <a:grpFill/>
              <a:ln>
                <a:noFill/>
              </a:ln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1048985" name="iSļiḋé"/>
              <p:cNvSpPr/>
              <p:nvPr/>
            </p:nvSpPr>
            <p:spPr bwMode="auto">
              <a:xfrm>
                <a:off x="10457116" y="5733053"/>
                <a:ext cx="25400" cy="149225"/>
              </a:xfrm>
              <a:prstGeom prst="rect">
                <a:avLst/>
              </a:prstGeom>
              <a:grpFill/>
              <a:ln>
                <a:noFill/>
              </a:ln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1048986" name="íṩḷïḑe"/>
              <p:cNvSpPr/>
              <p:nvPr/>
            </p:nvSpPr>
            <p:spPr bwMode="auto">
              <a:xfrm>
                <a:off x="10520616" y="5675903"/>
                <a:ext cx="25400" cy="30163"/>
              </a:xfrm>
              <a:prstGeom prst="rect">
                <a:avLst/>
              </a:prstGeom>
              <a:grpFill/>
              <a:ln>
                <a:noFill/>
              </a:ln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1048987" name="i$ḷïḍè"/>
              <p:cNvSpPr/>
              <p:nvPr/>
            </p:nvSpPr>
            <p:spPr bwMode="auto">
              <a:xfrm>
                <a:off x="10488866" y="5733053"/>
                <a:ext cx="57150" cy="211138"/>
              </a:xfrm>
              <a:custGeom>
                <a:avLst/>
                <a:gdLst>
                  <a:gd name="T0" fmla="*/ 17 w 31"/>
                  <a:gd name="T1" fmla="*/ 85 h 114"/>
                  <a:gd name="T2" fmla="*/ 15 w 31"/>
                  <a:gd name="T3" fmla="*/ 99 h 114"/>
                  <a:gd name="T4" fmla="*/ 9 w 31"/>
                  <a:gd name="T5" fmla="*/ 102 h 114"/>
                  <a:gd name="T6" fmla="*/ 2 w 31"/>
                  <a:gd name="T7" fmla="*/ 101 h 114"/>
                  <a:gd name="T8" fmla="*/ 0 w 31"/>
                  <a:gd name="T9" fmla="*/ 113 h 114"/>
                  <a:gd name="T10" fmla="*/ 11 w 31"/>
                  <a:gd name="T11" fmla="*/ 114 h 114"/>
                  <a:gd name="T12" fmla="*/ 27 w 31"/>
                  <a:gd name="T13" fmla="*/ 107 h 114"/>
                  <a:gd name="T14" fmla="*/ 31 w 31"/>
                  <a:gd name="T15" fmla="*/ 86 h 114"/>
                  <a:gd name="T16" fmla="*/ 31 w 31"/>
                  <a:gd name="T17" fmla="*/ 0 h 114"/>
                  <a:gd name="T18" fmla="*/ 17 w 31"/>
                  <a:gd name="T19" fmla="*/ 0 h 114"/>
                  <a:gd name="T20" fmla="*/ 17 w 31"/>
                  <a:gd name="T21" fmla="*/ 85 h 1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31" h="114">
                    <a:moveTo>
                      <a:pt x="17" y="85"/>
                    </a:moveTo>
                    <a:cubicBezTo>
                      <a:pt x="17" y="93"/>
                      <a:pt x="17" y="98"/>
                      <a:pt x="15" y="99"/>
                    </a:cubicBezTo>
                    <a:cubicBezTo>
                      <a:pt x="14" y="101"/>
                      <a:pt x="12" y="102"/>
                      <a:pt x="9" y="102"/>
                    </a:cubicBezTo>
                    <a:cubicBezTo>
                      <a:pt x="7" y="102"/>
                      <a:pt x="5" y="102"/>
                      <a:pt x="2" y="101"/>
                    </a:cubicBezTo>
                    <a:cubicBezTo>
                      <a:pt x="0" y="113"/>
                      <a:pt x="0" y="113"/>
                      <a:pt x="0" y="113"/>
                    </a:cubicBezTo>
                    <a:cubicBezTo>
                      <a:pt x="3" y="114"/>
                      <a:pt x="7" y="114"/>
                      <a:pt x="11" y="114"/>
                    </a:cubicBezTo>
                    <a:cubicBezTo>
                      <a:pt x="18" y="114"/>
                      <a:pt x="24" y="112"/>
                      <a:pt x="27" y="107"/>
                    </a:cubicBezTo>
                    <a:cubicBezTo>
                      <a:pt x="30" y="103"/>
                      <a:pt x="31" y="96"/>
                      <a:pt x="31" y="86"/>
                    </a:cubicBezTo>
                    <a:cubicBezTo>
                      <a:pt x="31" y="0"/>
                      <a:pt x="31" y="0"/>
                      <a:pt x="31" y="0"/>
                    </a:cubicBezTo>
                    <a:cubicBezTo>
                      <a:pt x="17" y="0"/>
                      <a:pt x="17" y="0"/>
                      <a:pt x="17" y="0"/>
                    </a:cubicBezTo>
                    <a:lnTo>
                      <a:pt x="17" y="85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1048988" name="íṩliḋé"/>
              <p:cNvSpPr/>
              <p:nvPr/>
            </p:nvSpPr>
            <p:spPr bwMode="auto">
              <a:xfrm>
                <a:off x="10585703" y="5675903"/>
                <a:ext cx="25400" cy="30163"/>
              </a:xfrm>
              <a:prstGeom prst="rect">
                <a:avLst/>
              </a:prstGeom>
              <a:grpFill/>
              <a:ln>
                <a:noFill/>
              </a:ln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1048989" name="ísḷiďé"/>
              <p:cNvSpPr/>
              <p:nvPr/>
            </p:nvSpPr>
            <p:spPr bwMode="auto">
              <a:xfrm>
                <a:off x="10585703" y="5733053"/>
                <a:ext cx="25400" cy="149225"/>
              </a:xfrm>
              <a:prstGeom prst="rect">
                <a:avLst/>
              </a:prstGeom>
              <a:grpFill/>
              <a:ln>
                <a:noFill/>
              </a:ln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1048990" name="íṩļïḍe"/>
              <p:cNvSpPr/>
              <p:nvPr/>
            </p:nvSpPr>
            <p:spPr bwMode="auto">
              <a:xfrm>
                <a:off x="10649203" y="5729878"/>
                <a:ext cx="122238" cy="152400"/>
              </a:xfrm>
              <a:custGeom>
                <a:avLst/>
                <a:gdLst>
                  <a:gd name="T0" fmla="*/ 65 w 66"/>
                  <a:gd name="T1" fmla="*/ 20 h 83"/>
                  <a:gd name="T2" fmla="*/ 61 w 66"/>
                  <a:gd name="T3" fmla="*/ 10 h 83"/>
                  <a:gd name="T4" fmla="*/ 52 w 66"/>
                  <a:gd name="T5" fmla="*/ 3 h 83"/>
                  <a:gd name="T6" fmla="*/ 38 w 66"/>
                  <a:gd name="T7" fmla="*/ 0 h 83"/>
                  <a:gd name="T8" fmla="*/ 12 w 66"/>
                  <a:gd name="T9" fmla="*/ 14 h 83"/>
                  <a:gd name="T10" fmla="*/ 12 w 66"/>
                  <a:gd name="T11" fmla="*/ 2 h 83"/>
                  <a:gd name="T12" fmla="*/ 0 w 66"/>
                  <a:gd name="T13" fmla="*/ 2 h 83"/>
                  <a:gd name="T14" fmla="*/ 0 w 66"/>
                  <a:gd name="T15" fmla="*/ 83 h 83"/>
                  <a:gd name="T16" fmla="*/ 14 w 66"/>
                  <a:gd name="T17" fmla="*/ 83 h 83"/>
                  <a:gd name="T18" fmla="*/ 14 w 66"/>
                  <a:gd name="T19" fmla="*/ 39 h 83"/>
                  <a:gd name="T20" fmla="*/ 20 w 66"/>
                  <a:gd name="T21" fmla="*/ 18 h 83"/>
                  <a:gd name="T22" fmla="*/ 35 w 66"/>
                  <a:gd name="T23" fmla="*/ 12 h 83"/>
                  <a:gd name="T24" fmla="*/ 45 w 66"/>
                  <a:gd name="T25" fmla="*/ 15 h 83"/>
                  <a:gd name="T26" fmla="*/ 51 w 66"/>
                  <a:gd name="T27" fmla="*/ 21 h 83"/>
                  <a:gd name="T28" fmla="*/ 52 w 66"/>
                  <a:gd name="T29" fmla="*/ 34 h 83"/>
                  <a:gd name="T30" fmla="*/ 52 w 66"/>
                  <a:gd name="T31" fmla="*/ 83 h 83"/>
                  <a:gd name="T32" fmla="*/ 66 w 66"/>
                  <a:gd name="T33" fmla="*/ 83 h 83"/>
                  <a:gd name="T34" fmla="*/ 66 w 66"/>
                  <a:gd name="T35" fmla="*/ 33 h 83"/>
                  <a:gd name="T36" fmla="*/ 65 w 66"/>
                  <a:gd name="T37" fmla="*/ 20 h 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66" h="83">
                    <a:moveTo>
                      <a:pt x="65" y="20"/>
                    </a:moveTo>
                    <a:cubicBezTo>
                      <a:pt x="64" y="16"/>
                      <a:pt x="63" y="13"/>
                      <a:pt x="61" y="10"/>
                    </a:cubicBezTo>
                    <a:cubicBezTo>
                      <a:pt x="59" y="7"/>
                      <a:pt x="56" y="5"/>
                      <a:pt x="52" y="3"/>
                    </a:cubicBezTo>
                    <a:cubicBezTo>
                      <a:pt x="48" y="1"/>
                      <a:pt x="43" y="0"/>
                      <a:pt x="38" y="0"/>
                    </a:cubicBezTo>
                    <a:cubicBezTo>
                      <a:pt x="27" y="0"/>
                      <a:pt x="18" y="5"/>
                      <a:pt x="12" y="14"/>
                    </a:cubicBezTo>
                    <a:cubicBezTo>
                      <a:pt x="12" y="2"/>
                      <a:pt x="12" y="2"/>
                      <a:pt x="12" y="2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83"/>
                      <a:pt x="0" y="83"/>
                      <a:pt x="0" y="83"/>
                    </a:cubicBezTo>
                    <a:cubicBezTo>
                      <a:pt x="14" y="83"/>
                      <a:pt x="14" y="83"/>
                      <a:pt x="14" y="83"/>
                    </a:cubicBezTo>
                    <a:cubicBezTo>
                      <a:pt x="14" y="39"/>
                      <a:pt x="14" y="39"/>
                      <a:pt x="14" y="39"/>
                    </a:cubicBezTo>
                    <a:cubicBezTo>
                      <a:pt x="14" y="29"/>
                      <a:pt x="16" y="21"/>
                      <a:pt x="20" y="18"/>
                    </a:cubicBezTo>
                    <a:cubicBezTo>
                      <a:pt x="24" y="14"/>
                      <a:pt x="29" y="12"/>
                      <a:pt x="35" y="12"/>
                    </a:cubicBezTo>
                    <a:cubicBezTo>
                      <a:pt x="39" y="12"/>
                      <a:pt x="42" y="13"/>
                      <a:pt x="45" y="15"/>
                    </a:cubicBezTo>
                    <a:cubicBezTo>
                      <a:pt x="48" y="16"/>
                      <a:pt x="50" y="19"/>
                      <a:pt x="51" y="21"/>
                    </a:cubicBezTo>
                    <a:cubicBezTo>
                      <a:pt x="52" y="24"/>
                      <a:pt x="52" y="28"/>
                      <a:pt x="52" y="34"/>
                    </a:cubicBezTo>
                    <a:cubicBezTo>
                      <a:pt x="52" y="83"/>
                      <a:pt x="52" y="83"/>
                      <a:pt x="52" y="83"/>
                    </a:cubicBezTo>
                    <a:cubicBezTo>
                      <a:pt x="66" y="83"/>
                      <a:pt x="66" y="83"/>
                      <a:pt x="66" y="83"/>
                    </a:cubicBezTo>
                    <a:cubicBezTo>
                      <a:pt x="66" y="33"/>
                      <a:pt x="66" y="33"/>
                      <a:pt x="66" y="33"/>
                    </a:cubicBezTo>
                    <a:cubicBezTo>
                      <a:pt x="66" y="27"/>
                      <a:pt x="66" y="23"/>
                      <a:pt x="65" y="2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1048991" name="í$ľíḍê"/>
              <p:cNvSpPr/>
              <p:nvPr/>
            </p:nvSpPr>
            <p:spPr bwMode="auto">
              <a:xfrm>
                <a:off x="10800016" y="5729878"/>
                <a:ext cx="133350" cy="214313"/>
              </a:xfrm>
              <a:custGeom>
                <a:avLst/>
                <a:gdLst>
                  <a:gd name="T0" fmla="*/ 59 w 72"/>
                  <a:gd name="T1" fmla="*/ 2 h 116"/>
                  <a:gd name="T2" fmla="*/ 59 w 72"/>
                  <a:gd name="T3" fmla="*/ 12 h 116"/>
                  <a:gd name="T4" fmla="*/ 35 w 72"/>
                  <a:gd name="T5" fmla="*/ 0 h 116"/>
                  <a:gd name="T6" fmla="*/ 16 w 72"/>
                  <a:gd name="T7" fmla="*/ 6 h 116"/>
                  <a:gd name="T8" fmla="*/ 4 w 72"/>
                  <a:gd name="T9" fmla="*/ 21 h 116"/>
                  <a:gd name="T10" fmla="*/ 0 w 72"/>
                  <a:gd name="T11" fmla="*/ 42 h 116"/>
                  <a:gd name="T12" fmla="*/ 9 w 72"/>
                  <a:gd name="T13" fmla="*/ 71 h 116"/>
                  <a:gd name="T14" fmla="*/ 35 w 72"/>
                  <a:gd name="T15" fmla="*/ 83 h 116"/>
                  <a:gd name="T16" fmla="*/ 58 w 72"/>
                  <a:gd name="T17" fmla="*/ 73 h 116"/>
                  <a:gd name="T18" fmla="*/ 57 w 72"/>
                  <a:gd name="T19" fmla="*/ 90 h 116"/>
                  <a:gd name="T20" fmla="*/ 49 w 72"/>
                  <a:gd name="T21" fmla="*/ 101 h 116"/>
                  <a:gd name="T22" fmla="*/ 35 w 72"/>
                  <a:gd name="T23" fmla="*/ 105 h 116"/>
                  <a:gd name="T24" fmla="*/ 21 w 72"/>
                  <a:gd name="T25" fmla="*/ 101 h 116"/>
                  <a:gd name="T26" fmla="*/ 16 w 72"/>
                  <a:gd name="T27" fmla="*/ 92 h 116"/>
                  <a:gd name="T28" fmla="*/ 3 w 72"/>
                  <a:gd name="T29" fmla="*/ 90 h 116"/>
                  <a:gd name="T30" fmla="*/ 11 w 72"/>
                  <a:gd name="T31" fmla="*/ 110 h 116"/>
                  <a:gd name="T32" fmla="*/ 35 w 72"/>
                  <a:gd name="T33" fmla="*/ 116 h 116"/>
                  <a:gd name="T34" fmla="*/ 55 w 72"/>
                  <a:gd name="T35" fmla="*/ 112 h 116"/>
                  <a:gd name="T36" fmla="*/ 68 w 72"/>
                  <a:gd name="T37" fmla="*/ 99 h 116"/>
                  <a:gd name="T38" fmla="*/ 72 w 72"/>
                  <a:gd name="T39" fmla="*/ 72 h 116"/>
                  <a:gd name="T40" fmla="*/ 72 w 72"/>
                  <a:gd name="T41" fmla="*/ 2 h 116"/>
                  <a:gd name="T42" fmla="*/ 59 w 72"/>
                  <a:gd name="T43" fmla="*/ 2 h 116"/>
                  <a:gd name="T44" fmla="*/ 52 w 72"/>
                  <a:gd name="T45" fmla="*/ 65 h 116"/>
                  <a:gd name="T46" fmla="*/ 36 w 72"/>
                  <a:gd name="T47" fmla="*/ 72 h 116"/>
                  <a:gd name="T48" fmla="*/ 20 w 72"/>
                  <a:gd name="T49" fmla="*/ 65 h 116"/>
                  <a:gd name="T50" fmla="*/ 14 w 72"/>
                  <a:gd name="T51" fmla="*/ 41 h 116"/>
                  <a:gd name="T52" fmla="*/ 20 w 72"/>
                  <a:gd name="T53" fmla="*/ 19 h 116"/>
                  <a:gd name="T54" fmla="*/ 36 w 72"/>
                  <a:gd name="T55" fmla="*/ 12 h 116"/>
                  <a:gd name="T56" fmla="*/ 52 w 72"/>
                  <a:gd name="T57" fmla="*/ 19 h 116"/>
                  <a:gd name="T58" fmla="*/ 59 w 72"/>
                  <a:gd name="T59" fmla="*/ 42 h 116"/>
                  <a:gd name="T60" fmla="*/ 52 w 72"/>
                  <a:gd name="T61" fmla="*/ 65 h 1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72" h="116">
                    <a:moveTo>
                      <a:pt x="59" y="2"/>
                    </a:moveTo>
                    <a:cubicBezTo>
                      <a:pt x="59" y="12"/>
                      <a:pt x="59" y="12"/>
                      <a:pt x="59" y="12"/>
                    </a:cubicBezTo>
                    <a:cubicBezTo>
                      <a:pt x="53" y="4"/>
                      <a:pt x="45" y="0"/>
                      <a:pt x="35" y="0"/>
                    </a:cubicBezTo>
                    <a:cubicBezTo>
                      <a:pt x="28" y="0"/>
                      <a:pt x="22" y="2"/>
                      <a:pt x="16" y="6"/>
                    </a:cubicBezTo>
                    <a:cubicBezTo>
                      <a:pt x="11" y="9"/>
                      <a:pt x="7" y="14"/>
                      <a:pt x="4" y="21"/>
                    </a:cubicBezTo>
                    <a:cubicBezTo>
                      <a:pt x="1" y="27"/>
                      <a:pt x="0" y="34"/>
                      <a:pt x="0" y="42"/>
                    </a:cubicBezTo>
                    <a:cubicBezTo>
                      <a:pt x="0" y="53"/>
                      <a:pt x="3" y="63"/>
                      <a:pt x="9" y="71"/>
                    </a:cubicBezTo>
                    <a:cubicBezTo>
                      <a:pt x="15" y="79"/>
                      <a:pt x="24" y="83"/>
                      <a:pt x="35" y="83"/>
                    </a:cubicBezTo>
                    <a:cubicBezTo>
                      <a:pt x="44" y="83"/>
                      <a:pt x="51" y="80"/>
                      <a:pt x="58" y="73"/>
                    </a:cubicBezTo>
                    <a:cubicBezTo>
                      <a:pt x="58" y="82"/>
                      <a:pt x="57" y="88"/>
                      <a:pt x="57" y="90"/>
                    </a:cubicBezTo>
                    <a:cubicBezTo>
                      <a:pt x="55" y="95"/>
                      <a:pt x="53" y="99"/>
                      <a:pt x="49" y="101"/>
                    </a:cubicBezTo>
                    <a:cubicBezTo>
                      <a:pt x="46" y="104"/>
                      <a:pt x="41" y="105"/>
                      <a:pt x="35" y="105"/>
                    </a:cubicBezTo>
                    <a:cubicBezTo>
                      <a:pt x="29" y="105"/>
                      <a:pt x="24" y="104"/>
                      <a:pt x="21" y="101"/>
                    </a:cubicBezTo>
                    <a:cubicBezTo>
                      <a:pt x="18" y="99"/>
                      <a:pt x="17" y="96"/>
                      <a:pt x="16" y="92"/>
                    </a:cubicBezTo>
                    <a:cubicBezTo>
                      <a:pt x="3" y="90"/>
                      <a:pt x="3" y="90"/>
                      <a:pt x="3" y="90"/>
                    </a:cubicBezTo>
                    <a:cubicBezTo>
                      <a:pt x="2" y="99"/>
                      <a:pt x="5" y="105"/>
                      <a:pt x="11" y="110"/>
                    </a:cubicBezTo>
                    <a:cubicBezTo>
                      <a:pt x="17" y="114"/>
                      <a:pt x="25" y="116"/>
                      <a:pt x="35" y="116"/>
                    </a:cubicBezTo>
                    <a:cubicBezTo>
                      <a:pt x="43" y="116"/>
                      <a:pt x="50" y="115"/>
                      <a:pt x="55" y="112"/>
                    </a:cubicBezTo>
                    <a:cubicBezTo>
                      <a:pt x="61" y="109"/>
                      <a:pt x="65" y="104"/>
                      <a:pt x="68" y="99"/>
                    </a:cubicBezTo>
                    <a:cubicBezTo>
                      <a:pt x="70" y="94"/>
                      <a:pt x="72" y="85"/>
                      <a:pt x="72" y="72"/>
                    </a:cubicBezTo>
                    <a:cubicBezTo>
                      <a:pt x="72" y="2"/>
                      <a:pt x="72" y="2"/>
                      <a:pt x="72" y="2"/>
                    </a:cubicBezTo>
                    <a:lnTo>
                      <a:pt x="59" y="2"/>
                    </a:lnTo>
                    <a:close/>
                    <a:moveTo>
                      <a:pt x="52" y="65"/>
                    </a:moveTo>
                    <a:cubicBezTo>
                      <a:pt x="48" y="69"/>
                      <a:pt x="43" y="72"/>
                      <a:pt x="36" y="72"/>
                    </a:cubicBezTo>
                    <a:cubicBezTo>
                      <a:pt x="30" y="72"/>
                      <a:pt x="25" y="69"/>
                      <a:pt x="20" y="65"/>
                    </a:cubicBezTo>
                    <a:cubicBezTo>
                      <a:pt x="16" y="60"/>
                      <a:pt x="14" y="52"/>
                      <a:pt x="14" y="41"/>
                    </a:cubicBezTo>
                    <a:cubicBezTo>
                      <a:pt x="14" y="31"/>
                      <a:pt x="16" y="24"/>
                      <a:pt x="20" y="19"/>
                    </a:cubicBezTo>
                    <a:cubicBezTo>
                      <a:pt x="25" y="14"/>
                      <a:pt x="30" y="12"/>
                      <a:pt x="36" y="12"/>
                    </a:cubicBezTo>
                    <a:cubicBezTo>
                      <a:pt x="42" y="12"/>
                      <a:pt x="48" y="14"/>
                      <a:pt x="52" y="19"/>
                    </a:cubicBezTo>
                    <a:cubicBezTo>
                      <a:pt x="56" y="24"/>
                      <a:pt x="59" y="32"/>
                      <a:pt x="59" y="42"/>
                    </a:cubicBezTo>
                    <a:cubicBezTo>
                      <a:pt x="59" y="52"/>
                      <a:pt x="57" y="60"/>
                      <a:pt x="52" y="65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1048992" name="î$1ïḍè"/>
              <p:cNvSpPr/>
              <p:nvPr/>
            </p:nvSpPr>
            <p:spPr bwMode="auto">
              <a:xfrm>
                <a:off x="5231066" y="5675903"/>
                <a:ext cx="161925" cy="211138"/>
              </a:xfrm>
              <a:custGeom>
                <a:avLst/>
                <a:gdLst>
                  <a:gd name="T0" fmla="*/ 73 w 88"/>
                  <a:gd name="T1" fmla="*/ 65 h 114"/>
                  <a:gd name="T2" fmla="*/ 66 w 88"/>
                  <a:gd name="T3" fmla="*/ 93 h 114"/>
                  <a:gd name="T4" fmla="*/ 43 w 88"/>
                  <a:gd name="T5" fmla="*/ 101 h 114"/>
                  <a:gd name="T6" fmla="*/ 27 w 88"/>
                  <a:gd name="T7" fmla="*/ 97 h 114"/>
                  <a:gd name="T8" fmla="*/ 17 w 88"/>
                  <a:gd name="T9" fmla="*/ 86 h 114"/>
                  <a:gd name="T10" fmla="*/ 15 w 88"/>
                  <a:gd name="T11" fmla="*/ 65 h 114"/>
                  <a:gd name="T12" fmla="*/ 15 w 88"/>
                  <a:gd name="T13" fmla="*/ 0 h 114"/>
                  <a:gd name="T14" fmla="*/ 0 w 88"/>
                  <a:gd name="T15" fmla="*/ 0 h 114"/>
                  <a:gd name="T16" fmla="*/ 0 w 88"/>
                  <a:gd name="T17" fmla="*/ 65 h 114"/>
                  <a:gd name="T18" fmla="*/ 4 w 88"/>
                  <a:gd name="T19" fmla="*/ 93 h 114"/>
                  <a:gd name="T20" fmla="*/ 18 w 88"/>
                  <a:gd name="T21" fmla="*/ 109 h 114"/>
                  <a:gd name="T22" fmla="*/ 44 w 88"/>
                  <a:gd name="T23" fmla="*/ 114 h 114"/>
                  <a:gd name="T24" fmla="*/ 70 w 88"/>
                  <a:gd name="T25" fmla="*/ 108 h 114"/>
                  <a:gd name="T26" fmla="*/ 84 w 88"/>
                  <a:gd name="T27" fmla="*/ 92 h 114"/>
                  <a:gd name="T28" fmla="*/ 88 w 88"/>
                  <a:gd name="T29" fmla="*/ 65 h 114"/>
                  <a:gd name="T30" fmla="*/ 88 w 88"/>
                  <a:gd name="T31" fmla="*/ 0 h 114"/>
                  <a:gd name="T32" fmla="*/ 73 w 88"/>
                  <a:gd name="T33" fmla="*/ 0 h 114"/>
                  <a:gd name="T34" fmla="*/ 73 w 88"/>
                  <a:gd name="T35" fmla="*/ 65 h 1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88" h="114">
                    <a:moveTo>
                      <a:pt x="73" y="65"/>
                    </a:moveTo>
                    <a:cubicBezTo>
                      <a:pt x="73" y="79"/>
                      <a:pt x="71" y="88"/>
                      <a:pt x="66" y="93"/>
                    </a:cubicBezTo>
                    <a:cubicBezTo>
                      <a:pt x="62" y="98"/>
                      <a:pt x="54" y="101"/>
                      <a:pt x="43" y="101"/>
                    </a:cubicBezTo>
                    <a:cubicBezTo>
                      <a:pt x="37" y="101"/>
                      <a:pt x="31" y="100"/>
                      <a:pt x="27" y="97"/>
                    </a:cubicBezTo>
                    <a:cubicBezTo>
                      <a:pt x="22" y="95"/>
                      <a:pt x="19" y="91"/>
                      <a:pt x="17" y="86"/>
                    </a:cubicBezTo>
                    <a:cubicBezTo>
                      <a:pt x="16" y="82"/>
                      <a:pt x="15" y="75"/>
                      <a:pt x="15" y="65"/>
                    </a:cubicBezTo>
                    <a:cubicBezTo>
                      <a:pt x="15" y="0"/>
                      <a:pt x="15" y="0"/>
                      <a:pt x="15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65"/>
                      <a:pt x="0" y="65"/>
                      <a:pt x="0" y="65"/>
                    </a:cubicBezTo>
                    <a:cubicBezTo>
                      <a:pt x="0" y="77"/>
                      <a:pt x="1" y="86"/>
                      <a:pt x="4" y="93"/>
                    </a:cubicBezTo>
                    <a:cubicBezTo>
                      <a:pt x="7" y="100"/>
                      <a:pt x="12" y="105"/>
                      <a:pt x="18" y="109"/>
                    </a:cubicBezTo>
                    <a:cubicBezTo>
                      <a:pt x="25" y="112"/>
                      <a:pt x="34" y="114"/>
                      <a:pt x="44" y="114"/>
                    </a:cubicBezTo>
                    <a:cubicBezTo>
                      <a:pt x="55" y="114"/>
                      <a:pt x="64" y="112"/>
                      <a:pt x="70" y="108"/>
                    </a:cubicBezTo>
                    <a:cubicBezTo>
                      <a:pt x="77" y="104"/>
                      <a:pt x="82" y="98"/>
                      <a:pt x="84" y="92"/>
                    </a:cubicBezTo>
                    <a:cubicBezTo>
                      <a:pt x="87" y="85"/>
                      <a:pt x="88" y="76"/>
                      <a:pt x="88" y="65"/>
                    </a:cubicBezTo>
                    <a:cubicBezTo>
                      <a:pt x="88" y="0"/>
                      <a:pt x="88" y="0"/>
                      <a:pt x="88" y="0"/>
                    </a:cubicBezTo>
                    <a:cubicBezTo>
                      <a:pt x="73" y="0"/>
                      <a:pt x="73" y="0"/>
                      <a:pt x="73" y="0"/>
                    </a:cubicBezTo>
                    <a:lnTo>
                      <a:pt x="73" y="65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1048993" name="ïṡļîḑê"/>
              <p:cNvSpPr/>
              <p:nvPr/>
            </p:nvSpPr>
            <p:spPr bwMode="auto">
              <a:xfrm>
                <a:off x="5435853" y="5729878"/>
                <a:ext cx="120650" cy="152400"/>
              </a:xfrm>
              <a:custGeom>
                <a:avLst/>
                <a:gdLst>
                  <a:gd name="T0" fmla="*/ 61 w 66"/>
                  <a:gd name="T1" fmla="*/ 10 h 83"/>
                  <a:gd name="T2" fmla="*/ 52 w 66"/>
                  <a:gd name="T3" fmla="*/ 3 h 83"/>
                  <a:gd name="T4" fmla="*/ 38 w 66"/>
                  <a:gd name="T5" fmla="*/ 0 h 83"/>
                  <a:gd name="T6" fmla="*/ 12 w 66"/>
                  <a:gd name="T7" fmla="*/ 14 h 83"/>
                  <a:gd name="T8" fmla="*/ 12 w 66"/>
                  <a:gd name="T9" fmla="*/ 2 h 83"/>
                  <a:gd name="T10" fmla="*/ 0 w 66"/>
                  <a:gd name="T11" fmla="*/ 2 h 83"/>
                  <a:gd name="T12" fmla="*/ 0 w 66"/>
                  <a:gd name="T13" fmla="*/ 83 h 83"/>
                  <a:gd name="T14" fmla="*/ 14 w 66"/>
                  <a:gd name="T15" fmla="*/ 83 h 83"/>
                  <a:gd name="T16" fmla="*/ 14 w 66"/>
                  <a:gd name="T17" fmla="*/ 39 h 83"/>
                  <a:gd name="T18" fmla="*/ 20 w 66"/>
                  <a:gd name="T19" fmla="*/ 18 h 83"/>
                  <a:gd name="T20" fmla="*/ 35 w 66"/>
                  <a:gd name="T21" fmla="*/ 12 h 83"/>
                  <a:gd name="T22" fmla="*/ 45 w 66"/>
                  <a:gd name="T23" fmla="*/ 15 h 83"/>
                  <a:gd name="T24" fmla="*/ 51 w 66"/>
                  <a:gd name="T25" fmla="*/ 21 h 83"/>
                  <a:gd name="T26" fmla="*/ 52 w 66"/>
                  <a:gd name="T27" fmla="*/ 34 h 83"/>
                  <a:gd name="T28" fmla="*/ 52 w 66"/>
                  <a:gd name="T29" fmla="*/ 83 h 83"/>
                  <a:gd name="T30" fmla="*/ 66 w 66"/>
                  <a:gd name="T31" fmla="*/ 83 h 83"/>
                  <a:gd name="T32" fmla="*/ 66 w 66"/>
                  <a:gd name="T33" fmla="*/ 33 h 83"/>
                  <a:gd name="T34" fmla="*/ 65 w 66"/>
                  <a:gd name="T35" fmla="*/ 20 h 83"/>
                  <a:gd name="T36" fmla="*/ 61 w 66"/>
                  <a:gd name="T37" fmla="*/ 10 h 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66" h="83">
                    <a:moveTo>
                      <a:pt x="61" y="10"/>
                    </a:moveTo>
                    <a:cubicBezTo>
                      <a:pt x="59" y="7"/>
                      <a:pt x="56" y="5"/>
                      <a:pt x="52" y="3"/>
                    </a:cubicBezTo>
                    <a:cubicBezTo>
                      <a:pt x="48" y="1"/>
                      <a:pt x="43" y="0"/>
                      <a:pt x="38" y="0"/>
                    </a:cubicBezTo>
                    <a:cubicBezTo>
                      <a:pt x="27" y="0"/>
                      <a:pt x="18" y="5"/>
                      <a:pt x="12" y="14"/>
                    </a:cubicBezTo>
                    <a:cubicBezTo>
                      <a:pt x="12" y="2"/>
                      <a:pt x="12" y="2"/>
                      <a:pt x="12" y="2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83"/>
                      <a:pt x="0" y="83"/>
                      <a:pt x="0" y="83"/>
                    </a:cubicBezTo>
                    <a:cubicBezTo>
                      <a:pt x="14" y="83"/>
                      <a:pt x="14" y="83"/>
                      <a:pt x="14" y="83"/>
                    </a:cubicBezTo>
                    <a:cubicBezTo>
                      <a:pt x="14" y="39"/>
                      <a:pt x="14" y="39"/>
                      <a:pt x="14" y="39"/>
                    </a:cubicBezTo>
                    <a:cubicBezTo>
                      <a:pt x="14" y="29"/>
                      <a:pt x="16" y="21"/>
                      <a:pt x="20" y="18"/>
                    </a:cubicBezTo>
                    <a:cubicBezTo>
                      <a:pt x="25" y="14"/>
                      <a:pt x="30" y="12"/>
                      <a:pt x="35" y="12"/>
                    </a:cubicBezTo>
                    <a:cubicBezTo>
                      <a:pt x="39" y="12"/>
                      <a:pt x="42" y="13"/>
                      <a:pt x="45" y="15"/>
                    </a:cubicBezTo>
                    <a:cubicBezTo>
                      <a:pt x="48" y="16"/>
                      <a:pt x="50" y="19"/>
                      <a:pt x="51" y="21"/>
                    </a:cubicBezTo>
                    <a:cubicBezTo>
                      <a:pt x="52" y="24"/>
                      <a:pt x="52" y="28"/>
                      <a:pt x="52" y="34"/>
                    </a:cubicBezTo>
                    <a:cubicBezTo>
                      <a:pt x="52" y="83"/>
                      <a:pt x="52" y="83"/>
                      <a:pt x="52" y="83"/>
                    </a:cubicBezTo>
                    <a:cubicBezTo>
                      <a:pt x="66" y="83"/>
                      <a:pt x="66" y="83"/>
                      <a:pt x="66" y="83"/>
                    </a:cubicBezTo>
                    <a:cubicBezTo>
                      <a:pt x="66" y="33"/>
                      <a:pt x="66" y="33"/>
                      <a:pt x="66" y="33"/>
                    </a:cubicBezTo>
                    <a:cubicBezTo>
                      <a:pt x="66" y="27"/>
                      <a:pt x="66" y="23"/>
                      <a:pt x="65" y="20"/>
                    </a:cubicBezTo>
                    <a:cubicBezTo>
                      <a:pt x="65" y="16"/>
                      <a:pt x="63" y="13"/>
                      <a:pt x="61" y="1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</p:grpSp>
      </p:grpSp>
    </p:spTree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竖排标题与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97207" name="图片 2"/>
          <p:cNvPicPr>
            <a:picLocks noChangeAspect="1"/>
          </p:cNvPicPr>
          <p:nvPr userDrawn="1"/>
        </p:nvPicPr>
        <p:blipFill rotWithShape="1">
          <a:blip r:embed="rId2"/>
          <a:srcRect t="10460" b="10440"/>
          <a:stretch>
            <a:fillRect/>
          </a:stretch>
        </p:blipFill>
        <p:spPr>
          <a:xfrm>
            <a:off x="-1" y="1721216"/>
            <a:ext cx="9144000" cy="3415569"/>
          </a:xfrm>
          <a:prstGeom prst="rect">
            <a:avLst/>
          </a:prstGeom>
        </p:spPr>
      </p:pic>
      <p:sp>
        <p:nvSpPr>
          <p:cNvPr id="1049926" name="矩形 7"/>
          <p:cNvSpPr/>
          <p:nvPr userDrawn="1"/>
        </p:nvSpPr>
        <p:spPr>
          <a:xfrm>
            <a:off x="1" y="1715168"/>
            <a:ext cx="9144000" cy="3427664"/>
          </a:xfrm>
          <a:prstGeom prst="rect">
            <a:avLst/>
          </a:prstGeom>
          <a:gradFill flip="none" rotWithShape="1">
            <a:gsLst>
              <a:gs pos="0">
                <a:srgbClr val="A22B17">
                  <a:lumMod val="94000"/>
                  <a:lumOff val="6000"/>
                </a:srgbClr>
              </a:gs>
              <a:gs pos="100000">
                <a:srgbClr val="A22B17">
                  <a:alpha val="72000"/>
                  <a:lumMod val="85000"/>
                  <a:lumOff val="15000"/>
                </a:srgb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zh-CN" altLang="en-US" sz="1350" dirty="0"/>
          </a:p>
        </p:txBody>
      </p:sp>
      <p:grpSp>
        <p:nvGrpSpPr>
          <p:cNvPr id="219" name="组合 9"/>
          <p:cNvGrpSpPr/>
          <p:nvPr userDrawn="1"/>
        </p:nvGrpSpPr>
        <p:grpSpPr>
          <a:xfrm>
            <a:off x="2230940" y="304800"/>
            <a:ext cx="4682120" cy="6248400"/>
            <a:chOff x="2514433" y="-155765"/>
            <a:chExt cx="7163134" cy="7169530"/>
          </a:xfrm>
        </p:grpSpPr>
        <p:grpSp>
          <p:nvGrpSpPr>
            <p:cNvPr id="220" name="组合 10"/>
            <p:cNvGrpSpPr/>
            <p:nvPr/>
          </p:nvGrpSpPr>
          <p:grpSpPr>
            <a:xfrm>
              <a:off x="2514433" y="-155765"/>
              <a:ext cx="7163134" cy="7169530"/>
              <a:chOff x="1560409" y="2069897"/>
              <a:chExt cx="1776413" cy="1778000"/>
            </a:xfrm>
          </p:grpSpPr>
          <p:sp>
            <p:nvSpPr>
              <p:cNvPr id="1049927" name="îS1îḋé"/>
              <p:cNvSpPr/>
              <p:nvPr/>
            </p:nvSpPr>
            <p:spPr bwMode="auto">
              <a:xfrm>
                <a:off x="1560409" y="2069897"/>
                <a:ext cx="1776413" cy="1778000"/>
              </a:xfrm>
              <a:prstGeom prst="ellipse">
                <a:avLst/>
              </a:prstGeom>
              <a:noFill/>
              <a:ln w="98425" cap="flat">
                <a:solidFill>
                  <a:schemeClr val="bg1">
                    <a:alpha val="7000"/>
                  </a:schemeClr>
                </a:solidFill>
                <a:prstDash val="solid"/>
                <a:miter lim="800000"/>
              </a:ln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1049928" name="îṣḷïďé"/>
              <p:cNvSpPr/>
              <p:nvPr/>
            </p:nvSpPr>
            <p:spPr bwMode="auto">
              <a:xfrm>
                <a:off x="1779484" y="2288972"/>
                <a:ext cx="1336675" cy="1338263"/>
              </a:xfrm>
              <a:prstGeom prst="ellipse">
                <a:avLst/>
              </a:prstGeom>
              <a:noFill/>
              <a:ln w="19050" cap="flat">
                <a:solidFill>
                  <a:schemeClr val="bg1">
                    <a:alpha val="7000"/>
                  </a:schemeClr>
                </a:solidFill>
                <a:prstDash val="solid"/>
                <a:miter lim="800000"/>
              </a:ln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</p:grpSp>
        <p:grpSp>
          <p:nvGrpSpPr>
            <p:cNvPr id="221" name="组合 11"/>
            <p:cNvGrpSpPr/>
            <p:nvPr/>
          </p:nvGrpSpPr>
          <p:grpSpPr>
            <a:xfrm>
              <a:off x="2844102" y="77886"/>
              <a:ext cx="6503791" cy="6702232"/>
              <a:chOff x="1641372" y="4491628"/>
              <a:chExt cx="1612900" cy="1662113"/>
            </a:xfrm>
            <a:solidFill>
              <a:schemeClr val="bg1">
                <a:alpha val="7000"/>
              </a:schemeClr>
            </a:solidFill>
          </p:grpSpPr>
          <p:sp>
            <p:nvSpPr>
              <p:cNvPr id="1049929" name="ïś1íďê"/>
              <p:cNvSpPr/>
              <p:nvPr/>
            </p:nvSpPr>
            <p:spPr bwMode="auto">
              <a:xfrm>
                <a:off x="2889147" y="4701178"/>
                <a:ext cx="153988" cy="138113"/>
              </a:xfrm>
              <a:custGeom>
                <a:avLst/>
                <a:gdLst>
                  <a:gd name="T0" fmla="*/ 62 w 83"/>
                  <a:gd name="T1" fmla="*/ 8 h 75"/>
                  <a:gd name="T2" fmla="*/ 53 w 83"/>
                  <a:gd name="T3" fmla="*/ 10 h 75"/>
                  <a:gd name="T4" fmla="*/ 57 w 83"/>
                  <a:gd name="T5" fmla="*/ 0 h 75"/>
                  <a:gd name="T6" fmla="*/ 44 w 83"/>
                  <a:gd name="T7" fmla="*/ 21 h 75"/>
                  <a:gd name="T8" fmla="*/ 58 w 83"/>
                  <a:gd name="T9" fmla="*/ 11 h 75"/>
                  <a:gd name="T10" fmla="*/ 54 w 83"/>
                  <a:gd name="T11" fmla="*/ 18 h 75"/>
                  <a:gd name="T12" fmla="*/ 28 w 83"/>
                  <a:gd name="T13" fmla="*/ 18 h 75"/>
                  <a:gd name="T14" fmla="*/ 19 w 83"/>
                  <a:gd name="T15" fmla="*/ 17 h 75"/>
                  <a:gd name="T16" fmla="*/ 25 w 83"/>
                  <a:gd name="T17" fmla="*/ 12 h 75"/>
                  <a:gd name="T18" fmla="*/ 1 w 83"/>
                  <a:gd name="T19" fmla="*/ 30 h 75"/>
                  <a:gd name="T20" fmla="*/ 13 w 83"/>
                  <a:gd name="T21" fmla="*/ 24 h 75"/>
                  <a:gd name="T22" fmla="*/ 36 w 83"/>
                  <a:gd name="T23" fmla="*/ 28 h 75"/>
                  <a:gd name="T24" fmla="*/ 22 w 83"/>
                  <a:gd name="T25" fmla="*/ 35 h 75"/>
                  <a:gd name="T26" fmla="*/ 45 w 83"/>
                  <a:gd name="T27" fmla="*/ 41 h 75"/>
                  <a:gd name="T28" fmla="*/ 42 w 83"/>
                  <a:gd name="T29" fmla="*/ 41 h 75"/>
                  <a:gd name="T30" fmla="*/ 35 w 83"/>
                  <a:gd name="T31" fmla="*/ 40 h 75"/>
                  <a:gd name="T32" fmla="*/ 37 w 83"/>
                  <a:gd name="T33" fmla="*/ 45 h 75"/>
                  <a:gd name="T34" fmla="*/ 12 w 83"/>
                  <a:gd name="T35" fmla="*/ 34 h 75"/>
                  <a:gd name="T36" fmla="*/ 9 w 83"/>
                  <a:gd name="T37" fmla="*/ 35 h 75"/>
                  <a:gd name="T38" fmla="*/ 20 w 83"/>
                  <a:gd name="T39" fmla="*/ 64 h 75"/>
                  <a:gd name="T40" fmla="*/ 0 w 83"/>
                  <a:gd name="T41" fmla="*/ 57 h 75"/>
                  <a:gd name="T42" fmla="*/ 35 w 83"/>
                  <a:gd name="T43" fmla="*/ 58 h 75"/>
                  <a:gd name="T44" fmla="*/ 46 w 83"/>
                  <a:gd name="T45" fmla="*/ 57 h 75"/>
                  <a:gd name="T46" fmla="*/ 42 w 83"/>
                  <a:gd name="T47" fmla="*/ 48 h 75"/>
                  <a:gd name="T48" fmla="*/ 62 w 83"/>
                  <a:gd name="T49" fmla="*/ 57 h 75"/>
                  <a:gd name="T50" fmla="*/ 61 w 83"/>
                  <a:gd name="T51" fmla="*/ 35 h 75"/>
                  <a:gd name="T52" fmla="*/ 62 w 83"/>
                  <a:gd name="T53" fmla="*/ 34 h 75"/>
                  <a:gd name="T54" fmla="*/ 66 w 83"/>
                  <a:gd name="T55" fmla="*/ 16 h 75"/>
                  <a:gd name="T56" fmla="*/ 63 w 83"/>
                  <a:gd name="T57" fmla="*/ 44 h 75"/>
                  <a:gd name="T58" fmla="*/ 54 w 83"/>
                  <a:gd name="T59" fmla="*/ 32 h 75"/>
                  <a:gd name="T60" fmla="*/ 60 w 83"/>
                  <a:gd name="T61" fmla="*/ 27 h 75"/>
                  <a:gd name="T62" fmla="*/ 67 w 83"/>
                  <a:gd name="T63" fmla="*/ 18 h 75"/>
                  <a:gd name="T64" fmla="*/ 77 w 83"/>
                  <a:gd name="T65" fmla="*/ 23 h 75"/>
                  <a:gd name="T66" fmla="*/ 60 w 83"/>
                  <a:gd name="T67" fmla="*/ 27 h 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83" h="75">
                    <a:moveTo>
                      <a:pt x="66" y="16"/>
                    </a:moveTo>
                    <a:cubicBezTo>
                      <a:pt x="65" y="13"/>
                      <a:pt x="63" y="11"/>
                      <a:pt x="62" y="8"/>
                    </a:cubicBezTo>
                    <a:cubicBezTo>
                      <a:pt x="59" y="9"/>
                      <a:pt x="57" y="9"/>
                      <a:pt x="54" y="10"/>
                    </a:cubicBezTo>
                    <a:cubicBezTo>
                      <a:pt x="54" y="10"/>
                      <a:pt x="53" y="10"/>
                      <a:pt x="53" y="10"/>
                    </a:cubicBezTo>
                    <a:cubicBezTo>
                      <a:pt x="54" y="7"/>
                      <a:pt x="57" y="6"/>
                      <a:pt x="59" y="3"/>
                    </a:cubicBezTo>
                    <a:cubicBezTo>
                      <a:pt x="58" y="2"/>
                      <a:pt x="58" y="1"/>
                      <a:pt x="57" y="0"/>
                    </a:cubicBezTo>
                    <a:cubicBezTo>
                      <a:pt x="48" y="1"/>
                      <a:pt x="37" y="9"/>
                      <a:pt x="42" y="19"/>
                    </a:cubicBezTo>
                    <a:cubicBezTo>
                      <a:pt x="42" y="19"/>
                      <a:pt x="43" y="20"/>
                      <a:pt x="44" y="21"/>
                    </a:cubicBezTo>
                    <a:cubicBezTo>
                      <a:pt x="47" y="19"/>
                      <a:pt x="48" y="15"/>
                      <a:pt x="51" y="14"/>
                    </a:cubicBezTo>
                    <a:cubicBezTo>
                      <a:pt x="53" y="13"/>
                      <a:pt x="55" y="13"/>
                      <a:pt x="58" y="11"/>
                    </a:cubicBezTo>
                    <a:cubicBezTo>
                      <a:pt x="58" y="11"/>
                      <a:pt x="59" y="11"/>
                      <a:pt x="59" y="11"/>
                    </a:cubicBezTo>
                    <a:cubicBezTo>
                      <a:pt x="57" y="14"/>
                      <a:pt x="56" y="16"/>
                      <a:pt x="54" y="18"/>
                    </a:cubicBezTo>
                    <a:cubicBezTo>
                      <a:pt x="54" y="21"/>
                      <a:pt x="55" y="24"/>
                      <a:pt x="54" y="27"/>
                    </a:cubicBezTo>
                    <a:cubicBezTo>
                      <a:pt x="54" y="27"/>
                      <a:pt x="30" y="18"/>
                      <a:pt x="28" y="18"/>
                    </a:cubicBezTo>
                    <a:cubicBezTo>
                      <a:pt x="25" y="17"/>
                      <a:pt x="22" y="17"/>
                      <a:pt x="20" y="17"/>
                    </a:cubicBezTo>
                    <a:cubicBezTo>
                      <a:pt x="19" y="17"/>
                      <a:pt x="19" y="17"/>
                      <a:pt x="19" y="17"/>
                    </a:cubicBezTo>
                    <a:cubicBezTo>
                      <a:pt x="22" y="15"/>
                      <a:pt x="23" y="15"/>
                      <a:pt x="25" y="13"/>
                    </a:cubicBezTo>
                    <a:cubicBezTo>
                      <a:pt x="25" y="12"/>
                      <a:pt x="25" y="12"/>
                      <a:pt x="25" y="12"/>
                    </a:cubicBezTo>
                    <a:cubicBezTo>
                      <a:pt x="18" y="12"/>
                      <a:pt x="11" y="16"/>
                      <a:pt x="4" y="18"/>
                    </a:cubicBezTo>
                    <a:cubicBezTo>
                      <a:pt x="0" y="22"/>
                      <a:pt x="0" y="25"/>
                      <a:pt x="1" y="30"/>
                    </a:cubicBezTo>
                    <a:cubicBezTo>
                      <a:pt x="3" y="31"/>
                      <a:pt x="3" y="31"/>
                      <a:pt x="3" y="31"/>
                    </a:cubicBezTo>
                    <a:cubicBezTo>
                      <a:pt x="6" y="29"/>
                      <a:pt x="9" y="26"/>
                      <a:pt x="13" y="24"/>
                    </a:cubicBezTo>
                    <a:cubicBezTo>
                      <a:pt x="19" y="20"/>
                      <a:pt x="30" y="22"/>
                      <a:pt x="37" y="27"/>
                    </a:cubicBezTo>
                    <a:cubicBezTo>
                      <a:pt x="37" y="28"/>
                      <a:pt x="36" y="28"/>
                      <a:pt x="36" y="28"/>
                    </a:cubicBezTo>
                    <a:cubicBezTo>
                      <a:pt x="31" y="29"/>
                      <a:pt x="28" y="28"/>
                      <a:pt x="22" y="32"/>
                    </a:cubicBezTo>
                    <a:cubicBezTo>
                      <a:pt x="22" y="33"/>
                      <a:pt x="22" y="34"/>
                      <a:pt x="22" y="35"/>
                    </a:cubicBezTo>
                    <a:cubicBezTo>
                      <a:pt x="22" y="37"/>
                      <a:pt x="22" y="37"/>
                      <a:pt x="24" y="39"/>
                    </a:cubicBezTo>
                    <a:cubicBezTo>
                      <a:pt x="31" y="37"/>
                      <a:pt x="37" y="36"/>
                      <a:pt x="45" y="41"/>
                    </a:cubicBezTo>
                    <a:cubicBezTo>
                      <a:pt x="44" y="41"/>
                      <a:pt x="44" y="41"/>
                      <a:pt x="44" y="41"/>
                    </a:cubicBezTo>
                    <a:cubicBezTo>
                      <a:pt x="43" y="41"/>
                      <a:pt x="42" y="41"/>
                      <a:pt x="42" y="41"/>
                    </a:cubicBezTo>
                    <a:cubicBezTo>
                      <a:pt x="41" y="40"/>
                      <a:pt x="40" y="39"/>
                      <a:pt x="39" y="39"/>
                    </a:cubicBezTo>
                    <a:cubicBezTo>
                      <a:pt x="37" y="41"/>
                      <a:pt x="37" y="41"/>
                      <a:pt x="35" y="40"/>
                    </a:cubicBezTo>
                    <a:cubicBezTo>
                      <a:pt x="35" y="40"/>
                      <a:pt x="34" y="41"/>
                      <a:pt x="34" y="41"/>
                    </a:cubicBezTo>
                    <a:cubicBezTo>
                      <a:pt x="35" y="43"/>
                      <a:pt x="35" y="43"/>
                      <a:pt x="37" y="45"/>
                    </a:cubicBezTo>
                    <a:cubicBezTo>
                      <a:pt x="36" y="46"/>
                      <a:pt x="36" y="47"/>
                      <a:pt x="35" y="48"/>
                    </a:cubicBezTo>
                    <a:cubicBezTo>
                      <a:pt x="27" y="44"/>
                      <a:pt x="20" y="40"/>
                      <a:pt x="12" y="34"/>
                    </a:cubicBezTo>
                    <a:cubicBezTo>
                      <a:pt x="11" y="34"/>
                      <a:pt x="11" y="34"/>
                      <a:pt x="10" y="34"/>
                    </a:cubicBezTo>
                    <a:cubicBezTo>
                      <a:pt x="9" y="34"/>
                      <a:pt x="9" y="35"/>
                      <a:pt x="9" y="35"/>
                    </a:cubicBezTo>
                    <a:cubicBezTo>
                      <a:pt x="11" y="55"/>
                      <a:pt x="20" y="44"/>
                      <a:pt x="31" y="54"/>
                    </a:cubicBezTo>
                    <a:cubicBezTo>
                      <a:pt x="27" y="58"/>
                      <a:pt x="23" y="61"/>
                      <a:pt x="20" y="64"/>
                    </a:cubicBezTo>
                    <a:cubicBezTo>
                      <a:pt x="15" y="63"/>
                      <a:pt x="6" y="55"/>
                      <a:pt x="1" y="56"/>
                    </a:cubicBezTo>
                    <a:cubicBezTo>
                      <a:pt x="1" y="56"/>
                      <a:pt x="1" y="56"/>
                      <a:pt x="0" y="57"/>
                    </a:cubicBezTo>
                    <a:cubicBezTo>
                      <a:pt x="2" y="62"/>
                      <a:pt x="7" y="67"/>
                      <a:pt x="9" y="72"/>
                    </a:cubicBezTo>
                    <a:cubicBezTo>
                      <a:pt x="17" y="75"/>
                      <a:pt x="26" y="66"/>
                      <a:pt x="35" y="58"/>
                    </a:cubicBezTo>
                    <a:cubicBezTo>
                      <a:pt x="37" y="60"/>
                      <a:pt x="39" y="63"/>
                      <a:pt x="42" y="65"/>
                    </a:cubicBezTo>
                    <a:cubicBezTo>
                      <a:pt x="46" y="63"/>
                      <a:pt x="46" y="60"/>
                      <a:pt x="46" y="57"/>
                    </a:cubicBezTo>
                    <a:cubicBezTo>
                      <a:pt x="45" y="54"/>
                      <a:pt x="43" y="53"/>
                      <a:pt x="40" y="50"/>
                    </a:cubicBezTo>
                    <a:cubicBezTo>
                      <a:pt x="41" y="49"/>
                      <a:pt x="42" y="48"/>
                      <a:pt x="42" y="48"/>
                    </a:cubicBezTo>
                    <a:cubicBezTo>
                      <a:pt x="46" y="48"/>
                      <a:pt x="49" y="48"/>
                      <a:pt x="53" y="46"/>
                    </a:cubicBezTo>
                    <a:cubicBezTo>
                      <a:pt x="56" y="49"/>
                      <a:pt x="59" y="53"/>
                      <a:pt x="62" y="57"/>
                    </a:cubicBezTo>
                    <a:cubicBezTo>
                      <a:pt x="65" y="56"/>
                      <a:pt x="68" y="55"/>
                      <a:pt x="70" y="52"/>
                    </a:cubicBezTo>
                    <a:cubicBezTo>
                      <a:pt x="72" y="47"/>
                      <a:pt x="66" y="40"/>
                      <a:pt x="61" y="35"/>
                    </a:cubicBezTo>
                    <a:cubicBezTo>
                      <a:pt x="61" y="35"/>
                      <a:pt x="61" y="35"/>
                      <a:pt x="61" y="35"/>
                    </a:cubicBezTo>
                    <a:cubicBezTo>
                      <a:pt x="62" y="34"/>
                      <a:pt x="62" y="34"/>
                      <a:pt x="62" y="34"/>
                    </a:cubicBezTo>
                    <a:cubicBezTo>
                      <a:pt x="69" y="34"/>
                      <a:pt x="72" y="37"/>
                      <a:pt x="79" y="32"/>
                    </a:cubicBezTo>
                    <a:cubicBezTo>
                      <a:pt x="83" y="17"/>
                      <a:pt x="74" y="21"/>
                      <a:pt x="66" y="16"/>
                    </a:cubicBezTo>
                    <a:close/>
                    <a:moveTo>
                      <a:pt x="63" y="44"/>
                    </a:moveTo>
                    <a:cubicBezTo>
                      <a:pt x="63" y="44"/>
                      <a:pt x="63" y="44"/>
                      <a:pt x="63" y="44"/>
                    </a:cubicBezTo>
                    <a:cubicBezTo>
                      <a:pt x="55" y="42"/>
                      <a:pt x="46" y="34"/>
                      <a:pt x="38" y="32"/>
                    </a:cubicBezTo>
                    <a:cubicBezTo>
                      <a:pt x="43" y="28"/>
                      <a:pt x="48" y="31"/>
                      <a:pt x="54" y="32"/>
                    </a:cubicBezTo>
                    <a:cubicBezTo>
                      <a:pt x="57" y="36"/>
                      <a:pt x="60" y="40"/>
                      <a:pt x="63" y="44"/>
                    </a:cubicBezTo>
                    <a:close/>
                    <a:moveTo>
                      <a:pt x="60" y="27"/>
                    </a:moveTo>
                    <a:cubicBezTo>
                      <a:pt x="60" y="27"/>
                      <a:pt x="60" y="26"/>
                      <a:pt x="59" y="26"/>
                    </a:cubicBezTo>
                    <a:cubicBezTo>
                      <a:pt x="61" y="23"/>
                      <a:pt x="63" y="20"/>
                      <a:pt x="67" y="18"/>
                    </a:cubicBezTo>
                    <a:cubicBezTo>
                      <a:pt x="69" y="19"/>
                      <a:pt x="71" y="19"/>
                      <a:pt x="74" y="20"/>
                    </a:cubicBezTo>
                    <a:cubicBezTo>
                      <a:pt x="75" y="21"/>
                      <a:pt x="76" y="22"/>
                      <a:pt x="77" y="23"/>
                    </a:cubicBezTo>
                    <a:cubicBezTo>
                      <a:pt x="77" y="24"/>
                      <a:pt x="77" y="24"/>
                      <a:pt x="77" y="25"/>
                    </a:cubicBezTo>
                    <a:cubicBezTo>
                      <a:pt x="72" y="29"/>
                      <a:pt x="66" y="27"/>
                      <a:pt x="60" y="27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1049930" name="ïṩḻîḓé"/>
              <p:cNvSpPr/>
              <p:nvPr/>
            </p:nvSpPr>
            <p:spPr bwMode="auto">
              <a:xfrm>
                <a:off x="2728809" y="4582115"/>
                <a:ext cx="101600" cy="147638"/>
              </a:xfrm>
              <a:custGeom>
                <a:avLst/>
                <a:gdLst>
                  <a:gd name="T0" fmla="*/ 47 w 55"/>
                  <a:gd name="T1" fmla="*/ 0 h 80"/>
                  <a:gd name="T2" fmla="*/ 49 w 55"/>
                  <a:gd name="T3" fmla="*/ 20 h 80"/>
                  <a:gd name="T4" fmla="*/ 51 w 55"/>
                  <a:gd name="T5" fmla="*/ 34 h 80"/>
                  <a:gd name="T6" fmla="*/ 28 w 55"/>
                  <a:gd name="T7" fmla="*/ 38 h 80"/>
                  <a:gd name="T8" fmla="*/ 41 w 55"/>
                  <a:gd name="T9" fmla="*/ 68 h 80"/>
                  <a:gd name="T10" fmla="*/ 25 w 55"/>
                  <a:gd name="T11" fmla="*/ 74 h 80"/>
                  <a:gd name="T12" fmla="*/ 26 w 55"/>
                  <a:gd name="T13" fmla="*/ 39 h 80"/>
                  <a:gd name="T14" fmla="*/ 23 w 55"/>
                  <a:gd name="T15" fmla="*/ 40 h 80"/>
                  <a:gd name="T16" fmla="*/ 7 w 55"/>
                  <a:gd name="T17" fmla="*/ 54 h 80"/>
                  <a:gd name="T18" fmla="*/ 0 w 55"/>
                  <a:gd name="T19" fmla="*/ 43 h 80"/>
                  <a:gd name="T20" fmla="*/ 14 w 55"/>
                  <a:gd name="T21" fmla="*/ 28 h 80"/>
                  <a:gd name="T22" fmla="*/ 6 w 55"/>
                  <a:gd name="T23" fmla="*/ 15 h 80"/>
                  <a:gd name="T24" fmla="*/ 7 w 55"/>
                  <a:gd name="T25" fmla="*/ 15 h 80"/>
                  <a:gd name="T26" fmla="*/ 26 w 55"/>
                  <a:gd name="T27" fmla="*/ 18 h 80"/>
                  <a:gd name="T28" fmla="*/ 47 w 55"/>
                  <a:gd name="T29" fmla="*/ 0 h 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55" h="80">
                    <a:moveTo>
                      <a:pt x="47" y="0"/>
                    </a:moveTo>
                    <a:cubicBezTo>
                      <a:pt x="55" y="7"/>
                      <a:pt x="49" y="11"/>
                      <a:pt x="49" y="20"/>
                    </a:cubicBezTo>
                    <a:cubicBezTo>
                      <a:pt x="49" y="25"/>
                      <a:pt x="55" y="25"/>
                      <a:pt x="51" y="34"/>
                    </a:cubicBezTo>
                    <a:cubicBezTo>
                      <a:pt x="44" y="37"/>
                      <a:pt x="34" y="32"/>
                      <a:pt x="28" y="38"/>
                    </a:cubicBezTo>
                    <a:cubicBezTo>
                      <a:pt x="38" y="44"/>
                      <a:pt x="45" y="59"/>
                      <a:pt x="41" y="68"/>
                    </a:cubicBezTo>
                    <a:cubicBezTo>
                      <a:pt x="39" y="74"/>
                      <a:pt x="28" y="80"/>
                      <a:pt x="25" y="74"/>
                    </a:cubicBezTo>
                    <a:cubicBezTo>
                      <a:pt x="19" y="62"/>
                      <a:pt x="39" y="55"/>
                      <a:pt x="26" y="39"/>
                    </a:cubicBezTo>
                    <a:cubicBezTo>
                      <a:pt x="25" y="39"/>
                      <a:pt x="25" y="39"/>
                      <a:pt x="23" y="40"/>
                    </a:cubicBezTo>
                    <a:cubicBezTo>
                      <a:pt x="17" y="44"/>
                      <a:pt x="14" y="52"/>
                      <a:pt x="7" y="54"/>
                    </a:cubicBezTo>
                    <a:cubicBezTo>
                      <a:pt x="2" y="51"/>
                      <a:pt x="2" y="48"/>
                      <a:pt x="0" y="43"/>
                    </a:cubicBezTo>
                    <a:cubicBezTo>
                      <a:pt x="3" y="39"/>
                      <a:pt x="14" y="30"/>
                      <a:pt x="14" y="28"/>
                    </a:cubicBezTo>
                    <a:cubicBezTo>
                      <a:pt x="14" y="25"/>
                      <a:pt x="7" y="19"/>
                      <a:pt x="6" y="15"/>
                    </a:cubicBezTo>
                    <a:cubicBezTo>
                      <a:pt x="6" y="15"/>
                      <a:pt x="7" y="15"/>
                      <a:pt x="7" y="15"/>
                    </a:cubicBezTo>
                    <a:cubicBezTo>
                      <a:pt x="13" y="15"/>
                      <a:pt x="20" y="18"/>
                      <a:pt x="26" y="18"/>
                    </a:cubicBezTo>
                    <a:cubicBezTo>
                      <a:pt x="34" y="17"/>
                      <a:pt x="41" y="5"/>
                      <a:pt x="47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1049931" name="išḷïḓe"/>
              <p:cNvSpPr/>
              <p:nvPr/>
            </p:nvSpPr>
            <p:spPr bwMode="auto">
              <a:xfrm>
                <a:off x="2490684" y="4510678"/>
                <a:ext cx="144463" cy="160338"/>
              </a:xfrm>
              <a:custGeom>
                <a:avLst/>
                <a:gdLst>
                  <a:gd name="T0" fmla="*/ 55 w 78"/>
                  <a:gd name="T1" fmla="*/ 64 h 87"/>
                  <a:gd name="T2" fmla="*/ 62 w 78"/>
                  <a:gd name="T3" fmla="*/ 50 h 87"/>
                  <a:gd name="T4" fmla="*/ 54 w 78"/>
                  <a:gd name="T5" fmla="*/ 43 h 87"/>
                  <a:gd name="T6" fmla="*/ 69 w 78"/>
                  <a:gd name="T7" fmla="*/ 29 h 87"/>
                  <a:gd name="T8" fmla="*/ 67 w 78"/>
                  <a:gd name="T9" fmla="*/ 21 h 87"/>
                  <a:gd name="T10" fmla="*/ 70 w 78"/>
                  <a:gd name="T11" fmla="*/ 11 h 87"/>
                  <a:gd name="T12" fmla="*/ 69 w 78"/>
                  <a:gd name="T13" fmla="*/ 3 h 87"/>
                  <a:gd name="T14" fmla="*/ 64 w 78"/>
                  <a:gd name="T15" fmla="*/ 0 h 87"/>
                  <a:gd name="T16" fmla="*/ 63 w 78"/>
                  <a:gd name="T17" fmla="*/ 0 h 87"/>
                  <a:gd name="T18" fmla="*/ 63 w 78"/>
                  <a:gd name="T19" fmla="*/ 12 h 87"/>
                  <a:gd name="T20" fmla="*/ 42 w 78"/>
                  <a:gd name="T21" fmla="*/ 25 h 87"/>
                  <a:gd name="T22" fmla="*/ 42 w 78"/>
                  <a:gd name="T23" fmla="*/ 33 h 87"/>
                  <a:gd name="T24" fmla="*/ 33 w 78"/>
                  <a:gd name="T25" fmla="*/ 36 h 87"/>
                  <a:gd name="T26" fmla="*/ 39 w 78"/>
                  <a:gd name="T27" fmla="*/ 33 h 87"/>
                  <a:gd name="T28" fmla="*/ 39 w 78"/>
                  <a:gd name="T29" fmla="*/ 23 h 87"/>
                  <a:gd name="T30" fmla="*/ 36 w 78"/>
                  <a:gd name="T31" fmla="*/ 0 h 87"/>
                  <a:gd name="T32" fmla="*/ 36 w 78"/>
                  <a:gd name="T33" fmla="*/ 0 h 87"/>
                  <a:gd name="T34" fmla="*/ 36 w 78"/>
                  <a:gd name="T35" fmla="*/ 8 h 87"/>
                  <a:gd name="T36" fmla="*/ 30 w 78"/>
                  <a:gd name="T37" fmla="*/ 24 h 87"/>
                  <a:gd name="T38" fmla="*/ 1 w 78"/>
                  <a:gd name="T39" fmla="*/ 29 h 87"/>
                  <a:gd name="T40" fmla="*/ 0 w 78"/>
                  <a:gd name="T41" fmla="*/ 31 h 87"/>
                  <a:gd name="T42" fmla="*/ 18 w 78"/>
                  <a:gd name="T43" fmla="*/ 39 h 87"/>
                  <a:gd name="T44" fmla="*/ 25 w 78"/>
                  <a:gd name="T45" fmla="*/ 36 h 87"/>
                  <a:gd name="T46" fmla="*/ 25 w 78"/>
                  <a:gd name="T47" fmla="*/ 36 h 87"/>
                  <a:gd name="T48" fmla="*/ 3 w 78"/>
                  <a:gd name="T49" fmla="*/ 62 h 87"/>
                  <a:gd name="T50" fmla="*/ 5 w 78"/>
                  <a:gd name="T51" fmla="*/ 67 h 87"/>
                  <a:gd name="T52" fmla="*/ 12 w 78"/>
                  <a:gd name="T53" fmla="*/ 66 h 87"/>
                  <a:gd name="T54" fmla="*/ 22 w 78"/>
                  <a:gd name="T55" fmla="*/ 74 h 87"/>
                  <a:gd name="T56" fmla="*/ 25 w 78"/>
                  <a:gd name="T57" fmla="*/ 61 h 87"/>
                  <a:gd name="T58" fmla="*/ 30 w 78"/>
                  <a:gd name="T59" fmla="*/ 49 h 87"/>
                  <a:gd name="T60" fmla="*/ 48 w 78"/>
                  <a:gd name="T61" fmla="*/ 63 h 87"/>
                  <a:gd name="T62" fmla="*/ 24 w 78"/>
                  <a:gd name="T63" fmla="*/ 71 h 87"/>
                  <a:gd name="T64" fmla="*/ 48 w 78"/>
                  <a:gd name="T65" fmla="*/ 71 h 87"/>
                  <a:gd name="T66" fmla="*/ 51 w 78"/>
                  <a:gd name="T67" fmla="*/ 69 h 87"/>
                  <a:gd name="T68" fmla="*/ 77 w 78"/>
                  <a:gd name="T69" fmla="*/ 87 h 87"/>
                  <a:gd name="T70" fmla="*/ 78 w 78"/>
                  <a:gd name="T71" fmla="*/ 86 h 87"/>
                  <a:gd name="T72" fmla="*/ 55 w 78"/>
                  <a:gd name="T73" fmla="*/ 64 h 87"/>
                  <a:gd name="T74" fmla="*/ 15 w 78"/>
                  <a:gd name="T75" fmla="*/ 64 h 87"/>
                  <a:gd name="T76" fmla="*/ 15 w 78"/>
                  <a:gd name="T77" fmla="*/ 65 h 87"/>
                  <a:gd name="T78" fmla="*/ 11 w 78"/>
                  <a:gd name="T79" fmla="*/ 63 h 87"/>
                  <a:gd name="T80" fmla="*/ 12 w 78"/>
                  <a:gd name="T81" fmla="*/ 60 h 87"/>
                  <a:gd name="T82" fmla="*/ 15 w 78"/>
                  <a:gd name="T83" fmla="*/ 57 h 87"/>
                  <a:gd name="T84" fmla="*/ 17 w 78"/>
                  <a:gd name="T85" fmla="*/ 58 h 87"/>
                  <a:gd name="T86" fmla="*/ 15 w 78"/>
                  <a:gd name="T87" fmla="*/ 64 h 87"/>
                  <a:gd name="T88" fmla="*/ 32 w 78"/>
                  <a:gd name="T89" fmla="*/ 46 h 87"/>
                  <a:gd name="T90" fmla="*/ 44 w 78"/>
                  <a:gd name="T91" fmla="*/ 34 h 87"/>
                  <a:gd name="T92" fmla="*/ 52 w 78"/>
                  <a:gd name="T93" fmla="*/ 35 h 87"/>
                  <a:gd name="T94" fmla="*/ 46 w 78"/>
                  <a:gd name="T95" fmla="*/ 50 h 87"/>
                  <a:gd name="T96" fmla="*/ 48 w 78"/>
                  <a:gd name="T97" fmla="*/ 52 h 87"/>
                  <a:gd name="T98" fmla="*/ 56 w 78"/>
                  <a:gd name="T99" fmla="*/ 50 h 87"/>
                  <a:gd name="T100" fmla="*/ 52 w 78"/>
                  <a:gd name="T101" fmla="*/ 61 h 87"/>
                  <a:gd name="T102" fmla="*/ 32 w 78"/>
                  <a:gd name="T103" fmla="*/ 46 h 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78" h="87">
                    <a:moveTo>
                      <a:pt x="55" y="64"/>
                    </a:moveTo>
                    <a:cubicBezTo>
                      <a:pt x="58" y="60"/>
                      <a:pt x="60" y="55"/>
                      <a:pt x="62" y="50"/>
                    </a:cubicBezTo>
                    <a:cubicBezTo>
                      <a:pt x="61" y="47"/>
                      <a:pt x="58" y="44"/>
                      <a:pt x="54" y="43"/>
                    </a:cubicBezTo>
                    <a:cubicBezTo>
                      <a:pt x="57" y="36"/>
                      <a:pt x="64" y="33"/>
                      <a:pt x="69" y="29"/>
                    </a:cubicBezTo>
                    <a:cubicBezTo>
                      <a:pt x="69" y="25"/>
                      <a:pt x="67" y="24"/>
                      <a:pt x="67" y="21"/>
                    </a:cubicBezTo>
                    <a:cubicBezTo>
                      <a:pt x="68" y="18"/>
                      <a:pt x="69" y="15"/>
                      <a:pt x="70" y="11"/>
                    </a:cubicBezTo>
                    <a:cubicBezTo>
                      <a:pt x="70" y="9"/>
                      <a:pt x="69" y="6"/>
                      <a:pt x="69" y="3"/>
                    </a:cubicBezTo>
                    <a:cubicBezTo>
                      <a:pt x="68" y="2"/>
                      <a:pt x="67" y="1"/>
                      <a:pt x="64" y="0"/>
                    </a:cubicBezTo>
                    <a:cubicBezTo>
                      <a:pt x="64" y="0"/>
                      <a:pt x="63" y="0"/>
                      <a:pt x="63" y="0"/>
                    </a:cubicBezTo>
                    <a:cubicBezTo>
                      <a:pt x="61" y="5"/>
                      <a:pt x="63" y="8"/>
                      <a:pt x="63" y="12"/>
                    </a:cubicBezTo>
                    <a:cubicBezTo>
                      <a:pt x="63" y="24"/>
                      <a:pt x="52" y="26"/>
                      <a:pt x="42" y="25"/>
                    </a:cubicBezTo>
                    <a:cubicBezTo>
                      <a:pt x="41" y="28"/>
                      <a:pt x="41" y="31"/>
                      <a:pt x="42" y="33"/>
                    </a:cubicBezTo>
                    <a:cubicBezTo>
                      <a:pt x="39" y="34"/>
                      <a:pt x="36" y="35"/>
                      <a:pt x="33" y="36"/>
                    </a:cubicBezTo>
                    <a:cubicBezTo>
                      <a:pt x="34" y="32"/>
                      <a:pt x="36" y="32"/>
                      <a:pt x="39" y="33"/>
                    </a:cubicBezTo>
                    <a:cubicBezTo>
                      <a:pt x="41" y="29"/>
                      <a:pt x="38" y="27"/>
                      <a:pt x="39" y="23"/>
                    </a:cubicBezTo>
                    <a:cubicBezTo>
                      <a:pt x="39" y="14"/>
                      <a:pt x="53" y="6"/>
                      <a:pt x="36" y="0"/>
                    </a:cubicBezTo>
                    <a:cubicBezTo>
                      <a:pt x="36" y="0"/>
                      <a:pt x="36" y="0"/>
                      <a:pt x="36" y="0"/>
                    </a:cubicBezTo>
                    <a:cubicBezTo>
                      <a:pt x="35" y="3"/>
                      <a:pt x="36" y="5"/>
                      <a:pt x="36" y="8"/>
                    </a:cubicBezTo>
                    <a:cubicBezTo>
                      <a:pt x="34" y="14"/>
                      <a:pt x="32" y="19"/>
                      <a:pt x="30" y="24"/>
                    </a:cubicBezTo>
                    <a:cubicBezTo>
                      <a:pt x="22" y="26"/>
                      <a:pt x="9" y="26"/>
                      <a:pt x="1" y="29"/>
                    </a:cubicBezTo>
                    <a:cubicBezTo>
                      <a:pt x="1" y="30"/>
                      <a:pt x="1" y="30"/>
                      <a:pt x="0" y="31"/>
                    </a:cubicBezTo>
                    <a:cubicBezTo>
                      <a:pt x="1" y="35"/>
                      <a:pt x="12" y="39"/>
                      <a:pt x="18" y="39"/>
                    </a:cubicBezTo>
                    <a:cubicBezTo>
                      <a:pt x="20" y="38"/>
                      <a:pt x="22" y="37"/>
                      <a:pt x="25" y="36"/>
                    </a:cubicBezTo>
                    <a:cubicBezTo>
                      <a:pt x="25" y="36"/>
                      <a:pt x="25" y="36"/>
                      <a:pt x="25" y="36"/>
                    </a:cubicBezTo>
                    <a:cubicBezTo>
                      <a:pt x="21" y="52"/>
                      <a:pt x="9" y="50"/>
                      <a:pt x="3" y="62"/>
                    </a:cubicBezTo>
                    <a:cubicBezTo>
                      <a:pt x="4" y="63"/>
                      <a:pt x="4" y="65"/>
                      <a:pt x="5" y="67"/>
                    </a:cubicBezTo>
                    <a:cubicBezTo>
                      <a:pt x="7" y="67"/>
                      <a:pt x="10" y="67"/>
                      <a:pt x="12" y="66"/>
                    </a:cubicBezTo>
                    <a:cubicBezTo>
                      <a:pt x="17" y="68"/>
                      <a:pt x="17" y="72"/>
                      <a:pt x="22" y="74"/>
                    </a:cubicBezTo>
                    <a:cubicBezTo>
                      <a:pt x="25" y="71"/>
                      <a:pt x="24" y="66"/>
                      <a:pt x="25" y="61"/>
                    </a:cubicBezTo>
                    <a:cubicBezTo>
                      <a:pt x="25" y="56"/>
                      <a:pt x="28" y="52"/>
                      <a:pt x="30" y="49"/>
                    </a:cubicBezTo>
                    <a:cubicBezTo>
                      <a:pt x="40" y="53"/>
                      <a:pt x="42" y="58"/>
                      <a:pt x="48" y="63"/>
                    </a:cubicBezTo>
                    <a:cubicBezTo>
                      <a:pt x="44" y="74"/>
                      <a:pt x="29" y="63"/>
                      <a:pt x="24" y="71"/>
                    </a:cubicBezTo>
                    <a:cubicBezTo>
                      <a:pt x="39" y="78"/>
                      <a:pt x="36" y="74"/>
                      <a:pt x="48" y="71"/>
                    </a:cubicBezTo>
                    <a:cubicBezTo>
                      <a:pt x="49" y="70"/>
                      <a:pt x="50" y="70"/>
                      <a:pt x="51" y="69"/>
                    </a:cubicBezTo>
                    <a:cubicBezTo>
                      <a:pt x="58" y="79"/>
                      <a:pt x="58" y="87"/>
                      <a:pt x="77" y="87"/>
                    </a:cubicBezTo>
                    <a:cubicBezTo>
                      <a:pt x="77" y="87"/>
                      <a:pt x="78" y="86"/>
                      <a:pt x="78" y="86"/>
                    </a:cubicBezTo>
                    <a:cubicBezTo>
                      <a:pt x="74" y="76"/>
                      <a:pt x="60" y="73"/>
                      <a:pt x="55" y="64"/>
                    </a:cubicBezTo>
                    <a:close/>
                    <a:moveTo>
                      <a:pt x="15" y="64"/>
                    </a:moveTo>
                    <a:cubicBezTo>
                      <a:pt x="15" y="65"/>
                      <a:pt x="15" y="65"/>
                      <a:pt x="15" y="65"/>
                    </a:cubicBezTo>
                    <a:cubicBezTo>
                      <a:pt x="14" y="64"/>
                      <a:pt x="13" y="64"/>
                      <a:pt x="11" y="63"/>
                    </a:cubicBezTo>
                    <a:cubicBezTo>
                      <a:pt x="11" y="62"/>
                      <a:pt x="12" y="61"/>
                      <a:pt x="12" y="60"/>
                    </a:cubicBezTo>
                    <a:cubicBezTo>
                      <a:pt x="13" y="59"/>
                      <a:pt x="14" y="58"/>
                      <a:pt x="15" y="57"/>
                    </a:cubicBezTo>
                    <a:cubicBezTo>
                      <a:pt x="16" y="57"/>
                      <a:pt x="16" y="58"/>
                      <a:pt x="17" y="58"/>
                    </a:cubicBezTo>
                    <a:cubicBezTo>
                      <a:pt x="16" y="60"/>
                      <a:pt x="16" y="62"/>
                      <a:pt x="15" y="64"/>
                    </a:cubicBezTo>
                    <a:close/>
                    <a:moveTo>
                      <a:pt x="32" y="46"/>
                    </a:moveTo>
                    <a:cubicBezTo>
                      <a:pt x="35" y="43"/>
                      <a:pt x="44" y="37"/>
                      <a:pt x="44" y="34"/>
                    </a:cubicBezTo>
                    <a:cubicBezTo>
                      <a:pt x="47" y="34"/>
                      <a:pt x="49" y="35"/>
                      <a:pt x="52" y="35"/>
                    </a:cubicBezTo>
                    <a:cubicBezTo>
                      <a:pt x="50" y="40"/>
                      <a:pt x="45" y="44"/>
                      <a:pt x="46" y="50"/>
                    </a:cubicBezTo>
                    <a:cubicBezTo>
                      <a:pt x="46" y="51"/>
                      <a:pt x="47" y="51"/>
                      <a:pt x="48" y="52"/>
                    </a:cubicBezTo>
                    <a:cubicBezTo>
                      <a:pt x="50" y="51"/>
                      <a:pt x="53" y="49"/>
                      <a:pt x="56" y="50"/>
                    </a:cubicBezTo>
                    <a:cubicBezTo>
                      <a:pt x="55" y="54"/>
                      <a:pt x="53" y="57"/>
                      <a:pt x="52" y="61"/>
                    </a:cubicBezTo>
                    <a:cubicBezTo>
                      <a:pt x="45" y="56"/>
                      <a:pt x="44" y="49"/>
                      <a:pt x="32" y="46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1049932" name="ï$ľíḍe"/>
              <p:cNvSpPr/>
              <p:nvPr/>
            </p:nvSpPr>
            <p:spPr bwMode="auto">
              <a:xfrm>
                <a:off x="2255734" y="4491628"/>
                <a:ext cx="136525" cy="174625"/>
              </a:xfrm>
              <a:custGeom>
                <a:avLst/>
                <a:gdLst>
                  <a:gd name="T0" fmla="*/ 74 w 74"/>
                  <a:gd name="T1" fmla="*/ 41 h 94"/>
                  <a:gd name="T2" fmla="*/ 64 w 74"/>
                  <a:gd name="T3" fmla="*/ 35 h 94"/>
                  <a:gd name="T4" fmla="*/ 51 w 74"/>
                  <a:gd name="T5" fmla="*/ 5 h 94"/>
                  <a:gd name="T6" fmla="*/ 58 w 74"/>
                  <a:gd name="T7" fmla="*/ 39 h 94"/>
                  <a:gd name="T8" fmla="*/ 47 w 74"/>
                  <a:gd name="T9" fmla="*/ 47 h 94"/>
                  <a:gd name="T10" fmla="*/ 55 w 74"/>
                  <a:gd name="T11" fmla="*/ 34 h 94"/>
                  <a:gd name="T12" fmla="*/ 47 w 74"/>
                  <a:gd name="T13" fmla="*/ 29 h 94"/>
                  <a:gd name="T14" fmla="*/ 54 w 74"/>
                  <a:gd name="T15" fmla="*/ 22 h 94"/>
                  <a:gd name="T16" fmla="*/ 54 w 74"/>
                  <a:gd name="T17" fmla="*/ 20 h 94"/>
                  <a:gd name="T18" fmla="*/ 54 w 74"/>
                  <a:gd name="T19" fmla="*/ 19 h 94"/>
                  <a:gd name="T20" fmla="*/ 41 w 74"/>
                  <a:gd name="T21" fmla="*/ 19 h 94"/>
                  <a:gd name="T22" fmla="*/ 44 w 74"/>
                  <a:gd name="T23" fmla="*/ 22 h 94"/>
                  <a:gd name="T24" fmla="*/ 44 w 74"/>
                  <a:gd name="T25" fmla="*/ 32 h 94"/>
                  <a:gd name="T26" fmla="*/ 48 w 74"/>
                  <a:gd name="T27" fmla="*/ 37 h 94"/>
                  <a:gd name="T28" fmla="*/ 40 w 74"/>
                  <a:gd name="T29" fmla="*/ 58 h 94"/>
                  <a:gd name="T30" fmla="*/ 44 w 74"/>
                  <a:gd name="T31" fmla="*/ 61 h 94"/>
                  <a:gd name="T32" fmla="*/ 59 w 74"/>
                  <a:gd name="T33" fmla="*/ 46 h 94"/>
                  <a:gd name="T34" fmla="*/ 59 w 74"/>
                  <a:gd name="T35" fmla="*/ 46 h 94"/>
                  <a:gd name="T36" fmla="*/ 66 w 74"/>
                  <a:gd name="T37" fmla="*/ 93 h 94"/>
                  <a:gd name="T38" fmla="*/ 68 w 74"/>
                  <a:gd name="T39" fmla="*/ 93 h 94"/>
                  <a:gd name="T40" fmla="*/ 65 w 74"/>
                  <a:gd name="T41" fmla="*/ 42 h 94"/>
                  <a:gd name="T42" fmla="*/ 73 w 74"/>
                  <a:gd name="T43" fmla="*/ 41 h 94"/>
                  <a:gd name="T44" fmla="*/ 74 w 74"/>
                  <a:gd name="T45" fmla="*/ 41 h 94"/>
                  <a:gd name="T46" fmla="*/ 43 w 74"/>
                  <a:gd name="T47" fmla="*/ 42 h 94"/>
                  <a:gd name="T48" fmla="*/ 35 w 74"/>
                  <a:gd name="T49" fmla="*/ 48 h 94"/>
                  <a:gd name="T50" fmla="*/ 39 w 74"/>
                  <a:gd name="T51" fmla="*/ 38 h 94"/>
                  <a:gd name="T52" fmla="*/ 37 w 74"/>
                  <a:gd name="T53" fmla="*/ 29 h 94"/>
                  <a:gd name="T54" fmla="*/ 40 w 74"/>
                  <a:gd name="T55" fmla="*/ 27 h 94"/>
                  <a:gd name="T56" fmla="*/ 34 w 74"/>
                  <a:gd name="T57" fmla="*/ 16 h 94"/>
                  <a:gd name="T58" fmla="*/ 32 w 74"/>
                  <a:gd name="T59" fmla="*/ 15 h 94"/>
                  <a:gd name="T60" fmla="*/ 4 w 74"/>
                  <a:gd name="T61" fmla="*/ 46 h 94"/>
                  <a:gd name="T62" fmla="*/ 30 w 74"/>
                  <a:gd name="T63" fmla="*/ 29 h 94"/>
                  <a:gd name="T64" fmla="*/ 8 w 74"/>
                  <a:gd name="T65" fmla="*/ 52 h 94"/>
                  <a:gd name="T66" fmla="*/ 0 w 74"/>
                  <a:gd name="T67" fmla="*/ 56 h 94"/>
                  <a:gd name="T68" fmla="*/ 3 w 74"/>
                  <a:gd name="T69" fmla="*/ 61 h 94"/>
                  <a:gd name="T70" fmla="*/ 23 w 74"/>
                  <a:gd name="T71" fmla="*/ 54 h 94"/>
                  <a:gd name="T72" fmla="*/ 25 w 74"/>
                  <a:gd name="T73" fmla="*/ 53 h 94"/>
                  <a:gd name="T74" fmla="*/ 25 w 74"/>
                  <a:gd name="T75" fmla="*/ 53 h 94"/>
                  <a:gd name="T76" fmla="*/ 20 w 74"/>
                  <a:gd name="T77" fmla="*/ 72 h 94"/>
                  <a:gd name="T78" fmla="*/ 25 w 74"/>
                  <a:gd name="T79" fmla="*/ 76 h 94"/>
                  <a:gd name="T80" fmla="*/ 26 w 74"/>
                  <a:gd name="T81" fmla="*/ 76 h 94"/>
                  <a:gd name="T82" fmla="*/ 30 w 74"/>
                  <a:gd name="T83" fmla="*/ 67 h 94"/>
                  <a:gd name="T84" fmla="*/ 31 w 74"/>
                  <a:gd name="T85" fmla="*/ 66 h 94"/>
                  <a:gd name="T86" fmla="*/ 32 w 74"/>
                  <a:gd name="T87" fmla="*/ 75 h 94"/>
                  <a:gd name="T88" fmla="*/ 35 w 74"/>
                  <a:gd name="T89" fmla="*/ 76 h 94"/>
                  <a:gd name="T90" fmla="*/ 38 w 74"/>
                  <a:gd name="T91" fmla="*/ 76 h 94"/>
                  <a:gd name="T92" fmla="*/ 35 w 74"/>
                  <a:gd name="T93" fmla="*/ 61 h 94"/>
                  <a:gd name="T94" fmla="*/ 43 w 74"/>
                  <a:gd name="T95" fmla="*/ 42 h 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74" h="94">
                    <a:moveTo>
                      <a:pt x="74" y="41"/>
                    </a:moveTo>
                    <a:cubicBezTo>
                      <a:pt x="73" y="36"/>
                      <a:pt x="70" y="34"/>
                      <a:pt x="64" y="35"/>
                    </a:cubicBezTo>
                    <a:cubicBezTo>
                      <a:pt x="63" y="24"/>
                      <a:pt x="67" y="0"/>
                      <a:pt x="51" y="5"/>
                    </a:cubicBezTo>
                    <a:cubicBezTo>
                      <a:pt x="50" y="9"/>
                      <a:pt x="61" y="31"/>
                      <a:pt x="58" y="39"/>
                    </a:cubicBezTo>
                    <a:cubicBezTo>
                      <a:pt x="58" y="39"/>
                      <a:pt x="47" y="47"/>
                      <a:pt x="47" y="47"/>
                    </a:cubicBezTo>
                    <a:cubicBezTo>
                      <a:pt x="48" y="41"/>
                      <a:pt x="53" y="39"/>
                      <a:pt x="55" y="34"/>
                    </a:cubicBezTo>
                    <a:cubicBezTo>
                      <a:pt x="56" y="30"/>
                      <a:pt x="49" y="31"/>
                      <a:pt x="47" y="29"/>
                    </a:cubicBezTo>
                    <a:cubicBezTo>
                      <a:pt x="48" y="26"/>
                      <a:pt x="51" y="23"/>
                      <a:pt x="54" y="22"/>
                    </a:cubicBezTo>
                    <a:cubicBezTo>
                      <a:pt x="54" y="21"/>
                      <a:pt x="54" y="21"/>
                      <a:pt x="54" y="20"/>
                    </a:cubicBezTo>
                    <a:cubicBezTo>
                      <a:pt x="54" y="20"/>
                      <a:pt x="54" y="19"/>
                      <a:pt x="54" y="19"/>
                    </a:cubicBezTo>
                    <a:cubicBezTo>
                      <a:pt x="50" y="17"/>
                      <a:pt x="45" y="17"/>
                      <a:pt x="41" y="19"/>
                    </a:cubicBezTo>
                    <a:cubicBezTo>
                      <a:pt x="41" y="22"/>
                      <a:pt x="42" y="22"/>
                      <a:pt x="44" y="22"/>
                    </a:cubicBezTo>
                    <a:cubicBezTo>
                      <a:pt x="44" y="26"/>
                      <a:pt x="44" y="29"/>
                      <a:pt x="44" y="32"/>
                    </a:cubicBezTo>
                    <a:cubicBezTo>
                      <a:pt x="45" y="34"/>
                      <a:pt x="47" y="35"/>
                      <a:pt x="48" y="37"/>
                    </a:cubicBezTo>
                    <a:cubicBezTo>
                      <a:pt x="46" y="41"/>
                      <a:pt x="35" y="51"/>
                      <a:pt x="40" y="58"/>
                    </a:cubicBezTo>
                    <a:cubicBezTo>
                      <a:pt x="41" y="60"/>
                      <a:pt x="42" y="60"/>
                      <a:pt x="44" y="61"/>
                    </a:cubicBezTo>
                    <a:cubicBezTo>
                      <a:pt x="49" y="55"/>
                      <a:pt x="51" y="50"/>
                      <a:pt x="59" y="46"/>
                    </a:cubicBezTo>
                    <a:cubicBezTo>
                      <a:pt x="59" y="46"/>
                      <a:pt x="59" y="46"/>
                      <a:pt x="59" y="46"/>
                    </a:cubicBezTo>
                    <a:cubicBezTo>
                      <a:pt x="61" y="60"/>
                      <a:pt x="59" y="83"/>
                      <a:pt x="66" y="93"/>
                    </a:cubicBezTo>
                    <a:cubicBezTo>
                      <a:pt x="67" y="94"/>
                      <a:pt x="67" y="93"/>
                      <a:pt x="68" y="93"/>
                    </a:cubicBezTo>
                    <a:cubicBezTo>
                      <a:pt x="68" y="78"/>
                      <a:pt x="67" y="60"/>
                      <a:pt x="65" y="42"/>
                    </a:cubicBezTo>
                    <a:cubicBezTo>
                      <a:pt x="68" y="42"/>
                      <a:pt x="72" y="42"/>
                      <a:pt x="73" y="41"/>
                    </a:cubicBezTo>
                    <a:cubicBezTo>
                      <a:pt x="74" y="41"/>
                      <a:pt x="74" y="41"/>
                      <a:pt x="74" y="41"/>
                    </a:cubicBezTo>
                    <a:close/>
                    <a:moveTo>
                      <a:pt x="43" y="42"/>
                    </a:moveTo>
                    <a:cubicBezTo>
                      <a:pt x="39" y="44"/>
                      <a:pt x="38" y="46"/>
                      <a:pt x="35" y="48"/>
                    </a:cubicBezTo>
                    <a:cubicBezTo>
                      <a:pt x="35" y="42"/>
                      <a:pt x="39" y="42"/>
                      <a:pt x="39" y="38"/>
                    </a:cubicBezTo>
                    <a:cubicBezTo>
                      <a:pt x="40" y="35"/>
                      <a:pt x="37" y="33"/>
                      <a:pt x="37" y="29"/>
                    </a:cubicBezTo>
                    <a:cubicBezTo>
                      <a:pt x="38" y="28"/>
                      <a:pt x="39" y="28"/>
                      <a:pt x="40" y="27"/>
                    </a:cubicBezTo>
                    <a:cubicBezTo>
                      <a:pt x="41" y="24"/>
                      <a:pt x="36" y="16"/>
                      <a:pt x="34" y="16"/>
                    </a:cubicBezTo>
                    <a:cubicBezTo>
                      <a:pt x="33" y="16"/>
                      <a:pt x="32" y="15"/>
                      <a:pt x="32" y="15"/>
                    </a:cubicBezTo>
                    <a:cubicBezTo>
                      <a:pt x="22" y="28"/>
                      <a:pt x="10" y="30"/>
                      <a:pt x="4" y="46"/>
                    </a:cubicBezTo>
                    <a:cubicBezTo>
                      <a:pt x="13" y="41"/>
                      <a:pt x="17" y="31"/>
                      <a:pt x="30" y="29"/>
                    </a:cubicBezTo>
                    <a:cubicBezTo>
                      <a:pt x="29" y="39"/>
                      <a:pt x="16" y="48"/>
                      <a:pt x="8" y="52"/>
                    </a:cubicBezTo>
                    <a:cubicBezTo>
                      <a:pt x="4" y="54"/>
                      <a:pt x="2" y="52"/>
                      <a:pt x="0" y="56"/>
                    </a:cubicBezTo>
                    <a:cubicBezTo>
                      <a:pt x="0" y="59"/>
                      <a:pt x="1" y="60"/>
                      <a:pt x="3" y="61"/>
                    </a:cubicBezTo>
                    <a:cubicBezTo>
                      <a:pt x="10" y="63"/>
                      <a:pt x="22" y="58"/>
                      <a:pt x="23" y="54"/>
                    </a:cubicBezTo>
                    <a:cubicBezTo>
                      <a:pt x="24" y="54"/>
                      <a:pt x="24" y="53"/>
                      <a:pt x="25" y="53"/>
                    </a:cubicBezTo>
                    <a:cubicBezTo>
                      <a:pt x="25" y="53"/>
                      <a:pt x="25" y="53"/>
                      <a:pt x="25" y="53"/>
                    </a:cubicBezTo>
                    <a:cubicBezTo>
                      <a:pt x="23" y="59"/>
                      <a:pt x="22" y="66"/>
                      <a:pt x="20" y="72"/>
                    </a:cubicBezTo>
                    <a:cubicBezTo>
                      <a:pt x="21" y="74"/>
                      <a:pt x="23" y="75"/>
                      <a:pt x="25" y="76"/>
                    </a:cubicBezTo>
                    <a:cubicBezTo>
                      <a:pt x="25" y="76"/>
                      <a:pt x="26" y="76"/>
                      <a:pt x="26" y="76"/>
                    </a:cubicBezTo>
                    <a:cubicBezTo>
                      <a:pt x="28" y="73"/>
                      <a:pt x="29" y="70"/>
                      <a:pt x="30" y="67"/>
                    </a:cubicBezTo>
                    <a:cubicBezTo>
                      <a:pt x="31" y="67"/>
                      <a:pt x="31" y="67"/>
                      <a:pt x="31" y="66"/>
                    </a:cubicBezTo>
                    <a:cubicBezTo>
                      <a:pt x="32" y="69"/>
                      <a:pt x="32" y="72"/>
                      <a:pt x="32" y="75"/>
                    </a:cubicBezTo>
                    <a:cubicBezTo>
                      <a:pt x="33" y="75"/>
                      <a:pt x="34" y="76"/>
                      <a:pt x="35" y="76"/>
                    </a:cubicBezTo>
                    <a:cubicBezTo>
                      <a:pt x="36" y="76"/>
                      <a:pt x="37" y="76"/>
                      <a:pt x="38" y="76"/>
                    </a:cubicBezTo>
                    <a:cubicBezTo>
                      <a:pt x="37" y="71"/>
                      <a:pt x="36" y="66"/>
                      <a:pt x="35" y="61"/>
                    </a:cubicBezTo>
                    <a:cubicBezTo>
                      <a:pt x="38" y="54"/>
                      <a:pt x="40" y="48"/>
                      <a:pt x="43" y="42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1049933" name="î$ḻîḑe"/>
              <p:cNvSpPr/>
              <p:nvPr/>
            </p:nvSpPr>
            <p:spPr bwMode="auto">
              <a:xfrm>
                <a:off x="2055709" y="4566240"/>
                <a:ext cx="136525" cy="150813"/>
              </a:xfrm>
              <a:custGeom>
                <a:avLst/>
                <a:gdLst>
                  <a:gd name="T0" fmla="*/ 55 w 74"/>
                  <a:gd name="T1" fmla="*/ 53 h 82"/>
                  <a:gd name="T2" fmla="*/ 54 w 74"/>
                  <a:gd name="T3" fmla="*/ 51 h 82"/>
                  <a:gd name="T4" fmla="*/ 57 w 74"/>
                  <a:gd name="T5" fmla="*/ 49 h 82"/>
                  <a:gd name="T6" fmla="*/ 56 w 74"/>
                  <a:gd name="T7" fmla="*/ 45 h 82"/>
                  <a:gd name="T8" fmla="*/ 52 w 74"/>
                  <a:gd name="T9" fmla="*/ 45 h 82"/>
                  <a:gd name="T10" fmla="*/ 51 w 74"/>
                  <a:gd name="T11" fmla="*/ 44 h 82"/>
                  <a:gd name="T12" fmla="*/ 60 w 74"/>
                  <a:gd name="T13" fmla="*/ 32 h 82"/>
                  <a:gd name="T14" fmla="*/ 60 w 74"/>
                  <a:gd name="T15" fmla="*/ 30 h 82"/>
                  <a:gd name="T16" fmla="*/ 34 w 74"/>
                  <a:gd name="T17" fmla="*/ 38 h 82"/>
                  <a:gd name="T18" fmla="*/ 33 w 74"/>
                  <a:gd name="T19" fmla="*/ 38 h 82"/>
                  <a:gd name="T20" fmla="*/ 60 w 74"/>
                  <a:gd name="T21" fmla="*/ 16 h 82"/>
                  <a:gd name="T22" fmla="*/ 61 w 74"/>
                  <a:gd name="T23" fmla="*/ 10 h 82"/>
                  <a:gd name="T24" fmla="*/ 42 w 74"/>
                  <a:gd name="T25" fmla="*/ 11 h 82"/>
                  <a:gd name="T26" fmla="*/ 27 w 74"/>
                  <a:gd name="T27" fmla="*/ 0 h 82"/>
                  <a:gd name="T28" fmla="*/ 24 w 74"/>
                  <a:gd name="T29" fmla="*/ 0 h 82"/>
                  <a:gd name="T30" fmla="*/ 29 w 74"/>
                  <a:gd name="T31" fmla="*/ 21 h 82"/>
                  <a:gd name="T32" fmla="*/ 11 w 74"/>
                  <a:gd name="T33" fmla="*/ 39 h 82"/>
                  <a:gd name="T34" fmla="*/ 1 w 74"/>
                  <a:gd name="T35" fmla="*/ 44 h 82"/>
                  <a:gd name="T36" fmla="*/ 0 w 74"/>
                  <a:gd name="T37" fmla="*/ 47 h 82"/>
                  <a:gd name="T38" fmla="*/ 35 w 74"/>
                  <a:gd name="T39" fmla="*/ 26 h 82"/>
                  <a:gd name="T40" fmla="*/ 35 w 74"/>
                  <a:gd name="T41" fmla="*/ 26 h 82"/>
                  <a:gd name="T42" fmla="*/ 30 w 74"/>
                  <a:gd name="T43" fmla="*/ 48 h 82"/>
                  <a:gd name="T44" fmla="*/ 40 w 74"/>
                  <a:gd name="T45" fmla="*/ 57 h 82"/>
                  <a:gd name="T46" fmla="*/ 35 w 74"/>
                  <a:gd name="T47" fmla="*/ 78 h 82"/>
                  <a:gd name="T48" fmla="*/ 45 w 74"/>
                  <a:gd name="T49" fmla="*/ 82 h 82"/>
                  <a:gd name="T50" fmla="*/ 47 w 74"/>
                  <a:gd name="T51" fmla="*/ 80 h 82"/>
                  <a:gd name="T52" fmla="*/ 46 w 74"/>
                  <a:gd name="T53" fmla="*/ 67 h 82"/>
                  <a:gd name="T54" fmla="*/ 47 w 74"/>
                  <a:gd name="T55" fmla="*/ 66 h 82"/>
                  <a:gd name="T56" fmla="*/ 50 w 74"/>
                  <a:gd name="T57" fmla="*/ 73 h 82"/>
                  <a:gd name="T58" fmla="*/ 58 w 74"/>
                  <a:gd name="T59" fmla="*/ 79 h 82"/>
                  <a:gd name="T60" fmla="*/ 59 w 74"/>
                  <a:gd name="T61" fmla="*/ 79 h 82"/>
                  <a:gd name="T62" fmla="*/ 53 w 74"/>
                  <a:gd name="T63" fmla="*/ 57 h 82"/>
                  <a:gd name="T64" fmla="*/ 56 w 74"/>
                  <a:gd name="T65" fmla="*/ 55 h 82"/>
                  <a:gd name="T66" fmla="*/ 56 w 74"/>
                  <a:gd name="T67" fmla="*/ 55 h 82"/>
                  <a:gd name="T68" fmla="*/ 69 w 74"/>
                  <a:gd name="T69" fmla="*/ 69 h 82"/>
                  <a:gd name="T70" fmla="*/ 74 w 74"/>
                  <a:gd name="T71" fmla="*/ 64 h 82"/>
                  <a:gd name="T72" fmla="*/ 55 w 74"/>
                  <a:gd name="T73" fmla="*/ 53 h 82"/>
                  <a:gd name="T74" fmla="*/ 40 w 74"/>
                  <a:gd name="T75" fmla="*/ 46 h 82"/>
                  <a:gd name="T76" fmla="*/ 39 w 74"/>
                  <a:gd name="T77" fmla="*/ 46 h 82"/>
                  <a:gd name="T78" fmla="*/ 38 w 74"/>
                  <a:gd name="T79" fmla="*/ 46 h 82"/>
                  <a:gd name="T80" fmla="*/ 37 w 74"/>
                  <a:gd name="T81" fmla="*/ 44 h 82"/>
                  <a:gd name="T82" fmla="*/ 44 w 74"/>
                  <a:gd name="T83" fmla="*/ 36 h 82"/>
                  <a:gd name="T84" fmla="*/ 46 w 74"/>
                  <a:gd name="T85" fmla="*/ 35 h 82"/>
                  <a:gd name="T86" fmla="*/ 46 w 74"/>
                  <a:gd name="T87" fmla="*/ 35 h 82"/>
                  <a:gd name="T88" fmla="*/ 40 w 74"/>
                  <a:gd name="T89" fmla="*/ 46 h 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74" h="82">
                    <a:moveTo>
                      <a:pt x="55" y="53"/>
                    </a:moveTo>
                    <a:cubicBezTo>
                      <a:pt x="55" y="53"/>
                      <a:pt x="54" y="52"/>
                      <a:pt x="54" y="51"/>
                    </a:cubicBezTo>
                    <a:cubicBezTo>
                      <a:pt x="55" y="51"/>
                      <a:pt x="56" y="50"/>
                      <a:pt x="57" y="49"/>
                    </a:cubicBezTo>
                    <a:cubicBezTo>
                      <a:pt x="57" y="48"/>
                      <a:pt x="56" y="47"/>
                      <a:pt x="56" y="45"/>
                    </a:cubicBezTo>
                    <a:cubicBezTo>
                      <a:pt x="54" y="45"/>
                      <a:pt x="53" y="45"/>
                      <a:pt x="52" y="45"/>
                    </a:cubicBezTo>
                    <a:cubicBezTo>
                      <a:pt x="51" y="45"/>
                      <a:pt x="51" y="44"/>
                      <a:pt x="51" y="44"/>
                    </a:cubicBezTo>
                    <a:cubicBezTo>
                      <a:pt x="53" y="40"/>
                      <a:pt x="59" y="36"/>
                      <a:pt x="60" y="32"/>
                    </a:cubicBezTo>
                    <a:cubicBezTo>
                      <a:pt x="60" y="31"/>
                      <a:pt x="60" y="31"/>
                      <a:pt x="60" y="30"/>
                    </a:cubicBezTo>
                    <a:cubicBezTo>
                      <a:pt x="50" y="21"/>
                      <a:pt x="41" y="31"/>
                      <a:pt x="34" y="38"/>
                    </a:cubicBezTo>
                    <a:cubicBezTo>
                      <a:pt x="33" y="38"/>
                      <a:pt x="33" y="38"/>
                      <a:pt x="33" y="38"/>
                    </a:cubicBezTo>
                    <a:cubicBezTo>
                      <a:pt x="34" y="30"/>
                      <a:pt x="48" y="16"/>
                      <a:pt x="60" y="16"/>
                    </a:cubicBezTo>
                    <a:cubicBezTo>
                      <a:pt x="61" y="14"/>
                      <a:pt x="61" y="12"/>
                      <a:pt x="61" y="10"/>
                    </a:cubicBezTo>
                    <a:cubicBezTo>
                      <a:pt x="50" y="3"/>
                      <a:pt x="52" y="11"/>
                      <a:pt x="42" y="11"/>
                    </a:cubicBezTo>
                    <a:cubicBezTo>
                      <a:pt x="38" y="10"/>
                      <a:pt x="32" y="1"/>
                      <a:pt x="27" y="0"/>
                    </a:cubicBezTo>
                    <a:cubicBezTo>
                      <a:pt x="26" y="0"/>
                      <a:pt x="25" y="0"/>
                      <a:pt x="24" y="0"/>
                    </a:cubicBezTo>
                    <a:cubicBezTo>
                      <a:pt x="21" y="5"/>
                      <a:pt x="30" y="14"/>
                      <a:pt x="29" y="21"/>
                    </a:cubicBezTo>
                    <a:cubicBezTo>
                      <a:pt x="19" y="27"/>
                      <a:pt x="17" y="33"/>
                      <a:pt x="11" y="39"/>
                    </a:cubicBezTo>
                    <a:cubicBezTo>
                      <a:pt x="8" y="42"/>
                      <a:pt x="4" y="42"/>
                      <a:pt x="1" y="44"/>
                    </a:cubicBezTo>
                    <a:cubicBezTo>
                      <a:pt x="1" y="45"/>
                      <a:pt x="0" y="46"/>
                      <a:pt x="0" y="47"/>
                    </a:cubicBezTo>
                    <a:cubicBezTo>
                      <a:pt x="11" y="69"/>
                      <a:pt x="23" y="30"/>
                      <a:pt x="35" y="26"/>
                    </a:cubicBezTo>
                    <a:cubicBezTo>
                      <a:pt x="35" y="26"/>
                      <a:pt x="35" y="26"/>
                      <a:pt x="35" y="26"/>
                    </a:cubicBezTo>
                    <a:cubicBezTo>
                      <a:pt x="33" y="33"/>
                      <a:pt x="28" y="39"/>
                      <a:pt x="30" y="48"/>
                    </a:cubicBezTo>
                    <a:cubicBezTo>
                      <a:pt x="30" y="51"/>
                      <a:pt x="37" y="56"/>
                      <a:pt x="40" y="57"/>
                    </a:cubicBezTo>
                    <a:cubicBezTo>
                      <a:pt x="37" y="64"/>
                      <a:pt x="32" y="69"/>
                      <a:pt x="35" y="78"/>
                    </a:cubicBezTo>
                    <a:cubicBezTo>
                      <a:pt x="39" y="79"/>
                      <a:pt x="42" y="80"/>
                      <a:pt x="45" y="82"/>
                    </a:cubicBezTo>
                    <a:cubicBezTo>
                      <a:pt x="46" y="81"/>
                      <a:pt x="46" y="81"/>
                      <a:pt x="47" y="80"/>
                    </a:cubicBezTo>
                    <a:cubicBezTo>
                      <a:pt x="49" y="77"/>
                      <a:pt x="45" y="70"/>
                      <a:pt x="46" y="67"/>
                    </a:cubicBezTo>
                    <a:cubicBezTo>
                      <a:pt x="46" y="66"/>
                      <a:pt x="46" y="66"/>
                      <a:pt x="47" y="66"/>
                    </a:cubicBezTo>
                    <a:cubicBezTo>
                      <a:pt x="48" y="67"/>
                      <a:pt x="49" y="71"/>
                      <a:pt x="50" y="73"/>
                    </a:cubicBezTo>
                    <a:cubicBezTo>
                      <a:pt x="52" y="76"/>
                      <a:pt x="55" y="77"/>
                      <a:pt x="58" y="79"/>
                    </a:cubicBezTo>
                    <a:cubicBezTo>
                      <a:pt x="58" y="79"/>
                      <a:pt x="58" y="79"/>
                      <a:pt x="59" y="79"/>
                    </a:cubicBezTo>
                    <a:cubicBezTo>
                      <a:pt x="60" y="72"/>
                      <a:pt x="53" y="64"/>
                      <a:pt x="53" y="57"/>
                    </a:cubicBezTo>
                    <a:cubicBezTo>
                      <a:pt x="54" y="56"/>
                      <a:pt x="55" y="56"/>
                      <a:pt x="56" y="55"/>
                    </a:cubicBezTo>
                    <a:cubicBezTo>
                      <a:pt x="56" y="55"/>
                      <a:pt x="56" y="55"/>
                      <a:pt x="56" y="55"/>
                    </a:cubicBezTo>
                    <a:cubicBezTo>
                      <a:pt x="63" y="60"/>
                      <a:pt x="59" y="67"/>
                      <a:pt x="69" y="69"/>
                    </a:cubicBezTo>
                    <a:cubicBezTo>
                      <a:pt x="71" y="67"/>
                      <a:pt x="72" y="66"/>
                      <a:pt x="74" y="64"/>
                    </a:cubicBezTo>
                    <a:cubicBezTo>
                      <a:pt x="71" y="56"/>
                      <a:pt x="63" y="51"/>
                      <a:pt x="55" y="53"/>
                    </a:cubicBezTo>
                    <a:close/>
                    <a:moveTo>
                      <a:pt x="40" y="46"/>
                    </a:moveTo>
                    <a:cubicBezTo>
                      <a:pt x="40" y="46"/>
                      <a:pt x="39" y="46"/>
                      <a:pt x="39" y="46"/>
                    </a:cubicBezTo>
                    <a:cubicBezTo>
                      <a:pt x="38" y="46"/>
                      <a:pt x="38" y="46"/>
                      <a:pt x="38" y="46"/>
                    </a:cubicBezTo>
                    <a:cubicBezTo>
                      <a:pt x="38" y="45"/>
                      <a:pt x="37" y="45"/>
                      <a:pt x="37" y="44"/>
                    </a:cubicBezTo>
                    <a:cubicBezTo>
                      <a:pt x="39" y="41"/>
                      <a:pt x="42" y="39"/>
                      <a:pt x="44" y="36"/>
                    </a:cubicBezTo>
                    <a:cubicBezTo>
                      <a:pt x="45" y="36"/>
                      <a:pt x="45" y="35"/>
                      <a:pt x="46" y="35"/>
                    </a:cubicBezTo>
                    <a:cubicBezTo>
                      <a:pt x="46" y="35"/>
                      <a:pt x="46" y="35"/>
                      <a:pt x="46" y="35"/>
                    </a:cubicBezTo>
                    <a:cubicBezTo>
                      <a:pt x="44" y="39"/>
                      <a:pt x="42" y="42"/>
                      <a:pt x="40" y="46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1049934" name="ïşḻíḍe"/>
              <p:cNvSpPr/>
              <p:nvPr/>
            </p:nvSpPr>
            <p:spPr bwMode="auto">
              <a:xfrm>
                <a:off x="1882672" y="4669428"/>
                <a:ext cx="160338" cy="169863"/>
              </a:xfrm>
              <a:custGeom>
                <a:avLst/>
                <a:gdLst>
                  <a:gd name="T0" fmla="*/ 29 w 87"/>
                  <a:gd name="T1" fmla="*/ 8 h 92"/>
                  <a:gd name="T2" fmla="*/ 52 w 87"/>
                  <a:gd name="T3" fmla="*/ 17 h 92"/>
                  <a:gd name="T4" fmla="*/ 61 w 87"/>
                  <a:gd name="T5" fmla="*/ 16 h 92"/>
                  <a:gd name="T6" fmla="*/ 62 w 87"/>
                  <a:gd name="T7" fmla="*/ 17 h 92"/>
                  <a:gd name="T8" fmla="*/ 69 w 87"/>
                  <a:gd name="T9" fmla="*/ 42 h 92"/>
                  <a:gd name="T10" fmla="*/ 86 w 87"/>
                  <a:gd name="T11" fmla="*/ 35 h 92"/>
                  <a:gd name="T12" fmla="*/ 87 w 87"/>
                  <a:gd name="T13" fmla="*/ 39 h 92"/>
                  <a:gd name="T14" fmla="*/ 76 w 87"/>
                  <a:gd name="T15" fmla="*/ 55 h 92"/>
                  <a:gd name="T16" fmla="*/ 67 w 87"/>
                  <a:gd name="T17" fmla="*/ 76 h 92"/>
                  <a:gd name="T18" fmla="*/ 65 w 87"/>
                  <a:gd name="T19" fmla="*/ 74 h 92"/>
                  <a:gd name="T20" fmla="*/ 69 w 87"/>
                  <a:gd name="T21" fmla="*/ 53 h 92"/>
                  <a:gd name="T22" fmla="*/ 55 w 87"/>
                  <a:gd name="T23" fmla="*/ 40 h 92"/>
                  <a:gd name="T24" fmla="*/ 45 w 87"/>
                  <a:gd name="T25" fmla="*/ 44 h 92"/>
                  <a:gd name="T26" fmla="*/ 46 w 87"/>
                  <a:gd name="T27" fmla="*/ 89 h 92"/>
                  <a:gd name="T28" fmla="*/ 38 w 87"/>
                  <a:gd name="T29" fmla="*/ 92 h 92"/>
                  <a:gd name="T30" fmla="*/ 27 w 87"/>
                  <a:gd name="T31" fmla="*/ 68 h 92"/>
                  <a:gd name="T32" fmla="*/ 14 w 87"/>
                  <a:gd name="T33" fmla="*/ 70 h 92"/>
                  <a:gd name="T34" fmla="*/ 12 w 87"/>
                  <a:gd name="T35" fmla="*/ 65 h 92"/>
                  <a:gd name="T36" fmla="*/ 18 w 87"/>
                  <a:gd name="T37" fmla="*/ 58 h 92"/>
                  <a:gd name="T38" fmla="*/ 0 w 87"/>
                  <a:gd name="T39" fmla="*/ 42 h 92"/>
                  <a:gd name="T40" fmla="*/ 0 w 87"/>
                  <a:gd name="T41" fmla="*/ 42 h 92"/>
                  <a:gd name="T42" fmla="*/ 21 w 87"/>
                  <a:gd name="T43" fmla="*/ 39 h 92"/>
                  <a:gd name="T44" fmla="*/ 27 w 87"/>
                  <a:gd name="T45" fmla="*/ 48 h 92"/>
                  <a:gd name="T46" fmla="*/ 34 w 87"/>
                  <a:gd name="T47" fmla="*/ 52 h 92"/>
                  <a:gd name="T48" fmla="*/ 36 w 87"/>
                  <a:gd name="T49" fmla="*/ 62 h 92"/>
                  <a:gd name="T50" fmla="*/ 39 w 87"/>
                  <a:gd name="T51" fmla="*/ 44 h 92"/>
                  <a:gd name="T52" fmla="*/ 46 w 87"/>
                  <a:gd name="T53" fmla="*/ 28 h 92"/>
                  <a:gd name="T54" fmla="*/ 29 w 87"/>
                  <a:gd name="T55" fmla="*/ 8 h 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87" h="92">
                    <a:moveTo>
                      <a:pt x="29" y="8"/>
                    </a:moveTo>
                    <a:cubicBezTo>
                      <a:pt x="42" y="0"/>
                      <a:pt x="43" y="12"/>
                      <a:pt x="52" y="17"/>
                    </a:cubicBezTo>
                    <a:cubicBezTo>
                      <a:pt x="55" y="15"/>
                      <a:pt x="58" y="15"/>
                      <a:pt x="61" y="16"/>
                    </a:cubicBezTo>
                    <a:cubicBezTo>
                      <a:pt x="61" y="16"/>
                      <a:pt x="62" y="17"/>
                      <a:pt x="62" y="17"/>
                    </a:cubicBezTo>
                    <a:cubicBezTo>
                      <a:pt x="62" y="26"/>
                      <a:pt x="58" y="33"/>
                      <a:pt x="69" y="42"/>
                    </a:cubicBezTo>
                    <a:cubicBezTo>
                      <a:pt x="75" y="35"/>
                      <a:pt x="80" y="33"/>
                      <a:pt x="86" y="35"/>
                    </a:cubicBezTo>
                    <a:cubicBezTo>
                      <a:pt x="87" y="36"/>
                      <a:pt x="87" y="38"/>
                      <a:pt x="87" y="39"/>
                    </a:cubicBezTo>
                    <a:cubicBezTo>
                      <a:pt x="83" y="45"/>
                      <a:pt x="80" y="50"/>
                      <a:pt x="76" y="55"/>
                    </a:cubicBezTo>
                    <a:cubicBezTo>
                      <a:pt x="71" y="62"/>
                      <a:pt x="71" y="70"/>
                      <a:pt x="67" y="76"/>
                    </a:cubicBezTo>
                    <a:cubicBezTo>
                      <a:pt x="66" y="75"/>
                      <a:pt x="66" y="75"/>
                      <a:pt x="65" y="74"/>
                    </a:cubicBezTo>
                    <a:cubicBezTo>
                      <a:pt x="63" y="66"/>
                      <a:pt x="67" y="60"/>
                      <a:pt x="69" y="53"/>
                    </a:cubicBezTo>
                    <a:cubicBezTo>
                      <a:pt x="64" y="51"/>
                      <a:pt x="60" y="46"/>
                      <a:pt x="55" y="40"/>
                    </a:cubicBezTo>
                    <a:cubicBezTo>
                      <a:pt x="52" y="42"/>
                      <a:pt x="49" y="41"/>
                      <a:pt x="45" y="44"/>
                    </a:cubicBezTo>
                    <a:cubicBezTo>
                      <a:pt x="40" y="59"/>
                      <a:pt x="48" y="75"/>
                      <a:pt x="46" y="89"/>
                    </a:cubicBezTo>
                    <a:cubicBezTo>
                      <a:pt x="43" y="92"/>
                      <a:pt x="41" y="91"/>
                      <a:pt x="38" y="92"/>
                    </a:cubicBezTo>
                    <a:cubicBezTo>
                      <a:pt x="31" y="83"/>
                      <a:pt x="33" y="76"/>
                      <a:pt x="27" y="68"/>
                    </a:cubicBezTo>
                    <a:cubicBezTo>
                      <a:pt x="23" y="71"/>
                      <a:pt x="18" y="71"/>
                      <a:pt x="14" y="70"/>
                    </a:cubicBezTo>
                    <a:cubicBezTo>
                      <a:pt x="12" y="68"/>
                      <a:pt x="12" y="67"/>
                      <a:pt x="12" y="65"/>
                    </a:cubicBezTo>
                    <a:cubicBezTo>
                      <a:pt x="14" y="63"/>
                      <a:pt x="16" y="60"/>
                      <a:pt x="18" y="58"/>
                    </a:cubicBezTo>
                    <a:cubicBezTo>
                      <a:pt x="13" y="49"/>
                      <a:pt x="3" y="48"/>
                      <a:pt x="0" y="42"/>
                    </a:cubicBezTo>
                    <a:cubicBezTo>
                      <a:pt x="0" y="42"/>
                      <a:pt x="0" y="42"/>
                      <a:pt x="0" y="42"/>
                    </a:cubicBezTo>
                    <a:cubicBezTo>
                      <a:pt x="6" y="39"/>
                      <a:pt x="15" y="35"/>
                      <a:pt x="21" y="39"/>
                    </a:cubicBezTo>
                    <a:cubicBezTo>
                      <a:pt x="23" y="42"/>
                      <a:pt x="25" y="45"/>
                      <a:pt x="27" y="48"/>
                    </a:cubicBezTo>
                    <a:cubicBezTo>
                      <a:pt x="29" y="50"/>
                      <a:pt x="31" y="51"/>
                      <a:pt x="34" y="52"/>
                    </a:cubicBezTo>
                    <a:cubicBezTo>
                      <a:pt x="34" y="55"/>
                      <a:pt x="35" y="58"/>
                      <a:pt x="36" y="62"/>
                    </a:cubicBezTo>
                    <a:cubicBezTo>
                      <a:pt x="39" y="56"/>
                      <a:pt x="38" y="50"/>
                      <a:pt x="39" y="44"/>
                    </a:cubicBezTo>
                    <a:cubicBezTo>
                      <a:pt x="42" y="39"/>
                      <a:pt x="44" y="34"/>
                      <a:pt x="46" y="28"/>
                    </a:cubicBezTo>
                    <a:cubicBezTo>
                      <a:pt x="42" y="22"/>
                      <a:pt x="31" y="15"/>
                      <a:pt x="29" y="8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1049935" name="íṩľíḑè"/>
              <p:cNvSpPr/>
              <p:nvPr/>
            </p:nvSpPr>
            <p:spPr bwMode="auto">
              <a:xfrm>
                <a:off x="2243034" y="6066428"/>
                <a:ext cx="22225" cy="25400"/>
              </a:xfrm>
              <a:custGeom>
                <a:avLst/>
                <a:gdLst>
                  <a:gd name="T0" fmla="*/ 0 w 14"/>
                  <a:gd name="T1" fmla="*/ 12 h 16"/>
                  <a:gd name="T2" fmla="*/ 2 w 14"/>
                  <a:gd name="T3" fmla="*/ 0 h 16"/>
                  <a:gd name="T4" fmla="*/ 14 w 14"/>
                  <a:gd name="T5" fmla="*/ 4 h 16"/>
                  <a:gd name="T6" fmla="*/ 11 w 14"/>
                  <a:gd name="T7" fmla="*/ 16 h 16"/>
                  <a:gd name="T8" fmla="*/ 0 w 14"/>
                  <a:gd name="T9" fmla="*/ 12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4" h="16">
                    <a:moveTo>
                      <a:pt x="0" y="12"/>
                    </a:moveTo>
                    <a:lnTo>
                      <a:pt x="2" y="0"/>
                    </a:lnTo>
                    <a:lnTo>
                      <a:pt x="14" y="4"/>
                    </a:lnTo>
                    <a:lnTo>
                      <a:pt x="11" y="16"/>
                    </a:lnTo>
                    <a:lnTo>
                      <a:pt x="0" y="12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1049936" name="îṣḷïḓê"/>
              <p:cNvSpPr/>
              <p:nvPr/>
            </p:nvSpPr>
            <p:spPr bwMode="auto">
              <a:xfrm>
                <a:off x="2292247" y="6042615"/>
                <a:ext cx="49213" cy="100013"/>
              </a:xfrm>
              <a:custGeom>
                <a:avLst/>
                <a:gdLst>
                  <a:gd name="T0" fmla="*/ 17 w 27"/>
                  <a:gd name="T1" fmla="*/ 54 h 54"/>
                  <a:gd name="T2" fmla="*/ 7 w 27"/>
                  <a:gd name="T3" fmla="*/ 52 h 54"/>
                  <a:gd name="T4" fmla="*/ 14 w 27"/>
                  <a:gd name="T5" fmla="*/ 15 h 54"/>
                  <a:gd name="T6" fmla="*/ 0 w 27"/>
                  <a:gd name="T7" fmla="*/ 20 h 54"/>
                  <a:gd name="T8" fmla="*/ 1 w 27"/>
                  <a:gd name="T9" fmla="*/ 11 h 54"/>
                  <a:gd name="T10" fmla="*/ 11 w 27"/>
                  <a:gd name="T11" fmla="*/ 7 h 54"/>
                  <a:gd name="T12" fmla="*/ 18 w 27"/>
                  <a:gd name="T13" fmla="*/ 0 h 54"/>
                  <a:gd name="T14" fmla="*/ 27 w 27"/>
                  <a:gd name="T15" fmla="*/ 2 h 54"/>
                  <a:gd name="T16" fmla="*/ 17 w 27"/>
                  <a:gd name="T17" fmla="*/ 54 h 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7" h="54">
                    <a:moveTo>
                      <a:pt x="17" y="54"/>
                    </a:moveTo>
                    <a:cubicBezTo>
                      <a:pt x="7" y="52"/>
                      <a:pt x="7" y="52"/>
                      <a:pt x="7" y="52"/>
                    </a:cubicBezTo>
                    <a:cubicBezTo>
                      <a:pt x="14" y="15"/>
                      <a:pt x="14" y="15"/>
                      <a:pt x="14" y="15"/>
                    </a:cubicBezTo>
                    <a:cubicBezTo>
                      <a:pt x="10" y="17"/>
                      <a:pt x="5" y="19"/>
                      <a:pt x="0" y="20"/>
                    </a:cubicBezTo>
                    <a:cubicBezTo>
                      <a:pt x="1" y="11"/>
                      <a:pt x="1" y="11"/>
                      <a:pt x="1" y="11"/>
                    </a:cubicBezTo>
                    <a:cubicBezTo>
                      <a:pt x="4" y="10"/>
                      <a:pt x="7" y="9"/>
                      <a:pt x="11" y="7"/>
                    </a:cubicBezTo>
                    <a:cubicBezTo>
                      <a:pt x="14" y="6"/>
                      <a:pt x="17" y="3"/>
                      <a:pt x="18" y="0"/>
                    </a:cubicBezTo>
                    <a:cubicBezTo>
                      <a:pt x="27" y="2"/>
                      <a:pt x="27" y="2"/>
                      <a:pt x="27" y="2"/>
                    </a:cubicBezTo>
                    <a:lnTo>
                      <a:pt x="17" y="54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1049937" name="i$ḻîḓé"/>
              <p:cNvSpPr/>
              <p:nvPr/>
            </p:nvSpPr>
            <p:spPr bwMode="auto">
              <a:xfrm>
                <a:off x="2363684" y="6052140"/>
                <a:ext cx="66675" cy="100013"/>
              </a:xfrm>
              <a:custGeom>
                <a:avLst/>
                <a:gdLst>
                  <a:gd name="T0" fmla="*/ 0 w 36"/>
                  <a:gd name="T1" fmla="*/ 40 h 54"/>
                  <a:gd name="T2" fmla="*/ 10 w 36"/>
                  <a:gd name="T3" fmla="*/ 39 h 54"/>
                  <a:gd name="T4" fmla="*/ 11 w 36"/>
                  <a:gd name="T5" fmla="*/ 44 h 54"/>
                  <a:gd name="T6" fmla="*/ 15 w 36"/>
                  <a:gd name="T7" fmla="*/ 46 h 54"/>
                  <a:gd name="T8" fmla="*/ 21 w 36"/>
                  <a:gd name="T9" fmla="*/ 43 h 54"/>
                  <a:gd name="T10" fmla="*/ 24 w 36"/>
                  <a:gd name="T11" fmla="*/ 31 h 54"/>
                  <a:gd name="T12" fmla="*/ 15 w 36"/>
                  <a:gd name="T13" fmla="*/ 35 h 54"/>
                  <a:gd name="T14" fmla="*/ 4 w 36"/>
                  <a:gd name="T15" fmla="*/ 30 h 54"/>
                  <a:gd name="T16" fmla="*/ 0 w 36"/>
                  <a:gd name="T17" fmla="*/ 17 h 54"/>
                  <a:gd name="T18" fmla="*/ 6 w 36"/>
                  <a:gd name="T19" fmla="*/ 4 h 54"/>
                  <a:gd name="T20" fmla="*/ 19 w 36"/>
                  <a:gd name="T21" fmla="*/ 0 h 54"/>
                  <a:gd name="T22" fmla="*/ 31 w 36"/>
                  <a:gd name="T23" fmla="*/ 7 h 54"/>
                  <a:gd name="T24" fmla="*/ 35 w 36"/>
                  <a:gd name="T25" fmla="*/ 28 h 54"/>
                  <a:gd name="T26" fmla="*/ 28 w 36"/>
                  <a:gd name="T27" fmla="*/ 49 h 54"/>
                  <a:gd name="T28" fmla="*/ 14 w 36"/>
                  <a:gd name="T29" fmla="*/ 54 h 54"/>
                  <a:gd name="T30" fmla="*/ 4 w 36"/>
                  <a:gd name="T31" fmla="*/ 50 h 54"/>
                  <a:gd name="T32" fmla="*/ 0 w 36"/>
                  <a:gd name="T33" fmla="*/ 40 h 54"/>
                  <a:gd name="T34" fmla="*/ 24 w 36"/>
                  <a:gd name="T35" fmla="*/ 19 h 54"/>
                  <a:gd name="T36" fmla="*/ 23 w 36"/>
                  <a:gd name="T37" fmla="*/ 11 h 54"/>
                  <a:gd name="T38" fmla="*/ 18 w 36"/>
                  <a:gd name="T39" fmla="*/ 8 h 54"/>
                  <a:gd name="T40" fmla="*/ 13 w 36"/>
                  <a:gd name="T41" fmla="*/ 10 h 54"/>
                  <a:gd name="T42" fmla="*/ 10 w 36"/>
                  <a:gd name="T43" fmla="*/ 17 h 54"/>
                  <a:gd name="T44" fmla="*/ 12 w 36"/>
                  <a:gd name="T45" fmla="*/ 25 h 54"/>
                  <a:gd name="T46" fmla="*/ 17 w 36"/>
                  <a:gd name="T47" fmla="*/ 28 h 54"/>
                  <a:gd name="T48" fmla="*/ 22 w 36"/>
                  <a:gd name="T49" fmla="*/ 26 h 54"/>
                  <a:gd name="T50" fmla="*/ 24 w 36"/>
                  <a:gd name="T51" fmla="*/ 19 h 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6" h="54">
                    <a:moveTo>
                      <a:pt x="0" y="40"/>
                    </a:moveTo>
                    <a:cubicBezTo>
                      <a:pt x="10" y="39"/>
                      <a:pt x="10" y="39"/>
                      <a:pt x="10" y="39"/>
                    </a:cubicBezTo>
                    <a:cubicBezTo>
                      <a:pt x="10" y="41"/>
                      <a:pt x="10" y="43"/>
                      <a:pt x="11" y="44"/>
                    </a:cubicBezTo>
                    <a:cubicBezTo>
                      <a:pt x="12" y="45"/>
                      <a:pt x="14" y="46"/>
                      <a:pt x="15" y="46"/>
                    </a:cubicBezTo>
                    <a:cubicBezTo>
                      <a:pt x="17" y="46"/>
                      <a:pt x="19" y="45"/>
                      <a:pt x="21" y="43"/>
                    </a:cubicBezTo>
                    <a:cubicBezTo>
                      <a:pt x="22" y="41"/>
                      <a:pt x="24" y="37"/>
                      <a:pt x="24" y="31"/>
                    </a:cubicBezTo>
                    <a:cubicBezTo>
                      <a:pt x="22" y="34"/>
                      <a:pt x="18" y="35"/>
                      <a:pt x="15" y="35"/>
                    </a:cubicBezTo>
                    <a:cubicBezTo>
                      <a:pt x="10" y="35"/>
                      <a:pt x="7" y="33"/>
                      <a:pt x="4" y="30"/>
                    </a:cubicBezTo>
                    <a:cubicBezTo>
                      <a:pt x="1" y="26"/>
                      <a:pt x="0" y="22"/>
                      <a:pt x="0" y="17"/>
                    </a:cubicBezTo>
                    <a:cubicBezTo>
                      <a:pt x="1" y="11"/>
                      <a:pt x="3" y="7"/>
                      <a:pt x="6" y="4"/>
                    </a:cubicBezTo>
                    <a:cubicBezTo>
                      <a:pt x="10" y="1"/>
                      <a:pt x="14" y="0"/>
                      <a:pt x="19" y="0"/>
                    </a:cubicBezTo>
                    <a:cubicBezTo>
                      <a:pt x="24" y="0"/>
                      <a:pt x="28" y="3"/>
                      <a:pt x="31" y="7"/>
                    </a:cubicBezTo>
                    <a:cubicBezTo>
                      <a:pt x="35" y="12"/>
                      <a:pt x="36" y="19"/>
                      <a:pt x="35" y="28"/>
                    </a:cubicBezTo>
                    <a:cubicBezTo>
                      <a:pt x="34" y="38"/>
                      <a:pt x="32" y="44"/>
                      <a:pt x="28" y="49"/>
                    </a:cubicBezTo>
                    <a:cubicBezTo>
                      <a:pt x="24" y="53"/>
                      <a:pt x="20" y="54"/>
                      <a:pt x="14" y="54"/>
                    </a:cubicBezTo>
                    <a:cubicBezTo>
                      <a:pt x="10" y="54"/>
                      <a:pt x="7" y="52"/>
                      <a:pt x="4" y="50"/>
                    </a:cubicBezTo>
                    <a:cubicBezTo>
                      <a:pt x="2" y="48"/>
                      <a:pt x="0" y="44"/>
                      <a:pt x="0" y="40"/>
                    </a:cubicBezTo>
                    <a:close/>
                    <a:moveTo>
                      <a:pt x="24" y="19"/>
                    </a:moveTo>
                    <a:cubicBezTo>
                      <a:pt x="25" y="16"/>
                      <a:pt x="24" y="13"/>
                      <a:pt x="23" y="11"/>
                    </a:cubicBezTo>
                    <a:cubicBezTo>
                      <a:pt x="21" y="10"/>
                      <a:pt x="20" y="9"/>
                      <a:pt x="18" y="8"/>
                    </a:cubicBezTo>
                    <a:cubicBezTo>
                      <a:pt x="16" y="8"/>
                      <a:pt x="14" y="9"/>
                      <a:pt x="13" y="10"/>
                    </a:cubicBezTo>
                    <a:cubicBezTo>
                      <a:pt x="11" y="12"/>
                      <a:pt x="11" y="14"/>
                      <a:pt x="10" y="17"/>
                    </a:cubicBezTo>
                    <a:cubicBezTo>
                      <a:pt x="10" y="21"/>
                      <a:pt x="11" y="23"/>
                      <a:pt x="12" y="25"/>
                    </a:cubicBezTo>
                    <a:cubicBezTo>
                      <a:pt x="13" y="27"/>
                      <a:pt x="15" y="28"/>
                      <a:pt x="17" y="28"/>
                    </a:cubicBezTo>
                    <a:cubicBezTo>
                      <a:pt x="19" y="28"/>
                      <a:pt x="20" y="27"/>
                      <a:pt x="22" y="26"/>
                    </a:cubicBezTo>
                    <a:cubicBezTo>
                      <a:pt x="23" y="24"/>
                      <a:pt x="24" y="22"/>
                      <a:pt x="24" y="1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1049938" name="îṧľîḋé"/>
              <p:cNvSpPr/>
              <p:nvPr/>
            </p:nvSpPr>
            <p:spPr bwMode="auto">
              <a:xfrm>
                <a:off x="2446234" y="6053728"/>
                <a:ext cx="66675" cy="100013"/>
              </a:xfrm>
              <a:custGeom>
                <a:avLst/>
                <a:gdLst>
                  <a:gd name="T0" fmla="*/ 0 w 36"/>
                  <a:gd name="T1" fmla="*/ 40 h 54"/>
                  <a:gd name="T2" fmla="*/ 10 w 36"/>
                  <a:gd name="T3" fmla="*/ 39 h 54"/>
                  <a:gd name="T4" fmla="*/ 13 w 36"/>
                  <a:gd name="T5" fmla="*/ 44 h 54"/>
                  <a:gd name="T6" fmla="*/ 18 w 36"/>
                  <a:gd name="T7" fmla="*/ 46 h 54"/>
                  <a:gd name="T8" fmla="*/ 23 w 36"/>
                  <a:gd name="T9" fmla="*/ 43 h 54"/>
                  <a:gd name="T10" fmla="*/ 25 w 36"/>
                  <a:gd name="T11" fmla="*/ 35 h 54"/>
                  <a:gd name="T12" fmla="*/ 23 w 36"/>
                  <a:gd name="T13" fmla="*/ 28 h 54"/>
                  <a:gd name="T14" fmla="*/ 17 w 36"/>
                  <a:gd name="T15" fmla="*/ 26 h 54"/>
                  <a:gd name="T16" fmla="*/ 9 w 36"/>
                  <a:gd name="T17" fmla="*/ 30 h 54"/>
                  <a:gd name="T18" fmla="*/ 1 w 36"/>
                  <a:gd name="T19" fmla="*/ 29 h 54"/>
                  <a:gd name="T20" fmla="*/ 5 w 36"/>
                  <a:gd name="T21" fmla="*/ 1 h 54"/>
                  <a:gd name="T22" fmla="*/ 32 w 36"/>
                  <a:gd name="T23" fmla="*/ 0 h 54"/>
                  <a:gd name="T24" fmla="*/ 32 w 36"/>
                  <a:gd name="T25" fmla="*/ 10 h 54"/>
                  <a:gd name="T26" fmla="*/ 13 w 36"/>
                  <a:gd name="T27" fmla="*/ 10 h 54"/>
                  <a:gd name="T28" fmla="*/ 12 w 36"/>
                  <a:gd name="T29" fmla="*/ 19 h 54"/>
                  <a:gd name="T30" fmla="*/ 19 w 36"/>
                  <a:gd name="T31" fmla="*/ 17 h 54"/>
                  <a:gd name="T32" fmla="*/ 30 w 36"/>
                  <a:gd name="T33" fmla="*/ 22 h 54"/>
                  <a:gd name="T34" fmla="*/ 36 w 36"/>
                  <a:gd name="T35" fmla="*/ 34 h 54"/>
                  <a:gd name="T36" fmla="*/ 32 w 36"/>
                  <a:gd name="T37" fmla="*/ 46 h 54"/>
                  <a:gd name="T38" fmla="*/ 18 w 36"/>
                  <a:gd name="T39" fmla="*/ 54 h 54"/>
                  <a:gd name="T40" fmla="*/ 6 w 36"/>
                  <a:gd name="T41" fmla="*/ 50 h 54"/>
                  <a:gd name="T42" fmla="*/ 0 w 36"/>
                  <a:gd name="T43" fmla="*/ 40 h 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36" h="54">
                    <a:moveTo>
                      <a:pt x="0" y="40"/>
                    </a:moveTo>
                    <a:cubicBezTo>
                      <a:pt x="10" y="39"/>
                      <a:pt x="10" y="39"/>
                      <a:pt x="10" y="39"/>
                    </a:cubicBezTo>
                    <a:cubicBezTo>
                      <a:pt x="11" y="41"/>
                      <a:pt x="11" y="43"/>
                      <a:pt x="13" y="44"/>
                    </a:cubicBezTo>
                    <a:cubicBezTo>
                      <a:pt x="14" y="45"/>
                      <a:pt x="16" y="46"/>
                      <a:pt x="18" y="46"/>
                    </a:cubicBezTo>
                    <a:cubicBezTo>
                      <a:pt x="20" y="46"/>
                      <a:pt x="22" y="45"/>
                      <a:pt x="23" y="43"/>
                    </a:cubicBezTo>
                    <a:cubicBezTo>
                      <a:pt x="25" y="41"/>
                      <a:pt x="25" y="38"/>
                      <a:pt x="25" y="35"/>
                    </a:cubicBezTo>
                    <a:cubicBezTo>
                      <a:pt x="25" y="32"/>
                      <a:pt x="24" y="29"/>
                      <a:pt x="23" y="28"/>
                    </a:cubicBezTo>
                    <a:cubicBezTo>
                      <a:pt x="21" y="26"/>
                      <a:pt x="19" y="25"/>
                      <a:pt x="17" y="26"/>
                    </a:cubicBezTo>
                    <a:cubicBezTo>
                      <a:pt x="14" y="26"/>
                      <a:pt x="11" y="27"/>
                      <a:pt x="9" y="30"/>
                    </a:cubicBezTo>
                    <a:cubicBezTo>
                      <a:pt x="1" y="29"/>
                      <a:pt x="1" y="29"/>
                      <a:pt x="1" y="29"/>
                    </a:cubicBezTo>
                    <a:cubicBezTo>
                      <a:pt x="5" y="1"/>
                      <a:pt x="5" y="1"/>
                      <a:pt x="5" y="1"/>
                    </a:cubicBezTo>
                    <a:cubicBezTo>
                      <a:pt x="32" y="0"/>
                      <a:pt x="32" y="0"/>
                      <a:pt x="32" y="0"/>
                    </a:cubicBezTo>
                    <a:cubicBezTo>
                      <a:pt x="32" y="10"/>
                      <a:pt x="32" y="10"/>
                      <a:pt x="32" y="10"/>
                    </a:cubicBezTo>
                    <a:cubicBezTo>
                      <a:pt x="13" y="10"/>
                      <a:pt x="13" y="10"/>
                      <a:pt x="13" y="10"/>
                    </a:cubicBezTo>
                    <a:cubicBezTo>
                      <a:pt x="12" y="19"/>
                      <a:pt x="12" y="19"/>
                      <a:pt x="12" y="19"/>
                    </a:cubicBezTo>
                    <a:cubicBezTo>
                      <a:pt x="14" y="18"/>
                      <a:pt x="16" y="17"/>
                      <a:pt x="19" y="17"/>
                    </a:cubicBezTo>
                    <a:cubicBezTo>
                      <a:pt x="23" y="17"/>
                      <a:pt x="27" y="19"/>
                      <a:pt x="30" y="22"/>
                    </a:cubicBezTo>
                    <a:cubicBezTo>
                      <a:pt x="34" y="25"/>
                      <a:pt x="35" y="29"/>
                      <a:pt x="36" y="34"/>
                    </a:cubicBezTo>
                    <a:cubicBezTo>
                      <a:pt x="36" y="39"/>
                      <a:pt x="35" y="43"/>
                      <a:pt x="32" y="46"/>
                    </a:cubicBezTo>
                    <a:cubicBezTo>
                      <a:pt x="29" y="51"/>
                      <a:pt x="24" y="54"/>
                      <a:pt x="18" y="54"/>
                    </a:cubicBezTo>
                    <a:cubicBezTo>
                      <a:pt x="13" y="54"/>
                      <a:pt x="9" y="53"/>
                      <a:pt x="6" y="50"/>
                    </a:cubicBezTo>
                    <a:cubicBezTo>
                      <a:pt x="3" y="48"/>
                      <a:pt x="1" y="44"/>
                      <a:pt x="0" y="4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1049939" name="i$ḻïḑê"/>
              <p:cNvSpPr/>
              <p:nvPr/>
            </p:nvSpPr>
            <p:spPr bwMode="auto">
              <a:xfrm>
                <a:off x="2522434" y="6045790"/>
                <a:ext cx="74613" cy="103188"/>
              </a:xfrm>
              <a:custGeom>
                <a:avLst/>
                <a:gdLst>
                  <a:gd name="T0" fmla="*/ 39 w 40"/>
                  <a:gd name="T1" fmla="*/ 42 h 56"/>
                  <a:gd name="T2" fmla="*/ 40 w 40"/>
                  <a:gd name="T3" fmla="*/ 51 h 56"/>
                  <a:gd name="T4" fmla="*/ 5 w 40"/>
                  <a:gd name="T5" fmla="*/ 56 h 56"/>
                  <a:gd name="T6" fmla="*/ 7 w 40"/>
                  <a:gd name="T7" fmla="*/ 46 h 56"/>
                  <a:gd name="T8" fmla="*/ 16 w 40"/>
                  <a:gd name="T9" fmla="*/ 32 h 56"/>
                  <a:gd name="T10" fmla="*/ 23 w 40"/>
                  <a:gd name="T11" fmla="*/ 22 h 56"/>
                  <a:gd name="T12" fmla="*/ 24 w 40"/>
                  <a:gd name="T13" fmla="*/ 15 h 56"/>
                  <a:gd name="T14" fmla="*/ 22 w 40"/>
                  <a:gd name="T15" fmla="*/ 10 h 56"/>
                  <a:gd name="T16" fmla="*/ 17 w 40"/>
                  <a:gd name="T17" fmla="*/ 9 h 56"/>
                  <a:gd name="T18" fmla="*/ 12 w 40"/>
                  <a:gd name="T19" fmla="*/ 12 h 56"/>
                  <a:gd name="T20" fmla="*/ 11 w 40"/>
                  <a:gd name="T21" fmla="*/ 19 h 56"/>
                  <a:gd name="T22" fmla="*/ 1 w 40"/>
                  <a:gd name="T23" fmla="*/ 19 h 56"/>
                  <a:gd name="T24" fmla="*/ 4 w 40"/>
                  <a:gd name="T25" fmla="*/ 6 h 56"/>
                  <a:gd name="T26" fmla="*/ 16 w 40"/>
                  <a:gd name="T27" fmla="*/ 1 h 56"/>
                  <a:gd name="T28" fmla="*/ 28 w 40"/>
                  <a:gd name="T29" fmla="*/ 3 h 56"/>
                  <a:gd name="T30" fmla="*/ 34 w 40"/>
                  <a:gd name="T31" fmla="*/ 13 h 56"/>
                  <a:gd name="T32" fmla="*/ 34 w 40"/>
                  <a:gd name="T33" fmla="*/ 20 h 56"/>
                  <a:gd name="T34" fmla="*/ 31 w 40"/>
                  <a:gd name="T35" fmla="*/ 27 h 56"/>
                  <a:gd name="T36" fmla="*/ 26 w 40"/>
                  <a:gd name="T37" fmla="*/ 35 h 56"/>
                  <a:gd name="T38" fmla="*/ 20 w 40"/>
                  <a:gd name="T39" fmla="*/ 42 h 56"/>
                  <a:gd name="T40" fmla="*/ 19 w 40"/>
                  <a:gd name="T41" fmla="*/ 45 h 56"/>
                  <a:gd name="T42" fmla="*/ 39 w 40"/>
                  <a:gd name="T43" fmla="*/ 42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40" h="56">
                    <a:moveTo>
                      <a:pt x="39" y="42"/>
                    </a:moveTo>
                    <a:cubicBezTo>
                      <a:pt x="40" y="51"/>
                      <a:pt x="40" y="51"/>
                      <a:pt x="40" y="51"/>
                    </a:cubicBezTo>
                    <a:cubicBezTo>
                      <a:pt x="5" y="56"/>
                      <a:pt x="5" y="56"/>
                      <a:pt x="5" y="56"/>
                    </a:cubicBezTo>
                    <a:cubicBezTo>
                      <a:pt x="5" y="53"/>
                      <a:pt x="5" y="49"/>
                      <a:pt x="7" y="46"/>
                    </a:cubicBezTo>
                    <a:cubicBezTo>
                      <a:pt x="8" y="42"/>
                      <a:pt x="11" y="38"/>
                      <a:pt x="16" y="32"/>
                    </a:cubicBezTo>
                    <a:cubicBezTo>
                      <a:pt x="20" y="27"/>
                      <a:pt x="22" y="23"/>
                      <a:pt x="23" y="22"/>
                    </a:cubicBezTo>
                    <a:cubicBezTo>
                      <a:pt x="24" y="19"/>
                      <a:pt x="25" y="17"/>
                      <a:pt x="24" y="15"/>
                    </a:cubicBezTo>
                    <a:cubicBezTo>
                      <a:pt x="24" y="13"/>
                      <a:pt x="23" y="11"/>
                      <a:pt x="22" y="10"/>
                    </a:cubicBezTo>
                    <a:cubicBezTo>
                      <a:pt x="21" y="9"/>
                      <a:pt x="19" y="9"/>
                      <a:pt x="17" y="9"/>
                    </a:cubicBezTo>
                    <a:cubicBezTo>
                      <a:pt x="15" y="10"/>
                      <a:pt x="13" y="11"/>
                      <a:pt x="12" y="12"/>
                    </a:cubicBezTo>
                    <a:cubicBezTo>
                      <a:pt x="11" y="13"/>
                      <a:pt x="10" y="16"/>
                      <a:pt x="11" y="19"/>
                    </a:cubicBezTo>
                    <a:cubicBezTo>
                      <a:pt x="1" y="19"/>
                      <a:pt x="1" y="19"/>
                      <a:pt x="1" y="19"/>
                    </a:cubicBezTo>
                    <a:cubicBezTo>
                      <a:pt x="0" y="13"/>
                      <a:pt x="2" y="9"/>
                      <a:pt x="4" y="6"/>
                    </a:cubicBezTo>
                    <a:cubicBezTo>
                      <a:pt x="7" y="3"/>
                      <a:pt x="11" y="2"/>
                      <a:pt x="16" y="1"/>
                    </a:cubicBezTo>
                    <a:cubicBezTo>
                      <a:pt x="21" y="0"/>
                      <a:pt x="25" y="1"/>
                      <a:pt x="28" y="3"/>
                    </a:cubicBezTo>
                    <a:cubicBezTo>
                      <a:pt x="32" y="6"/>
                      <a:pt x="34" y="9"/>
                      <a:pt x="34" y="13"/>
                    </a:cubicBezTo>
                    <a:cubicBezTo>
                      <a:pt x="35" y="15"/>
                      <a:pt x="35" y="18"/>
                      <a:pt x="34" y="20"/>
                    </a:cubicBezTo>
                    <a:cubicBezTo>
                      <a:pt x="34" y="22"/>
                      <a:pt x="33" y="25"/>
                      <a:pt x="31" y="27"/>
                    </a:cubicBezTo>
                    <a:cubicBezTo>
                      <a:pt x="30" y="29"/>
                      <a:pt x="28" y="32"/>
                      <a:pt x="26" y="35"/>
                    </a:cubicBezTo>
                    <a:cubicBezTo>
                      <a:pt x="23" y="38"/>
                      <a:pt x="21" y="41"/>
                      <a:pt x="20" y="42"/>
                    </a:cubicBezTo>
                    <a:cubicBezTo>
                      <a:pt x="20" y="43"/>
                      <a:pt x="19" y="44"/>
                      <a:pt x="19" y="45"/>
                    </a:cubicBezTo>
                    <a:lnTo>
                      <a:pt x="39" y="42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1049940" name="íṧlíḍe"/>
              <p:cNvSpPr/>
              <p:nvPr/>
            </p:nvSpPr>
            <p:spPr bwMode="auto">
              <a:xfrm>
                <a:off x="2611334" y="6072778"/>
                <a:ext cx="22225" cy="23813"/>
              </a:xfrm>
              <a:custGeom>
                <a:avLst/>
                <a:gdLst>
                  <a:gd name="T0" fmla="*/ 3 w 14"/>
                  <a:gd name="T1" fmla="*/ 15 h 15"/>
                  <a:gd name="T2" fmla="*/ 0 w 14"/>
                  <a:gd name="T3" fmla="*/ 3 h 15"/>
                  <a:gd name="T4" fmla="*/ 11 w 14"/>
                  <a:gd name="T5" fmla="*/ 0 h 15"/>
                  <a:gd name="T6" fmla="*/ 14 w 14"/>
                  <a:gd name="T7" fmla="*/ 12 h 15"/>
                  <a:gd name="T8" fmla="*/ 3 w 14"/>
                  <a:gd name="T9" fmla="*/ 15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4" h="15">
                    <a:moveTo>
                      <a:pt x="3" y="15"/>
                    </a:moveTo>
                    <a:lnTo>
                      <a:pt x="0" y="3"/>
                    </a:lnTo>
                    <a:lnTo>
                      <a:pt x="11" y="0"/>
                    </a:lnTo>
                    <a:lnTo>
                      <a:pt x="14" y="12"/>
                    </a:lnTo>
                    <a:lnTo>
                      <a:pt x="3" y="15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1049941" name="îŝľîḓê"/>
              <p:cNvSpPr/>
              <p:nvPr/>
            </p:nvSpPr>
            <p:spPr bwMode="auto">
              <a:xfrm>
                <a:off x="2108097" y="5261565"/>
                <a:ext cx="141288" cy="257175"/>
              </a:xfrm>
              <a:custGeom>
                <a:avLst/>
                <a:gdLst>
                  <a:gd name="T0" fmla="*/ 12 w 77"/>
                  <a:gd name="T1" fmla="*/ 25 h 139"/>
                  <a:gd name="T2" fmla="*/ 9 w 77"/>
                  <a:gd name="T3" fmla="*/ 21 h 139"/>
                  <a:gd name="T4" fmla="*/ 12 w 77"/>
                  <a:gd name="T5" fmla="*/ 17 h 139"/>
                  <a:gd name="T6" fmla="*/ 39 w 77"/>
                  <a:gd name="T7" fmla="*/ 21 h 139"/>
                  <a:gd name="T8" fmla="*/ 46 w 77"/>
                  <a:gd name="T9" fmla="*/ 36 h 139"/>
                  <a:gd name="T10" fmla="*/ 46 w 77"/>
                  <a:gd name="T11" fmla="*/ 39 h 139"/>
                  <a:gd name="T12" fmla="*/ 61 w 77"/>
                  <a:gd name="T13" fmla="*/ 33 h 139"/>
                  <a:gd name="T14" fmla="*/ 57 w 77"/>
                  <a:gd name="T15" fmla="*/ 16 h 139"/>
                  <a:gd name="T16" fmla="*/ 35 w 77"/>
                  <a:gd name="T17" fmla="*/ 9 h 139"/>
                  <a:gd name="T18" fmla="*/ 27 w 77"/>
                  <a:gd name="T19" fmla="*/ 3 h 139"/>
                  <a:gd name="T20" fmla="*/ 32 w 77"/>
                  <a:gd name="T21" fmla="*/ 0 h 139"/>
                  <a:gd name="T22" fmla="*/ 61 w 77"/>
                  <a:gd name="T23" fmla="*/ 9 h 139"/>
                  <a:gd name="T24" fmla="*/ 72 w 77"/>
                  <a:gd name="T25" fmla="*/ 30 h 139"/>
                  <a:gd name="T26" fmla="*/ 48 w 77"/>
                  <a:gd name="T27" fmla="*/ 45 h 139"/>
                  <a:gd name="T28" fmla="*/ 45 w 77"/>
                  <a:gd name="T29" fmla="*/ 46 h 139"/>
                  <a:gd name="T30" fmla="*/ 45 w 77"/>
                  <a:gd name="T31" fmla="*/ 54 h 139"/>
                  <a:gd name="T32" fmla="*/ 59 w 77"/>
                  <a:gd name="T33" fmla="*/ 61 h 139"/>
                  <a:gd name="T34" fmla="*/ 77 w 77"/>
                  <a:gd name="T35" fmla="*/ 80 h 139"/>
                  <a:gd name="T36" fmla="*/ 75 w 77"/>
                  <a:gd name="T37" fmla="*/ 84 h 139"/>
                  <a:gd name="T38" fmla="*/ 71 w 77"/>
                  <a:gd name="T39" fmla="*/ 83 h 139"/>
                  <a:gd name="T40" fmla="*/ 59 w 77"/>
                  <a:gd name="T41" fmla="*/ 70 h 139"/>
                  <a:gd name="T42" fmla="*/ 45 w 77"/>
                  <a:gd name="T43" fmla="*/ 63 h 139"/>
                  <a:gd name="T44" fmla="*/ 45 w 77"/>
                  <a:gd name="T45" fmla="*/ 77 h 139"/>
                  <a:gd name="T46" fmla="*/ 53 w 77"/>
                  <a:gd name="T47" fmla="*/ 83 h 139"/>
                  <a:gd name="T48" fmla="*/ 66 w 77"/>
                  <a:gd name="T49" fmla="*/ 102 h 139"/>
                  <a:gd name="T50" fmla="*/ 72 w 77"/>
                  <a:gd name="T51" fmla="*/ 121 h 139"/>
                  <a:gd name="T52" fmla="*/ 70 w 77"/>
                  <a:gd name="T53" fmla="*/ 124 h 139"/>
                  <a:gd name="T54" fmla="*/ 67 w 77"/>
                  <a:gd name="T55" fmla="*/ 122 h 139"/>
                  <a:gd name="T56" fmla="*/ 64 w 77"/>
                  <a:gd name="T57" fmla="*/ 115 h 139"/>
                  <a:gd name="T58" fmla="*/ 55 w 77"/>
                  <a:gd name="T59" fmla="*/ 97 h 139"/>
                  <a:gd name="T60" fmla="*/ 45 w 77"/>
                  <a:gd name="T61" fmla="*/ 87 h 139"/>
                  <a:gd name="T62" fmla="*/ 45 w 77"/>
                  <a:gd name="T63" fmla="*/ 102 h 139"/>
                  <a:gd name="T64" fmla="*/ 44 w 77"/>
                  <a:gd name="T65" fmla="*/ 136 h 139"/>
                  <a:gd name="T66" fmla="*/ 41 w 77"/>
                  <a:gd name="T67" fmla="*/ 139 h 139"/>
                  <a:gd name="T68" fmla="*/ 38 w 77"/>
                  <a:gd name="T69" fmla="*/ 137 h 139"/>
                  <a:gd name="T70" fmla="*/ 37 w 77"/>
                  <a:gd name="T71" fmla="*/ 103 h 139"/>
                  <a:gd name="T72" fmla="*/ 37 w 77"/>
                  <a:gd name="T73" fmla="*/ 86 h 139"/>
                  <a:gd name="T74" fmla="*/ 28 w 77"/>
                  <a:gd name="T75" fmla="*/ 92 h 139"/>
                  <a:gd name="T76" fmla="*/ 19 w 77"/>
                  <a:gd name="T77" fmla="*/ 109 h 139"/>
                  <a:gd name="T78" fmla="*/ 12 w 77"/>
                  <a:gd name="T79" fmla="*/ 121 h 139"/>
                  <a:gd name="T80" fmla="*/ 8 w 77"/>
                  <a:gd name="T81" fmla="*/ 122 h 139"/>
                  <a:gd name="T82" fmla="*/ 7 w 77"/>
                  <a:gd name="T83" fmla="*/ 120 h 139"/>
                  <a:gd name="T84" fmla="*/ 8 w 77"/>
                  <a:gd name="T85" fmla="*/ 117 h 139"/>
                  <a:gd name="T86" fmla="*/ 11 w 77"/>
                  <a:gd name="T87" fmla="*/ 106 h 139"/>
                  <a:gd name="T88" fmla="*/ 22 w 77"/>
                  <a:gd name="T89" fmla="*/ 86 h 139"/>
                  <a:gd name="T90" fmla="*/ 37 w 77"/>
                  <a:gd name="T91" fmla="*/ 76 h 139"/>
                  <a:gd name="T92" fmla="*/ 37 w 77"/>
                  <a:gd name="T93" fmla="*/ 68 h 139"/>
                  <a:gd name="T94" fmla="*/ 37 w 77"/>
                  <a:gd name="T95" fmla="*/ 63 h 139"/>
                  <a:gd name="T96" fmla="*/ 24 w 77"/>
                  <a:gd name="T97" fmla="*/ 69 h 139"/>
                  <a:gd name="T98" fmla="*/ 16 w 77"/>
                  <a:gd name="T99" fmla="*/ 77 h 139"/>
                  <a:gd name="T100" fmla="*/ 9 w 77"/>
                  <a:gd name="T101" fmla="*/ 85 h 139"/>
                  <a:gd name="T102" fmla="*/ 6 w 77"/>
                  <a:gd name="T103" fmla="*/ 86 h 139"/>
                  <a:gd name="T104" fmla="*/ 5 w 77"/>
                  <a:gd name="T105" fmla="*/ 82 h 139"/>
                  <a:gd name="T106" fmla="*/ 22 w 77"/>
                  <a:gd name="T107" fmla="*/ 60 h 139"/>
                  <a:gd name="T108" fmla="*/ 37 w 77"/>
                  <a:gd name="T109" fmla="*/ 54 h 139"/>
                  <a:gd name="T110" fmla="*/ 37 w 77"/>
                  <a:gd name="T111" fmla="*/ 47 h 139"/>
                  <a:gd name="T112" fmla="*/ 3 w 77"/>
                  <a:gd name="T113" fmla="*/ 45 h 139"/>
                  <a:gd name="T114" fmla="*/ 0 w 77"/>
                  <a:gd name="T115" fmla="*/ 40 h 139"/>
                  <a:gd name="T116" fmla="*/ 5 w 77"/>
                  <a:gd name="T117" fmla="*/ 38 h 139"/>
                  <a:gd name="T118" fmla="*/ 37 w 77"/>
                  <a:gd name="T119" fmla="*/ 39 h 139"/>
                  <a:gd name="T120" fmla="*/ 37 w 77"/>
                  <a:gd name="T121" fmla="*/ 39 h 139"/>
                  <a:gd name="T122" fmla="*/ 33 w 77"/>
                  <a:gd name="T123" fmla="*/ 28 h 139"/>
                  <a:gd name="T124" fmla="*/ 12 w 77"/>
                  <a:gd name="T125" fmla="*/ 25 h 1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77" h="139">
                    <a:moveTo>
                      <a:pt x="12" y="25"/>
                    </a:moveTo>
                    <a:cubicBezTo>
                      <a:pt x="10" y="25"/>
                      <a:pt x="9" y="24"/>
                      <a:pt x="9" y="21"/>
                    </a:cubicBezTo>
                    <a:cubicBezTo>
                      <a:pt x="9" y="18"/>
                      <a:pt x="10" y="17"/>
                      <a:pt x="12" y="17"/>
                    </a:cubicBezTo>
                    <a:cubicBezTo>
                      <a:pt x="24" y="17"/>
                      <a:pt x="33" y="18"/>
                      <a:pt x="39" y="21"/>
                    </a:cubicBezTo>
                    <a:cubicBezTo>
                      <a:pt x="45" y="24"/>
                      <a:pt x="47" y="28"/>
                      <a:pt x="46" y="36"/>
                    </a:cubicBezTo>
                    <a:cubicBezTo>
                      <a:pt x="46" y="37"/>
                      <a:pt x="46" y="38"/>
                      <a:pt x="46" y="39"/>
                    </a:cubicBezTo>
                    <a:cubicBezTo>
                      <a:pt x="53" y="38"/>
                      <a:pt x="58" y="35"/>
                      <a:pt x="61" y="33"/>
                    </a:cubicBezTo>
                    <a:cubicBezTo>
                      <a:pt x="65" y="27"/>
                      <a:pt x="64" y="22"/>
                      <a:pt x="57" y="16"/>
                    </a:cubicBezTo>
                    <a:cubicBezTo>
                      <a:pt x="52" y="12"/>
                      <a:pt x="44" y="9"/>
                      <a:pt x="35" y="9"/>
                    </a:cubicBezTo>
                    <a:cubicBezTo>
                      <a:pt x="30" y="8"/>
                      <a:pt x="28" y="6"/>
                      <a:pt x="27" y="3"/>
                    </a:cubicBezTo>
                    <a:cubicBezTo>
                      <a:pt x="27" y="1"/>
                      <a:pt x="29" y="0"/>
                      <a:pt x="32" y="0"/>
                    </a:cubicBezTo>
                    <a:cubicBezTo>
                      <a:pt x="44" y="0"/>
                      <a:pt x="53" y="3"/>
                      <a:pt x="61" y="9"/>
                    </a:cubicBezTo>
                    <a:cubicBezTo>
                      <a:pt x="69" y="16"/>
                      <a:pt x="73" y="23"/>
                      <a:pt x="72" y="30"/>
                    </a:cubicBezTo>
                    <a:cubicBezTo>
                      <a:pt x="68" y="37"/>
                      <a:pt x="60" y="43"/>
                      <a:pt x="48" y="45"/>
                    </a:cubicBezTo>
                    <a:cubicBezTo>
                      <a:pt x="47" y="46"/>
                      <a:pt x="46" y="46"/>
                      <a:pt x="45" y="46"/>
                    </a:cubicBezTo>
                    <a:cubicBezTo>
                      <a:pt x="45" y="48"/>
                      <a:pt x="45" y="51"/>
                      <a:pt x="45" y="54"/>
                    </a:cubicBezTo>
                    <a:cubicBezTo>
                      <a:pt x="49" y="54"/>
                      <a:pt x="54" y="57"/>
                      <a:pt x="59" y="61"/>
                    </a:cubicBezTo>
                    <a:cubicBezTo>
                      <a:pt x="66" y="66"/>
                      <a:pt x="72" y="72"/>
                      <a:pt x="77" y="80"/>
                    </a:cubicBezTo>
                    <a:cubicBezTo>
                      <a:pt x="77" y="82"/>
                      <a:pt x="77" y="83"/>
                      <a:pt x="75" y="84"/>
                    </a:cubicBezTo>
                    <a:cubicBezTo>
                      <a:pt x="74" y="85"/>
                      <a:pt x="72" y="85"/>
                      <a:pt x="71" y="83"/>
                    </a:cubicBezTo>
                    <a:cubicBezTo>
                      <a:pt x="69" y="80"/>
                      <a:pt x="65" y="76"/>
                      <a:pt x="59" y="70"/>
                    </a:cubicBezTo>
                    <a:cubicBezTo>
                      <a:pt x="54" y="66"/>
                      <a:pt x="49" y="64"/>
                      <a:pt x="45" y="63"/>
                    </a:cubicBezTo>
                    <a:cubicBezTo>
                      <a:pt x="45" y="77"/>
                      <a:pt x="45" y="77"/>
                      <a:pt x="45" y="77"/>
                    </a:cubicBezTo>
                    <a:cubicBezTo>
                      <a:pt x="48" y="78"/>
                      <a:pt x="51" y="80"/>
                      <a:pt x="53" y="83"/>
                    </a:cubicBezTo>
                    <a:cubicBezTo>
                      <a:pt x="59" y="88"/>
                      <a:pt x="63" y="94"/>
                      <a:pt x="66" y="102"/>
                    </a:cubicBezTo>
                    <a:cubicBezTo>
                      <a:pt x="71" y="109"/>
                      <a:pt x="73" y="116"/>
                      <a:pt x="72" y="121"/>
                    </a:cubicBezTo>
                    <a:cubicBezTo>
                      <a:pt x="72" y="122"/>
                      <a:pt x="72" y="123"/>
                      <a:pt x="70" y="124"/>
                    </a:cubicBezTo>
                    <a:cubicBezTo>
                      <a:pt x="69" y="124"/>
                      <a:pt x="68" y="124"/>
                      <a:pt x="67" y="122"/>
                    </a:cubicBezTo>
                    <a:cubicBezTo>
                      <a:pt x="67" y="121"/>
                      <a:pt x="66" y="118"/>
                      <a:pt x="64" y="115"/>
                    </a:cubicBezTo>
                    <a:cubicBezTo>
                      <a:pt x="60" y="107"/>
                      <a:pt x="57" y="102"/>
                      <a:pt x="55" y="97"/>
                    </a:cubicBezTo>
                    <a:cubicBezTo>
                      <a:pt x="51" y="91"/>
                      <a:pt x="48" y="88"/>
                      <a:pt x="45" y="87"/>
                    </a:cubicBezTo>
                    <a:cubicBezTo>
                      <a:pt x="45" y="102"/>
                      <a:pt x="45" y="102"/>
                      <a:pt x="45" y="102"/>
                    </a:cubicBezTo>
                    <a:cubicBezTo>
                      <a:pt x="45" y="117"/>
                      <a:pt x="45" y="128"/>
                      <a:pt x="44" y="136"/>
                    </a:cubicBezTo>
                    <a:cubicBezTo>
                      <a:pt x="43" y="137"/>
                      <a:pt x="42" y="138"/>
                      <a:pt x="41" y="139"/>
                    </a:cubicBezTo>
                    <a:cubicBezTo>
                      <a:pt x="40" y="139"/>
                      <a:pt x="39" y="139"/>
                      <a:pt x="38" y="137"/>
                    </a:cubicBezTo>
                    <a:cubicBezTo>
                      <a:pt x="37" y="135"/>
                      <a:pt x="37" y="123"/>
                      <a:pt x="37" y="103"/>
                    </a:cubicBezTo>
                    <a:cubicBezTo>
                      <a:pt x="37" y="97"/>
                      <a:pt x="37" y="92"/>
                      <a:pt x="37" y="86"/>
                    </a:cubicBezTo>
                    <a:cubicBezTo>
                      <a:pt x="34" y="87"/>
                      <a:pt x="31" y="89"/>
                      <a:pt x="28" y="92"/>
                    </a:cubicBezTo>
                    <a:cubicBezTo>
                      <a:pt x="24" y="98"/>
                      <a:pt x="21" y="103"/>
                      <a:pt x="19" y="109"/>
                    </a:cubicBezTo>
                    <a:cubicBezTo>
                      <a:pt x="17" y="113"/>
                      <a:pt x="15" y="117"/>
                      <a:pt x="12" y="121"/>
                    </a:cubicBezTo>
                    <a:cubicBezTo>
                      <a:pt x="11" y="122"/>
                      <a:pt x="9" y="122"/>
                      <a:pt x="8" y="122"/>
                    </a:cubicBezTo>
                    <a:cubicBezTo>
                      <a:pt x="7" y="122"/>
                      <a:pt x="7" y="121"/>
                      <a:pt x="7" y="120"/>
                    </a:cubicBezTo>
                    <a:cubicBezTo>
                      <a:pt x="7" y="119"/>
                      <a:pt x="7" y="118"/>
                      <a:pt x="8" y="117"/>
                    </a:cubicBezTo>
                    <a:cubicBezTo>
                      <a:pt x="9" y="112"/>
                      <a:pt x="10" y="108"/>
                      <a:pt x="11" y="106"/>
                    </a:cubicBezTo>
                    <a:cubicBezTo>
                      <a:pt x="13" y="101"/>
                      <a:pt x="17" y="94"/>
                      <a:pt x="22" y="86"/>
                    </a:cubicBezTo>
                    <a:cubicBezTo>
                      <a:pt x="27" y="80"/>
                      <a:pt x="32" y="77"/>
                      <a:pt x="37" y="76"/>
                    </a:cubicBezTo>
                    <a:cubicBezTo>
                      <a:pt x="37" y="68"/>
                      <a:pt x="37" y="68"/>
                      <a:pt x="37" y="68"/>
                    </a:cubicBezTo>
                    <a:cubicBezTo>
                      <a:pt x="37" y="63"/>
                      <a:pt x="37" y="63"/>
                      <a:pt x="37" y="63"/>
                    </a:cubicBezTo>
                    <a:cubicBezTo>
                      <a:pt x="33" y="64"/>
                      <a:pt x="29" y="66"/>
                      <a:pt x="24" y="69"/>
                    </a:cubicBezTo>
                    <a:cubicBezTo>
                      <a:pt x="23" y="70"/>
                      <a:pt x="20" y="72"/>
                      <a:pt x="16" y="77"/>
                    </a:cubicBezTo>
                    <a:cubicBezTo>
                      <a:pt x="13" y="81"/>
                      <a:pt x="11" y="83"/>
                      <a:pt x="9" y="85"/>
                    </a:cubicBezTo>
                    <a:cubicBezTo>
                      <a:pt x="8" y="86"/>
                      <a:pt x="7" y="87"/>
                      <a:pt x="6" y="86"/>
                    </a:cubicBezTo>
                    <a:cubicBezTo>
                      <a:pt x="5" y="86"/>
                      <a:pt x="5" y="84"/>
                      <a:pt x="5" y="82"/>
                    </a:cubicBezTo>
                    <a:cubicBezTo>
                      <a:pt x="10" y="73"/>
                      <a:pt x="15" y="65"/>
                      <a:pt x="22" y="60"/>
                    </a:cubicBezTo>
                    <a:cubicBezTo>
                      <a:pt x="27" y="56"/>
                      <a:pt x="32" y="54"/>
                      <a:pt x="37" y="54"/>
                    </a:cubicBezTo>
                    <a:cubicBezTo>
                      <a:pt x="37" y="47"/>
                      <a:pt x="37" y="47"/>
                      <a:pt x="37" y="47"/>
                    </a:cubicBezTo>
                    <a:cubicBezTo>
                      <a:pt x="22" y="49"/>
                      <a:pt x="10" y="48"/>
                      <a:pt x="3" y="45"/>
                    </a:cubicBezTo>
                    <a:cubicBezTo>
                      <a:pt x="1" y="44"/>
                      <a:pt x="0" y="42"/>
                      <a:pt x="0" y="40"/>
                    </a:cubicBezTo>
                    <a:cubicBezTo>
                      <a:pt x="1" y="38"/>
                      <a:pt x="3" y="38"/>
                      <a:pt x="5" y="38"/>
                    </a:cubicBezTo>
                    <a:cubicBezTo>
                      <a:pt x="12" y="40"/>
                      <a:pt x="22" y="40"/>
                      <a:pt x="37" y="39"/>
                    </a:cubicBezTo>
                    <a:cubicBezTo>
                      <a:pt x="37" y="39"/>
                      <a:pt x="37" y="39"/>
                      <a:pt x="37" y="39"/>
                    </a:cubicBezTo>
                    <a:cubicBezTo>
                      <a:pt x="38" y="32"/>
                      <a:pt x="36" y="29"/>
                      <a:pt x="33" y="28"/>
                    </a:cubicBezTo>
                    <a:cubicBezTo>
                      <a:pt x="26" y="25"/>
                      <a:pt x="19" y="24"/>
                      <a:pt x="12" y="25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1049942" name="íṣlíḑe"/>
              <p:cNvSpPr/>
              <p:nvPr/>
            </p:nvSpPr>
            <p:spPr bwMode="auto">
              <a:xfrm>
                <a:off x="2273197" y="5255215"/>
                <a:ext cx="163513" cy="263525"/>
              </a:xfrm>
              <a:custGeom>
                <a:avLst/>
                <a:gdLst>
                  <a:gd name="T0" fmla="*/ 47 w 88"/>
                  <a:gd name="T1" fmla="*/ 8 h 143"/>
                  <a:gd name="T2" fmla="*/ 74 w 88"/>
                  <a:gd name="T3" fmla="*/ 14 h 143"/>
                  <a:gd name="T4" fmla="*/ 82 w 88"/>
                  <a:gd name="T5" fmla="*/ 26 h 143"/>
                  <a:gd name="T6" fmla="*/ 79 w 88"/>
                  <a:gd name="T7" fmla="*/ 75 h 143"/>
                  <a:gd name="T8" fmla="*/ 86 w 88"/>
                  <a:gd name="T9" fmla="*/ 136 h 143"/>
                  <a:gd name="T10" fmla="*/ 73 w 88"/>
                  <a:gd name="T11" fmla="*/ 45 h 143"/>
                  <a:gd name="T12" fmla="*/ 67 w 88"/>
                  <a:gd name="T13" fmla="*/ 44 h 143"/>
                  <a:gd name="T14" fmla="*/ 54 w 88"/>
                  <a:gd name="T15" fmla="*/ 58 h 143"/>
                  <a:gd name="T16" fmla="*/ 22 w 88"/>
                  <a:gd name="T17" fmla="*/ 54 h 143"/>
                  <a:gd name="T18" fmla="*/ 15 w 88"/>
                  <a:gd name="T19" fmla="*/ 45 h 143"/>
                  <a:gd name="T20" fmla="*/ 11 w 88"/>
                  <a:gd name="T21" fmla="*/ 91 h 143"/>
                  <a:gd name="T22" fmla="*/ 9 w 88"/>
                  <a:gd name="T23" fmla="*/ 118 h 143"/>
                  <a:gd name="T24" fmla="*/ 2 w 88"/>
                  <a:gd name="T25" fmla="*/ 139 h 143"/>
                  <a:gd name="T26" fmla="*/ 6 w 88"/>
                  <a:gd name="T27" fmla="*/ 80 h 143"/>
                  <a:gd name="T28" fmla="*/ 2 w 88"/>
                  <a:gd name="T29" fmla="*/ 26 h 143"/>
                  <a:gd name="T30" fmla="*/ 32 w 88"/>
                  <a:gd name="T31" fmla="*/ 10 h 143"/>
                  <a:gd name="T32" fmla="*/ 39 w 88"/>
                  <a:gd name="T33" fmla="*/ 0 h 143"/>
                  <a:gd name="T34" fmla="*/ 24 w 88"/>
                  <a:gd name="T35" fmla="*/ 23 h 143"/>
                  <a:gd name="T36" fmla="*/ 66 w 88"/>
                  <a:gd name="T37" fmla="*/ 29 h 143"/>
                  <a:gd name="T38" fmla="*/ 67 w 88"/>
                  <a:gd name="T39" fmla="*/ 37 h 143"/>
                  <a:gd name="T40" fmla="*/ 73 w 88"/>
                  <a:gd name="T41" fmla="*/ 34 h 143"/>
                  <a:gd name="T42" fmla="*/ 66 w 88"/>
                  <a:gd name="T43" fmla="*/ 20 h 143"/>
                  <a:gd name="T44" fmla="*/ 13 w 88"/>
                  <a:gd name="T45" fmla="*/ 21 h 143"/>
                  <a:gd name="T46" fmla="*/ 12 w 88"/>
                  <a:gd name="T47" fmla="*/ 32 h 143"/>
                  <a:gd name="T48" fmla="*/ 17 w 88"/>
                  <a:gd name="T49" fmla="*/ 38 h 143"/>
                  <a:gd name="T50" fmla="*/ 24 w 88"/>
                  <a:gd name="T51" fmla="*/ 23 h 143"/>
                  <a:gd name="T52" fmla="*/ 61 w 88"/>
                  <a:gd name="T53" fmla="*/ 64 h 143"/>
                  <a:gd name="T54" fmla="*/ 66 w 88"/>
                  <a:gd name="T55" fmla="*/ 96 h 143"/>
                  <a:gd name="T56" fmla="*/ 61 w 88"/>
                  <a:gd name="T57" fmla="*/ 136 h 143"/>
                  <a:gd name="T58" fmla="*/ 59 w 88"/>
                  <a:gd name="T59" fmla="*/ 143 h 143"/>
                  <a:gd name="T60" fmla="*/ 46 w 88"/>
                  <a:gd name="T61" fmla="*/ 105 h 143"/>
                  <a:gd name="T62" fmla="*/ 30 w 88"/>
                  <a:gd name="T63" fmla="*/ 140 h 143"/>
                  <a:gd name="T64" fmla="*/ 26 w 88"/>
                  <a:gd name="T65" fmla="*/ 137 h 143"/>
                  <a:gd name="T66" fmla="*/ 32 w 88"/>
                  <a:gd name="T67" fmla="*/ 121 h 143"/>
                  <a:gd name="T68" fmla="*/ 35 w 88"/>
                  <a:gd name="T69" fmla="*/ 105 h 143"/>
                  <a:gd name="T70" fmla="*/ 18 w 88"/>
                  <a:gd name="T71" fmla="*/ 75 h 143"/>
                  <a:gd name="T72" fmla="*/ 24 w 88"/>
                  <a:gd name="T73" fmla="*/ 35 h 143"/>
                  <a:gd name="T74" fmla="*/ 39 w 88"/>
                  <a:gd name="T75" fmla="*/ 37 h 143"/>
                  <a:gd name="T76" fmla="*/ 34 w 88"/>
                  <a:gd name="T77" fmla="*/ 29 h 143"/>
                  <a:gd name="T78" fmla="*/ 24 w 88"/>
                  <a:gd name="T79" fmla="*/ 35 h 143"/>
                  <a:gd name="T80" fmla="*/ 62 w 88"/>
                  <a:gd name="T81" fmla="*/ 84 h 143"/>
                  <a:gd name="T82" fmla="*/ 43 w 88"/>
                  <a:gd name="T83" fmla="*/ 81 h 143"/>
                  <a:gd name="T84" fmla="*/ 25 w 88"/>
                  <a:gd name="T85" fmla="*/ 87 h 143"/>
                  <a:gd name="T86" fmla="*/ 26 w 88"/>
                  <a:gd name="T87" fmla="*/ 48 h 143"/>
                  <a:gd name="T88" fmla="*/ 38 w 88"/>
                  <a:gd name="T89" fmla="*/ 52 h 143"/>
                  <a:gd name="T90" fmla="*/ 25 w 88"/>
                  <a:gd name="T91" fmla="*/ 44 h 143"/>
                  <a:gd name="T92" fmla="*/ 32 w 88"/>
                  <a:gd name="T93" fmla="*/ 69 h 143"/>
                  <a:gd name="T94" fmla="*/ 41 w 88"/>
                  <a:gd name="T95" fmla="*/ 75 h 143"/>
                  <a:gd name="T96" fmla="*/ 57 w 88"/>
                  <a:gd name="T97" fmla="*/ 70 h 143"/>
                  <a:gd name="T98" fmla="*/ 56 w 88"/>
                  <a:gd name="T99" fmla="*/ 98 h 143"/>
                  <a:gd name="T100" fmla="*/ 54 w 88"/>
                  <a:gd name="T101" fmla="*/ 93 h 143"/>
                  <a:gd name="T102" fmla="*/ 36 w 88"/>
                  <a:gd name="T103" fmla="*/ 93 h 143"/>
                  <a:gd name="T104" fmla="*/ 32 w 88"/>
                  <a:gd name="T105" fmla="*/ 98 h 143"/>
                  <a:gd name="T106" fmla="*/ 56 w 88"/>
                  <a:gd name="T107" fmla="*/ 29 h 143"/>
                  <a:gd name="T108" fmla="*/ 46 w 88"/>
                  <a:gd name="T109" fmla="*/ 29 h 143"/>
                  <a:gd name="T110" fmla="*/ 60 w 88"/>
                  <a:gd name="T111" fmla="*/ 37 h 143"/>
                  <a:gd name="T112" fmla="*/ 56 w 88"/>
                  <a:gd name="T113" fmla="*/ 29 h 143"/>
                  <a:gd name="T114" fmla="*/ 60 w 88"/>
                  <a:gd name="T115" fmla="*/ 43 h 143"/>
                  <a:gd name="T116" fmla="*/ 46 w 88"/>
                  <a:gd name="T117" fmla="*/ 52 h 143"/>
                  <a:gd name="T118" fmla="*/ 59 w 88"/>
                  <a:gd name="T119" fmla="*/ 48 h 1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88" h="143">
                    <a:moveTo>
                      <a:pt x="43" y="2"/>
                    </a:moveTo>
                    <a:cubicBezTo>
                      <a:pt x="45" y="3"/>
                      <a:pt x="47" y="6"/>
                      <a:pt x="47" y="8"/>
                    </a:cubicBezTo>
                    <a:cubicBezTo>
                      <a:pt x="47" y="9"/>
                      <a:pt x="48" y="10"/>
                      <a:pt x="49" y="10"/>
                    </a:cubicBezTo>
                    <a:cubicBezTo>
                      <a:pt x="57" y="10"/>
                      <a:pt x="66" y="12"/>
                      <a:pt x="74" y="14"/>
                    </a:cubicBezTo>
                    <a:cubicBezTo>
                      <a:pt x="78" y="16"/>
                      <a:pt x="81" y="18"/>
                      <a:pt x="81" y="19"/>
                    </a:cubicBezTo>
                    <a:cubicBezTo>
                      <a:pt x="82" y="21"/>
                      <a:pt x="82" y="24"/>
                      <a:pt x="82" y="26"/>
                    </a:cubicBezTo>
                    <a:cubicBezTo>
                      <a:pt x="82" y="27"/>
                      <a:pt x="82" y="27"/>
                      <a:pt x="82" y="28"/>
                    </a:cubicBezTo>
                    <a:cubicBezTo>
                      <a:pt x="79" y="39"/>
                      <a:pt x="78" y="55"/>
                      <a:pt x="79" y="75"/>
                    </a:cubicBezTo>
                    <a:cubicBezTo>
                      <a:pt x="80" y="87"/>
                      <a:pt x="83" y="106"/>
                      <a:pt x="87" y="131"/>
                    </a:cubicBezTo>
                    <a:cubicBezTo>
                      <a:pt x="88" y="134"/>
                      <a:pt x="87" y="135"/>
                      <a:pt x="86" y="136"/>
                    </a:cubicBezTo>
                    <a:cubicBezTo>
                      <a:pt x="84" y="137"/>
                      <a:pt x="82" y="136"/>
                      <a:pt x="82" y="133"/>
                    </a:cubicBezTo>
                    <a:cubicBezTo>
                      <a:pt x="74" y="106"/>
                      <a:pt x="71" y="76"/>
                      <a:pt x="73" y="45"/>
                    </a:cubicBezTo>
                    <a:cubicBezTo>
                      <a:pt x="72" y="45"/>
                      <a:pt x="71" y="44"/>
                      <a:pt x="70" y="44"/>
                    </a:cubicBezTo>
                    <a:cubicBezTo>
                      <a:pt x="69" y="44"/>
                      <a:pt x="68" y="44"/>
                      <a:pt x="67" y="44"/>
                    </a:cubicBezTo>
                    <a:cubicBezTo>
                      <a:pt x="67" y="48"/>
                      <a:pt x="66" y="51"/>
                      <a:pt x="64" y="54"/>
                    </a:cubicBezTo>
                    <a:cubicBezTo>
                      <a:pt x="62" y="57"/>
                      <a:pt x="59" y="59"/>
                      <a:pt x="54" y="58"/>
                    </a:cubicBezTo>
                    <a:cubicBezTo>
                      <a:pt x="47" y="58"/>
                      <a:pt x="39" y="58"/>
                      <a:pt x="32" y="58"/>
                    </a:cubicBezTo>
                    <a:cubicBezTo>
                      <a:pt x="28" y="59"/>
                      <a:pt x="25" y="58"/>
                      <a:pt x="22" y="54"/>
                    </a:cubicBezTo>
                    <a:cubicBezTo>
                      <a:pt x="20" y="51"/>
                      <a:pt x="19" y="48"/>
                      <a:pt x="18" y="45"/>
                    </a:cubicBezTo>
                    <a:cubicBezTo>
                      <a:pt x="17" y="45"/>
                      <a:pt x="16" y="45"/>
                      <a:pt x="15" y="45"/>
                    </a:cubicBezTo>
                    <a:cubicBezTo>
                      <a:pt x="14" y="45"/>
                      <a:pt x="13" y="45"/>
                      <a:pt x="13" y="45"/>
                    </a:cubicBezTo>
                    <a:cubicBezTo>
                      <a:pt x="13" y="60"/>
                      <a:pt x="13" y="75"/>
                      <a:pt x="11" y="91"/>
                    </a:cubicBezTo>
                    <a:cubicBezTo>
                      <a:pt x="11" y="95"/>
                      <a:pt x="11" y="102"/>
                      <a:pt x="10" y="111"/>
                    </a:cubicBezTo>
                    <a:cubicBezTo>
                      <a:pt x="10" y="108"/>
                      <a:pt x="10" y="111"/>
                      <a:pt x="9" y="118"/>
                    </a:cubicBezTo>
                    <a:cubicBezTo>
                      <a:pt x="9" y="124"/>
                      <a:pt x="8" y="130"/>
                      <a:pt x="6" y="134"/>
                    </a:cubicBezTo>
                    <a:cubicBezTo>
                      <a:pt x="5" y="138"/>
                      <a:pt x="3" y="139"/>
                      <a:pt x="2" y="139"/>
                    </a:cubicBezTo>
                    <a:cubicBezTo>
                      <a:pt x="0" y="139"/>
                      <a:pt x="0" y="137"/>
                      <a:pt x="0" y="133"/>
                    </a:cubicBezTo>
                    <a:cubicBezTo>
                      <a:pt x="3" y="112"/>
                      <a:pt x="5" y="94"/>
                      <a:pt x="6" y="80"/>
                    </a:cubicBezTo>
                    <a:cubicBezTo>
                      <a:pt x="8" y="64"/>
                      <a:pt x="7" y="51"/>
                      <a:pt x="6" y="38"/>
                    </a:cubicBezTo>
                    <a:cubicBezTo>
                      <a:pt x="5" y="34"/>
                      <a:pt x="4" y="30"/>
                      <a:pt x="2" y="26"/>
                    </a:cubicBezTo>
                    <a:cubicBezTo>
                      <a:pt x="0" y="21"/>
                      <a:pt x="1" y="17"/>
                      <a:pt x="6" y="16"/>
                    </a:cubicBezTo>
                    <a:cubicBezTo>
                      <a:pt x="14" y="12"/>
                      <a:pt x="23" y="11"/>
                      <a:pt x="32" y="10"/>
                    </a:cubicBezTo>
                    <a:cubicBezTo>
                      <a:pt x="36" y="9"/>
                      <a:pt x="38" y="7"/>
                      <a:pt x="38" y="4"/>
                    </a:cubicBezTo>
                    <a:cubicBezTo>
                      <a:pt x="38" y="2"/>
                      <a:pt x="38" y="1"/>
                      <a:pt x="39" y="0"/>
                    </a:cubicBezTo>
                    <a:cubicBezTo>
                      <a:pt x="41" y="0"/>
                      <a:pt x="42" y="0"/>
                      <a:pt x="43" y="2"/>
                    </a:cubicBezTo>
                    <a:close/>
                    <a:moveTo>
                      <a:pt x="24" y="23"/>
                    </a:moveTo>
                    <a:cubicBezTo>
                      <a:pt x="33" y="22"/>
                      <a:pt x="44" y="22"/>
                      <a:pt x="58" y="23"/>
                    </a:cubicBezTo>
                    <a:cubicBezTo>
                      <a:pt x="63" y="24"/>
                      <a:pt x="66" y="26"/>
                      <a:pt x="66" y="29"/>
                    </a:cubicBezTo>
                    <a:cubicBezTo>
                      <a:pt x="66" y="30"/>
                      <a:pt x="66" y="30"/>
                      <a:pt x="67" y="31"/>
                    </a:cubicBezTo>
                    <a:cubicBezTo>
                      <a:pt x="67" y="33"/>
                      <a:pt x="67" y="35"/>
                      <a:pt x="67" y="37"/>
                    </a:cubicBezTo>
                    <a:cubicBezTo>
                      <a:pt x="69" y="38"/>
                      <a:pt x="71" y="38"/>
                      <a:pt x="73" y="38"/>
                    </a:cubicBezTo>
                    <a:cubicBezTo>
                      <a:pt x="73" y="37"/>
                      <a:pt x="73" y="36"/>
                      <a:pt x="73" y="34"/>
                    </a:cubicBezTo>
                    <a:cubicBezTo>
                      <a:pt x="73" y="32"/>
                      <a:pt x="73" y="30"/>
                      <a:pt x="74" y="29"/>
                    </a:cubicBezTo>
                    <a:cubicBezTo>
                      <a:pt x="75" y="25"/>
                      <a:pt x="72" y="21"/>
                      <a:pt x="66" y="20"/>
                    </a:cubicBezTo>
                    <a:cubicBezTo>
                      <a:pt x="58" y="17"/>
                      <a:pt x="50" y="16"/>
                      <a:pt x="40" y="16"/>
                    </a:cubicBezTo>
                    <a:cubicBezTo>
                      <a:pt x="29" y="16"/>
                      <a:pt x="20" y="18"/>
                      <a:pt x="13" y="21"/>
                    </a:cubicBezTo>
                    <a:cubicBezTo>
                      <a:pt x="11" y="22"/>
                      <a:pt x="11" y="24"/>
                      <a:pt x="11" y="26"/>
                    </a:cubicBezTo>
                    <a:cubicBezTo>
                      <a:pt x="11" y="28"/>
                      <a:pt x="12" y="30"/>
                      <a:pt x="12" y="32"/>
                    </a:cubicBezTo>
                    <a:cubicBezTo>
                      <a:pt x="12" y="35"/>
                      <a:pt x="12" y="37"/>
                      <a:pt x="12" y="38"/>
                    </a:cubicBezTo>
                    <a:cubicBezTo>
                      <a:pt x="14" y="38"/>
                      <a:pt x="15" y="38"/>
                      <a:pt x="17" y="38"/>
                    </a:cubicBezTo>
                    <a:cubicBezTo>
                      <a:pt x="17" y="35"/>
                      <a:pt x="17" y="32"/>
                      <a:pt x="17" y="30"/>
                    </a:cubicBezTo>
                    <a:cubicBezTo>
                      <a:pt x="18" y="26"/>
                      <a:pt x="20" y="24"/>
                      <a:pt x="24" y="23"/>
                    </a:cubicBezTo>
                    <a:close/>
                    <a:moveTo>
                      <a:pt x="28" y="64"/>
                    </a:moveTo>
                    <a:cubicBezTo>
                      <a:pt x="39" y="62"/>
                      <a:pt x="50" y="62"/>
                      <a:pt x="61" y="64"/>
                    </a:cubicBezTo>
                    <a:cubicBezTo>
                      <a:pt x="65" y="65"/>
                      <a:pt x="67" y="67"/>
                      <a:pt x="67" y="71"/>
                    </a:cubicBezTo>
                    <a:cubicBezTo>
                      <a:pt x="69" y="79"/>
                      <a:pt x="68" y="88"/>
                      <a:pt x="66" y="96"/>
                    </a:cubicBezTo>
                    <a:cubicBezTo>
                      <a:pt x="65" y="102"/>
                      <a:pt x="61" y="105"/>
                      <a:pt x="54" y="105"/>
                    </a:cubicBezTo>
                    <a:cubicBezTo>
                      <a:pt x="55" y="115"/>
                      <a:pt x="57" y="125"/>
                      <a:pt x="61" y="136"/>
                    </a:cubicBezTo>
                    <a:cubicBezTo>
                      <a:pt x="63" y="138"/>
                      <a:pt x="63" y="140"/>
                      <a:pt x="61" y="142"/>
                    </a:cubicBezTo>
                    <a:cubicBezTo>
                      <a:pt x="60" y="142"/>
                      <a:pt x="59" y="143"/>
                      <a:pt x="59" y="143"/>
                    </a:cubicBezTo>
                    <a:cubicBezTo>
                      <a:pt x="58" y="143"/>
                      <a:pt x="57" y="142"/>
                      <a:pt x="57" y="141"/>
                    </a:cubicBezTo>
                    <a:cubicBezTo>
                      <a:pt x="52" y="131"/>
                      <a:pt x="48" y="120"/>
                      <a:pt x="46" y="105"/>
                    </a:cubicBezTo>
                    <a:cubicBezTo>
                      <a:pt x="41" y="105"/>
                      <a:pt x="41" y="105"/>
                      <a:pt x="41" y="105"/>
                    </a:cubicBezTo>
                    <a:cubicBezTo>
                      <a:pt x="40" y="120"/>
                      <a:pt x="37" y="131"/>
                      <a:pt x="30" y="140"/>
                    </a:cubicBezTo>
                    <a:cubicBezTo>
                      <a:pt x="29" y="141"/>
                      <a:pt x="27" y="142"/>
                      <a:pt x="26" y="142"/>
                    </a:cubicBezTo>
                    <a:cubicBezTo>
                      <a:pt x="25" y="141"/>
                      <a:pt x="25" y="139"/>
                      <a:pt x="26" y="137"/>
                    </a:cubicBezTo>
                    <a:cubicBezTo>
                      <a:pt x="26" y="137"/>
                      <a:pt x="26" y="135"/>
                      <a:pt x="28" y="132"/>
                    </a:cubicBezTo>
                    <a:cubicBezTo>
                      <a:pt x="30" y="127"/>
                      <a:pt x="32" y="123"/>
                      <a:pt x="32" y="121"/>
                    </a:cubicBezTo>
                    <a:cubicBezTo>
                      <a:pt x="33" y="118"/>
                      <a:pt x="34" y="113"/>
                      <a:pt x="35" y="107"/>
                    </a:cubicBezTo>
                    <a:cubicBezTo>
                      <a:pt x="35" y="106"/>
                      <a:pt x="35" y="106"/>
                      <a:pt x="35" y="105"/>
                    </a:cubicBezTo>
                    <a:cubicBezTo>
                      <a:pt x="29" y="105"/>
                      <a:pt x="25" y="103"/>
                      <a:pt x="22" y="98"/>
                    </a:cubicBezTo>
                    <a:cubicBezTo>
                      <a:pt x="19" y="93"/>
                      <a:pt x="17" y="85"/>
                      <a:pt x="18" y="75"/>
                    </a:cubicBezTo>
                    <a:cubicBezTo>
                      <a:pt x="19" y="68"/>
                      <a:pt x="22" y="65"/>
                      <a:pt x="28" y="64"/>
                    </a:cubicBezTo>
                    <a:close/>
                    <a:moveTo>
                      <a:pt x="24" y="35"/>
                    </a:moveTo>
                    <a:cubicBezTo>
                      <a:pt x="24" y="36"/>
                      <a:pt x="24" y="36"/>
                      <a:pt x="24" y="37"/>
                    </a:cubicBezTo>
                    <a:cubicBezTo>
                      <a:pt x="29" y="37"/>
                      <a:pt x="34" y="37"/>
                      <a:pt x="39" y="37"/>
                    </a:cubicBezTo>
                    <a:cubicBezTo>
                      <a:pt x="39" y="34"/>
                      <a:pt x="38" y="31"/>
                      <a:pt x="38" y="29"/>
                    </a:cubicBezTo>
                    <a:cubicBezTo>
                      <a:pt x="37" y="29"/>
                      <a:pt x="36" y="29"/>
                      <a:pt x="34" y="29"/>
                    </a:cubicBezTo>
                    <a:cubicBezTo>
                      <a:pt x="31" y="29"/>
                      <a:pt x="30" y="29"/>
                      <a:pt x="28" y="29"/>
                    </a:cubicBezTo>
                    <a:cubicBezTo>
                      <a:pt x="25" y="31"/>
                      <a:pt x="24" y="32"/>
                      <a:pt x="24" y="35"/>
                    </a:cubicBezTo>
                    <a:close/>
                    <a:moveTo>
                      <a:pt x="61" y="87"/>
                    </a:moveTo>
                    <a:cubicBezTo>
                      <a:pt x="61" y="86"/>
                      <a:pt x="62" y="85"/>
                      <a:pt x="62" y="84"/>
                    </a:cubicBezTo>
                    <a:cubicBezTo>
                      <a:pt x="62" y="83"/>
                      <a:pt x="62" y="82"/>
                      <a:pt x="62" y="82"/>
                    </a:cubicBezTo>
                    <a:cubicBezTo>
                      <a:pt x="56" y="81"/>
                      <a:pt x="50" y="80"/>
                      <a:pt x="43" y="81"/>
                    </a:cubicBezTo>
                    <a:cubicBezTo>
                      <a:pt x="37" y="81"/>
                      <a:pt x="31" y="82"/>
                      <a:pt x="24" y="83"/>
                    </a:cubicBezTo>
                    <a:cubicBezTo>
                      <a:pt x="25" y="87"/>
                      <a:pt x="25" y="87"/>
                      <a:pt x="25" y="87"/>
                    </a:cubicBezTo>
                    <a:cubicBezTo>
                      <a:pt x="35" y="86"/>
                      <a:pt x="48" y="86"/>
                      <a:pt x="61" y="87"/>
                    </a:cubicBezTo>
                    <a:close/>
                    <a:moveTo>
                      <a:pt x="26" y="48"/>
                    </a:moveTo>
                    <a:cubicBezTo>
                      <a:pt x="28" y="51"/>
                      <a:pt x="30" y="52"/>
                      <a:pt x="35" y="52"/>
                    </a:cubicBezTo>
                    <a:cubicBezTo>
                      <a:pt x="38" y="52"/>
                      <a:pt x="38" y="52"/>
                      <a:pt x="38" y="52"/>
                    </a:cubicBezTo>
                    <a:cubicBezTo>
                      <a:pt x="38" y="49"/>
                      <a:pt x="39" y="46"/>
                      <a:pt x="39" y="44"/>
                    </a:cubicBezTo>
                    <a:cubicBezTo>
                      <a:pt x="34" y="44"/>
                      <a:pt x="30" y="44"/>
                      <a:pt x="25" y="44"/>
                    </a:cubicBezTo>
                    <a:cubicBezTo>
                      <a:pt x="25" y="46"/>
                      <a:pt x="25" y="47"/>
                      <a:pt x="26" y="48"/>
                    </a:cubicBezTo>
                    <a:close/>
                    <a:moveTo>
                      <a:pt x="32" y="69"/>
                    </a:moveTo>
                    <a:cubicBezTo>
                      <a:pt x="28" y="70"/>
                      <a:pt x="25" y="72"/>
                      <a:pt x="25" y="76"/>
                    </a:cubicBezTo>
                    <a:cubicBezTo>
                      <a:pt x="30" y="75"/>
                      <a:pt x="35" y="75"/>
                      <a:pt x="41" y="75"/>
                    </a:cubicBezTo>
                    <a:cubicBezTo>
                      <a:pt x="46" y="74"/>
                      <a:pt x="53" y="74"/>
                      <a:pt x="61" y="75"/>
                    </a:cubicBezTo>
                    <a:cubicBezTo>
                      <a:pt x="61" y="72"/>
                      <a:pt x="59" y="71"/>
                      <a:pt x="57" y="70"/>
                    </a:cubicBezTo>
                    <a:cubicBezTo>
                      <a:pt x="49" y="68"/>
                      <a:pt x="40" y="68"/>
                      <a:pt x="32" y="69"/>
                    </a:cubicBezTo>
                    <a:close/>
                    <a:moveTo>
                      <a:pt x="56" y="98"/>
                    </a:moveTo>
                    <a:cubicBezTo>
                      <a:pt x="59" y="97"/>
                      <a:pt x="60" y="96"/>
                      <a:pt x="61" y="93"/>
                    </a:cubicBezTo>
                    <a:cubicBezTo>
                      <a:pt x="60" y="93"/>
                      <a:pt x="57" y="93"/>
                      <a:pt x="54" y="93"/>
                    </a:cubicBezTo>
                    <a:cubicBezTo>
                      <a:pt x="48" y="92"/>
                      <a:pt x="44" y="92"/>
                      <a:pt x="41" y="92"/>
                    </a:cubicBezTo>
                    <a:cubicBezTo>
                      <a:pt x="40" y="92"/>
                      <a:pt x="38" y="92"/>
                      <a:pt x="36" y="93"/>
                    </a:cubicBezTo>
                    <a:cubicBezTo>
                      <a:pt x="31" y="93"/>
                      <a:pt x="28" y="94"/>
                      <a:pt x="26" y="94"/>
                    </a:cubicBezTo>
                    <a:cubicBezTo>
                      <a:pt x="27" y="96"/>
                      <a:pt x="29" y="98"/>
                      <a:pt x="32" y="98"/>
                    </a:cubicBezTo>
                    <a:cubicBezTo>
                      <a:pt x="39" y="99"/>
                      <a:pt x="47" y="99"/>
                      <a:pt x="56" y="98"/>
                    </a:cubicBezTo>
                    <a:close/>
                    <a:moveTo>
                      <a:pt x="56" y="29"/>
                    </a:moveTo>
                    <a:cubicBezTo>
                      <a:pt x="55" y="29"/>
                      <a:pt x="53" y="29"/>
                      <a:pt x="51" y="29"/>
                    </a:cubicBezTo>
                    <a:cubicBezTo>
                      <a:pt x="49" y="29"/>
                      <a:pt x="47" y="29"/>
                      <a:pt x="46" y="29"/>
                    </a:cubicBezTo>
                    <a:cubicBezTo>
                      <a:pt x="46" y="31"/>
                      <a:pt x="46" y="34"/>
                      <a:pt x="46" y="37"/>
                    </a:cubicBezTo>
                    <a:cubicBezTo>
                      <a:pt x="50" y="37"/>
                      <a:pt x="55" y="37"/>
                      <a:pt x="60" y="37"/>
                    </a:cubicBezTo>
                    <a:cubicBezTo>
                      <a:pt x="60" y="35"/>
                      <a:pt x="60" y="35"/>
                      <a:pt x="60" y="35"/>
                    </a:cubicBezTo>
                    <a:cubicBezTo>
                      <a:pt x="60" y="32"/>
                      <a:pt x="58" y="30"/>
                      <a:pt x="56" y="29"/>
                    </a:cubicBezTo>
                    <a:close/>
                    <a:moveTo>
                      <a:pt x="59" y="48"/>
                    </a:moveTo>
                    <a:cubicBezTo>
                      <a:pt x="59" y="47"/>
                      <a:pt x="59" y="45"/>
                      <a:pt x="60" y="43"/>
                    </a:cubicBezTo>
                    <a:cubicBezTo>
                      <a:pt x="55" y="43"/>
                      <a:pt x="51" y="43"/>
                      <a:pt x="46" y="43"/>
                    </a:cubicBezTo>
                    <a:cubicBezTo>
                      <a:pt x="46" y="52"/>
                      <a:pt x="46" y="52"/>
                      <a:pt x="46" y="52"/>
                    </a:cubicBezTo>
                    <a:cubicBezTo>
                      <a:pt x="48" y="52"/>
                      <a:pt x="51" y="52"/>
                      <a:pt x="54" y="52"/>
                    </a:cubicBezTo>
                    <a:cubicBezTo>
                      <a:pt x="57" y="51"/>
                      <a:pt x="59" y="49"/>
                      <a:pt x="59" y="48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1049943" name="îSḻide"/>
              <p:cNvSpPr/>
              <p:nvPr/>
            </p:nvSpPr>
            <p:spPr bwMode="auto">
              <a:xfrm>
                <a:off x="2449409" y="5256803"/>
                <a:ext cx="139700" cy="265113"/>
              </a:xfrm>
              <a:custGeom>
                <a:avLst/>
                <a:gdLst>
                  <a:gd name="T0" fmla="*/ 56 w 76"/>
                  <a:gd name="T1" fmla="*/ 3 h 144"/>
                  <a:gd name="T2" fmla="*/ 61 w 76"/>
                  <a:gd name="T3" fmla="*/ 45 h 144"/>
                  <a:gd name="T4" fmla="*/ 50 w 76"/>
                  <a:gd name="T5" fmla="*/ 74 h 144"/>
                  <a:gd name="T6" fmla="*/ 68 w 76"/>
                  <a:gd name="T7" fmla="*/ 65 h 144"/>
                  <a:gd name="T8" fmla="*/ 70 w 76"/>
                  <a:gd name="T9" fmla="*/ 31 h 144"/>
                  <a:gd name="T10" fmla="*/ 74 w 76"/>
                  <a:gd name="T11" fmla="*/ 31 h 144"/>
                  <a:gd name="T12" fmla="*/ 74 w 76"/>
                  <a:gd name="T13" fmla="*/ 64 h 144"/>
                  <a:gd name="T14" fmla="*/ 50 w 76"/>
                  <a:gd name="T15" fmla="*/ 81 h 144"/>
                  <a:gd name="T16" fmla="*/ 69 w 76"/>
                  <a:gd name="T17" fmla="*/ 103 h 144"/>
                  <a:gd name="T18" fmla="*/ 74 w 76"/>
                  <a:gd name="T19" fmla="*/ 140 h 144"/>
                  <a:gd name="T20" fmla="*/ 63 w 76"/>
                  <a:gd name="T21" fmla="*/ 105 h 144"/>
                  <a:gd name="T22" fmla="*/ 52 w 76"/>
                  <a:gd name="T23" fmla="*/ 138 h 144"/>
                  <a:gd name="T24" fmla="*/ 46 w 76"/>
                  <a:gd name="T25" fmla="*/ 139 h 144"/>
                  <a:gd name="T26" fmla="*/ 42 w 76"/>
                  <a:gd name="T27" fmla="*/ 57 h 144"/>
                  <a:gd name="T28" fmla="*/ 35 w 76"/>
                  <a:gd name="T29" fmla="*/ 132 h 144"/>
                  <a:gd name="T30" fmla="*/ 27 w 76"/>
                  <a:gd name="T31" fmla="*/ 136 h 144"/>
                  <a:gd name="T32" fmla="*/ 29 w 76"/>
                  <a:gd name="T33" fmla="*/ 95 h 144"/>
                  <a:gd name="T34" fmla="*/ 5 w 76"/>
                  <a:gd name="T35" fmla="*/ 135 h 144"/>
                  <a:gd name="T36" fmla="*/ 0 w 76"/>
                  <a:gd name="T37" fmla="*/ 135 h 144"/>
                  <a:gd name="T38" fmla="*/ 30 w 76"/>
                  <a:gd name="T39" fmla="*/ 86 h 144"/>
                  <a:gd name="T40" fmla="*/ 26 w 76"/>
                  <a:gd name="T41" fmla="*/ 80 h 144"/>
                  <a:gd name="T42" fmla="*/ 5 w 76"/>
                  <a:gd name="T43" fmla="*/ 66 h 144"/>
                  <a:gd name="T44" fmla="*/ 3 w 76"/>
                  <a:gd name="T45" fmla="*/ 29 h 144"/>
                  <a:gd name="T46" fmla="*/ 9 w 76"/>
                  <a:gd name="T47" fmla="*/ 59 h 144"/>
                  <a:gd name="T48" fmla="*/ 31 w 76"/>
                  <a:gd name="T49" fmla="*/ 74 h 144"/>
                  <a:gd name="T50" fmla="*/ 32 w 76"/>
                  <a:gd name="T51" fmla="*/ 57 h 144"/>
                  <a:gd name="T52" fmla="*/ 16 w 76"/>
                  <a:gd name="T53" fmla="*/ 14 h 144"/>
                  <a:gd name="T54" fmla="*/ 22 w 76"/>
                  <a:gd name="T55" fmla="*/ 19 h 144"/>
                  <a:gd name="T56" fmla="*/ 57 w 76"/>
                  <a:gd name="T57" fmla="*/ 19 h 144"/>
                  <a:gd name="T58" fmla="*/ 50 w 76"/>
                  <a:gd name="T59" fmla="*/ 9 h 144"/>
                  <a:gd name="T60" fmla="*/ 22 w 76"/>
                  <a:gd name="T61" fmla="*/ 19 h 144"/>
                  <a:gd name="T62" fmla="*/ 23 w 76"/>
                  <a:gd name="T63" fmla="*/ 31 h 144"/>
                  <a:gd name="T64" fmla="*/ 57 w 76"/>
                  <a:gd name="T65" fmla="*/ 34 h 144"/>
                  <a:gd name="T66" fmla="*/ 22 w 76"/>
                  <a:gd name="T67" fmla="*/ 27 h 144"/>
                  <a:gd name="T68" fmla="*/ 48 w 76"/>
                  <a:gd name="T69" fmla="*/ 50 h 144"/>
                  <a:gd name="T70" fmla="*/ 57 w 76"/>
                  <a:gd name="T71" fmla="*/ 41 h 144"/>
                  <a:gd name="T72" fmla="*/ 25 w 76"/>
                  <a:gd name="T73" fmla="*/ 44 h 1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76" h="144">
                    <a:moveTo>
                      <a:pt x="27" y="2"/>
                    </a:moveTo>
                    <a:cubicBezTo>
                      <a:pt x="37" y="0"/>
                      <a:pt x="47" y="0"/>
                      <a:pt x="56" y="3"/>
                    </a:cubicBezTo>
                    <a:cubicBezTo>
                      <a:pt x="60" y="3"/>
                      <a:pt x="62" y="7"/>
                      <a:pt x="63" y="15"/>
                    </a:cubicBezTo>
                    <a:cubicBezTo>
                      <a:pt x="65" y="25"/>
                      <a:pt x="64" y="35"/>
                      <a:pt x="61" y="45"/>
                    </a:cubicBezTo>
                    <a:cubicBezTo>
                      <a:pt x="60" y="53"/>
                      <a:pt x="55" y="56"/>
                      <a:pt x="49" y="57"/>
                    </a:cubicBezTo>
                    <a:cubicBezTo>
                      <a:pt x="49" y="62"/>
                      <a:pt x="50" y="68"/>
                      <a:pt x="50" y="74"/>
                    </a:cubicBezTo>
                    <a:cubicBezTo>
                      <a:pt x="53" y="74"/>
                      <a:pt x="56" y="74"/>
                      <a:pt x="58" y="74"/>
                    </a:cubicBezTo>
                    <a:cubicBezTo>
                      <a:pt x="62" y="75"/>
                      <a:pt x="66" y="72"/>
                      <a:pt x="68" y="65"/>
                    </a:cubicBezTo>
                    <a:cubicBezTo>
                      <a:pt x="69" y="62"/>
                      <a:pt x="70" y="53"/>
                      <a:pt x="70" y="39"/>
                    </a:cubicBezTo>
                    <a:cubicBezTo>
                      <a:pt x="70" y="35"/>
                      <a:pt x="70" y="32"/>
                      <a:pt x="70" y="31"/>
                    </a:cubicBezTo>
                    <a:cubicBezTo>
                      <a:pt x="71" y="31"/>
                      <a:pt x="71" y="30"/>
                      <a:pt x="72" y="30"/>
                    </a:cubicBezTo>
                    <a:cubicBezTo>
                      <a:pt x="73" y="30"/>
                      <a:pt x="74" y="30"/>
                      <a:pt x="74" y="31"/>
                    </a:cubicBezTo>
                    <a:cubicBezTo>
                      <a:pt x="75" y="33"/>
                      <a:pt x="76" y="36"/>
                      <a:pt x="76" y="41"/>
                    </a:cubicBezTo>
                    <a:cubicBezTo>
                      <a:pt x="76" y="49"/>
                      <a:pt x="75" y="56"/>
                      <a:pt x="74" y="64"/>
                    </a:cubicBezTo>
                    <a:cubicBezTo>
                      <a:pt x="72" y="75"/>
                      <a:pt x="67" y="81"/>
                      <a:pt x="58" y="81"/>
                    </a:cubicBezTo>
                    <a:cubicBezTo>
                      <a:pt x="50" y="81"/>
                      <a:pt x="50" y="81"/>
                      <a:pt x="50" y="81"/>
                    </a:cubicBezTo>
                    <a:cubicBezTo>
                      <a:pt x="50" y="87"/>
                      <a:pt x="50" y="87"/>
                      <a:pt x="50" y="87"/>
                    </a:cubicBezTo>
                    <a:cubicBezTo>
                      <a:pt x="60" y="87"/>
                      <a:pt x="66" y="92"/>
                      <a:pt x="69" y="103"/>
                    </a:cubicBezTo>
                    <a:cubicBezTo>
                      <a:pt x="72" y="112"/>
                      <a:pt x="74" y="122"/>
                      <a:pt x="76" y="134"/>
                    </a:cubicBezTo>
                    <a:cubicBezTo>
                      <a:pt x="76" y="138"/>
                      <a:pt x="75" y="140"/>
                      <a:pt x="74" y="140"/>
                    </a:cubicBezTo>
                    <a:cubicBezTo>
                      <a:pt x="72" y="141"/>
                      <a:pt x="71" y="139"/>
                      <a:pt x="70" y="136"/>
                    </a:cubicBezTo>
                    <a:cubicBezTo>
                      <a:pt x="68" y="126"/>
                      <a:pt x="66" y="116"/>
                      <a:pt x="63" y="105"/>
                    </a:cubicBezTo>
                    <a:cubicBezTo>
                      <a:pt x="61" y="98"/>
                      <a:pt x="57" y="95"/>
                      <a:pt x="50" y="95"/>
                    </a:cubicBezTo>
                    <a:cubicBezTo>
                      <a:pt x="50" y="109"/>
                      <a:pt x="51" y="123"/>
                      <a:pt x="52" y="138"/>
                    </a:cubicBezTo>
                    <a:cubicBezTo>
                      <a:pt x="52" y="141"/>
                      <a:pt x="51" y="143"/>
                      <a:pt x="49" y="144"/>
                    </a:cubicBezTo>
                    <a:cubicBezTo>
                      <a:pt x="47" y="144"/>
                      <a:pt x="46" y="142"/>
                      <a:pt x="46" y="139"/>
                    </a:cubicBezTo>
                    <a:cubicBezTo>
                      <a:pt x="44" y="134"/>
                      <a:pt x="43" y="118"/>
                      <a:pt x="43" y="92"/>
                    </a:cubicBezTo>
                    <a:cubicBezTo>
                      <a:pt x="43" y="76"/>
                      <a:pt x="43" y="64"/>
                      <a:pt x="42" y="57"/>
                    </a:cubicBezTo>
                    <a:cubicBezTo>
                      <a:pt x="38" y="57"/>
                      <a:pt x="38" y="57"/>
                      <a:pt x="38" y="57"/>
                    </a:cubicBezTo>
                    <a:cubicBezTo>
                      <a:pt x="36" y="88"/>
                      <a:pt x="35" y="113"/>
                      <a:pt x="35" y="132"/>
                    </a:cubicBezTo>
                    <a:cubicBezTo>
                      <a:pt x="35" y="138"/>
                      <a:pt x="33" y="142"/>
                      <a:pt x="31" y="142"/>
                    </a:cubicBezTo>
                    <a:cubicBezTo>
                      <a:pt x="29" y="142"/>
                      <a:pt x="27" y="140"/>
                      <a:pt x="27" y="136"/>
                    </a:cubicBezTo>
                    <a:cubicBezTo>
                      <a:pt x="27" y="136"/>
                      <a:pt x="27" y="134"/>
                      <a:pt x="27" y="132"/>
                    </a:cubicBezTo>
                    <a:cubicBezTo>
                      <a:pt x="28" y="118"/>
                      <a:pt x="29" y="105"/>
                      <a:pt x="29" y="95"/>
                    </a:cubicBezTo>
                    <a:cubicBezTo>
                      <a:pt x="19" y="95"/>
                      <a:pt x="14" y="98"/>
                      <a:pt x="13" y="105"/>
                    </a:cubicBezTo>
                    <a:cubicBezTo>
                      <a:pt x="10" y="114"/>
                      <a:pt x="7" y="124"/>
                      <a:pt x="5" y="135"/>
                    </a:cubicBezTo>
                    <a:cubicBezTo>
                      <a:pt x="4" y="137"/>
                      <a:pt x="3" y="139"/>
                      <a:pt x="2" y="139"/>
                    </a:cubicBezTo>
                    <a:cubicBezTo>
                      <a:pt x="1" y="140"/>
                      <a:pt x="0" y="138"/>
                      <a:pt x="0" y="135"/>
                    </a:cubicBezTo>
                    <a:cubicBezTo>
                      <a:pt x="0" y="125"/>
                      <a:pt x="2" y="115"/>
                      <a:pt x="7" y="104"/>
                    </a:cubicBezTo>
                    <a:cubicBezTo>
                      <a:pt x="11" y="92"/>
                      <a:pt x="18" y="86"/>
                      <a:pt x="30" y="86"/>
                    </a:cubicBezTo>
                    <a:cubicBezTo>
                      <a:pt x="30" y="85"/>
                      <a:pt x="30" y="83"/>
                      <a:pt x="31" y="80"/>
                    </a:cubicBezTo>
                    <a:cubicBezTo>
                      <a:pt x="29" y="81"/>
                      <a:pt x="28" y="81"/>
                      <a:pt x="26" y="80"/>
                    </a:cubicBezTo>
                    <a:cubicBezTo>
                      <a:pt x="24" y="80"/>
                      <a:pt x="23" y="80"/>
                      <a:pt x="22" y="80"/>
                    </a:cubicBezTo>
                    <a:cubicBezTo>
                      <a:pt x="14" y="81"/>
                      <a:pt x="8" y="76"/>
                      <a:pt x="5" y="66"/>
                    </a:cubicBezTo>
                    <a:cubicBezTo>
                      <a:pt x="2" y="59"/>
                      <a:pt x="0" y="49"/>
                      <a:pt x="0" y="37"/>
                    </a:cubicBezTo>
                    <a:cubicBezTo>
                      <a:pt x="0" y="32"/>
                      <a:pt x="1" y="29"/>
                      <a:pt x="3" y="29"/>
                    </a:cubicBezTo>
                    <a:cubicBezTo>
                      <a:pt x="6" y="31"/>
                      <a:pt x="8" y="35"/>
                      <a:pt x="8" y="39"/>
                    </a:cubicBezTo>
                    <a:cubicBezTo>
                      <a:pt x="7" y="45"/>
                      <a:pt x="7" y="52"/>
                      <a:pt x="9" y="59"/>
                    </a:cubicBezTo>
                    <a:cubicBezTo>
                      <a:pt x="10" y="68"/>
                      <a:pt x="16" y="73"/>
                      <a:pt x="24" y="74"/>
                    </a:cubicBezTo>
                    <a:cubicBezTo>
                      <a:pt x="26" y="74"/>
                      <a:pt x="29" y="74"/>
                      <a:pt x="31" y="74"/>
                    </a:cubicBezTo>
                    <a:cubicBezTo>
                      <a:pt x="31" y="72"/>
                      <a:pt x="31" y="69"/>
                      <a:pt x="31" y="65"/>
                    </a:cubicBezTo>
                    <a:cubicBezTo>
                      <a:pt x="31" y="61"/>
                      <a:pt x="32" y="58"/>
                      <a:pt x="32" y="57"/>
                    </a:cubicBezTo>
                    <a:cubicBezTo>
                      <a:pt x="25" y="56"/>
                      <a:pt x="20" y="53"/>
                      <a:pt x="19" y="48"/>
                    </a:cubicBezTo>
                    <a:cubicBezTo>
                      <a:pt x="15" y="36"/>
                      <a:pt x="14" y="25"/>
                      <a:pt x="16" y="14"/>
                    </a:cubicBezTo>
                    <a:cubicBezTo>
                      <a:pt x="17" y="6"/>
                      <a:pt x="21" y="2"/>
                      <a:pt x="27" y="2"/>
                    </a:cubicBezTo>
                    <a:close/>
                    <a:moveTo>
                      <a:pt x="22" y="19"/>
                    </a:moveTo>
                    <a:cubicBezTo>
                      <a:pt x="22" y="20"/>
                      <a:pt x="22" y="20"/>
                      <a:pt x="22" y="20"/>
                    </a:cubicBezTo>
                    <a:cubicBezTo>
                      <a:pt x="30" y="20"/>
                      <a:pt x="42" y="19"/>
                      <a:pt x="57" y="19"/>
                    </a:cubicBezTo>
                    <a:cubicBezTo>
                      <a:pt x="57" y="18"/>
                      <a:pt x="57" y="17"/>
                      <a:pt x="57" y="16"/>
                    </a:cubicBezTo>
                    <a:cubicBezTo>
                      <a:pt x="56" y="13"/>
                      <a:pt x="54" y="10"/>
                      <a:pt x="50" y="9"/>
                    </a:cubicBezTo>
                    <a:cubicBezTo>
                      <a:pt x="44" y="8"/>
                      <a:pt x="37" y="7"/>
                      <a:pt x="31" y="9"/>
                    </a:cubicBezTo>
                    <a:cubicBezTo>
                      <a:pt x="25" y="11"/>
                      <a:pt x="22" y="14"/>
                      <a:pt x="22" y="19"/>
                    </a:cubicBezTo>
                    <a:close/>
                    <a:moveTo>
                      <a:pt x="22" y="27"/>
                    </a:moveTo>
                    <a:cubicBezTo>
                      <a:pt x="22" y="28"/>
                      <a:pt x="22" y="29"/>
                      <a:pt x="23" y="31"/>
                    </a:cubicBezTo>
                    <a:cubicBezTo>
                      <a:pt x="23" y="32"/>
                      <a:pt x="23" y="33"/>
                      <a:pt x="23" y="34"/>
                    </a:cubicBezTo>
                    <a:cubicBezTo>
                      <a:pt x="57" y="34"/>
                      <a:pt x="57" y="34"/>
                      <a:pt x="57" y="34"/>
                    </a:cubicBezTo>
                    <a:cubicBezTo>
                      <a:pt x="57" y="27"/>
                      <a:pt x="57" y="27"/>
                      <a:pt x="57" y="27"/>
                    </a:cubicBezTo>
                    <a:cubicBezTo>
                      <a:pt x="45" y="26"/>
                      <a:pt x="33" y="26"/>
                      <a:pt x="22" y="27"/>
                    </a:cubicBezTo>
                    <a:close/>
                    <a:moveTo>
                      <a:pt x="35" y="50"/>
                    </a:moveTo>
                    <a:cubicBezTo>
                      <a:pt x="48" y="50"/>
                      <a:pt x="48" y="50"/>
                      <a:pt x="48" y="50"/>
                    </a:cubicBezTo>
                    <a:cubicBezTo>
                      <a:pt x="53" y="50"/>
                      <a:pt x="55" y="47"/>
                      <a:pt x="57" y="42"/>
                    </a:cubicBezTo>
                    <a:cubicBezTo>
                      <a:pt x="57" y="41"/>
                      <a:pt x="57" y="41"/>
                      <a:pt x="57" y="41"/>
                    </a:cubicBezTo>
                    <a:cubicBezTo>
                      <a:pt x="43" y="41"/>
                      <a:pt x="32" y="41"/>
                      <a:pt x="24" y="42"/>
                    </a:cubicBezTo>
                    <a:cubicBezTo>
                      <a:pt x="24" y="43"/>
                      <a:pt x="24" y="43"/>
                      <a:pt x="25" y="44"/>
                    </a:cubicBezTo>
                    <a:cubicBezTo>
                      <a:pt x="27" y="48"/>
                      <a:pt x="30" y="50"/>
                      <a:pt x="35" y="5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1049944" name="iṣlîḋè"/>
              <p:cNvSpPr/>
              <p:nvPr/>
            </p:nvSpPr>
            <p:spPr bwMode="auto">
              <a:xfrm>
                <a:off x="2604984" y="5259978"/>
                <a:ext cx="177800" cy="255588"/>
              </a:xfrm>
              <a:custGeom>
                <a:avLst/>
                <a:gdLst>
                  <a:gd name="T0" fmla="*/ 5 w 96"/>
                  <a:gd name="T1" fmla="*/ 37 h 138"/>
                  <a:gd name="T2" fmla="*/ 24 w 96"/>
                  <a:gd name="T3" fmla="*/ 49 h 138"/>
                  <a:gd name="T4" fmla="*/ 7 w 96"/>
                  <a:gd name="T5" fmla="*/ 26 h 138"/>
                  <a:gd name="T6" fmla="*/ 0 w 96"/>
                  <a:gd name="T7" fmla="*/ 22 h 138"/>
                  <a:gd name="T8" fmla="*/ 44 w 96"/>
                  <a:gd name="T9" fmla="*/ 19 h 138"/>
                  <a:gd name="T10" fmla="*/ 40 w 96"/>
                  <a:gd name="T11" fmla="*/ 26 h 138"/>
                  <a:gd name="T12" fmla="*/ 29 w 96"/>
                  <a:gd name="T13" fmla="*/ 49 h 138"/>
                  <a:gd name="T14" fmla="*/ 42 w 96"/>
                  <a:gd name="T15" fmla="*/ 39 h 138"/>
                  <a:gd name="T16" fmla="*/ 36 w 96"/>
                  <a:gd name="T17" fmla="*/ 64 h 138"/>
                  <a:gd name="T18" fmla="*/ 44 w 96"/>
                  <a:gd name="T19" fmla="*/ 70 h 138"/>
                  <a:gd name="T20" fmla="*/ 30 w 96"/>
                  <a:gd name="T21" fmla="*/ 78 h 138"/>
                  <a:gd name="T22" fmla="*/ 48 w 96"/>
                  <a:gd name="T23" fmla="*/ 111 h 138"/>
                  <a:gd name="T24" fmla="*/ 42 w 96"/>
                  <a:gd name="T25" fmla="*/ 124 h 138"/>
                  <a:gd name="T26" fmla="*/ 33 w 96"/>
                  <a:gd name="T27" fmla="*/ 93 h 138"/>
                  <a:gd name="T28" fmla="*/ 30 w 96"/>
                  <a:gd name="T29" fmla="*/ 116 h 138"/>
                  <a:gd name="T30" fmla="*/ 24 w 96"/>
                  <a:gd name="T31" fmla="*/ 133 h 138"/>
                  <a:gd name="T32" fmla="*/ 20 w 96"/>
                  <a:gd name="T33" fmla="*/ 93 h 138"/>
                  <a:gd name="T34" fmla="*/ 11 w 96"/>
                  <a:gd name="T35" fmla="*/ 122 h 138"/>
                  <a:gd name="T36" fmla="*/ 8 w 96"/>
                  <a:gd name="T37" fmla="*/ 102 h 138"/>
                  <a:gd name="T38" fmla="*/ 24 w 96"/>
                  <a:gd name="T39" fmla="*/ 81 h 138"/>
                  <a:gd name="T40" fmla="*/ 3 w 96"/>
                  <a:gd name="T41" fmla="*/ 77 h 138"/>
                  <a:gd name="T42" fmla="*/ 14 w 96"/>
                  <a:gd name="T43" fmla="*/ 70 h 138"/>
                  <a:gd name="T44" fmla="*/ 20 w 96"/>
                  <a:gd name="T45" fmla="*/ 65 h 138"/>
                  <a:gd name="T46" fmla="*/ 2 w 96"/>
                  <a:gd name="T47" fmla="*/ 37 h 138"/>
                  <a:gd name="T48" fmla="*/ 40 w 96"/>
                  <a:gd name="T49" fmla="*/ 3 h 138"/>
                  <a:gd name="T50" fmla="*/ 14 w 96"/>
                  <a:gd name="T51" fmla="*/ 11 h 138"/>
                  <a:gd name="T52" fmla="*/ 5 w 96"/>
                  <a:gd name="T53" fmla="*/ 6 h 138"/>
                  <a:gd name="T54" fmla="*/ 33 w 96"/>
                  <a:gd name="T55" fmla="*/ 26 h 138"/>
                  <a:gd name="T56" fmla="*/ 27 w 96"/>
                  <a:gd name="T57" fmla="*/ 45 h 138"/>
                  <a:gd name="T58" fmla="*/ 54 w 96"/>
                  <a:gd name="T59" fmla="*/ 2 h 138"/>
                  <a:gd name="T60" fmla="*/ 58 w 96"/>
                  <a:gd name="T61" fmla="*/ 10 h 138"/>
                  <a:gd name="T62" fmla="*/ 88 w 96"/>
                  <a:gd name="T63" fmla="*/ 22 h 138"/>
                  <a:gd name="T64" fmla="*/ 74 w 96"/>
                  <a:gd name="T65" fmla="*/ 37 h 138"/>
                  <a:gd name="T66" fmla="*/ 62 w 96"/>
                  <a:gd name="T67" fmla="*/ 66 h 138"/>
                  <a:gd name="T68" fmla="*/ 53 w 96"/>
                  <a:gd name="T69" fmla="*/ 136 h 138"/>
                  <a:gd name="T70" fmla="*/ 48 w 96"/>
                  <a:gd name="T71" fmla="*/ 130 h 138"/>
                  <a:gd name="T72" fmla="*/ 55 w 96"/>
                  <a:gd name="T73" fmla="*/ 48 h 138"/>
                  <a:gd name="T74" fmla="*/ 76 w 96"/>
                  <a:gd name="T75" fmla="*/ 31 h 138"/>
                  <a:gd name="T76" fmla="*/ 65 w 96"/>
                  <a:gd name="T77" fmla="*/ 18 h 138"/>
                  <a:gd name="T78" fmla="*/ 52 w 96"/>
                  <a:gd name="T79" fmla="*/ 13 h 138"/>
                  <a:gd name="T80" fmla="*/ 94 w 96"/>
                  <a:gd name="T81" fmla="*/ 74 h 138"/>
                  <a:gd name="T82" fmla="*/ 76 w 96"/>
                  <a:gd name="T83" fmla="*/ 54 h 138"/>
                  <a:gd name="T84" fmla="*/ 83 w 96"/>
                  <a:gd name="T85" fmla="*/ 119 h 138"/>
                  <a:gd name="T86" fmla="*/ 88 w 96"/>
                  <a:gd name="T87" fmla="*/ 133 h 138"/>
                  <a:gd name="T88" fmla="*/ 70 w 96"/>
                  <a:gd name="T89" fmla="*/ 93 h 138"/>
                  <a:gd name="T90" fmla="*/ 70 w 96"/>
                  <a:gd name="T91" fmla="*/ 42 h 138"/>
                  <a:gd name="T92" fmla="*/ 95 w 96"/>
                  <a:gd name="T93" fmla="*/ 70 h 1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96" h="138">
                    <a:moveTo>
                      <a:pt x="2" y="37"/>
                    </a:moveTo>
                    <a:cubicBezTo>
                      <a:pt x="2" y="36"/>
                      <a:pt x="2" y="35"/>
                      <a:pt x="3" y="35"/>
                    </a:cubicBezTo>
                    <a:cubicBezTo>
                      <a:pt x="4" y="35"/>
                      <a:pt x="5" y="36"/>
                      <a:pt x="5" y="37"/>
                    </a:cubicBezTo>
                    <a:cubicBezTo>
                      <a:pt x="9" y="49"/>
                      <a:pt x="14" y="56"/>
                      <a:pt x="21" y="59"/>
                    </a:cubicBezTo>
                    <a:cubicBezTo>
                      <a:pt x="21" y="59"/>
                      <a:pt x="22" y="60"/>
                      <a:pt x="24" y="60"/>
                    </a:cubicBezTo>
                    <a:cubicBezTo>
                      <a:pt x="24" y="56"/>
                      <a:pt x="24" y="53"/>
                      <a:pt x="24" y="49"/>
                    </a:cubicBezTo>
                    <a:cubicBezTo>
                      <a:pt x="21" y="48"/>
                      <a:pt x="18" y="46"/>
                      <a:pt x="16" y="42"/>
                    </a:cubicBezTo>
                    <a:cubicBezTo>
                      <a:pt x="13" y="38"/>
                      <a:pt x="12" y="33"/>
                      <a:pt x="12" y="26"/>
                    </a:cubicBezTo>
                    <a:cubicBezTo>
                      <a:pt x="9" y="26"/>
                      <a:pt x="8" y="26"/>
                      <a:pt x="7" y="26"/>
                    </a:cubicBezTo>
                    <a:cubicBezTo>
                      <a:pt x="4" y="27"/>
                      <a:pt x="2" y="27"/>
                      <a:pt x="1" y="25"/>
                    </a:cubicBezTo>
                    <a:cubicBezTo>
                      <a:pt x="0" y="24"/>
                      <a:pt x="0" y="23"/>
                      <a:pt x="0" y="22"/>
                    </a:cubicBezTo>
                    <a:cubicBezTo>
                      <a:pt x="0" y="22"/>
                      <a:pt x="0" y="22"/>
                      <a:pt x="0" y="22"/>
                    </a:cubicBezTo>
                    <a:cubicBezTo>
                      <a:pt x="1" y="19"/>
                      <a:pt x="2" y="18"/>
                      <a:pt x="4" y="19"/>
                    </a:cubicBezTo>
                    <a:cubicBezTo>
                      <a:pt x="6" y="19"/>
                      <a:pt x="8" y="19"/>
                      <a:pt x="11" y="19"/>
                    </a:cubicBezTo>
                    <a:cubicBezTo>
                      <a:pt x="44" y="19"/>
                      <a:pt x="44" y="19"/>
                      <a:pt x="44" y="19"/>
                    </a:cubicBezTo>
                    <a:cubicBezTo>
                      <a:pt x="46" y="19"/>
                      <a:pt x="48" y="20"/>
                      <a:pt x="48" y="23"/>
                    </a:cubicBezTo>
                    <a:cubicBezTo>
                      <a:pt x="47" y="25"/>
                      <a:pt x="45" y="26"/>
                      <a:pt x="42" y="26"/>
                    </a:cubicBezTo>
                    <a:cubicBezTo>
                      <a:pt x="42" y="26"/>
                      <a:pt x="41" y="26"/>
                      <a:pt x="40" y="26"/>
                    </a:cubicBezTo>
                    <a:cubicBezTo>
                      <a:pt x="40" y="26"/>
                      <a:pt x="40" y="26"/>
                      <a:pt x="40" y="26"/>
                    </a:cubicBezTo>
                    <a:cubicBezTo>
                      <a:pt x="39" y="34"/>
                      <a:pt x="38" y="39"/>
                      <a:pt x="37" y="42"/>
                    </a:cubicBezTo>
                    <a:cubicBezTo>
                      <a:pt x="34" y="46"/>
                      <a:pt x="32" y="49"/>
                      <a:pt x="29" y="49"/>
                    </a:cubicBezTo>
                    <a:cubicBezTo>
                      <a:pt x="30" y="53"/>
                      <a:pt x="30" y="56"/>
                      <a:pt x="30" y="60"/>
                    </a:cubicBezTo>
                    <a:cubicBezTo>
                      <a:pt x="31" y="60"/>
                      <a:pt x="32" y="59"/>
                      <a:pt x="33" y="58"/>
                    </a:cubicBezTo>
                    <a:cubicBezTo>
                      <a:pt x="39" y="56"/>
                      <a:pt x="42" y="49"/>
                      <a:pt x="42" y="39"/>
                    </a:cubicBezTo>
                    <a:cubicBezTo>
                      <a:pt x="43" y="37"/>
                      <a:pt x="44" y="36"/>
                      <a:pt x="46" y="36"/>
                    </a:cubicBezTo>
                    <a:cubicBezTo>
                      <a:pt x="47" y="36"/>
                      <a:pt x="48" y="37"/>
                      <a:pt x="48" y="39"/>
                    </a:cubicBezTo>
                    <a:cubicBezTo>
                      <a:pt x="49" y="49"/>
                      <a:pt x="45" y="57"/>
                      <a:pt x="36" y="64"/>
                    </a:cubicBezTo>
                    <a:cubicBezTo>
                      <a:pt x="34" y="65"/>
                      <a:pt x="32" y="66"/>
                      <a:pt x="30" y="66"/>
                    </a:cubicBezTo>
                    <a:cubicBezTo>
                      <a:pt x="30" y="70"/>
                      <a:pt x="30" y="70"/>
                      <a:pt x="30" y="70"/>
                    </a:cubicBezTo>
                    <a:cubicBezTo>
                      <a:pt x="44" y="70"/>
                      <a:pt x="44" y="70"/>
                      <a:pt x="44" y="70"/>
                    </a:cubicBezTo>
                    <a:cubicBezTo>
                      <a:pt x="47" y="70"/>
                      <a:pt x="49" y="71"/>
                      <a:pt x="49" y="73"/>
                    </a:cubicBezTo>
                    <a:cubicBezTo>
                      <a:pt x="49" y="76"/>
                      <a:pt x="47" y="77"/>
                      <a:pt x="43" y="77"/>
                    </a:cubicBezTo>
                    <a:cubicBezTo>
                      <a:pt x="37" y="77"/>
                      <a:pt x="33" y="77"/>
                      <a:pt x="30" y="78"/>
                    </a:cubicBezTo>
                    <a:cubicBezTo>
                      <a:pt x="30" y="80"/>
                      <a:pt x="30" y="82"/>
                      <a:pt x="30" y="84"/>
                    </a:cubicBezTo>
                    <a:cubicBezTo>
                      <a:pt x="34" y="84"/>
                      <a:pt x="37" y="87"/>
                      <a:pt x="40" y="91"/>
                    </a:cubicBezTo>
                    <a:cubicBezTo>
                      <a:pt x="44" y="96"/>
                      <a:pt x="46" y="103"/>
                      <a:pt x="48" y="111"/>
                    </a:cubicBezTo>
                    <a:cubicBezTo>
                      <a:pt x="49" y="116"/>
                      <a:pt x="49" y="120"/>
                      <a:pt x="48" y="124"/>
                    </a:cubicBezTo>
                    <a:cubicBezTo>
                      <a:pt x="47" y="125"/>
                      <a:pt x="46" y="125"/>
                      <a:pt x="45" y="125"/>
                    </a:cubicBezTo>
                    <a:cubicBezTo>
                      <a:pt x="44" y="125"/>
                      <a:pt x="43" y="125"/>
                      <a:pt x="42" y="124"/>
                    </a:cubicBezTo>
                    <a:cubicBezTo>
                      <a:pt x="42" y="123"/>
                      <a:pt x="42" y="121"/>
                      <a:pt x="42" y="118"/>
                    </a:cubicBezTo>
                    <a:cubicBezTo>
                      <a:pt x="41" y="116"/>
                      <a:pt x="41" y="114"/>
                      <a:pt x="41" y="113"/>
                    </a:cubicBezTo>
                    <a:cubicBezTo>
                      <a:pt x="40" y="104"/>
                      <a:pt x="37" y="97"/>
                      <a:pt x="33" y="93"/>
                    </a:cubicBezTo>
                    <a:cubicBezTo>
                      <a:pt x="33" y="92"/>
                      <a:pt x="32" y="91"/>
                      <a:pt x="30" y="91"/>
                    </a:cubicBezTo>
                    <a:cubicBezTo>
                      <a:pt x="31" y="97"/>
                      <a:pt x="31" y="101"/>
                      <a:pt x="31" y="105"/>
                    </a:cubicBezTo>
                    <a:cubicBezTo>
                      <a:pt x="31" y="107"/>
                      <a:pt x="31" y="111"/>
                      <a:pt x="30" y="116"/>
                    </a:cubicBezTo>
                    <a:cubicBezTo>
                      <a:pt x="30" y="124"/>
                      <a:pt x="30" y="129"/>
                      <a:pt x="29" y="133"/>
                    </a:cubicBezTo>
                    <a:cubicBezTo>
                      <a:pt x="29" y="136"/>
                      <a:pt x="28" y="137"/>
                      <a:pt x="27" y="137"/>
                    </a:cubicBezTo>
                    <a:cubicBezTo>
                      <a:pt x="26" y="137"/>
                      <a:pt x="25" y="136"/>
                      <a:pt x="24" y="133"/>
                    </a:cubicBezTo>
                    <a:cubicBezTo>
                      <a:pt x="24" y="120"/>
                      <a:pt x="24" y="111"/>
                      <a:pt x="24" y="105"/>
                    </a:cubicBezTo>
                    <a:cubicBezTo>
                      <a:pt x="24" y="100"/>
                      <a:pt x="24" y="95"/>
                      <a:pt x="24" y="90"/>
                    </a:cubicBezTo>
                    <a:cubicBezTo>
                      <a:pt x="22" y="91"/>
                      <a:pt x="21" y="92"/>
                      <a:pt x="20" y="93"/>
                    </a:cubicBezTo>
                    <a:cubicBezTo>
                      <a:pt x="18" y="94"/>
                      <a:pt x="16" y="98"/>
                      <a:pt x="14" y="102"/>
                    </a:cubicBezTo>
                    <a:cubicBezTo>
                      <a:pt x="13" y="104"/>
                      <a:pt x="13" y="104"/>
                      <a:pt x="13" y="104"/>
                    </a:cubicBezTo>
                    <a:cubicBezTo>
                      <a:pt x="12" y="108"/>
                      <a:pt x="11" y="114"/>
                      <a:pt x="11" y="122"/>
                    </a:cubicBezTo>
                    <a:cubicBezTo>
                      <a:pt x="10" y="124"/>
                      <a:pt x="9" y="125"/>
                      <a:pt x="7" y="125"/>
                    </a:cubicBezTo>
                    <a:cubicBezTo>
                      <a:pt x="6" y="125"/>
                      <a:pt x="5" y="124"/>
                      <a:pt x="5" y="122"/>
                    </a:cubicBezTo>
                    <a:cubicBezTo>
                      <a:pt x="6" y="115"/>
                      <a:pt x="7" y="108"/>
                      <a:pt x="8" y="102"/>
                    </a:cubicBezTo>
                    <a:cubicBezTo>
                      <a:pt x="9" y="97"/>
                      <a:pt x="11" y="92"/>
                      <a:pt x="14" y="89"/>
                    </a:cubicBezTo>
                    <a:cubicBezTo>
                      <a:pt x="17" y="86"/>
                      <a:pt x="20" y="84"/>
                      <a:pt x="24" y="84"/>
                    </a:cubicBezTo>
                    <a:cubicBezTo>
                      <a:pt x="24" y="81"/>
                      <a:pt x="24" y="81"/>
                      <a:pt x="24" y="81"/>
                    </a:cubicBezTo>
                    <a:cubicBezTo>
                      <a:pt x="24" y="80"/>
                      <a:pt x="24" y="79"/>
                      <a:pt x="24" y="78"/>
                    </a:cubicBezTo>
                    <a:cubicBezTo>
                      <a:pt x="14" y="78"/>
                      <a:pt x="9" y="78"/>
                      <a:pt x="9" y="78"/>
                    </a:cubicBezTo>
                    <a:cubicBezTo>
                      <a:pt x="6" y="79"/>
                      <a:pt x="4" y="79"/>
                      <a:pt x="3" y="77"/>
                    </a:cubicBezTo>
                    <a:cubicBezTo>
                      <a:pt x="2" y="76"/>
                      <a:pt x="2" y="74"/>
                      <a:pt x="3" y="72"/>
                    </a:cubicBezTo>
                    <a:cubicBezTo>
                      <a:pt x="3" y="70"/>
                      <a:pt x="4" y="70"/>
                      <a:pt x="7" y="70"/>
                    </a:cubicBezTo>
                    <a:cubicBezTo>
                      <a:pt x="8" y="70"/>
                      <a:pt x="10" y="70"/>
                      <a:pt x="14" y="70"/>
                    </a:cubicBezTo>
                    <a:cubicBezTo>
                      <a:pt x="24" y="70"/>
                      <a:pt x="24" y="70"/>
                      <a:pt x="24" y="70"/>
                    </a:cubicBezTo>
                    <a:cubicBezTo>
                      <a:pt x="24" y="66"/>
                      <a:pt x="24" y="66"/>
                      <a:pt x="24" y="66"/>
                    </a:cubicBezTo>
                    <a:cubicBezTo>
                      <a:pt x="22" y="66"/>
                      <a:pt x="21" y="66"/>
                      <a:pt x="20" y="65"/>
                    </a:cubicBezTo>
                    <a:cubicBezTo>
                      <a:pt x="12" y="62"/>
                      <a:pt x="6" y="56"/>
                      <a:pt x="2" y="46"/>
                    </a:cubicBezTo>
                    <a:cubicBezTo>
                      <a:pt x="2" y="46"/>
                      <a:pt x="2" y="43"/>
                      <a:pt x="2" y="40"/>
                    </a:cubicBezTo>
                    <a:cubicBezTo>
                      <a:pt x="2" y="39"/>
                      <a:pt x="2" y="38"/>
                      <a:pt x="2" y="37"/>
                    </a:cubicBezTo>
                    <a:close/>
                    <a:moveTo>
                      <a:pt x="9" y="3"/>
                    </a:moveTo>
                    <a:cubicBezTo>
                      <a:pt x="11" y="3"/>
                      <a:pt x="15" y="3"/>
                      <a:pt x="19" y="3"/>
                    </a:cubicBezTo>
                    <a:cubicBezTo>
                      <a:pt x="40" y="3"/>
                      <a:pt x="40" y="3"/>
                      <a:pt x="40" y="3"/>
                    </a:cubicBezTo>
                    <a:cubicBezTo>
                      <a:pt x="43" y="3"/>
                      <a:pt x="44" y="5"/>
                      <a:pt x="44" y="7"/>
                    </a:cubicBezTo>
                    <a:cubicBezTo>
                      <a:pt x="44" y="9"/>
                      <a:pt x="42" y="10"/>
                      <a:pt x="39" y="10"/>
                    </a:cubicBezTo>
                    <a:cubicBezTo>
                      <a:pt x="34" y="10"/>
                      <a:pt x="25" y="10"/>
                      <a:pt x="14" y="11"/>
                    </a:cubicBezTo>
                    <a:cubicBezTo>
                      <a:pt x="13" y="11"/>
                      <a:pt x="12" y="11"/>
                      <a:pt x="11" y="11"/>
                    </a:cubicBezTo>
                    <a:cubicBezTo>
                      <a:pt x="7" y="11"/>
                      <a:pt x="5" y="11"/>
                      <a:pt x="5" y="9"/>
                    </a:cubicBezTo>
                    <a:cubicBezTo>
                      <a:pt x="5" y="9"/>
                      <a:pt x="4" y="8"/>
                      <a:pt x="5" y="6"/>
                    </a:cubicBezTo>
                    <a:cubicBezTo>
                      <a:pt x="5" y="5"/>
                      <a:pt x="5" y="5"/>
                      <a:pt x="5" y="5"/>
                    </a:cubicBezTo>
                    <a:cubicBezTo>
                      <a:pt x="5" y="3"/>
                      <a:pt x="6" y="3"/>
                      <a:pt x="9" y="3"/>
                    </a:cubicBezTo>
                    <a:close/>
                    <a:moveTo>
                      <a:pt x="33" y="26"/>
                    </a:moveTo>
                    <a:cubicBezTo>
                      <a:pt x="28" y="26"/>
                      <a:pt x="23" y="26"/>
                      <a:pt x="17" y="26"/>
                    </a:cubicBezTo>
                    <a:cubicBezTo>
                      <a:pt x="18" y="32"/>
                      <a:pt x="20" y="38"/>
                      <a:pt x="24" y="42"/>
                    </a:cubicBezTo>
                    <a:cubicBezTo>
                      <a:pt x="25" y="44"/>
                      <a:pt x="26" y="45"/>
                      <a:pt x="27" y="45"/>
                    </a:cubicBezTo>
                    <a:cubicBezTo>
                      <a:pt x="28" y="45"/>
                      <a:pt x="29" y="44"/>
                      <a:pt x="29" y="42"/>
                    </a:cubicBezTo>
                    <a:cubicBezTo>
                      <a:pt x="32" y="38"/>
                      <a:pt x="33" y="33"/>
                      <a:pt x="33" y="26"/>
                    </a:cubicBezTo>
                    <a:close/>
                    <a:moveTo>
                      <a:pt x="54" y="2"/>
                    </a:moveTo>
                    <a:cubicBezTo>
                      <a:pt x="55" y="0"/>
                      <a:pt x="57" y="0"/>
                      <a:pt x="58" y="1"/>
                    </a:cubicBezTo>
                    <a:cubicBezTo>
                      <a:pt x="59" y="2"/>
                      <a:pt x="60" y="4"/>
                      <a:pt x="59" y="6"/>
                    </a:cubicBezTo>
                    <a:cubicBezTo>
                      <a:pt x="57" y="8"/>
                      <a:pt x="57" y="9"/>
                      <a:pt x="58" y="10"/>
                    </a:cubicBezTo>
                    <a:cubicBezTo>
                      <a:pt x="59" y="11"/>
                      <a:pt x="61" y="12"/>
                      <a:pt x="63" y="11"/>
                    </a:cubicBezTo>
                    <a:cubicBezTo>
                      <a:pt x="67" y="9"/>
                      <a:pt x="73" y="9"/>
                      <a:pt x="80" y="11"/>
                    </a:cubicBezTo>
                    <a:cubicBezTo>
                      <a:pt x="84" y="13"/>
                      <a:pt x="87" y="16"/>
                      <a:pt x="88" y="22"/>
                    </a:cubicBezTo>
                    <a:cubicBezTo>
                      <a:pt x="89" y="27"/>
                      <a:pt x="88" y="32"/>
                      <a:pt x="85" y="35"/>
                    </a:cubicBezTo>
                    <a:cubicBezTo>
                      <a:pt x="84" y="38"/>
                      <a:pt x="81" y="39"/>
                      <a:pt x="75" y="37"/>
                    </a:cubicBezTo>
                    <a:cubicBezTo>
                      <a:pt x="75" y="37"/>
                      <a:pt x="74" y="37"/>
                      <a:pt x="74" y="37"/>
                    </a:cubicBezTo>
                    <a:cubicBezTo>
                      <a:pt x="69" y="37"/>
                      <a:pt x="66" y="37"/>
                      <a:pt x="63" y="38"/>
                    </a:cubicBezTo>
                    <a:cubicBezTo>
                      <a:pt x="62" y="38"/>
                      <a:pt x="61" y="40"/>
                      <a:pt x="61" y="43"/>
                    </a:cubicBezTo>
                    <a:cubicBezTo>
                      <a:pt x="62" y="48"/>
                      <a:pt x="62" y="56"/>
                      <a:pt x="62" y="66"/>
                    </a:cubicBezTo>
                    <a:cubicBezTo>
                      <a:pt x="62" y="70"/>
                      <a:pt x="61" y="76"/>
                      <a:pt x="61" y="84"/>
                    </a:cubicBezTo>
                    <a:cubicBezTo>
                      <a:pt x="59" y="99"/>
                      <a:pt x="58" y="110"/>
                      <a:pt x="57" y="116"/>
                    </a:cubicBezTo>
                    <a:cubicBezTo>
                      <a:pt x="57" y="122"/>
                      <a:pt x="55" y="128"/>
                      <a:pt x="53" y="136"/>
                    </a:cubicBezTo>
                    <a:cubicBezTo>
                      <a:pt x="52" y="137"/>
                      <a:pt x="51" y="138"/>
                      <a:pt x="50" y="138"/>
                    </a:cubicBezTo>
                    <a:cubicBezTo>
                      <a:pt x="48" y="138"/>
                      <a:pt x="48" y="137"/>
                      <a:pt x="48" y="136"/>
                    </a:cubicBezTo>
                    <a:cubicBezTo>
                      <a:pt x="48" y="135"/>
                      <a:pt x="48" y="133"/>
                      <a:pt x="48" y="130"/>
                    </a:cubicBezTo>
                    <a:cubicBezTo>
                      <a:pt x="49" y="127"/>
                      <a:pt x="49" y="126"/>
                      <a:pt x="49" y="125"/>
                    </a:cubicBezTo>
                    <a:cubicBezTo>
                      <a:pt x="53" y="104"/>
                      <a:pt x="55" y="85"/>
                      <a:pt x="55" y="68"/>
                    </a:cubicBezTo>
                    <a:cubicBezTo>
                      <a:pt x="56" y="60"/>
                      <a:pt x="56" y="54"/>
                      <a:pt x="55" y="48"/>
                    </a:cubicBezTo>
                    <a:cubicBezTo>
                      <a:pt x="54" y="45"/>
                      <a:pt x="53" y="42"/>
                      <a:pt x="52" y="40"/>
                    </a:cubicBezTo>
                    <a:cubicBezTo>
                      <a:pt x="50" y="38"/>
                      <a:pt x="51" y="36"/>
                      <a:pt x="54" y="34"/>
                    </a:cubicBezTo>
                    <a:cubicBezTo>
                      <a:pt x="58" y="30"/>
                      <a:pt x="66" y="29"/>
                      <a:pt x="76" y="31"/>
                    </a:cubicBezTo>
                    <a:cubicBezTo>
                      <a:pt x="81" y="32"/>
                      <a:pt x="83" y="30"/>
                      <a:pt x="83" y="25"/>
                    </a:cubicBezTo>
                    <a:cubicBezTo>
                      <a:pt x="83" y="21"/>
                      <a:pt x="81" y="18"/>
                      <a:pt x="77" y="18"/>
                    </a:cubicBezTo>
                    <a:cubicBezTo>
                      <a:pt x="70" y="17"/>
                      <a:pt x="66" y="17"/>
                      <a:pt x="65" y="18"/>
                    </a:cubicBezTo>
                    <a:cubicBezTo>
                      <a:pt x="63" y="19"/>
                      <a:pt x="60" y="19"/>
                      <a:pt x="57" y="19"/>
                    </a:cubicBezTo>
                    <a:cubicBezTo>
                      <a:pt x="57" y="18"/>
                      <a:pt x="55" y="17"/>
                      <a:pt x="53" y="15"/>
                    </a:cubicBezTo>
                    <a:cubicBezTo>
                      <a:pt x="53" y="14"/>
                      <a:pt x="52" y="14"/>
                      <a:pt x="52" y="13"/>
                    </a:cubicBezTo>
                    <a:cubicBezTo>
                      <a:pt x="50" y="10"/>
                      <a:pt x="51" y="6"/>
                      <a:pt x="54" y="2"/>
                    </a:cubicBezTo>
                    <a:close/>
                    <a:moveTo>
                      <a:pt x="95" y="70"/>
                    </a:moveTo>
                    <a:cubicBezTo>
                      <a:pt x="96" y="72"/>
                      <a:pt x="95" y="73"/>
                      <a:pt x="94" y="74"/>
                    </a:cubicBezTo>
                    <a:cubicBezTo>
                      <a:pt x="92" y="74"/>
                      <a:pt x="91" y="74"/>
                      <a:pt x="90" y="72"/>
                    </a:cubicBezTo>
                    <a:cubicBezTo>
                      <a:pt x="88" y="67"/>
                      <a:pt x="84" y="62"/>
                      <a:pt x="78" y="56"/>
                    </a:cubicBezTo>
                    <a:cubicBezTo>
                      <a:pt x="77" y="55"/>
                      <a:pt x="76" y="54"/>
                      <a:pt x="76" y="54"/>
                    </a:cubicBezTo>
                    <a:cubicBezTo>
                      <a:pt x="75" y="56"/>
                      <a:pt x="75" y="56"/>
                      <a:pt x="75" y="56"/>
                    </a:cubicBezTo>
                    <a:cubicBezTo>
                      <a:pt x="75" y="61"/>
                      <a:pt x="75" y="73"/>
                      <a:pt x="77" y="93"/>
                    </a:cubicBezTo>
                    <a:cubicBezTo>
                      <a:pt x="78" y="99"/>
                      <a:pt x="80" y="107"/>
                      <a:pt x="83" y="119"/>
                    </a:cubicBezTo>
                    <a:cubicBezTo>
                      <a:pt x="84" y="122"/>
                      <a:pt x="85" y="124"/>
                      <a:pt x="85" y="124"/>
                    </a:cubicBezTo>
                    <a:cubicBezTo>
                      <a:pt x="86" y="126"/>
                      <a:pt x="86" y="128"/>
                      <a:pt x="87" y="131"/>
                    </a:cubicBezTo>
                    <a:cubicBezTo>
                      <a:pt x="88" y="132"/>
                      <a:pt x="88" y="133"/>
                      <a:pt x="88" y="133"/>
                    </a:cubicBezTo>
                    <a:cubicBezTo>
                      <a:pt x="88" y="135"/>
                      <a:pt x="88" y="136"/>
                      <a:pt x="86" y="136"/>
                    </a:cubicBezTo>
                    <a:cubicBezTo>
                      <a:pt x="84" y="136"/>
                      <a:pt x="83" y="135"/>
                      <a:pt x="82" y="133"/>
                    </a:cubicBezTo>
                    <a:cubicBezTo>
                      <a:pt x="77" y="123"/>
                      <a:pt x="73" y="110"/>
                      <a:pt x="70" y="93"/>
                    </a:cubicBezTo>
                    <a:cubicBezTo>
                      <a:pt x="69" y="79"/>
                      <a:pt x="68" y="68"/>
                      <a:pt x="68" y="58"/>
                    </a:cubicBezTo>
                    <a:cubicBezTo>
                      <a:pt x="68" y="51"/>
                      <a:pt x="68" y="46"/>
                      <a:pt x="68" y="44"/>
                    </a:cubicBezTo>
                    <a:cubicBezTo>
                      <a:pt x="68" y="43"/>
                      <a:pt x="69" y="42"/>
                      <a:pt x="70" y="42"/>
                    </a:cubicBezTo>
                    <a:cubicBezTo>
                      <a:pt x="71" y="41"/>
                      <a:pt x="71" y="41"/>
                      <a:pt x="72" y="42"/>
                    </a:cubicBezTo>
                    <a:cubicBezTo>
                      <a:pt x="76" y="45"/>
                      <a:pt x="78" y="48"/>
                      <a:pt x="80" y="49"/>
                    </a:cubicBezTo>
                    <a:cubicBezTo>
                      <a:pt x="86" y="54"/>
                      <a:pt x="91" y="61"/>
                      <a:pt x="95" y="7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1049945" name="íṣ1ïḑe"/>
              <p:cNvSpPr/>
              <p:nvPr/>
            </p:nvSpPr>
            <p:spPr bwMode="auto">
              <a:xfrm>
                <a:off x="1750909" y="4905965"/>
                <a:ext cx="93663" cy="87313"/>
              </a:xfrm>
              <a:custGeom>
                <a:avLst/>
                <a:gdLst>
                  <a:gd name="T0" fmla="*/ 51 w 51"/>
                  <a:gd name="T1" fmla="*/ 17 h 47"/>
                  <a:gd name="T2" fmla="*/ 46 w 51"/>
                  <a:gd name="T3" fmla="*/ 25 h 47"/>
                  <a:gd name="T4" fmla="*/ 26 w 51"/>
                  <a:gd name="T5" fmla="*/ 13 h 47"/>
                  <a:gd name="T6" fmla="*/ 20 w 51"/>
                  <a:gd name="T7" fmla="*/ 9 h 47"/>
                  <a:gd name="T8" fmla="*/ 14 w 51"/>
                  <a:gd name="T9" fmla="*/ 9 h 47"/>
                  <a:gd name="T10" fmla="*/ 10 w 51"/>
                  <a:gd name="T11" fmla="*/ 13 h 47"/>
                  <a:gd name="T12" fmla="*/ 8 w 51"/>
                  <a:gd name="T13" fmla="*/ 19 h 47"/>
                  <a:gd name="T14" fmla="*/ 10 w 51"/>
                  <a:gd name="T15" fmla="*/ 23 h 47"/>
                  <a:gd name="T16" fmla="*/ 17 w 51"/>
                  <a:gd name="T17" fmla="*/ 27 h 47"/>
                  <a:gd name="T18" fmla="*/ 37 w 51"/>
                  <a:gd name="T19" fmla="*/ 40 h 47"/>
                  <a:gd name="T20" fmla="*/ 33 w 51"/>
                  <a:gd name="T21" fmla="*/ 47 h 47"/>
                  <a:gd name="T22" fmla="*/ 13 w 51"/>
                  <a:gd name="T23" fmla="*/ 35 h 47"/>
                  <a:gd name="T24" fmla="*/ 4 w 51"/>
                  <a:gd name="T25" fmla="*/ 29 h 47"/>
                  <a:gd name="T26" fmla="*/ 1 w 51"/>
                  <a:gd name="T27" fmla="*/ 24 h 47"/>
                  <a:gd name="T28" fmla="*/ 0 w 51"/>
                  <a:gd name="T29" fmla="*/ 18 h 47"/>
                  <a:gd name="T30" fmla="*/ 3 w 51"/>
                  <a:gd name="T31" fmla="*/ 10 h 47"/>
                  <a:gd name="T32" fmla="*/ 10 w 51"/>
                  <a:gd name="T33" fmla="*/ 2 h 47"/>
                  <a:gd name="T34" fmla="*/ 15 w 51"/>
                  <a:gd name="T35" fmla="*/ 0 h 47"/>
                  <a:gd name="T36" fmla="*/ 21 w 51"/>
                  <a:gd name="T37" fmla="*/ 0 h 47"/>
                  <a:gd name="T38" fmla="*/ 31 w 51"/>
                  <a:gd name="T39" fmla="*/ 5 h 47"/>
                  <a:gd name="T40" fmla="*/ 51 w 51"/>
                  <a:gd name="T41" fmla="*/ 17 h 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51" h="47">
                    <a:moveTo>
                      <a:pt x="51" y="17"/>
                    </a:moveTo>
                    <a:cubicBezTo>
                      <a:pt x="46" y="25"/>
                      <a:pt x="46" y="25"/>
                      <a:pt x="46" y="25"/>
                    </a:cubicBezTo>
                    <a:cubicBezTo>
                      <a:pt x="26" y="13"/>
                      <a:pt x="26" y="13"/>
                      <a:pt x="26" y="13"/>
                    </a:cubicBezTo>
                    <a:cubicBezTo>
                      <a:pt x="23" y="11"/>
                      <a:pt x="21" y="10"/>
                      <a:pt x="20" y="9"/>
                    </a:cubicBezTo>
                    <a:cubicBezTo>
                      <a:pt x="18" y="9"/>
                      <a:pt x="16" y="9"/>
                      <a:pt x="14" y="9"/>
                    </a:cubicBezTo>
                    <a:cubicBezTo>
                      <a:pt x="13" y="10"/>
                      <a:pt x="11" y="11"/>
                      <a:pt x="10" y="13"/>
                    </a:cubicBezTo>
                    <a:cubicBezTo>
                      <a:pt x="9" y="16"/>
                      <a:pt x="8" y="17"/>
                      <a:pt x="8" y="19"/>
                    </a:cubicBezTo>
                    <a:cubicBezTo>
                      <a:pt x="9" y="21"/>
                      <a:pt x="9" y="22"/>
                      <a:pt x="10" y="23"/>
                    </a:cubicBezTo>
                    <a:cubicBezTo>
                      <a:pt x="12" y="24"/>
                      <a:pt x="14" y="25"/>
                      <a:pt x="17" y="27"/>
                    </a:cubicBezTo>
                    <a:cubicBezTo>
                      <a:pt x="37" y="40"/>
                      <a:pt x="37" y="40"/>
                      <a:pt x="37" y="40"/>
                    </a:cubicBezTo>
                    <a:cubicBezTo>
                      <a:pt x="33" y="47"/>
                      <a:pt x="33" y="47"/>
                      <a:pt x="33" y="47"/>
                    </a:cubicBezTo>
                    <a:cubicBezTo>
                      <a:pt x="13" y="35"/>
                      <a:pt x="13" y="35"/>
                      <a:pt x="13" y="35"/>
                    </a:cubicBezTo>
                    <a:cubicBezTo>
                      <a:pt x="9" y="33"/>
                      <a:pt x="6" y="31"/>
                      <a:pt x="4" y="29"/>
                    </a:cubicBezTo>
                    <a:cubicBezTo>
                      <a:pt x="2" y="28"/>
                      <a:pt x="1" y="26"/>
                      <a:pt x="1" y="24"/>
                    </a:cubicBezTo>
                    <a:cubicBezTo>
                      <a:pt x="0" y="22"/>
                      <a:pt x="0" y="20"/>
                      <a:pt x="0" y="18"/>
                    </a:cubicBezTo>
                    <a:cubicBezTo>
                      <a:pt x="0" y="15"/>
                      <a:pt x="2" y="13"/>
                      <a:pt x="3" y="10"/>
                    </a:cubicBezTo>
                    <a:cubicBezTo>
                      <a:pt x="6" y="6"/>
                      <a:pt x="8" y="4"/>
                      <a:pt x="10" y="2"/>
                    </a:cubicBezTo>
                    <a:cubicBezTo>
                      <a:pt x="11" y="1"/>
                      <a:pt x="13" y="0"/>
                      <a:pt x="15" y="0"/>
                    </a:cubicBezTo>
                    <a:cubicBezTo>
                      <a:pt x="17" y="0"/>
                      <a:pt x="19" y="0"/>
                      <a:pt x="21" y="0"/>
                    </a:cubicBezTo>
                    <a:cubicBezTo>
                      <a:pt x="23" y="1"/>
                      <a:pt x="27" y="3"/>
                      <a:pt x="31" y="5"/>
                    </a:cubicBezTo>
                    <a:lnTo>
                      <a:pt x="51" y="17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1049946" name="íṧḷîde"/>
              <p:cNvSpPr/>
              <p:nvPr/>
            </p:nvSpPr>
            <p:spPr bwMode="auto">
              <a:xfrm>
                <a:off x="1704872" y="4971053"/>
                <a:ext cx="100013" cy="92075"/>
              </a:xfrm>
              <a:custGeom>
                <a:avLst/>
                <a:gdLst>
                  <a:gd name="T0" fmla="*/ 17 w 63"/>
                  <a:gd name="T1" fmla="*/ 0 h 58"/>
                  <a:gd name="T2" fmla="*/ 63 w 63"/>
                  <a:gd name="T3" fmla="*/ 21 h 58"/>
                  <a:gd name="T4" fmla="*/ 59 w 63"/>
                  <a:gd name="T5" fmla="*/ 30 h 58"/>
                  <a:gd name="T6" fmla="*/ 19 w 63"/>
                  <a:gd name="T7" fmla="*/ 35 h 58"/>
                  <a:gd name="T8" fmla="*/ 50 w 63"/>
                  <a:gd name="T9" fmla="*/ 50 h 58"/>
                  <a:gd name="T10" fmla="*/ 46 w 63"/>
                  <a:gd name="T11" fmla="*/ 58 h 58"/>
                  <a:gd name="T12" fmla="*/ 0 w 63"/>
                  <a:gd name="T13" fmla="*/ 37 h 58"/>
                  <a:gd name="T14" fmla="*/ 4 w 63"/>
                  <a:gd name="T15" fmla="*/ 26 h 58"/>
                  <a:gd name="T16" fmla="*/ 43 w 63"/>
                  <a:gd name="T17" fmla="*/ 22 h 58"/>
                  <a:gd name="T18" fmla="*/ 12 w 63"/>
                  <a:gd name="T19" fmla="*/ 8 h 58"/>
                  <a:gd name="T20" fmla="*/ 17 w 63"/>
                  <a:gd name="T21" fmla="*/ 0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63" h="58">
                    <a:moveTo>
                      <a:pt x="17" y="0"/>
                    </a:moveTo>
                    <a:lnTo>
                      <a:pt x="63" y="21"/>
                    </a:lnTo>
                    <a:lnTo>
                      <a:pt x="59" y="30"/>
                    </a:lnTo>
                    <a:lnTo>
                      <a:pt x="19" y="35"/>
                    </a:lnTo>
                    <a:lnTo>
                      <a:pt x="50" y="50"/>
                    </a:lnTo>
                    <a:lnTo>
                      <a:pt x="46" y="58"/>
                    </a:lnTo>
                    <a:lnTo>
                      <a:pt x="0" y="37"/>
                    </a:lnTo>
                    <a:lnTo>
                      <a:pt x="4" y="26"/>
                    </a:lnTo>
                    <a:lnTo>
                      <a:pt x="43" y="22"/>
                    </a:lnTo>
                    <a:lnTo>
                      <a:pt x="12" y="8"/>
                    </a:lnTo>
                    <a:lnTo>
                      <a:pt x="17" y="0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1049947" name="íS1îḍé"/>
              <p:cNvSpPr/>
              <p:nvPr/>
            </p:nvSpPr>
            <p:spPr bwMode="auto">
              <a:xfrm>
                <a:off x="1690584" y="5045665"/>
                <a:ext cx="84138" cy="44450"/>
              </a:xfrm>
              <a:custGeom>
                <a:avLst/>
                <a:gdLst>
                  <a:gd name="T0" fmla="*/ 5 w 53"/>
                  <a:gd name="T1" fmla="*/ 0 h 28"/>
                  <a:gd name="T2" fmla="*/ 53 w 53"/>
                  <a:gd name="T3" fmla="*/ 19 h 28"/>
                  <a:gd name="T4" fmla="*/ 49 w 53"/>
                  <a:gd name="T5" fmla="*/ 28 h 28"/>
                  <a:gd name="T6" fmla="*/ 0 w 53"/>
                  <a:gd name="T7" fmla="*/ 10 h 28"/>
                  <a:gd name="T8" fmla="*/ 5 w 53"/>
                  <a:gd name="T9" fmla="*/ 0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3" h="28">
                    <a:moveTo>
                      <a:pt x="5" y="0"/>
                    </a:moveTo>
                    <a:lnTo>
                      <a:pt x="53" y="19"/>
                    </a:lnTo>
                    <a:lnTo>
                      <a:pt x="49" y="28"/>
                    </a:lnTo>
                    <a:lnTo>
                      <a:pt x="0" y="10"/>
                    </a:lnTo>
                    <a:lnTo>
                      <a:pt x="5" y="0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1049948" name="íṧļïḋè"/>
              <p:cNvSpPr/>
              <p:nvPr/>
            </p:nvSpPr>
            <p:spPr bwMode="auto">
              <a:xfrm>
                <a:off x="1674709" y="5091703"/>
                <a:ext cx="92075" cy="73025"/>
              </a:xfrm>
              <a:custGeom>
                <a:avLst/>
                <a:gdLst>
                  <a:gd name="T0" fmla="*/ 4 w 58"/>
                  <a:gd name="T1" fmla="*/ 3 h 46"/>
                  <a:gd name="T2" fmla="*/ 58 w 58"/>
                  <a:gd name="T3" fmla="*/ 0 h 46"/>
                  <a:gd name="T4" fmla="*/ 55 w 58"/>
                  <a:gd name="T5" fmla="*/ 11 h 46"/>
                  <a:gd name="T6" fmla="*/ 14 w 58"/>
                  <a:gd name="T7" fmla="*/ 13 h 46"/>
                  <a:gd name="T8" fmla="*/ 46 w 58"/>
                  <a:gd name="T9" fmla="*/ 35 h 46"/>
                  <a:gd name="T10" fmla="*/ 44 w 58"/>
                  <a:gd name="T11" fmla="*/ 46 h 46"/>
                  <a:gd name="T12" fmla="*/ 0 w 58"/>
                  <a:gd name="T13" fmla="*/ 14 h 46"/>
                  <a:gd name="T14" fmla="*/ 4 w 58"/>
                  <a:gd name="T15" fmla="*/ 3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58" h="46">
                    <a:moveTo>
                      <a:pt x="4" y="3"/>
                    </a:moveTo>
                    <a:lnTo>
                      <a:pt x="58" y="0"/>
                    </a:lnTo>
                    <a:lnTo>
                      <a:pt x="55" y="11"/>
                    </a:lnTo>
                    <a:lnTo>
                      <a:pt x="14" y="13"/>
                    </a:lnTo>
                    <a:lnTo>
                      <a:pt x="46" y="35"/>
                    </a:lnTo>
                    <a:lnTo>
                      <a:pt x="44" y="46"/>
                    </a:lnTo>
                    <a:lnTo>
                      <a:pt x="0" y="14"/>
                    </a:lnTo>
                    <a:lnTo>
                      <a:pt x="4" y="3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1049949" name="ïṡḷiḋé"/>
              <p:cNvSpPr/>
              <p:nvPr/>
            </p:nvSpPr>
            <p:spPr bwMode="auto">
              <a:xfrm>
                <a:off x="1652484" y="5153615"/>
                <a:ext cx="90488" cy="73025"/>
              </a:xfrm>
              <a:custGeom>
                <a:avLst/>
                <a:gdLst>
                  <a:gd name="T0" fmla="*/ 7 w 57"/>
                  <a:gd name="T1" fmla="*/ 0 h 46"/>
                  <a:gd name="T2" fmla="*/ 57 w 57"/>
                  <a:gd name="T3" fmla="*/ 10 h 46"/>
                  <a:gd name="T4" fmla="*/ 50 w 57"/>
                  <a:gd name="T5" fmla="*/ 46 h 46"/>
                  <a:gd name="T6" fmla="*/ 42 w 57"/>
                  <a:gd name="T7" fmla="*/ 45 h 46"/>
                  <a:gd name="T8" fmla="*/ 47 w 57"/>
                  <a:gd name="T9" fmla="*/ 18 h 46"/>
                  <a:gd name="T10" fmla="*/ 36 w 57"/>
                  <a:gd name="T11" fmla="*/ 16 h 46"/>
                  <a:gd name="T12" fmla="*/ 30 w 57"/>
                  <a:gd name="T13" fmla="*/ 40 h 46"/>
                  <a:gd name="T14" fmla="*/ 22 w 57"/>
                  <a:gd name="T15" fmla="*/ 39 h 46"/>
                  <a:gd name="T16" fmla="*/ 27 w 57"/>
                  <a:gd name="T17" fmla="*/ 14 h 46"/>
                  <a:gd name="T18" fmla="*/ 14 w 57"/>
                  <a:gd name="T19" fmla="*/ 11 h 46"/>
                  <a:gd name="T20" fmla="*/ 8 w 57"/>
                  <a:gd name="T21" fmla="*/ 39 h 46"/>
                  <a:gd name="T22" fmla="*/ 0 w 57"/>
                  <a:gd name="T23" fmla="*/ 38 h 46"/>
                  <a:gd name="T24" fmla="*/ 7 w 57"/>
                  <a:gd name="T25" fmla="*/ 0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57" h="46">
                    <a:moveTo>
                      <a:pt x="7" y="0"/>
                    </a:moveTo>
                    <a:lnTo>
                      <a:pt x="57" y="10"/>
                    </a:lnTo>
                    <a:lnTo>
                      <a:pt x="50" y="46"/>
                    </a:lnTo>
                    <a:lnTo>
                      <a:pt x="42" y="45"/>
                    </a:lnTo>
                    <a:lnTo>
                      <a:pt x="47" y="18"/>
                    </a:lnTo>
                    <a:lnTo>
                      <a:pt x="36" y="16"/>
                    </a:lnTo>
                    <a:lnTo>
                      <a:pt x="30" y="40"/>
                    </a:lnTo>
                    <a:lnTo>
                      <a:pt x="22" y="39"/>
                    </a:lnTo>
                    <a:lnTo>
                      <a:pt x="27" y="14"/>
                    </a:lnTo>
                    <a:lnTo>
                      <a:pt x="14" y="11"/>
                    </a:lnTo>
                    <a:lnTo>
                      <a:pt x="8" y="39"/>
                    </a:lnTo>
                    <a:lnTo>
                      <a:pt x="0" y="38"/>
                    </a:lnTo>
                    <a:lnTo>
                      <a:pt x="7" y="0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1049950" name="ïşļiḋe"/>
              <p:cNvSpPr/>
              <p:nvPr/>
            </p:nvSpPr>
            <p:spPr bwMode="auto">
              <a:xfrm>
                <a:off x="1641372" y="5231403"/>
                <a:ext cx="88900" cy="71438"/>
              </a:xfrm>
              <a:custGeom>
                <a:avLst/>
                <a:gdLst>
                  <a:gd name="T0" fmla="*/ 4 w 48"/>
                  <a:gd name="T1" fmla="*/ 0 h 39"/>
                  <a:gd name="T2" fmla="*/ 48 w 48"/>
                  <a:gd name="T3" fmla="*/ 4 h 39"/>
                  <a:gd name="T4" fmla="*/ 46 w 48"/>
                  <a:gd name="T5" fmla="*/ 23 h 39"/>
                  <a:gd name="T6" fmla="*/ 44 w 48"/>
                  <a:gd name="T7" fmla="*/ 33 h 39"/>
                  <a:gd name="T8" fmla="*/ 39 w 48"/>
                  <a:gd name="T9" fmla="*/ 38 h 39"/>
                  <a:gd name="T10" fmla="*/ 32 w 48"/>
                  <a:gd name="T11" fmla="*/ 39 h 39"/>
                  <a:gd name="T12" fmla="*/ 24 w 48"/>
                  <a:gd name="T13" fmla="*/ 35 h 39"/>
                  <a:gd name="T14" fmla="*/ 21 w 48"/>
                  <a:gd name="T15" fmla="*/ 26 h 39"/>
                  <a:gd name="T16" fmla="*/ 17 w 48"/>
                  <a:gd name="T17" fmla="*/ 30 h 39"/>
                  <a:gd name="T18" fmla="*/ 9 w 48"/>
                  <a:gd name="T19" fmla="*/ 35 h 39"/>
                  <a:gd name="T20" fmla="*/ 0 w 48"/>
                  <a:gd name="T21" fmla="*/ 39 h 39"/>
                  <a:gd name="T22" fmla="*/ 1 w 48"/>
                  <a:gd name="T23" fmla="*/ 29 h 39"/>
                  <a:gd name="T24" fmla="*/ 12 w 48"/>
                  <a:gd name="T25" fmla="*/ 23 h 39"/>
                  <a:gd name="T26" fmla="*/ 18 w 48"/>
                  <a:gd name="T27" fmla="*/ 19 h 39"/>
                  <a:gd name="T28" fmla="*/ 20 w 48"/>
                  <a:gd name="T29" fmla="*/ 17 h 39"/>
                  <a:gd name="T30" fmla="*/ 21 w 48"/>
                  <a:gd name="T31" fmla="*/ 12 h 39"/>
                  <a:gd name="T32" fmla="*/ 22 w 48"/>
                  <a:gd name="T33" fmla="*/ 11 h 39"/>
                  <a:gd name="T34" fmla="*/ 3 w 48"/>
                  <a:gd name="T35" fmla="*/ 9 h 39"/>
                  <a:gd name="T36" fmla="*/ 4 w 48"/>
                  <a:gd name="T37" fmla="*/ 0 h 39"/>
                  <a:gd name="T38" fmla="*/ 29 w 48"/>
                  <a:gd name="T39" fmla="*/ 11 h 39"/>
                  <a:gd name="T40" fmla="*/ 28 w 48"/>
                  <a:gd name="T41" fmla="*/ 18 h 39"/>
                  <a:gd name="T42" fmla="*/ 28 w 48"/>
                  <a:gd name="T43" fmla="*/ 26 h 39"/>
                  <a:gd name="T44" fmla="*/ 29 w 48"/>
                  <a:gd name="T45" fmla="*/ 28 h 39"/>
                  <a:gd name="T46" fmla="*/ 32 w 48"/>
                  <a:gd name="T47" fmla="*/ 30 h 39"/>
                  <a:gd name="T48" fmla="*/ 36 w 48"/>
                  <a:gd name="T49" fmla="*/ 29 h 39"/>
                  <a:gd name="T50" fmla="*/ 38 w 48"/>
                  <a:gd name="T51" fmla="*/ 26 h 39"/>
                  <a:gd name="T52" fmla="*/ 39 w 48"/>
                  <a:gd name="T53" fmla="*/ 19 h 39"/>
                  <a:gd name="T54" fmla="*/ 40 w 48"/>
                  <a:gd name="T55" fmla="*/ 12 h 39"/>
                  <a:gd name="T56" fmla="*/ 29 w 48"/>
                  <a:gd name="T57" fmla="*/ 11 h 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48" h="39">
                    <a:moveTo>
                      <a:pt x="4" y="0"/>
                    </a:moveTo>
                    <a:cubicBezTo>
                      <a:pt x="48" y="4"/>
                      <a:pt x="48" y="4"/>
                      <a:pt x="48" y="4"/>
                    </a:cubicBezTo>
                    <a:cubicBezTo>
                      <a:pt x="46" y="23"/>
                      <a:pt x="46" y="23"/>
                      <a:pt x="46" y="23"/>
                    </a:cubicBezTo>
                    <a:cubicBezTo>
                      <a:pt x="46" y="27"/>
                      <a:pt x="45" y="31"/>
                      <a:pt x="44" y="33"/>
                    </a:cubicBezTo>
                    <a:cubicBezTo>
                      <a:pt x="43" y="35"/>
                      <a:pt x="41" y="36"/>
                      <a:pt x="39" y="38"/>
                    </a:cubicBezTo>
                    <a:cubicBezTo>
                      <a:pt x="37" y="39"/>
                      <a:pt x="35" y="39"/>
                      <a:pt x="32" y="39"/>
                    </a:cubicBezTo>
                    <a:cubicBezTo>
                      <a:pt x="29" y="38"/>
                      <a:pt x="26" y="37"/>
                      <a:pt x="24" y="35"/>
                    </a:cubicBezTo>
                    <a:cubicBezTo>
                      <a:pt x="22" y="33"/>
                      <a:pt x="21" y="30"/>
                      <a:pt x="21" y="26"/>
                    </a:cubicBezTo>
                    <a:cubicBezTo>
                      <a:pt x="20" y="28"/>
                      <a:pt x="18" y="29"/>
                      <a:pt x="17" y="30"/>
                    </a:cubicBezTo>
                    <a:cubicBezTo>
                      <a:pt x="16" y="32"/>
                      <a:pt x="13" y="33"/>
                      <a:pt x="9" y="35"/>
                    </a:cubicBezTo>
                    <a:cubicBezTo>
                      <a:pt x="0" y="39"/>
                      <a:pt x="0" y="39"/>
                      <a:pt x="0" y="39"/>
                    </a:cubicBezTo>
                    <a:cubicBezTo>
                      <a:pt x="1" y="29"/>
                      <a:pt x="1" y="29"/>
                      <a:pt x="1" y="29"/>
                    </a:cubicBezTo>
                    <a:cubicBezTo>
                      <a:pt x="12" y="23"/>
                      <a:pt x="12" y="23"/>
                      <a:pt x="12" y="23"/>
                    </a:cubicBezTo>
                    <a:cubicBezTo>
                      <a:pt x="15" y="21"/>
                      <a:pt x="17" y="20"/>
                      <a:pt x="18" y="19"/>
                    </a:cubicBezTo>
                    <a:cubicBezTo>
                      <a:pt x="19" y="18"/>
                      <a:pt x="20" y="18"/>
                      <a:pt x="20" y="17"/>
                    </a:cubicBezTo>
                    <a:cubicBezTo>
                      <a:pt x="21" y="16"/>
                      <a:pt x="21" y="14"/>
                      <a:pt x="21" y="12"/>
                    </a:cubicBezTo>
                    <a:cubicBezTo>
                      <a:pt x="22" y="11"/>
                      <a:pt x="22" y="11"/>
                      <a:pt x="22" y="11"/>
                    </a:cubicBezTo>
                    <a:cubicBezTo>
                      <a:pt x="3" y="9"/>
                      <a:pt x="3" y="9"/>
                      <a:pt x="3" y="9"/>
                    </a:cubicBezTo>
                    <a:lnTo>
                      <a:pt x="4" y="0"/>
                    </a:lnTo>
                    <a:close/>
                    <a:moveTo>
                      <a:pt x="29" y="11"/>
                    </a:moveTo>
                    <a:cubicBezTo>
                      <a:pt x="28" y="18"/>
                      <a:pt x="28" y="18"/>
                      <a:pt x="28" y="18"/>
                    </a:cubicBezTo>
                    <a:cubicBezTo>
                      <a:pt x="28" y="22"/>
                      <a:pt x="27" y="25"/>
                      <a:pt x="28" y="26"/>
                    </a:cubicBezTo>
                    <a:cubicBezTo>
                      <a:pt x="28" y="27"/>
                      <a:pt x="28" y="28"/>
                      <a:pt x="29" y="28"/>
                    </a:cubicBezTo>
                    <a:cubicBezTo>
                      <a:pt x="30" y="29"/>
                      <a:pt x="31" y="30"/>
                      <a:pt x="32" y="30"/>
                    </a:cubicBezTo>
                    <a:cubicBezTo>
                      <a:pt x="34" y="30"/>
                      <a:pt x="35" y="30"/>
                      <a:pt x="36" y="29"/>
                    </a:cubicBezTo>
                    <a:cubicBezTo>
                      <a:pt x="37" y="28"/>
                      <a:pt x="38" y="27"/>
                      <a:pt x="38" y="26"/>
                    </a:cubicBezTo>
                    <a:cubicBezTo>
                      <a:pt x="38" y="25"/>
                      <a:pt x="39" y="23"/>
                      <a:pt x="39" y="19"/>
                    </a:cubicBezTo>
                    <a:cubicBezTo>
                      <a:pt x="40" y="12"/>
                      <a:pt x="40" y="12"/>
                      <a:pt x="40" y="12"/>
                    </a:cubicBezTo>
                    <a:lnTo>
                      <a:pt x="29" y="11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1049951" name="îś1iḓê"/>
              <p:cNvSpPr/>
              <p:nvPr/>
            </p:nvSpPr>
            <p:spPr bwMode="auto">
              <a:xfrm>
                <a:off x="1641372" y="5312365"/>
                <a:ext cx="82550" cy="66675"/>
              </a:xfrm>
              <a:custGeom>
                <a:avLst/>
                <a:gdLst>
                  <a:gd name="T0" fmla="*/ 15 w 45"/>
                  <a:gd name="T1" fmla="*/ 0 h 36"/>
                  <a:gd name="T2" fmla="*/ 16 w 45"/>
                  <a:gd name="T3" fmla="*/ 8 h 36"/>
                  <a:gd name="T4" fmla="*/ 9 w 45"/>
                  <a:gd name="T5" fmla="*/ 12 h 36"/>
                  <a:gd name="T6" fmla="*/ 7 w 45"/>
                  <a:gd name="T7" fmla="*/ 18 h 36"/>
                  <a:gd name="T8" fmla="*/ 9 w 45"/>
                  <a:gd name="T9" fmla="*/ 25 h 36"/>
                  <a:gd name="T10" fmla="*/ 13 w 45"/>
                  <a:gd name="T11" fmla="*/ 27 h 36"/>
                  <a:gd name="T12" fmla="*/ 16 w 45"/>
                  <a:gd name="T13" fmla="*/ 26 h 36"/>
                  <a:gd name="T14" fmla="*/ 18 w 45"/>
                  <a:gd name="T15" fmla="*/ 23 h 36"/>
                  <a:gd name="T16" fmla="*/ 20 w 45"/>
                  <a:gd name="T17" fmla="*/ 15 h 36"/>
                  <a:gd name="T18" fmla="*/ 24 w 45"/>
                  <a:gd name="T19" fmla="*/ 5 h 36"/>
                  <a:gd name="T20" fmla="*/ 33 w 45"/>
                  <a:gd name="T21" fmla="*/ 1 h 36"/>
                  <a:gd name="T22" fmla="*/ 39 w 45"/>
                  <a:gd name="T23" fmla="*/ 3 h 36"/>
                  <a:gd name="T24" fmla="*/ 44 w 45"/>
                  <a:gd name="T25" fmla="*/ 9 h 36"/>
                  <a:gd name="T26" fmla="*/ 45 w 45"/>
                  <a:gd name="T27" fmla="*/ 17 h 36"/>
                  <a:gd name="T28" fmla="*/ 42 w 45"/>
                  <a:gd name="T29" fmla="*/ 30 h 36"/>
                  <a:gd name="T30" fmla="*/ 32 w 45"/>
                  <a:gd name="T31" fmla="*/ 34 h 36"/>
                  <a:gd name="T32" fmla="*/ 31 w 45"/>
                  <a:gd name="T33" fmla="*/ 25 h 36"/>
                  <a:gd name="T34" fmla="*/ 36 w 45"/>
                  <a:gd name="T35" fmla="*/ 23 h 36"/>
                  <a:gd name="T36" fmla="*/ 38 w 45"/>
                  <a:gd name="T37" fmla="*/ 17 h 36"/>
                  <a:gd name="T38" fmla="*/ 36 w 45"/>
                  <a:gd name="T39" fmla="*/ 11 h 36"/>
                  <a:gd name="T40" fmla="*/ 33 w 45"/>
                  <a:gd name="T41" fmla="*/ 10 h 36"/>
                  <a:gd name="T42" fmla="*/ 31 w 45"/>
                  <a:gd name="T43" fmla="*/ 11 h 36"/>
                  <a:gd name="T44" fmla="*/ 28 w 45"/>
                  <a:gd name="T45" fmla="*/ 19 h 36"/>
                  <a:gd name="T46" fmla="*/ 25 w 45"/>
                  <a:gd name="T47" fmla="*/ 29 h 36"/>
                  <a:gd name="T48" fmla="*/ 20 w 45"/>
                  <a:gd name="T49" fmla="*/ 34 h 36"/>
                  <a:gd name="T50" fmla="*/ 13 w 45"/>
                  <a:gd name="T51" fmla="*/ 36 h 36"/>
                  <a:gd name="T52" fmla="*/ 6 w 45"/>
                  <a:gd name="T53" fmla="*/ 33 h 36"/>
                  <a:gd name="T54" fmla="*/ 1 w 45"/>
                  <a:gd name="T55" fmla="*/ 28 h 36"/>
                  <a:gd name="T56" fmla="*/ 0 w 45"/>
                  <a:gd name="T57" fmla="*/ 18 h 36"/>
                  <a:gd name="T58" fmla="*/ 3 w 45"/>
                  <a:gd name="T59" fmla="*/ 5 h 36"/>
                  <a:gd name="T60" fmla="*/ 15 w 45"/>
                  <a:gd name="T61" fmla="*/ 0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45" h="36">
                    <a:moveTo>
                      <a:pt x="15" y="0"/>
                    </a:moveTo>
                    <a:cubicBezTo>
                      <a:pt x="16" y="8"/>
                      <a:pt x="16" y="8"/>
                      <a:pt x="16" y="8"/>
                    </a:cubicBezTo>
                    <a:cubicBezTo>
                      <a:pt x="13" y="9"/>
                      <a:pt x="10" y="10"/>
                      <a:pt x="9" y="12"/>
                    </a:cubicBezTo>
                    <a:cubicBezTo>
                      <a:pt x="8" y="13"/>
                      <a:pt x="7" y="15"/>
                      <a:pt x="7" y="18"/>
                    </a:cubicBezTo>
                    <a:cubicBezTo>
                      <a:pt x="7" y="21"/>
                      <a:pt x="8" y="23"/>
                      <a:pt x="9" y="25"/>
                    </a:cubicBezTo>
                    <a:cubicBezTo>
                      <a:pt x="10" y="26"/>
                      <a:pt x="12" y="27"/>
                      <a:pt x="13" y="27"/>
                    </a:cubicBezTo>
                    <a:cubicBezTo>
                      <a:pt x="14" y="27"/>
                      <a:pt x="15" y="26"/>
                      <a:pt x="16" y="26"/>
                    </a:cubicBezTo>
                    <a:cubicBezTo>
                      <a:pt x="17" y="25"/>
                      <a:pt x="17" y="24"/>
                      <a:pt x="18" y="23"/>
                    </a:cubicBezTo>
                    <a:cubicBezTo>
                      <a:pt x="18" y="22"/>
                      <a:pt x="19" y="19"/>
                      <a:pt x="20" y="15"/>
                    </a:cubicBezTo>
                    <a:cubicBezTo>
                      <a:pt x="21" y="11"/>
                      <a:pt x="22" y="7"/>
                      <a:pt x="24" y="5"/>
                    </a:cubicBezTo>
                    <a:cubicBezTo>
                      <a:pt x="26" y="3"/>
                      <a:pt x="29" y="1"/>
                      <a:pt x="33" y="1"/>
                    </a:cubicBezTo>
                    <a:cubicBezTo>
                      <a:pt x="35" y="1"/>
                      <a:pt x="37" y="2"/>
                      <a:pt x="39" y="3"/>
                    </a:cubicBezTo>
                    <a:cubicBezTo>
                      <a:pt x="41" y="4"/>
                      <a:pt x="43" y="6"/>
                      <a:pt x="44" y="9"/>
                    </a:cubicBezTo>
                    <a:cubicBezTo>
                      <a:pt x="45" y="11"/>
                      <a:pt x="45" y="14"/>
                      <a:pt x="45" y="17"/>
                    </a:cubicBezTo>
                    <a:cubicBezTo>
                      <a:pt x="45" y="23"/>
                      <a:pt x="44" y="27"/>
                      <a:pt x="42" y="30"/>
                    </a:cubicBezTo>
                    <a:cubicBezTo>
                      <a:pt x="39" y="33"/>
                      <a:pt x="36" y="34"/>
                      <a:pt x="32" y="34"/>
                    </a:cubicBezTo>
                    <a:cubicBezTo>
                      <a:pt x="31" y="25"/>
                      <a:pt x="31" y="25"/>
                      <a:pt x="31" y="25"/>
                    </a:cubicBezTo>
                    <a:cubicBezTo>
                      <a:pt x="34" y="25"/>
                      <a:pt x="35" y="24"/>
                      <a:pt x="36" y="23"/>
                    </a:cubicBezTo>
                    <a:cubicBezTo>
                      <a:pt x="37" y="22"/>
                      <a:pt x="38" y="20"/>
                      <a:pt x="38" y="17"/>
                    </a:cubicBezTo>
                    <a:cubicBezTo>
                      <a:pt x="38" y="15"/>
                      <a:pt x="37" y="13"/>
                      <a:pt x="36" y="11"/>
                    </a:cubicBezTo>
                    <a:cubicBezTo>
                      <a:pt x="35" y="10"/>
                      <a:pt x="35" y="10"/>
                      <a:pt x="33" y="10"/>
                    </a:cubicBezTo>
                    <a:cubicBezTo>
                      <a:pt x="32" y="10"/>
                      <a:pt x="31" y="10"/>
                      <a:pt x="31" y="11"/>
                    </a:cubicBezTo>
                    <a:cubicBezTo>
                      <a:pt x="30" y="12"/>
                      <a:pt x="29" y="15"/>
                      <a:pt x="28" y="19"/>
                    </a:cubicBezTo>
                    <a:cubicBezTo>
                      <a:pt x="27" y="24"/>
                      <a:pt x="26" y="27"/>
                      <a:pt x="25" y="29"/>
                    </a:cubicBezTo>
                    <a:cubicBezTo>
                      <a:pt x="24" y="31"/>
                      <a:pt x="22" y="33"/>
                      <a:pt x="20" y="34"/>
                    </a:cubicBezTo>
                    <a:cubicBezTo>
                      <a:pt x="18" y="35"/>
                      <a:pt x="16" y="36"/>
                      <a:pt x="13" y="36"/>
                    </a:cubicBezTo>
                    <a:cubicBezTo>
                      <a:pt x="11" y="36"/>
                      <a:pt x="8" y="35"/>
                      <a:pt x="6" y="33"/>
                    </a:cubicBezTo>
                    <a:cubicBezTo>
                      <a:pt x="4" y="32"/>
                      <a:pt x="2" y="30"/>
                      <a:pt x="1" y="28"/>
                    </a:cubicBezTo>
                    <a:cubicBezTo>
                      <a:pt x="0" y="25"/>
                      <a:pt x="0" y="22"/>
                      <a:pt x="0" y="18"/>
                    </a:cubicBezTo>
                    <a:cubicBezTo>
                      <a:pt x="0" y="12"/>
                      <a:pt x="1" y="8"/>
                      <a:pt x="3" y="5"/>
                    </a:cubicBezTo>
                    <a:cubicBezTo>
                      <a:pt x="6" y="2"/>
                      <a:pt x="10" y="0"/>
                      <a:pt x="15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1049952" name="íş1ïḓe"/>
              <p:cNvSpPr/>
              <p:nvPr/>
            </p:nvSpPr>
            <p:spPr bwMode="auto">
              <a:xfrm>
                <a:off x="1642959" y="5385390"/>
                <a:ext cx="84138" cy="22225"/>
              </a:xfrm>
              <a:custGeom>
                <a:avLst/>
                <a:gdLst>
                  <a:gd name="T0" fmla="*/ 0 w 53"/>
                  <a:gd name="T1" fmla="*/ 5 h 14"/>
                  <a:gd name="T2" fmla="*/ 51 w 53"/>
                  <a:gd name="T3" fmla="*/ 0 h 14"/>
                  <a:gd name="T4" fmla="*/ 53 w 53"/>
                  <a:gd name="T5" fmla="*/ 11 h 14"/>
                  <a:gd name="T6" fmla="*/ 1 w 53"/>
                  <a:gd name="T7" fmla="*/ 14 h 14"/>
                  <a:gd name="T8" fmla="*/ 0 w 53"/>
                  <a:gd name="T9" fmla="*/ 5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3" h="14">
                    <a:moveTo>
                      <a:pt x="0" y="5"/>
                    </a:moveTo>
                    <a:lnTo>
                      <a:pt x="51" y="0"/>
                    </a:lnTo>
                    <a:lnTo>
                      <a:pt x="53" y="11"/>
                    </a:lnTo>
                    <a:lnTo>
                      <a:pt x="1" y="14"/>
                    </a:lnTo>
                    <a:lnTo>
                      <a:pt x="0" y="5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1049953" name="ïṩlîḋè"/>
              <p:cNvSpPr/>
              <p:nvPr/>
            </p:nvSpPr>
            <p:spPr bwMode="auto">
              <a:xfrm>
                <a:off x="1649309" y="5407615"/>
                <a:ext cx="84138" cy="66675"/>
              </a:xfrm>
              <a:custGeom>
                <a:avLst/>
                <a:gdLst>
                  <a:gd name="T0" fmla="*/ 0 w 53"/>
                  <a:gd name="T1" fmla="*/ 22 h 42"/>
                  <a:gd name="T2" fmla="*/ 42 w 53"/>
                  <a:gd name="T3" fmla="*/ 17 h 42"/>
                  <a:gd name="T4" fmla="*/ 39 w 53"/>
                  <a:gd name="T5" fmla="*/ 1 h 42"/>
                  <a:gd name="T6" fmla="*/ 49 w 53"/>
                  <a:gd name="T7" fmla="*/ 0 h 42"/>
                  <a:gd name="T8" fmla="*/ 53 w 53"/>
                  <a:gd name="T9" fmla="*/ 41 h 42"/>
                  <a:gd name="T10" fmla="*/ 45 w 53"/>
                  <a:gd name="T11" fmla="*/ 42 h 42"/>
                  <a:gd name="T12" fmla="*/ 43 w 53"/>
                  <a:gd name="T13" fmla="*/ 27 h 42"/>
                  <a:gd name="T14" fmla="*/ 1 w 53"/>
                  <a:gd name="T15" fmla="*/ 33 h 42"/>
                  <a:gd name="T16" fmla="*/ 0 w 53"/>
                  <a:gd name="T17" fmla="*/ 22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3" h="42">
                    <a:moveTo>
                      <a:pt x="0" y="22"/>
                    </a:moveTo>
                    <a:lnTo>
                      <a:pt x="42" y="17"/>
                    </a:lnTo>
                    <a:lnTo>
                      <a:pt x="39" y="1"/>
                    </a:lnTo>
                    <a:lnTo>
                      <a:pt x="49" y="0"/>
                    </a:lnTo>
                    <a:lnTo>
                      <a:pt x="53" y="41"/>
                    </a:lnTo>
                    <a:lnTo>
                      <a:pt x="45" y="42"/>
                    </a:lnTo>
                    <a:lnTo>
                      <a:pt x="43" y="27"/>
                    </a:lnTo>
                    <a:lnTo>
                      <a:pt x="1" y="33"/>
                    </a:lnTo>
                    <a:lnTo>
                      <a:pt x="0" y="22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1049954" name="ïṣľîďe"/>
              <p:cNvSpPr/>
              <p:nvPr/>
            </p:nvSpPr>
            <p:spPr bwMode="auto">
              <a:xfrm>
                <a:off x="1662009" y="5471115"/>
                <a:ext cx="90488" cy="73025"/>
              </a:xfrm>
              <a:custGeom>
                <a:avLst/>
                <a:gdLst>
                  <a:gd name="T0" fmla="*/ 0 w 57"/>
                  <a:gd name="T1" fmla="*/ 29 h 46"/>
                  <a:gd name="T2" fmla="*/ 21 w 57"/>
                  <a:gd name="T3" fmla="*/ 24 h 46"/>
                  <a:gd name="T4" fmla="*/ 45 w 57"/>
                  <a:gd name="T5" fmla="*/ 0 h 46"/>
                  <a:gd name="T6" fmla="*/ 49 w 57"/>
                  <a:gd name="T7" fmla="*/ 11 h 46"/>
                  <a:gd name="T8" fmla="*/ 31 w 57"/>
                  <a:gd name="T9" fmla="*/ 28 h 46"/>
                  <a:gd name="T10" fmla="*/ 53 w 57"/>
                  <a:gd name="T11" fmla="*/ 35 h 46"/>
                  <a:gd name="T12" fmla="*/ 57 w 57"/>
                  <a:gd name="T13" fmla="*/ 46 h 46"/>
                  <a:gd name="T14" fmla="*/ 23 w 57"/>
                  <a:gd name="T15" fmla="*/ 35 h 46"/>
                  <a:gd name="T16" fmla="*/ 2 w 57"/>
                  <a:gd name="T17" fmla="*/ 39 h 46"/>
                  <a:gd name="T18" fmla="*/ 0 w 57"/>
                  <a:gd name="T19" fmla="*/ 29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57" h="46">
                    <a:moveTo>
                      <a:pt x="0" y="29"/>
                    </a:moveTo>
                    <a:lnTo>
                      <a:pt x="21" y="24"/>
                    </a:lnTo>
                    <a:lnTo>
                      <a:pt x="45" y="0"/>
                    </a:lnTo>
                    <a:lnTo>
                      <a:pt x="49" y="11"/>
                    </a:lnTo>
                    <a:lnTo>
                      <a:pt x="31" y="28"/>
                    </a:lnTo>
                    <a:lnTo>
                      <a:pt x="53" y="35"/>
                    </a:lnTo>
                    <a:lnTo>
                      <a:pt x="57" y="46"/>
                    </a:lnTo>
                    <a:lnTo>
                      <a:pt x="23" y="35"/>
                    </a:lnTo>
                    <a:lnTo>
                      <a:pt x="2" y="39"/>
                    </a:lnTo>
                    <a:lnTo>
                      <a:pt x="0" y="29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1049955" name="íśļiḓe"/>
              <p:cNvSpPr/>
              <p:nvPr/>
            </p:nvSpPr>
            <p:spPr bwMode="auto">
              <a:xfrm>
                <a:off x="1704872" y="5609228"/>
                <a:ext cx="85725" cy="80963"/>
              </a:xfrm>
              <a:custGeom>
                <a:avLst/>
                <a:gdLst>
                  <a:gd name="T0" fmla="*/ 15 w 47"/>
                  <a:gd name="T1" fmla="*/ 2 h 44"/>
                  <a:gd name="T2" fmla="*/ 26 w 47"/>
                  <a:gd name="T3" fmla="*/ 0 h 44"/>
                  <a:gd name="T4" fmla="*/ 33 w 47"/>
                  <a:gd name="T5" fmla="*/ 1 h 44"/>
                  <a:gd name="T6" fmla="*/ 39 w 47"/>
                  <a:gd name="T7" fmla="*/ 4 h 44"/>
                  <a:gd name="T8" fmla="*/ 44 w 47"/>
                  <a:gd name="T9" fmla="*/ 12 h 44"/>
                  <a:gd name="T10" fmla="*/ 45 w 47"/>
                  <a:gd name="T11" fmla="*/ 29 h 44"/>
                  <a:gd name="T12" fmla="*/ 32 w 47"/>
                  <a:gd name="T13" fmla="*/ 41 h 44"/>
                  <a:gd name="T14" fmla="*/ 15 w 47"/>
                  <a:gd name="T15" fmla="*/ 43 h 44"/>
                  <a:gd name="T16" fmla="*/ 3 w 47"/>
                  <a:gd name="T17" fmla="*/ 31 h 44"/>
                  <a:gd name="T18" fmla="*/ 2 w 47"/>
                  <a:gd name="T19" fmla="*/ 14 h 44"/>
                  <a:gd name="T20" fmla="*/ 15 w 47"/>
                  <a:gd name="T21" fmla="*/ 2 h 44"/>
                  <a:gd name="T22" fmla="*/ 19 w 47"/>
                  <a:gd name="T23" fmla="*/ 10 h 44"/>
                  <a:gd name="T24" fmla="*/ 10 w 47"/>
                  <a:gd name="T25" fmla="*/ 18 h 44"/>
                  <a:gd name="T26" fmla="*/ 10 w 47"/>
                  <a:gd name="T27" fmla="*/ 28 h 44"/>
                  <a:gd name="T28" fmla="*/ 17 w 47"/>
                  <a:gd name="T29" fmla="*/ 34 h 44"/>
                  <a:gd name="T30" fmla="*/ 29 w 47"/>
                  <a:gd name="T31" fmla="*/ 33 h 44"/>
                  <a:gd name="T32" fmla="*/ 38 w 47"/>
                  <a:gd name="T33" fmla="*/ 25 h 44"/>
                  <a:gd name="T34" fmla="*/ 37 w 47"/>
                  <a:gd name="T35" fmla="*/ 16 h 44"/>
                  <a:gd name="T36" fmla="*/ 30 w 47"/>
                  <a:gd name="T37" fmla="*/ 9 h 44"/>
                  <a:gd name="T38" fmla="*/ 19 w 47"/>
                  <a:gd name="T39" fmla="*/ 10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47" h="44">
                    <a:moveTo>
                      <a:pt x="15" y="2"/>
                    </a:moveTo>
                    <a:cubicBezTo>
                      <a:pt x="19" y="0"/>
                      <a:pt x="23" y="0"/>
                      <a:pt x="26" y="0"/>
                    </a:cubicBezTo>
                    <a:cubicBezTo>
                      <a:pt x="28" y="0"/>
                      <a:pt x="31" y="0"/>
                      <a:pt x="33" y="1"/>
                    </a:cubicBezTo>
                    <a:cubicBezTo>
                      <a:pt x="35" y="2"/>
                      <a:pt x="37" y="3"/>
                      <a:pt x="39" y="4"/>
                    </a:cubicBezTo>
                    <a:cubicBezTo>
                      <a:pt x="41" y="6"/>
                      <a:pt x="43" y="9"/>
                      <a:pt x="44" y="12"/>
                    </a:cubicBezTo>
                    <a:cubicBezTo>
                      <a:pt x="47" y="18"/>
                      <a:pt x="47" y="24"/>
                      <a:pt x="45" y="29"/>
                    </a:cubicBezTo>
                    <a:cubicBezTo>
                      <a:pt x="43" y="34"/>
                      <a:pt x="39" y="38"/>
                      <a:pt x="32" y="41"/>
                    </a:cubicBezTo>
                    <a:cubicBezTo>
                      <a:pt x="26" y="44"/>
                      <a:pt x="20" y="44"/>
                      <a:pt x="15" y="43"/>
                    </a:cubicBezTo>
                    <a:cubicBezTo>
                      <a:pt x="9" y="41"/>
                      <a:pt x="5" y="37"/>
                      <a:pt x="3" y="31"/>
                    </a:cubicBezTo>
                    <a:cubicBezTo>
                      <a:pt x="0" y="25"/>
                      <a:pt x="0" y="19"/>
                      <a:pt x="2" y="14"/>
                    </a:cubicBezTo>
                    <a:cubicBezTo>
                      <a:pt x="4" y="9"/>
                      <a:pt x="8" y="5"/>
                      <a:pt x="15" y="2"/>
                    </a:cubicBezTo>
                    <a:close/>
                    <a:moveTo>
                      <a:pt x="19" y="10"/>
                    </a:moveTo>
                    <a:cubicBezTo>
                      <a:pt x="14" y="12"/>
                      <a:pt x="11" y="15"/>
                      <a:pt x="10" y="18"/>
                    </a:cubicBezTo>
                    <a:cubicBezTo>
                      <a:pt x="8" y="21"/>
                      <a:pt x="8" y="24"/>
                      <a:pt x="10" y="28"/>
                    </a:cubicBezTo>
                    <a:cubicBezTo>
                      <a:pt x="11" y="31"/>
                      <a:pt x="13" y="33"/>
                      <a:pt x="17" y="34"/>
                    </a:cubicBezTo>
                    <a:cubicBezTo>
                      <a:pt x="20" y="35"/>
                      <a:pt x="24" y="35"/>
                      <a:pt x="29" y="33"/>
                    </a:cubicBezTo>
                    <a:cubicBezTo>
                      <a:pt x="33" y="31"/>
                      <a:pt x="36" y="28"/>
                      <a:pt x="38" y="25"/>
                    </a:cubicBezTo>
                    <a:cubicBezTo>
                      <a:pt x="39" y="22"/>
                      <a:pt x="39" y="19"/>
                      <a:pt x="37" y="16"/>
                    </a:cubicBezTo>
                    <a:cubicBezTo>
                      <a:pt x="36" y="12"/>
                      <a:pt x="34" y="10"/>
                      <a:pt x="30" y="9"/>
                    </a:cubicBezTo>
                    <a:cubicBezTo>
                      <a:pt x="27" y="8"/>
                      <a:pt x="23" y="8"/>
                      <a:pt x="19" y="1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1049956" name="î$ḷïďe"/>
              <p:cNvSpPr/>
              <p:nvPr/>
            </p:nvSpPr>
            <p:spPr bwMode="auto">
              <a:xfrm>
                <a:off x="1733447" y="5675903"/>
                <a:ext cx="98425" cy="66675"/>
              </a:xfrm>
              <a:custGeom>
                <a:avLst/>
                <a:gdLst>
                  <a:gd name="T0" fmla="*/ 0 w 62"/>
                  <a:gd name="T1" fmla="*/ 26 h 42"/>
                  <a:gd name="T2" fmla="*/ 45 w 62"/>
                  <a:gd name="T3" fmla="*/ 0 h 42"/>
                  <a:gd name="T4" fmla="*/ 62 w 62"/>
                  <a:gd name="T5" fmla="*/ 30 h 42"/>
                  <a:gd name="T6" fmla="*/ 55 w 62"/>
                  <a:gd name="T7" fmla="*/ 35 h 42"/>
                  <a:gd name="T8" fmla="*/ 43 w 62"/>
                  <a:gd name="T9" fmla="*/ 14 h 42"/>
                  <a:gd name="T10" fmla="*/ 32 w 62"/>
                  <a:gd name="T11" fmla="*/ 20 h 42"/>
                  <a:gd name="T12" fmla="*/ 43 w 62"/>
                  <a:gd name="T13" fmla="*/ 38 h 42"/>
                  <a:gd name="T14" fmla="*/ 35 w 62"/>
                  <a:gd name="T15" fmla="*/ 42 h 42"/>
                  <a:gd name="T16" fmla="*/ 25 w 62"/>
                  <a:gd name="T17" fmla="*/ 23 h 42"/>
                  <a:gd name="T18" fmla="*/ 6 w 62"/>
                  <a:gd name="T19" fmla="*/ 35 h 42"/>
                  <a:gd name="T20" fmla="*/ 0 w 62"/>
                  <a:gd name="T21" fmla="*/ 26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62" h="42">
                    <a:moveTo>
                      <a:pt x="0" y="26"/>
                    </a:moveTo>
                    <a:lnTo>
                      <a:pt x="45" y="0"/>
                    </a:lnTo>
                    <a:lnTo>
                      <a:pt x="62" y="30"/>
                    </a:lnTo>
                    <a:lnTo>
                      <a:pt x="55" y="35"/>
                    </a:lnTo>
                    <a:lnTo>
                      <a:pt x="43" y="14"/>
                    </a:lnTo>
                    <a:lnTo>
                      <a:pt x="32" y="20"/>
                    </a:lnTo>
                    <a:lnTo>
                      <a:pt x="43" y="38"/>
                    </a:lnTo>
                    <a:lnTo>
                      <a:pt x="35" y="42"/>
                    </a:lnTo>
                    <a:lnTo>
                      <a:pt x="25" y="23"/>
                    </a:lnTo>
                    <a:lnTo>
                      <a:pt x="6" y="35"/>
                    </a:lnTo>
                    <a:lnTo>
                      <a:pt x="0" y="26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1049957" name="îśḻîḍe"/>
              <p:cNvSpPr/>
              <p:nvPr/>
            </p:nvSpPr>
            <p:spPr bwMode="auto">
              <a:xfrm>
                <a:off x="1812822" y="5785440"/>
                <a:ext cx="85725" cy="82550"/>
              </a:xfrm>
              <a:custGeom>
                <a:avLst/>
                <a:gdLst>
                  <a:gd name="T0" fmla="*/ 6 w 46"/>
                  <a:gd name="T1" fmla="*/ 13 h 45"/>
                  <a:gd name="T2" fmla="*/ 12 w 46"/>
                  <a:gd name="T3" fmla="*/ 19 h 45"/>
                  <a:gd name="T4" fmla="*/ 9 w 46"/>
                  <a:gd name="T5" fmla="*/ 26 h 45"/>
                  <a:gd name="T6" fmla="*/ 11 w 46"/>
                  <a:gd name="T7" fmla="*/ 32 h 45"/>
                  <a:gd name="T8" fmla="*/ 17 w 46"/>
                  <a:gd name="T9" fmla="*/ 36 h 45"/>
                  <a:gd name="T10" fmla="*/ 22 w 46"/>
                  <a:gd name="T11" fmla="*/ 35 h 45"/>
                  <a:gd name="T12" fmla="*/ 23 w 46"/>
                  <a:gd name="T13" fmla="*/ 32 h 45"/>
                  <a:gd name="T14" fmla="*/ 22 w 46"/>
                  <a:gd name="T15" fmla="*/ 29 h 45"/>
                  <a:gd name="T16" fmla="*/ 19 w 46"/>
                  <a:gd name="T17" fmla="*/ 22 h 45"/>
                  <a:gd name="T18" fmla="*/ 16 w 46"/>
                  <a:gd name="T19" fmla="*/ 12 h 45"/>
                  <a:gd name="T20" fmla="*/ 21 w 46"/>
                  <a:gd name="T21" fmla="*/ 3 h 45"/>
                  <a:gd name="T22" fmla="*/ 27 w 46"/>
                  <a:gd name="T23" fmla="*/ 0 h 45"/>
                  <a:gd name="T24" fmla="*/ 34 w 46"/>
                  <a:gd name="T25" fmla="*/ 2 h 45"/>
                  <a:gd name="T26" fmla="*/ 40 w 46"/>
                  <a:gd name="T27" fmla="*/ 8 h 45"/>
                  <a:gd name="T28" fmla="*/ 45 w 46"/>
                  <a:gd name="T29" fmla="*/ 19 h 45"/>
                  <a:gd name="T30" fmla="*/ 41 w 46"/>
                  <a:gd name="T31" fmla="*/ 29 h 45"/>
                  <a:gd name="T32" fmla="*/ 35 w 46"/>
                  <a:gd name="T33" fmla="*/ 22 h 45"/>
                  <a:gd name="T34" fmla="*/ 37 w 46"/>
                  <a:gd name="T35" fmla="*/ 17 h 45"/>
                  <a:gd name="T36" fmla="*/ 35 w 46"/>
                  <a:gd name="T37" fmla="*/ 12 h 45"/>
                  <a:gd name="T38" fmla="*/ 30 w 46"/>
                  <a:gd name="T39" fmla="*/ 8 h 45"/>
                  <a:gd name="T40" fmla="*/ 27 w 46"/>
                  <a:gd name="T41" fmla="*/ 9 h 45"/>
                  <a:gd name="T42" fmla="*/ 25 w 46"/>
                  <a:gd name="T43" fmla="*/ 12 h 45"/>
                  <a:gd name="T44" fmla="*/ 28 w 46"/>
                  <a:gd name="T45" fmla="*/ 20 h 45"/>
                  <a:gd name="T46" fmla="*/ 32 w 46"/>
                  <a:gd name="T47" fmla="*/ 29 h 45"/>
                  <a:gd name="T48" fmla="*/ 31 w 46"/>
                  <a:gd name="T49" fmla="*/ 36 h 45"/>
                  <a:gd name="T50" fmla="*/ 27 w 46"/>
                  <a:gd name="T51" fmla="*/ 42 h 45"/>
                  <a:gd name="T52" fmla="*/ 20 w 46"/>
                  <a:gd name="T53" fmla="*/ 45 h 45"/>
                  <a:gd name="T54" fmla="*/ 13 w 46"/>
                  <a:gd name="T55" fmla="*/ 43 h 45"/>
                  <a:gd name="T56" fmla="*/ 6 w 46"/>
                  <a:gd name="T57" fmla="*/ 37 h 45"/>
                  <a:gd name="T58" fmla="*/ 0 w 46"/>
                  <a:gd name="T59" fmla="*/ 24 h 45"/>
                  <a:gd name="T60" fmla="*/ 6 w 46"/>
                  <a:gd name="T61" fmla="*/ 13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46" h="45">
                    <a:moveTo>
                      <a:pt x="6" y="13"/>
                    </a:moveTo>
                    <a:cubicBezTo>
                      <a:pt x="12" y="19"/>
                      <a:pt x="12" y="19"/>
                      <a:pt x="12" y="19"/>
                    </a:cubicBezTo>
                    <a:cubicBezTo>
                      <a:pt x="10" y="21"/>
                      <a:pt x="9" y="24"/>
                      <a:pt x="9" y="26"/>
                    </a:cubicBezTo>
                    <a:cubicBezTo>
                      <a:pt x="9" y="28"/>
                      <a:pt x="10" y="30"/>
                      <a:pt x="11" y="32"/>
                    </a:cubicBezTo>
                    <a:cubicBezTo>
                      <a:pt x="13" y="34"/>
                      <a:pt x="15" y="35"/>
                      <a:pt x="17" y="36"/>
                    </a:cubicBezTo>
                    <a:cubicBezTo>
                      <a:pt x="19" y="36"/>
                      <a:pt x="20" y="36"/>
                      <a:pt x="22" y="35"/>
                    </a:cubicBezTo>
                    <a:cubicBezTo>
                      <a:pt x="22" y="34"/>
                      <a:pt x="23" y="33"/>
                      <a:pt x="23" y="32"/>
                    </a:cubicBezTo>
                    <a:cubicBezTo>
                      <a:pt x="23" y="32"/>
                      <a:pt x="23" y="30"/>
                      <a:pt x="22" y="29"/>
                    </a:cubicBezTo>
                    <a:cubicBezTo>
                      <a:pt x="22" y="28"/>
                      <a:pt x="21" y="26"/>
                      <a:pt x="19" y="22"/>
                    </a:cubicBezTo>
                    <a:cubicBezTo>
                      <a:pt x="17" y="18"/>
                      <a:pt x="16" y="14"/>
                      <a:pt x="16" y="12"/>
                    </a:cubicBezTo>
                    <a:cubicBezTo>
                      <a:pt x="17" y="8"/>
                      <a:pt x="18" y="5"/>
                      <a:pt x="21" y="3"/>
                    </a:cubicBezTo>
                    <a:cubicBezTo>
                      <a:pt x="23" y="1"/>
                      <a:pt x="25" y="1"/>
                      <a:pt x="27" y="0"/>
                    </a:cubicBezTo>
                    <a:cubicBezTo>
                      <a:pt x="29" y="0"/>
                      <a:pt x="31" y="1"/>
                      <a:pt x="34" y="2"/>
                    </a:cubicBezTo>
                    <a:cubicBezTo>
                      <a:pt x="36" y="3"/>
                      <a:pt x="38" y="5"/>
                      <a:pt x="40" y="8"/>
                    </a:cubicBezTo>
                    <a:cubicBezTo>
                      <a:pt x="44" y="12"/>
                      <a:pt x="46" y="16"/>
                      <a:pt x="45" y="19"/>
                    </a:cubicBezTo>
                    <a:cubicBezTo>
                      <a:pt x="45" y="23"/>
                      <a:pt x="44" y="26"/>
                      <a:pt x="41" y="29"/>
                    </a:cubicBezTo>
                    <a:cubicBezTo>
                      <a:pt x="35" y="22"/>
                      <a:pt x="35" y="22"/>
                      <a:pt x="35" y="22"/>
                    </a:cubicBezTo>
                    <a:cubicBezTo>
                      <a:pt x="36" y="21"/>
                      <a:pt x="37" y="19"/>
                      <a:pt x="37" y="17"/>
                    </a:cubicBezTo>
                    <a:cubicBezTo>
                      <a:pt x="37" y="16"/>
                      <a:pt x="36" y="14"/>
                      <a:pt x="35" y="12"/>
                    </a:cubicBezTo>
                    <a:cubicBezTo>
                      <a:pt x="33" y="10"/>
                      <a:pt x="31" y="9"/>
                      <a:pt x="30" y="8"/>
                    </a:cubicBezTo>
                    <a:cubicBezTo>
                      <a:pt x="28" y="8"/>
                      <a:pt x="27" y="8"/>
                      <a:pt x="27" y="9"/>
                    </a:cubicBezTo>
                    <a:cubicBezTo>
                      <a:pt x="26" y="10"/>
                      <a:pt x="25" y="11"/>
                      <a:pt x="25" y="12"/>
                    </a:cubicBezTo>
                    <a:cubicBezTo>
                      <a:pt x="25" y="13"/>
                      <a:pt x="26" y="16"/>
                      <a:pt x="28" y="20"/>
                    </a:cubicBezTo>
                    <a:cubicBezTo>
                      <a:pt x="30" y="24"/>
                      <a:pt x="31" y="27"/>
                      <a:pt x="32" y="29"/>
                    </a:cubicBezTo>
                    <a:cubicBezTo>
                      <a:pt x="32" y="32"/>
                      <a:pt x="32" y="34"/>
                      <a:pt x="31" y="36"/>
                    </a:cubicBezTo>
                    <a:cubicBezTo>
                      <a:pt x="31" y="38"/>
                      <a:pt x="29" y="40"/>
                      <a:pt x="27" y="42"/>
                    </a:cubicBezTo>
                    <a:cubicBezTo>
                      <a:pt x="25" y="43"/>
                      <a:pt x="23" y="44"/>
                      <a:pt x="20" y="45"/>
                    </a:cubicBezTo>
                    <a:cubicBezTo>
                      <a:pt x="18" y="45"/>
                      <a:pt x="15" y="44"/>
                      <a:pt x="13" y="43"/>
                    </a:cubicBezTo>
                    <a:cubicBezTo>
                      <a:pt x="10" y="42"/>
                      <a:pt x="8" y="40"/>
                      <a:pt x="6" y="37"/>
                    </a:cubicBezTo>
                    <a:cubicBezTo>
                      <a:pt x="2" y="32"/>
                      <a:pt x="0" y="28"/>
                      <a:pt x="0" y="24"/>
                    </a:cubicBezTo>
                    <a:cubicBezTo>
                      <a:pt x="1" y="20"/>
                      <a:pt x="2" y="17"/>
                      <a:pt x="6" y="13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1049958" name="í$ļîḋê"/>
              <p:cNvSpPr/>
              <p:nvPr/>
            </p:nvSpPr>
            <p:spPr bwMode="auto">
              <a:xfrm>
                <a:off x="1868384" y="5844178"/>
                <a:ext cx="82550" cy="82550"/>
              </a:xfrm>
              <a:custGeom>
                <a:avLst/>
                <a:gdLst>
                  <a:gd name="T0" fmla="*/ 25 w 45"/>
                  <a:gd name="T1" fmla="*/ 33 h 45"/>
                  <a:gd name="T2" fmla="*/ 29 w 45"/>
                  <a:gd name="T3" fmla="*/ 41 h 45"/>
                  <a:gd name="T4" fmla="*/ 17 w 45"/>
                  <a:gd name="T5" fmla="*/ 44 h 45"/>
                  <a:gd name="T6" fmla="*/ 6 w 45"/>
                  <a:gd name="T7" fmla="*/ 38 h 45"/>
                  <a:gd name="T8" fmla="*/ 0 w 45"/>
                  <a:gd name="T9" fmla="*/ 24 h 45"/>
                  <a:gd name="T10" fmla="*/ 8 w 45"/>
                  <a:gd name="T11" fmla="*/ 8 h 45"/>
                  <a:gd name="T12" fmla="*/ 24 w 45"/>
                  <a:gd name="T13" fmla="*/ 0 h 45"/>
                  <a:gd name="T14" fmla="*/ 39 w 45"/>
                  <a:gd name="T15" fmla="*/ 7 h 45"/>
                  <a:gd name="T16" fmla="*/ 45 w 45"/>
                  <a:gd name="T17" fmla="*/ 19 h 45"/>
                  <a:gd name="T18" fmla="*/ 42 w 45"/>
                  <a:gd name="T19" fmla="*/ 28 h 45"/>
                  <a:gd name="T20" fmla="*/ 34 w 45"/>
                  <a:gd name="T21" fmla="*/ 23 h 45"/>
                  <a:gd name="T22" fmla="*/ 36 w 45"/>
                  <a:gd name="T23" fmla="*/ 17 h 45"/>
                  <a:gd name="T24" fmla="*/ 33 w 45"/>
                  <a:gd name="T25" fmla="*/ 12 h 45"/>
                  <a:gd name="T26" fmla="*/ 25 w 45"/>
                  <a:gd name="T27" fmla="*/ 9 h 45"/>
                  <a:gd name="T28" fmla="*/ 15 w 45"/>
                  <a:gd name="T29" fmla="*/ 14 h 45"/>
                  <a:gd name="T30" fmla="*/ 8 w 45"/>
                  <a:gd name="T31" fmla="*/ 25 h 45"/>
                  <a:gd name="T32" fmla="*/ 11 w 45"/>
                  <a:gd name="T33" fmla="*/ 33 h 45"/>
                  <a:gd name="T34" fmla="*/ 17 w 45"/>
                  <a:gd name="T35" fmla="*/ 36 h 45"/>
                  <a:gd name="T36" fmla="*/ 25 w 45"/>
                  <a:gd name="T37" fmla="*/ 33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45" h="45">
                    <a:moveTo>
                      <a:pt x="25" y="33"/>
                    </a:moveTo>
                    <a:cubicBezTo>
                      <a:pt x="29" y="41"/>
                      <a:pt x="29" y="41"/>
                      <a:pt x="29" y="41"/>
                    </a:cubicBezTo>
                    <a:cubicBezTo>
                      <a:pt x="25" y="44"/>
                      <a:pt x="21" y="45"/>
                      <a:pt x="17" y="44"/>
                    </a:cubicBezTo>
                    <a:cubicBezTo>
                      <a:pt x="13" y="44"/>
                      <a:pt x="9" y="42"/>
                      <a:pt x="6" y="38"/>
                    </a:cubicBezTo>
                    <a:cubicBezTo>
                      <a:pt x="2" y="34"/>
                      <a:pt x="0" y="29"/>
                      <a:pt x="0" y="24"/>
                    </a:cubicBezTo>
                    <a:cubicBezTo>
                      <a:pt x="0" y="19"/>
                      <a:pt x="3" y="13"/>
                      <a:pt x="8" y="8"/>
                    </a:cubicBezTo>
                    <a:cubicBezTo>
                      <a:pt x="13" y="3"/>
                      <a:pt x="18" y="1"/>
                      <a:pt x="24" y="0"/>
                    </a:cubicBezTo>
                    <a:cubicBezTo>
                      <a:pt x="29" y="0"/>
                      <a:pt x="34" y="2"/>
                      <a:pt x="39" y="7"/>
                    </a:cubicBezTo>
                    <a:cubicBezTo>
                      <a:pt x="42" y="10"/>
                      <a:pt x="44" y="15"/>
                      <a:pt x="45" y="19"/>
                    </a:cubicBezTo>
                    <a:cubicBezTo>
                      <a:pt x="45" y="22"/>
                      <a:pt x="44" y="25"/>
                      <a:pt x="42" y="28"/>
                    </a:cubicBezTo>
                    <a:cubicBezTo>
                      <a:pt x="34" y="23"/>
                      <a:pt x="34" y="23"/>
                      <a:pt x="34" y="23"/>
                    </a:cubicBezTo>
                    <a:cubicBezTo>
                      <a:pt x="36" y="21"/>
                      <a:pt x="36" y="19"/>
                      <a:pt x="36" y="17"/>
                    </a:cubicBezTo>
                    <a:cubicBezTo>
                      <a:pt x="36" y="15"/>
                      <a:pt x="35" y="13"/>
                      <a:pt x="33" y="12"/>
                    </a:cubicBezTo>
                    <a:cubicBezTo>
                      <a:pt x="31" y="9"/>
                      <a:pt x="28" y="8"/>
                      <a:pt x="25" y="9"/>
                    </a:cubicBezTo>
                    <a:cubicBezTo>
                      <a:pt x="22" y="9"/>
                      <a:pt x="18" y="11"/>
                      <a:pt x="15" y="14"/>
                    </a:cubicBezTo>
                    <a:cubicBezTo>
                      <a:pt x="11" y="18"/>
                      <a:pt x="9" y="22"/>
                      <a:pt x="8" y="25"/>
                    </a:cubicBezTo>
                    <a:cubicBezTo>
                      <a:pt x="8" y="28"/>
                      <a:pt x="9" y="31"/>
                      <a:pt x="11" y="33"/>
                    </a:cubicBezTo>
                    <a:cubicBezTo>
                      <a:pt x="13" y="35"/>
                      <a:pt x="15" y="36"/>
                      <a:pt x="17" y="36"/>
                    </a:cubicBezTo>
                    <a:cubicBezTo>
                      <a:pt x="20" y="36"/>
                      <a:pt x="22" y="35"/>
                      <a:pt x="25" y="33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1049959" name="íṩḷiḋé"/>
              <p:cNvSpPr/>
              <p:nvPr/>
            </p:nvSpPr>
            <p:spPr bwMode="auto">
              <a:xfrm>
                <a:off x="1916009" y="5887040"/>
                <a:ext cx="65088" cy="71438"/>
              </a:xfrm>
              <a:custGeom>
                <a:avLst/>
                <a:gdLst>
                  <a:gd name="T0" fmla="*/ 0 w 41"/>
                  <a:gd name="T1" fmla="*/ 38 h 45"/>
                  <a:gd name="T2" fmla="*/ 34 w 41"/>
                  <a:gd name="T3" fmla="*/ 0 h 45"/>
                  <a:gd name="T4" fmla="*/ 41 w 41"/>
                  <a:gd name="T5" fmla="*/ 6 h 45"/>
                  <a:gd name="T6" fmla="*/ 8 w 41"/>
                  <a:gd name="T7" fmla="*/ 45 h 45"/>
                  <a:gd name="T8" fmla="*/ 0 w 41"/>
                  <a:gd name="T9" fmla="*/ 38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1" h="45">
                    <a:moveTo>
                      <a:pt x="0" y="38"/>
                    </a:moveTo>
                    <a:lnTo>
                      <a:pt x="34" y="0"/>
                    </a:lnTo>
                    <a:lnTo>
                      <a:pt x="41" y="6"/>
                    </a:lnTo>
                    <a:lnTo>
                      <a:pt x="8" y="45"/>
                    </a:lnTo>
                    <a:lnTo>
                      <a:pt x="0" y="38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1049960" name="îsľïďé"/>
              <p:cNvSpPr/>
              <p:nvPr/>
            </p:nvSpPr>
            <p:spPr bwMode="auto">
              <a:xfrm>
                <a:off x="1941409" y="5904503"/>
                <a:ext cx="96838" cy="101600"/>
              </a:xfrm>
              <a:custGeom>
                <a:avLst/>
                <a:gdLst>
                  <a:gd name="T0" fmla="*/ 0 w 61"/>
                  <a:gd name="T1" fmla="*/ 41 h 64"/>
                  <a:gd name="T2" fmla="*/ 31 w 61"/>
                  <a:gd name="T3" fmla="*/ 0 h 64"/>
                  <a:gd name="T4" fmla="*/ 61 w 61"/>
                  <a:gd name="T5" fmla="*/ 22 h 64"/>
                  <a:gd name="T6" fmla="*/ 56 w 61"/>
                  <a:gd name="T7" fmla="*/ 29 h 64"/>
                  <a:gd name="T8" fmla="*/ 34 w 61"/>
                  <a:gd name="T9" fmla="*/ 13 h 64"/>
                  <a:gd name="T10" fmla="*/ 27 w 61"/>
                  <a:gd name="T11" fmla="*/ 22 h 64"/>
                  <a:gd name="T12" fmla="*/ 47 w 61"/>
                  <a:gd name="T13" fmla="*/ 37 h 64"/>
                  <a:gd name="T14" fmla="*/ 42 w 61"/>
                  <a:gd name="T15" fmla="*/ 44 h 64"/>
                  <a:gd name="T16" fmla="*/ 21 w 61"/>
                  <a:gd name="T17" fmla="*/ 29 h 64"/>
                  <a:gd name="T18" fmla="*/ 13 w 61"/>
                  <a:gd name="T19" fmla="*/ 40 h 64"/>
                  <a:gd name="T20" fmla="*/ 36 w 61"/>
                  <a:gd name="T21" fmla="*/ 57 h 64"/>
                  <a:gd name="T22" fmla="*/ 31 w 61"/>
                  <a:gd name="T23" fmla="*/ 64 h 64"/>
                  <a:gd name="T24" fmla="*/ 0 w 61"/>
                  <a:gd name="T25" fmla="*/ 41 h 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1" h="64">
                    <a:moveTo>
                      <a:pt x="0" y="41"/>
                    </a:moveTo>
                    <a:lnTo>
                      <a:pt x="31" y="0"/>
                    </a:lnTo>
                    <a:lnTo>
                      <a:pt x="61" y="22"/>
                    </a:lnTo>
                    <a:lnTo>
                      <a:pt x="56" y="29"/>
                    </a:lnTo>
                    <a:lnTo>
                      <a:pt x="34" y="13"/>
                    </a:lnTo>
                    <a:lnTo>
                      <a:pt x="27" y="22"/>
                    </a:lnTo>
                    <a:lnTo>
                      <a:pt x="47" y="37"/>
                    </a:lnTo>
                    <a:lnTo>
                      <a:pt x="42" y="44"/>
                    </a:lnTo>
                    <a:lnTo>
                      <a:pt x="21" y="29"/>
                    </a:lnTo>
                    <a:lnTo>
                      <a:pt x="13" y="40"/>
                    </a:lnTo>
                    <a:lnTo>
                      <a:pt x="36" y="57"/>
                    </a:lnTo>
                    <a:lnTo>
                      <a:pt x="31" y="64"/>
                    </a:lnTo>
                    <a:lnTo>
                      <a:pt x="0" y="41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1049961" name="íśliḋé"/>
              <p:cNvSpPr/>
              <p:nvPr/>
            </p:nvSpPr>
            <p:spPr bwMode="auto">
              <a:xfrm>
                <a:off x="2004909" y="5947365"/>
                <a:ext cx="96838" cy="101600"/>
              </a:xfrm>
              <a:custGeom>
                <a:avLst/>
                <a:gdLst>
                  <a:gd name="T0" fmla="*/ 0 w 61"/>
                  <a:gd name="T1" fmla="*/ 43 h 64"/>
                  <a:gd name="T2" fmla="*/ 27 w 61"/>
                  <a:gd name="T3" fmla="*/ 0 h 64"/>
                  <a:gd name="T4" fmla="*/ 35 w 61"/>
                  <a:gd name="T5" fmla="*/ 5 h 64"/>
                  <a:gd name="T6" fmla="*/ 36 w 61"/>
                  <a:gd name="T7" fmla="*/ 45 h 64"/>
                  <a:gd name="T8" fmla="*/ 53 w 61"/>
                  <a:gd name="T9" fmla="*/ 15 h 64"/>
                  <a:gd name="T10" fmla="*/ 61 w 61"/>
                  <a:gd name="T11" fmla="*/ 21 h 64"/>
                  <a:gd name="T12" fmla="*/ 35 w 61"/>
                  <a:gd name="T13" fmla="*/ 64 h 64"/>
                  <a:gd name="T14" fmla="*/ 27 w 61"/>
                  <a:gd name="T15" fmla="*/ 59 h 64"/>
                  <a:gd name="T16" fmla="*/ 25 w 61"/>
                  <a:gd name="T17" fmla="*/ 20 h 64"/>
                  <a:gd name="T18" fmla="*/ 8 w 61"/>
                  <a:gd name="T19" fmla="*/ 49 h 64"/>
                  <a:gd name="T20" fmla="*/ 0 w 61"/>
                  <a:gd name="T21" fmla="*/ 43 h 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61" h="64">
                    <a:moveTo>
                      <a:pt x="0" y="43"/>
                    </a:moveTo>
                    <a:lnTo>
                      <a:pt x="27" y="0"/>
                    </a:lnTo>
                    <a:lnTo>
                      <a:pt x="35" y="5"/>
                    </a:lnTo>
                    <a:lnTo>
                      <a:pt x="36" y="45"/>
                    </a:lnTo>
                    <a:lnTo>
                      <a:pt x="53" y="15"/>
                    </a:lnTo>
                    <a:lnTo>
                      <a:pt x="61" y="21"/>
                    </a:lnTo>
                    <a:lnTo>
                      <a:pt x="35" y="64"/>
                    </a:lnTo>
                    <a:lnTo>
                      <a:pt x="27" y="59"/>
                    </a:lnTo>
                    <a:lnTo>
                      <a:pt x="25" y="20"/>
                    </a:lnTo>
                    <a:lnTo>
                      <a:pt x="8" y="49"/>
                    </a:lnTo>
                    <a:lnTo>
                      <a:pt x="0" y="43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1049962" name="iSļiďê"/>
              <p:cNvSpPr/>
              <p:nvPr/>
            </p:nvSpPr>
            <p:spPr bwMode="auto">
              <a:xfrm>
                <a:off x="2087459" y="5993403"/>
                <a:ext cx="79375" cy="87313"/>
              </a:xfrm>
              <a:custGeom>
                <a:avLst/>
                <a:gdLst>
                  <a:gd name="T0" fmla="*/ 28 w 43"/>
                  <a:gd name="T1" fmla="*/ 33 h 47"/>
                  <a:gd name="T2" fmla="*/ 34 w 43"/>
                  <a:gd name="T3" fmla="*/ 39 h 47"/>
                  <a:gd name="T4" fmla="*/ 24 w 43"/>
                  <a:gd name="T5" fmla="*/ 46 h 47"/>
                  <a:gd name="T6" fmla="*/ 12 w 43"/>
                  <a:gd name="T7" fmla="*/ 44 h 47"/>
                  <a:gd name="T8" fmla="*/ 1 w 43"/>
                  <a:gd name="T9" fmla="*/ 33 h 47"/>
                  <a:gd name="T10" fmla="*/ 3 w 43"/>
                  <a:gd name="T11" fmla="*/ 15 h 47"/>
                  <a:gd name="T12" fmla="*/ 15 w 43"/>
                  <a:gd name="T13" fmla="*/ 2 h 47"/>
                  <a:gd name="T14" fmla="*/ 32 w 43"/>
                  <a:gd name="T15" fmla="*/ 3 h 47"/>
                  <a:gd name="T16" fmla="*/ 41 w 43"/>
                  <a:gd name="T17" fmla="*/ 13 h 47"/>
                  <a:gd name="T18" fmla="*/ 42 w 43"/>
                  <a:gd name="T19" fmla="*/ 22 h 47"/>
                  <a:gd name="T20" fmla="*/ 33 w 43"/>
                  <a:gd name="T21" fmla="*/ 20 h 47"/>
                  <a:gd name="T22" fmla="*/ 33 w 43"/>
                  <a:gd name="T23" fmla="*/ 14 h 47"/>
                  <a:gd name="T24" fmla="*/ 28 w 43"/>
                  <a:gd name="T25" fmla="*/ 10 h 47"/>
                  <a:gd name="T26" fmla="*/ 19 w 43"/>
                  <a:gd name="T27" fmla="*/ 10 h 47"/>
                  <a:gd name="T28" fmla="*/ 12 w 43"/>
                  <a:gd name="T29" fmla="*/ 19 h 47"/>
                  <a:gd name="T30" fmla="*/ 9 w 43"/>
                  <a:gd name="T31" fmla="*/ 31 h 47"/>
                  <a:gd name="T32" fmla="*/ 15 w 43"/>
                  <a:gd name="T33" fmla="*/ 37 h 47"/>
                  <a:gd name="T34" fmla="*/ 22 w 43"/>
                  <a:gd name="T35" fmla="*/ 38 h 47"/>
                  <a:gd name="T36" fmla="*/ 28 w 43"/>
                  <a:gd name="T37" fmla="*/ 33 h 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43" h="47">
                    <a:moveTo>
                      <a:pt x="28" y="33"/>
                    </a:moveTo>
                    <a:cubicBezTo>
                      <a:pt x="34" y="39"/>
                      <a:pt x="34" y="39"/>
                      <a:pt x="34" y="39"/>
                    </a:cubicBezTo>
                    <a:cubicBezTo>
                      <a:pt x="31" y="43"/>
                      <a:pt x="28" y="45"/>
                      <a:pt x="24" y="46"/>
                    </a:cubicBezTo>
                    <a:cubicBezTo>
                      <a:pt x="20" y="47"/>
                      <a:pt x="16" y="46"/>
                      <a:pt x="12" y="44"/>
                    </a:cubicBezTo>
                    <a:cubicBezTo>
                      <a:pt x="7" y="42"/>
                      <a:pt x="3" y="38"/>
                      <a:pt x="1" y="33"/>
                    </a:cubicBezTo>
                    <a:cubicBezTo>
                      <a:pt x="0" y="27"/>
                      <a:pt x="0" y="22"/>
                      <a:pt x="3" y="15"/>
                    </a:cubicBezTo>
                    <a:cubicBezTo>
                      <a:pt x="6" y="9"/>
                      <a:pt x="10" y="4"/>
                      <a:pt x="15" y="2"/>
                    </a:cubicBezTo>
                    <a:cubicBezTo>
                      <a:pt x="21" y="0"/>
                      <a:pt x="26" y="1"/>
                      <a:pt x="32" y="3"/>
                    </a:cubicBezTo>
                    <a:cubicBezTo>
                      <a:pt x="36" y="5"/>
                      <a:pt x="40" y="9"/>
                      <a:pt x="41" y="13"/>
                    </a:cubicBezTo>
                    <a:cubicBezTo>
                      <a:pt x="42" y="16"/>
                      <a:pt x="43" y="19"/>
                      <a:pt x="42" y="22"/>
                    </a:cubicBezTo>
                    <a:cubicBezTo>
                      <a:pt x="33" y="20"/>
                      <a:pt x="33" y="20"/>
                      <a:pt x="33" y="20"/>
                    </a:cubicBezTo>
                    <a:cubicBezTo>
                      <a:pt x="34" y="18"/>
                      <a:pt x="34" y="16"/>
                      <a:pt x="33" y="14"/>
                    </a:cubicBezTo>
                    <a:cubicBezTo>
                      <a:pt x="32" y="12"/>
                      <a:pt x="30" y="11"/>
                      <a:pt x="28" y="10"/>
                    </a:cubicBezTo>
                    <a:cubicBezTo>
                      <a:pt x="25" y="8"/>
                      <a:pt x="22" y="8"/>
                      <a:pt x="19" y="10"/>
                    </a:cubicBezTo>
                    <a:cubicBezTo>
                      <a:pt x="16" y="11"/>
                      <a:pt x="14" y="14"/>
                      <a:pt x="12" y="19"/>
                    </a:cubicBezTo>
                    <a:cubicBezTo>
                      <a:pt x="9" y="24"/>
                      <a:pt x="9" y="28"/>
                      <a:pt x="9" y="31"/>
                    </a:cubicBezTo>
                    <a:cubicBezTo>
                      <a:pt x="10" y="34"/>
                      <a:pt x="12" y="36"/>
                      <a:pt x="15" y="37"/>
                    </a:cubicBezTo>
                    <a:cubicBezTo>
                      <a:pt x="17" y="38"/>
                      <a:pt x="19" y="38"/>
                      <a:pt x="22" y="38"/>
                    </a:cubicBezTo>
                    <a:cubicBezTo>
                      <a:pt x="24" y="37"/>
                      <a:pt x="26" y="35"/>
                      <a:pt x="28" y="33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1049963" name="íSliḋé"/>
              <p:cNvSpPr/>
              <p:nvPr/>
            </p:nvSpPr>
            <p:spPr bwMode="auto">
              <a:xfrm>
                <a:off x="2157309" y="6017215"/>
                <a:ext cx="82550" cy="96838"/>
              </a:xfrm>
              <a:custGeom>
                <a:avLst/>
                <a:gdLst>
                  <a:gd name="T0" fmla="*/ 0 w 52"/>
                  <a:gd name="T1" fmla="*/ 49 h 61"/>
                  <a:gd name="T2" fmla="*/ 16 w 52"/>
                  <a:gd name="T3" fmla="*/ 0 h 61"/>
                  <a:gd name="T4" fmla="*/ 52 w 52"/>
                  <a:gd name="T5" fmla="*/ 13 h 61"/>
                  <a:gd name="T6" fmla="*/ 50 w 52"/>
                  <a:gd name="T7" fmla="*/ 21 h 61"/>
                  <a:gd name="T8" fmla="*/ 23 w 52"/>
                  <a:gd name="T9" fmla="*/ 12 h 61"/>
                  <a:gd name="T10" fmla="*/ 20 w 52"/>
                  <a:gd name="T11" fmla="*/ 22 h 61"/>
                  <a:gd name="T12" fmla="*/ 44 w 52"/>
                  <a:gd name="T13" fmla="*/ 30 h 61"/>
                  <a:gd name="T14" fmla="*/ 41 w 52"/>
                  <a:gd name="T15" fmla="*/ 38 h 61"/>
                  <a:gd name="T16" fmla="*/ 18 w 52"/>
                  <a:gd name="T17" fmla="*/ 30 h 61"/>
                  <a:gd name="T18" fmla="*/ 13 w 52"/>
                  <a:gd name="T19" fmla="*/ 43 h 61"/>
                  <a:gd name="T20" fmla="*/ 40 w 52"/>
                  <a:gd name="T21" fmla="*/ 52 h 61"/>
                  <a:gd name="T22" fmla="*/ 36 w 52"/>
                  <a:gd name="T23" fmla="*/ 61 h 61"/>
                  <a:gd name="T24" fmla="*/ 0 w 52"/>
                  <a:gd name="T25" fmla="*/ 49 h 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52" h="61">
                    <a:moveTo>
                      <a:pt x="0" y="49"/>
                    </a:moveTo>
                    <a:lnTo>
                      <a:pt x="16" y="0"/>
                    </a:lnTo>
                    <a:lnTo>
                      <a:pt x="52" y="13"/>
                    </a:lnTo>
                    <a:lnTo>
                      <a:pt x="50" y="21"/>
                    </a:lnTo>
                    <a:lnTo>
                      <a:pt x="23" y="12"/>
                    </a:lnTo>
                    <a:lnTo>
                      <a:pt x="20" y="22"/>
                    </a:lnTo>
                    <a:lnTo>
                      <a:pt x="44" y="30"/>
                    </a:lnTo>
                    <a:lnTo>
                      <a:pt x="41" y="38"/>
                    </a:lnTo>
                    <a:lnTo>
                      <a:pt x="18" y="30"/>
                    </a:lnTo>
                    <a:lnTo>
                      <a:pt x="13" y="43"/>
                    </a:lnTo>
                    <a:lnTo>
                      <a:pt x="40" y="52"/>
                    </a:lnTo>
                    <a:lnTo>
                      <a:pt x="36" y="61"/>
                    </a:lnTo>
                    <a:lnTo>
                      <a:pt x="0" y="49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1049964" name="îŝ1îḑè"/>
              <p:cNvSpPr/>
              <p:nvPr/>
            </p:nvSpPr>
            <p:spPr bwMode="auto">
              <a:xfrm>
                <a:off x="2663722" y="6026740"/>
                <a:ext cx="77788" cy="92075"/>
              </a:xfrm>
              <a:custGeom>
                <a:avLst/>
                <a:gdLst>
                  <a:gd name="T0" fmla="*/ 49 w 49"/>
                  <a:gd name="T1" fmla="*/ 42 h 58"/>
                  <a:gd name="T2" fmla="*/ 39 w 49"/>
                  <a:gd name="T3" fmla="*/ 45 h 58"/>
                  <a:gd name="T4" fmla="*/ 31 w 49"/>
                  <a:gd name="T5" fmla="*/ 36 h 58"/>
                  <a:gd name="T6" fmla="*/ 11 w 49"/>
                  <a:gd name="T7" fmla="*/ 43 h 58"/>
                  <a:gd name="T8" fmla="*/ 11 w 49"/>
                  <a:gd name="T9" fmla="*/ 55 h 58"/>
                  <a:gd name="T10" fmla="*/ 0 w 49"/>
                  <a:gd name="T11" fmla="*/ 58 h 58"/>
                  <a:gd name="T12" fmla="*/ 3 w 49"/>
                  <a:gd name="T13" fmla="*/ 3 h 58"/>
                  <a:gd name="T14" fmla="*/ 13 w 49"/>
                  <a:gd name="T15" fmla="*/ 0 h 58"/>
                  <a:gd name="T16" fmla="*/ 49 w 49"/>
                  <a:gd name="T17" fmla="*/ 42 h 58"/>
                  <a:gd name="T18" fmla="*/ 25 w 49"/>
                  <a:gd name="T19" fmla="*/ 29 h 58"/>
                  <a:gd name="T20" fmla="*/ 12 w 49"/>
                  <a:gd name="T21" fmla="*/ 14 h 58"/>
                  <a:gd name="T22" fmla="*/ 11 w 49"/>
                  <a:gd name="T23" fmla="*/ 34 h 58"/>
                  <a:gd name="T24" fmla="*/ 25 w 49"/>
                  <a:gd name="T25" fmla="*/ 29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49" h="58">
                    <a:moveTo>
                      <a:pt x="49" y="42"/>
                    </a:moveTo>
                    <a:lnTo>
                      <a:pt x="39" y="45"/>
                    </a:lnTo>
                    <a:lnTo>
                      <a:pt x="31" y="36"/>
                    </a:lnTo>
                    <a:lnTo>
                      <a:pt x="11" y="43"/>
                    </a:lnTo>
                    <a:lnTo>
                      <a:pt x="11" y="55"/>
                    </a:lnTo>
                    <a:lnTo>
                      <a:pt x="0" y="58"/>
                    </a:lnTo>
                    <a:lnTo>
                      <a:pt x="3" y="3"/>
                    </a:lnTo>
                    <a:lnTo>
                      <a:pt x="13" y="0"/>
                    </a:lnTo>
                    <a:lnTo>
                      <a:pt x="49" y="42"/>
                    </a:lnTo>
                    <a:close/>
                    <a:moveTo>
                      <a:pt x="25" y="29"/>
                    </a:moveTo>
                    <a:lnTo>
                      <a:pt x="12" y="14"/>
                    </a:lnTo>
                    <a:lnTo>
                      <a:pt x="11" y="34"/>
                    </a:lnTo>
                    <a:lnTo>
                      <a:pt x="25" y="29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1049965" name="íṩḻiḋê"/>
              <p:cNvSpPr/>
              <p:nvPr/>
            </p:nvSpPr>
            <p:spPr bwMode="auto">
              <a:xfrm>
                <a:off x="2714522" y="5990228"/>
                <a:ext cx="92075" cy="101600"/>
              </a:xfrm>
              <a:custGeom>
                <a:avLst/>
                <a:gdLst>
                  <a:gd name="T0" fmla="*/ 21 w 58"/>
                  <a:gd name="T1" fmla="*/ 64 h 64"/>
                  <a:gd name="T2" fmla="*/ 0 w 58"/>
                  <a:gd name="T3" fmla="*/ 17 h 64"/>
                  <a:gd name="T4" fmla="*/ 9 w 58"/>
                  <a:gd name="T5" fmla="*/ 12 h 64"/>
                  <a:gd name="T6" fmla="*/ 43 w 58"/>
                  <a:gd name="T7" fmla="*/ 36 h 64"/>
                  <a:gd name="T8" fmla="*/ 29 w 58"/>
                  <a:gd name="T9" fmla="*/ 4 h 64"/>
                  <a:gd name="T10" fmla="*/ 37 w 58"/>
                  <a:gd name="T11" fmla="*/ 0 h 64"/>
                  <a:gd name="T12" fmla="*/ 58 w 58"/>
                  <a:gd name="T13" fmla="*/ 46 h 64"/>
                  <a:gd name="T14" fmla="*/ 49 w 58"/>
                  <a:gd name="T15" fmla="*/ 51 h 64"/>
                  <a:gd name="T16" fmla="*/ 16 w 58"/>
                  <a:gd name="T17" fmla="*/ 29 h 64"/>
                  <a:gd name="T18" fmla="*/ 30 w 58"/>
                  <a:gd name="T19" fmla="*/ 59 h 64"/>
                  <a:gd name="T20" fmla="*/ 21 w 58"/>
                  <a:gd name="T21" fmla="*/ 64 h 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58" h="64">
                    <a:moveTo>
                      <a:pt x="21" y="64"/>
                    </a:moveTo>
                    <a:lnTo>
                      <a:pt x="0" y="17"/>
                    </a:lnTo>
                    <a:lnTo>
                      <a:pt x="9" y="12"/>
                    </a:lnTo>
                    <a:lnTo>
                      <a:pt x="43" y="36"/>
                    </a:lnTo>
                    <a:lnTo>
                      <a:pt x="29" y="4"/>
                    </a:lnTo>
                    <a:lnTo>
                      <a:pt x="37" y="0"/>
                    </a:lnTo>
                    <a:lnTo>
                      <a:pt x="58" y="46"/>
                    </a:lnTo>
                    <a:lnTo>
                      <a:pt x="49" y="51"/>
                    </a:lnTo>
                    <a:lnTo>
                      <a:pt x="16" y="29"/>
                    </a:lnTo>
                    <a:lnTo>
                      <a:pt x="30" y="59"/>
                    </a:lnTo>
                    <a:lnTo>
                      <a:pt x="21" y="64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1049966" name="îṧľíḍe"/>
              <p:cNvSpPr/>
              <p:nvPr/>
            </p:nvSpPr>
            <p:spPr bwMode="auto">
              <a:xfrm>
                <a:off x="2781197" y="5963240"/>
                <a:ext cx="85725" cy="95250"/>
              </a:xfrm>
              <a:custGeom>
                <a:avLst/>
                <a:gdLst>
                  <a:gd name="T0" fmla="*/ 0 w 47"/>
                  <a:gd name="T1" fmla="*/ 13 h 51"/>
                  <a:gd name="T2" fmla="*/ 14 w 47"/>
                  <a:gd name="T3" fmla="*/ 4 h 51"/>
                  <a:gd name="T4" fmla="*/ 22 w 47"/>
                  <a:gd name="T5" fmla="*/ 1 h 51"/>
                  <a:gd name="T6" fmla="*/ 29 w 47"/>
                  <a:gd name="T7" fmla="*/ 1 h 51"/>
                  <a:gd name="T8" fmla="*/ 37 w 47"/>
                  <a:gd name="T9" fmla="*/ 5 h 51"/>
                  <a:gd name="T10" fmla="*/ 43 w 47"/>
                  <a:gd name="T11" fmla="*/ 14 h 51"/>
                  <a:gd name="T12" fmla="*/ 47 w 47"/>
                  <a:gd name="T13" fmla="*/ 22 h 51"/>
                  <a:gd name="T14" fmla="*/ 46 w 47"/>
                  <a:gd name="T15" fmla="*/ 31 h 51"/>
                  <a:gd name="T16" fmla="*/ 43 w 47"/>
                  <a:gd name="T17" fmla="*/ 38 h 51"/>
                  <a:gd name="T18" fmla="*/ 36 w 47"/>
                  <a:gd name="T19" fmla="*/ 42 h 51"/>
                  <a:gd name="T20" fmla="*/ 22 w 47"/>
                  <a:gd name="T21" fmla="*/ 51 h 51"/>
                  <a:gd name="T22" fmla="*/ 0 w 47"/>
                  <a:gd name="T23" fmla="*/ 13 h 51"/>
                  <a:gd name="T24" fmla="*/ 11 w 47"/>
                  <a:gd name="T25" fmla="*/ 15 h 51"/>
                  <a:gd name="T26" fmla="*/ 26 w 47"/>
                  <a:gd name="T27" fmla="*/ 40 h 51"/>
                  <a:gd name="T28" fmla="*/ 32 w 47"/>
                  <a:gd name="T29" fmla="*/ 37 h 51"/>
                  <a:gd name="T30" fmla="*/ 36 w 47"/>
                  <a:gd name="T31" fmla="*/ 33 h 51"/>
                  <a:gd name="T32" fmla="*/ 38 w 47"/>
                  <a:gd name="T33" fmla="*/ 30 h 51"/>
                  <a:gd name="T34" fmla="*/ 38 w 47"/>
                  <a:gd name="T35" fmla="*/ 25 h 51"/>
                  <a:gd name="T36" fmla="*/ 35 w 47"/>
                  <a:gd name="T37" fmla="*/ 18 h 51"/>
                  <a:gd name="T38" fmla="*/ 30 w 47"/>
                  <a:gd name="T39" fmla="*/ 11 h 51"/>
                  <a:gd name="T40" fmla="*/ 26 w 47"/>
                  <a:gd name="T41" fmla="*/ 9 h 51"/>
                  <a:gd name="T42" fmla="*/ 21 w 47"/>
                  <a:gd name="T43" fmla="*/ 9 h 51"/>
                  <a:gd name="T44" fmla="*/ 15 w 47"/>
                  <a:gd name="T45" fmla="*/ 13 h 51"/>
                  <a:gd name="T46" fmla="*/ 11 w 47"/>
                  <a:gd name="T47" fmla="*/ 15 h 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47" h="51">
                    <a:moveTo>
                      <a:pt x="0" y="13"/>
                    </a:moveTo>
                    <a:cubicBezTo>
                      <a:pt x="14" y="4"/>
                      <a:pt x="14" y="4"/>
                      <a:pt x="14" y="4"/>
                    </a:cubicBezTo>
                    <a:cubicBezTo>
                      <a:pt x="17" y="3"/>
                      <a:pt x="20" y="1"/>
                      <a:pt x="22" y="1"/>
                    </a:cubicBezTo>
                    <a:cubicBezTo>
                      <a:pt x="24" y="0"/>
                      <a:pt x="27" y="0"/>
                      <a:pt x="29" y="1"/>
                    </a:cubicBezTo>
                    <a:cubicBezTo>
                      <a:pt x="32" y="2"/>
                      <a:pt x="34" y="3"/>
                      <a:pt x="37" y="5"/>
                    </a:cubicBezTo>
                    <a:cubicBezTo>
                      <a:pt x="39" y="7"/>
                      <a:pt x="41" y="10"/>
                      <a:pt x="43" y="14"/>
                    </a:cubicBezTo>
                    <a:cubicBezTo>
                      <a:pt x="45" y="17"/>
                      <a:pt x="46" y="20"/>
                      <a:pt x="47" y="22"/>
                    </a:cubicBezTo>
                    <a:cubicBezTo>
                      <a:pt x="47" y="26"/>
                      <a:pt x="47" y="29"/>
                      <a:pt x="46" y="31"/>
                    </a:cubicBezTo>
                    <a:cubicBezTo>
                      <a:pt x="46" y="34"/>
                      <a:pt x="45" y="36"/>
                      <a:pt x="43" y="38"/>
                    </a:cubicBezTo>
                    <a:cubicBezTo>
                      <a:pt x="41" y="39"/>
                      <a:pt x="39" y="41"/>
                      <a:pt x="36" y="42"/>
                    </a:cubicBezTo>
                    <a:cubicBezTo>
                      <a:pt x="22" y="51"/>
                      <a:pt x="22" y="51"/>
                      <a:pt x="22" y="51"/>
                    </a:cubicBezTo>
                    <a:lnTo>
                      <a:pt x="0" y="13"/>
                    </a:lnTo>
                    <a:close/>
                    <a:moveTo>
                      <a:pt x="11" y="15"/>
                    </a:moveTo>
                    <a:cubicBezTo>
                      <a:pt x="26" y="40"/>
                      <a:pt x="26" y="40"/>
                      <a:pt x="26" y="40"/>
                    </a:cubicBezTo>
                    <a:cubicBezTo>
                      <a:pt x="32" y="37"/>
                      <a:pt x="32" y="37"/>
                      <a:pt x="32" y="37"/>
                    </a:cubicBezTo>
                    <a:cubicBezTo>
                      <a:pt x="34" y="35"/>
                      <a:pt x="35" y="34"/>
                      <a:pt x="36" y="33"/>
                    </a:cubicBezTo>
                    <a:cubicBezTo>
                      <a:pt x="37" y="32"/>
                      <a:pt x="38" y="31"/>
                      <a:pt x="38" y="30"/>
                    </a:cubicBezTo>
                    <a:cubicBezTo>
                      <a:pt x="39" y="29"/>
                      <a:pt x="39" y="27"/>
                      <a:pt x="38" y="25"/>
                    </a:cubicBezTo>
                    <a:cubicBezTo>
                      <a:pt x="38" y="23"/>
                      <a:pt x="37" y="21"/>
                      <a:pt x="35" y="18"/>
                    </a:cubicBezTo>
                    <a:cubicBezTo>
                      <a:pt x="33" y="15"/>
                      <a:pt x="32" y="13"/>
                      <a:pt x="30" y="11"/>
                    </a:cubicBezTo>
                    <a:cubicBezTo>
                      <a:pt x="29" y="10"/>
                      <a:pt x="27" y="9"/>
                      <a:pt x="26" y="9"/>
                    </a:cubicBezTo>
                    <a:cubicBezTo>
                      <a:pt x="25" y="9"/>
                      <a:pt x="23" y="9"/>
                      <a:pt x="21" y="9"/>
                    </a:cubicBezTo>
                    <a:cubicBezTo>
                      <a:pt x="20" y="10"/>
                      <a:pt x="18" y="11"/>
                      <a:pt x="15" y="13"/>
                    </a:cubicBezTo>
                    <a:lnTo>
                      <a:pt x="11" y="15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1049967" name="ïṩḻiḍe"/>
              <p:cNvSpPr/>
              <p:nvPr/>
            </p:nvSpPr>
            <p:spPr bwMode="auto">
              <a:xfrm>
                <a:off x="2876447" y="5888628"/>
                <a:ext cx="80963" cy="88900"/>
              </a:xfrm>
              <a:custGeom>
                <a:avLst/>
                <a:gdLst>
                  <a:gd name="T0" fmla="*/ 43 w 51"/>
                  <a:gd name="T1" fmla="*/ 56 h 56"/>
                  <a:gd name="T2" fmla="*/ 16 w 51"/>
                  <a:gd name="T3" fmla="*/ 22 h 56"/>
                  <a:gd name="T4" fmla="*/ 5 w 51"/>
                  <a:gd name="T5" fmla="*/ 31 h 56"/>
                  <a:gd name="T6" fmla="*/ 0 w 51"/>
                  <a:gd name="T7" fmla="*/ 25 h 56"/>
                  <a:gd name="T8" fmla="*/ 31 w 51"/>
                  <a:gd name="T9" fmla="*/ 0 h 56"/>
                  <a:gd name="T10" fmla="*/ 37 w 51"/>
                  <a:gd name="T11" fmla="*/ 7 h 56"/>
                  <a:gd name="T12" fmla="*/ 24 w 51"/>
                  <a:gd name="T13" fmla="*/ 16 h 56"/>
                  <a:gd name="T14" fmla="*/ 51 w 51"/>
                  <a:gd name="T15" fmla="*/ 49 h 56"/>
                  <a:gd name="T16" fmla="*/ 43 w 51"/>
                  <a:gd name="T17" fmla="*/ 56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1" h="56">
                    <a:moveTo>
                      <a:pt x="43" y="56"/>
                    </a:moveTo>
                    <a:lnTo>
                      <a:pt x="16" y="22"/>
                    </a:lnTo>
                    <a:lnTo>
                      <a:pt x="5" y="31"/>
                    </a:lnTo>
                    <a:lnTo>
                      <a:pt x="0" y="25"/>
                    </a:lnTo>
                    <a:lnTo>
                      <a:pt x="31" y="0"/>
                    </a:lnTo>
                    <a:lnTo>
                      <a:pt x="37" y="7"/>
                    </a:lnTo>
                    <a:lnTo>
                      <a:pt x="24" y="16"/>
                    </a:lnTo>
                    <a:lnTo>
                      <a:pt x="51" y="49"/>
                    </a:lnTo>
                    <a:lnTo>
                      <a:pt x="43" y="56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1049968" name="íśļïḓè"/>
              <p:cNvSpPr/>
              <p:nvPr/>
            </p:nvSpPr>
            <p:spPr bwMode="auto">
              <a:xfrm>
                <a:off x="2925659" y="5845765"/>
                <a:ext cx="101600" cy="100013"/>
              </a:xfrm>
              <a:custGeom>
                <a:avLst/>
                <a:gdLst>
                  <a:gd name="T0" fmla="*/ 36 w 64"/>
                  <a:gd name="T1" fmla="*/ 63 h 63"/>
                  <a:gd name="T2" fmla="*/ 0 w 64"/>
                  <a:gd name="T3" fmla="*/ 26 h 63"/>
                  <a:gd name="T4" fmla="*/ 28 w 64"/>
                  <a:gd name="T5" fmla="*/ 0 h 63"/>
                  <a:gd name="T6" fmla="*/ 34 w 64"/>
                  <a:gd name="T7" fmla="*/ 6 h 63"/>
                  <a:gd name="T8" fmla="*/ 14 w 64"/>
                  <a:gd name="T9" fmla="*/ 26 h 63"/>
                  <a:gd name="T10" fmla="*/ 22 w 64"/>
                  <a:gd name="T11" fmla="*/ 34 h 63"/>
                  <a:gd name="T12" fmla="*/ 41 w 64"/>
                  <a:gd name="T13" fmla="*/ 16 h 63"/>
                  <a:gd name="T14" fmla="*/ 47 w 64"/>
                  <a:gd name="T15" fmla="*/ 22 h 63"/>
                  <a:gd name="T16" fmla="*/ 28 w 64"/>
                  <a:gd name="T17" fmla="*/ 39 h 63"/>
                  <a:gd name="T18" fmla="*/ 38 w 64"/>
                  <a:gd name="T19" fmla="*/ 50 h 63"/>
                  <a:gd name="T20" fmla="*/ 58 w 64"/>
                  <a:gd name="T21" fmla="*/ 30 h 63"/>
                  <a:gd name="T22" fmla="*/ 64 w 64"/>
                  <a:gd name="T23" fmla="*/ 36 h 63"/>
                  <a:gd name="T24" fmla="*/ 36 w 64"/>
                  <a:gd name="T25" fmla="*/ 63 h 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4" h="63">
                    <a:moveTo>
                      <a:pt x="36" y="63"/>
                    </a:moveTo>
                    <a:lnTo>
                      <a:pt x="0" y="26"/>
                    </a:lnTo>
                    <a:lnTo>
                      <a:pt x="28" y="0"/>
                    </a:lnTo>
                    <a:lnTo>
                      <a:pt x="34" y="6"/>
                    </a:lnTo>
                    <a:lnTo>
                      <a:pt x="14" y="26"/>
                    </a:lnTo>
                    <a:lnTo>
                      <a:pt x="22" y="34"/>
                    </a:lnTo>
                    <a:lnTo>
                      <a:pt x="41" y="16"/>
                    </a:lnTo>
                    <a:lnTo>
                      <a:pt x="47" y="22"/>
                    </a:lnTo>
                    <a:lnTo>
                      <a:pt x="28" y="39"/>
                    </a:lnTo>
                    <a:lnTo>
                      <a:pt x="38" y="50"/>
                    </a:lnTo>
                    <a:lnTo>
                      <a:pt x="58" y="30"/>
                    </a:lnTo>
                    <a:lnTo>
                      <a:pt x="64" y="36"/>
                    </a:lnTo>
                    <a:lnTo>
                      <a:pt x="36" y="63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1049969" name="íṩḻîde"/>
              <p:cNvSpPr/>
              <p:nvPr/>
            </p:nvSpPr>
            <p:spPr bwMode="auto">
              <a:xfrm>
                <a:off x="2985984" y="5801315"/>
                <a:ext cx="82550" cy="80963"/>
              </a:xfrm>
              <a:custGeom>
                <a:avLst/>
                <a:gdLst>
                  <a:gd name="T0" fmla="*/ 34 w 45"/>
                  <a:gd name="T1" fmla="*/ 19 h 44"/>
                  <a:gd name="T2" fmla="*/ 41 w 45"/>
                  <a:gd name="T3" fmla="*/ 14 h 44"/>
                  <a:gd name="T4" fmla="*/ 45 w 45"/>
                  <a:gd name="T5" fmla="*/ 26 h 44"/>
                  <a:gd name="T6" fmla="*/ 40 w 45"/>
                  <a:gd name="T7" fmla="*/ 37 h 44"/>
                  <a:gd name="T8" fmla="*/ 26 w 45"/>
                  <a:gd name="T9" fmla="*/ 44 h 44"/>
                  <a:gd name="T10" fmla="*/ 10 w 45"/>
                  <a:gd name="T11" fmla="*/ 38 h 44"/>
                  <a:gd name="T12" fmla="*/ 1 w 45"/>
                  <a:gd name="T13" fmla="*/ 22 h 44"/>
                  <a:gd name="T14" fmla="*/ 6 w 45"/>
                  <a:gd name="T15" fmla="*/ 7 h 44"/>
                  <a:gd name="T16" fmla="*/ 18 w 45"/>
                  <a:gd name="T17" fmla="*/ 0 h 44"/>
                  <a:gd name="T18" fmla="*/ 27 w 45"/>
                  <a:gd name="T19" fmla="*/ 2 h 44"/>
                  <a:gd name="T20" fmla="*/ 23 w 45"/>
                  <a:gd name="T21" fmla="*/ 10 h 44"/>
                  <a:gd name="T22" fmla="*/ 17 w 45"/>
                  <a:gd name="T23" fmla="*/ 9 h 44"/>
                  <a:gd name="T24" fmla="*/ 11 w 45"/>
                  <a:gd name="T25" fmla="*/ 12 h 44"/>
                  <a:gd name="T26" fmla="*/ 9 w 45"/>
                  <a:gd name="T27" fmla="*/ 21 h 44"/>
                  <a:gd name="T28" fmla="*/ 15 w 45"/>
                  <a:gd name="T29" fmla="*/ 30 h 44"/>
                  <a:gd name="T30" fmla="*/ 26 w 45"/>
                  <a:gd name="T31" fmla="*/ 36 h 44"/>
                  <a:gd name="T32" fmla="*/ 34 w 45"/>
                  <a:gd name="T33" fmla="*/ 32 h 44"/>
                  <a:gd name="T34" fmla="*/ 36 w 45"/>
                  <a:gd name="T35" fmla="*/ 26 h 44"/>
                  <a:gd name="T36" fmla="*/ 34 w 45"/>
                  <a:gd name="T37" fmla="*/ 19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45" h="44">
                    <a:moveTo>
                      <a:pt x="34" y="19"/>
                    </a:moveTo>
                    <a:cubicBezTo>
                      <a:pt x="41" y="14"/>
                      <a:pt x="41" y="14"/>
                      <a:pt x="41" y="14"/>
                    </a:cubicBezTo>
                    <a:cubicBezTo>
                      <a:pt x="44" y="18"/>
                      <a:pt x="45" y="22"/>
                      <a:pt x="45" y="26"/>
                    </a:cubicBezTo>
                    <a:cubicBezTo>
                      <a:pt x="45" y="30"/>
                      <a:pt x="43" y="34"/>
                      <a:pt x="40" y="37"/>
                    </a:cubicBezTo>
                    <a:cubicBezTo>
                      <a:pt x="36" y="42"/>
                      <a:pt x="31" y="44"/>
                      <a:pt x="26" y="44"/>
                    </a:cubicBezTo>
                    <a:cubicBezTo>
                      <a:pt x="21" y="44"/>
                      <a:pt x="15" y="42"/>
                      <a:pt x="10" y="38"/>
                    </a:cubicBezTo>
                    <a:cubicBezTo>
                      <a:pt x="4" y="33"/>
                      <a:pt x="1" y="28"/>
                      <a:pt x="1" y="22"/>
                    </a:cubicBezTo>
                    <a:cubicBezTo>
                      <a:pt x="0" y="17"/>
                      <a:pt x="2" y="12"/>
                      <a:pt x="6" y="7"/>
                    </a:cubicBezTo>
                    <a:cubicBezTo>
                      <a:pt x="10" y="3"/>
                      <a:pt x="14" y="1"/>
                      <a:pt x="18" y="0"/>
                    </a:cubicBezTo>
                    <a:cubicBezTo>
                      <a:pt x="21" y="0"/>
                      <a:pt x="24" y="1"/>
                      <a:pt x="27" y="2"/>
                    </a:cubicBezTo>
                    <a:cubicBezTo>
                      <a:pt x="23" y="10"/>
                      <a:pt x="23" y="10"/>
                      <a:pt x="23" y="10"/>
                    </a:cubicBezTo>
                    <a:cubicBezTo>
                      <a:pt x="21" y="9"/>
                      <a:pt x="19" y="9"/>
                      <a:pt x="17" y="9"/>
                    </a:cubicBezTo>
                    <a:cubicBezTo>
                      <a:pt x="15" y="9"/>
                      <a:pt x="13" y="11"/>
                      <a:pt x="11" y="12"/>
                    </a:cubicBezTo>
                    <a:cubicBezTo>
                      <a:pt x="9" y="15"/>
                      <a:pt x="8" y="18"/>
                      <a:pt x="9" y="21"/>
                    </a:cubicBezTo>
                    <a:cubicBezTo>
                      <a:pt x="9" y="24"/>
                      <a:pt x="12" y="27"/>
                      <a:pt x="15" y="30"/>
                    </a:cubicBezTo>
                    <a:cubicBezTo>
                      <a:pt x="20" y="34"/>
                      <a:pt x="23" y="36"/>
                      <a:pt x="26" y="36"/>
                    </a:cubicBezTo>
                    <a:cubicBezTo>
                      <a:pt x="29" y="36"/>
                      <a:pt x="32" y="35"/>
                      <a:pt x="34" y="32"/>
                    </a:cubicBezTo>
                    <a:cubicBezTo>
                      <a:pt x="36" y="31"/>
                      <a:pt x="36" y="29"/>
                      <a:pt x="36" y="26"/>
                    </a:cubicBezTo>
                    <a:cubicBezTo>
                      <a:pt x="36" y="24"/>
                      <a:pt x="35" y="22"/>
                      <a:pt x="34" y="1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1049970" name="îŝḷïḓê"/>
              <p:cNvSpPr/>
              <p:nvPr/>
            </p:nvSpPr>
            <p:spPr bwMode="auto">
              <a:xfrm>
                <a:off x="3022497" y="5733053"/>
                <a:ext cx="103188" cy="101600"/>
              </a:xfrm>
              <a:custGeom>
                <a:avLst/>
                <a:gdLst>
                  <a:gd name="T0" fmla="*/ 42 w 65"/>
                  <a:gd name="T1" fmla="*/ 64 h 64"/>
                  <a:gd name="T2" fmla="*/ 0 w 65"/>
                  <a:gd name="T3" fmla="*/ 34 h 64"/>
                  <a:gd name="T4" fmla="*/ 6 w 65"/>
                  <a:gd name="T5" fmla="*/ 26 h 64"/>
                  <a:gd name="T6" fmla="*/ 22 w 65"/>
                  <a:gd name="T7" fmla="*/ 37 h 64"/>
                  <a:gd name="T8" fmla="*/ 33 w 65"/>
                  <a:gd name="T9" fmla="*/ 21 h 64"/>
                  <a:gd name="T10" fmla="*/ 17 w 65"/>
                  <a:gd name="T11" fmla="*/ 9 h 64"/>
                  <a:gd name="T12" fmla="*/ 23 w 65"/>
                  <a:gd name="T13" fmla="*/ 0 h 64"/>
                  <a:gd name="T14" fmla="*/ 65 w 65"/>
                  <a:gd name="T15" fmla="*/ 30 h 64"/>
                  <a:gd name="T16" fmla="*/ 59 w 65"/>
                  <a:gd name="T17" fmla="*/ 38 h 64"/>
                  <a:gd name="T18" fmla="*/ 40 w 65"/>
                  <a:gd name="T19" fmla="*/ 26 h 64"/>
                  <a:gd name="T20" fmla="*/ 29 w 65"/>
                  <a:gd name="T21" fmla="*/ 42 h 64"/>
                  <a:gd name="T22" fmla="*/ 47 w 65"/>
                  <a:gd name="T23" fmla="*/ 55 h 64"/>
                  <a:gd name="T24" fmla="*/ 42 w 65"/>
                  <a:gd name="T25" fmla="*/ 64 h 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5" h="64">
                    <a:moveTo>
                      <a:pt x="42" y="64"/>
                    </a:moveTo>
                    <a:lnTo>
                      <a:pt x="0" y="34"/>
                    </a:lnTo>
                    <a:lnTo>
                      <a:pt x="6" y="26"/>
                    </a:lnTo>
                    <a:lnTo>
                      <a:pt x="22" y="37"/>
                    </a:lnTo>
                    <a:lnTo>
                      <a:pt x="33" y="21"/>
                    </a:lnTo>
                    <a:lnTo>
                      <a:pt x="17" y="9"/>
                    </a:lnTo>
                    <a:lnTo>
                      <a:pt x="23" y="0"/>
                    </a:lnTo>
                    <a:lnTo>
                      <a:pt x="65" y="30"/>
                    </a:lnTo>
                    <a:lnTo>
                      <a:pt x="59" y="38"/>
                    </a:lnTo>
                    <a:lnTo>
                      <a:pt x="40" y="26"/>
                    </a:lnTo>
                    <a:lnTo>
                      <a:pt x="29" y="42"/>
                    </a:lnTo>
                    <a:lnTo>
                      <a:pt x="47" y="55"/>
                    </a:lnTo>
                    <a:lnTo>
                      <a:pt x="42" y="64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1049971" name="îşḷîḑe"/>
              <p:cNvSpPr/>
              <p:nvPr/>
            </p:nvSpPr>
            <p:spPr bwMode="auto">
              <a:xfrm>
                <a:off x="3062184" y="5672728"/>
                <a:ext cx="103188" cy="95250"/>
              </a:xfrm>
              <a:custGeom>
                <a:avLst/>
                <a:gdLst>
                  <a:gd name="T0" fmla="*/ 44 w 65"/>
                  <a:gd name="T1" fmla="*/ 60 h 60"/>
                  <a:gd name="T2" fmla="*/ 0 w 65"/>
                  <a:gd name="T3" fmla="*/ 34 h 60"/>
                  <a:gd name="T4" fmla="*/ 5 w 65"/>
                  <a:gd name="T5" fmla="*/ 26 h 60"/>
                  <a:gd name="T6" fmla="*/ 46 w 65"/>
                  <a:gd name="T7" fmla="*/ 24 h 60"/>
                  <a:gd name="T8" fmla="*/ 15 w 65"/>
                  <a:gd name="T9" fmla="*/ 8 h 60"/>
                  <a:gd name="T10" fmla="*/ 20 w 65"/>
                  <a:gd name="T11" fmla="*/ 0 h 60"/>
                  <a:gd name="T12" fmla="*/ 65 w 65"/>
                  <a:gd name="T13" fmla="*/ 24 h 60"/>
                  <a:gd name="T14" fmla="*/ 59 w 65"/>
                  <a:gd name="T15" fmla="*/ 33 h 60"/>
                  <a:gd name="T16" fmla="*/ 20 w 65"/>
                  <a:gd name="T17" fmla="*/ 34 h 60"/>
                  <a:gd name="T18" fmla="*/ 49 w 65"/>
                  <a:gd name="T19" fmla="*/ 52 h 60"/>
                  <a:gd name="T20" fmla="*/ 44 w 65"/>
                  <a:gd name="T21" fmla="*/ 60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65" h="60">
                    <a:moveTo>
                      <a:pt x="44" y="60"/>
                    </a:moveTo>
                    <a:lnTo>
                      <a:pt x="0" y="34"/>
                    </a:lnTo>
                    <a:lnTo>
                      <a:pt x="5" y="26"/>
                    </a:lnTo>
                    <a:lnTo>
                      <a:pt x="46" y="24"/>
                    </a:lnTo>
                    <a:lnTo>
                      <a:pt x="15" y="8"/>
                    </a:lnTo>
                    <a:lnTo>
                      <a:pt x="20" y="0"/>
                    </a:lnTo>
                    <a:lnTo>
                      <a:pt x="65" y="24"/>
                    </a:lnTo>
                    <a:lnTo>
                      <a:pt x="59" y="33"/>
                    </a:lnTo>
                    <a:lnTo>
                      <a:pt x="20" y="34"/>
                    </a:lnTo>
                    <a:lnTo>
                      <a:pt x="49" y="52"/>
                    </a:lnTo>
                    <a:lnTo>
                      <a:pt x="44" y="60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1049972" name="îşḷïḋê"/>
              <p:cNvSpPr/>
              <p:nvPr/>
            </p:nvSpPr>
            <p:spPr bwMode="auto">
              <a:xfrm>
                <a:off x="3106634" y="5606053"/>
                <a:ext cx="87313" cy="84138"/>
              </a:xfrm>
              <a:custGeom>
                <a:avLst/>
                <a:gdLst>
                  <a:gd name="T0" fmla="*/ 15 w 47"/>
                  <a:gd name="T1" fmla="*/ 43 h 46"/>
                  <a:gd name="T2" fmla="*/ 5 w 47"/>
                  <a:gd name="T3" fmla="*/ 36 h 46"/>
                  <a:gd name="T4" fmla="*/ 2 w 47"/>
                  <a:gd name="T5" fmla="*/ 30 h 46"/>
                  <a:gd name="T6" fmla="*/ 0 w 47"/>
                  <a:gd name="T7" fmla="*/ 23 h 46"/>
                  <a:gd name="T8" fmla="*/ 2 w 47"/>
                  <a:gd name="T9" fmla="*/ 14 h 46"/>
                  <a:gd name="T10" fmla="*/ 14 w 47"/>
                  <a:gd name="T11" fmla="*/ 2 h 46"/>
                  <a:gd name="T12" fmla="*/ 32 w 47"/>
                  <a:gd name="T13" fmla="*/ 3 h 46"/>
                  <a:gd name="T14" fmla="*/ 45 w 47"/>
                  <a:gd name="T15" fmla="*/ 15 h 46"/>
                  <a:gd name="T16" fmla="*/ 44 w 47"/>
                  <a:gd name="T17" fmla="*/ 32 h 46"/>
                  <a:gd name="T18" fmla="*/ 32 w 47"/>
                  <a:gd name="T19" fmla="*/ 44 h 46"/>
                  <a:gd name="T20" fmla="*/ 15 w 47"/>
                  <a:gd name="T21" fmla="*/ 43 h 46"/>
                  <a:gd name="T22" fmla="*/ 18 w 47"/>
                  <a:gd name="T23" fmla="*/ 34 h 46"/>
                  <a:gd name="T24" fmla="*/ 30 w 47"/>
                  <a:gd name="T25" fmla="*/ 35 h 46"/>
                  <a:gd name="T26" fmla="*/ 37 w 47"/>
                  <a:gd name="T27" fmla="*/ 29 h 46"/>
                  <a:gd name="T28" fmla="*/ 37 w 47"/>
                  <a:gd name="T29" fmla="*/ 19 h 46"/>
                  <a:gd name="T30" fmla="*/ 28 w 47"/>
                  <a:gd name="T31" fmla="*/ 12 h 46"/>
                  <a:gd name="T32" fmla="*/ 16 w 47"/>
                  <a:gd name="T33" fmla="*/ 10 h 46"/>
                  <a:gd name="T34" fmla="*/ 9 w 47"/>
                  <a:gd name="T35" fmla="*/ 17 h 46"/>
                  <a:gd name="T36" fmla="*/ 9 w 47"/>
                  <a:gd name="T37" fmla="*/ 27 h 46"/>
                  <a:gd name="T38" fmla="*/ 18 w 47"/>
                  <a:gd name="T39" fmla="*/ 34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47" h="46">
                    <a:moveTo>
                      <a:pt x="15" y="43"/>
                    </a:moveTo>
                    <a:cubicBezTo>
                      <a:pt x="11" y="41"/>
                      <a:pt x="8" y="39"/>
                      <a:pt x="5" y="36"/>
                    </a:cubicBezTo>
                    <a:cubicBezTo>
                      <a:pt x="4" y="34"/>
                      <a:pt x="2" y="32"/>
                      <a:pt x="2" y="30"/>
                    </a:cubicBezTo>
                    <a:cubicBezTo>
                      <a:pt x="1" y="28"/>
                      <a:pt x="0" y="26"/>
                      <a:pt x="0" y="23"/>
                    </a:cubicBezTo>
                    <a:cubicBezTo>
                      <a:pt x="0" y="20"/>
                      <a:pt x="1" y="17"/>
                      <a:pt x="2" y="14"/>
                    </a:cubicBezTo>
                    <a:cubicBezTo>
                      <a:pt x="5" y="8"/>
                      <a:pt x="9" y="4"/>
                      <a:pt x="14" y="2"/>
                    </a:cubicBezTo>
                    <a:cubicBezTo>
                      <a:pt x="19" y="0"/>
                      <a:pt x="25" y="1"/>
                      <a:pt x="32" y="3"/>
                    </a:cubicBezTo>
                    <a:cubicBezTo>
                      <a:pt x="38" y="6"/>
                      <a:pt x="43" y="10"/>
                      <a:pt x="45" y="15"/>
                    </a:cubicBezTo>
                    <a:cubicBezTo>
                      <a:pt x="47" y="21"/>
                      <a:pt x="47" y="26"/>
                      <a:pt x="44" y="32"/>
                    </a:cubicBezTo>
                    <a:cubicBezTo>
                      <a:pt x="41" y="38"/>
                      <a:pt x="38" y="42"/>
                      <a:pt x="32" y="44"/>
                    </a:cubicBezTo>
                    <a:cubicBezTo>
                      <a:pt x="27" y="46"/>
                      <a:pt x="21" y="45"/>
                      <a:pt x="15" y="43"/>
                    </a:cubicBezTo>
                    <a:close/>
                    <a:moveTo>
                      <a:pt x="18" y="34"/>
                    </a:moveTo>
                    <a:cubicBezTo>
                      <a:pt x="23" y="36"/>
                      <a:pt x="27" y="37"/>
                      <a:pt x="30" y="35"/>
                    </a:cubicBezTo>
                    <a:cubicBezTo>
                      <a:pt x="33" y="34"/>
                      <a:pt x="36" y="32"/>
                      <a:pt x="37" y="29"/>
                    </a:cubicBezTo>
                    <a:cubicBezTo>
                      <a:pt x="39" y="26"/>
                      <a:pt x="39" y="23"/>
                      <a:pt x="37" y="19"/>
                    </a:cubicBezTo>
                    <a:cubicBezTo>
                      <a:pt x="36" y="16"/>
                      <a:pt x="33" y="14"/>
                      <a:pt x="28" y="12"/>
                    </a:cubicBezTo>
                    <a:cubicBezTo>
                      <a:pt x="23" y="10"/>
                      <a:pt x="19" y="9"/>
                      <a:pt x="16" y="10"/>
                    </a:cubicBezTo>
                    <a:cubicBezTo>
                      <a:pt x="13" y="11"/>
                      <a:pt x="11" y="14"/>
                      <a:pt x="9" y="17"/>
                    </a:cubicBezTo>
                    <a:cubicBezTo>
                      <a:pt x="8" y="20"/>
                      <a:pt x="8" y="23"/>
                      <a:pt x="9" y="27"/>
                    </a:cubicBezTo>
                    <a:cubicBezTo>
                      <a:pt x="11" y="30"/>
                      <a:pt x="14" y="32"/>
                      <a:pt x="18" y="3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1049973" name="îṣlïḍè"/>
              <p:cNvSpPr/>
              <p:nvPr/>
            </p:nvSpPr>
            <p:spPr bwMode="auto">
              <a:xfrm>
                <a:off x="3128859" y="5560015"/>
                <a:ext cx="93663" cy="57150"/>
              </a:xfrm>
              <a:custGeom>
                <a:avLst/>
                <a:gdLst>
                  <a:gd name="T0" fmla="*/ 49 w 59"/>
                  <a:gd name="T1" fmla="*/ 36 h 36"/>
                  <a:gd name="T2" fmla="*/ 0 w 59"/>
                  <a:gd name="T3" fmla="*/ 21 h 36"/>
                  <a:gd name="T4" fmla="*/ 4 w 59"/>
                  <a:gd name="T5" fmla="*/ 10 h 36"/>
                  <a:gd name="T6" fmla="*/ 43 w 59"/>
                  <a:gd name="T7" fmla="*/ 24 h 36"/>
                  <a:gd name="T8" fmla="*/ 51 w 59"/>
                  <a:gd name="T9" fmla="*/ 0 h 36"/>
                  <a:gd name="T10" fmla="*/ 59 w 59"/>
                  <a:gd name="T11" fmla="*/ 2 h 36"/>
                  <a:gd name="T12" fmla="*/ 49 w 59"/>
                  <a:gd name="T13" fmla="*/ 36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59" h="36">
                    <a:moveTo>
                      <a:pt x="49" y="36"/>
                    </a:moveTo>
                    <a:lnTo>
                      <a:pt x="0" y="21"/>
                    </a:lnTo>
                    <a:lnTo>
                      <a:pt x="4" y="10"/>
                    </a:lnTo>
                    <a:lnTo>
                      <a:pt x="43" y="24"/>
                    </a:lnTo>
                    <a:lnTo>
                      <a:pt x="51" y="0"/>
                    </a:lnTo>
                    <a:lnTo>
                      <a:pt x="59" y="2"/>
                    </a:lnTo>
                    <a:lnTo>
                      <a:pt x="49" y="36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1049974" name="ïṩḷîḓê"/>
              <p:cNvSpPr/>
              <p:nvPr/>
            </p:nvSpPr>
            <p:spPr bwMode="auto">
              <a:xfrm>
                <a:off x="3152672" y="5469528"/>
                <a:ext cx="85725" cy="80963"/>
              </a:xfrm>
              <a:custGeom>
                <a:avLst/>
                <a:gdLst>
                  <a:gd name="T0" fmla="*/ 18 w 46"/>
                  <a:gd name="T1" fmla="*/ 43 h 44"/>
                  <a:gd name="T2" fmla="*/ 8 w 46"/>
                  <a:gd name="T3" fmla="*/ 38 h 44"/>
                  <a:gd name="T4" fmla="*/ 3 w 46"/>
                  <a:gd name="T5" fmla="*/ 33 h 44"/>
                  <a:gd name="T6" fmla="*/ 0 w 46"/>
                  <a:gd name="T7" fmla="*/ 27 h 44"/>
                  <a:gd name="T8" fmla="*/ 1 w 46"/>
                  <a:gd name="T9" fmla="*/ 17 h 44"/>
                  <a:gd name="T10" fmla="*/ 10 w 46"/>
                  <a:gd name="T11" fmla="*/ 3 h 44"/>
                  <a:gd name="T12" fmla="*/ 28 w 46"/>
                  <a:gd name="T13" fmla="*/ 1 h 44"/>
                  <a:gd name="T14" fmla="*/ 43 w 46"/>
                  <a:gd name="T15" fmla="*/ 11 h 44"/>
                  <a:gd name="T16" fmla="*/ 45 w 46"/>
                  <a:gd name="T17" fmla="*/ 27 h 44"/>
                  <a:gd name="T18" fmla="*/ 36 w 46"/>
                  <a:gd name="T19" fmla="*/ 41 h 44"/>
                  <a:gd name="T20" fmla="*/ 18 w 46"/>
                  <a:gd name="T21" fmla="*/ 43 h 44"/>
                  <a:gd name="T22" fmla="*/ 20 w 46"/>
                  <a:gd name="T23" fmla="*/ 34 h 44"/>
                  <a:gd name="T24" fmla="*/ 32 w 46"/>
                  <a:gd name="T25" fmla="*/ 33 h 44"/>
                  <a:gd name="T26" fmla="*/ 38 w 46"/>
                  <a:gd name="T27" fmla="*/ 25 h 44"/>
                  <a:gd name="T28" fmla="*/ 36 w 46"/>
                  <a:gd name="T29" fmla="*/ 16 h 44"/>
                  <a:gd name="T30" fmla="*/ 25 w 46"/>
                  <a:gd name="T31" fmla="*/ 10 h 44"/>
                  <a:gd name="T32" fmla="*/ 14 w 46"/>
                  <a:gd name="T33" fmla="*/ 11 h 44"/>
                  <a:gd name="T34" fmla="*/ 8 w 46"/>
                  <a:gd name="T35" fmla="*/ 19 h 44"/>
                  <a:gd name="T36" fmla="*/ 10 w 46"/>
                  <a:gd name="T37" fmla="*/ 28 h 44"/>
                  <a:gd name="T38" fmla="*/ 20 w 46"/>
                  <a:gd name="T39" fmla="*/ 34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46" h="44">
                    <a:moveTo>
                      <a:pt x="18" y="43"/>
                    </a:moveTo>
                    <a:cubicBezTo>
                      <a:pt x="14" y="42"/>
                      <a:pt x="10" y="40"/>
                      <a:pt x="8" y="38"/>
                    </a:cubicBezTo>
                    <a:cubicBezTo>
                      <a:pt x="6" y="37"/>
                      <a:pt x="4" y="35"/>
                      <a:pt x="3" y="33"/>
                    </a:cubicBezTo>
                    <a:cubicBezTo>
                      <a:pt x="1" y="31"/>
                      <a:pt x="1" y="29"/>
                      <a:pt x="0" y="27"/>
                    </a:cubicBezTo>
                    <a:cubicBezTo>
                      <a:pt x="0" y="24"/>
                      <a:pt x="0" y="21"/>
                      <a:pt x="1" y="17"/>
                    </a:cubicBezTo>
                    <a:cubicBezTo>
                      <a:pt x="2" y="11"/>
                      <a:pt x="5" y="6"/>
                      <a:pt x="10" y="3"/>
                    </a:cubicBezTo>
                    <a:cubicBezTo>
                      <a:pt x="15" y="0"/>
                      <a:pt x="21" y="0"/>
                      <a:pt x="28" y="1"/>
                    </a:cubicBezTo>
                    <a:cubicBezTo>
                      <a:pt x="34" y="3"/>
                      <a:pt x="39" y="6"/>
                      <a:pt x="43" y="11"/>
                    </a:cubicBezTo>
                    <a:cubicBezTo>
                      <a:pt x="46" y="15"/>
                      <a:pt x="46" y="21"/>
                      <a:pt x="45" y="27"/>
                    </a:cubicBezTo>
                    <a:cubicBezTo>
                      <a:pt x="44" y="33"/>
                      <a:pt x="40" y="38"/>
                      <a:pt x="36" y="41"/>
                    </a:cubicBezTo>
                    <a:cubicBezTo>
                      <a:pt x="31" y="44"/>
                      <a:pt x="25" y="44"/>
                      <a:pt x="18" y="43"/>
                    </a:cubicBezTo>
                    <a:close/>
                    <a:moveTo>
                      <a:pt x="20" y="34"/>
                    </a:moveTo>
                    <a:cubicBezTo>
                      <a:pt x="25" y="35"/>
                      <a:pt x="29" y="35"/>
                      <a:pt x="32" y="33"/>
                    </a:cubicBezTo>
                    <a:cubicBezTo>
                      <a:pt x="35" y="31"/>
                      <a:pt x="37" y="29"/>
                      <a:pt x="38" y="25"/>
                    </a:cubicBezTo>
                    <a:cubicBezTo>
                      <a:pt x="38" y="22"/>
                      <a:pt x="38" y="19"/>
                      <a:pt x="36" y="16"/>
                    </a:cubicBezTo>
                    <a:cubicBezTo>
                      <a:pt x="34" y="13"/>
                      <a:pt x="30" y="11"/>
                      <a:pt x="25" y="10"/>
                    </a:cubicBezTo>
                    <a:cubicBezTo>
                      <a:pt x="20" y="9"/>
                      <a:pt x="16" y="9"/>
                      <a:pt x="14" y="11"/>
                    </a:cubicBezTo>
                    <a:cubicBezTo>
                      <a:pt x="11" y="13"/>
                      <a:pt x="9" y="15"/>
                      <a:pt x="8" y="19"/>
                    </a:cubicBezTo>
                    <a:cubicBezTo>
                      <a:pt x="7" y="22"/>
                      <a:pt x="8" y="25"/>
                      <a:pt x="10" y="28"/>
                    </a:cubicBezTo>
                    <a:cubicBezTo>
                      <a:pt x="12" y="31"/>
                      <a:pt x="15" y="33"/>
                      <a:pt x="20" y="3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1049975" name="ïSļiďé"/>
              <p:cNvSpPr/>
              <p:nvPr/>
            </p:nvSpPr>
            <p:spPr bwMode="auto">
              <a:xfrm>
                <a:off x="3165372" y="5390153"/>
                <a:ext cx="85725" cy="77788"/>
              </a:xfrm>
              <a:custGeom>
                <a:avLst/>
                <a:gdLst>
                  <a:gd name="T0" fmla="*/ 29 w 46"/>
                  <a:gd name="T1" fmla="*/ 21 h 42"/>
                  <a:gd name="T2" fmla="*/ 22 w 46"/>
                  <a:gd name="T3" fmla="*/ 20 h 42"/>
                  <a:gd name="T4" fmla="*/ 24 w 46"/>
                  <a:gd name="T5" fmla="*/ 1 h 42"/>
                  <a:gd name="T6" fmla="*/ 41 w 46"/>
                  <a:gd name="T7" fmla="*/ 3 h 42"/>
                  <a:gd name="T8" fmla="*/ 45 w 46"/>
                  <a:gd name="T9" fmla="*/ 11 h 42"/>
                  <a:gd name="T10" fmla="*/ 46 w 46"/>
                  <a:gd name="T11" fmla="*/ 22 h 42"/>
                  <a:gd name="T12" fmla="*/ 42 w 46"/>
                  <a:gd name="T13" fmla="*/ 34 h 42"/>
                  <a:gd name="T14" fmla="*/ 33 w 46"/>
                  <a:gd name="T15" fmla="*/ 41 h 42"/>
                  <a:gd name="T16" fmla="*/ 21 w 46"/>
                  <a:gd name="T17" fmla="*/ 42 h 42"/>
                  <a:gd name="T18" fmla="*/ 9 w 46"/>
                  <a:gd name="T19" fmla="*/ 38 h 42"/>
                  <a:gd name="T20" fmla="*/ 2 w 46"/>
                  <a:gd name="T21" fmla="*/ 28 h 42"/>
                  <a:gd name="T22" fmla="*/ 1 w 46"/>
                  <a:gd name="T23" fmla="*/ 18 h 42"/>
                  <a:gd name="T24" fmla="*/ 6 w 46"/>
                  <a:gd name="T25" fmla="*/ 5 h 42"/>
                  <a:gd name="T26" fmla="*/ 16 w 46"/>
                  <a:gd name="T27" fmla="*/ 0 h 42"/>
                  <a:gd name="T28" fmla="*/ 16 w 46"/>
                  <a:gd name="T29" fmla="*/ 9 h 42"/>
                  <a:gd name="T30" fmla="*/ 11 w 46"/>
                  <a:gd name="T31" fmla="*/ 12 h 42"/>
                  <a:gd name="T32" fmla="*/ 8 w 46"/>
                  <a:gd name="T33" fmla="*/ 18 h 42"/>
                  <a:gd name="T34" fmla="*/ 11 w 46"/>
                  <a:gd name="T35" fmla="*/ 28 h 42"/>
                  <a:gd name="T36" fmla="*/ 21 w 46"/>
                  <a:gd name="T37" fmla="*/ 33 h 42"/>
                  <a:gd name="T38" fmla="*/ 34 w 46"/>
                  <a:gd name="T39" fmla="*/ 31 h 42"/>
                  <a:gd name="T40" fmla="*/ 38 w 46"/>
                  <a:gd name="T41" fmla="*/ 22 h 42"/>
                  <a:gd name="T42" fmla="*/ 38 w 46"/>
                  <a:gd name="T43" fmla="*/ 16 h 42"/>
                  <a:gd name="T44" fmla="*/ 36 w 46"/>
                  <a:gd name="T45" fmla="*/ 11 h 42"/>
                  <a:gd name="T46" fmla="*/ 30 w 46"/>
                  <a:gd name="T47" fmla="*/ 11 h 42"/>
                  <a:gd name="T48" fmla="*/ 29 w 46"/>
                  <a:gd name="T49" fmla="*/ 21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46" h="42">
                    <a:moveTo>
                      <a:pt x="29" y="21"/>
                    </a:moveTo>
                    <a:cubicBezTo>
                      <a:pt x="22" y="20"/>
                      <a:pt x="22" y="20"/>
                      <a:pt x="22" y="20"/>
                    </a:cubicBezTo>
                    <a:cubicBezTo>
                      <a:pt x="24" y="1"/>
                      <a:pt x="24" y="1"/>
                      <a:pt x="24" y="1"/>
                    </a:cubicBezTo>
                    <a:cubicBezTo>
                      <a:pt x="41" y="3"/>
                      <a:pt x="41" y="3"/>
                      <a:pt x="41" y="3"/>
                    </a:cubicBezTo>
                    <a:cubicBezTo>
                      <a:pt x="43" y="5"/>
                      <a:pt x="44" y="8"/>
                      <a:pt x="45" y="11"/>
                    </a:cubicBezTo>
                    <a:cubicBezTo>
                      <a:pt x="46" y="15"/>
                      <a:pt x="46" y="19"/>
                      <a:pt x="46" y="22"/>
                    </a:cubicBezTo>
                    <a:cubicBezTo>
                      <a:pt x="46" y="27"/>
                      <a:pt x="44" y="31"/>
                      <a:pt x="42" y="34"/>
                    </a:cubicBezTo>
                    <a:cubicBezTo>
                      <a:pt x="39" y="37"/>
                      <a:pt x="36" y="39"/>
                      <a:pt x="33" y="41"/>
                    </a:cubicBezTo>
                    <a:cubicBezTo>
                      <a:pt x="29" y="42"/>
                      <a:pt x="25" y="42"/>
                      <a:pt x="21" y="42"/>
                    </a:cubicBezTo>
                    <a:cubicBezTo>
                      <a:pt x="16" y="41"/>
                      <a:pt x="12" y="40"/>
                      <a:pt x="9" y="38"/>
                    </a:cubicBezTo>
                    <a:cubicBezTo>
                      <a:pt x="6" y="35"/>
                      <a:pt x="3" y="32"/>
                      <a:pt x="2" y="28"/>
                    </a:cubicBezTo>
                    <a:cubicBezTo>
                      <a:pt x="1" y="25"/>
                      <a:pt x="0" y="22"/>
                      <a:pt x="1" y="18"/>
                    </a:cubicBezTo>
                    <a:cubicBezTo>
                      <a:pt x="1" y="12"/>
                      <a:pt x="3" y="8"/>
                      <a:pt x="6" y="5"/>
                    </a:cubicBezTo>
                    <a:cubicBezTo>
                      <a:pt x="8" y="2"/>
                      <a:pt x="12" y="1"/>
                      <a:pt x="16" y="0"/>
                    </a:cubicBezTo>
                    <a:cubicBezTo>
                      <a:pt x="16" y="9"/>
                      <a:pt x="16" y="9"/>
                      <a:pt x="16" y="9"/>
                    </a:cubicBezTo>
                    <a:cubicBezTo>
                      <a:pt x="14" y="10"/>
                      <a:pt x="12" y="11"/>
                      <a:pt x="11" y="12"/>
                    </a:cubicBezTo>
                    <a:cubicBezTo>
                      <a:pt x="10" y="14"/>
                      <a:pt x="9" y="16"/>
                      <a:pt x="8" y="18"/>
                    </a:cubicBezTo>
                    <a:cubicBezTo>
                      <a:pt x="8" y="22"/>
                      <a:pt x="9" y="25"/>
                      <a:pt x="11" y="28"/>
                    </a:cubicBezTo>
                    <a:cubicBezTo>
                      <a:pt x="13" y="31"/>
                      <a:pt x="17" y="32"/>
                      <a:pt x="21" y="33"/>
                    </a:cubicBezTo>
                    <a:cubicBezTo>
                      <a:pt x="27" y="33"/>
                      <a:pt x="31" y="33"/>
                      <a:pt x="34" y="31"/>
                    </a:cubicBezTo>
                    <a:cubicBezTo>
                      <a:pt x="36" y="29"/>
                      <a:pt x="38" y="26"/>
                      <a:pt x="38" y="22"/>
                    </a:cubicBezTo>
                    <a:cubicBezTo>
                      <a:pt x="39" y="20"/>
                      <a:pt x="39" y="18"/>
                      <a:pt x="38" y="16"/>
                    </a:cubicBezTo>
                    <a:cubicBezTo>
                      <a:pt x="37" y="14"/>
                      <a:pt x="37" y="13"/>
                      <a:pt x="36" y="11"/>
                    </a:cubicBezTo>
                    <a:cubicBezTo>
                      <a:pt x="30" y="11"/>
                      <a:pt x="30" y="11"/>
                      <a:pt x="30" y="11"/>
                    </a:cubicBezTo>
                    <a:lnTo>
                      <a:pt x="29" y="21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1049976" name="îSḷiḋè"/>
              <p:cNvSpPr/>
              <p:nvPr/>
            </p:nvSpPr>
            <p:spPr bwMode="auto">
              <a:xfrm>
                <a:off x="3173309" y="5313953"/>
                <a:ext cx="80963" cy="76200"/>
              </a:xfrm>
              <a:custGeom>
                <a:avLst/>
                <a:gdLst>
                  <a:gd name="T0" fmla="*/ 51 w 51"/>
                  <a:gd name="T1" fmla="*/ 30 h 48"/>
                  <a:gd name="T2" fmla="*/ 29 w 51"/>
                  <a:gd name="T3" fmla="*/ 29 h 48"/>
                  <a:gd name="T4" fmla="*/ 0 w 51"/>
                  <a:gd name="T5" fmla="*/ 48 h 48"/>
                  <a:gd name="T6" fmla="*/ 0 w 51"/>
                  <a:gd name="T7" fmla="*/ 36 h 48"/>
                  <a:gd name="T8" fmla="*/ 20 w 51"/>
                  <a:gd name="T9" fmla="*/ 24 h 48"/>
                  <a:gd name="T10" fmla="*/ 0 w 51"/>
                  <a:gd name="T11" fmla="*/ 12 h 48"/>
                  <a:gd name="T12" fmla="*/ 0 w 51"/>
                  <a:gd name="T13" fmla="*/ 0 h 48"/>
                  <a:gd name="T14" fmla="*/ 30 w 51"/>
                  <a:gd name="T15" fmla="*/ 20 h 48"/>
                  <a:gd name="T16" fmla="*/ 51 w 51"/>
                  <a:gd name="T17" fmla="*/ 20 h 48"/>
                  <a:gd name="T18" fmla="*/ 51 w 51"/>
                  <a:gd name="T19" fmla="*/ 30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51" h="48">
                    <a:moveTo>
                      <a:pt x="51" y="30"/>
                    </a:moveTo>
                    <a:lnTo>
                      <a:pt x="29" y="29"/>
                    </a:lnTo>
                    <a:lnTo>
                      <a:pt x="0" y="48"/>
                    </a:lnTo>
                    <a:lnTo>
                      <a:pt x="0" y="36"/>
                    </a:lnTo>
                    <a:lnTo>
                      <a:pt x="20" y="24"/>
                    </a:lnTo>
                    <a:lnTo>
                      <a:pt x="0" y="12"/>
                    </a:lnTo>
                    <a:lnTo>
                      <a:pt x="0" y="0"/>
                    </a:lnTo>
                    <a:lnTo>
                      <a:pt x="30" y="20"/>
                    </a:lnTo>
                    <a:lnTo>
                      <a:pt x="51" y="20"/>
                    </a:lnTo>
                    <a:lnTo>
                      <a:pt x="51" y="30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1049977" name="îṣḷíḋé"/>
              <p:cNvSpPr/>
              <p:nvPr/>
            </p:nvSpPr>
            <p:spPr bwMode="auto">
              <a:xfrm>
                <a:off x="3163784" y="5193303"/>
                <a:ext cx="87313" cy="76200"/>
              </a:xfrm>
              <a:custGeom>
                <a:avLst/>
                <a:gdLst>
                  <a:gd name="T0" fmla="*/ 4 w 47"/>
                  <a:gd name="T1" fmla="*/ 41 h 41"/>
                  <a:gd name="T2" fmla="*/ 1 w 47"/>
                  <a:gd name="T3" fmla="*/ 24 h 41"/>
                  <a:gd name="T4" fmla="*/ 0 w 47"/>
                  <a:gd name="T5" fmla="*/ 16 h 41"/>
                  <a:gd name="T6" fmla="*/ 2 w 47"/>
                  <a:gd name="T7" fmla="*/ 11 h 41"/>
                  <a:gd name="T8" fmla="*/ 5 w 47"/>
                  <a:gd name="T9" fmla="*/ 7 h 41"/>
                  <a:gd name="T10" fmla="*/ 10 w 47"/>
                  <a:gd name="T11" fmla="*/ 5 h 41"/>
                  <a:gd name="T12" fmla="*/ 16 w 47"/>
                  <a:gd name="T13" fmla="*/ 6 h 41"/>
                  <a:gd name="T14" fmla="*/ 20 w 47"/>
                  <a:gd name="T15" fmla="*/ 10 h 41"/>
                  <a:gd name="T16" fmla="*/ 23 w 47"/>
                  <a:gd name="T17" fmla="*/ 3 h 41"/>
                  <a:gd name="T18" fmla="*/ 29 w 47"/>
                  <a:gd name="T19" fmla="*/ 0 h 41"/>
                  <a:gd name="T20" fmla="*/ 35 w 47"/>
                  <a:gd name="T21" fmla="*/ 1 h 41"/>
                  <a:gd name="T22" fmla="*/ 40 w 47"/>
                  <a:gd name="T23" fmla="*/ 4 h 41"/>
                  <a:gd name="T24" fmla="*/ 43 w 47"/>
                  <a:gd name="T25" fmla="*/ 10 h 41"/>
                  <a:gd name="T26" fmla="*/ 45 w 47"/>
                  <a:gd name="T27" fmla="*/ 20 h 41"/>
                  <a:gd name="T28" fmla="*/ 47 w 47"/>
                  <a:gd name="T29" fmla="*/ 35 h 41"/>
                  <a:gd name="T30" fmla="*/ 4 w 47"/>
                  <a:gd name="T31" fmla="*/ 41 h 41"/>
                  <a:gd name="T32" fmla="*/ 10 w 47"/>
                  <a:gd name="T33" fmla="*/ 31 h 41"/>
                  <a:gd name="T34" fmla="*/ 20 w 47"/>
                  <a:gd name="T35" fmla="*/ 30 h 41"/>
                  <a:gd name="T36" fmla="*/ 19 w 47"/>
                  <a:gd name="T37" fmla="*/ 24 h 41"/>
                  <a:gd name="T38" fmla="*/ 18 w 47"/>
                  <a:gd name="T39" fmla="*/ 18 h 41"/>
                  <a:gd name="T40" fmla="*/ 16 w 47"/>
                  <a:gd name="T41" fmla="*/ 15 h 41"/>
                  <a:gd name="T42" fmla="*/ 12 w 47"/>
                  <a:gd name="T43" fmla="*/ 14 h 41"/>
                  <a:gd name="T44" fmla="*/ 9 w 47"/>
                  <a:gd name="T45" fmla="*/ 15 h 41"/>
                  <a:gd name="T46" fmla="*/ 8 w 47"/>
                  <a:gd name="T47" fmla="*/ 19 h 41"/>
                  <a:gd name="T48" fmla="*/ 9 w 47"/>
                  <a:gd name="T49" fmla="*/ 26 h 41"/>
                  <a:gd name="T50" fmla="*/ 10 w 47"/>
                  <a:gd name="T51" fmla="*/ 31 h 41"/>
                  <a:gd name="T52" fmla="*/ 27 w 47"/>
                  <a:gd name="T53" fmla="*/ 29 h 41"/>
                  <a:gd name="T54" fmla="*/ 39 w 47"/>
                  <a:gd name="T55" fmla="*/ 27 h 41"/>
                  <a:gd name="T56" fmla="*/ 37 w 47"/>
                  <a:gd name="T57" fmla="*/ 19 h 41"/>
                  <a:gd name="T58" fmla="*/ 36 w 47"/>
                  <a:gd name="T59" fmla="*/ 13 h 41"/>
                  <a:gd name="T60" fmla="*/ 34 w 47"/>
                  <a:gd name="T61" fmla="*/ 10 h 41"/>
                  <a:gd name="T62" fmla="*/ 30 w 47"/>
                  <a:gd name="T63" fmla="*/ 10 h 41"/>
                  <a:gd name="T64" fmla="*/ 27 w 47"/>
                  <a:gd name="T65" fmla="*/ 11 h 41"/>
                  <a:gd name="T66" fmla="*/ 25 w 47"/>
                  <a:gd name="T67" fmla="*/ 14 h 41"/>
                  <a:gd name="T68" fmla="*/ 26 w 47"/>
                  <a:gd name="T69" fmla="*/ 22 h 41"/>
                  <a:gd name="T70" fmla="*/ 27 w 47"/>
                  <a:gd name="T71" fmla="*/ 29 h 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47" h="41">
                    <a:moveTo>
                      <a:pt x="4" y="41"/>
                    </a:moveTo>
                    <a:cubicBezTo>
                      <a:pt x="1" y="24"/>
                      <a:pt x="1" y="24"/>
                      <a:pt x="1" y="24"/>
                    </a:cubicBezTo>
                    <a:cubicBezTo>
                      <a:pt x="1" y="20"/>
                      <a:pt x="0" y="18"/>
                      <a:pt x="0" y="16"/>
                    </a:cubicBezTo>
                    <a:cubicBezTo>
                      <a:pt x="1" y="14"/>
                      <a:pt x="1" y="13"/>
                      <a:pt x="2" y="11"/>
                    </a:cubicBezTo>
                    <a:cubicBezTo>
                      <a:pt x="2" y="10"/>
                      <a:pt x="3" y="9"/>
                      <a:pt x="5" y="7"/>
                    </a:cubicBezTo>
                    <a:cubicBezTo>
                      <a:pt x="6" y="6"/>
                      <a:pt x="8" y="6"/>
                      <a:pt x="10" y="5"/>
                    </a:cubicBezTo>
                    <a:cubicBezTo>
                      <a:pt x="12" y="5"/>
                      <a:pt x="14" y="5"/>
                      <a:pt x="16" y="6"/>
                    </a:cubicBezTo>
                    <a:cubicBezTo>
                      <a:pt x="17" y="7"/>
                      <a:pt x="19" y="8"/>
                      <a:pt x="20" y="10"/>
                    </a:cubicBezTo>
                    <a:cubicBezTo>
                      <a:pt x="20" y="7"/>
                      <a:pt x="21" y="5"/>
                      <a:pt x="23" y="3"/>
                    </a:cubicBezTo>
                    <a:cubicBezTo>
                      <a:pt x="25" y="2"/>
                      <a:pt x="27" y="1"/>
                      <a:pt x="29" y="0"/>
                    </a:cubicBezTo>
                    <a:cubicBezTo>
                      <a:pt x="31" y="0"/>
                      <a:pt x="33" y="0"/>
                      <a:pt x="35" y="1"/>
                    </a:cubicBezTo>
                    <a:cubicBezTo>
                      <a:pt x="37" y="2"/>
                      <a:pt x="39" y="3"/>
                      <a:pt x="40" y="4"/>
                    </a:cubicBezTo>
                    <a:cubicBezTo>
                      <a:pt x="42" y="5"/>
                      <a:pt x="43" y="7"/>
                      <a:pt x="43" y="10"/>
                    </a:cubicBezTo>
                    <a:cubicBezTo>
                      <a:pt x="44" y="11"/>
                      <a:pt x="44" y="15"/>
                      <a:pt x="45" y="20"/>
                    </a:cubicBezTo>
                    <a:cubicBezTo>
                      <a:pt x="47" y="35"/>
                      <a:pt x="47" y="35"/>
                      <a:pt x="47" y="35"/>
                    </a:cubicBezTo>
                    <a:lnTo>
                      <a:pt x="4" y="41"/>
                    </a:lnTo>
                    <a:close/>
                    <a:moveTo>
                      <a:pt x="10" y="31"/>
                    </a:moveTo>
                    <a:cubicBezTo>
                      <a:pt x="20" y="30"/>
                      <a:pt x="20" y="30"/>
                      <a:pt x="20" y="30"/>
                    </a:cubicBezTo>
                    <a:cubicBezTo>
                      <a:pt x="19" y="24"/>
                      <a:pt x="19" y="24"/>
                      <a:pt x="19" y="24"/>
                    </a:cubicBezTo>
                    <a:cubicBezTo>
                      <a:pt x="18" y="21"/>
                      <a:pt x="18" y="19"/>
                      <a:pt x="18" y="18"/>
                    </a:cubicBezTo>
                    <a:cubicBezTo>
                      <a:pt x="17" y="16"/>
                      <a:pt x="17" y="15"/>
                      <a:pt x="16" y="15"/>
                    </a:cubicBezTo>
                    <a:cubicBezTo>
                      <a:pt x="15" y="14"/>
                      <a:pt x="14" y="14"/>
                      <a:pt x="12" y="14"/>
                    </a:cubicBezTo>
                    <a:cubicBezTo>
                      <a:pt x="11" y="14"/>
                      <a:pt x="10" y="14"/>
                      <a:pt x="9" y="15"/>
                    </a:cubicBezTo>
                    <a:cubicBezTo>
                      <a:pt x="8" y="16"/>
                      <a:pt x="8" y="17"/>
                      <a:pt x="8" y="19"/>
                    </a:cubicBezTo>
                    <a:cubicBezTo>
                      <a:pt x="8" y="20"/>
                      <a:pt x="8" y="22"/>
                      <a:pt x="9" y="26"/>
                    </a:cubicBezTo>
                    <a:lnTo>
                      <a:pt x="10" y="31"/>
                    </a:lnTo>
                    <a:close/>
                    <a:moveTo>
                      <a:pt x="27" y="29"/>
                    </a:moveTo>
                    <a:cubicBezTo>
                      <a:pt x="39" y="27"/>
                      <a:pt x="39" y="27"/>
                      <a:pt x="39" y="27"/>
                    </a:cubicBezTo>
                    <a:cubicBezTo>
                      <a:pt x="37" y="19"/>
                      <a:pt x="37" y="19"/>
                      <a:pt x="37" y="19"/>
                    </a:cubicBezTo>
                    <a:cubicBezTo>
                      <a:pt x="37" y="16"/>
                      <a:pt x="37" y="14"/>
                      <a:pt x="36" y="13"/>
                    </a:cubicBezTo>
                    <a:cubicBezTo>
                      <a:pt x="36" y="12"/>
                      <a:pt x="35" y="11"/>
                      <a:pt x="34" y="10"/>
                    </a:cubicBezTo>
                    <a:cubicBezTo>
                      <a:pt x="33" y="10"/>
                      <a:pt x="32" y="9"/>
                      <a:pt x="30" y="10"/>
                    </a:cubicBezTo>
                    <a:cubicBezTo>
                      <a:pt x="29" y="10"/>
                      <a:pt x="28" y="10"/>
                      <a:pt x="27" y="11"/>
                    </a:cubicBezTo>
                    <a:cubicBezTo>
                      <a:pt x="26" y="12"/>
                      <a:pt x="26" y="13"/>
                      <a:pt x="25" y="14"/>
                    </a:cubicBezTo>
                    <a:cubicBezTo>
                      <a:pt x="25" y="15"/>
                      <a:pt x="25" y="18"/>
                      <a:pt x="26" y="22"/>
                    </a:cubicBezTo>
                    <a:lnTo>
                      <a:pt x="27" y="29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1049978" name="îṩliďè"/>
              <p:cNvSpPr/>
              <p:nvPr/>
            </p:nvSpPr>
            <p:spPr bwMode="auto">
              <a:xfrm>
                <a:off x="3146322" y="5120278"/>
                <a:ext cx="93663" cy="79375"/>
              </a:xfrm>
              <a:custGeom>
                <a:avLst/>
                <a:gdLst>
                  <a:gd name="T0" fmla="*/ 59 w 59"/>
                  <a:gd name="T1" fmla="*/ 37 h 50"/>
                  <a:gd name="T2" fmla="*/ 9 w 59"/>
                  <a:gd name="T3" fmla="*/ 50 h 50"/>
                  <a:gd name="T4" fmla="*/ 0 w 59"/>
                  <a:gd name="T5" fmla="*/ 13 h 50"/>
                  <a:gd name="T6" fmla="*/ 8 w 59"/>
                  <a:gd name="T7" fmla="*/ 10 h 50"/>
                  <a:gd name="T8" fmla="*/ 15 w 59"/>
                  <a:gd name="T9" fmla="*/ 37 h 50"/>
                  <a:gd name="T10" fmla="*/ 25 w 59"/>
                  <a:gd name="T11" fmla="*/ 35 h 50"/>
                  <a:gd name="T12" fmla="*/ 19 w 59"/>
                  <a:gd name="T13" fmla="*/ 9 h 50"/>
                  <a:gd name="T14" fmla="*/ 27 w 59"/>
                  <a:gd name="T15" fmla="*/ 8 h 50"/>
                  <a:gd name="T16" fmla="*/ 34 w 59"/>
                  <a:gd name="T17" fmla="*/ 32 h 50"/>
                  <a:gd name="T18" fmla="*/ 47 w 59"/>
                  <a:gd name="T19" fmla="*/ 29 h 50"/>
                  <a:gd name="T20" fmla="*/ 40 w 59"/>
                  <a:gd name="T21" fmla="*/ 1 h 50"/>
                  <a:gd name="T22" fmla="*/ 49 w 59"/>
                  <a:gd name="T23" fmla="*/ 0 h 50"/>
                  <a:gd name="T24" fmla="*/ 59 w 59"/>
                  <a:gd name="T25" fmla="*/ 37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59" h="50">
                    <a:moveTo>
                      <a:pt x="59" y="37"/>
                    </a:moveTo>
                    <a:lnTo>
                      <a:pt x="9" y="50"/>
                    </a:lnTo>
                    <a:lnTo>
                      <a:pt x="0" y="13"/>
                    </a:lnTo>
                    <a:lnTo>
                      <a:pt x="8" y="10"/>
                    </a:lnTo>
                    <a:lnTo>
                      <a:pt x="15" y="37"/>
                    </a:lnTo>
                    <a:lnTo>
                      <a:pt x="25" y="35"/>
                    </a:lnTo>
                    <a:lnTo>
                      <a:pt x="19" y="9"/>
                    </a:lnTo>
                    <a:lnTo>
                      <a:pt x="27" y="8"/>
                    </a:lnTo>
                    <a:lnTo>
                      <a:pt x="34" y="32"/>
                    </a:lnTo>
                    <a:lnTo>
                      <a:pt x="47" y="29"/>
                    </a:lnTo>
                    <a:lnTo>
                      <a:pt x="40" y="1"/>
                    </a:lnTo>
                    <a:lnTo>
                      <a:pt x="49" y="0"/>
                    </a:lnTo>
                    <a:lnTo>
                      <a:pt x="59" y="37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1049979" name="iṧlíḋè"/>
              <p:cNvSpPr/>
              <p:nvPr/>
            </p:nvSpPr>
            <p:spPr bwMode="auto">
              <a:xfrm>
                <a:off x="3138384" y="5096465"/>
                <a:ext cx="82550" cy="38100"/>
              </a:xfrm>
              <a:custGeom>
                <a:avLst/>
                <a:gdLst>
                  <a:gd name="T0" fmla="*/ 52 w 52"/>
                  <a:gd name="T1" fmla="*/ 9 h 24"/>
                  <a:gd name="T2" fmla="*/ 3 w 52"/>
                  <a:gd name="T3" fmla="*/ 24 h 24"/>
                  <a:gd name="T4" fmla="*/ 0 w 52"/>
                  <a:gd name="T5" fmla="*/ 15 h 24"/>
                  <a:gd name="T6" fmla="*/ 49 w 52"/>
                  <a:gd name="T7" fmla="*/ 0 h 24"/>
                  <a:gd name="T8" fmla="*/ 52 w 52"/>
                  <a:gd name="T9" fmla="*/ 9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2" h="24">
                    <a:moveTo>
                      <a:pt x="52" y="9"/>
                    </a:moveTo>
                    <a:lnTo>
                      <a:pt x="3" y="24"/>
                    </a:lnTo>
                    <a:lnTo>
                      <a:pt x="0" y="15"/>
                    </a:lnTo>
                    <a:lnTo>
                      <a:pt x="49" y="0"/>
                    </a:lnTo>
                    <a:lnTo>
                      <a:pt x="52" y="9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1049980" name="islïḓè"/>
              <p:cNvSpPr/>
              <p:nvPr/>
            </p:nvSpPr>
            <p:spPr bwMode="auto">
              <a:xfrm>
                <a:off x="3120922" y="5047253"/>
                <a:ext cx="88900" cy="52388"/>
              </a:xfrm>
              <a:custGeom>
                <a:avLst/>
                <a:gdLst>
                  <a:gd name="T0" fmla="*/ 3 w 48"/>
                  <a:gd name="T1" fmla="*/ 20 h 28"/>
                  <a:gd name="T2" fmla="*/ 0 w 48"/>
                  <a:gd name="T3" fmla="*/ 12 h 28"/>
                  <a:gd name="T4" fmla="*/ 26 w 48"/>
                  <a:gd name="T5" fmla="*/ 2 h 28"/>
                  <a:gd name="T6" fmla="*/ 34 w 48"/>
                  <a:gd name="T7" fmla="*/ 0 h 28"/>
                  <a:gd name="T8" fmla="*/ 42 w 48"/>
                  <a:gd name="T9" fmla="*/ 3 h 28"/>
                  <a:gd name="T10" fmla="*/ 47 w 48"/>
                  <a:gd name="T11" fmla="*/ 10 h 28"/>
                  <a:gd name="T12" fmla="*/ 47 w 48"/>
                  <a:gd name="T13" fmla="*/ 21 h 28"/>
                  <a:gd name="T14" fmla="*/ 38 w 48"/>
                  <a:gd name="T15" fmla="*/ 28 h 28"/>
                  <a:gd name="T16" fmla="*/ 34 w 48"/>
                  <a:gd name="T17" fmla="*/ 20 h 28"/>
                  <a:gd name="T18" fmla="*/ 39 w 48"/>
                  <a:gd name="T19" fmla="*/ 17 h 28"/>
                  <a:gd name="T20" fmla="*/ 40 w 48"/>
                  <a:gd name="T21" fmla="*/ 13 h 28"/>
                  <a:gd name="T22" fmla="*/ 37 w 48"/>
                  <a:gd name="T23" fmla="*/ 9 h 28"/>
                  <a:gd name="T24" fmla="*/ 30 w 48"/>
                  <a:gd name="T25" fmla="*/ 10 h 28"/>
                  <a:gd name="T26" fmla="*/ 3 w 48"/>
                  <a:gd name="T27" fmla="*/ 20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48" h="28">
                    <a:moveTo>
                      <a:pt x="3" y="20"/>
                    </a:moveTo>
                    <a:cubicBezTo>
                      <a:pt x="0" y="12"/>
                      <a:pt x="0" y="12"/>
                      <a:pt x="0" y="12"/>
                    </a:cubicBezTo>
                    <a:cubicBezTo>
                      <a:pt x="26" y="2"/>
                      <a:pt x="26" y="2"/>
                      <a:pt x="26" y="2"/>
                    </a:cubicBezTo>
                    <a:cubicBezTo>
                      <a:pt x="29" y="1"/>
                      <a:pt x="32" y="0"/>
                      <a:pt x="34" y="0"/>
                    </a:cubicBezTo>
                    <a:cubicBezTo>
                      <a:pt x="37" y="0"/>
                      <a:pt x="39" y="1"/>
                      <a:pt x="42" y="3"/>
                    </a:cubicBezTo>
                    <a:cubicBezTo>
                      <a:pt x="44" y="4"/>
                      <a:pt x="46" y="7"/>
                      <a:pt x="47" y="10"/>
                    </a:cubicBezTo>
                    <a:cubicBezTo>
                      <a:pt x="48" y="14"/>
                      <a:pt x="48" y="18"/>
                      <a:pt x="47" y="21"/>
                    </a:cubicBezTo>
                    <a:cubicBezTo>
                      <a:pt x="45" y="24"/>
                      <a:pt x="42" y="26"/>
                      <a:pt x="38" y="28"/>
                    </a:cubicBezTo>
                    <a:cubicBezTo>
                      <a:pt x="34" y="20"/>
                      <a:pt x="34" y="20"/>
                      <a:pt x="34" y="20"/>
                    </a:cubicBezTo>
                    <a:cubicBezTo>
                      <a:pt x="37" y="19"/>
                      <a:pt x="38" y="18"/>
                      <a:pt x="39" y="17"/>
                    </a:cubicBezTo>
                    <a:cubicBezTo>
                      <a:pt x="40" y="16"/>
                      <a:pt x="40" y="14"/>
                      <a:pt x="40" y="13"/>
                    </a:cubicBezTo>
                    <a:cubicBezTo>
                      <a:pt x="39" y="11"/>
                      <a:pt x="38" y="10"/>
                      <a:pt x="37" y="9"/>
                    </a:cubicBezTo>
                    <a:cubicBezTo>
                      <a:pt x="35" y="9"/>
                      <a:pt x="33" y="9"/>
                      <a:pt x="30" y="10"/>
                    </a:cubicBezTo>
                    <a:lnTo>
                      <a:pt x="3" y="20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1049981" name="íṥ1iḍe"/>
              <p:cNvSpPr/>
              <p:nvPr/>
            </p:nvSpPr>
            <p:spPr bwMode="auto">
              <a:xfrm>
                <a:off x="3112984" y="5017090"/>
                <a:ext cx="80963" cy="46038"/>
              </a:xfrm>
              <a:custGeom>
                <a:avLst/>
                <a:gdLst>
                  <a:gd name="T0" fmla="*/ 51 w 51"/>
                  <a:gd name="T1" fmla="*/ 9 h 29"/>
                  <a:gd name="T2" fmla="*/ 3 w 51"/>
                  <a:gd name="T3" fmla="*/ 29 h 29"/>
                  <a:gd name="T4" fmla="*/ 0 w 51"/>
                  <a:gd name="T5" fmla="*/ 19 h 29"/>
                  <a:gd name="T6" fmla="*/ 46 w 51"/>
                  <a:gd name="T7" fmla="*/ 0 h 29"/>
                  <a:gd name="T8" fmla="*/ 51 w 51"/>
                  <a:gd name="T9" fmla="*/ 9 h 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1" h="29">
                    <a:moveTo>
                      <a:pt x="51" y="9"/>
                    </a:moveTo>
                    <a:lnTo>
                      <a:pt x="3" y="29"/>
                    </a:lnTo>
                    <a:lnTo>
                      <a:pt x="0" y="19"/>
                    </a:lnTo>
                    <a:lnTo>
                      <a:pt x="46" y="0"/>
                    </a:lnTo>
                    <a:lnTo>
                      <a:pt x="51" y="9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1049982" name="iṥľîḋé"/>
              <p:cNvSpPr/>
              <p:nvPr/>
            </p:nvSpPr>
            <p:spPr bwMode="auto">
              <a:xfrm>
                <a:off x="3081234" y="4948828"/>
                <a:ext cx="101600" cy="93663"/>
              </a:xfrm>
              <a:custGeom>
                <a:avLst/>
                <a:gdLst>
                  <a:gd name="T0" fmla="*/ 64 w 64"/>
                  <a:gd name="T1" fmla="*/ 36 h 59"/>
                  <a:gd name="T2" fmla="*/ 18 w 64"/>
                  <a:gd name="T3" fmla="*/ 59 h 59"/>
                  <a:gd name="T4" fmla="*/ 14 w 64"/>
                  <a:gd name="T5" fmla="*/ 50 h 59"/>
                  <a:gd name="T6" fmla="*/ 35 w 64"/>
                  <a:gd name="T7" fmla="*/ 16 h 59"/>
                  <a:gd name="T8" fmla="*/ 3 w 64"/>
                  <a:gd name="T9" fmla="*/ 31 h 59"/>
                  <a:gd name="T10" fmla="*/ 0 w 64"/>
                  <a:gd name="T11" fmla="*/ 22 h 59"/>
                  <a:gd name="T12" fmla="*/ 45 w 64"/>
                  <a:gd name="T13" fmla="*/ 0 h 59"/>
                  <a:gd name="T14" fmla="*/ 50 w 64"/>
                  <a:gd name="T15" fmla="*/ 8 h 59"/>
                  <a:gd name="T16" fmla="*/ 29 w 64"/>
                  <a:gd name="T17" fmla="*/ 42 h 59"/>
                  <a:gd name="T18" fmla="*/ 59 w 64"/>
                  <a:gd name="T19" fmla="*/ 26 h 59"/>
                  <a:gd name="T20" fmla="*/ 64 w 64"/>
                  <a:gd name="T21" fmla="*/ 36 h 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64" h="59">
                    <a:moveTo>
                      <a:pt x="64" y="36"/>
                    </a:moveTo>
                    <a:lnTo>
                      <a:pt x="18" y="59"/>
                    </a:lnTo>
                    <a:lnTo>
                      <a:pt x="14" y="50"/>
                    </a:lnTo>
                    <a:lnTo>
                      <a:pt x="35" y="16"/>
                    </a:lnTo>
                    <a:lnTo>
                      <a:pt x="3" y="31"/>
                    </a:lnTo>
                    <a:lnTo>
                      <a:pt x="0" y="22"/>
                    </a:lnTo>
                    <a:lnTo>
                      <a:pt x="45" y="0"/>
                    </a:lnTo>
                    <a:lnTo>
                      <a:pt x="50" y="8"/>
                    </a:lnTo>
                    <a:lnTo>
                      <a:pt x="29" y="42"/>
                    </a:lnTo>
                    <a:lnTo>
                      <a:pt x="59" y="26"/>
                    </a:lnTo>
                    <a:lnTo>
                      <a:pt x="64" y="36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1049983" name="îślidè"/>
              <p:cNvSpPr/>
              <p:nvPr/>
            </p:nvSpPr>
            <p:spPr bwMode="auto">
              <a:xfrm>
                <a:off x="3047897" y="4877390"/>
                <a:ext cx="84138" cy="88900"/>
              </a:xfrm>
              <a:custGeom>
                <a:avLst/>
                <a:gdLst>
                  <a:gd name="T0" fmla="*/ 28 w 46"/>
                  <a:gd name="T1" fmla="*/ 21 h 48"/>
                  <a:gd name="T2" fmla="*/ 22 w 46"/>
                  <a:gd name="T3" fmla="*/ 25 h 48"/>
                  <a:gd name="T4" fmla="*/ 11 w 46"/>
                  <a:gd name="T5" fmla="*/ 9 h 48"/>
                  <a:gd name="T6" fmla="*/ 26 w 46"/>
                  <a:gd name="T7" fmla="*/ 0 h 48"/>
                  <a:gd name="T8" fmla="*/ 35 w 46"/>
                  <a:gd name="T9" fmla="*/ 4 h 48"/>
                  <a:gd name="T10" fmla="*/ 42 w 46"/>
                  <a:gd name="T11" fmla="*/ 12 h 48"/>
                  <a:gd name="T12" fmla="*/ 46 w 46"/>
                  <a:gd name="T13" fmla="*/ 24 h 48"/>
                  <a:gd name="T14" fmla="*/ 43 w 46"/>
                  <a:gd name="T15" fmla="*/ 35 h 48"/>
                  <a:gd name="T16" fmla="*/ 35 w 46"/>
                  <a:gd name="T17" fmla="*/ 43 h 48"/>
                  <a:gd name="T18" fmla="*/ 23 w 46"/>
                  <a:gd name="T19" fmla="*/ 47 h 48"/>
                  <a:gd name="T20" fmla="*/ 12 w 46"/>
                  <a:gd name="T21" fmla="*/ 45 h 48"/>
                  <a:gd name="T22" fmla="*/ 4 w 46"/>
                  <a:gd name="T23" fmla="*/ 37 h 48"/>
                  <a:gd name="T24" fmla="*/ 0 w 46"/>
                  <a:gd name="T25" fmla="*/ 24 h 48"/>
                  <a:gd name="T26" fmla="*/ 5 w 46"/>
                  <a:gd name="T27" fmla="*/ 14 h 48"/>
                  <a:gd name="T28" fmla="*/ 11 w 46"/>
                  <a:gd name="T29" fmla="*/ 21 h 48"/>
                  <a:gd name="T30" fmla="*/ 9 w 46"/>
                  <a:gd name="T31" fmla="*/ 27 h 48"/>
                  <a:gd name="T32" fmla="*/ 11 w 46"/>
                  <a:gd name="T33" fmla="*/ 33 h 48"/>
                  <a:gd name="T34" fmla="*/ 19 w 46"/>
                  <a:gd name="T35" fmla="*/ 39 h 48"/>
                  <a:gd name="T36" fmla="*/ 30 w 46"/>
                  <a:gd name="T37" fmla="*/ 36 h 48"/>
                  <a:gd name="T38" fmla="*/ 38 w 46"/>
                  <a:gd name="T39" fmla="*/ 26 h 48"/>
                  <a:gd name="T40" fmla="*/ 36 w 46"/>
                  <a:gd name="T41" fmla="*/ 17 h 48"/>
                  <a:gd name="T42" fmla="*/ 32 w 46"/>
                  <a:gd name="T43" fmla="*/ 13 h 48"/>
                  <a:gd name="T44" fmla="*/ 27 w 46"/>
                  <a:gd name="T45" fmla="*/ 10 h 48"/>
                  <a:gd name="T46" fmla="*/ 23 w 46"/>
                  <a:gd name="T47" fmla="*/ 13 h 48"/>
                  <a:gd name="T48" fmla="*/ 28 w 46"/>
                  <a:gd name="T49" fmla="*/ 21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46" h="48">
                    <a:moveTo>
                      <a:pt x="28" y="21"/>
                    </a:moveTo>
                    <a:cubicBezTo>
                      <a:pt x="22" y="25"/>
                      <a:pt x="22" y="25"/>
                      <a:pt x="22" y="25"/>
                    </a:cubicBezTo>
                    <a:cubicBezTo>
                      <a:pt x="11" y="9"/>
                      <a:pt x="11" y="9"/>
                      <a:pt x="11" y="9"/>
                    </a:cubicBezTo>
                    <a:cubicBezTo>
                      <a:pt x="26" y="0"/>
                      <a:pt x="26" y="0"/>
                      <a:pt x="26" y="0"/>
                    </a:cubicBezTo>
                    <a:cubicBezTo>
                      <a:pt x="29" y="1"/>
                      <a:pt x="31" y="2"/>
                      <a:pt x="35" y="4"/>
                    </a:cubicBezTo>
                    <a:cubicBezTo>
                      <a:pt x="38" y="6"/>
                      <a:pt x="40" y="9"/>
                      <a:pt x="42" y="12"/>
                    </a:cubicBezTo>
                    <a:cubicBezTo>
                      <a:pt x="45" y="16"/>
                      <a:pt x="46" y="20"/>
                      <a:pt x="46" y="24"/>
                    </a:cubicBezTo>
                    <a:cubicBezTo>
                      <a:pt x="46" y="28"/>
                      <a:pt x="45" y="31"/>
                      <a:pt x="43" y="35"/>
                    </a:cubicBezTo>
                    <a:cubicBezTo>
                      <a:pt x="41" y="38"/>
                      <a:pt x="38" y="41"/>
                      <a:pt x="35" y="43"/>
                    </a:cubicBezTo>
                    <a:cubicBezTo>
                      <a:pt x="31" y="46"/>
                      <a:pt x="27" y="47"/>
                      <a:pt x="23" y="47"/>
                    </a:cubicBezTo>
                    <a:cubicBezTo>
                      <a:pt x="19" y="48"/>
                      <a:pt x="15" y="47"/>
                      <a:pt x="12" y="45"/>
                    </a:cubicBezTo>
                    <a:cubicBezTo>
                      <a:pt x="9" y="43"/>
                      <a:pt x="6" y="41"/>
                      <a:pt x="4" y="37"/>
                    </a:cubicBezTo>
                    <a:cubicBezTo>
                      <a:pt x="1" y="32"/>
                      <a:pt x="0" y="28"/>
                      <a:pt x="0" y="24"/>
                    </a:cubicBezTo>
                    <a:cubicBezTo>
                      <a:pt x="0" y="21"/>
                      <a:pt x="2" y="17"/>
                      <a:pt x="5" y="14"/>
                    </a:cubicBezTo>
                    <a:cubicBezTo>
                      <a:pt x="11" y="21"/>
                      <a:pt x="11" y="21"/>
                      <a:pt x="11" y="21"/>
                    </a:cubicBezTo>
                    <a:cubicBezTo>
                      <a:pt x="10" y="23"/>
                      <a:pt x="9" y="24"/>
                      <a:pt x="9" y="27"/>
                    </a:cubicBezTo>
                    <a:cubicBezTo>
                      <a:pt x="8" y="29"/>
                      <a:pt x="9" y="31"/>
                      <a:pt x="11" y="33"/>
                    </a:cubicBezTo>
                    <a:cubicBezTo>
                      <a:pt x="13" y="36"/>
                      <a:pt x="15" y="38"/>
                      <a:pt x="19" y="39"/>
                    </a:cubicBezTo>
                    <a:cubicBezTo>
                      <a:pt x="22" y="39"/>
                      <a:pt x="26" y="38"/>
                      <a:pt x="30" y="36"/>
                    </a:cubicBezTo>
                    <a:cubicBezTo>
                      <a:pt x="34" y="33"/>
                      <a:pt x="37" y="30"/>
                      <a:pt x="38" y="26"/>
                    </a:cubicBezTo>
                    <a:cubicBezTo>
                      <a:pt x="39" y="23"/>
                      <a:pt x="38" y="20"/>
                      <a:pt x="36" y="17"/>
                    </a:cubicBezTo>
                    <a:cubicBezTo>
                      <a:pt x="35" y="15"/>
                      <a:pt x="34" y="14"/>
                      <a:pt x="32" y="13"/>
                    </a:cubicBezTo>
                    <a:cubicBezTo>
                      <a:pt x="30" y="11"/>
                      <a:pt x="29" y="10"/>
                      <a:pt x="27" y="10"/>
                    </a:cubicBezTo>
                    <a:cubicBezTo>
                      <a:pt x="23" y="13"/>
                      <a:pt x="23" y="13"/>
                      <a:pt x="23" y="13"/>
                    </a:cubicBezTo>
                    <a:lnTo>
                      <a:pt x="28" y="21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1049984" name="îŝ1ide"/>
              <p:cNvSpPr/>
              <p:nvPr/>
            </p:nvSpPr>
            <p:spPr bwMode="auto">
              <a:xfrm>
                <a:off x="1981097" y="4907553"/>
                <a:ext cx="931863" cy="969963"/>
              </a:xfrm>
              <a:custGeom>
                <a:avLst/>
                <a:gdLst>
                  <a:gd name="T0" fmla="*/ 488 w 506"/>
                  <a:gd name="T1" fmla="*/ 144 h 525"/>
                  <a:gd name="T2" fmla="*/ 449 w 506"/>
                  <a:gd name="T3" fmla="*/ 161 h 525"/>
                  <a:gd name="T4" fmla="*/ 473 w 506"/>
                  <a:gd name="T5" fmla="*/ 361 h 525"/>
                  <a:gd name="T6" fmla="*/ 434 w 506"/>
                  <a:gd name="T7" fmla="*/ 382 h 525"/>
                  <a:gd name="T8" fmla="*/ 463 w 506"/>
                  <a:gd name="T9" fmla="*/ 392 h 525"/>
                  <a:gd name="T10" fmla="*/ 434 w 506"/>
                  <a:gd name="T11" fmla="*/ 455 h 525"/>
                  <a:gd name="T12" fmla="*/ 418 w 506"/>
                  <a:gd name="T13" fmla="*/ 525 h 525"/>
                  <a:gd name="T14" fmla="*/ 328 w 506"/>
                  <a:gd name="T15" fmla="*/ 392 h 525"/>
                  <a:gd name="T16" fmla="*/ 200 w 506"/>
                  <a:gd name="T17" fmla="*/ 376 h 525"/>
                  <a:gd name="T18" fmla="*/ 179 w 506"/>
                  <a:gd name="T19" fmla="*/ 525 h 525"/>
                  <a:gd name="T20" fmla="*/ 72 w 506"/>
                  <a:gd name="T21" fmla="*/ 510 h 525"/>
                  <a:gd name="T22" fmla="*/ 44 w 506"/>
                  <a:gd name="T23" fmla="*/ 439 h 525"/>
                  <a:gd name="T24" fmla="*/ 72 w 506"/>
                  <a:gd name="T25" fmla="*/ 392 h 525"/>
                  <a:gd name="T26" fmla="*/ 57 w 506"/>
                  <a:gd name="T27" fmla="*/ 382 h 525"/>
                  <a:gd name="T28" fmla="*/ 18 w 506"/>
                  <a:gd name="T29" fmla="*/ 161 h 525"/>
                  <a:gd name="T30" fmla="*/ 56 w 506"/>
                  <a:gd name="T31" fmla="*/ 144 h 525"/>
                  <a:gd name="T32" fmla="*/ 0 w 506"/>
                  <a:gd name="T33" fmla="*/ 21 h 525"/>
                  <a:gd name="T34" fmla="*/ 92 w 506"/>
                  <a:gd name="T35" fmla="*/ 21 h 525"/>
                  <a:gd name="T36" fmla="*/ 403 w 506"/>
                  <a:gd name="T37" fmla="*/ 82 h 525"/>
                  <a:gd name="T38" fmla="*/ 457 w 506"/>
                  <a:gd name="T39" fmla="*/ 0 h 525"/>
                  <a:gd name="T40" fmla="*/ 461 w 506"/>
                  <a:gd name="T41" fmla="*/ 82 h 525"/>
                  <a:gd name="T42" fmla="*/ 455 w 506"/>
                  <a:gd name="T43" fmla="*/ 24 h 525"/>
                  <a:gd name="T44" fmla="*/ 435 w 506"/>
                  <a:gd name="T45" fmla="*/ 82 h 525"/>
                  <a:gd name="T46" fmla="*/ 454 w 506"/>
                  <a:gd name="T47" fmla="*/ 127 h 525"/>
                  <a:gd name="T48" fmla="*/ 49 w 506"/>
                  <a:gd name="T49" fmla="*/ 112 h 525"/>
                  <a:gd name="T50" fmla="*/ 78 w 506"/>
                  <a:gd name="T51" fmla="*/ 127 h 525"/>
                  <a:gd name="T52" fmla="*/ 81 w 506"/>
                  <a:gd name="T53" fmla="*/ 161 h 525"/>
                  <a:gd name="T54" fmla="*/ 426 w 506"/>
                  <a:gd name="T55" fmla="*/ 145 h 525"/>
                  <a:gd name="T56" fmla="*/ 454 w 506"/>
                  <a:gd name="T57" fmla="*/ 127 h 525"/>
                  <a:gd name="T58" fmla="*/ 450 w 506"/>
                  <a:gd name="T59" fmla="*/ 178 h 525"/>
                  <a:gd name="T60" fmla="*/ 65 w 506"/>
                  <a:gd name="T61" fmla="*/ 335 h 525"/>
                  <a:gd name="T62" fmla="*/ 421 w 506"/>
                  <a:gd name="T63" fmla="*/ 349 h 525"/>
                  <a:gd name="T64" fmla="*/ 398 w 506"/>
                  <a:gd name="T65" fmla="*/ 490 h 525"/>
                  <a:gd name="T66" fmla="*/ 356 w 506"/>
                  <a:gd name="T67" fmla="*/ 371 h 525"/>
                  <a:gd name="T68" fmla="*/ 389 w 506"/>
                  <a:gd name="T69" fmla="*/ 496 h 525"/>
                  <a:gd name="T70" fmla="*/ 150 w 506"/>
                  <a:gd name="T71" fmla="*/ 496 h 525"/>
                  <a:gd name="T72" fmla="*/ 108 w 506"/>
                  <a:gd name="T73" fmla="*/ 371 h 525"/>
                  <a:gd name="T74" fmla="*/ 117 w 506"/>
                  <a:gd name="T75" fmla="*/ 496 h 525"/>
                  <a:gd name="T76" fmla="*/ 71 w 506"/>
                  <a:gd name="T77" fmla="*/ 82 h 525"/>
                  <a:gd name="T78" fmla="*/ 51 w 506"/>
                  <a:gd name="T79" fmla="*/ 24 h 525"/>
                  <a:gd name="T80" fmla="*/ 45 w 506"/>
                  <a:gd name="T81" fmla="*/ 82 h 5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506" h="525">
                    <a:moveTo>
                      <a:pt x="506" y="21"/>
                    </a:moveTo>
                    <a:cubicBezTo>
                      <a:pt x="488" y="144"/>
                      <a:pt x="488" y="144"/>
                      <a:pt x="488" y="144"/>
                    </a:cubicBezTo>
                    <a:cubicBezTo>
                      <a:pt x="450" y="144"/>
                      <a:pt x="450" y="144"/>
                      <a:pt x="450" y="144"/>
                    </a:cubicBezTo>
                    <a:cubicBezTo>
                      <a:pt x="449" y="161"/>
                      <a:pt x="449" y="161"/>
                      <a:pt x="449" y="161"/>
                    </a:cubicBezTo>
                    <a:cubicBezTo>
                      <a:pt x="488" y="161"/>
                      <a:pt x="488" y="161"/>
                      <a:pt x="488" y="161"/>
                    </a:cubicBezTo>
                    <a:cubicBezTo>
                      <a:pt x="473" y="361"/>
                      <a:pt x="473" y="361"/>
                      <a:pt x="473" y="361"/>
                    </a:cubicBezTo>
                    <a:cubicBezTo>
                      <a:pt x="473" y="372"/>
                      <a:pt x="462" y="382"/>
                      <a:pt x="450" y="382"/>
                    </a:cubicBezTo>
                    <a:cubicBezTo>
                      <a:pt x="434" y="382"/>
                      <a:pt x="434" y="382"/>
                      <a:pt x="434" y="382"/>
                    </a:cubicBezTo>
                    <a:cubicBezTo>
                      <a:pt x="434" y="392"/>
                      <a:pt x="434" y="392"/>
                      <a:pt x="434" y="392"/>
                    </a:cubicBezTo>
                    <a:cubicBezTo>
                      <a:pt x="463" y="392"/>
                      <a:pt x="463" y="392"/>
                      <a:pt x="463" y="392"/>
                    </a:cubicBezTo>
                    <a:cubicBezTo>
                      <a:pt x="463" y="439"/>
                      <a:pt x="463" y="439"/>
                      <a:pt x="463" y="439"/>
                    </a:cubicBezTo>
                    <a:cubicBezTo>
                      <a:pt x="463" y="448"/>
                      <a:pt x="450" y="455"/>
                      <a:pt x="434" y="455"/>
                    </a:cubicBezTo>
                    <a:cubicBezTo>
                      <a:pt x="434" y="510"/>
                      <a:pt x="434" y="510"/>
                      <a:pt x="434" y="510"/>
                    </a:cubicBezTo>
                    <a:cubicBezTo>
                      <a:pt x="434" y="518"/>
                      <a:pt x="427" y="525"/>
                      <a:pt x="418" y="525"/>
                    </a:cubicBezTo>
                    <a:cubicBezTo>
                      <a:pt x="328" y="525"/>
                      <a:pt x="328" y="525"/>
                      <a:pt x="328" y="525"/>
                    </a:cubicBezTo>
                    <a:cubicBezTo>
                      <a:pt x="328" y="392"/>
                      <a:pt x="328" y="392"/>
                      <a:pt x="328" y="392"/>
                    </a:cubicBezTo>
                    <a:cubicBezTo>
                      <a:pt x="328" y="383"/>
                      <a:pt x="318" y="376"/>
                      <a:pt x="307" y="376"/>
                    </a:cubicBezTo>
                    <a:cubicBezTo>
                      <a:pt x="200" y="376"/>
                      <a:pt x="200" y="376"/>
                      <a:pt x="200" y="376"/>
                    </a:cubicBezTo>
                    <a:cubicBezTo>
                      <a:pt x="188" y="376"/>
                      <a:pt x="179" y="383"/>
                      <a:pt x="179" y="392"/>
                    </a:cubicBezTo>
                    <a:cubicBezTo>
                      <a:pt x="179" y="525"/>
                      <a:pt x="179" y="525"/>
                      <a:pt x="179" y="525"/>
                    </a:cubicBezTo>
                    <a:cubicBezTo>
                      <a:pt x="89" y="525"/>
                      <a:pt x="89" y="525"/>
                      <a:pt x="89" y="525"/>
                    </a:cubicBezTo>
                    <a:cubicBezTo>
                      <a:pt x="80" y="525"/>
                      <a:pt x="72" y="518"/>
                      <a:pt x="72" y="510"/>
                    </a:cubicBezTo>
                    <a:cubicBezTo>
                      <a:pt x="72" y="455"/>
                      <a:pt x="72" y="455"/>
                      <a:pt x="72" y="455"/>
                    </a:cubicBezTo>
                    <a:cubicBezTo>
                      <a:pt x="56" y="455"/>
                      <a:pt x="44" y="448"/>
                      <a:pt x="44" y="439"/>
                    </a:cubicBezTo>
                    <a:cubicBezTo>
                      <a:pt x="44" y="392"/>
                      <a:pt x="44" y="392"/>
                      <a:pt x="44" y="392"/>
                    </a:cubicBezTo>
                    <a:cubicBezTo>
                      <a:pt x="72" y="392"/>
                      <a:pt x="72" y="392"/>
                      <a:pt x="72" y="392"/>
                    </a:cubicBezTo>
                    <a:cubicBezTo>
                      <a:pt x="72" y="382"/>
                      <a:pt x="72" y="382"/>
                      <a:pt x="72" y="382"/>
                    </a:cubicBezTo>
                    <a:cubicBezTo>
                      <a:pt x="57" y="382"/>
                      <a:pt x="57" y="382"/>
                      <a:pt x="57" y="382"/>
                    </a:cubicBezTo>
                    <a:cubicBezTo>
                      <a:pt x="44" y="382"/>
                      <a:pt x="34" y="372"/>
                      <a:pt x="34" y="361"/>
                    </a:cubicBezTo>
                    <a:cubicBezTo>
                      <a:pt x="18" y="161"/>
                      <a:pt x="18" y="161"/>
                      <a:pt x="18" y="161"/>
                    </a:cubicBezTo>
                    <a:cubicBezTo>
                      <a:pt x="58" y="161"/>
                      <a:pt x="58" y="161"/>
                      <a:pt x="58" y="161"/>
                    </a:cubicBezTo>
                    <a:cubicBezTo>
                      <a:pt x="56" y="144"/>
                      <a:pt x="56" y="144"/>
                      <a:pt x="56" y="144"/>
                    </a:cubicBezTo>
                    <a:cubicBezTo>
                      <a:pt x="18" y="144"/>
                      <a:pt x="18" y="144"/>
                      <a:pt x="18" y="144"/>
                    </a:cubicBezTo>
                    <a:cubicBezTo>
                      <a:pt x="0" y="21"/>
                      <a:pt x="0" y="21"/>
                      <a:pt x="0" y="21"/>
                    </a:cubicBezTo>
                    <a:cubicBezTo>
                      <a:pt x="2" y="7"/>
                      <a:pt x="31" y="0"/>
                      <a:pt x="49" y="0"/>
                    </a:cubicBezTo>
                    <a:cubicBezTo>
                      <a:pt x="73" y="0"/>
                      <a:pt x="80" y="3"/>
                      <a:pt x="92" y="21"/>
                    </a:cubicBezTo>
                    <a:cubicBezTo>
                      <a:pt x="103" y="82"/>
                      <a:pt x="103" y="82"/>
                      <a:pt x="103" y="82"/>
                    </a:cubicBezTo>
                    <a:cubicBezTo>
                      <a:pt x="403" y="82"/>
                      <a:pt x="403" y="82"/>
                      <a:pt x="403" y="82"/>
                    </a:cubicBezTo>
                    <a:cubicBezTo>
                      <a:pt x="415" y="21"/>
                      <a:pt x="415" y="21"/>
                      <a:pt x="415" y="21"/>
                    </a:cubicBezTo>
                    <a:cubicBezTo>
                      <a:pt x="426" y="3"/>
                      <a:pt x="433" y="0"/>
                      <a:pt x="457" y="0"/>
                    </a:cubicBezTo>
                    <a:cubicBezTo>
                      <a:pt x="475" y="0"/>
                      <a:pt x="504" y="7"/>
                      <a:pt x="506" y="21"/>
                    </a:cubicBezTo>
                    <a:close/>
                    <a:moveTo>
                      <a:pt x="461" y="82"/>
                    </a:moveTo>
                    <a:cubicBezTo>
                      <a:pt x="469" y="32"/>
                      <a:pt x="469" y="32"/>
                      <a:pt x="469" y="32"/>
                    </a:cubicBezTo>
                    <a:cubicBezTo>
                      <a:pt x="469" y="24"/>
                      <a:pt x="463" y="24"/>
                      <a:pt x="455" y="24"/>
                    </a:cubicBezTo>
                    <a:cubicBezTo>
                      <a:pt x="450" y="24"/>
                      <a:pt x="447" y="26"/>
                      <a:pt x="445" y="32"/>
                    </a:cubicBezTo>
                    <a:cubicBezTo>
                      <a:pt x="435" y="82"/>
                      <a:pt x="435" y="82"/>
                      <a:pt x="435" y="82"/>
                    </a:cubicBezTo>
                    <a:lnTo>
                      <a:pt x="461" y="82"/>
                    </a:lnTo>
                    <a:close/>
                    <a:moveTo>
                      <a:pt x="454" y="127"/>
                    </a:moveTo>
                    <a:cubicBezTo>
                      <a:pt x="457" y="112"/>
                      <a:pt x="457" y="112"/>
                      <a:pt x="457" y="112"/>
                    </a:cubicBezTo>
                    <a:cubicBezTo>
                      <a:pt x="49" y="112"/>
                      <a:pt x="49" y="112"/>
                      <a:pt x="49" y="112"/>
                    </a:cubicBezTo>
                    <a:cubicBezTo>
                      <a:pt x="52" y="127"/>
                      <a:pt x="52" y="127"/>
                      <a:pt x="52" y="127"/>
                    </a:cubicBezTo>
                    <a:cubicBezTo>
                      <a:pt x="78" y="127"/>
                      <a:pt x="78" y="127"/>
                      <a:pt x="78" y="127"/>
                    </a:cubicBezTo>
                    <a:cubicBezTo>
                      <a:pt x="80" y="145"/>
                      <a:pt x="80" y="145"/>
                      <a:pt x="80" y="145"/>
                    </a:cubicBezTo>
                    <a:cubicBezTo>
                      <a:pt x="81" y="161"/>
                      <a:pt x="81" y="161"/>
                      <a:pt x="81" y="161"/>
                    </a:cubicBezTo>
                    <a:cubicBezTo>
                      <a:pt x="425" y="161"/>
                      <a:pt x="425" y="161"/>
                      <a:pt x="425" y="161"/>
                    </a:cubicBezTo>
                    <a:cubicBezTo>
                      <a:pt x="426" y="145"/>
                      <a:pt x="426" y="145"/>
                      <a:pt x="426" y="145"/>
                    </a:cubicBezTo>
                    <a:cubicBezTo>
                      <a:pt x="428" y="127"/>
                      <a:pt x="428" y="127"/>
                      <a:pt x="428" y="127"/>
                    </a:cubicBezTo>
                    <a:lnTo>
                      <a:pt x="454" y="127"/>
                    </a:lnTo>
                    <a:close/>
                    <a:moveTo>
                      <a:pt x="441" y="335"/>
                    </a:moveTo>
                    <a:cubicBezTo>
                      <a:pt x="450" y="178"/>
                      <a:pt x="450" y="178"/>
                      <a:pt x="450" y="178"/>
                    </a:cubicBezTo>
                    <a:cubicBezTo>
                      <a:pt x="56" y="178"/>
                      <a:pt x="56" y="178"/>
                      <a:pt x="56" y="178"/>
                    </a:cubicBezTo>
                    <a:cubicBezTo>
                      <a:pt x="65" y="335"/>
                      <a:pt x="65" y="335"/>
                      <a:pt x="65" y="335"/>
                    </a:cubicBezTo>
                    <a:cubicBezTo>
                      <a:pt x="65" y="343"/>
                      <a:pt x="74" y="349"/>
                      <a:pt x="85" y="349"/>
                    </a:cubicBezTo>
                    <a:cubicBezTo>
                      <a:pt x="421" y="349"/>
                      <a:pt x="421" y="349"/>
                      <a:pt x="421" y="349"/>
                    </a:cubicBezTo>
                    <a:cubicBezTo>
                      <a:pt x="432" y="349"/>
                      <a:pt x="441" y="343"/>
                      <a:pt x="441" y="335"/>
                    </a:cubicBezTo>
                    <a:close/>
                    <a:moveTo>
                      <a:pt x="398" y="490"/>
                    </a:moveTo>
                    <a:cubicBezTo>
                      <a:pt x="398" y="371"/>
                      <a:pt x="398" y="371"/>
                      <a:pt x="398" y="371"/>
                    </a:cubicBezTo>
                    <a:cubicBezTo>
                      <a:pt x="356" y="371"/>
                      <a:pt x="356" y="371"/>
                      <a:pt x="356" y="371"/>
                    </a:cubicBezTo>
                    <a:cubicBezTo>
                      <a:pt x="356" y="496"/>
                      <a:pt x="356" y="496"/>
                      <a:pt x="356" y="496"/>
                    </a:cubicBezTo>
                    <a:cubicBezTo>
                      <a:pt x="389" y="496"/>
                      <a:pt x="389" y="496"/>
                      <a:pt x="389" y="496"/>
                    </a:cubicBezTo>
                    <a:cubicBezTo>
                      <a:pt x="394" y="496"/>
                      <a:pt x="398" y="496"/>
                      <a:pt x="398" y="490"/>
                    </a:cubicBezTo>
                    <a:close/>
                    <a:moveTo>
                      <a:pt x="150" y="496"/>
                    </a:moveTo>
                    <a:cubicBezTo>
                      <a:pt x="150" y="371"/>
                      <a:pt x="150" y="371"/>
                      <a:pt x="150" y="371"/>
                    </a:cubicBezTo>
                    <a:cubicBezTo>
                      <a:pt x="108" y="371"/>
                      <a:pt x="108" y="371"/>
                      <a:pt x="108" y="371"/>
                    </a:cubicBezTo>
                    <a:cubicBezTo>
                      <a:pt x="108" y="490"/>
                      <a:pt x="108" y="490"/>
                      <a:pt x="108" y="490"/>
                    </a:cubicBezTo>
                    <a:cubicBezTo>
                      <a:pt x="108" y="496"/>
                      <a:pt x="112" y="496"/>
                      <a:pt x="117" y="496"/>
                    </a:cubicBezTo>
                    <a:lnTo>
                      <a:pt x="150" y="496"/>
                    </a:lnTo>
                    <a:close/>
                    <a:moveTo>
                      <a:pt x="71" y="82"/>
                    </a:moveTo>
                    <a:cubicBezTo>
                      <a:pt x="61" y="32"/>
                      <a:pt x="61" y="32"/>
                      <a:pt x="61" y="32"/>
                    </a:cubicBezTo>
                    <a:cubicBezTo>
                      <a:pt x="60" y="26"/>
                      <a:pt x="57" y="24"/>
                      <a:pt x="51" y="24"/>
                    </a:cubicBezTo>
                    <a:cubicBezTo>
                      <a:pt x="43" y="24"/>
                      <a:pt x="37" y="24"/>
                      <a:pt x="37" y="32"/>
                    </a:cubicBezTo>
                    <a:cubicBezTo>
                      <a:pt x="45" y="82"/>
                      <a:pt x="45" y="82"/>
                      <a:pt x="45" y="82"/>
                    </a:cubicBezTo>
                    <a:lnTo>
                      <a:pt x="71" y="82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  <p:sp>
            <p:nvSpPr>
              <p:cNvPr id="1049985" name="í$ḻíde"/>
              <p:cNvSpPr/>
              <p:nvPr/>
            </p:nvSpPr>
            <p:spPr bwMode="auto">
              <a:xfrm>
                <a:off x="2144609" y="5142503"/>
                <a:ext cx="604838" cy="31750"/>
              </a:xfrm>
              <a:prstGeom prst="rect">
                <a:avLst/>
              </a:pr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 sz="1350"/>
              </a:p>
            </p:txBody>
          </p:sp>
        </p:grpSp>
      </p:grp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zh-CN" altLang="en-US"/>
              <a:t>单击此处编辑母版副标题样式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97B5FA-0921-464F-AAE1-844C04324D75}" type="datetimeFigureOut">
              <a:rPr lang="zh-CN" altLang="en-US" smtClean="0"/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5CE74E-AB26-4998-AD42-012C4C1AD076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9" Type="http://schemas.openxmlformats.org/officeDocument/2006/relationships/theme" Target="../theme/theme1.xml"/><Relationship Id="rId8" Type="http://schemas.openxmlformats.org/officeDocument/2006/relationships/slideLayout" Target="../slideLayouts/slideLayout8.xml"/><Relationship Id="rId7" Type="http://schemas.openxmlformats.org/officeDocument/2006/relationships/slideLayout" Target="../slideLayouts/slideLayout7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/Relationships>
</file>

<file path=ppt/slideMasters/_rels/slideMaster2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17.xml"/><Relationship Id="rId8" Type="http://schemas.openxmlformats.org/officeDocument/2006/relationships/slideLayout" Target="../slideLayouts/slideLayout16.xml"/><Relationship Id="rId7" Type="http://schemas.openxmlformats.org/officeDocument/2006/relationships/slideLayout" Target="../slideLayouts/slideLayout15.xml"/><Relationship Id="rId6" Type="http://schemas.openxmlformats.org/officeDocument/2006/relationships/slideLayout" Target="../slideLayouts/slideLayout14.xml"/><Relationship Id="rId5" Type="http://schemas.openxmlformats.org/officeDocument/2006/relationships/slideLayout" Target="../slideLayouts/slideLayout13.xml"/><Relationship Id="rId4" Type="http://schemas.openxmlformats.org/officeDocument/2006/relationships/slideLayout" Target="../slideLayouts/slideLayout12.xml"/><Relationship Id="rId3" Type="http://schemas.openxmlformats.org/officeDocument/2006/relationships/slideLayout" Target="../slideLayouts/slideLayout11.xml"/><Relationship Id="rId2" Type="http://schemas.openxmlformats.org/officeDocument/2006/relationships/slideLayout" Target="../slideLayouts/slideLayout10.xml"/><Relationship Id="rId17" Type="http://schemas.openxmlformats.org/officeDocument/2006/relationships/theme" Target="../theme/theme2.xml"/><Relationship Id="rId16" Type="http://schemas.openxmlformats.org/officeDocument/2006/relationships/slideLayout" Target="../slideLayouts/slideLayout24.xml"/><Relationship Id="rId15" Type="http://schemas.openxmlformats.org/officeDocument/2006/relationships/slideLayout" Target="../slideLayouts/slideLayout23.xml"/><Relationship Id="rId14" Type="http://schemas.openxmlformats.org/officeDocument/2006/relationships/slideLayout" Target="../slideLayouts/slideLayout22.xml"/><Relationship Id="rId13" Type="http://schemas.openxmlformats.org/officeDocument/2006/relationships/slideLayout" Target="../slideLayouts/slideLayout21.xml"/><Relationship Id="rId12" Type="http://schemas.openxmlformats.org/officeDocument/2006/relationships/slideLayout" Target="../slideLayouts/slideLayout20.xml"/><Relationship Id="rId11" Type="http://schemas.openxmlformats.org/officeDocument/2006/relationships/slideLayout" Target="../slideLayouts/slideLayout19.xml"/><Relationship Id="rId10" Type="http://schemas.openxmlformats.org/officeDocument/2006/relationships/slideLayout" Target="../slideLayouts/slideLayout18.xml"/><Relationship Id="rId1" Type="http://schemas.openxmlformats.org/officeDocument/2006/relationships/slideLayout" Target="../slideLayouts/slideLayout9.xml"/></Relationships>
</file>

<file path=ppt/slideMasters/_rels/slideMaster3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33.xml"/><Relationship Id="rId8" Type="http://schemas.openxmlformats.org/officeDocument/2006/relationships/slideLayout" Target="../slideLayouts/slideLayout32.xml"/><Relationship Id="rId7" Type="http://schemas.openxmlformats.org/officeDocument/2006/relationships/slideLayout" Target="../slideLayouts/slideLayout31.xml"/><Relationship Id="rId6" Type="http://schemas.openxmlformats.org/officeDocument/2006/relationships/slideLayout" Target="../slideLayouts/slideLayout30.xml"/><Relationship Id="rId5" Type="http://schemas.openxmlformats.org/officeDocument/2006/relationships/slideLayout" Target="../slideLayouts/slideLayout29.xml"/><Relationship Id="rId4" Type="http://schemas.openxmlformats.org/officeDocument/2006/relationships/slideLayout" Target="../slideLayouts/slideLayout28.xml"/><Relationship Id="rId3" Type="http://schemas.openxmlformats.org/officeDocument/2006/relationships/slideLayout" Target="../slideLayouts/slideLayout27.xml"/><Relationship Id="rId2" Type="http://schemas.openxmlformats.org/officeDocument/2006/relationships/slideLayout" Target="../slideLayouts/slideLayout26.xml"/><Relationship Id="rId17" Type="http://schemas.openxmlformats.org/officeDocument/2006/relationships/theme" Target="../theme/theme3.xml"/><Relationship Id="rId16" Type="http://schemas.openxmlformats.org/officeDocument/2006/relationships/slideLayout" Target="../slideLayouts/slideLayout40.xml"/><Relationship Id="rId15" Type="http://schemas.openxmlformats.org/officeDocument/2006/relationships/slideLayout" Target="../slideLayouts/slideLayout39.xml"/><Relationship Id="rId14" Type="http://schemas.openxmlformats.org/officeDocument/2006/relationships/slideLayout" Target="../slideLayouts/slideLayout38.xml"/><Relationship Id="rId13" Type="http://schemas.openxmlformats.org/officeDocument/2006/relationships/slideLayout" Target="../slideLayouts/slideLayout37.xml"/><Relationship Id="rId12" Type="http://schemas.openxmlformats.org/officeDocument/2006/relationships/slideLayout" Target="../slideLayouts/slideLayout36.xml"/><Relationship Id="rId11" Type="http://schemas.openxmlformats.org/officeDocument/2006/relationships/slideLayout" Target="../slideLayouts/slideLayout35.xml"/><Relationship Id="rId10" Type="http://schemas.openxmlformats.org/officeDocument/2006/relationships/slideLayout" Target="../slideLayouts/slideLayout34.xml"/><Relationship Id="rId1" Type="http://schemas.openxmlformats.org/officeDocument/2006/relationships/slideLayout" Target="../slideLayouts/slideLayout25.xml"/></Relationships>
</file>

<file path=ppt/slideMasters/_rels/slideMaster4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49.xml"/><Relationship Id="rId8" Type="http://schemas.openxmlformats.org/officeDocument/2006/relationships/slideLayout" Target="../slideLayouts/slideLayout48.xml"/><Relationship Id="rId7" Type="http://schemas.openxmlformats.org/officeDocument/2006/relationships/slideLayout" Target="../slideLayouts/slideLayout47.xml"/><Relationship Id="rId6" Type="http://schemas.openxmlformats.org/officeDocument/2006/relationships/slideLayout" Target="../slideLayouts/slideLayout46.xml"/><Relationship Id="rId5" Type="http://schemas.openxmlformats.org/officeDocument/2006/relationships/slideLayout" Target="../slideLayouts/slideLayout45.xml"/><Relationship Id="rId4" Type="http://schemas.openxmlformats.org/officeDocument/2006/relationships/slideLayout" Target="../slideLayouts/slideLayout44.xml"/><Relationship Id="rId3" Type="http://schemas.openxmlformats.org/officeDocument/2006/relationships/slideLayout" Target="../slideLayouts/slideLayout43.xml"/><Relationship Id="rId2" Type="http://schemas.openxmlformats.org/officeDocument/2006/relationships/slideLayout" Target="../slideLayouts/slideLayout42.xml"/><Relationship Id="rId17" Type="http://schemas.openxmlformats.org/officeDocument/2006/relationships/theme" Target="../theme/theme4.xml"/><Relationship Id="rId16" Type="http://schemas.openxmlformats.org/officeDocument/2006/relationships/image" Target="../media/image11.jpeg"/><Relationship Id="rId15" Type="http://schemas.openxmlformats.org/officeDocument/2006/relationships/image" Target="../media/image1.jpeg"/><Relationship Id="rId14" Type="http://schemas.openxmlformats.org/officeDocument/2006/relationships/slideLayout" Target="../slideLayouts/slideLayout54.xml"/><Relationship Id="rId13" Type="http://schemas.openxmlformats.org/officeDocument/2006/relationships/slideLayout" Target="../slideLayouts/slideLayout53.xml"/><Relationship Id="rId12" Type="http://schemas.openxmlformats.org/officeDocument/2006/relationships/slideLayout" Target="../slideLayouts/slideLayout52.xml"/><Relationship Id="rId11" Type="http://schemas.openxmlformats.org/officeDocument/2006/relationships/slideLayout" Target="../slideLayouts/slideLayout51.xml"/><Relationship Id="rId10" Type="http://schemas.openxmlformats.org/officeDocument/2006/relationships/slideLayout" Target="../slideLayouts/slideLayout50.xml"/><Relationship Id="rId1" Type="http://schemas.openxmlformats.org/officeDocument/2006/relationships/slideLayout" Target="../slideLayouts/slideLayout41.xml"/></Relationships>
</file>

<file path=ppt/slideMasters/_rels/slideMaster5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63.xml"/><Relationship Id="rId8" Type="http://schemas.openxmlformats.org/officeDocument/2006/relationships/slideLayout" Target="../slideLayouts/slideLayout62.xml"/><Relationship Id="rId7" Type="http://schemas.openxmlformats.org/officeDocument/2006/relationships/slideLayout" Target="../slideLayouts/slideLayout61.xml"/><Relationship Id="rId6" Type="http://schemas.openxmlformats.org/officeDocument/2006/relationships/slideLayout" Target="../slideLayouts/slideLayout60.xml"/><Relationship Id="rId5" Type="http://schemas.openxmlformats.org/officeDocument/2006/relationships/slideLayout" Target="../slideLayouts/slideLayout59.xml"/><Relationship Id="rId4" Type="http://schemas.openxmlformats.org/officeDocument/2006/relationships/slideLayout" Target="../slideLayouts/slideLayout58.xml"/><Relationship Id="rId3" Type="http://schemas.openxmlformats.org/officeDocument/2006/relationships/slideLayout" Target="../slideLayouts/slideLayout57.xml"/><Relationship Id="rId2" Type="http://schemas.openxmlformats.org/officeDocument/2006/relationships/slideLayout" Target="../slideLayouts/slideLayout56.xml"/><Relationship Id="rId14" Type="http://schemas.openxmlformats.org/officeDocument/2006/relationships/theme" Target="../theme/theme5.xml"/><Relationship Id="rId13" Type="http://schemas.openxmlformats.org/officeDocument/2006/relationships/image" Target="../media/image11.jpeg"/><Relationship Id="rId12" Type="http://schemas.openxmlformats.org/officeDocument/2006/relationships/image" Target="../media/image1.jpeg"/><Relationship Id="rId11" Type="http://schemas.openxmlformats.org/officeDocument/2006/relationships/slideLayout" Target="../slideLayouts/slideLayout65.xml"/><Relationship Id="rId10" Type="http://schemas.openxmlformats.org/officeDocument/2006/relationships/slideLayout" Target="../slideLayouts/slideLayout64.xml"/><Relationship Id="rId1" Type="http://schemas.openxmlformats.org/officeDocument/2006/relationships/slideLayout" Target="../slideLayouts/slideLayout55.xml"/></Relationships>
</file>

<file path=ppt/slideMasters/_rels/slideMaster6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74.xml"/><Relationship Id="rId8" Type="http://schemas.openxmlformats.org/officeDocument/2006/relationships/slideLayout" Target="../slideLayouts/slideLayout73.xml"/><Relationship Id="rId7" Type="http://schemas.openxmlformats.org/officeDocument/2006/relationships/slideLayout" Target="../slideLayouts/slideLayout72.xml"/><Relationship Id="rId6" Type="http://schemas.openxmlformats.org/officeDocument/2006/relationships/slideLayout" Target="../slideLayouts/slideLayout71.xml"/><Relationship Id="rId5" Type="http://schemas.openxmlformats.org/officeDocument/2006/relationships/slideLayout" Target="../slideLayouts/slideLayout70.xml"/><Relationship Id="rId4" Type="http://schemas.openxmlformats.org/officeDocument/2006/relationships/slideLayout" Target="../slideLayouts/slideLayout69.xml"/><Relationship Id="rId3" Type="http://schemas.openxmlformats.org/officeDocument/2006/relationships/slideLayout" Target="../slideLayouts/slideLayout68.xml"/><Relationship Id="rId2" Type="http://schemas.openxmlformats.org/officeDocument/2006/relationships/slideLayout" Target="../slideLayouts/slideLayout67.xml"/><Relationship Id="rId17" Type="http://schemas.openxmlformats.org/officeDocument/2006/relationships/theme" Target="../theme/theme6.xml"/><Relationship Id="rId16" Type="http://schemas.openxmlformats.org/officeDocument/2006/relationships/slideLayout" Target="../slideLayouts/slideLayout81.xml"/><Relationship Id="rId15" Type="http://schemas.openxmlformats.org/officeDocument/2006/relationships/slideLayout" Target="../slideLayouts/slideLayout80.xml"/><Relationship Id="rId14" Type="http://schemas.openxmlformats.org/officeDocument/2006/relationships/slideLayout" Target="../slideLayouts/slideLayout79.xml"/><Relationship Id="rId13" Type="http://schemas.openxmlformats.org/officeDocument/2006/relationships/slideLayout" Target="../slideLayouts/slideLayout78.xml"/><Relationship Id="rId12" Type="http://schemas.openxmlformats.org/officeDocument/2006/relationships/slideLayout" Target="../slideLayouts/slideLayout77.xml"/><Relationship Id="rId11" Type="http://schemas.openxmlformats.org/officeDocument/2006/relationships/slideLayout" Target="../slideLayouts/slideLayout76.xml"/><Relationship Id="rId10" Type="http://schemas.openxmlformats.org/officeDocument/2006/relationships/slideLayout" Target="../slideLayouts/slideLayout75.xml"/><Relationship Id="rId1" Type="http://schemas.openxmlformats.org/officeDocument/2006/relationships/slideLayout" Target="../slideLayouts/slideLayout6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gradFill rotWithShape="0">
          <a:gsLst>
            <a:gs pos="53000">
              <a:schemeClr val="accent2">
                <a:lumMod val="20000"/>
                <a:lumOff val="80000"/>
              </a:schemeClr>
            </a:gs>
            <a:gs pos="100000">
              <a:schemeClr val="accent1">
                <a:lumMod val="30000"/>
                <a:lumOff val="70000"/>
              </a:schemeClr>
            </a:gs>
          </a:gsLst>
          <a:lin ang="162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628650" y="365125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二级</a:t>
            </a:r>
            <a:endParaRPr lang="zh-CN" altLang="en-US"/>
          </a:p>
          <a:p>
            <a:pPr lvl="2"/>
            <a:r>
              <a:rPr lang="zh-CN" altLang="en-US"/>
              <a:t>三级</a:t>
            </a:r>
            <a:endParaRPr lang="zh-CN" altLang="en-US"/>
          </a:p>
          <a:p>
            <a:pPr lvl="3"/>
            <a:r>
              <a:rPr lang="zh-CN" altLang="en-US"/>
              <a:t>四级</a:t>
            </a:r>
            <a:endParaRPr lang="zh-CN" altLang="en-US"/>
          </a:p>
          <a:p>
            <a:pPr lvl="4"/>
            <a:r>
              <a:rPr lang="zh-CN" altLang="en-US"/>
              <a:t>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2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0A9BDBD-D1C1-4456-B976-943FE7A1493D}" type="datetimeFigureOut">
              <a:rPr lang="zh-CN" altLang="en-US" smtClean="0"/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3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40D1F3D-DA94-4204-98F7-98D5BB598469}" type="slidenum">
              <a:rPr lang="zh-CN" altLang="en-US" smtClean="0"/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gradFill rotWithShape="0">
          <a:gsLst>
            <a:gs pos="53000">
              <a:schemeClr val="accent2">
                <a:lumMod val="20000"/>
                <a:lumOff val="80000"/>
              </a:schemeClr>
            </a:gs>
            <a:gs pos="100000">
              <a:schemeClr val="accent1">
                <a:lumMod val="30000"/>
                <a:lumOff val="70000"/>
              </a:schemeClr>
            </a:gs>
          </a:gsLst>
          <a:lin ang="162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628650" y="365125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2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997B5FA-0921-464F-AAE1-844C04324D75}" type="datetimeFigureOut">
              <a:rPr lang="zh-CN" altLang="en-US" smtClean="0"/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3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65CE74E-AB26-4998-AD42-012C4C1AD076}" type="slidenum">
              <a:rPr lang="zh-CN" altLang="en-US" smtClean="0"/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58" r:id="rId1"/>
    <p:sldLayoutId id="2147483659" r:id="rId2"/>
    <p:sldLayoutId id="2147483660" r:id="rId3"/>
    <p:sldLayoutId id="2147483661" r:id="rId4"/>
    <p:sldLayoutId id="2147483662" r:id="rId5"/>
    <p:sldLayoutId id="2147483663" r:id="rId6"/>
    <p:sldLayoutId id="2147483664" r:id="rId7"/>
    <p:sldLayoutId id="2147483665" r:id="rId8"/>
    <p:sldLayoutId id="2147483666" r:id="rId9"/>
    <p:sldLayoutId id="2147483667" r:id="rId10"/>
    <p:sldLayoutId id="2147483668" r:id="rId11"/>
    <p:sldLayoutId id="2147483669" r:id="rId12"/>
    <p:sldLayoutId id="2147483670" r:id="rId13"/>
    <p:sldLayoutId id="2147483671" r:id="rId14"/>
    <p:sldLayoutId id="2147483672" r:id="rId15"/>
    <p:sldLayoutId id="2147483673" r:id="rId16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gradFill rotWithShape="0">
          <a:gsLst>
            <a:gs pos="53000">
              <a:schemeClr val="accent2">
                <a:lumMod val="20000"/>
                <a:lumOff val="80000"/>
              </a:schemeClr>
            </a:gs>
            <a:gs pos="100000">
              <a:schemeClr val="accent1">
                <a:lumMod val="30000"/>
                <a:lumOff val="70000"/>
              </a:schemeClr>
            </a:gs>
          </a:gsLst>
          <a:lin ang="162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2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997B5FA-0921-464F-AAE1-844C04324D75}" type="datetimeFigureOut">
              <a:rPr lang="zh-CN" altLang="en-US" smtClean="0"/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65CE74E-AB26-4998-AD42-012C4C1AD076}" type="slidenum">
              <a:rPr lang="zh-CN" altLang="en-US" smtClean="0"/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75" r:id="rId1"/>
    <p:sldLayoutId id="2147483676" r:id="rId2"/>
    <p:sldLayoutId id="2147483677" r:id="rId3"/>
    <p:sldLayoutId id="2147483678" r:id="rId4"/>
    <p:sldLayoutId id="2147483679" r:id="rId5"/>
    <p:sldLayoutId id="2147483680" r:id="rId6"/>
    <p:sldLayoutId id="2147483681" r:id="rId7"/>
    <p:sldLayoutId id="2147483682" r:id="rId8"/>
    <p:sldLayoutId id="2147483683" r:id="rId9"/>
    <p:sldLayoutId id="2147483684" r:id="rId10"/>
    <p:sldLayoutId id="2147483685" r:id="rId11"/>
    <p:sldLayoutId id="2147483686" r:id="rId12"/>
    <p:sldLayoutId id="2147483687" r:id="rId13"/>
    <p:sldLayoutId id="2147483688" r:id="rId14"/>
    <p:sldLayoutId id="2147483689" r:id="rId15"/>
    <p:sldLayoutId id="2147483690" r:id="rId16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gradFill rotWithShape="0">
          <a:gsLst>
            <a:gs pos="53000">
              <a:schemeClr val="accent2">
                <a:lumMod val="20000"/>
                <a:lumOff val="80000"/>
              </a:schemeClr>
            </a:gs>
            <a:gs pos="100000">
              <a:schemeClr val="accent1">
                <a:lumMod val="30000"/>
                <a:lumOff val="70000"/>
              </a:schemeClr>
            </a:gs>
          </a:gsLst>
          <a:lin ang="162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/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/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zh-CN" altLang="en-US"/>
          </a:p>
        </p:txBody>
      </p:sp>
      <p:sp>
        <p:nvSpPr>
          <p:cNvPr id="4" name="日期占位符 3"/>
          <p:cNvSpPr/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zh-CN" altLang="en-US"/>
          </a:p>
        </p:txBody>
      </p:sp>
      <p:sp>
        <p:nvSpPr>
          <p:cNvPr id="5" name="页脚占位符 4"/>
          <p:cNvSpPr/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zh-CN" altLang="en-US"/>
          </a:p>
        </p:txBody>
      </p:sp>
      <p:sp>
        <p:nvSpPr>
          <p:cNvPr id="6" name="灯片编号占位符 5"/>
          <p:cNvSpPr/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613A0D8-FAE1-4E13-A973-896C4E55743D}" type="slidenum">
              <a:rPr lang="en-US" altLang="zh-CN" smtClean="0"/>
            </a:fld>
            <a:endParaRPr lang="en-US" altLang="zh-CN"/>
          </a:p>
        </p:txBody>
      </p:sp>
      <p:pic>
        <p:nvPicPr>
          <p:cNvPr id="7" name="图片 6"/>
          <p:cNvPicPr>
            <a:picLocks noChangeAspect="1"/>
          </p:cNvPicPr>
          <p:nvPr userDrawn="1"/>
        </p:nvPicPr>
        <p:blipFill rotWithShape="1"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796" b="7796"/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8" name="矩形 7"/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bg1">
              <a:alpha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350"/>
          </a:p>
        </p:txBody>
      </p:sp>
      <p:sp>
        <p:nvSpPr>
          <p:cNvPr id="9" name="矩形 8"/>
          <p:cNvSpPr/>
          <p:nvPr userDrawn="1"/>
        </p:nvSpPr>
        <p:spPr>
          <a:xfrm>
            <a:off x="9064520" y="319741"/>
            <a:ext cx="89822" cy="274912"/>
          </a:xfrm>
          <a:prstGeom prst="rect">
            <a:avLst/>
          </a:prstGeom>
          <a:gradFill flip="none" rotWithShape="1">
            <a:gsLst>
              <a:gs pos="0">
                <a:srgbClr val="A22B17">
                  <a:lumMod val="94000"/>
                  <a:lumOff val="6000"/>
                </a:srgbClr>
              </a:gs>
              <a:gs pos="100000">
                <a:srgbClr val="A22B17">
                  <a:alpha val="72000"/>
                  <a:lumMod val="85000"/>
                  <a:lumOff val="15000"/>
                </a:srgb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zh-CN" altLang="en-US" sz="1350"/>
          </a:p>
        </p:txBody>
      </p:sp>
      <p:grpSp>
        <p:nvGrpSpPr>
          <p:cNvPr id="11" name="组合 10"/>
          <p:cNvGrpSpPr/>
          <p:nvPr userDrawn="1"/>
        </p:nvGrpSpPr>
        <p:grpSpPr>
          <a:xfrm>
            <a:off x="6906260" y="225425"/>
            <a:ext cx="2011680" cy="453390"/>
            <a:chOff x="9721458" y="225521"/>
            <a:chExt cx="2169381" cy="453584"/>
          </a:xfrm>
        </p:grpSpPr>
        <p:sp>
          <p:nvSpPr>
            <p:cNvPr id="12" name="îS1îḋé"/>
            <p:cNvSpPr/>
            <p:nvPr/>
          </p:nvSpPr>
          <p:spPr bwMode="auto">
            <a:xfrm>
              <a:off x="9721458" y="225521"/>
              <a:ext cx="453179" cy="453584"/>
            </a:xfrm>
            <a:prstGeom prst="ellipse">
              <a:avLst/>
            </a:prstGeom>
            <a:noFill/>
            <a:ln w="15875" cap="flat">
              <a:solidFill>
                <a:srgbClr val="CA351C"/>
              </a:solidFill>
              <a:prstDash val="solid"/>
              <a:miter lim="800000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anchor="ctr"/>
            <a:lstStyle/>
            <a:p>
              <a:pPr algn="r"/>
              <a:endParaRPr sz="1350"/>
            </a:p>
          </p:txBody>
        </p:sp>
        <p:sp>
          <p:nvSpPr>
            <p:cNvPr id="13" name="îṣḷïďé"/>
            <p:cNvSpPr/>
            <p:nvPr/>
          </p:nvSpPr>
          <p:spPr bwMode="auto">
            <a:xfrm>
              <a:off x="9777346" y="281409"/>
              <a:ext cx="340998" cy="341403"/>
            </a:xfrm>
            <a:prstGeom prst="ellipse">
              <a:avLst/>
            </a:prstGeom>
            <a:noFill/>
            <a:ln w="9525" cap="flat">
              <a:solidFill>
                <a:srgbClr val="B8311A"/>
              </a:solidFill>
              <a:prstDash val="solid"/>
              <a:miter lim="800000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anchor="ctr"/>
            <a:lstStyle/>
            <a:p>
              <a:pPr algn="r"/>
              <a:endParaRPr sz="1350"/>
            </a:p>
          </p:txBody>
        </p:sp>
        <p:grpSp>
          <p:nvGrpSpPr>
            <p:cNvPr id="14" name="组合 13"/>
            <p:cNvGrpSpPr/>
            <p:nvPr userDrawn="1"/>
          </p:nvGrpSpPr>
          <p:grpSpPr>
            <a:xfrm>
              <a:off x="9742315" y="240303"/>
              <a:ext cx="411466" cy="424020"/>
              <a:chOff x="1641372" y="4491628"/>
              <a:chExt cx="1612900" cy="1662113"/>
            </a:xfrm>
            <a:solidFill>
              <a:srgbClr val="CA351C"/>
            </a:solidFill>
          </p:grpSpPr>
          <p:sp>
            <p:nvSpPr>
              <p:cNvPr id="67" name="ïś1íďê"/>
              <p:cNvSpPr/>
              <p:nvPr/>
            </p:nvSpPr>
            <p:spPr bwMode="auto">
              <a:xfrm>
                <a:off x="2889147" y="4701178"/>
                <a:ext cx="153988" cy="138113"/>
              </a:xfrm>
              <a:custGeom>
                <a:avLst/>
                <a:gdLst>
                  <a:gd name="T0" fmla="*/ 62 w 83"/>
                  <a:gd name="T1" fmla="*/ 8 h 75"/>
                  <a:gd name="T2" fmla="*/ 53 w 83"/>
                  <a:gd name="T3" fmla="*/ 10 h 75"/>
                  <a:gd name="T4" fmla="*/ 57 w 83"/>
                  <a:gd name="T5" fmla="*/ 0 h 75"/>
                  <a:gd name="T6" fmla="*/ 44 w 83"/>
                  <a:gd name="T7" fmla="*/ 21 h 75"/>
                  <a:gd name="T8" fmla="*/ 58 w 83"/>
                  <a:gd name="T9" fmla="*/ 11 h 75"/>
                  <a:gd name="T10" fmla="*/ 54 w 83"/>
                  <a:gd name="T11" fmla="*/ 18 h 75"/>
                  <a:gd name="T12" fmla="*/ 28 w 83"/>
                  <a:gd name="T13" fmla="*/ 18 h 75"/>
                  <a:gd name="T14" fmla="*/ 19 w 83"/>
                  <a:gd name="T15" fmla="*/ 17 h 75"/>
                  <a:gd name="T16" fmla="*/ 25 w 83"/>
                  <a:gd name="T17" fmla="*/ 12 h 75"/>
                  <a:gd name="T18" fmla="*/ 1 w 83"/>
                  <a:gd name="T19" fmla="*/ 30 h 75"/>
                  <a:gd name="T20" fmla="*/ 13 w 83"/>
                  <a:gd name="T21" fmla="*/ 24 h 75"/>
                  <a:gd name="T22" fmla="*/ 36 w 83"/>
                  <a:gd name="T23" fmla="*/ 28 h 75"/>
                  <a:gd name="T24" fmla="*/ 22 w 83"/>
                  <a:gd name="T25" fmla="*/ 35 h 75"/>
                  <a:gd name="T26" fmla="*/ 45 w 83"/>
                  <a:gd name="T27" fmla="*/ 41 h 75"/>
                  <a:gd name="T28" fmla="*/ 42 w 83"/>
                  <a:gd name="T29" fmla="*/ 41 h 75"/>
                  <a:gd name="T30" fmla="*/ 35 w 83"/>
                  <a:gd name="T31" fmla="*/ 40 h 75"/>
                  <a:gd name="T32" fmla="*/ 37 w 83"/>
                  <a:gd name="T33" fmla="*/ 45 h 75"/>
                  <a:gd name="T34" fmla="*/ 12 w 83"/>
                  <a:gd name="T35" fmla="*/ 34 h 75"/>
                  <a:gd name="T36" fmla="*/ 9 w 83"/>
                  <a:gd name="T37" fmla="*/ 35 h 75"/>
                  <a:gd name="T38" fmla="*/ 20 w 83"/>
                  <a:gd name="T39" fmla="*/ 64 h 75"/>
                  <a:gd name="T40" fmla="*/ 0 w 83"/>
                  <a:gd name="T41" fmla="*/ 57 h 75"/>
                  <a:gd name="T42" fmla="*/ 35 w 83"/>
                  <a:gd name="T43" fmla="*/ 58 h 75"/>
                  <a:gd name="T44" fmla="*/ 46 w 83"/>
                  <a:gd name="T45" fmla="*/ 57 h 75"/>
                  <a:gd name="T46" fmla="*/ 42 w 83"/>
                  <a:gd name="T47" fmla="*/ 48 h 75"/>
                  <a:gd name="T48" fmla="*/ 62 w 83"/>
                  <a:gd name="T49" fmla="*/ 57 h 75"/>
                  <a:gd name="T50" fmla="*/ 61 w 83"/>
                  <a:gd name="T51" fmla="*/ 35 h 75"/>
                  <a:gd name="T52" fmla="*/ 62 w 83"/>
                  <a:gd name="T53" fmla="*/ 34 h 75"/>
                  <a:gd name="T54" fmla="*/ 66 w 83"/>
                  <a:gd name="T55" fmla="*/ 16 h 75"/>
                  <a:gd name="T56" fmla="*/ 63 w 83"/>
                  <a:gd name="T57" fmla="*/ 44 h 75"/>
                  <a:gd name="T58" fmla="*/ 54 w 83"/>
                  <a:gd name="T59" fmla="*/ 32 h 75"/>
                  <a:gd name="T60" fmla="*/ 60 w 83"/>
                  <a:gd name="T61" fmla="*/ 27 h 75"/>
                  <a:gd name="T62" fmla="*/ 67 w 83"/>
                  <a:gd name="T63" fmla="*/ 18 h 75"/>
                  <a:gd name="T64" fmla="*/ 77 w 83"/>
                  <a:gd name="T65" fmla="*/ 23 h 75"/>
                  <a:gd name="T66" fmla="*/ 60 w 83"/>
                  <a:gd name="T67" fmla="*/ 27 h 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83" h="75">
                    <a:moveTo>
                      <a:pt x="66" y="16"/>
                    </a:moveTo>
                    <a:cubicBezTo>
                      <a:pt x="65" y="13"/>
                      <a:pt x="63" y="11"/>
                      <a:pt x="62" y="8"/>
                    </a:cubicBezTo>
                    <a:cubicBezTo>
                      <a:pt x="59" y="9"/>
                      <a:pt x="57" y="9"/>
                      <a:pt x="54" y="10"/>
                    </a:cubicBezTo>
                    <a:cubicBezTo>
                      <a:pt x="54" y="10"/>
                      <a:pt x="53" y="10"/>
                      <a:pt x="53" y="10"/>
                    </a:cubicBezTo>
                    <a:cubicBezTo>
                      <a:pt x="54" y="7"/>
                      <a:pt x="57" y="6"/>
                      <a:pt x="59" y="3"/>
                    </a:cubicBezTo>
                    <a:cubicBezTo>
                      <a:pt x="58" y="2"/>
                      <a:pt x="58" y="1"/>
                      <a:pt x="57" y="0"/>
                    </a:cubicBezTo>
                    <a:cubicBezTo>
                      <a:pt x="48" y="1"/>
                      <a:pt x="37" y="9"/>
                      <a:pt x="42" y="19"/>
                    </a:cubicBezTo>
                    <a:cubicBezTo>
                      <a:pt x="42" y="19"/>
                      <a:pt x="43" y="20"/>
                      <a:pt x="44" y="21"/>
                    </a:cubicBezTo>
                    <a:cubicBezTo>
                      <a:pt x="47" y="19"/>
                      <a:pt x="48" y="15"/>
                      <a:pt x="51" y="14"/>
                    </a:cubicBezTo>
                    <a:cubicBezTo>
                      <a:pt x="53" y="13"/>
                      <a:pt x="55" y="13"/>
                      <a:pt x="58" y="11"/>
                    </a:cubicBezTo>
                    <a:cubicBezTo>
                      <a:pt x="58" y="11"/>
                      <a:pt x="59" y="11"/>
                      <a:pt x="59" y="11"/>
                    </a:cubicBezTo>
                    <a:cubicBezTo>
                      <a:pt x="57" y="14"/>
                      <a:pt x="56" y="16"/>
                      <a:pt x="54" y="18"/>
                    </a:cubicBezTo>
                    <a:cubicBezTo>
                      <a:pt x="54" y="21"/>
                      <a:pt x="55" y="24"/>
                      <a:pt x="54" y="27"/>
                    </a:cubicBezTo>
                    <a:cubicBezTo>
                      <a:pt x="54" y="27"/>
                      <a:pt x="30" y="18"/>
                      <a:pt x="28" y="18"/>
                    </a:cubicBezTo>
                    <a:cubicBezTo>
                      <a:pt x="25" y="17"/>
                      <a:pt x="22" y="17"/>
                      <a:pt x="20" y="17"/>
                    </a:cubicBezTo>
                    <a:cubicBezTo>
                      <a:pt x="19" y="17"/>
                      <a:pt x="19" y="17"/>
                      <a:pt x="19" y="17"/>
                    </a:cubicBezTo>
                    <a:cubicBezTo>
                      <a:pt x="22" y="15"/>
                      <a:pt x="23" y="15"/>
                      <a:pt x="25" y="13"/>
                    </a:cubicBezTo>
                    <a:cubicBezTo>
                      <a:pt x="25" y="12"/>
                      <a:pt x="25" y="12"/>
                      <a:pt x="25" y="12"/>
                    </a:cubicBezTo>
                    <a:cubicBezTo>
                      <a:pt x="18" y="12"/>
                      <a:pt x="11" y="16"/>
                      <a:pt x="4" y="18"/>
                    </a:cubicBezTo>
                    <a:cubicBezTo>
                      <a:pt x="0" y="22"/>
                      <a:pt x="0" y="25"/>
                      <a:pt x="1" y="30"/>
                    </a:cubicBezTo>
                    <a:cubicBezTo>
                      <a:pt x="3" y="31"/>
                      <a:pt x="3" y="31"/>
                      <a:pt x="3" y="31"/>
                    </a:cubicBezTo>
                    <a:cubicBezTo>
                      <a:pt x="6" y="29"/>
                      <a:pt x="9" y="26"/>
                      <a:pt x="13" y="24"/>
                    </a:cubicBezTo>
                    <a:cubicBezTo>
                      <a:pt x="19" y="20"/>
                      <a:pt x="30" y="22"/>
                      <a:pt x="37" y="27"/>
                    </a:cubicBezTo>
                    <a:cubicBezTo>
                      <a:pt x="37" y="28"/>
                      <a:pt x="36" y="28"/>
                      <a:pt x="36" y="28"/>
                    </a:cubicBezTo>
                    <a:cubicBezTo>
                      <a:pt x="31" y="29"/>
                      <a:pt x="28" y="28"/>
                      <a:pt x="22" y="32"/>
                    </a:cubicBezTo>
                    <a:cubicBezTo>
                      <a:pt x="22" y="33"/>
                      <a:pt x="22" y="34"/>
                      <a:pt x="22" y="35"/>
                    </a:cubicBezTo>
                    <a:cubicBezTo>
                      <a:pt x="22" y="37"/>
                      <a:pt x="22" y="37"/>
                      <a:pt x="24" y="39"/>
                    </a:cubicBezTo>
                    <a:cubicBezTo>
                      <a:pt x="31" y="37"/>
                      <a:pt x="37" y="36"/>
                      <a:pt x="45" y="41"/>
                    </a:cubicBezTo>
                    <a:cubicBezTo>
                      <a:pt x="44" y="41"/>
                      <a:pt x="44" y="41"/>
                      <a:pt x="44" y="41"/>
                    </a:cubicBezTo>
                    <a:cubicBezTo>
                      <a:pt x="43" y="41"/>
                      <a:pt x="42" y="41"/>
                      <a:pt x="42" y="41"/>
                    </a:cubicBezTo>
                    <a:cubicBezTo>
                      <a:pt x="41" y="40"/>
                      <a:pt x="40" y="39"/>
                      <a:pt x="39" y="39"/>
                    </a:cubicBezTo>
                    <a:cubicBezTo>
                      <a:pt x="37" y="41"/>
                      <a:pt x="37" y="41"/>
                      <a:pt x="35" y="40"/>
                    </a:cubicBezTo>
                    <a:cubicBezTo>
                      <a:pt x="35" y="40"/>
                      <a:pt x="34" y="41"/>
                      <a:pt x="34" y="41"/>
                    </a:cubicBezTo>
                    <a:cubicBezTo>
                      <a:pt x="35" y="43"/>
                      <a:pt x="35" y="43"/>
                      <a:pt x="37" y="45"/>
                    </a:cubicBezTo>
                    <a:cubicBezTo>
                      <a:pt x="36" y="46"/>
                      <a:pt x="36" y="47"/>
                      <a:pt x="35" y="48"/>
                    </a:cubicBezTo>
                    <a:cubicBezTo>
                      <a:pt x="27" y="44"/>
                      <a:pt x="20" y="40"/>
                      <a:pt x="12" y="34"/>
                    </a:cubicBezTo>
                    <a:cubicBezTo>
                      <a:pt x="11" y="34"/>
                      <a:pt x="11" y="34"/>
                      <a:pt x="10" y="34"/>
                    </a:cubicBezTo>
                    <a:cubicBezTo>
                      <a:pt x="9" y="34"/>
                      <a:pt x="9" y="35"/>
                      <a:pt x="9" y="35"/>
                    </a:cubicBezTo>
                    <a:cubicBezTo>
                      <a:pt x="11" y="55"/>
                      <a:pt x="20" y="44"/>
                      <a:pt x="31" y="54"/>
                    </a:cubicBezTo>
                    <a:cubicBezTo>
                      <a:pt x="27" y="58"/>
                      <a:pt x="23" y="61"/>
                      <a:pt x="20" y="64"/>
                    </a:cubicBezTo>
                    <a:cubicBezTo>
                      <a:pt x="15" y="63"/>
                      <a:pt x="6" y="55"/>
                      <a:pt x="1" y="56"/>
                    </a:cubicBezTo>
                    <a:cubicBezTo>
                      <a:pt x="1" y="56"/>
                      <a:pt x="1" y="56"/>
                      <a:pt x="0" y="57"/>
                    </a:cubicBezTo>
                    <a:cubicBezTo>
                      <a:pt x="2" y="62"/>
                      <a:pt x="7" y="67"/>
                      <a:pt x="9" y="72"/>
                    </a:cubicBezTo>
                    <a:cubicBezTo>
                      <a:pt x="17" y="75"/>
                      <a:pt x="26" y="66"/>
                      <a:pt x="35" y="58"/>
                    </a:cubicBezTo>
                    <a:cubicBezTo>
                      <a:pt x="37" y="60"/>
                      <a:pt x="39" y="63"/>
                      <a:pt x="42" y="65"/>
                    </a:cubicBezTo>
                    <a:cubicBezTo>
                      <a:pt x="46" y="63"/>
                      <a:pt x="46" y="60"/>
                      <a:pt x="46" y="57"/>
                    </a:cubicBezTo>
                    <a:cubicBezTo>
                      <a:pt x="45" y="54"/>
                      <a:pt x="43" y="53"/>
                      <a:pt x="40" y="50"/>
                    </a:cubicBezTo>
                    <a:cubicBezTo>
                      <a:pt x="41" y="49"/>
                      <a:pt x="42" y="48"/>
                      <a:pt x="42" y="48"/>
                    </a:cubicBezTo>
                    <a:cubicBezTo>
                      <a:pt x="46" y="48"/>
                      <a:pt x="49" y="48"/>
                      <a:pt x="53" y="46"/>
                    </a:cubicBezTo>
                    <a:cubicBezTo>
                      <a:pt x="56" y="49"/>
                      <a:pt x="59" y="53"/>
                      <a:pt x="62" y="57"/>
                    </a:cubicBezTo>
                    <a:cubicBezTo>
                      <a:pt x="65" y="56"/>
                      <a:pt x="68" y="55"/>
                      <a:pt x="70" y="52"/>
                    </a:cubicBezTo>
                    <a:cubicBezTo>
                      <a:pt x="72" y="47"/>
                      <a:pt x="66" y="40"/>
                      <a:pt x="61" y="35"/>
                    </a:cubicBezTo>
                    <a:cubicBezTo>
                      <a:pt x="61" y="35"/>
                      <a:pt x="61" y="35"/>
                      <a:pt x="61" y="35"/>
                    </a:cubicBezTo>
                    <a:cubicBezTo>
                      <a:pt x="62" y="34"/>
                      <a:pt x="62" y="34"/>
                      <a:pt x="62" y="34"/>
                    </a:cubicBezTo>
                    <a:cubicBezTo>
                      <a:pt x="69" y="34"/>
                      <a:pt x="72" y="37"/>
                      <a:pt x="79" y="32"/>
                    </a:cubicBezTo>
                    <a:cubicBezTo>
                      <a:pt x="83" y="17"/>
                      <a:pt x="74" y="21"/>
                      <a:pt x="66" y="16"/>
                    </a:cubicBezTo>
                    <a:close/>
                    <a:moveTo>
                      <a:pt x="63" y="44"/>
                    </a:moveTo>
                    <a:cubicBezTo>
                      <a:pt x="63" y="44"/>
                      <a:pt x="63" y="44"/>
                      <a:pt x="63" y="44"/>
                    </a:cubicBezTo>
                    <a:cubicBezTo>
                      <a:pt x="55" y="42"/>
                      <a:pt x="46" y="34"/>
                      <a:pt x="38" y="32"/>
                    </a:cubicBezTo>
                    <a:cubicBezTo>
                      <a:pt x="43" y="28"/>
                      <a:pt x="48" y="31"/>
                      <a:pt x="54" y="32"/>
                    </a:cubicBezTo>
                    <a:cubicBezTo>
                      <a:pt x="57" y="36"/>
                      <a:pt x="60" y="40"/>
                      <a:pt x="63" y="44"/>
                    </a:cubicBezTo>
                    <a:close/>
                    <a:moveTo>
                      <a:pt x="60" y="27"/>
                    </a:moveTo>
                    <a:cubicBezTo>
                      <a:pt x="60" y="27"/>
                      <a:pt x="60" y="26"/>
                      <a:pt x="59" y="26"/>
                    </a:cubicBezTo>
                    <a:cubicBezTo>
                      <a:pt x="61" y="23"/>
                      <a:pt x="63" y="20"/>
                      <a:pt x="67" y="18"/>
                    </a:cubicBezTo>
                    <a:cubicBezTo>
                      <a:pt x="69" y="19"/>
                      <a:pt x="71" y="19"/>
                      <a:pt x="74" y="20"/>
                    </a:cubicBezTo>
                    <a:cubicBezTo>
                      <a:pt x="75" y="21"/>
                      <a:pt x="76" y="22"/>
                      <a:pt x="77" y="23"/>
                    </a:cubicBezTo>
                    <a:cubicBezTo>
                      <a:pt x="77" y="24"/>
                      <a:pt x="77" y="24"/>
                      <a:pt x="77" y="25"/>
                    </a:cubicBezTo>
                    <a:cubicBezTo>
                      <a:pt x="72" y="29"/>
                      <a:pt x="66" y="27"/>
                      <a:pt x="60" y="2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68" name="ïṩḻîḓé"/>
              <p:cNvSpPr/>
              <p:nvPr/>
            </p:nvSpPr>
            <p:spPr bwMode="auto">
              <a:xfrm>
                <a:off x="2728809" y="4582115"/>
                <a:ext cx="101600" cy="147638"/>
              </a:xfrm>
              <a:custGeom>
                <a:avLst/>
                <a:gdLst>
                  <a:gd name="T0" fmla="*/ 47 w 55"/>
                  <a:gd name="T1" fmla="*/ 0 h 80"/>
                  <a:gd name="T2" fmla="*/ 49 w 55"/>
                  <a:gd name="T3" fmla="*/ 20 h 80"/>
                  <a:gd name="T4" fmla="*/ 51 w 55"/>
                  <a:gd name="T5" fmla="*/ 34 h 80"/>
                  <a:gd name="T6" fmla="*/ 28 w 55"/>
                  <a:gd name="T7" fmla="*/ 38 h 80"/>
                  <a:gd name="T8" fmla="*/ 41 w 55"/>
                  <a:gd name="T9" fmla="*/ 68 h 80"/>
                  <a:gd name="T10" fmla="*/ 25 w 55"/>
                  <a:gd name="T11" fmla="*/ 74 h 80"/>
                  <a:gd name="T12" fmla="*/ 26 w 55"/>
                  <a:gd name="T13" fmla="*/ 39 h 80"/>
                  <a:gd name="T14" fmla="*/ 23 w 55"/>
                  <a:gd name="T15" fmla="*/ 40 h 80"/>
                  <a:gd name="T16" fmla="*/ 7 w 55"/>
                  <a:gd name="T17" fmla="*/ 54 h 80"/>
                  <a:gd name="T18" fmla="*/ 0 w 55"/>
                  <a:gd name="T19" fmla="*/ 43 h 80"/>
                  <a:gd name="T20" fmla="*/ 14 w 55"/>
                  <a:gd name="T21" fmla="*/ 28 h 80"/>
                  <a:gd name="T22" fmla="*/ 6 w 55"/>
                  <a:gd name="T23" fmla="*/ 15 h 80"/>
                  <a:gd name="T24" fmla="*/ 7 w 55"/>
                  <a:gd name="T25" fmla="*/ 15 h 80"/>
                  <a:gd name="T26" fmla="*/ 26 w 55"/>
                  <a:gd name="T27" fmla="*/ 18 h 80"/>
                  <a:gd name="T28" fmla="*/ 47 w 55"/>
                  <a:gd name="T29" fmla="*/ 0 h 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55" h="80">
                    <a:moveTo>
                      <a:pt x="47" y="0"/>
                    </a:moveTo>
                    <a:cubicBezTo>
                      <a:pt x="55" y="7"/>
                      <a:pt x="49" y="11"/>
                      <a:pt x="49" y="20"/>
                    </a:cubicBezTo>
                    <a:cubicBezTo>
                      <a:pt x="49" y="25"/>
                      <a:pt x="55" y="25"/>
                      <a:pt x="51" y="34"/>
                    </a:cubicBezTo>
                    <a:cubicBezTo>
                      <a:pt x="44" y="37"/>
                      <a:pt x="34" y="32"/>
                      <a:pt x="28" y="38"/>
                    </a:cubicBezTo>
                    <a:cubicBezTo>
                      <a:pt x="38" y="44"/>
                      <a:pt x="45" y="59"/>
                      <a:pt x="41" y="68"/>
                    </a:cubicBezTo>
                    <a:cubicBezTo>
                      <a:pt x="39" y="74"/>
                      <a:pt x="28" y="80"/>
                      <a:pt x="25" y="74"/>
                    </a:cubicBezTo>
                    <a:cubicBezTo>
                      <a:pt x="19" y="62"/>
                      <a:pt x="39" y="55"/>
                      <a:pt x="26" y="39"/>
                    </a:cubicBezTo>
                    <a:cubicBezTo>
                      <a:pt x="25" y="39"/>
                      <a:pt x="25" y="39"/>
                      <a:pt x="23" y="40"/>
                    </a:cubicBezTo>
                    <a:cubicBezTo>
                      <a:pt x="17" y="44"/>
                      <a:pt x="14" y="52"/>
                      <a:pt x="7" y="54"/>
                    </a:cubicBezTo>
                    <a:cubicBezTo>
                      <a:pt x="2" y="51"/>
                      <a:pt x="2" y="48"/>
                      <a:pt x="0" y="43"/>
                    </a:cubicBezTo>
                    <a:cubicBezTo>
                      <a:pt x="3" y="39"/>
                      <a:pt x="14" y="30"/>
                      <a:pt x="14" y="28"/>
                    </a:cubicBezTo>
                    <a:cubicBezTo>
                      <a:pt x="14" y="25"/>
                      <a:pt x="7" y="19"/>
                      <a:pt x="6" y="15"/>
                    </a:cubicBezTo>
                    <a:cubicBezTo>
                      <a:pt x="6" y="15"/>
                      <a:pt x="7" y="15"/>
                      <a:pt x="7" y="15"/>
                    </a:cubicBezTo>
                    <a:cubicBezTo>
                      <a:pt x="13" y="15"/>
                      <a:pt x="20" y="18"/>
                      <a:pt x="26" y="18"/>
                    </a:cubicBezTo>
                    <a:cubicBezTo>
                      <a:pt x="34" y="17"/>
                      <a:pt x="41" y="5"/>
                      <a:pt x="47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69" name="išḷïḓe"/>
              <p:cNvSpPr/>
              <p:nvPr/>
            </p:nvSpPr>
            <p:spPr bwMode="auto">
              <a:xfrm>
                <a:off x="2490684" y="4510678"/>
                <a:ext cx="144463" cy="160338"/>
              </a:xfrm>
              <a:custGeom>
                <a:avLst/>
                <a:gdLst>
                  <a:gd name="T0" fmla="*/ 55 w 78"/>
                  <a:gd name="T1" fmla="*/ 64 h 87"/>
                  <a:gd name="T2" fmla="*/ 62 w 78"/>
                  <a:gd name="T3" fmla="*/ 50 h 87"/>
                  <a:gd name="T4" fmla="*/ 54 w 78"/>
                  <a:gd name="T5" fmla="*/ 43 h 87"/>
                  <a:gd name="T6" fmla="*/ 69 w 78"/>
                  <a:gd name="T7" fmla="*/ 29 h 87"/>
                  <a:gd name="T8" fmla="*/ 67 w 78"/>
                  <a:gd name="T9" fmla="*/ 21 h 87"/>
                  <a:gd name="T10" fmla="*/ 70 w 78"/>
                  <a:gd name="T11" fmla="*/ 11 h 87"/>
                  <a:gd name="T12" fmla="*/ 69 w 78"/>
                  <a:gd name="T13" fmla="*/ 3 h 87"/>
                  <a:gd name="T14" fmla="*/ 64 w 78"/>
                  <a:gd name="T15" fmla="*/ 0 h 87"/>
                  <a:gd name="T16" fmla="*/ 63 w 78"/>
                  <a:gd name="T17" fmla="*/ 0 h 87"/>
                  <a:gd name="T18" fmla="*/ 63 w 78"/>
                  <a:gd name="T19" fmla="*/ 12 h 87"/>
                  <a:gd name="T20" fmla="*/ 42 w 78"/>
                  <a:gd name="T21" fmla="*/ 25 h 87"/>
                  <a:gd name="T22" fmla="*/ 42 w 78"/>
                  <a:gd name="T23" fmla="*/ 33 h 87"/>
                  <a:gd name="T24" fmla="*/ 33 w 78"/>
                  <a:gd name="T25" fmla="*/ 36 h 87"/>
                  <a:gd name="T26" fmla="*/ 39 w 78"/>
                  <a:gd name="T27" fmla="*/ 33 h 87"/>
                  <a:gd name="T28" fmla="*/ 39 w 78"/>
                  <a:gd name="T29" fmla="*/ 23 h 87"/>
                  <a:gd name="T30" fmla="*/ 36 w 78"/>
                  <a:gd name="T31" fmla="*/ 0 h 87"/>
                  <a:gd name="T32" fmla="*/ 36 w 78"/>
                  <a:gd name="T33" fmla="*/ 0 h 87"/>
                  <a:gd name="T34" fmla="*/ 36 w 78"/>
                  <a:gd name="T35" fmla="*/ 8 h 87"/>
                  <a:gd name="T36" fmla="*/ 30 w 78"/>
                  <a:gd name="T37" fmla="*/ 24 h 87"/>
                  <a:gd name="T38" fmla="*/ 1 w 78"/>
                  <a:gd name="T39" fmla="*/ 29 h 87"/>
                  <a:gd name="T40" fmla="*/ 0 w 78"/>
                  <a:gd name="T41" fmla="*/ 31 h 87"/>
                  <a:gd name="T42" fmla="*/ 18 w 78"/>
                  <a:gd name="T43" fmla="*/ 39 h 87"/>
                  <a:gd name="T44" fmla="*/ 25 w 78"/>
                  <a:gd name="T45" fmla="*/ 36 h 87"/>
                  <a:gd name="T46" fmla="*/ 25 w 78"/>
                  <a:gd name="T47" fmla="*/ 36 h 87"/>
                  <a:gd name="T48" fmla="*/ 3 w 78"/>
                  <a:gd name="T49" fmla="*/ 62 h 87"/>
                  <a:gd name="T50" fmla="*/ 5 w 78"/>
                  <a:gd name="T51" fmla="*/ 67 h 87"/>
                  <a:gd name="T52" fmla="*/ 12 w 78"/>
                  <a:gd name="T53" fmla="*/ 66 h 87"/>
                  <a:gd name="T54" fmla="*/ 22 w 78"/>
                  <a:gd name="T55" fmla="*/ 74 h 87"/>
                  <a:gd name="T56" fmla="*/ 25 w 78"/>
                  <a:gd name="T57" fmla="*/ 61 h 87"/>
                  <a:gd name="T58" fmla="*/ 30 w 78"/>
                  <a:gd name="T59" fmla="*/ 49 h 87"/>
                  <a:gd name="T60" fmla="*/ 48 w 78"/>
                  <a:gd name="T61" fmla="*/ 63 h 87"/>
                  <a:gd name="T62" fmla="*/ 24 w 78"/>
                  <a:gd name="T63" fmla="*/ 71 h 87"/>
                  <a:gd name="T64" fmla="*/ 48 w 78"/>
                  <a:gd name="T65" fmla="*/ 71 h 87"/>
                  <a:gd name="T66" fmla="*/ 51 w 78"/>
                  <a:gd name="T67" fmla="*/ 69 h 87"/>
                  <a:gd name="T68" fmla="*/ 77 w 78"/>
                  <a:gd name="T69" fmla="*/ 87 h 87"/>
                  <a:gd name="T70" fmla="*/ 78 w 78"/>
                  <a:gd name="T71" fmla="*/ 86 h 87"/>
                  <a:gd name="T72" fmla="*/ 55 w 78"/>
                  <a:gd name="T73" fmla="*/ 64 h 87"/>
                  <a:gd name="T74" fmla="*/ 15 w 78"/>
                  <a:gd name="T75" fmla="*/ 64 h 87"/>
                  <a:gd name="T76" fmla="*/ 15 w 78"/>
                  <a:gd name="T77" fmla="*/ 65 h 87"/>
                  <a:gd name="T78" fmla="*/ 11 w 78"/>
                  <a:gd name="T79" fmla="*/ 63 h 87"/>
                  <a:gd name="T80" fmla="*/ 12 w 78"/>
                  <a:gd name="T81" fmla="*/ 60 h 87"/>
                  <a:gd name="T82" fmla="*/ 15 w 78"/>
                  <a:gd name="T83" fmla="*/ 57 h 87"/>
                  <a:gd name="T84" fmla="*/ 17 w 78"/>
                  <a:gd name="T85" fmla="*/ 58 h 87"/>
                  <a:gd name="T86" fmla="*/ 15 w 78"/>
                  <a:gd name="T87" fmla="*/ 64 h 87"/>
                  <a:gd name="T88" fmla="*/ 32 w 78"/>
                  <a:gd name="T89" fmla="*/ 46 h 87"/>
                  <a:gd name="T90" fmla="*/ 44 w 78"/>
                  <a:gd name="T91" fmla="*/ 34 h 87"/>
                  <a:gd name="T92" fmla="*/ 52 w 78"/>
                  <a:gd name="T93" fmla="*/ 35 h 87"/>
                  <a:gd name="T94" fmla="*/ 46 w 78"/>
                  <a:gd name="T95" fmla="*/ 50 h 87"/>
                  <a:gd name="T96" fmla="*/ 48 w 78"/>
                  <a:gd name="T97" fmla="*/ 52 h 87"/>
                  <a:gd name="T98" fmla="*/ 56 w 78"/>
                  <a:gd name="T99" fmla="*/ 50 h 87"/>
                  <a:gd name="T100" fmla="*/ 52 w 78"/>
                  <a:gd name="T101" fmla="*/ 61 h 87"/>
                  <a:gd name="T102" fmla="*/ 32 w 78"/>
                  <a:gd name="T103" fmla="*/ 46 h 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78" h="87">
                    <a:moveTo>
                      <a:pt x="55" y="64"/>
                    </a:moveTo>
                    <a:cubicBezTo>
                      <a:pt x="58" y="60"/>
                      <a:pt x="60" y="55"/>
                      <a:pt x="62" y="50"/>
                    </a:cubicBezTo>
                    <a:cubicBezTo>
                      <a:pt x="61" y="47"/>
                      <a:pt x="58" y="44"/>
                      <a:pt x="54" y="43"/>
                    </a:cubicBezTo>
                    <a:cubicBezTo>
                      <a:pt x="57" y="36"/>
                      <a:pt x="64" y="33"/>
                      <a:pt x="69" y="29"/>
                    </a:cubicBezTo>
                    <a:cubicBezTo>
                      <a:pt x="69" y="25"/>
                      <a:pt x="67" y="24"/>
                      <a:pt x="67" y="21"/>
                    </a:cubicBezTo>
                    <a:cubicBezTo>
                      <a:pt x="68" y="18"/>
                      <a:pt x="69" y="15"/>
                      <a:pt x="70" y="11"/>
                    </a:cubicBezTo>
                    <a:cubicBezTo>
                      <a:pt x="70" y="9"/>
                      <a:pt x="69" y="6"/>
                      <a:pt x="69" y="3"/>
                    </a:cubicBezTo>
                    <a:cubicBezTo>
                      <a:pt x="68" y="2"/>
                      <a:pt x="67" y="1"/>
                      <a:pt x="64" y="0"/>
                    </a:cubicBezTo>
                    <a:cubicBezTo>
                      <a:pt x="64" y="0"/>
                      <a:pt x="63" y="0"/>
                      <a:pt x="63" y="0"/>
                    </a:cubicBezTo>
                    <a:cubicBezTo>
                      <a:pt x="61" y="5"/>
                      <a:pt x="63" y="8"/>
                      <a:pt x="63" y="12"/>
                    </a:cubicBezTo>
                    <a:cubicBezTo>
                      <a:pt x="63" y="24"/>
                      <a:pt x="52" y="26"/>
                      <a:pt x="42" y="25"/>
                    </a:cubicBezTo>
                    <a:cubicBezTo>
                      <a:pt x="41" y="28"/>
                      <a:pt x="41" y="31"/>
                      <a:pt x="42" y="33"/>
                    </a:cubicBezTo>
                    <a:cubicBezTo>
                      <a:pt x="39" y="34"/>
                      <a:pt x="36" y="35"/>
                      <a:pt x="33" y="36"/>
                    </a:cubicBezTo>
                    <a:cubicBezTo>
                      <a:pt x="34" y="32"/>
                      <a:pt x="36" y="32"/>
                      <a:pt x="39" y="33"/>
                    </a:cubicBezTo>
                    <a:cubicBezTo>
                      <a:pt x="41" y="29"/>
                      <a:pt x="38" y="27"/>
                      <a:pt x="39" y="23"/>
                    </a:cubicBezTo>
                    <a:cubicBezTo>
                      <a:pt x="39" y="14"/>
                      <a:pt x="53" y="6"/>
                      <a:pt x="36" y="0"/>
                    </a:cubicBezTo>
                    <a:cubicBezTo>
                      <a:pt x="36" y="0"/>
                      <a:pt x="36" y="0"/>
                      <a:pt x="36" y="0"/>
                    </a:cubicBezTo>
                    <a:cubicBezTo>
                      <a:pt x="35" y="3"/>
                      <a:pt x="36" y="5"/>
                      <a:pt x="36" y="8"/>
                    </a:cubicBezTo>
                    <a:cubicBezTo>
                      <a:pt x="34" y="14"/>
                      <a:pt x="32" y="19"/>
                      <a:pt x="30" y="24"/>
                    </a:cubicBezTo>
                    <a:cubicBezTo>
                      <a:pt x="22" y="26"/>
                      <a:pt x="9" y="26"/>
                      <a:pt x="1" y="29"/>
                    </a:cubicBezTo>
                    <a:cubicBezTo>
                      <a:pt x="1" y="30"/>
                      <a:pt x="1" y="30"/>
                      <a:pt x="0" y="31"/>
                    </a:cubicBezTo>
                    <a:cubicBezTo>
                      <a:pt x="1" y="35"/>
                      <a:pt x="12" y="39"/>
                      <a:pt x="18" y="39"/>
                    </a:cubicBezTo>
                    <a:cubicBezTo>
                      <a:pt x="20" y="38"/>
                      <a:pt x="22" y="37"/>
                      <a:pt x="25" y="36"/>
                    </a:cubicBezTo>
                    <a:cubicBezTo>
                      <a:pt x="25" y="36"/>
                      <a:pt x="25" y="36"/>
                      <a:pt x="25" y="36"/>
                    </a:cubicBezTo>
                    <a:cubicBezTo>
                      <a:pt x="21" y="52"/>
                      <a:pt x="9" y="50"/>
                      <a:pt x="3" y="62"/>
                    </a:cubicBezTo>
                    <a:cubicBezTo>
                      <a:pt x="4" y="63"/>
                      <a:pt x="4" y="65"/>
                      <a:pt x="5" y="67"/>
                    </a:cubicBezTo>
                    <a:cubicBezTo>
                      <a:pt x="7" y="67"/>
                      <a:pt x="10" y="67"/>
                      <a:pt x="12" y="66"/>
                    </a:cubicBezTo>
                    <a:cubicBezTo>
                      <a:pt x="17" y="68"/>
                      <a:pt x="17" y="72"/>
                      <a:pt x="22" y="74"/>
                    </a:cubicBezTo>
                    <a:cubicBezTo>
                      <a:pt x="25" y="71"/>
                      <a:pt x="24" y="66"/>
                      <a:pt x="25" y="61"/>
                    </a:cubicBezTo>
                    <a:cubicBezTo>
                      <a:pt x="25" y="56"/>
                      <a:pt x="28" y="52"/>
                      <a:pt x="30" y="49"/>
                    </a:cubicBezTo>
                    <a:cubicBezTo>
                      <a:pt x="40" y="53"/>
                      <a:pt x="42" y="58"/>
                      <a:pt x="48" y="63"/>
                    </a:cubicBezTo>
                    <a:cubicBezTo>
                      <a:pt x="44" y="74"/>
                      <a:pt x="29" y="63"/>
                      <a:pt x="24" y="71"/>
                    </a:cubicBezTo>
                    <a:cubicBezTo>
                      <a:pt x="39" y="78"/>
                      <a:pt x="36" y="74"/>
                      <a:pt x="48" y="71"/>
                    </a:cubicBezTo>
                    <a:cubicBezTo>
                      <a:pt x="49" y="70"/>
                      <a:pt x="50" y="70"/>
                      <a:pt x="51" y="69"/>
                    </a:cubicBezTo>
                    <a:cubicBezTo>
                      <a:pt x="58" y="79"/>
                      <a:pt x="58" y="87"/>
                      <a:pt x="77" y="87"/>
                    </a:cubicBezTo>
                    <a:cubicBezTo>
                      <a:pt x="77" y="87"/>
                      <a:pt x="78" y="86"/>
                      <a:pt x="78" y="86"/>
                    </a:cubicBezTo>
                    <a:cubicBezTo>
                      <a:pt x="74" y="76"/>
                      <a:pt x="60" y="73"/>
                      <a:pt x="55" y="64"/>
                    </a:cubicBezTo>
                    <a:close/>
                    <a:moveTo>
                      <a:pt x="15" y="64"/>
                    </a:moveTo>
                    <a:cubicBezTo>
                      <a:pt x="15" y="65"/>
                      <a:pt x="15" y="65"/>
                      <a:pt x="15" y="65"/>
                    </a:cubicBezTo>
                    <a:cubicBezTo>
                      <a:pt x="14" y="64"/>
                      <a:pt x="13" y="64"/>
                      <a:pt x="11" y="63"/>
                    </a:cubicBezTo>
                    <a:cubicBezTo>
                      <a:pt x="11" y="62"/>
                      <a:pt x="12" y="61"/>
                      <a:pt x="12" y="60"/>
                    </a:cubicBezTo>
                    <a:cubicBezTo>
                      <a:pt x="13" y="59"/>
                      <a:pt x="14" y="58"/>
                      <a:pt x="15" y="57"/>
                    </a:cubicBezTo>
                    <a:cubicBezTo>
                      <a:pt x="16" y="57"/>
                      <a:pt x="16" y="58"/>
                      <a:pt x="17" y="58"/>
                    </a:cubicBezTo>
                    <a:cubicBezTo>
                      <a:pt x="16" y="60"/>
                      <a:pt x="16" y="62"/>
                      <a:pt x="15" y="64"/>
                    </a:cubicBezTo>
                    <a:close/>
                    <a:moveTo>
                      <a:pt x="32" y="46"/>
                    </a:moveTo>
                    <a:cubicBezTo>
                      <a:pt x="35" y="43"/>
                      <a:pt x="44" y="37"/>
                      <a:pt x="44" y="34"/>
                    </a:cubicBezTo>
                    <a:cubicBezTo>
                      <a:pt x="47" y="34"/>
                      <a:pt x="49" y="35"/>
                      <a:pt x="52" y="35"/>
                    </a:cubicBezTo>
                    <a:cubicBezTo>
                      <a:pt x="50" y="40"/>
                      <a:pt x="45" y="44"/>
                      <a:pt x="46" y="50"/>
                    </a:cubicBezTo>
                    <a:cubicBezTo>
                      <a:pt x="46" y="51"/>
                      <a:pt x="47" y="51"/>
                      <a:pt x="48" y="52"/>
                    </a:cubicBezTo>
                    <a:cubicBezTo>
                      <a:pt x="50" y="51"/>
                      <a:pt x="53" y="49"/>
                      <a:pt x="56" y="50"/>
                    </a:cubicBezTo>
                    <a:cubicBezTo>
                      <a:pt x="55" y="54"/>
                      <a:pt x="53" y="57"/>
                      <a:pt x="52" y="61"/>
                    </a:cubicBezTo>
                    <a:cubicBezTo>
                      <a:pt x="45" y="56"/>
                      <a:pt x="44" y="49"/>
                      <a:pt x="32" y="4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70" name="ï$ľíḍe"/>
              <p:cNvSpPr/>
              <p:nvPr/>
            </p:nvSpPr>
            <p:spPr bwMode="auto">
              <a:xfrm>
                <a:off x="2255734" y="4491628"/>
                <a:ext cx="136525" cy="174625"/>
              </a:xfrm>
              <a:custGeom>
                <a:avLst/>
                <a:gdLst>
                  <a:gd name="T0" fmla="*/ 74 w 74"/>
                  <a:gd name="T1" fmla="*/ 41 h 94"/>
                  <a:gd name="T2" fmla="*/ 64 w 74"/>
                  <a:gd name="T3" fmla="*/ 35 h 94"/>
                  <a:gd name="T4" fmla="*/ 51 w 74"/>
                  <a:gd name="T5" fmla="*/ 5 h 94"/>
                  <a:gd name="T6" fmla="*/ 58 w 74"/>
                  <a:gd name="T7" fmla="*/ 39 h 94"/>
                  <a:gd name="T8" fmla="*/ 47 w 74"/>
                  <a:gd name="T9" fmla="*/ 47 h 94"/>
                  <a:gd name="T10" fmla="*/ 55 w 74"/>
                  <a:gd name="T11" fmla="*/ 34 h 94"/>
                  <a:gd name="T12" fmla="*/ 47 w 74"/>
                  <a:gd name="T13" fmla="*/ 29 h 94"/>
                  <a:gd name="T14" fmla="*/ 54 w 74"/>
                  <a:gd name="T15" fmla="*/ 22 h 94"/>
                  <a:gd name="T16" fmla="*/ 54 w 74"/>
                  <a:gd name="T17" fmla="*/ 20 h 94"/>
                  <a:gd name="T18" fmla="*/ 54 w 74"/>
                  <a:gd name="T19" fmla="*/ 19 h 94"/>
                  <a:gd name="T20" fmla="*/ 41 w 74"/>
                  <a:gd name="T21" fmla="*/ 19 h 94"/>
                  <a:gd name="T22" fmla="*/ 44 w 74"/>
                  <a:gd name="T23" fmla="*/ 22 h 94"/>
                  <a:gd name="T24" fmla="*/ 44 w 74"/>
                  <a:gd name="T25" fmla="*/ 32 h 94"/>
                  <a:gd name="T26" fmla="*/ 48 w 74"/>
                  <a:gd name="T27" fmla="*/ 37 h 94"/>
                  <a:gd name="T28" fmla="*/ 40 w 74"/>
                  <a:gd name="T29" fmla="*/ 58 h 94"/>
                  <a:gd name="T30" fmla="*/ 44 w 74"/>
                  <a:gd name="T31" fmla="*/ 61 h 94"/>
                  <a:gd name="T32" fmla="*/ 59 w 74"/>
                  <a:gd name="T33" fmla="*/ 46 h 94"/>
                  <a:gd name="T34" fmla="*/ 59 w 74"/>
                  <a:gd name="T35" fmla="*/ 46 h 94"/>
                  <a:gd name="T36" fmla="*/ 66 w 74"/>
                  <a:gd name="T37" fmla="*/ 93 h 94"/>
                  <a:gd name="T38" fmla="*/ 68 w 74"/>
                  <a:gd name="T39" fmla="*/ 93 h 94"/>
                  <a:gd name="T40" fmla="*/ 65 w 74"/>
                  <a:gd name="T41" fmla="*/ 42 h 94"/>
                  <a:gd name="T42" fmla="*/ 73 w 74"/>
                  <a:gd name="T43" fmla="*/ 41 h 94"/>
                  <a:gd name="T44" fmla="*/ 74 w 74"/>
                  <a:gd name="T45" fmla="*/ 41 h 94"/>
                  <a:gd name="T46" fmla="*/ 43 w 74"/>
                  <a:gd name="T47" fmla="*/ 42 h 94"/>
                  <a:gd name="T48" fmla="*/ 35 w 74"/>
                  <a:gd name="T49" fmla="*/ 48 h 94"/>
                  <a:gd name="T50" fmla="*/ 39 w 74"/>
                  <a:gd name="T51" fmla="*/ 38 h 94"/>
                  <a:gd name="T52" fmla="*/ 37 w 74"/>
                  <a:gd name="T53" fmla="*/ 29 h 94"/>
                  <a:gd name="T54" fmla="*/ 40 w 74"/>
                  <a:gd name="T55" fmla="*/ 27 h 94"/>
                  <a:gd name="T56" fmla="*/ 34 w 74"/>
                  <a:gd name="T57" fmla="*/ 16 h 94"/>
                  <a:gd name="T58" fmla="*/ 32 w 74"/>
                  <a:gd name="T59" fmla="*/ 15 h 94"/>
                  <a:gd name="T60" fmla="*/ 4 w 74"/>
                  <a:gd name="T61" fmla="*/ 46 h 94"/>
                  <a:gd name="T62" fmla="*/ 30 w 74"/>
                  <a:gd name="T63" fmla="*/ 29 h 94"/>
                  <a:gd name="T64" fmla="*/ 8 w 74"/>
                  <a:gd name="T65" fmla="*/ 52 h 94"/>
                  <a:gd name="T66" fmla="*/ 0 w 74"/>
                  <a:gd name="T67" fmla="*/ 56 h 94"/>
                  <a:gd name="T68" fmla="*/ 3 w 74"/>
                  <a:gd name="T69" fmla="*/ 61 h 94"/>
                  <a:gd name="T70" fmla="*/ 23 w 74"/>
                  <a:gd name="T71" fmla="*/ 54 h 94"/>
                  <a:gd name="T72" fmla="*/ 25 w 74"/>
                  <a:gd name="T73" fmla="*/ 53 h 94"/>
                  <a:gd name="T74" fmla="*/ 25 w 74"/>
                  <a:gd name="T75" fmla="*/ 53 h 94"/>
                  <a:gd name="T76" fmla="*/ 20 w 74"/>
                  <a:gd name="T77" fmla="*/ 72 h 94"/>
                  <a:gd name="T78" fmla="*/ 25 w 74"/>
                  <a:gd name="T79" fmla="*/ 76 h 94"/>
                  <a:gd name="T80" fmla="*/ 26 w 74"/>
                  <a:gd name="T81" fmla="*/ 76 h 94"/>
                  <a:gd name="T82" fmla="*/ 30 w 74"/>
                  <a:gd name="T83" fmla="*/ 67 h 94"/>
                  <a:gd name="T84" fmla="*/ 31 w 74"/>
                  <a:gd name="T85" fmla="*/ 66 h 94"/>
                  <a:gd name="T86" fmla="*/ 32 w 74"/>
                  <a:gd name="T87" fmla="*/ 75 h 94"/>
                  <a:gd name="T88" fmla="*/ 35 w 74"/>
                  <a:gd name="T89" fmla="*/ 76 h 94"/>
                  <a:gd name="T90" fmla="*/ 38 w 74"/>
                  <a:gd name="T91" fmla="*/ 76 h 94"/>
                  <a:gd name="T92" fmla="*/ 35 w 74"/>
                  <a:gd name="T93" fmla="*/ 61 h 94"/>
                  <a:gd name="T94" fmla="*/ 43 w 74"/>
                  <a:gd name="T95" fmla="*/ 42 h 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74" h="94">
                    <a:moveTo>
                      <a:pt x="74" y="41"/>
                    </a:moveTo>
                    <a:cubicBezTo>
                      <a:pt x="73" y="36"/>
                      <a:pt x="70" y="34"/>
                      <a:pt x="64" y="35"/>
                    </a:cubicBezTo>
                    <a:cubicBezTo>
                      <a:pt x="63" y="24"/>
                      <a:pt x="67" y="0"/>
                      <a:pt x="51" y="5"/>
                    </a:cubicBezTo>
                    <a:cubicBezTo>
                      <a:pt x="50" y="9"/>
                      <a:pt x="61" y="31"/>
                      <a:pt x="58" y="39"/>
                    </a:cubicBezTo>
                    <a:cubicBezTo>
                      <a:pt x="58" y="39"/>
                      <a:pt x="47" y="47"/>
                      <a:pt x="47" y="47"/>
                    </a:cubicBezTo>
                    <a:cubicBezTo>
                      <a:pt x="48" y="41"/>
                      <a:pt x="53" y="39"/>
                      <a:pt x="55" y="34"/>
                    </a:cubicBezTo>
                    <a:cubicBezTo>
                      <a:pt x="56" y="30"/>
                      <a:pt x="49" y="31"/>
                      <a:pt x="47" y="29"/>
                    </a:cubicBezTo>
                    <a:cubicBezTo>
                      <a:pt x="48" y="26"/>
                      <a:pt x="51" y="23"/>
                      <a:pt x="54" y="22"/>
                    </a:cubicBezTo>
                    <a:cubicBezTo>
                      <a:pt x="54" y="21"/>
                      <a:pt x="54" y="21"/>
                      <a:pt x="54" y="20"/>
                    </a:cubicBezTo>
                    <a:cubicBezTo>
                      <a:pt x="54" y="20"/>
                      <a:pt x="54" y="19"/>
                      <a:pt x="54" y="19"/>
                    </a:cubicBezTo>
                    <a:cubicBezTo>
                      <a:pt x="50" y="17"/>
                      <a:pt x="45" y="17"/>
                      <a:pt x="41" y="19"/>
                    </a:cubicBezTo>
                    <a:cubicBezTo>
                      <a:pt x="41" y="22"/>
                      <a:pt x="42" y="22"/>
                      <a:pt x="44" y="22"/>
                    </a:cubicBezTo>
                    <a:cubicBezTo>
                      <a:pt x="44" y="26"/>
                      <a:pt x="44" y="29"/>
                      <a:pt x="44" y="32"/>
                    </a:cubicBezTo>
                    <a:cubicBezTo>
                      <a:pt x="45" y="34"/>
                      <a:pt x="47" y="35"/>
                      <a:pt x="48" y="37"/>
                    </a:cubicBezTo>
                    <a:cubicBezTo>
                      <a:pt x="46" y="41"/>
                      <a:pt x="35" y="51"/>
                      <a:pt x="40" y="58"/>
                    </a:cubicBezTo>
                    <a:cubicBezTo>
                      <a:pt x="41" y="60"/>
                      <a:pt x="42" y="60"/>
                      <a:pt x="44" y="61"/>
                    </a:cubicBezTo>
                    <a:cubicBezTo>
                      <a:pt x="49" y="55"/>
                      <a:pt x="51" y="50"/>
                      <a:pt x="59" y="46"/>
                    </a:cubicBezTo>
                    <a:cubicBezTo>
                      <a:pt x="59" y="46"/>
                      <a:pt x="59" y="46"/>
                      <a:pt x="59" y="46"/>
                    </a:cubicBezTo>
                    <a:cubicBezTo>
                      <a:pt x="61" y="60"/>
                      <a:pt x="59" y="83"/>
                      <a:pt x="66" y="93"/>
                    </a:cubicBezTo>
                    <a:cubicBezTo>
                      <a:pt x="67" y="94"/>
                      <a:pt x="67" y="93"/>
                      <a:pt x="68" y="93"/>
                    </a:cubicBezTo>
                    <a:cubicBezTo>
                      <a:pt x="68" y="78"/>
                      <a:pt x="67" y="60"/>
                      <a:pt x="65" y="42"/>
                    </a:cubicBezTo>
                    <a:cubicBezTo>
                      <a:pt x="68" y="42"/>
                      <a:pt x="72" y="42"/>
                      <a:pt x="73" y="41"/>
                    </a:cubicBezTo>
                    <a:cubicBezTo>
                      <a:pt x="74" y="41"/>
                      <a:pt x="74" y="41"/>
                      <a:pt x="74" y="41"/>
                    </a:cubicBezTo>
                    <a:close/>
                    <a:moveTo>
                      <a:pt x="43" y="42"/>
                    </a:moveTo>
                    <a:cubicBezTo>
                      <a:pt x="39" y="44"/>
                      <a:pt x="38" y="46"/>
                      <a:pt x="35" y="48"/>
                    </a:cubicBezTo>
                    <a:cubicBezTo>
                      <a:pt x="35" y="42"/>
                      <a:pt x="39" y="42"/>
                      <a:pt x="39" y="38"/>
                    </a:cubicBezTo>
                    <a:cubicBezTo>
                      <a:pt x="40" y="35"/>
                      <a:pt x="37" y="33"/>
                      <a:pt x="37" y="29"/>
                    </a:cubicBezTo>
                    <a:cubicBezTo>
                      <a:pt x="38" y="28"/>
                      <a:pt x="39" y="28"/>
                      <a:pt x="40" y="27"/>
                    </a:cubicBezTo>
                    <a:cubicBezTo>
                      <a:pt x="41" y="24"/>
                      <a:pt x="36" y="16"/>
                      <a:pt x="34" y="16"/>
                    </a:cubicBezTo>
                    <a:cubicBezTo>
                      <a:pt x="33" y="16"/>
                      <a:pt x="32" y="15"/>
                      <a:pt x="32" y="15"/>
                    </a:cubicBezTo>
                    <a:cubicBezTo>
                      <a:pt x="22" y="28"/>
                      <a:pt x="10" y="30"/>
                      <a:pt x="4" y="46"/>
                    </a:cubicBezTo>
                    <a:cubicBezTo>
                      <a:pt x="13" y="41"/>
                      <a:pt x="17" y="31"/>
                      <a:pt x="30" y="29"/>
                    </a:cubicBezTo>
                    <a:cubicBezTo>
                      <a:pt x="29" y="39"/>
                      <a:pt x="16" y="48"/>
                      <a:pt x="8" y="52"/>
                    </a:cubicBezTo>
                    <a:cubicBezTo>
                      <a:pt x="4" y="54"/>
                      <a:pt x="2" y="52"/>
                      <a:pt x="0" y="56"/>
                    </a:cubicBezTo>
                    <a:cubicBezTo>
                      <a:pt x="0" y="59"/>
                      <a:pt x="1" y="60"/>
                      <a:pt x="3" y="61"/>
                    </a:cubicBezTo>
                    <a:cubicBezTo>
                      <a:pt x="10" y="63"/>
                      <a:pt x="22" y="58"/>
                      <a:pt x="23" y="54"/>
                    </a:cubicBezTo>
                    <a:cubicBezTo>
                      <a:pt x="24" y="54"/>
                      <a:pt x="24" y="53"/>
                      <a:pt x="25" y="53"/>
                    </a:cubicBezTo>
                    <a:cubicBezTo>
                      <a:pt x="25" y="53"/>
                      <a:pt x="25" y="53"/>
                      <a:pt x="25" y="53"/>
                    </a:cubicBezTo>
                    <a:cubicBezTo>
                      <a:pt x="23" y="59"/>
                      <a:pt x="22" y="66"/>
                      <a:pt x="20" y="72"/>
                    </a:cubicBezTo>
                    <a:cubicBezTo>
                      <a:pt x="21" y="74"/>
                      <a:pt x="23" y="75"/>
                      <a:pt x="25" y="76"/>
                    </a:cubicBezTo>
                    <a:cubicBezTo>
                      <a:pt x="25" y="76"/>
                      <a:pt x="26" y="76"/>
                      <a:pt x="26" y="76"/>
                    </a:cubicBezTo>
                    <a:cubicBezTo>
                      <a:pt x="28" y="73"/>
                      <a:pt x="29" y="70"/>
                      <a:pt x="30" y="67"/>
                    </a:cubicBezTo>
                    <a:cubicBezTo>
                      <a:pt x="31" y="67"/>
                      <a:pt x="31" y="67"/>
                      <a:pt x="31" y="66"/>
                    </a:cubicBezTo>
                    <a:cubicBezTo>
                      <a:pt x="32" y="69"/>
                      <a:pt x="32" y="72"/>
                      <a:pt x="32" y="75"/>
                    </a:cubicBezTo>
                    <a:cubicBezTo>
                      <a:pt x="33" y="75"/>
                      <a:pt x="34" y="76"/>
                      <a:pt x="35" y="76"/>
                    </a:cubicBezTo>
                    <a:cubicBezTo>
                      <a:pt x="36" y="76"/>
                      <a:pt x="37" y="76"/>
                      <a:pt x="38" y="76"/>
                    </a:cubicBezTo>
                    <a:cubicBezTo>
                      <a:pt x="37" y="71"/>
                      <a:pt x="36" y="66"/>
                      <a:pt x="35" y="61"/>
                    </a:cubicBezTo>
                    <a:cubicBezTo>
                      <a:pt x="38" y="54"/>
                      <a:pt x="40" y="48"/>
                      <a:pt x="43" y="4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71" name="î$ḻîḑe"/>
              <p:cNvSpPr/>
              <p:nvPr/>
            </p:nvSpPr>
            <p:spPr bwMode="auto">
              <a:xfrm>
                <a:off x="2055709" y="4566240"/>
                <a:ext cx="136525" cy="150813"/>
              </a:xfrm>
              <a:custGeom>
                <a:avLst/>
                <a:gdLst>
                  <a:gd name="T0" fmla="*/ 55 w 74"/>
                  <a:gd name="T1" fmla="*/ 53 h 82"/>
                  <a:gd name="T2" fmla="*/ 54 w 74"/>
                  <a:gd name="T3" fmla="*/ 51 h 82"/>
                  <a:gd name="T4" fmla="*/ 57 w 74"/>
                  <a:gd name="T5" fmla="*/ 49 h 82"/>
                  <a:gd name="T6" fmla="*/ 56 w 74"/>
                  <a:gd name="T7" fmla="*/ 45 h 82"/>
                  <a:gd name="T8" fmla="*/ 52 w 74"/>
                  <a:gd name="T9" fmla="*/ 45 h 82"/>
                  <a:gd name="T10" fmla="*/ 51 w 74"/>
                  <a:gd name="T11" fmla="*/ 44 h 82"/>
                  <a:gd name="T12" fmla="*/ 60 w 74"/>
                  <a:gd name="T13" fmla="*/ 32 h 82"/>
                  <a:gd name="T14" fmla="*/ 60 w 74"/>
                  <a:gd name="T15" fmla="*/ 30 h 82"/>
                  <a:gd name="T16" fmla="*/ 34 w 74"/>
                  <a:gd name="T17" fmla="*/ 38 h 82"/>
                  <a:gd name="T18" fmla="*/ 33 w 74"/>
                  <a:gd name="T19" fmla="*/ 38 h 82"/>
                  <a:gd name="T20" fmla="*/ 60 w 74"/>
                  <a:gd name="T21" fmla="*/ 16 h 82"/>
                  <a:gd name="T22" fmla="*/ 61 w 74"/>
                  <a:gd name="T23" fmla="*/ 10 h 82"/>
                  <a:gd name="T24" fmla="*/ 42 w 74"/>
                  <a:gd name="T25" fmla="*/ 11 h 82"/>
                  <a:gd name="T26" fmla="*/ 27 w 74"/>
                  <a:gd name="T27" fmla="*/ 0 h 82"/>
                  <a:gd name="T28" fmla="*/ 24 w 74"/>
                  <a:gd name="T29" fmla="*/ 0 h 82"/>
                  <a:gd name="T30" fmla="*/ 29 w 74"/>
                  <a:gd name="T31" fmla="*/ 21 h 82"/>
                  <a:gd name="T32" fmla="*/ 11 w 74"/>
                  <a:gd name="T33" fmla="*/ 39 h 82"/>
                  <a:gd name="T34" fmla="*/ 1 w 74"/>
                  <a:gd name="T35" fmla="*/ 44 h 82"/>
                  <a:gd name="T36" fmla="*/ 0 w 74"/>
                  <a:gd name="T37" fmla="*/ 47 h 82"/>
                  <a:gd name="T38" fmla="*/ 35 w 74"/>
                  <a:gd name="T39" fmla="*/ 26 h 82"/>
                  <a:gd name="T40" fmla="*/ 35 w 74"/>
                  <a:gd name="T41" fmla="*/ 26 h 82"/>
                  <a:gd name="T42" fmla="*/ 30 w 74"/>
                  <a:gd name="T43" fmla="*/ 48 h 82"/>
                  <a:gd name="T44" fmla="*/ 40 w 74"/>
                  <a:gd name="T45" fmla="*/ 57 h 82"/>
                  <a:gd name="T46" fmla="*/ 35 w 74"/>
                  <a:gd name="T47" fmla="*/ 78 h 82"/>
                  <a:gd name="T48" fmla="*/ 45 w 74"/>
                  <a:gd name="T49" fmla="*/ 82 h 82"/>
                  <a:gd name="T50" fmla="*/ 47 w 74"/>
                  <a:gd name="T51" fmla="*/ 80 h 82"/>
                  <a:gd name="T52" fmla="*/ 46 w 74"/>
                  <a:gd name="T53" fmla="*/ 67 h 82"/>
                  <a:gd name="T54" fmla="*/ 47 w 74"/>
                  <a:gd name="T55" fmla="*/ 66 h 82"/>
                  <a:gd name="T56" fmla="*/ 50 w 74"/>
                  <a:gd name="T57" fmla="*/ 73 h 82"/>
                  <a:gd name="T58" fmla="*/ 58 w 74"/>
                  <a:gd name="T59" fmla="*/ 79 h 82"/>
                  <a:gd name="T60" fmla="*/ 59 w 74"/>
                  <a:gd name="T61" fmla="*/ 79 h 82"/>
                  <a:gd name="T62" fmla="*/ 53 w 74"/>
                  <a:gd name="T63" fmla="*/ 57 h 82"/>
                  <a:gd name="T64" fmla="*/ 56 w 74"/>
                  <a:gd name="T65" fmla="*/ 55 h 82"/>
                  <a:gd name="T66" fmla="*/ 56 w 74"/>
                  <a:gd name="T67" fmla="*/ 55 h 82"/>
                  <a:gd name="T68" fmla="*/ 69 w 74"/>
                  <a:gd name="T69" fmla="*/ 69 h 82"/>
                  <a:gd name="T70" fmla="*/ 74 w 74"/>
                  <a:gd name="T71" fmla="*/ 64 h 82"/>
                  <a:gd name="T72" fmla="*/ 55 w 74"/>
                  <a:gd name="T73" fmla="*/ 53 h 82"/>
                  <a:gd name="T74" fmla="*/ 40 w 74"/>
                  <a:gd name="T75" fmla="*/ 46 h 82"/>
                  <a:gd name="T76" fmla="*/ 39 w 74"/>
                  <a:gd name="T77" fmla="*/ 46 h 82"/>
                  <a:gd name="T78" fmla="*/ 38 w 74"/>
                  <a:gd name="T79" fmla="*/ 46 h 82"/>
                  <a:gd name="T80" fmla="*/ 37 w 74"/>
                  <a:gd name="T81" fmla="*/ 44 h 82"/>
                  <a:gd name="T82" fmla="*/ 44 w 74"/>
                  <a:gd name="T83" fmla="*/ 36 h 82"/>
                  <a:gd name="T84" fmla="*/ 46 w 74"/>
                  <a:gd name="T85" fmla="*/ 35 h 82"/>
                  <a:gd name="T86" fmla="*/ 46 w 74"/>
                  <a:gd name="T87" fmla="*/ 35 h 82"/>
                  <a:gd name="T88" fmla="*/ 40 w 74"/>
                  <a:gd name="T89" fmla="*/ 46 h 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74" h="82">
                    <a:moveTo>
                      <a:pt x="55" y="53"/>
                    </a:moveTo>
                    <a:cubicBezTo>
                      <a:pt x="55" y="53"/>
                      <a:pt x="54" y="52"/>
                      <a:pt x="54" y="51"/>
                    </a:cubicBezTo>
                    <a:cubicBezTo>
                      <a:pt x="55" y="51"/>
                      <a:pt x="56" y="50"/>
                      <a:pt x="57" y="49"/>
                    </a:cubicBezTo>
                    <a:cubicBezTo>
                      <a:pt x="57" y="48"/>
                      <a:pt x="56" y="47"/>
                      <a:pt x="56" y="45"/>
                    </a:cubicBezTo>
                    <a:cubicBezTo>
                      <a:pt x="54" y="45"/>
                      <a:pt x="53" y="45"/>
                      <a:pt x="52" y="45"/>
                    </a:cubicBezTo>
                    <a:cubicBezTo>
                      <a:pt x="51" y="45"/>
                      <a:pt x="51" y="44"/>
                      <a:pt x="51" y="44"/>
                    </a:cubicBezTo>
                    <a:cubicBezTo>
                      <a:pt x="53" y="40"/>
                      <a:pt x="59" y="36"/>
                      <a:pt x="60" y="32"/>
                    </a:cubicBezTo>
                    <a:cubicBezTo>
                      <a:pt x="60" y="31"/>
                      <a:pt x="60" y="31"/>
                      <a:pt x="60" y="30"/>
                    </a:cubicBezTo>
                    <a:cubicBezTo>
                      <a:pt x="50" y="21"/>
                      <a:pt x="41" y="31"/>
                      <a:pt x="34" y="38"/>
                    </a:cubicBezTo>
                    <a:cubicBezTo>
                      <a:pt x="33" y="38"/>
                      <a:pt x="33" y="38"/>
                      <a:pt x="33" y="38"/>
                    </a:cubicBezTo>
                    <a:cubicBezTo>
                      <a:pt x="34" y="30"/>
                      <a:pt x="48" y="16"/>
                      <a:pt x="60" y="16"/>
                    </a:cubicBezTo>
                    <a:cubicBezTo>
                      <a:pt x="61" y="14"/>
                      <a:pt x="61" y="12"/>
                      <a:pt x="61" y="10"/>
                    </a:cubicBezTo>
                    <a:cubicBezTo>
                      <a:pt x="50" y="3"/>
                      <a:pt x="52" y="11"/>
                      <a:pt x="42" y="11"/>
                    </a:cubicBezTo>
                    <a:cubicBezTo>
                      <a:pt x="38" y="10"/>
                      <a:pt x="32" y="1"/>
                      <a:pt x="27" y="0"/>
                    </a:cubicBezTo>
                    <a:cubicBezTo>
                      <a:pt x="26" y="0"/>
                      <a:pt x="25" y="0"/>
                      <a:pt x="24" y="0"/>
                    </a:cubicBezTo>
                    <a:cubicBezTo>
                      <a:pt x="21" y="5"/>
                      <a:pt x="30" y="14"/>
                      <a:pt x="29" y="21"/>
                    </a:cubicBezTo>
                    <a:cubicBezTo>
                      <a:pt x="19" y="27"/>
                      <a:pt x="17" y="33"/>
                      <a:pt x="11" y="39"/>
                    </a:cubicBezTo>
                    <a:cubicBezTo>
                      <a:pt x="8" y="42"/>
                      <a:pt x="4" y="42"/>
                      <a:pt x="1" y="44"/>
                    </a:cubicBezTo>
                    <a:cubicBezTo>
                      <a:pt x="1" y="45"/>
                      <a:pt x="0" y="46"/>
                      <a:pt x="0" y="47"/>
                    </a:cubicBezTo>
                    <a:cubicBezTo>
                      <a:pt x="11" y="69"/>
                      <a:pt x="23" y="30"/>
                      <a:pt x="35" y="26"/>
                    </a:cubicBezTo>
                    <a:cubicBezTo>
                      <a:pt x="35" y="26"/>
                      <a:pt x="35" y="26"/>
                      <a:pt x="35" y="26"/>
                    </a:cubicBezTo>
                    <a:cubicBezTo>
                      <a:pt x="33" y="33"/>
                      <a:pt x="28" y="39"/>
                      <a:pt x="30" y="48"/>
                    </a:cubicBezTo>
                    <a:cubicBezTo>
                      <a:pt x="30" y="51"/>
                      <a:pt x="37" y="56"/>
                      <a:pt x="40" y="57"/>
                    </a:cubicBezTo>
                    <a:cubicBezTo>
                      <a:pt x="37" y="64"/>
                      <a:pt x="32" y="69"/>
                      <a:pt x="35" y="78"/>
                    </a:cubicBezTo>
                    <a:cubicBezTo>
                      <a:pt x="39" y="79"/>
                      <a:pt x="42" y="80"/>
                      <a:pt x="45" y="82"/>
                    </a:cubicBezTo>
                    <a:cubicBezTo>
                      <a:pt x="46" y="81"/>
                      <a:pt x="46" y="81"/>
                      <a:pt x="47" y="80"/>
                    </a:cubicBezTo>
                    <a:cubicBezTo>
                      <a:pt x="49" y="77"/>
                      <a:pt x="45" y="70"/>
                      <a:pt x="46" y="67"/>
                    </a:cubicBezTo>
                    <a:cubicBezTo>
                      <a:pt x="46" y="66"/>
                      <a:pt x="46" y="66"/>
                      <a:pt x="47" y="66"/>
                    </a:cubicBezTo>
                    <a:cubicBezTo>
                      <a:pt x="48" y="67"/>
                      <a:pt x="49" y="71"/>
                      <a:pt x="50" y="73"/>
                    </a:cubicBezTo>
                    <a:cubicBezTo>
                      <a:pt x="52" y="76"/>
                      <a:pt x="55" y="77"/>
                      <a:pt x="58" y="79"/>
                    </a:cubicBezTo>
                    <a:cubicBezTo>
                      <a:pt x="58" y="79"/>
                      <a:pt x="58" y="79"/>
                      <a:pt x="59" y="79"/>
                    </a:cubicBezTo>
                    <a:cubicBezTo>
                      <a:pt x="60" y="72"/>
                      <a:pt x="53" y="64"/>
                      <a:pt x="53" y="57"/>
                    </a:cubicBezTo>
                    <a:cubicBezTo>
                      <a:pt x="54" y="56"/>
                      <a:pt x="55" y="56"/>
                      <a:pt x="56" y="55"/>
                    </a:cubicBezTo>
                    <a:cubicBezTo>
                      <a:pt x="56" y="55"/>
                      <a:pt x="56" y="55"/>
                      <a:pt x="56" y="55"/>
                    </a:cubicBezTo>
                    <a:cubicBezTo>
                      <a:pt x="63" y="60"/>
                      <a:pt x="59" y="67"/>
                      <a:pt x="69" y="69"/>
                    </a:cubicBezTo>
                    <a:cubicBezTo>
                      <a:pt x="71" y="67"/>
                      <a:pt x="72" y="66"/>
                      <a:pt x="74" y="64"/>
                    </a:cubicBezTo>
                    <a:cubicBezTo>
                      <a:pt x="71" y="56"/>
                      <a:pt x="63" y="51"/>
                      <a:pt x="55" y="53"/>
                    </a:cubicBezTo>
                    <a:close/>
                    <a:moveTo>
                      <a:pt x="40" y="46"/>
                    </a:moveTo>
                    <a:cubicBezTo>
                      <a:pt x="40" y="46"/>
                      <a:pt x="39" y="46"/>
                      <a:pt x="39" y="46"/>
                    </a:cubicBezTo>
                    <a:cubicBezTo>
                      <a:pt x="38" y="46"/>
                      <a:pt x="38" y="46"/>
                      <a:pt x="38" y="46"/>
                    </a:cubicBezTo>
                    <a:cubicBezTo>
                      <a:pt x="38" y="45"/>
                      <a:pt x="37" y="45"/>
                      <a:pt x="37" y="44"/>
                    </a:cubicBezTo>
                    <a:cubicBezTo>
                      <a:pt x="39" y="41"/>
                      <a:pt x="42" y="39"/>
                      <a:pt x="44" y="36"/>
                    </a:cubicBezTo>
                    <a:cubicBezTo>
                      <a:pt x="45" y="36"/>
                      <a:pt x="45" y="35"/>
                      <a:pt x="46" y="35"/>
                    </a:cubicBezTo>
                    <a:cubicBezTo>
                      <a:pt x="46" y="35"/>
                      <a:pt x="46" y="35"/>
                      <a:pt x="46" y="35"/>
                    </a:cubicBezTo>
                    <a:cubicBezTo>
                      <a:pt x="44" y="39"/>
                      <a:pt x="42" y="42"/>
                      <a:pt x="40" y="4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72" name="ïşḻíḍe"/>
              <p:cNvSpPr/>
              <p:nvPr/>
            </p:nvSpPr>
            <p:spPr bwMode="auto">
              <a:xfrm>
                <a:off x="1882672" y="4669428"/>
                <a:ext cx="160338" cy="169863"/>
              </a:xfrm>
              <a:custGeom>
                <a:avLst/>
                <a:gdLst>
                  <a:gd name="T0" fmla="*/ 29 w 87"/>
                  <a:gd name="T1" fmla="*/ 8 h 92"/>
                  <a:gd name="T2" fmla="*/ 52 w 87"/>
                  <a:gd name="T3" fmla="*/ 17 h 92"/>
                  <a:gd name="T4" fmla="*/ 61 w 87"/>
                  <a:gd name="T5" fmla="*/ 16 h 92"/>
                  <a:gd name="T6" fmla="*/ 62 w 87"/>
                  <a:gd name="T7" fmla="*/ 17 h 92"/>
                  <a:gd name="T8" fmla="*/ 69 w 87"/>
                  <a:gd name="T9" fmla="*/ 42 h 92"/>
                  <a:gd name="T10" fmla="*/ 86 w 87"/>
                  <a:gd name="T11" fmla="*/ 35 h 92"/>
                  <a:gd name="T12" fmla="*/ 87 w 87"/>
                  <a:gd name="T13" fmla="*/ 39 h 92"/>
                  <a:gd name="T14" fmla="*/ 76 w 87"/>
                  <a:gd name="T15" fmla="*/ 55 h 92"/>
                  <a:gd name="T16" fmla="*/ 67 w 87"/>
                  <a:gd name="T17" fmla="*/ 76 h 92"/>
                  <a:gd name="T18" fmla="*/ 65 w 87"/>
                  <a:gd name="T19" fmla="*/ 74 h 92"/>
                  <a:gd name="T20" fmla="*/ 69 w 87"/>
                  <a:gd name="T21" fmla="*/ 53 h 92"/>
                  <a:gd name="T22" fmla="*/ 55 w 87"/>
                  <a:gd name="T23" fmla="*/ 40 h 92"/>
                  <a:gd name="T24" fmla="*/ 45 w 87"/>
                  <a:gd name="T25" fmla="*/ 44 h 92"/>
                  <a:gd name="T26" fmla="*/ 46 w 87"/>
                  <a:gd name="T27" fmla="*/ 89 h 92"/>
                  <a:gd name="T28" fmla="*/ 38 w 87"/>
                  <a:gd name="T29" fmla="*/ 92 h 92"/>
                  <a:gd name="T30" fmla="*/ 27 w 87"/>
                  <a:gd name="T31" fmla="*/ 68 h 92"/>
                  <a:gd name="T32" fmla="*/ 14 w 87"/>
                  <a:gd name="T33" fmla="*/ 70 h 92"/>
                  <a:gd name="T34" fmla="*/ 12 w 87"/>
                  <a:gd name="T35" fmla="*/ 65 h 92"/>
                  <a:gd name="T36" fmla="*/ 18 w 87"/>
                  <a:gd name="T37" fmla="*/ 58 h 92"/>
                  <a:gd name="T38" fmla="*/ 0 w 87"/>
                  <a:gd name="T39" fmla="*/ 42 h 92"/>
                  <a:gd name="T40" fmla="*/ 0 w 87"/>
                  <a:gd name="T41" fmla="*/ 42 h 92"/>
                  <a:gd name="T42" fmla="*/ 21 w 87"/>
                  <a:gd name="T43" fmla="*/ 39 h 92"/>
                  <a:gd name="T44" fmla="*/ 27 w 87"/>
                  <a:gd name="T45" fmla="*/ 48 h 92"/>
                  <a:gd name="T46" fmla="*/ 34 w 87"/>
                  <a:gd name="T47" fmla="*/ 52 h 92"/>
                  <a:gd name="T48" fmla="*/ 36 w 87"/>
                  <a:gd name="T49" fmla="*/ 62 h 92"/>
                  <a:gd name="T50" fmla="*/ 39 w 87"/>
                  <a:gd name="T51" fmla="*/ 44 h 92"/>
                  <a:gd name="T52" fmla="*/ 46 w 87"/>
                  <a:gd name="T53" fmla="*/ 28 h 92"/>
                  <a:gd name="T54" fmla="*/ 29 w 87"/>
                  <a:gd name="T55" fmla="*/ 8 h 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87" h="92">
                    <a:moveTo>
                      <a:pt x="29" y="8"/>
                    </a:moveTo>
                    <a:cubicBezTo>
                      <a:pt x="42" y="0"/>
                      <a:pt x="43" y="12"/>
                      <a:pt x="52" y="17"/>
                    </a:cubicBezTo>
                    <a:cubicBezTo>
                      <a:pt x="55" y="15"/>
                      <a:pt x="58" y="15"/>
                      <a:pt x="61" y="16"/>
                    </a:cubicBezTo>
                    <a:cubicBezTo>
                      <a:pt x="61" y="16"/>
                      <a:pt x="62" y="17"/>
                      <a:pt x="62" y="17"/>
                    </a:cubicBezTo>
                    <a:cubicBezTo>
                      <a:pt x="62" y="26"/>
                      <a:pt x="58" y="33"/>
                      <a:pt x="69" y="42"/>
                    </a:cubicBezTo>
                    <a:cubicBezTo>
                      <a:pt x="75" y="35"/>
                      <a:pt x="80" y="33"/>
                      <a:pt x="86" y="35"/>
                    </a:cubicBezTo>
                    <a:cubicBezTo>
                      <a:pt x="87" y="36"/>
                      <a:pt x="87" y="38"/>
                      <a:pt x="87" y="39"/>
                    </a:cubicBezTo>
                    <a:cubicBezTo>
                      <a:pt x="83" y="45"/>
                      <a:pt x="80" y="50"/>
                      <a:pt x="76" y="55"/>
                    </a:cubicBezTo>
                    <a:cubicBezTo>
                      <a:pt x="71" y="62"/>
                      <a:pt x="71" y="70"/>
                      <a:pt x="67" y="76"/>
                    </a:cubicBezTo>
                    <a:cubicBezTo>
                      <a:pt x="66" y="75"/>
                      <a:pt x="66" y="75"/>
                      <a:pt x="65" y="74"/>
                    </a:cubicBezTo>
                    <a:cubicBezTo>
                      <a:pt x="63" y="66"/>
                      <a:pt x="67" y="60"/>
                      <a:pt x="69" y="53"/>
                    </a:cubicBezTo>
                    <a:cubicBezTo>
                      <a:pt x="64" y="51"/>
                      <a:pt x="60" y="46"/>
                      <a:pt x="55" y="40"/>
                    </a:cubicBezTo>
                    <a:cubicBezTo>
                      <a:pt x="52" y="42"/>
                      <a:pt x="49" y="41"/>
                      <a:pt x="45" y="44"/>
                    </a:cubicBezTo>
                    <a:cubicBezTo>
                      <a:pt x="40" y="59"/>
                      <a:pt x="48" y="75"/>
                      <a:pt x="46" y="89"/>
                    </a:cubicBezTo>
                    <a:cubicBezTo>
                      <a:pt x="43" y="92"/>
                      <a:pt x="41" y="91"/>
                      <a:pt x="38" y="92"/>
                    </a:cubicBezTo>
                    <a:cubicBezTo>
                      <a:pt x="31" y="83"/>
                      <a:pt x="33" y="76"/>
                      <a:pt x="27" y="68"/>
                    </a:cubicBezTo>
                    <a:cubicBezTo>
                      <a:pt x="23" y="71"/>
                      <a:pt x="18" y="71"/>
                      <a:pt x="14" y="70"/>
                    </a:cubicBezTo>
                    <a:cubicBezTo>
                      <a:pt x="12" y="68"/>
                      <a:pt x="12" y="67"/>
                      <a:pt x="12" y="65"/>
                    </a:cubicBezTo>
                    <a:cubicBezTo>
                      <a:pt x="14" y="63"/>
                      <a:pt x="16" y="60"/>
                      <a:pt x="18" y="58"/>
                    </a:cubicBezTo>
                    <a:cubicBezTo>
                      <a:pt x="13" y="49"/>
                      <a:pt x="3" y="48"/>
                      <a:pt x="0" y="42"/>
                    </a:cubicBezTo>
                    <a:cubicBezTo>
                      <a:pt x="0" y="42"/>
                      <a:pt x="0" y="42"/>
                      <a:pt x="0" y="42"/>
                    </a:cubicBezTo>
                    <a:cubicBezTo>
                      <a:pt x="6" y="39"/>
                      <a:pt x="15" y="35"/>
                      <a:pt x="21" y="39"/>
                    </a:cubicBezTo>
                    <a:cubicBezTo>
                      <a:pt x="23" y="42"/>
                      <a:pt x="25" y="45"/>
                      <a:pt x="27" y="48"/>
                    </a:cubicBezTo>
                    <a:cubicBezTo>
                      <a:pt x="29" y="50"/>
                      <a:pt x="31" y="51"/>
                      <a:pt x="34" y="52"/>
                    </a:cubicBezTo>
                    <a:cubicBezTo>
                      <a:pt x="34" y="55"/>
                      <a:pt x="35" y="58"/>
                      <a:pt x="36" y="62"/>
                    </a:cubicBezTo>
                    <a:cubicBezTo>
                      <a:pt x="39" y="56"/>
                      <a:pt x="38" y="50"/>
                      <a:pt x="39" y="44"/>
                    </a:cubicBezTo>
                    <a:cubicBezTo>
                      <a:pt x="42" y="39"/>
                      <a:pt x="44" y="34"/>
                      <a:pt x="46" y="28"/>
                    </a:cubicBezTo>
                    <a:cubicBezTo>
                      <a:pt x="42" y="22"/>
                      <a:pt x="31" y="15"/>
                      <a:pt x="29" y="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73" name="íṩľíḑè"/>
              <p:cNvSpPr/>
              <p:nvPr/>
            </p:nvSpPr>
            <p:spPr bwMode="auto">
              <a:xfrm>
                <a:off x="2243034" y="6066428"/>
                <a:ext cx="22225" cy="25400"/>
              </a:xfrm>
              <a:custGeom>
                <a:avLst/>
                <a:gdLst>
                  <a:gd name="T0" fmla="*/ 0 w 14"/>
                  <a:gd name="T1" fmla="*/ 12 h 16"/>
                  <a:gd name="T2" fmla="*/ 2 w 14"/>
                  <a:gd name="T3" fmla="*/ 0 h 16"/>
                  <a:gd name="T4" fmla="*/ 14 w 14"/>
                  <a:gd name="T5" fmla="*/ 4 h 16"/>
                  <a:gd name="T6" fmla="*/ 11 w 14"/>
                  <a:gd name="T7" fmla="*/ 16 h 16"/>
                  <a:gd name="T8" fmla="*/ 0 w 14"/>
                  <a:gd name="T9" fmla="*/ 12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4" h="16">
                    <a:moveTo>
                      <a:pt x="0" y="12"/>
                    </a:moveTo>
                    <a:lnTo>
                      <a:pt x="2" y="0"/>
                    </a:lnTo>
                    <a:lnTo>
                      <a:pt x="14" y="4"/>
                    </a:lnTo>
                    <a:lnTo>
                      <a:pt x="11" y="16"/>
                    </a:lnTo>
                    <a:lnTo>
                      <a:pt x="0" y="1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74" name="îṣḷïḓê"/>
              <p:cNvSpPr/>
              <p:nvPr/>
            </p:nvSpPr>
            <p:spPr bwMode="auto">
              <a:xfrm>
                <a:off x="2292247" y="6042615"/>
                <a:ext cx="49213" cy="100013"/>
              </a:xfrm>
              <a:custGeom>
                <a:avLst/>
                <a:gdLst>
                  <a:gd name="T0" fmla="*/ 17 w 27"/>
                  <a:gd name="T1" fmla="*/ 54 h 54"/>
                  <a:gd name="T2" fmla="*/ 7 w 27"/>
                  <a:gd name="T3" fmla="*/ 52 h 54"/>
                  <a:gd name="T4" fmla="*/ 14 w 27"/>
                  <a:gd name="T5" fmla="*/ 15 h 54"/>
                  <a:gd name="T6" fmla="*/ 0 w 27"/>
                  <a:gd name="T7" fmla="*/ 20 h 54"/>
                  <a:gd name="T8" fmla="*/ 1 w 27"/>
                  <a:gd name="T9" fmla="*/ 11 h 54"/>
                  <a:gd name="T10" fmla="*/ 11 w 27"/>
                  <a:gd name="T11" fmla="*/ 7 h 54"/>
                  <a:gd name="T12" fmla="*/ 18 w 27"/>
                  <a:gd name="T13" fmla="*/ 0 h 54"/>
                  <a:gd name="T14" fmla="*/ 27 w 27"/>
                  <a:gd name="T15" fmla="*/ 2 h 54"/>
                  <a:gd name="T16" fmla="*/ 17 w 27"/>
                  <a:gd name="T17" fmla="*/ 54 h 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7" h="54">
                    <a:moveTo>
                      <a:pt x="17" y="54"/>
                    </a:moveTo>
                    <a:cubicBezTo>
                      <a:pt x="7" y="52"/>
                      <a:pt x="7" y="52"/>
                      <a:pt x="7" y="52"/>
                    </a:cubicBezTo>
                    <a:cubicBezTo>
                      <a:pt x="14" y="15"/>
                      <a:pt x="14" y="15"/>
                      <a:pt x="14" y="15"/>
                    </a:cubicBezTo>
                    <a:cubicBezTo>
                      <a:pt x="10" y="17"/>
                      <a:pt x="5" y="19"/>
                      <a:pt x="0" y="20"/>
                    </a:cubicBezTo>
                    <a:cubicBezTo>
                      <a:pt x="1" y="11"/>
                      <a:pt x="1" y="11"/>
                      <a:pt x="1" y="11"/>
                    </a:cubicBezTo>
                    <a:cubicBezTo>
                      <a:pt x="4" y="10"/>
                      <a:pt x="7" y="9"/>
                      <a:pt x="11" y="7"/>
                    </a:cubicBezTo>
                    <a:cubicBezTo>
                      <a:pt x="14" y="6"/>
                      <a:pt x="17" y="3"/>
                      <a:pt x="18" y="0"/>
                    </a:cubicBezTo>
                    <a:cubicBezTo>
                      <a:pt x="27" y="2"/>
                      <a:pt x="27" y="2"/>
                      <a:pt x="27" y="2"/>
                    </a:cubicBezTo>
                    <a:lnTo>
                      <a:pt x="17" y="5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75" name="i$ḻîḓé"/>
              <p:cNvSpPr/>
              <p:nvPr/>
            </p:nvSpPr>
            <p:spPr bwMode="auto">
              <a:xfrm>
                <a:off x="2363684" y="6052140"/>
                <a:ext cx="66675" cy="100013"/>
              </a:xfrm>
              <a:custGeom>
                <a:avLst/>
                <a:gdLst>
                  <a:gd name="T0" fmla="*/ 0 w 36"/>
                  <a:gd name="T1" fmla="*/ 40 h 54"/>
                  <a:gd name="T2" fmla="*/ 10 w 36"/>
                  <a:gd name="T3" fmla="*/ 39 h 54"/>
                  <a:gd name="T4" fmla="*/ 11 w 36"/>
                  <a:gd name="T5" fmla="*/ 44 h 54"/>
                  <a:gd name="T6" fmla="*/ 15 w 36"/>
                  <a:gd name="T7" fmla="*/ 46 h 54"/>
                  <a:gd name="T8" fmla="*/ 21 w 36"/>
                  <a:gd name="T9" fmla="*/ 43 h 54"/>
                  <a:gd name="T10" fmla="*/ 24 w 36"/>
                  <a:gd name="T11" fmla="*/ 31 h 54"/>
                  <a:gd name="T12" fmla="*/ 15 w 36"/>
                  <a:gd name="T13" fmla="*/ 35 h 54"/>
                  <a:gd name="T14" fmla="*/ 4 w 36"/>
                  <a:gd name="T15" fmla="*/ 30 h 54"/>
                  <a:gd name="T16" fmla="*/ 0 w 36"/>
                  <a:gd name="T17" fmla="*/ 17 h 54"/>
                  <a:gd name="T18" fmla="*/ 6 w 36"/>
                  <a:gd name="T19" fmla="*/ 4 h 54"/>
                  <a:gd name="T20" fmla="*/ 19 w 36"/>
                  <a:gd name="T21" fmla="*/ 0 h 54"/>
                  <a:gd name="T22" fmla="*/ 31 w 36"/>
                  <a:gd name="T23" fmla="*/ 7 h 54"/>
                  <a:gd name="T24" fmla="*/ 35 w 36"/>
                  <a:gd name="T25" fmla="*/ 28 h 54"/>
                  <a:gd name="T26" fmla="*/ 28 w 36"/>
                  <a:gd name="T27" fmla="*/ 49 h 54"/>
                  <a:gd name="T28" fmla="*/ 14 w 36"/>
                  <a:gd name="T29" fmla="*/ 54 h 54"/>
                  <a:gd name="T30" fmla="*/ 4 w 36"/>
                  <a:gd name="T31" fmla="*/ 50 h 54"/>
                  <a:gd name="T32" fmla="*/ 0 w 36"/>
                  <a:gd name="T33" fmla="*/ 40 h 54"/>
                  <a:gd name="T34" fmla="*/ 24 w 36"/>
                  <a:gd name="T35" fmla="*/ 19 h 54"/>
                  <a:gd name="T36" fmla="*/ 23 w 36"/>
                  <a:gd name="T37" fmla="*/ 11 h 54"/>
                  <a:gd name="T38" fmla="*/ 18 w 36"/>
                  <a:gd name="T39" fmla="*/ 8 h 54"/>
                  <a:gd name="T40" fmla="*/ 13 w 36"/>
                  <a:gd name="T41" fmla="*/ 10 h 54"/>
                  <a:gd name="T42" fmla="*/ 10 w 36"/>
                  <a:gd name="T43" fmla="*/ 17 h 54"/>
                  <a:gd name="T44" fmla="*/ 12 w 36"/>
                  <a:gd name="T45" fmla="*/ 25 h 54"/>
                  <a:gd name="T46" fmla="*/ 17 w 36"/>
                  <a:gd name="T47" fmla="*/ 28 h 54"/>
                  <a:gd name="T48" fmla="*/ 22 w 36"/>
                  <a:gd name="T49" fmla="*/ 26 h 54"/>
                  <a:gd name="T50" fmla="*/ 24 w 36"/>
                  <a:gd name="T51" fmla="*/ 19 h 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6" h="54">
                    <a:moveTo>
                      <a:pt x="0" y="40"/>
                    </a:moveTo>
                    <a:cubicBezTo>
                      <a:pt x="10" y="39"/>
                      <a:pt x="10" y="39"/>
                      <a:pt x="10" y="39"/>
                    </a:cubicBezTo>
                    <a:cubicBezTo>
                      <a:pt x="10" y="41"/>
                      <a:pt x="10" y="43"/>
                      <a:pt x="11" y="44"/>
                    </a:cubicBezTo>
                    <a:cubicBezTo>
                      <a:pt x="12" y="45"/>
                      <a:pt x="14" y="46"/>
                      <a:pt x="15" y="46"/>
                    </a:cubicBezTo>
                    <a:cubicBezTo>
                      <a:pt x="17" y="46"/>
                      <a:pt x="19" y="45"/>
                      <a:pt x="21" y="43"/>
                    </a:cubicBezTo>
                    <a:cubicBezTo>
                      <a:pt x="22" y="41"/>
                      <a:pt x="24" y="37"/>
                      <a:pt x="24" y="31"/>
                    </a:cubicBezTo>
                    <a:cubicBezTo>
                      <a:pt x="22" y="34"/>
                      <a:pt x="18" y="35"/>
                      <a:pt x="15" y="35"/>
                    </a:cubicBezTo>
                    <a:cubicBezTo>
                      <a:pt x="10" y="35"/>
                      <a:pt x="7" y="33"/>
                      <a:pt x="4" y="30"/>
                    </a:cubicBezTo>
                    <a:cubicBezTo>
                      <a:pt x="1" y="26"/>
                      <a:pt x="0" y="22"/>
                      <a:pt x="0" y="17"/>
                    </a:cubicBezTo>
                    <a:cubicBezTo>
                      <a:pt x="1" y="11"/>
                      <a:pt x="3" y="7"/>
                      <a:pt x="6" y="4"/>
                    </a:cubicBezTo>
                    <a:cubicBezTo>
                      <a:pt x="10" y="1"/>
                      <a:pt x="14" y="0"/>
                      <a:pt x="19" y="0"/>
                    </a:cubicBezTo>
                    <a:cubicBezTo>
                      <a:pt x="24" y="0"/>
                      <a:pt x="28" y="3"/>
                      <a:pt x="31" y="7"/>
                    </a:cubicBezTo>
                    <a:cubicBezTo>
                      <a:pt x="35" y="12"/>
                      <a:pt x="36" y="19"/>
                      <a:pt x="35" y="28"/>
                    </a:cubicBezTo>
                    <a:cubicBezTo>
                      <a:pt x="34" y="38"/>
                      <a:pt x="32" y="44"/>
                      <a:pt x="28" y="49"/>
                    </a:cubicBezTo>
                    <a:cubicBezTo>
                      <a:pt x="24" y="53"/>
                      <a:pt x="20" y="54"/>
                      <a:pt x="14" y="54"/>
                    </a:cubicBezTo>
                    <a:cubicBezTo>
                      <a:pt x="10" y="54"/>
                      <a:pt x="7" y="52"/>
                      <a:pt x="4" y="50"/>
                    </a:cubicBezTo>
                    <a:cubicBezTo>
                      <a:pt x="2" y="48"/>
                      <a:pt x="0" y="44"/>
                      <a:pt x="0" y="40"/>
                    </a:cubicBezTo>
                    <a:close/>
                    <a:moveTo>
                      <a:pt x="24" y="19"/>
                    </a:moveTo>
                    <a:cubicBezTo>
                      <a:pt x="25" y="16"/>
                      <a:pt x="24" y="13"/>
                      <a:pt x="23" y="11"/>
                    </a:cubicBezTo>
                    <a:cubicBezTo>
                      <a:pt x="21" y="10"/>
                      <a:pt x="20" y="9"/>
                      <a:pt x="18" y="8"/>
                    </a:cubicBezTo>
                    <a:cubicBezTo>
                      <a:pt x="16" y="8"/>
                      <a:pt x="14" y="9"/>
                      <a:pt x="13" y="10"/>
                    </a:cubicBezTo>
                    <a:cubicBezTo>
                      <a:pt x="11" y="12"/>
                      <a:pt x="11" y="14"/>
                      <a:pt x="10" y="17"/>
                    </a:cubicBezTo>
                    <a:cubicBezTo>
                      <a:pt x="10" y="21"/>
                      <a:pt x="11" y="23"/>
                      <a:pt x="12" y="25"/>
                    </a:cubicBezTo>
                    <a:cubicBezTo>
                      <a:pt x="13" y="27"/>
                      <a:pt x="15" y="28"/>
                      <a:pt x="17" y="28"/>
                    </a:cubicBezTo>
                    <a:cubicBezTo>
                      <a:pt x="19" y="28"/>
                      <a:pt x="20" y="27"/>
                      <a:pt x="22" y="26"/>
                    </a:cubicBezTo>
                    <a:cubicBezTo>
                      <a:pt x="23" y="24"/>
                      <a:pt x="24" y="22"/>
                      <a:pt x="24" y="1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76" name="îṧľîḋé"/>
              <p:cNvSpPr/>
              <p:nvPr/>
            </p:nvSpPr>
            <p:spPr bwMode="auto">
              <a:xfrm>
                <a:off x="2446234" y="6053728"/>
                <a:ext cx="66675" cy="100013"/>
              </a:xfrm>
              <a:custGeom>
                <a:avLst/>
                <a:gdLst>
                  <a:gd name="T0" fmla="*/ 0 w 36"/>
                  <a:gd name="T1" fmla="*/ 40 h 54"/>
                  <a:gd name="T2" fmla="*/ 10 w 36"/>
                  <a:gd name="T3" fmla="*/ 39 h 54"/>
                  <a:gd name="T4" fmla="*/ 13 w 36"/>
                  <a:gd name="T5" fmla="*/ 44 h 54"/>
                  <a:gd name="T6" fmla="*/ 18 w 36"/>
                  <a:gd name="T7" fmla="*/ 46 h 54"/>
                  <a:gd name="T8" fmla="*/ 23 w 36"/>
                  <a:gd name="T9" fmla="*/ 43 h 54"/>
                  <a:gd name="T10" fmla="*/ 25 w 36"/>
                  <a:gd name="T11" fmla="*/ 35 h 54"/>
                  <a:gd name="T12" fmla="*/ 23 w 36"/>
                  <a:gd name="T13" fmla="*/ 28 h 54"/>
                  <a:gd name="T14" fmla="*/ 17 w 36"/>
                  <a:gd name="T15" fmla="*/ 26 h 54"/>
                  <a:gd name="T16" fmla="*/ 9 w 36"/>
                  <a:gd name="T17" fmla="*/ 30 h 54"/>
                  <a:gd name="T18" fmla="*/ 1 w 36"/>
                  <a:gd name="T19" fmla="*/ 29 h 54"/>
                  <a:gd name="T20" fmla="*/ 5 w 36"/>
                  <a:gd name="T21" fmla="*/ 1 h 54"/>
                  <a:gd name="T22" fmla="*/ 32 w 36"/>
                  <a:gd name="T23" fmla="*/ 0 h 54"/>
                  <a:gd name="T24" fmla="*/ 32 w 36"/>
                  <a:gd name="T25" fmla="*/ 10 h 54"/>
                  <a:gd name="T26" fmla="*/ 13 w 36"/>
                  <a:gd name="T27" fmla="*/ 10 h 54"/>
                  <a:gd name="T28" fmla="*/ 12 w 36"/>
                  <a:gd name="T29" fmla="*/ 19 h 54"/>
                  <a:gd name="T30" fmla="*/ 19 w 36"/>
                  <a:gd name="T31" fmla="*/ 17 h 54"/>
                  <a:gd name="T32" fmla="*/ 30 w 36"/>
                  <a:gd name="T33" fmla="*/ 22 h 54"/>
                  <a:gd name="T34" fmla="*/ 36 w 36"/>
                  <a:gd name="T35" fmla="*/ 34 h 54"/>
                  <a:gd name="T36" fmla="*/ 32 w 36"/>
                  <a:gd name="T37" fmla="*/ 46 h 54"/>
                  <a:gd name="T38" fmla="*/ 18 w 36"/>
                  <a:gd name="T39" fmla="*/ 54 h 54"/>
                  <a:gd name="T40" fmla="*/ 6 w 36"/>
                  <a:gd name="T41" fmla="*/ 50 h 54"/>
                  <a:gd name="T42" fmla="*/ 0 w 36"/>
                  <a:gd name="T43" fmla="*/ 40 h 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36" h="54">
                    <a:moveTo>
                      <a:pt x="0" y="40"/>
                    </a:moveTo>
                    <a:cubicBezTo>
                      <a:pt x="10" y="39"/>
                      <a:pt x="10" y="39"/>
                      <a:pt x="10" y="39"/>
                    </a:cubicBezTo>
                    <a:cubicBezTo>
                      <a:pt x="11" y="41"/>
                      <a:pt x="11" y="43"/>
                      <a:pt x="13" y="44"/>
                    </a:cubicBezTo>
                    <a:cubicBezTo>
                      <a:pt x="14" y="45"/>
                      <a:pt x="16" y="46"/>
                      <a:pt x="18" y="46"/>
                    </a:cubicBezTo>
                    <a:cubicBezTo>
                      <a:pt x="20" y="46"/>
                      <a:pt x="22" y="45"/>
                      <a:pt x="23" y="43"/>
                    </a:cubicBezTo>
                    <a:cubicBezTo>
                      <a:pt x="25" y="41"/>
                      <a:pt x="25" y="38"/>
                      <a:pt x="25" y="35"/>
                    </a:cubicBezTo>
                    <a:cubicBezTo>
                      <a:pt x="25" y="32"/>
                      <a:pt x="24" y="29"/>
                      <a:pt x="23" y="28"/>
                    </a:cubicBezTo>
                    <a:cubicBezTo>
                      <a:pt x="21" y="26"/>
                      <a:pt x="19" y="25"/>
                      <a:pt x="17" y="26"/>
                    </a:cubicBezTo>
                    <a:cubicBezTo>
                      <a:pt x="14" y="26"/>
                      <a:pt x="11" y="27"/>
                      <a:pt x="9" y="30"/>
                    </a:cubicBezTo>
                    <a:cubicBezTo>
                      <a:pt x="1" y="29"/>
                      <a:pt x="1" y="29"/>
                      <a:pt x="1" y="29"/>
                    </a:cubicBezTo>
                    <a:cubicBezTo>
                      <a:pt x="5" y="1"/>
                      <a:pt x="5" y="1"/>
                      <a:pt x="5" y="1"/>
                    </a:cubicBezTo>
                    <a:cubicBezTo>
                      <a:pt x="32" y="0"/>
                      <a:pt x="32" y="0"/>
                      <a:pt x="32" y="0"/>
                    </a:cubicBezTo>
                    <a:cubicBezTo>
                      <a:pt x="32" y="10"/>
                      <a:pt x="32" y="10"/>
                      <a:pt x="32" y="10"/>
                    </a:cubicBezTo>
                    <a:cubicBezTo>
                      <a:pt x="13" y="10"/>
                      <a:pt x="13" y="10"/>
                      <a:pt x="13" y="10"/>
                    </a:cubicBezTo>
                    <a:cubicBezTo>
                      <a:pt x="12" y="19"/>
                      <a:pt x="12" y="19"/>
                      <a:pt x="12" y="19"/>
                    </a:cubicBezTo>
                    <a:cubicBezTo>
                      <a:pt x="14" y="18"/>
                      <a:pt x="16" y="17"/>
                      <a:pt x="19" y="17"/>
                    </a:cubicBezTo>
                    <a:cubicBezTo>
                      <a:pt x="23" y="17"/>
                      <a:pt x="27" y="19"/>
                      <a:pt x="30" y="22"/>
                    </a:cubicBezTo>
                    <a:cubicBezTo>
                      <a:pt x="34" y="25"/>
                      <a:pt x="35" y="29"/>
                      <a:pt x="36" y="34"/>
                    </a:cubicBezTo>
                    <a:cubicBezTo>
                      <a:pt x="36" y="39"/>
                      <a:pt x="35" y="43"/>
                      <a:pt x="32" y="46"/>
                    </a:cubicBezTo>
                    <a:cubicBezTo>
                      <a:pt x="29" y="51"/>
                      <a:pt x="24" y="54"/>
                      <a:pt x="18" y="54"/>
                    </a:cubicBezTo>
                    <a:cubicBezTo>
                      <a:pt x="13" y="54"/>
                      <a:pt x="9" y="53"/>
                      <a:pt x="6" y="50"/>
                    </a:cubicBezTo>
                    <a:cubicBezTo>
                      <a:pt x="3" y="48"/>
                      <a:pt x="1" y="44"/>
                      <a:pt x="0" y="4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77" name="i$ḻïḑê"/>
              <p:cNvSpPr/>
              <p:nvPr/>
            </p:nvSpPr>
            <p:spPr bwMode="auto">
              <a:xfrm>
                <a:off x="2522434" y="6045790"/>
                <a:ext cx="74613" cy="103188"/>
              </a:xfrm>
              <a:custGeom>
                <a:avLst/>
                <a:gdLst>
                  <a:gd name="T0" fmla="*/ 39 w 40"/>
                  <a:gd name="T1" fmla="*/ 42 h 56"/>
                  <a:gd name="T2" fmla="*/ 40 w 40"/>
                  <a:gd name="T3" fmla="*/ 51 h 56"/>
                  <a:gd name="T4" fmla="*/ 5 w 40"/>
                  <a:gd name="T5" fmla="*/ 56 h 56"/>
                  <a:gd name="T6" fmla="*/ 7 w 40"/>
                  <a:gd name="T7" fmla="*/ 46 h 56"/>
                  <a:gd name="T8" fmla="*/ 16 w 40"/>
                  <a:gd name="T9" fmla="*/ 32 h 56"/>
                  <a:gd name="T10" fmla="*/ 23 w 40"/>
                  <a:gd name="T11" fmla="*/ 22 h 56"/>
                  <a:gd name="T12" fmla="*/ 24 w 40"/>
                  <a:gd name="T13" fmla="*/ 15 h 56"/>
                  <a:gd name="T14" fmla="*/ 22 w 40"/>
                  <a:gd name="T15" fmla="*/ 10 h 56"/>
                  <a:gd name="T16" fmla="*/ 17 w 40"/>
                  <a:gd name="T17" fmla="*/ 9 h 56"/>
                  <a:gd name="T18" fmla="*/ 12 w 40"/>
                  <a:gd name="T19" fmla="*/ 12 h 56"/>
                  <a:gd name="T20" fmla="*/ 11 w 40"/>
                  <a:gd name="T21" fmla="*/ 19 h 56"/>
                  <a:gd name="T22" fmla="*/ 1 w 40"/>
                  <a:gd name="T23" fmla="*/ 19 h 56"/>
                  <a:gd name="T24" fmla="*/ 4 w 40"/>
                  <a:gd name="T25" fmla="*/ 6 h 56"/>
                  <a:gd name="T26" fmla="*/ 16 w 40"/>
                  <a:gd name="T27" fmla="*/ 1 h 56"/>
                  <a:gd name="T28" fmla="*/ 28 w 40"/>
                  <a:gd name="T29" fmla="*/ 3 h 56"/>
                  <a:gd name="T30" fmla="*/ 34 w 40"/>
                  <a:gd name="T31" fmla="*/ 13 h 56"/>
                  <a:gd name="T32" fmla="*/ 34 w 40"/>
                  <a:gd name="T33" fmla="*/ 20 h 56"/>
                  <a:gd name="T34" fmla="*/ 31 w 40"/>
                  <a:gd name="T35" fmla="*/ 27 h 56"/>
                  <a:gd name="T36" fmla="*/ 26 w 40"/>
                  <a:gd name="T37" fmla="*/ 35 h 56"/>
                  <a:gd name="T38" fmla="*/ 20 w 40"/>
                  <a:gd name="T39" fmla="*/ 42 h 56"/>
                  <a:gd name="T40" fmla="*/ 19 w 40"/>
                  <a:gd name="T41" fmla="*/ 45 h 56"/>
                  <a:gd name="T42" fmla="*/ 39 w 40"/>
                  <a:gd name="T43" fmla="*/ 42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40" h="56">
                    <a:moveTo>
                      <a:pt x="39" y="42"/>
                    </a:moveTo>
                    <a:cubicBezTo>
                      <a:pt x="40" y="51"/>
                      <a:pt x="40" y="51"/>
                      <a:pt x="40" y="51"/>
                    </a:cubicBezTo>
                    <a:cubicBezTo>
                      <a:pt x="5" y="56"/>
                      <a:pt x="5" y="56"/>
                      <a:pt x="5" y="56"/>
                    </a:cubicBezTo>
                    <a:cubicBezTo>
                      <a:pt x="5" y="53"/>
                      <a:pt x="5" y="49"/>
                      <a:pt x="7" y="46"/>
                    </a:cubicBezTo>
                    <a:cubicBezTo>
                      <a:pt x="8" y="42"/>
                      <a:pt x="11" y="38"/>
                      <a:pt x="16" y="32"/>
                    </a:cubicBezTo>
                    <a:cubicBezTo>
                      <a:pt x="20" y="27"/>
                      <a:pt x="22" y="23"/>
                      <a:pt x="23" y="22"/>
                    </a:cubicBezTo>
                    <a:cubicBezTo>
                      <a:pt x="24" y="19"/>
                      <a:pt x="25" y="17"/>
                      <a:pt x="24" y="15"/>
                    </a:cubicBezTo>
                    <a:cubicBezTo>
                      <a:pt x="24" y="13"/>
                      <a:pt x="23" y="11"/>
                      <a:pt x="22" y="10"/>
                    </a:cubicBezTo>
                    <a:cubicBezTo>
                      <a:pt x="21" y="9"/>
                      <a:pt x="19" y="9"/>
                      <a:pt x="17" y="9"/>
                    </a:cubicBezTo>
                    <a:cubicBezTo>
                      <a:pt x="15" y="10"/>
                      <a:pt x="13" y="11"/>
                      <a:pt x="12" y="12"/>
                    </a:cubicBezTo>
                    <a:cubicBezTo>
                      <a:pt x="11" y="13"/>
                      <a:pt x="10" y="16"/>
                      <a:pt x="11" y="19"/>
                    </a:cubicBezTo>
                    <a:cubicBezTo>
                      <a:pt x="1" y="19"/>
                      <a:pt x="1" y="19"/>
                      <a:pt x="1" y="19"/>
                    </a:cubicBezTo>
                    <a:cubicBezTo>
                      <a:pt x="0" y="13"/>
                      <a:pt x="2" y="9"/>
                      <a:pt x="4" y="6"/>
                    </a:cubicBezTo>
                    <a:cubicBezTo>
                      <a:pt x="7" y="3"/>
                      <a:pt x="11" y="2"/>
                      <a:pt x="16" y="1"/>
                    </a:cubicBezTo>
                    <a:cubicBezTo>
                      <a:pt x="21" y="0"/>
                      <a:pt x="25" y="1"/>
                      <a:pt x="28" y="3"/>
                    </a:cubicBezTo>
                    <a:cubicBezTo>
                      <a:pt x="32" y="6"/>
                      <a:pt x="34" y="9"/>
                      <a:pt x="34" y="13"/>
                    </a:cubicBezTo>
                    <a:cubicBezTo>
                      <a:pt x="35" y="15"/>
                      <a:pt x="35" y="18"/>
                      <a:pt x="34" y="20"/>
                    </a:cubicBezTo>
                    <a:cubicBezTo>
                      <a:pt x="34" y="22"/>
                      <a:pt x="33" y="25"/>
                      <a:pt x="31" y="27"/>
                    </a:cubicBezTo>
                    <a:cubicBezTo>
                      <a:pt x="30" y="29"/>
                      <a:pt x="28" y="32"/>
                      <a:pt x="26" y="35"/>
                    </a:cubicBezTo>
                    <a:cubicBezTo>
                      <a:pt x="23" y="38"/>
                      <a:pt x="21" y="41"/>
                      <a:pt x="20" y="42"/>
                    </a:cubicBezTo>
                    <a:cubicBezTo>
                      <a:pt x="20" y="43"/>
                      <a:pt x="19" y="44"/>
                      <a:pt x="19" y="45"/>
                    </a:cubicBezTo>
                    <a:lnTo>
                      <a:pt x="39" y="4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78" name="íṧlíḍe"/>
              <p:cNvSpPr/>
              <p:nvPr/>
            </p:nvSpPr>
            <p:spPr bwMode="auto">
              <a:xfrm>
                <a:off x="2611334" y="6072778"/>
                <a:ext cx="22225" cy="23813"/>
              </a:xfrm>
              <a:custGeom>
                <a:avLst/>
                <a:gdLst>
                  <a:gd name="T0" fmla="*/ 3 w 14"/>
                  <a:gd name="T1" fmla="*/ 15 h 15"/>
                  <a:gd name="T2" fmla="*/ 0 w 14"/>
                  <a:gd name="T3" fmla="*/ 3 h 15"/>
                  <a:gd name="T4" fmla="*/ 11 w 14"/>
                  <a:gd name="T5" fmla="*/ 0 h 15"/>
                  <a:gd name="T6" fmla="*/ 14 w 14"/>
                  <a:gd name="T7" fmla="*/ 12 h 15"/>
                  <a:gd name="T8" fmla="*/ 3 w 14"/>
                  <a:gd name="T9" fmla="*/ 15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4" h="15">
                    <a:moveTo>
                      <a:pt x="3" y="15"/>
                    </a:moveTo>
                    <a:lnTo>
                      <a:pt x="0" y="3"/>
                    </a:lnTo>
                    <a:lnTo>
                      <a:pt x="11" y="0"/>
                    </a:lnTo>
                    <a:lnTo>
                      <a:pt x="14" y="12"/>
                    </a:lnTo>
                    <a:lnTo>
                      <a:pt x="3" y="1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79" name="îŝľîḓê"/>
              <p:cNvSpPr/>
              <p:nvPr/>
            </p:nvSpPr>
            <p:spPr bwMode="auto">
              <a:xfrm>
                <a:off x="2108097" y="5261565"/>
                <a:ext cx="141288" cy="257175"/>
              </a:xfrm>
              <a:custGeom>
                <a:avLst/>
                <a:gdLst>
                  <a:gd name="T0" fmla="*/ 12 w 77"/>
                  <a:gd name="T1" fmla="*/ 25 h 139"/>
                  <a:gd name="T2" fmla="*/ 9 w 77"/>
                  <a:gd name="T3" fmla="*/ 21 h 139"/>
                  <a:gd name="T4" fmla="*/ 12 w 77"/>
                  <a:gd name="T5" fmla="*/ 17 h 139"/>
                  <a:gd name="T6" fmla="*/ 39 w 77"/>
                  <a:gd name="T7" fmla="*/ 21 h 139"/>
                  <a:gd name="T8" fmla="*/ 46 w 77"/>
                  <a:gd name="T9" fmla="*/ 36 h 139"/>
                  <a:gd name="T10" fmla="*/ 46 w 77"/>
                  <a:gd name="T11" fmla="*/ 39 h 139"/>
                  <a:gd name="T12" fmla="*/ 61 w 77"/>
                  <a:gd name="T13" fmla="*/ 33 h 139"/>
                  <a:gd name="T14" fmla="*/ 57 w 77"/>
                  <a:gd name="T15" fmla="*/ 16 h 139"/>
                  <a:gd name="T16" fmla="*/ 35 w 77"/>
                  <a:gd name="T17" fmla="*/ 9 h 139"/>
                  <a:gd name="T18" fmla="*/ 27 w 77"/>
                  <a:gd name="T19" fmla="*/ 3 h 139"/>
                  <a:gd name="T20" fmla="*/ 32 w 77"/>
                  <a:gd name="T21" fmla="*/ 0 h 139"/>
                  <a:gd name="T22" fmla="*/ 61 w 77"/>
                  <a:gd name="T23" fmla="*/ 9 h 139"/>
                  <a:gd name="T24" fmla="*/ 72 w 77"/>
                  <a:gd name="T25" fmla="*/ 30 h 139"/>
                  <a:gd name="T26" fmla="*/ 48 w 77"/>
                  <a:gd name="T27" fmla="*/ 45 h 139"/>
                  <a:gd name="T28" fmla="*/ 45 w 77"/>
                  <a:gd name="T29" fmla="*/ 46 h 139"/>
                  <a:gd name="T30" fmla="*/ 45 w 77"/>
                  <a:gd name="T31" fmla="*/ 54 h 139"/>
                  <a:gd name="T32" fmla="*/ 59 w 77"/>
                  <a:gd name="T33" fmla="*/ 61 h 139"/>
                  <a:gd name="T34" fmla="*/ 77 w 77"/>
                  <a:gd name="T35" fmla="*/ 80 h 139"/>
                  <a:gd name="T36" fmla="*/ 75 w 77"/>
                  <a:gd name="T37" fmla="*/ 84 h 139"/>
                  <a:gd name="T38" fmla="*/ 71 w 77"/>
                  <a:gd name="T39" fmla="*/ 83 h 139"/>
                  <a:gd name="T40" fmla="*/ 59 w 77"/>
                  <a:gd name="T41" fmla="*/ 70 h 139"/>
                  <a:gd name="T42" fmla="*/ 45 w 77"/>
                  <a:gd name="T43" fmla="*/ 63 h 139"/>
                  <a:gd name="T44" fmla="*/ 45 w 77"/>
                  <a:gd name="T45" fmla="*/ 77 h 139"/>
                  <a:gd name="T46" fmla="*/ 53 w 77"/>
                  <a:gd name="T47" fmla="*/ 83 h 139"/>
                  <a:gd name="T48" fmla="*/ 66 w 77"/>
                  <a:gd name="T49" fmla="*/ 102 h 139"/>
                  <a:gd name="T50" fmla="*/ 72 w 77"/>
                  <a:gd name="T51" fmla="*/ 121 h 139"/>
                  <a:gd name="T52" fmla="*/ 70 w 77"/>
                  <a:gd name="T53" fmla="*/ 124 h 139"/>
                  <a:gd name="T54" fmla="*/ 67 w 77"/>
                  <a:gd name="T55" fmla="*/ 122 h 139"/>
                  <a:gd name="T56" fmla="*/ 64 w 77"/>
                  <a:gd name="T57" fmla="*/ 115 h 139"/>
                  <a:gd name="T58" fmla="*/ 55 w 77"/>
                  <a:gd name="T59" fmla="*/ 97 h 139"/>
                  <a:gd name="T60" fmla="*/ 45 w 77"/>
                  <a:gd name="T61" fmla="*/ 87 h 139"/>
                  <a:gd name="T62" fmla="*/ 45 w 77"/>
                  <a:gd name="T63" fmla="*/ 102 h 139"/>
                  <a:gd name="T64" fmla="*/ 44 w 77"/>
                  <a:gd name="T65" fmla="*/ 136 h 139"/>
                  <a:gd name="T66" fmla="*/ 41 w 77"/>
                  <a:gd name="T67" fmla="*/ 139 h 139"/>
                  <a:gd name="T68" fmla="*/ 38 w 77"/>
                  <a:gd name="T69" fmla="*/ 137 h 139"/>
                  <a:gd name="T70" fmla="*/ 37 w 77"/>
                  <a:gd name="T71" fmla="*/ 103 h 139"/>
                  <a:gd name="T72" fmla="*/ 37 w 77"/>
                  <a:gd name="T73" fmla="*/ 86 h 139"/>
                  <a:gd name="T74" fmla="*/ 28 w 77"/>
                  <a:gd name="T75" fmla="*/ 92 h 139"/>
                  <a:gd name="T76" fmla="*/ 19 w 77"/>
                  <a:gd name="T77" fmla="*/ 109 h 139"/>
                  <a:gd name="T78" fmla="*/ 12 w 77"/>
                  <a:gd name="T79" fmla="*/ 121 h 139"/>
                  <a:gd name="T80" fmla="*/ 8 w 77"/>
                  <a:gd name="T81" fmla="*/ 122 h 139"/>
                  <a:gd name="T82" fmla="*/ 7 w 77"/>
                  <a:gd name="T83" fmla="*/ 120 h 139"/>
                  <a:gd name="T84" fmla="*/ 8 w 77"/>
                  <a:gd name="T85" fmla="*/ 117 h 139"/>
                  <a:gd name="T86" fmla="*/ 11 w 77"/>
                  <a:gd name="T87" fmla="*/ 106 h 139"/>
                  <a:gd name="T88" fmla="*/ 22 w 77"/>
                  <a:gd name="T89" fmla="*/ 86 h 139"/>
                  <a:gd name="T90" fmla="*/ 37 w 77"/>
                  <a:gd name="T91" fmla="*/ 76 h 139"/>
                  <a:gd name="T92" fmla="*/ 37 w 77"/>
                  <a:gd name="T93" fmla="*/ 68 h 139"/>
                  <a:gd name="T94" fmla="*/ 37 w 77"/>
                  <a:gd name="T95" fmla="*/ 63 h 139"/>
                  <a:gd name="T96" fmla="*/ 24 w 77"/>
                  <a:gd name="T97" fmla="*/ 69 h 139"/>
                  <a:gd name="T98" fmla="*/ 16 w 77"/>
                  <a:gd name="T99" fmla="*/ 77 h 139"/>
                  <a:gd name="T100" fmla="*/ 9 w 77"/>
                  <a:gd name="T101" fmla="*/ 85 h 139"/>
                  <a:gd name="T102" fmla="*/ 6 w 77"/>
                  <a:gd name="T103" fmla="*/ 86 h 139"/>
                  <a:gd name="T104" fmla="*/ 5 w 77"/>
                  <a:gd name="T105" fmla="*/ 82 h 139"/>
                  <a:gd name="T106" fmla="*/ 22 w 77"/>
                  <a:gd name="T107" fmla="*/ 60 h 139"/>
                  <a:gd name="T108" fmla="*/ 37 w 77"/>
                  <a:gd name="T109" fmla="*/ 54 h 139"/>
                  <a:gd name="T110" fmla="*/ 37 w 77"/>
                  <a:gd name="T111" fmla="*/ 47 h 139"/>
                  <a:gd name="T112" fmla="*/ 3 w 77"/>
                  <a:gd name="T113" fmla="*/ 45 h 139"/>
                  <a:gd name="T114" fmla="*/ 0 w 77"/>
                  <a:gd name="T115" fmla="*/ 40 h 139"/>
                  <a:gd name="T116" fmla="*/ 5 w 77"/>
                  <a:gd name="T117" fmla="*/ 38 h 139"/>
                  <a:gd name="T118" fmla="*/ 37 w 77"/>
                  <a:gd name="T119" fmla="*/ 39 h 139"/>
                  <a:gd name="T120" fmla="*/ 37 w 77"/>
                  <a:gd name="T121" fmla="*/ 39 h 139"/>
                  <a:gd name="T122" fmla="*/ 33 w 77"/>
                  <a:gd name="T123" fmla="*/ 28 h 139"/>
                  <a:gd name="T124" fmla="*/ 12 w 77"/>
                  <a:gd name="T125" fmla="*/ 25 h 1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77" h="139">
                    <a:moveTo>
                      <a:pt x="12" y="25"/>
                    </a:moveTo>
                    <a:cubicBezTo>
                      <a:pt x="10" y="25"/>
                      <a:pt x="9" y="24"/>
                      <a:pt x="9" y="21"/>
                    </a:cubicBezTo>
                    <a:cubicBezTo>
                      <a:pt x="9" y="18"/>
                      <a:pt x="10" y="17"/>
                      <a:pt x="12" y="17"/>
                    </a:cubicBezTo>
                    <a:cubicBezTo>
                      <a:pt x="24" y="17"/>
                      <a:pt x="33" y="18"/>
                      <a:pt x="39" y="21"/>
                    </a:cubicBezTo>
                    <a:cubicBezTo>
                      <a:pt x="45" y="24"/>
                      <a:pt x="47" y="28"/>
                      <a:pt x="46" y="36"/>
                    </a:cubicBezTo>
                    <a:cubicBezTo>
                      <a:pt x="46" y="37"/>
                      <a:pt x="46" y="38"/>
                      <a:pt x="46" y="39"/>
                    </a:cubicBezTo>
                    <a:cubicBezTo>
                      <a:pt x="53" y="38"/>
                      <a:pt x="58" y="35"/>
                      <a:pt x="61" y="33"/>
                    </a:cubicBezTo>
                    <a:cubicBezTo>
                      <a:pt x="65" y="27"/>
                      <a:pt x="64" y="22"/>
                      <a:pt x="57" y="16"/>
                    </a:cubicBezTo>
                    <a:cubicBezTo>
                      <a:pt x="52" y="12"/>
                      <a:pt x="44" y="9"/>
                      <a:pt x="35" y="9"/>
                    </a:cubicBezTo>
                    <a:cubicBezTo>
                      <a:pt x="30" y="8"/>
                      <a:pt x="28" y="6"/>
                      <a:pt x="27" y="3"/>
                    </a:cubicBezTo>
                    <a:cubicBezTo>
                      <a:pt x="27" y="1"/>
                      <a:pt x="29" y="0"/>
                      <a:pt x="32" y="0"/>
                    </a:cubicBezTo>
                    <a:cubicBezTo>
                      <a:pt x="44" y="0"/>
                      <a:pt x="53" y="3"/>
                      <a:pt x="61" y="9"/>
                    </a:cubicBezTo>
                    <a:cubicBezTo>
                      <a:pt x="69" y="16"/>
                      <a:pt x="73" y="23"/>
                      <a:pt x="72" y="30"/>
                    </a:cubicBezTo>
                    <a:cubicBezTo>
                      <a:pt x="68" y="37"/>
                      <a:pt x="60" y="43"/>
                      <a:pt x="48" y="45"/>
                    </a:cubicBezTo>
                    <a:cubicBezTo>
                      <a:pt x="47" y="46"/>
                      <a:pt x="46" y="46"/>
                      <a:pt x="45" y="46"/>
                    </a:cubicBezTo>
                    <a:cubicBezTo>
                      <a:pt x="45" y="48"/>
                      <a:pt x="45" y="51"/>
                      <a:pt x="45" y="54"/>
                    </a:cubicBezTo>
                    <a:cubicBezTo>
                      <a:pt x="49" y="54"/>
                      <a:pt x="54" y="57"/>
                      <a:pt x="59" y="61"/>
                    </a:cubicBezTo>
                    <a:cubicBezTo>
                      <a:pt x="66" y="66"/>
                      <a:pt x="72" y="72"/>
                      <a:pt x="77" y="80"/>
                    </a:cubicBezTo>
                    <a:cubicBezTo>
                      <a:pt x="77" y="82"/>
                      <a:pt x="77" y="83"/>
                      <a:pt x="75" y="84"/>
                    </a:cubicBezTo>
                    <a:cubicBezTo>
                      <a:pt x="74" y="85"/>
                      <a:pt x="72" y="85"/>
                      <a:pt x="71" y="83"/>
                    </a:cubicBezTo>
                    <a:cubicBezTo>
                      <a:pt x="69" y="80"/>
                      <a:pt x="65" y="76"/>
                      <a:pt x="59" y="70"/>
                    </a:cubicBezTo>
                    <a:cubicBezTo>
                      <a:pt x="54" y="66"/>
                      <a:pt x="49" y="64"/>
                      <a:pt x="45" y="63"/>
                    </a:cubicBezTo>
                    <a:cubicBezTo>
                      <a:pt x="45" y="77"/>
                      <a:pt x="45" y="77"/>
                      <a:pt x="45" y="77"/>
                    </a:cubicBezTo>
                    <a:cubicBezTo>
                      <a:pt x="48" y="78"/>
                      <a:pt x="51" y="80"/>
                      <a:pt x="53" y="83"/>
                    </a:cubicBezTo>
                    <a:cubicBezTo>
                      <a:pt x="59" y="88"/>
                      <a:pt x="63" y="94"/>
                      <a:pt x="66" y="102"/>
                    </a:cubicBezTo>
                    <a:cubicBezTo>
                      <a:pt x="71" y="109"/>
                      <a:pt x="73" y="116"/>
                      <a:pt x="72" y="121"/>
                    </a:cubicBezTo>
                    <a:cubicBezTo>
                      <a:pt x="72" y="122"/>
                      <a:pt x="72" y="123"/>
                      <a:pt x="70" y="124"/>
                    </a:cubicBezTo>
                    <a:cubicBezTo>
                      <a:pt x="69" y="124"/>
                      <a:pt x="68" y="124"/>
                      <a:pt x="67" y="122"/>
                    </a:cubicBezTo>
                    <a:cubicBezTo>
                      <a:pt x="67" y="121"/>
                      <a:pt x="66" y="118"/>
                      <a:pt x="64" y="115"/>
                    </a:cubicBezTo>
                    <a:cubicBezTo>
                      <a:pt x="60" y="107"/>
                      <a:pt x="57" y="102"/>
                      <a:pt x="55" y="97"/>
                    </a:cubicBezTo>
                    <a:cubicBezTo>
                      <a:pt x="51" y="91"/>
                      <a:pt x="48" y="88"/>
                      <a:pt x="45" y="87"/>
                    </a:cubicBezTo>
                    <a:cubicBezTo>
                      <a:pt x="45" y="102"/>
                      <a:pt x="45" y="102"/>
                      <a:pt x="45" y="102"/>
                    </a:cubicBezTo>
                    <a:cubicBezTo>
                      <a:pt x="45" y="117"/>
                      <a:pt x="45" y="128"/>
                      <a:pt x="44" y="136"/>
                    </a:cubicBezTo>
                    <a:cubicBezTo>
                      <a:pt x="43" y="137"/>
                      <a:pt x="42" y="138"/>
                      <a:pt x="41" y="139"/>
                    </a:cubicBezTo>
                    <a:cubicBezTo>
                      <a:pt x="40" y="139"/>
                      <a:pt x="39" y="139"/>
                      <a:pt x="38" y="137"/>
                    </a:cubicBezTo>
                    <a:cubicBezTo>
                      <a:pt x="37" y="135"/>
                      <a:pt x="37" y="123"/>
                      <a:pt x="37" y="103"/>
                    </a:cubicBezTo>
                    <a:cubicBezTo>
                      <a:pt x="37" y="97"/>
                      <a:pt x="37" y="92"/>
                      <a:pt x="37" y="86"/>
                    </a:cubicBezTo>
                    <a:cubicBezTo>
                      <a:pt x="34" y="87"/>
                      <a:pt x="31" y="89"/>
                      <a:pt x="28" y="92"/>
                    </a:cubicBezTo>
                    <a:cubicBezTo>
                      <a:pt x="24" y="98"/>
                      <a:pt x="21" y="103"/>
                      <a:pt x="19" y="109"/>
                    </a:cubicBezTo>
                    <a:cubicBezTo>
                      <a:pt x="17" y="113"/>
                      <a:pt x="15" y="117"/>
                      <a:pt x="12" y="121"/>
                    </a:cubicBezTo>
                    <a:cubicBezTo>
                      <a:pt x="11" y="122"/>
                      <a:pt x="9" y="122"/>
                      <a:pt x="8" y="122"/>
                    </a:cubicBezTo>
                    <a:cubicBezTo>
                      <a:pt x="7" y="122"/>
                      <a:pt x="7" y="121"/>
                      <a:pt x="7" y="120"/>
                    </a:cubicBezTo>
                    <a:cubicBezTo>
                      <a:pt x="7" y="119"/>
                      <a:pt x="7" y="118"/>
                      <a:pt x="8" y="117"/>
                    </a:cubicBezTo>
                    <a:cubicBezTo>
                      <a:pt x="9" y="112"/>
                      <a:pt x="10" y="108"/>
                      <a:pt x="11" y="106"/>
                    </a:cubicBezTo>
                    <a:cubicBezTo>
                      <a:pt x="13" y="101"/>
                      <a:pt x="17" y="94"/>
                      <a:pt x="22" y="86"/>
                    </a:cubicBezTo>
                    <a:cubicBezTo>
                      <a:pt x="27" y="80"/>
                      <a:pt x="32" y="77"/>
                      <a:pt x="37" y="76"/>
                    </a:cubicBezTo>
                    <a:cubicBezTo>
                      <a:pt x="37" y="68"/>
                      <a:pt x="37" y="68"/>
                      <a:pt x="37" y="68"/>
                    </a:cubicBezTo>
                    <a:cubicBezTo>
                      <a:pt x="37" y="63"/>
                      <a:pt x="37" y="63"/>
                      <a:pt x="37" y="63"/>
                    </a:cubicBezTo>
                    <a:cubicBezTo>
                      <a:pt x="33" y="64"/>
                      <a:pt x="29" y="66"/>
                      <a:pt x="24" y="69"/>
                    </a:cubicBezTo>
                    <a:cubicBezTo>
                      <a:pt x="23" y="70"/>
                      <a:pt x="20" y="72"/>
                      <a:pt x="16" y="77"/>
                    </a:cubicBezTo>
                    <a:cubicBezTo>
                      <a:pt x="13" y="81"/>
                      <a:pt x="11" y="83"/>
                      <a:pt x="9" y="85"/>
                    </a:cubicBezTo>
                    <a:cubicBezTo>
                      <a:pt x="8" y="86"/>
                      <a:pt x="7" y="87"/>
                      <a:pt x="6" y="86"/>
                    </a:cubicBezTo>
                    <a:cubicBezTo>
                      <a:pt x="5" y="86"/>
                      <a:pt x="5" y="84"/>
                      <a:pt x="5" y="82"/>
                    </a:cubicBezTo>
                    <a:cubicBezTo>
                      <a:pt x="10" y="73"/>
                      <a:pt x="15" y="65"/>
                      <a:pt x="22" y="60"/>
                    </a:cubicBezTo>
                    <a:cubicBezTo>
                      <a:pt x="27" y="56"/>
                      <a:pt x="32" y="54"/>
                      <a:pt x="37" y="54"/>
                    </a:cubicBezTo>
                    <a:cubicBezTo>
                      <a:pt x="37" y="47"/>
                      <a:pt x="37" y="47"/>
                      <a:pt x="37" y="47"/>
                    </a:cubicBezTo>
                    <a:cubicBezTo>
                      <a:pt x="22" y="49"/>
                      <a:pt x="10" y="48"/>
                      <a:pt x="3" y="45"/>
                    </a:cubicBezTo>
                    <a:cubicBezTo>
                      <a:pt x="1" y="44"/>
                      <a:pt x="0" y="42"/>
                      <a:pt x="0" y="40"/>
                    </a:cubicBezTo>
                    <a:cubicBezTo>
                      <a:pt x="1" y="38"/>
                      <a:pt x="3" y="38"/>
                      <a:pt x="5" y="38"/>
                    </a:cubicBezTo>
                    <a:cubicBezTo>
                      <a:pt x="12" y="40"/>
                      <a:pt x="22" y="40"/>
                      <a:pt x="37" y="39"/>
                    </a:cubicBezTo>
                    <a:cubicBezTo>
                      <a:pt x="37" y="39"/>
                      <a:pt x="37" y="39"/>
                      <a:pt x="37" y="39"/>
                    </a:cubicBezTo>
                    <a:cubicBezTo>
                      <a:pt x="38" y="32"/>
                      <a:pt x="36" y="29"/>
                      <a:pt x="33" y="28"/>
                    </a:cubicBezTo>
                    <a:cubicBezTo>
                      <a:pt x="26" y="25"/>
                      <a:pt x="19" y="24"/>
                      <a:pt x="12" y="2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80" name="íṣlíḑe"/>
              <p:cNvSpPr/>
              <p:nvPr/>
            </p:nvSpPr>
            <p:spPr bwMode="auto">
              <a:xfrm>
                <a:off x="2273197" y="5255215"/>
                <a:ext cx="163513" cy="263525"/>
              </a:xfrm>
              <a:custGeom>
                <a:avLst/>
                <a:gdLst>
                  <a:gd name="T0" fmla="*/ 47 w 88"/>
                  <a:gd name="T1" fmla="*/ 8 h 143"/>
                  <a:gd name="T2" fmla="*/ 74 w 88"/>
                  <a:gd name="T3" fmla="*/ 14 h 143"/>
                  <a:gd name="T4" fmla="*/ 82 w 88"/>
                  <a:gd name="T5" fmla="*/ 26 h 143"/>
                  <a:gd name="T6" fmla="*/ 79 w 88"/>
                  <a:gd name="T7" fmla="*/ 75 h 143"/>
                  <a:gd name="T8" fmla="*/ 86 w 88"/>
                  <a:gd name="T9" fmla="*/ 136 h 143"/>
                  <a:gd name="T10" fmla="*/ 73 w 88"/>
                  <a:gd name="T11" fmla="*/ 45 h 143"/>
                  <a:gd name="T12" fmla="*/ 67 w 88"/>
                  <a:gd name="T13" fmla="*/ 44 h 143"/>
                  <a:gd name="T14" fmla="*/ 54 w 88"/>
                  <a:gd name="T15" fmla="*/ 58 h 143"/>
                  <a:gd name="T16" fmla="*/ 22 w 88"/>
                  <a:gd name="T17" fmla="*/ 54 h 143"/>
                  <a:gd name="T18" fmla="*/ 15 w 88"/>
                  <a:gd name="T19" fmla="*/ 45 h 143"/>
                  <a:gd name="T20" fmla="*/ 11 w 88"/>
                  <a:gd name="T21" fmla="*/ 91 h 143"/>
                  <a:gd name="T22" fmla="*/ 9 w 88"/>
                  <a:gd name="T23" fmla="*/ 118 h 143"/>
                  <a:gd name="T24" fmla="*/ 2 w 88"/>
                  <a:gd name="T25" fmla="*/ 139 h 143"/>
                  <a:gd name="T26" fmla="*/ 6 w 88"/>
                  <a:gd name="T27" fmla="*/ 80 h 143"/>
                  <a:gd name="T28" fmla="*/ 2 w 88"/>
                  <a:gd name="T29" fmla="*/ 26 h 143"/>
                  <a:gd name="T30" fmla="*/ 32 w 88"/>
                  <a:gd name="T31" fmla="*/ 10 h 143"/>
                  <a:gd name="T32" fmla="*/ 39 w 88"/>
                  <a:gd name="T33" fmla="*/ 0 h 143"/>
                  <a:gd name="T34" fmla="*/ 24 w 88"/>
                  <a:gd name="T35" fmla="*/ 23 h 143"/>
                  <a:gd name="T36" fmla="*/ 66 w 88"/>
                  <a:gd name="T37" fmla="*/ 29 h 143"/>
                  <a:gd name="T38" fmla="*/ 67 w 88"/>
                  <a:gd name="T39" fmla="*/ 37 h 143"/>
                  <a:gd name="T40" fmla="*/ 73 w 88"/>
                  <a:gd name="T41" fmla="*/ 34 h 143"/>
                  <a:gd name="T42" fmla="*/ 66 w 88"/>
                  <a:gd name="T43" fmla="*/ 20 h 143"/>
                  <a:gd name="T44" fmla="*/ 13 w 88"/>
                  <a:gd name="T45" fmla="*/ 21 h 143"/>
                  <a:gd name="T46" fmla="*/ 12 w 88"/>
                  <a:gd name="T47" fmla="*/ 32 h 143"/>
                  <a:gd name="T48" fmla="*/ 17 w 88"/>
                  <a:gd name="T49" fmla="*/ 38 h 143"/>
                  <a:gd name="T50" fmla="*/ 24 w 88"/>
                  <a:gd name="T51" fmla="*/ 23 h 143"/>
                  <a:gd name="T52" fmla="*/ 61 w 88"/>
                  <a:gd name="T53" fmla="*/ 64 h 143"/>
                  <a:gd name="T54" fmla="*/ 66 w 88"/>
                  <a:gd name="T55" fmla="*/ 96 h 143"/>
                  <a:gd name="T56" fmla="*/ 61 w 88"/>
                  <a:gd name="T57" fmla="*/ 136 h 143"/>
                  <a:gd name="T58" fmla="*/ 59 w 88"/>
                  <a:gd name="T59" fmla="*/ 143 h 143"/>
                  <a:gd name="T60" fmla="*/ 46 w 88"/>
                  <a:gd name="T61" fmla="*/ 105 h 143"/>
                  <a:gd name="T62" fmla="*/ 30 w 88"/>
                  <a:gd name="T63" fmla="*/ 140 h 143"/>
                  <a:gd name="T64" fmla="*/ 26 w 88"/>
                  <a:gd name="T65" fmla="*/ 137 h 143"/>
                  <a:gd name="T66" fmla="*/ 32 w 88"/>
                  <a:gd name="T67" fmla="*/ 121 h 143"/>
                  <a:gd name="T68" fmla="*/ 35 w 88"/>
                  <a:gd name="T69" fmla="*/ 105 h 143"/>
                  <a:gd name="T70" fmla="*/ 18 w 88"/>
                  <a:gd name="T71" fmla="*/ 75 h 143"/>
                  <a:gd name="T72" fmla="*/ 24 w 88"/>
                  <a:gd name="T73" fmla="*/ 35 h 143"/>
                  <a:gd name="T74" fmla="*/ 39 w 88"/>
                  <a:gd name="T75" fmla="*/ 37 h 143"/>
                  <a:gd name="T76" fmla="*/ 34 w 88"/>
                  <a:gd name="T77" fmla="*/ 29 h 143"/>
                  <a:gd name="T78" fmla="*/ 24 w 88"/>
                  <a:gd name="T79" fmla="*/ 35 h 143"/>
                  <a:gd name="T80" fmla="*/ 62 w 88"/>
                  <a:gd name="T81" fmla="*/ 84 h 143"/>
                  <a:gd name="T82" fmla="*/ 43 w 88"/>
                  <a:gd name="T83" fmla="*/ 81 h 143"/>
                  <a:gd name="T84" fmla="*/ 25 w 88"/>
                  <a:gd name="T85" fmla="*/ 87 h 143"/>
                  <a:gd name="T86" fmla="*/ 26 w 88"/>
                  <a:gd name="T87" fmla="*/ 48 h 143"/>
                  <a:gd name="T88" fmla="*/ 38 w 88"/>
                  <a:gd name="T89" fmla="*/ 52 h 143"/>
                  <a:gd name="T90" fmla="*/ 25 w 88"/>
                  <a:gd name="T91" fmla="*/ 44 h 143"/>
                  <a:gd name="T92" fmla="*/ 32 w 88"/>
                  <a:gd name="T93" fmla="*/ 69 h 143"/>
                  <a:gd name="T94" fmla="*/ 41 w 88"/>
                  <a:gd name="T95" fmla="*/ 75 h 143"/>
                  <a:gd name="T96" fmla="*/ 57 w 88"/>
                  <a:gd name="T97" fmla="*/ 70 h 143"/>
                  <a:gd name="T98" fmla="*/ 56 w 88"/>
                  <a:gd name="T99" fmla="*/ 98 h 143"/>
                  <a:gd name="T100" fmla="*/ 54 w 88"/>
                  <a:gd name="T101" fmla="*/ 93 h 143"/>
                  <a:gd name="T102" fmla="*/ 36 w 88"/>
                  <a:gd name="T103" fmla="*/ 93 h 143"/>
                  <a:gd name="T104" fmla="*/ 32 w 88"/>
                  <a:gd name="T105" fmla="*/ 98 h 143"/>
                  <a:gd name="T106" fmla="*/ 56 w 88"/>
                  <a:gd name="T107" fmla="*/ 29 h 143"/>
                  <a:gd name="T108" fmla="*/ 46 w 88"/>
                  <a:gd name="T109" fmla="*/ 29 h 143"/>
                  <a:gd name="T110" fmla="*/ 60 w 88"/>
                  <a:gd name="T111" fmla="*/ 37 h 143"/>
                  <a:gd name="T112" fmla="*/ 56 w 88"/>
                  <a:gd name="T113" fmla="*/ 29 h 143"/>
                  <a:gd name="T114" fmla="*/ 60 w 88"/>
                  <a:gd name="T115" fmla="*/ 43 h 143"/>
                  <a:gd name="T116" fmla="*/ 46 w 88"/>
                  <a:gd name="T117" fmla="*/ 52 h 143"/>
                  <a:gd name="T118" fmla="*/ 59 w 88"/>
                  <a:gd name="T119" fmla="*/ 48 h 1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88" h="143">
                    <a:moveTo>
                      <a:pt x="43" y="2"/>
                    </a:moveTo>
                    <a:cubicBezTo>
                      <a:pt x="45" y="3"/>
                      <a:pt x="47" y="6"/>
                      <a:pt x="47" y="8"/>
                    </a:cubicBezTo>
                    <a:cubicBezTo>
                      <a:pt x="47" y="9"/>
                      <a:pt x="48" y="10"/>
                      <a:pt x="49" y="10"/>
                    </a:cubicBezTo>
                    <a:cubicBezTo>
                      <a:pt x="57" y="10"/>
                      <a:pt x="66" y="12"/>
                      <a:pt x="74" y="14"/>
                    </a:cubicBezTo>
                    <a:cubicBezTo>
                      <a:pt x="78" y="16"/>
                      <a:pt x="81" y="18"/>
                      <a:pt x="81" y="19"/>
                    </a:cubicBezTo>
                    <a:cubicBezTo>
                      <a:pt x="82" y="21"/>
                      <a:pt x="82" y="24"/>
                      <a:pt x="82" y="26"/>
                    </a:cubicBezTo>
                    <a:cubicBezTo>
                      <a:pt x="82" y="27"/>
                      <a:pt x="82" y="27"/>
                      <a:pt x="82" y="28"/>
                    </a:cubicBezTo>
                    <a:cubicBezTo>
                      <a:pt x="79" y="39"/>
                      <a:pt x="78" y="55"/>
                      <a:pt x="79" y="75"/>
                    </a:cubicBezTo>
                    <a:cubicBezTo>
                      <a:pt x="80" y="87"/>
                      <a:pt x="83" y="106"/>
                      <a:pt x="87" y="131"/>
                    </a:cubicBezTo>
                    <a:cubicBezTo>
                      <a:pt x="88" y="134"/>
                      <a:pt x="87" y="135"/>
                      <a:pt x="86" y="136"/>
                    </a:cubicBezTo>
                    <a:cubicBezTo>
                      <a:pt x="84" y="137"/>
                      <a:pt x="82" y="136"/>
                      <a:pt x="82" y="133"/>
                    </a:cubicBezTo>
                    <a:cubicBezTo>
                      <a:pt x="74" y="106"/>
                      <a:pt x="71" y="76"/>
                      <a:pt x="73" y="45"/>
                    </a:cubicBezTo>
                    <a:cubicBezTo>
                      <a:pt x="72" y="45"/>
                      <a:pt x="71" y="44"/>
                      <a:pt x="70" y="44"/>
                    </a:cubicBezTo>
                    <a:cubicBezTo>
                      <a:pt x="69" y="44"/>
                      <a:pt x="68" y="44"/>
                      <a:pt x="67" y="44"/>
                    </a:cubicBezTo>
                    <a:cubicBezTo>
                      <a:pt x="67" y="48"/>
                      <a:pt x="66" y="51"/>
                      <a:pt x="64" y="54"/>
                    </a:cubicBezTo>
                    <a:cubicBezTo>
                      <a:pt x="62" y="57"/>
                      <a:pt x="59" y="59"/>
                      <a:pt x="54" y="58"/>
                    </a:cubicBezTo>
                    <a:cubicBezTo>
                      <a:pt x="47" y="58"/>
                      <a:pt x="39" y="58"/>
                      <a:pt x="32" y="58"/>
                    </a:cubicBezTo>
                    <a:cubicBezTo>
                      <a:pt x="28" y="59"/>
                      <a:pt x="25" y="58"/>
                      <a:pt x="22" y="54"/>
                    </a:cubicBezTo>
                    <a:cubicBezTo>
                      <a:pt x="20" y="51"/>
                      <a:pt x="19" y="48"/>
                      <a:pt x="18" y="45"/>
                    </a:cubicBezTo>
                    <a:cubicBezTo>
                      <a:pt x="17" y="45"/>
                      <a:pt x="16" y="45"/>
                      <a:pt x="15" y="45"/>
                    </a:cubicBezTo>
                    <a:cubicBezTo>
                      <a:pt x="14" y="45"/>
                      <a:pt x="13" y="45"/>
                      <a:pt x="13" y="45"/>
                    </a:cubicBezTo>
                    <a:cubicBezTo>
                      <a:pt x="13" y="60"/>
                      <a:pt x="13" y="75"/>
                      <a:pt x="11" y="91"/>
                    </a:cubicBezTo>
                    <a:cubicBezTo>
                      <a:pt x="11" y="95"/>
                      <a:pt x="11" y="102"/>
                      <a:pt x="10" y="111"/>
                    </a:cubicBezTo>
                    <a:cubicBezTo>
                      <a:pt x="10" y="108"/>
                      <a:pt x="10" y="111"/>
                      <a:pt x="9" y="118"/>
                    </a:cubicBezTo>
                    <a:cubicBezTo>
                      <a:pt x="9" y="124"/>
                      <a:pt x="8" y="130"/>
                      <a:pt x="6" y="134"/>
                    </a:cubicBezTo>
                    <a:cubicBezTo>
                      <a:pt x="5" y="138"/>
                      <a:pt x="3" y="139"/>
                      <a:pt x="2" y="139"/>
                    </a:cubicBezTo>
                    <a:cubicBezTo>
                      <a:pt x="0" y="139"/>
                      <a:pt x="0" y="137"/>
                      <a:pt x="0" y="133"/>
                    </a:cubicBezTo>
                    <a:cubicBezTo>
                      <a:pt x="3" y="112"/>
                      <a:pt x="5" y="94"/>
                      <a:pt x="6" y="80"/>
                    </a:cubicBezTo>
                    <a:cubicBezTo>
                      <a:pt x="8" y="64"/>
                      <a:pt x="7" y="51"/>
                      <a:pt x="6" y="38"/>
                    </a:cubicBezTo>
                    <a:cubicBezTo>
                      <a:pt x="5" y="34"/>
                      <a:pt x="4" y="30"/>
                      <a:pt x="2" y="26"/>
                    </a:cubicBezTo>
                    <a:cubicBezTo>
                      <a:pt x="0" y="21"/>
                      <a:pt x="1" y="17"/>
                      <a:pt x="6" y="16"/>
                    </a:cubicBezTo>
                    <a:cubicBezTo>
                      <a:pt x="14" y="12"/>
                      <a:pt x="23" y="11"/>
                      <a:pt x="32" y="10"/>
                    </a:cubicBezTo>
                    <a:cubicBezTo>
                      <a:pt x="36" y="9"/>
                      <a:pt x="38" y="7"/>
                      <a:pt x="38" y="4"/>
                    </a:cubicBezTo>
                    <a:cubicBezTo>
                      <a:pt x="38" y="2"/>
                      <a:pt x="38" y="1"/>
                      <a:pt x="39" y="0"/>
                    </a:cubicBezTo>
                    <a:cubicBezTo>
                      <a:pt x="41" y="0"/>
                      <a:pt x="42" y="0"/>
                      <a:pt x="43" y="2"/>
                    </a:cubicBezTo>
                    <a:close/>
                    <a:moveTo>
                      <a:pt x="24" y="23"/>
                    </a:moveTo>
                    <a:cubicBezTo>
                      <a:pt x="33" y="22"/>
                      <a:pt x="44" y="22"/>
                      <a:pt x="58" y="23"/>
                    </a:cubicBezTo>
                    <a:cubicBezTo>
                      <a:pt x="63" y="24"/>
                      <a:pt x="66" y="26"/>
                      <a:pt x="66" y="29"/>
                    </a:cubicBezTo>
                    <a:cubicBezTo>
                      <a:pt x="66" y="30"/>
                      <a:pt x="66" y="30"/>
                      <a:pt x="67" y="31"/>
                    </a:cubicBezTo>
                    <a:cubicBezTo>
                      <a:pt x="67" y="33"/>
                      <a:pt x="67" y="35"/>
                      <a:pt x="67" y="37"/>
                    </a:cubicBezTo>
                    <a:cubicBezTo>
                      <a:pt x="69" y="38"/>
                      <a:pt x="71" y="38"/>
                      <a:pt x="73" y="38"/>
                    </a:cubicBezTo>
                    <a:cubicBezTo>
                      <a:pt x="73" y="37"/>
                      <a:pt x="73" y="36"/>
                      <a:pt x="73" y="34"/>
                    </a:cubicBezTo>
                    <a:cubicBezTo>
                      <a:pt x="73" y="32"/>
                      <a:pt x="73" y="30"/>
                      <a:pt x="74" y="29"/>
                    </a:cubicBezTo>
                    <a:cubicBezTo>
                      <a:pt x="75" y="25"/>
                      <a:pt x="72" y="21"/>
                      <a:pt x="66" y="20"/>
                    </a:cubicBezTo>
                    <a:cubicBezTo>
                      <a:pt x="58" y="17"/>
                      <a:pt x="50" y="16"/>
                      <a:pt x="40" y="16"/>
                    </a:cubicBezTo>
                    <a:cubicBezTo>
                      <a:pt x="29" y="16"/>
                      <a:pt x="20" y="18"/>
                      <a:pt x="13" y="21"/>
                    </a:cubicBezTo>
                    <a:cubicBezTo>
                      <a:pt x="11" y="22"/>
                      <a:pt x="11" y="24"/>
                      <a:pt x="11" y="26"/>
                    </a:cubicBezTo>
                    <a:cubicBezTo>
                      <a:pt x="11" y="28"/>
                      <a:pt x="12" y="30"/>
                      <a:pt x="12" y="32"/>
                    </a:cubicBezTo>
                    <a:cubicBezTo>
                      <a:pt x="12" y="35"/>
                      <a:pt x="12" y="37"/>
                      <a:pt x="12" y="38"/>
                    </a:cubicBezTo>
                    <a:cubicBezTo>
                      <a:pt x="14" y="38"/>
                      <a:pt x="15" y="38"/>
                      <a:pt x="17" y="38"/>
                    </a:cubicBezTo>
                    <a:cubicBezTo>
                      <a:pt x="17" y="35"/>
                      <a:pt x="17" y="32"/>
                      <a:pt x="17" y="30"/>
                    </a:cubicBezTo>
                    <a:cubicBezTo>
                      <a:pt x="18" y="26"/>
                      <a:pt x="20" y="24"/>
                      <a:pt x="24" y="23"/>
                    </a:cubicBezTo>
                    <a:close/>
                    <a:moveTo>
                      <a:pt x="28" y="64"/>
                    </a:moveTo>
                    <a:cubicBezTo>
                      <a:pt x="39" y="62"/>
                      <a:pt x="50" y="62"/>
                      <a:pt x="61" y="64"/>
                    </a:cubicBezTo>
                    <a:cubicBezTo>
                      <a:pt x="65" y="65"/>
                      <a:pt x="67" y="67"/>
                      <a:pt x="67" y="71"/>
                    </a:cubicBezTo>
                    <a:cubicBezTo>
                      <a:pt x="69" y="79"/>
                      <a:pt x="68" y="88"/>
                      <a:pt x="66" y="96"/>
                    </a:cubicBezTo>
                    <a:cubicBezTo>
                      <a:pt x="65" y="102"/>
                      <a:pt x="61" y="105"/>
                      <a:pt x="54" y="105"/>
                    </a:cubicBezTo>
                    <a:cubicBezTo>
                      <a:pt x="55" y="115"/>
                      <a:pt x="57" y="125"/>
                      <a:pt x="61" y="136"/>
                    </a:cubicBezTo>
                    <a:cubicBezTo>
                      <a:pt x="63" y="138"/>
                      <a:pt x="63" y="140"/>
                      <a:pt x="61" y="142"/>
                    </a:cubicBezTo>
                    <a:cubicBezTo>
                      <a:pt x="60" y="142"/>
                      <a:pt x="59" y="143"/>
                      <a:pt x="59" y="143"/>
                    </a:cubicBezTo>
                    <a:cubicBezTo>
                      <a:pt x="58" y="143"/>
                      <a:pt x="57" y="142"/>
                      <a:pt x="57" y="141"/>
                    </a:cubicBezTo>
                    <a:cubicBezTo>
                      <a:pt x="52" y="131"/>
                      <a:pt x="48" y="120"/>
                      <a:pt x="46" y="105"/>
                    </a:cubicBezTo>
                    <a:cubicBezTo>
                      <a:pt x="41" y="105"/>
                      <a:pt x="41" y="105"/>
                      <a:pt x="41" y="105"/>
                    </a:cubicBezTo>
                    <a:cubicBezTo>
                      <a:pt x="40" y="120"/>
                      <a:pt x="37" y="131"/>
                      <a:pt x="30" y="140"/>
                    </a:cubicBezTo>
                    <a:cubicBezTo>
                      <a:pt x="29" y="141"/>
                      <a:pt x="27" y="142"/>
                      <a:pt x="26" y="142"/>
                    </a:cubicBezTo>
                    <a:cubicBezTo>
                      <a:pt x="25" y="141"/>
                      <a:pt x="25" y="139"/>
                      <a:pt x="26" y="137"/>
                    </a:cubicBezTo>
                    <a:cubicBezTo>
                      <a:pt x="26" y="137"/>
                      <a:pt x="26" y="135"/>
                      <a:pt x="28" y="132"/>
                    </a:cubicBezTo>
                    <a:cubicBezTo>
                      <a:pt x="30" y="127"/>
                      <a:pt x="32" y="123"/>
                      <a:pt x="32" y="121"/>
                    </a:cubicBezTo>
                    <a:cubicBezTo>
                      <a:pt x="33" y="118"/>
                      <a:pt x="34" y="113"/>
                      <a:pt x="35" y="107"/>
                    </a:cubicBezTo>
                    <a:cubicBezTo>
                      <a:pt x="35" y="106"/>
                      <a:pt x="35" y="106"/>
                      <a:pt x="35" y="105"/>
                    </a:cubicBezTo>
                    <a:cubicBezTo>
                      <a:pt x="29" y="105"/>
                      <a:pt x="25" y="103"/>
                      <a:pt x="22" y="98"/>
                    </a:cubicBezTo>
                    <a:cubicBezTo>
                      <a:pt x="19" y="93"/>
                      <a:pt x="17" y="85"/>
                      <a:pt x="18" y="75"/>
                    </a:cubicBezTo>
                    <a:cubicBezTo>
                      <a:pt x="19" y="68"/>
                      <a:pt x="22" y="65"/>
                      <a:pt x="28" y="64"/>
                    </a:cubicBezTo>
                    <a:close/>
                    <a:moveTo>
                      <a:pt x="24" y="35"/>
                    </a:moveTo>
                    <a:cubicBezTo>
                      <a:pt x="24" y="36"/>
                      <a:pt x="24" y="36"/>
                      <a:pt x="24" y="37"/>
                    </a:cubicBezTo>
                    <a:cubicBezTo>
                      <a:pt x="29" y="37"/>
                      <a:pt x="34" y="37"/>
                      <a:pt x="39" y="37"/>
                    </a:cubicBezTo>
                    <a:cubicBezTo>
                      <a:pt x="39" y="34"/>
                      <a:pt x="38" y="31"/>
                      <a:pt x="38" y="29"/>
                    </a:cubicBezTo>
                    <a:cubicBezTo>
                      <a:pt x="37" y="29"/>
                      <a:pt x="36" y="29"/>
                      <a:pt x="34" y="29"/>
                    </a:cubicBezTo>
                    <a:cubicBezTo>
                      <a:pt x="31" y="29"/>
                      <a:pt x="30" y="29"/>
                      <a:pt x="28" y="29"/>
                    </a:cubicBezTo>
                    <a:cubicBezTo>
                      <a:pt x="25" y="31"/>
                      <a:pt x="24" y="32"/>
                      <a:pt x="24" y="35"/>
                    </a:cubicBezTo>
                    <a:close/>
                    <a:moveTo>
                      <a:pt x="61" y="87"/>
                    </a:moveTo>
                    <a:cubicBezTo>
                      <a:pt x="61" y="86"/>
                      <a:pt x="62" y="85"/>
                      <a:pt x="62" y="84"/>
                    </a:cubicBezTo>
                    <a:cubicBezTo>
                      <a:pt x="62" y="83"/>
                      <a:pt x="62" y="82"/>
                      <a:pt x="62" y="82"/>
                    </a:cubicBezTo>
                    <a:cubicBezTo>
                      <a:pt x="56" y="81"/>
                      <a:pt x="50" y="80"/>
                      <a:pt x="43" y="81"/>
                    </a:cubicBezTo>
                    <a:cubicBezTo>
                      <a:pt x="37" y="81"/>
                      <a:pt x="31" y="82"/>
                      <a:pt x="24" y="83"/>
                    </a:cubicBezTo>
                    <a:cubicBezTo>
                      <a:pt x="25" y="87"/>
                      <a:pt x="25" y="87"/>
                      <a:pt x="25" y="87"/>
                    </a:cubicBezTo>
                    <a:cubicBezTo>
                      <a:pt x="35" y="86"/>
                      <a:pt x="48" y="86"/>
                      <a:pt x="61" y="87"/>
                    </a:cubicBezTo>
                    <a:close/>
                    <a:moveTo>
                      <a:pt x="26" y="48"/>
                    </a:moveTo>
                    <a:cubicBezTo>
                      <a:pt x="28" y="51"/>
                      <a:pt x="30" y="52"/>
                      <a:pt x="35" y="52"/>
                    </a:cubicBezTo>
                    <a:cubicBezTo>
                      <a:pt x="38" y="52"/>
                      <a:pt x="38" y="52"/>
                      <a:pt x="38" y="52"/>
                    </a:cubicBezTo>
                    <a:cubicBezTo>
                      <a:pt x="38" y="49"/>
                      <a:pt x="39" y="46"/>
                      <a:pt x="39" y="44"/>
                    </a:cubicBezTo>
                    <a:cubicBezTo>
                      <a:pt x="34" y="44"/>
                      <a:pt x="30" y="44"/>
                      <a:pt x="25" y="44"/>
                    </a:cubicBezTo>
                    <a:cubicBezTo>
                      <a:pt x="25" y="46"/>
                      <a:pt x="25" y="47"/>
                      <a:pt x="26" y="48"/>
                    </a:cubicBezTo>
                    <a:close/>
                    <a:moveTo>
                      <a:pt x="32" y="69"/>
                    </a:moveTo>
                    <a:cubicBezTo>
                      <a:pt x="28" y="70"/>
                      <a:pt x="25" y="72"/>
                      <a:pt x="25" y="76"/>
                    </a:cubicBezTo>
                    <a:cubicBezTo>
                      <a:pt x="30" y="75"/>
                      <a:pt x="35" y="75"/>
                      <a:pt x="41" y="75"/>
                    </a:cubicBezTo>
                    <a:cubicBezTo>
                      <a:pt x="46" y="74"/>
                      <a:pt x="53" y="74"/>
                      <a:pt x="61" y="75"/>
                    </a:cubicBezTo>
                    <a:cubicBezTo>
                      <a:pt x="61" y="72"/>
                      <a:pt x="59" y="71"/>
                      <a:pt x="57" y="70"/>
                    </a:cubicBezTo>
                    <a:cubicBezTo>
                      <a:pt x="49" y="68"/>
                      <a:pt x="40" y="68"/>
                      <a:pt x="32" y="69"/>
                    </a:cubicBezTo>
                    <a:close/>
                    <a:moveTo>
                      <a:pt x="56" y="98"/>
                    </a:moveTo>
                    <a:cubicBezTo>
                      <a:pt x="59" y="97"/>
                      <a:pt x="60" y="96"/>
                      <a:pt x="61" y="93"/>
                    </a:cubicBezTo>
                    <a:cubicBezTo>
                      <a:pt x="60" y="93"/>
                      <a:pt x="57" y="93"/>
                      <a:pt x="54" y="93"/>
                    </a:cubicBezTo>
                    <a:cubicBezTo>
                      <a:pt x="48" y="92"/>
                      <a:pt x="44" y="92"/>
                      <a:pt x="41" y="92"/>
                    </a:cubicBezTo>
                    <a:cubicBezTo>
                      <a:pt x="40" y="92"/>
                      <a:pt x="38" y="92"/>
                      <a:pt x="36" y="93"/>
                    </a:cubicBezTo>
                    <a:cubicBezTo>
                      <a:pt x="31" y="93"/>
                      <a:pt x="28" y="94"/>
                      <a:pt x="26" y="94"/>
                    </a:cubicBezTo>
                    <a:cubicBezTo>
                      <a:pt x="27" y="96"/>
                      <a:pt x="29" y="98"/>
                      <a:pt x="32" y="98"/>
                    </a:cubicBezTo>
                    <a:cubicBezTo>
                      <a:pt x="39" y="99"/>
                      <a:pt x="47" y="99"/>
                      <a:pt x="56" y="98"/>
                    </a:cubicBezTo>
                    <a:close/>
                    <a:moveTo>
                      <a:pt x="56" y="29"/>
                    </a:moveTo>
                    <a:cubicBezTo>
                      <a:pt x="55" y="29"/>
                      <a:pt x="53" y="29"/>
                      <a:pt x="51" y="29"/>
                    </a:cubicBezTo>
                    <a:cubicBezTo>
                      <a:pt x="49" y="29"/>
                      <a:pt x="47" y="29"/>
                      <a:pt x="46" y="29"/>
                    </a:cubicBezTo>
                    <a:cubicBezTo>
                      <a:pt x="46" y="31"/>
                      <a:pt x="46" y="34"/>
                      <a:pt x="46" y="37"/>
                    </a:cubicBezTo>
                    <a:cubicBezTo>
                      <a:pt x="50" y="37"/>
                      <a:pt x="55" y="37"/>
                      <a:pt x="60" y="37"/>
                    </a:cubicBezTo>
                    <a:cubicBezTo>
                      <a:pt x="60" y="35"/>
                      <a:pt x="60" y="35"/>
                      <a:pt x="60" y="35"/>
                    </a:cubicBezTo>
                    <a:cubicBezTo>
                      <a:pt x="60" y="32"/>
                      <a:pt x="58" y="30"/>
                      <a:pt x="56" y="29"/>
                    </a:cubicBezTo>
                    <a:close/>
                    <a:moveTo>
                      <a:pt x="59" y="48"/>
                    </a:moveTo>
                    <a:cubicBezTo>
                      <a:pt x="59" y="47"/>
                      <a:pt x="59" y="45"/>
                      <a:pt x="60" y="43"/>
                    </a:cubicBezTo>
                    <a:cubicBezTo>
                      <a:pt x="55" y="43"/>
                      <a:pt x="51" y="43"/>
                      <a:pt x="46" y="43"/>
                    </a:cubicBezTo>
                    <a:cubicBezTo>
                      <a:pt x="46" y="52"/>
                      <a:pt x="46" y="52"/>
                      <a:pt x="46" y="52"/>
                    </a:cubicBezTo>
                    <a:cubicBezTo>
                      <a:pt x="48" y="52"/>
                      <a:pt x="51" y="52"/>
                      <a:pt x="54" y="52"/>
                    </a:cubicBezTo>
                    <a:cubicBezTo>
                      <a:pt x="57" y="51"/>
                      <a:pt x="59" y="49"/>
                      <a:pt x="59" y="4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81" name="îSḻide"/>
              <p:cNvSpPr/>
              <p:nvPr/>
            </p:nvSpPr>
            <p:spPr bwMode="auto">
              <a:xfrm>
                <a:off x="2449409" y="5256803"/>
                <a:ext cx="139700" cy="265113"/>
              </a:xfrm>
              <a:custGeom>
                <a:avLst/>
                <a:gdLst>
                  <a:gd name="T0" fmla="*/ 56 w 76"/>
                  <a:gd name="T1" fmla="*/ 3 h 144"/>
                  <a:gd name="T2" fmla="*/ 61 w 76"/>
                  <a:gd name="T3" fmla="*/ 45 h 144"/>
                  <a:gd name="T4" fmla="*/ 50 w 76"/>
                  <a:gd name="T5" fmla="*/ 74 h 144"/>
                  <a:gd name="T6" fmla="*/ 68 w 76"/>
                  <a:gd name="T7" fmla="*/ 65 h 144"/>
                  <a:gd name="T8" fmla="*/ 70 w 76"/>
                  <a:gd name="T9" fmla="*/ 31 h 144"/>
                  <a:gd name="T10" fmla="*/ 74 w 76"/>
                  <a:gd name="T11" fmla="*/ 31 h 144"/>
                  <a:gd name="T12" fmla="*/ 74 w 76"/>
                  <a:gd name="T13" fmla="*/ 64 h 144"/>
                  <a:gd name="T14" fmla="*/ 50 w 76"/>
                  <a:gd name="T15" fmla="*/ 81 h 144"/>
                  <a:gd name="T16" fmla="*/ 69 w 76"/>
                  <a:gd name="T17" fmla="*/ 103 h 144"/>
                  <a:gd name="T18" fmla="*/ 74 w 76"/>
                  <a:gd name="T19" fmla="*/ 140 h 144"/>
                  <a:gd name="T20" fmla="*/ 63 w 76"/>
                  <a:gd name="T21" fmla="*/ 105 h 144"/>
                  <a:gd name="T22" fmla="*/ 52 w 76"/>
                  <a:gd name="T23" fmla="*/ 138 h 144"/>
                  <a:gd name="T24" fmla="*/ 46 w 76"/>
                  <a:gd name="T25" fmla="*/ 139 h 144"/>
                  <a:gd name="T26" fmla="*/ 42 w 76"/>
                  <a:gd name="T27" fmla="*/ 57 h 144"/>
                  <a:gd name="T28" fmla="*/ 35 w 76"/>
                  <a:gd name="T29" fmla="*/ 132 h 144"/>
                  <a:gd name="T30" fmla="*/ 27 w 76"/>
                  <a:gd name="T31" fmla="*/ 136 h 144"/>
                  <a:gd name="T32" fmla="*/ 29 w 76"/>
                  <a:gd name="T33" fmla="*/ 95 h 144"/>
                  <a:gd name="T34" fmla="*/ 5 w 76"/>
                  <a:gd name="T35" fmla="*/ 135 h 144"/>
                  <a:gd name="T36" fmla="*/ 0 w 76"/>
                  <a:gd name="T37" fmla="*/ 135 h 144"/>
                  <a:gd name="T38" fmla="*/ 30 w 76"/>
                  <a:gd name="T39" fmla="*/ 86 h 144"/>
                  <a:gd name="T40" fmla="*/ 26 w 76"/>
                  <a:gd name="T41" fmla="*/ 80 h 144"/>
                  <a:gd name="T42" fmla="*/ 5 w 76"/>
                  <a:gd name="T43" fmla="*/ 66 h 144"/>
                  <a:gd name="T44" fmla="*/ 3 w 76"/>
                  <a:gd name="T45" fmla="*/ 29 h 144"/>
                  <a:gd name="T46" fmla="*/ 9 w 76"/>
                  <a:gd name="T47" fmla="*/ 59 h 144"/>
                  <a:gd name="T48" fmla="*/ 31 w 76"/>
                  <a:gd name="T49" fmla="*/ 74 h 144"/>
                  <a:gd name="T50" fmla="*/ 32 w 76"/>
                  <a:gd name="T51" fmla="*/ 57 h 144"/>
                  <a:gd name="T52" fmla="*/ 16 w 76"/>
                  <a:gd name="T53" fmla="*/ 14 h 144"/>
                  <a:gd name="T54" fmla="*/ 22 w 76"/>
                  <a:gd name="T55" fmla="*/ 19 h 144"/>
                  <a:gd name="T56" fmla="*/ 57 w 76"/>
                  <a:gd name="T57" fmla="*/ 19 h 144"/>
                  <a:gd name="T58" fmla="*/ 50 w 76"/>
                  <a:gd name="T59" fmla="*/ 9 h 144"/>
                  <a:gd name="T60" fmla="*/ 22 w 76"/>
                  <a:gd name="T61" fmla="*/ 19 h 144"/>
                  <a:gd name="T62" fmla="*/ 23 w 76"/>
                  <a:gd name="T63" fmla="*/ 31 h 144"/>
                  <a:gd name="T64" fmla="*/ 57 w 76"/>
                  <a:gd name="T65" fmla="*/ 34 h 144"/>
                  <a:gd name="T66" fmla="*/ 22 w 76"/>
                  <a:gd name="T67" fmla="*/ 27 h 144"/>
                  <a:gd name="T68" fmla="*/ 48 w 76"/>
                  <a:gd name="T69" fmla="*/ 50 h 144"/>
                  <a:gd name="T70" fmla="*/ 57 w 76"/>
                  <a:gd name="T71" fmla="*/ 41 h 144"/>
                  <a:gd name="T72" fmla="*/ 25 w 76"/>
                  <a:gd name="T73" fmla="*/ 44 h 1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76" h="144">
                    <a:moveTo>
                      <a:pt x="27" y="2"/>
                    </a:moveTo>
                    <a:cubicBezTo>
                      <a:pt x="37" y="0"/>
                      <a:pt x="47" y="0"/>
                      <a:pt x="56" y="3"/>
                    </a:cubicBezTo>
                    <a:cubicBezTo>
                      <a:pt x="60" y="3"/>
                      <a:pt x="62" y="7"/>
                      <a:pt x="63" y="15"/>
                    </a:cubicBezTo>
                    <a:cubicBezTo>
                      <a:pt x="65" y="25"/>
                      <a:pt x="64" y="35"/>
                      <a:pt x="61" y="45"/>
                    </a:cubicBezTo>
                    <a:cubicBezTo>
                      <a:pt x="60" y="53"/>
                      <a:pt x="55" y="56"/>
                      <a:pt x="49" y="57"/>
                    </a:cubicBezTo>
                    <a:cubicBezTo>
                      <a:pt x="49" y="62"/>
                      <a:pt x="50" y="68"/>
                      <a:pt x="50" y="74"/>
                    </a:cubicBezTo>
                    <a:cubicBezTo>
                      <a:pt x="53" y="74"/>
                      <a:pt x="56" y="74"/>
                      <a:pt x="58" y="74"/>
                    </a:cubicBezTo>
                    <a:cubicBezTo>
                      <a:pt x="62" y="75"/>
                      <a:pt x="66" y="72"/>
                      <a:pt x="68" y="65"/>
                    </a:cubicBezTo>
                    <a:cubicBezTo>
                      <a:pt x="69" y="62"/>
                      <a:pt x="70" y="53"/>
                      <a:pt x="70" y="39"/>
                    </a:cubicBezTo>
                    <a:cubicBezTo>
                      <a:pt x="70" y="35"/>
                      <a:pt x="70" y="32"/>
                      <a:pt x="70" y="31"/>
                    </a:cubicBezTo>
                    <a:cubicBezTo>
                      <a:pt x="71" y="31"/>
                      <a:pt x="71" y="30"/>
                      <a:pt x="72" y="30"/>
                    </a:cubicBezTo>
                    <a:cubicBezTo>
                      <a:pt x="73" y="30"/>
                      <a:pt x="74" y="30"/>
                      <a:pt x="74" y="31"/>
                    </a:cubicBezTo>
                    <a:cubicBezTo>
                      <a:pt x="75" y="33"/>
                      <a:pt x="76" y="36"/>
                      <a:pt x="76" y="41"/>
                    </a:cubicBezTo>
                    <a:cubicBezTo>
                      <a:pt x="76" y="49"/>
                      <a:pt x="75" y="56"/>
                      <a:pt x="74" y="64"/>
                    </a:cubicBezTo>
                    <a:cubicBezTo>
                      <a:pt x="72" y="75"/>
                      <a:pt x="67" y="81"/>
                      <a:pt x="58" y="81"/>
                    </a:cubicBezTo>
                    <a:cubicBezTo>
                      <a:pt x="50" y="81"/>
                      <a:pt x="50" y="81"/>
                      <a:pt x="50" y="81"/>
                    </a:cubicBezTo>
                    <a:cubicBezTo>
                      <a:pt x="50" y="87"/>
                      <a:pt x="50" y="87"/>
                      <a:pt x="50" y="87"/>
                    </a:cubicBezTo>
                    <a:cubicBezTo>
                      <a:pt x="60" y="87"/>
                      <a:pt x="66" y="92"/>
                      <a:pt x="69" y="103"/>
                    </a:cubicBezTo>
                    <a:cubicBezTo>
                      <a:pt x="72" y="112"/>
                      <a:pt x="74" y="122"/>
                      <a:pt x="76" y="134"/>
                    </a:cubicBezTo>
                    <a:cubicBezTo>
                      <a:pt x="76" y="138"/>
                      <a:pt x="75" y="140"/>
                      <a:pt x="74" y="140"/>
                    </a:cubicBezTo>
                    <a:cubicBezTo>
                      <a:pt x="72" y="141"/>
                      <a:pt x="71" y="139"/>
                      <a:pt x="70" y="136"/>
                    </a:cubicBezTo>
                    <a:cubicBezTo>
                      <a:pt x="68" y="126"/>
                      <a:pt x="66" y="116"/>
                      <a:pt x="63" y="105"/>
                    </a:cubicBezTo>
                    <a:cubicBezTo>
                      <a:pt x="61" y="98"/>
                      <a:pt x="57" y="95"/>
                      <a:pt x="50" y="95"/>
                    </a:cubicBezTo>
                    <a:cubicBezTo>
                      <a:pt x="50" y="109"/>
                      <a:pt x="51" y="123"/>
                      <a:pt x="52" y="138"/>
                    </a:cubicBezTo>
                    <a:cubicBezTo>
                      <a:pt x="52" y="141"/>
                      <a:pt x="51" y="143"/>
                      <a:pt x="49" y="144"/>
                    </a:cubicBezTo>
                    <a:cubicBezTo>
                      <a:pt x="47" y="144"/>
                      <a:pt x="46" y="142"/>
                      <a:pt x="46" y="139"/>
                    </a:cubicBezTo>
                    <a:cubicBezTo>
                      <a:pt x="44" y="134"/>
                      <a:pt x="43" y="118"/>
                      <a:pt x="43" y="92"/>
                    </a:cubicBezTo>
                    <a:cubicBezTo>
                      <a:pt x="43" y="76"/>
                      <a:pt x="43" y="64"/>
                      <a:pt x="42" y="57"/>
                    </a:cubicBezTo>
                    <a:cubicBezTo>
                      <a:pt x="38" y="57"/>
                      <a:pt x="38" y="57"/>
                      <a:pt x="38" y="57"/>
                    </a:cubicBezTo>
                    <a:cubicBezTo>
                      <a:pt x="36" y="88"/>
                      <a:pt x="35" y="113"/>
                      <a:pt x="35" y="132"/>
                    </a:cubicBezTo>
                    <a:cubicBezTo>
                      <a:pt x="35" y="138"/>
                      <a:pt x="33" y="142"/>
                      <a:pt x="31" y="142"/>
                    </a:cubicBezTo>
                    <a:cubicBezTo>
                      <a:pt x="29" y="142"/>
                      <a:pt x="27" y="140"/>
                      <a:pt x="27" y="136"/>
                    </a:cubicBezTo>
                    <a:cubicBezTo>
                      <a:pt x="27" y="136"/>
                      <a:pt x="27" y="134"/>
                      <a:pt x="27" y="132"/>
                    </a:cubicBezTo>
                    <a:cubicBezTo>
                      <a:pt x="28" y="118"/>
                      <a:pt x="29" y="105"/>
                      <a:pt x="29" y="95"/>
                    </a:cubicBezTo>
                    <a:cubicBezTo>
                      <a:pt x="19" y="95"/>
                      <a:pt x="14" y="98"/>
                      <a:pt x="13" y="105"/>
                    </a:cubicBezTo>
                    <a:cubicBezTo>
                      <a:pt x="10" y="114"/>
                      <a:pt x="7" y="124"/>
                      <a:pt x="5" y="135"/>
                    </a:cubicBezTo>
                    <a:cubicBezTo>
                      <a:pt x="4" y="137"/>
                      <a:pt x="3" y="139"/>
                      <a:pt x="2" y="139"/>
                    </a:cubicBezTo>
                    <a:cubicBezTo>
                      <a:pt x="1" y="140"/>
                      <a:pt x="0" y="138"/>
                      <a:pt x="0" y="135"/>
                    </a:cubicBezTo>
                    <a:cubicBezTo>
                      <a:pt x="0" y="125"/>
                      <a:pt x="2" y="115"/>
                      <a:pt x="7" y="104"/>
                    </a:cubicBezTo>
                    <a:cubicBezTo>
                      <a:pt x="11" y="92"/>
                      <a:pt x="18" y="86"/>
                      <a:pt x="30" y="86"/>
                    </a:cubicBezTo>
                    <a:cubicBezTo>
                      <a:pt x="30" y="85"/>
                      <a:pt x="30" y="83"/>
                      <a:pt x="31" y="80"/>
                    </a:cubicBezTo>
                    <a:cubicBezTo>
                      <a:pt x="29" y="81"/>
                      <a:pt x="28" y="81"/>
                      <a:pt x="26" y="80"/>
                    </a:cubicBezTo>
                    <a:cubicBezTo>
                      <a:pt x="24" y="80"/>
                      <a:pt x="23" y="80"/>
                      <a:pt x="22" y="80"/>
                    </a:cubicBezTo>
                    <a:cubicBezTo>
                      <a:pt x="14" y="81"/>
                      <a:pt x="8" y="76"/>
                      <a:pt x="5" y="66"/>
                    </a:cubicBezTo>
                    <a:cubicBezTo>
                      <a:pt x="2" y="59"/>
                      <a:pt x="0" y="49"/>
                      <a:pt x="0" y="37"/>
                    </a:cubicBezTo>
                    <a:cubicBezTo>
                      <a:pt x="0" y="32"/>
                      <a:pt x="1" y="29"/>
                      <a:pt x="3" y="29"/>
                    </a:cubicBezTo>
                    <a:cubicBezTo>
                      <a:pt x="6" y="31"/>
                      <a:pt x="8" y="35"/>
                      <a:pt x="8" y="39"/>
                    </a:cubicBezTo>
                    <a:cubicBezTo>
                      <a:pt x="7" y="45"/>
                      <a:pt x="7" y="52"/>
                      <a:pt x="9" y="59"/>
                    </a:cubicBezTo>
                    <a:cubicBezTo>
                      <a:pt x="10" y="68"/>
                      <a:pt x="16" y="73"/>
                      <a:pt x="24" y="74"/>
                    </a:cubicBezTo>
                    <a:cubicBezTo>
                      <a:pt x="26" y="74"/>
                      <a:pt x="29" y="74"/>
                      <a:pt x="31" y="74"/>
                    </a:cubicBezTo>
                    <a:cubicBezTo>
                      <a:pt x="31" y="72"/>
                      <a:pt x="31" y="69"/>
                      <a:pt x="31" y="65"/>
                    </a:cubicBezTo>
                    <a:cubicBezTo>
                      <a:pt x="31" y="61"/>
                      <a:pt x="32" y="58"/>
                      <a:pt x="32" y="57"/>
                    </a:cubicBezTo>
                    <a:cubicBezTo>
                      <a:pt x="25" y="56"/>
                      <a:pt x="20" y="53"/>
                      <a:pt x="19" y="48"/>
                    </a:cubicBezTo>
                    <a:cubicBezTo>
                      <a:pt x="15" y="36"/>
                      <a:pt x="14" y="25"/>
                      <a:pt x="16" y="14"/>
                    </a:cubicBezTo>
                    <a:cubicBezTo>
                      <a:pt x="17" y="6"/>
                      <a:pt x="21" y="2"/>
                      <a:pt x="27" y="2"/>
                    </a:cubicBezTo>
                    <a:close/>
                    <a:moveTo>
                      <a:pt x="22" y="19"/>
                    </a:moveTo>
                    <a:cubicBezTo>
                      <a:pt x="22" y="20"/>
                      <a:pt x="22" y="20"/>
                      <a:pt x="22" y="20"/>
                    </a:cubicBezTo>
                    <a:cubicBezTo>
                      <a:pt x="30" y="20"/>
                      <a:pt x="42" y="19"/>
                      <a:pt x="57" y="19"/>
                    </a:cubicBezTo>
                    <a:cubicBezTo>
                      <a:pt x="57" y="18"/>
                      <a:pt x="57" y="17"/>
                      <a:pt x="57" y="16"/>
                    </a:cubicBezTo>
                    <a:cubicBezTo>
                      <a:pt x="56" y="13"/>
                      <a:pt x="54" y="10"/>
                      <a:pt x="50" y="9"/>
                    </a:cubicBezTo>
                    <a:cubicBezTo>
                      <a:pt x="44" y="8"/>
                      <a:pt x="37" y="7"/>
                      <a:pt x="31" y="9"/>
                    </a:cubicBezTo>
                    <a:cubicBezTo>
                      <a:pt x="25" y="11"/>
                      <a:pt x="22" y="14"/>
                      <a:pt x="22" y="19"/>
                    </a:cubicBezTo>
                    <a:close/>
                    <a:moveTo>
                      <a:pt x="22" y="27"/>
                    </a:moveTo>
                    <a:cubicBezTo>
                      <a:pt x="22" y="28"/>
                      <a:pt x="22" y="29"/>
                      <a:pt x="23" y="31"/>
                    </a:cubicBezTo>
                    <a:cubicBezTo>
                      <a:pt x="23" y="32"/>
                      <a:pt x="23" y="33"/>
                      <a:pt x="23" y="34"/>
                    </a:cubicBezTo>
                    <a:cubicBezTo>
                      <a:pt x="57" y="34"/>
                      <a:pt x="57" y="34"/>
                      <a:pt x="57" y="34"/>
                    </a:cubicBezTo>
                    <a:cubicBezTo>
                      <a:pt x="57" y="27"/>
                      <a:pt x="57" y="27"/>
                      <a:pt x="57" y="27"/>
                    </a:cubicBezTo>
                    <a:cubicBezTo>
                      <a:pt x="45" y="26"/>
                      <a:pt x="33" y="26"/>
                      <a:pt x="22" y="27"/>
                    </a:cubicBezTo>
                    <a:close/>
                    <a:moveTo>
                      <a:pt x="35" y="50"/>
                    </a:moveTo>
                    <a:cubicBezTo>
                      <a:pt x="48" y="50"/>
                      <a:pt x="48" y="50"/>
                      <a:pt x="48" y="50"/>
                    </a:cubicBezTo>
                    <a:cubicBezTo>
                      <a:pt x="53" y="50"/>
                      <a:pt x="55" y="47"/>
                      <a:pt x="57" y="42"/>
                    </a:cubicBezTo>
                    <a:cubicBezTo>
                      <a:pt x="57" y="41"/>
                      <a:pt x="57" y="41"/>
                      <a:pt x="57" y="41"/>
                    </a:cubicBezTo>
                    <a:cubicBezTo>
                      <a:pt x="43" y="41"/>
                      <a:pt x="32" y="41"/>
                      <a:pt x="24" y="42"/>
                    </a:cubicBezTo>
                    <a:cubicBezTo>
                      <a:pt x="24" y="43"/>
                      <a:pt x="24" y="43"/>
                      <a:pt x="25" y="44"/>
                    </a:cubicBezTo>
                    <a:cubicBezTo>
                      <a:pt x="27" y="48"/>
                      <a:pt x="30" y="50"/>
                      <a:pt x="35" y="5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82" name="iṣlîḋè"/>
              <p:cNvSpPr/>
              <p:nvPr/>
            </p:nvSpPr>
            <p:spPr bwMode="auto">
              <a:xfrm>
                <a:off x="2604984" y="5259978"/>
                <a:ext cx="177800" cy="255588"/>
              </a:xfrm>
              <a:custGeom>
                <a:avLst/>
                <a:gdLst>
                  <a:gd name="T0" fmla="*/ 5 w 96"/>
                  <a:gd name="T1" fmla="*/ 37 h 138"/>
                  <a:gd name="T2" fmla="*/ 24 w 96"/>
                  <a:gd name="T3" fmla="*/ 49 h 138"/>
                  <a:gd name="T4" fmla="*/ 7 w 96"/>
                  <a:gd name="T5" fmla="*/ 26 h 138"/>
                  <a:gd name="T6" fmla="*/ 0 w 96"/>
                  <a:gd name="T7" fmla="*/ 22 h 138"/>
                  <a:gd name="T8" fmla="*/ 44 w 96"/>
                  <a:gd name="T9" fmla="*/ 19 h 138"/>
                  <a:gd name="T10" fmla="*/ 40 w 96"/>
                  <a:gd name="T11" fmla="*/ 26 h 138"/>
                  <a:gd name="T12" fmla="*/ 29 w 96"/>
                  <a:gd name="T13" fmla="*/ 49 h 138"/>
                  <a:gd name="T14" fmla="*/ 42 w 96"/>
                  <a:gd name="T15" fmla="*/ 39 h 138"/>
                  <a:gd name="T16" fmla="*/ 36 w 96"/>
                  <a:gd name="T17" fmla="*/ 64 h 138"/>
                  <a:gd name="T18" fmla="*/ 44 w 96"/>
                  <a:gd name="T19" fmla="*/ 70 h 138"/>
                  <a:gd name="T20" fmla="*/ 30 w 96"/>
                  <a:gd name="T21" fmla="*/ 78 h 138"/>
                  <a:gd name="T22" fmla="*/ 48 w 96"/>
                  <a:gd name="T23" fmla="*/ 111 h 138"/>
                  <a:gd name="T24" fmla="*/ 42 w 96"/>
                  <a:gd name="T25" fmla="*/ 124 h 138"/>
                  <a:gd name="T26" fmla="*/ 33 w 96"/>
                  <a:gd name="T27" fmla="*/ 93 h 138"/>
                  <a:gd name="T28" fmla="*/ 30 w 96"/>
                  <a:gd name="T29" fmla="*/ 116 h 138"/>
                  <a:gd name="T30" fmla="*/ 24 w 96"/>
                  <a:gd name="T31" fmla="*/ 133 h 138"/>
                  <a:gd name="T32" fmla="*/ 20 w 96"/>
                  <a:gd name="T33" fmla="*/ 93 h 138"/>
                  <a:gd name="T34" fmla="*/ 11 w 96"/>
                  <a:gd name="T35" fmla="*/ 122 h 138"/>
                  <a:gd name="T36" fmla="*/ 8 w 96"/>
                  <a:gd name="T37" fmla="*/ 102 h 138"/>
                  <a:gd name="T38" fmla="*/ 24 w 96"/>
                  <a:gd name="T39" fmla="*/ 81 h 138"/>
                  <a:gd name="T40" fmla="*/ 3 w 96"/>
                  <a:gd name="T41" fmla="*/ 77 h 138"/>
                  <a:gd name="T42" fmla="*/ 14 w 96"/>
                  <a:gd name="T43" fmla="*/ 70 h 138"/>
                  <a:gd name="T44" fmla="*/ 20 w 96"/>
                  <a:gd name="T45" fmla="*/ 65 h 138"/>
                  <a:gd name="T46" fmla="*/ 2 w 96"/>
                  <a:gd name="T47" fmla="*/ 37 h 138"/>
                  <a:gd name="T48" fmla="*/ 40 w 96"/>
                  <a:gd name="T49" fmla="*/ 3 h 138"/>
                  <a:gd name="T50" fmla="*/ 14 w 96"/>
                  <a:gd name="T51" fmla="*/ 11 h 138"/>
                  <a:gd name="T52" fmla="*/ 5 w 96"/>
                  <a:gd name="T53" fmla="*/ 6 h 138"/>
                  <a:gd name="T54" fmla="*/ 33 w 96"/>
                  <a:gd name="T55" fmla="*/ 26 h 138"/>
                  <a:gd name="T56" fmla="*/ 27 w 96"/>
                  <a:gd name="T57" fmla="*/ 45 h 138"/>
                  <a:gd name="T58" fmla="*/ 54 w 96"/>
                  <a:gd name="T59" fmla="*/ 2 h 138"/>
                  <a:gd name="T60" fmla="*/ 58 w 96"/>
                  <a:gd name="T61" fmla="*/ 10 h 138"/>
                  <a:gd name="T62" fmla="*/ 88 w 96"/>
                  <a:gd name="T63" fmla="*/ 22 h 138"/>
                  <a:gd name="T64" fmla="*/ 74 w 96"/>
                  <a:gd name="T65" fmla="*/ 37 h 138"/>
                  <a:gd name="T66" fmla="*/ 62 w 96"/>
                  <a:gd name="T67" fmla="*/ 66 h 138"/>
                  <a:gd name="T68" fmla="*/ 53 w 96"/>
                  <a:gd name="T69" fmla="*/ 136 h 138"/>
                  <a:gd name="T70" fmla="*/ 48 w 96"/>
                  <a:gd name="T71" fmla="*/ 130 h 138"/>
                  <a:gd name="T72" fmla="*/ 55 w 96"/>
                  <a:gd name="T73" fmla="*/ 48 h 138"/>
                  <a:gd name="T74" fmla="*/ 76 w 96"/>
                  <a:gd name="T75" fmla="*/ 31 h 138"/>
                  <a:gd name="T76" fmla="*/ 65 w 96"/>
                  <a:gd name="T77" fmla="*/ 18 h 138"/>
                  <a:gd name="T78" fmla="*/ 52 w 96"/>
                  <a:gd name="T79" fmla="*/ 13 h 138"/>
                  <a:gd name="T80" fmla="*/ 94 w 96"/>
                  <a:gd name="T81" fmla="*/ 74 h 138"/>
                  <a:gd name="T82" fmla="*/ 76 w 96"/>
                  <a:gd name="T83" fmla="*/ 54 h 138"/>
                  <a:gd name="T84" fmla="*/ 83 w 96"/>
                  <a:gd name="T85" fmla="*/ 119 h 138"/>
                  <a:gd name="T86" fmla="*/ 88 w 96"/>
                  <a:gd name="T87" fmla="*/ 133 h 138"/>
                  <a:gd name="T88" fmla="*/ 70 w 96"/>
                  <a:gd name="T89" fmla="*/ 93 h 138"/>
                  <a:gd name="T90" fmla="*/ 70 w 96"/>
                  <a:gd name="T91" fmla="*/ 42 h 138"/>
                  <a:gd name="T92" fmla="*/ 95 w 96"/>
                  <a:gd name="T93" fmla="*/ 70 h 1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96" h="138">
                    <a:moveTo>
                      <a:pt x="2" y="37"/>
                    </a:moveTo>
                    <a:cubicBezTo>
                      <a:pt x="2" y="36"/>
                      <a:pt x="2" y="35"/>
                      <a:pt x="3" y="35"/>
                    </a:cubicBezTo>
                    <a:cubicBezTo>
                      <a:pt x="4" y="35"/>
                      <a:pt x="5" y="36"/>
                      <a:pt x="5" y="37"/>
                    </a:cubicBezTo>
                    <a:cubicBezTo>
                      <a:pt x="9" y="49"/>
                      <a:pt x="14" y="56"/>
                      <a:pt x="21" y="59"/>
                    </a:cubicBezTo>
                    <a:cubicBezTo>
                      <a:pt x="21" y="59"/>
                      <a:pt x="22" y="60"/>
                      <a:pt x="24" y="60"/>
                    </a:cubicBezTo>
                    <a:cubicBezTo>
                      <a:pt x="24" y="56"/>
                      <a:pt x="24" y="53"/>
                      <a:pt x="24" y="49"/>
                    </a:cubicBezTo>
                    <a:cubicBezTo>
                      <a:pt x="21" y="48"/>
                      <a:pt x="18" y="46"/>
                      <a:pt x="16" y="42"/>
                    </a:cubicBezTo>
                    <a:cubicBezTo>
                      <a:pt x="13" y="38"/>
                      <a:pt x="12" y="33"/>
                      <a:pt x="12" y="26"/>
                    </a:cubicBezTo>
                    <a:cubicBezTo>
                      <a:pt x="9" y="26"/>
                      <a:pt x="8" y="26"/>
                      <a:pt x="7" y="26"/>
                    </a:cubicBezTo>
                    <a:cubicBezTo>
                      <a:pt x="4" y="27"/>
                      <a:pt x="2" y="27"/>
                      <a:pt x="1" y="25"/>
                    </a:cubicBezTo>
                    <a:cubicBezTo>
                      <a:pt x="0" y="24"/>
                      <a:pt x="0" y="23"/>
                      <a:pt x="0" y="22"/>
                    </a:cubicBezTo>
                    <a:cubicBezTo>
                      <a:pt x="0" y="22"/>
                      <a:pt x="0" y="22"/>
                      <a:pt x="0" y="22"/>
                    </a:cubicBezTo>
                    <a:cubicBezTo>
                      <a:pt x="1" y="19"/>
                      <a:pt x="2" y="18"/>
                      <a:pt x="4" y="19"/>
                    </a:cubicBezTo>
                    <a:cubicBezTo>
                      <a:pt x="6" y="19"/>
                      <a:pt x="8" y="19"/>
                      <a:pt x="11" y="19"/>
                    </a:cubicBezTo>
                    <a:cubicBezTo>
                      <a:pt x="44" y="19"/>
                      <a:pt x="44" y="19"/>
                      <a:pt x="44" y="19"/>
                    </a:cubicBezTo>
                    <a:cubicBezTo>
                      <a:pt x="46" y="19"/>
                      <a:pt x="48" y="20"/>
                      <a:pt x="48" y="23"/>
                    </a:cubicBezTo>
                    <a:cubicBezTo>
                      <a:pt x="47" y="25"/>
                      <a:pt x="45" y="26"/>
                      <a:pt x="42" y="26"/>
                    </a:cubicBezTo>
                    <a:cubicBezTo>
                      <a:pt x="42" y="26"/>
                      <a:pt x="41" y="26"/>
                      <a:pt x="40" y="26"/>
                    </a:cubicBezTo>
                    <a:cubicBezTo>
                      <a:pt x="40" y="26"/>
                      <a:pt x="40" y="26"/>
                      <a:pt x="40" y="26"/>
                    </a:cubicBezTo>
                    <a:cubicBezTo>
                      <a:pt x="39" y="34"/>
                      <a:pt x="38" y="39"/>
                      <a:pt x="37" y="42"/>
                    </a:cubicBezTo>
                    <a:cubicBezTo>
                      <a:pt x="34" y="46"/>
                      <a:pt x="32" y="49"/>
                      <a:pt x="29" y="49"/>
                    </a:cubicBezTo>
                    <a:cubicBezTo>
                      <a:pt x="30" y="53"/>
                      <a:pt x="30" y="56"/>
                      <a:pt x="30" y="60"/>
                    </a:cubicBezTo>
                    <a:cubicBezTo>
                      <a:pt x="31" y="60"/>
                      <a:pt x="32" y="59"/>
                      <a:pt x="33" y="58"/>
                    </a:cubicBezTo>
                    <a:cubicBezTo>
                      <a:pt x="39" y="56"/>
                      <a:pt x="42" y="49"/>
                      <a:pt x="42" y="39"/>
                    </a:cubicBezTo>
                    <a:cubicBezTo>
                      <a:pt x="43" y="37"/>
                      <a:pt x="44" y="36"/>
                      <a:pt x="46" y="36"/>
                    </a:cubicBezTo>
                    <a:cubicBezTo>
                      <a:pt x="47" y="36"/>
                      <a:pt x="48" y="37"/>
                      <a:pt x="48" y="39"/>
                    </a:cubicBezTo>
                    <a:cubicBezTo>
                      <a:pt x="49" y="49"/>
                      <a:pt x="45" y="57"/>
                      <a:pt x="36" y="64"/>
                    </a:cubicBezTo>
                    <a:cubicBezTo>
                      <a:pt x="34" y="65"/>
                      <a:pt x="32" y="66"/>
                      <a:pt x="30" y="66"/>
                    </a:cubicBezTo>
                    <a:cubicBezTo>
                      <a:pt x="30" y="70"/>
                      <a:pt x="30" y="70"/>
                      <a:pt x="30" y="70"/>
                    </a:cubicBezTo>
                    <a:cubicBezTo>
                      <a:pt x="44" y="70"/>
                      <a:pt x="44" y="70"/>
                      <a:pt x="44" y="70"/>
                    </a:cubicBezTo>
                    <a:cubicBezTo>
                      <a:pt x="47" y="70"/>
                      <a:pt x="49" y="71"/>
                      <a:pt x="49" y="73"/>
                    </a:cubicBezTo>
                    <a:cubicBezTo>
                      <a:pt x="49" y="76"/>
                      <a:pt x="47" y="77"/>
                      <a:pt x="43" y="77"/>
                    </a:cubicBezTo>
                    <a:cubicBezTo>
                      <a:pt x="37" y="77"/>
                      <a:pt x="33" y="77"/>
                      <a:pt x="30" y="78"/>
                    </a:cubicBezTo>
                    <a:cubicBezTo>
                      <a:pt x="30" y="80"/>
                      <a:pt x="30" y="82"/>
                      <a:pt x="30" y="84"/>
                    </a:cubicBezTo>
                    <a:cubicBezTo>
                      <a:pt x="34" y="84"/>
                      <a:pt x="37" y="87"/>
                      <a:pt x="40" y="91"/>
                    </a:cubicBezTo>
                    <a:cubicBezTo>
                      <a:pt x="44" y="96"/>
                      <a:pt x="46" y="103"/>
                      <a:pt x="48" y="111"/>
                    </a:cubicBezTo>
                    <a:cubicBezTo>
                      <a:pt x="49" y="116"/>
                      <a:pt x="49" y="120"/>
                      <a:pt x="48" y="124"/>
                    </a:cubicBezTo>
                    <a:cubicBezTo>
                      <a:pt x="47" y="125"/>
                      <a:pt x="46" y="125"/>
                      <a:pt x="45" y="125"/>
                    </a:cubicBezTo>
                    <a:cubicBezTo>
                      <a:pt x="44" y="125"/>
                      <a:pt x="43" y="125"/>
                      <a:pt x="42" y="124"/>
                    </a:cubicBezTo>
                    <a:cubicBezTo>
                      <a:pt x="42" y="123"/>
                      <a:pt x="42" y="121"/>
                      <a:pt x="42" y="118"/>
                    </a:cubicBezTo>
                    <a:cubicBezTo>
                      <a:pt x="41" y="116"/>
                      <a:pt x="41" y="114"/>
                      <a:pt x="41" y="113"/>
                    </a:cubicBezTo>
                    <a:cubicBezTo>
                      <a:pt x="40" y="104"/>
                      <a:pt x="37" y="97"/>
                      <a:pt x="33" y="93"/>
                    </a:cubicBezTo>
                    <a:cubicBezTo>
                      <a:pt x="33" y="92"/>
                      <a:pt x="32" y="91"/>
                      <a:pt x="30" y="91"/>
                    </a:cubicBezTo>
                    <a:cubicBezTo>
                      <a:pt x="31" y="97"/>
                      <a:pt x="31" y="101"/>
                      <a:pt x="31" y="105"/>
                    </a:cubicBezTo>
                    <a:cubicBezTo>
                      <a:pt x="31" y="107"/>
                      <a:pt x="31" y="111"/>
                      <a:pt x="30" y="116"/>
                    </a:cubicBezTo>
                    <a:cubicBezTo>
                      <a:pt x="30" y="124"/>
                      <a:pt x="30" y="129"/>
                      <a:pt x="29" y="133"/>
                    </a:cubicBezTo>
                    <a:cubicBezTo>
                      <a:pt x="29" y="136"/>
                      <a:pt x="28" y="137"/>
                      <a:pt x="27" y="137"/>
                    </a:cubicBezTo>
                    <a:cubicBezTo>
                      <a:pt x="26" y="137"/>
                      <a:pt x="25" y="136"/>
                      <a:pt x="24" y="133"/>
                    </a:cubicBezTo>
                    <a:cubicBezTo>
                      <a:pt x="24" y="120"/>
                      <a:pt x="24" y="111"/>
                      <a:pt x="24" y="105"/>
                    </a:cubicBezTo>
                    <a:cubicBezTo>
                      <a:pt x="24" y="100"/>
                      <a:pt x="24" y="95"/>
                      <a:pt x="24" y="90"/>
                    </a:cubicBezTo>
                    <a:cubicBezTo>
                      <a:pt x="22" y="91"/>
                      <a:pt x="21" y="92"/>
                      <a:pt x="20" y="93"/>
                    </a:cubicBezTo>
                    <a:cubicBezTo>
                      <a:pt x="18" y="94"/>
                      <a:pt x="16" y="98"/>
                      <a:pt x="14" y="102"/>
                    </a:cubicBezTo>
                    <a:cubicBezTo>
                      <a:pt x="13" y="104"/>
                      <a:pt x="13" y="104"/>
                      <a:pt x="13" y="104"/>
                    </a:cubicBezTo>
                    <a:cubicBezTo>
                      <a:pt x="12" y="108"/>
                      <a:pt x="11" y="114"/>
                      <a:pt x="11" y="122"/>
                    </a:cubicBezTo>
                    <a:cubicBezTo>
                      <a:pt x="10" y="124"/>
                      <a:pt x="9" y="125"/>
                      <a:pt x="7" y="125"/>
                    </a:cubicBezTo>
                    <a:cubicBezTo>
                      <a:pt x="6" y="125"/>
                      <a:pt x="5" y="124"/>
                      <a:pt x="5" y="122"/>
                    </a:cubicBezTo>
                    <a:cubicBezTo>
                      <a:pt x="6" y="115"/>
                      <a:pt x="7" y="108"/>
                      <a:pt x="8" y="102"/>
                    </a:cubicBezTo>
                    <a:cubicBezTo>
                      <a:pt x="9" y="97"/>
                      <a:pt x="11" y="92"/>
                      <a:pt x="14" y="89"/>
                    </a:cubicBezTo>
                    <a:cubicBezTo>
                      <a:pt x="17" y="86"/>
                      <a:pt x="20" y="84"/>
                      <a:pt x="24" y="84"/>
                    </a:cubicBezTo>
                    <a:cubicBezTo>
                      <a:pt x="24" y="81"/>
                      <a:pt x="24" y="81"/>
                      <a:pt x="24" y="81"/>
                    </a:cubicBezTo>
                    <a:cubicBezTo>
                      <a:pt x="24" y="80"/>
                      <a:pt x="24" y="79"/>
                      <a:pt x="24" y="78"/>
                    </a:cubicBezTo>
                    <a:cubicBezTo>
                      <a:pt x="14" y="78"/>
                      <a:pt x="9" y="78"/>
                      <a:pt x="9" y="78"/>
                    </a:cubicBezTo>
                    <a:cubicBezTo>
                      <a:pt x="6" y="79"/>
                      <a:pt x="4" y="79"/>
                      <a:pt x="3" y="77"/>
                    </a:cubicBezTo>
                    <a:cubicBezTo>
                      <a:pt x="2" y="76"/>
                      <a:pt x="2" y="74"/>
                      <a:pt x="3" y="72"/>
                    </a:cubicBezTo>
                    <a:cubicBezTo>
                      <a:pt x="3" y="70"/>
                      <a:pt x="4" y="70"/>
                      <a:pt x="7" y="70"/>
                    </a:cubicBezTo>
                    <a:cubicBezTo>
                      <a:pt x="8" y="70"/>
                      <a:pt x="10" y="70"/>
                      <a:pt x="14" y="70"/>
                    </a:cubicBezTo>
                    <a:cubicBezTo>
                      <a:pt x="24" y="70"/>
                      <a:pt x="24" y="70"/>
                      <a:pt x="24" y="70"/>
                    </a:cubicBezTo>
                    <a:cubicBezTo>
                      <a:pt x="24" y="66"/>
                      <a:pt x="24" y="66"/>
                      <a:pt x="24" y="66"/>
                    </a:cubicBezTo>
                    <a:cubicBezTo>
                      <a:pt x="22" y="66"/>
                      <a:pt x="21" y="66"/>
                      <a:pt x="20" y="65"/>
                    </a:cubicBezTo>
                    <a:cubicBezTo>
                      <a:pt x="12" y="62"/>
                      <a:pt x="6" y="56"/>
                      <a:pt x="2" y="46"/>
                    </a:cubicBezTo>
                    <a:cubicBezTo>
                      <a:pt x="2" y="46"/>
                      <a:pt x="2" y="43"/>
                      <a:pt x="2" y="40"/>
                    </a:cubicBezTo>
                    <a:cubicBezTo>
                      <a:pt x="2" y="39"/>
                      <a:pt x="2" y="38"/>
                      <a:pt x="2" y="37"/>
                    </a:cubicBezTo>
                    <a:close/>
                    <a:moveTo>
                      <a:pt x="9" y="3"/>
                    </a:moveTo>
                    <a:cubicBezTo>
                      <a:pt x="11" y="3"/>
                      <a:pt x="15" y="3"/>
                      <a:pt x="19" y="3"/>
                    </a:cubicBezTo>
                    <a:cubicBezTo>
                      <a:pt x="40" y="3"/>
                      <a:pt x="40" y="3"/>
                      <a:pt x="40" y="3"/>
                    </a:cubicBezTo>
                    <a:cubicBezTo>
                      <a:pt x="43" y="3"/>
                      <a:pt x="44" y="5"/>
                      <a:pt x="44" y="7"/>
                    </a:cubicBezTo>
                    <a:cubicBezTo>
                      <a:pt x="44" y="9"/>
                      <a:pt x="42" y="10"/>
                      <a:pt x="39" y="10"/>
                    </a:cubicBezTo>
                    <a:cubicBezTo>
                      <a:pt x="34" y="10"/>
                      <a:pt x="25" y="10"/>
                      <a:pt x="14" y="11"/>
                    </a:cubicBezTo>
                    <a:cubicBezTo>
                      <a:pt x="13" y="11"/>
                      <a:pt x="12" y="11"/>
                      <a:pt x="11" y="11"/>
                    </a:cubicBezTo>
                    <a:cubicBezTo>
                      <a:pt x="7" y="11"/>
                      <a:pt x="5" y="11"/>
                      <a:pt x="5" y="9"/>
                    </a:cubicBezTo>
                    <a:cubicBezTo>
                      <a:pt x="5" y="9"/>
                      <a:pt x="4" y="8"/>
                      <a:pt x="5" y="6"/>
                    </a:cubicBezTo>
                    <a:cubicBezTo>
                      <a:pt x="5" y="5"/>
                      <a:pt x="5" y="5"/>
                      <a:pt x="5" y="5"/>
                    </a:cubicBezTo>
                    <a:cubicBezTo>
                      <a:pt x="5" y="3"/>
                      <a:pt x="6" y="3"/>
                      <a:pt x="9" y="3"/>
                    </a:cubicBezTo>
                    <a:close/>
                    <a:moveTo>
                      <a:pt x="33" y="26"/>
                    </a:moveTo>
                    <a:cubicBezTo>
                      <a:pt x="28" y="26"/>
                      <a:pt x="23" y="26"/>
                      <a:pt x="17" y="26"/>
                    </a:cubicBezTo>
                    <a:cubicBezTo>
                      <a:pt x="18" y="32"/>
                      <a:pt x="20" y="38"/>
                      <a:pt x="24" y="42"/>
                    </a:cubicBezTo>
                    <a:cubicBezTo>
                      <a:pt x="25" y="44"/>
                      <a:pt x="26" y="45"/>
                      <a:pt x="27" y="45"/>
                    </a:cubicBezTo>
                    <a:cubicBezTo>
                      <a:pt x="28" y="45"/>
                      <a:pt x="29" y="44"/>
                      <a:pt x="29" y="42"/>
                    </a:cubicBezTo>
                    <a:cubicBezTo>
                      <a:pt x="32" y="38"/>
                      <a:pt x="33" y="33"/>
                      <a:pt x="33" y="26"/>
                    </a:cubicBezTo>
                    <a:close/>
                    <a:moveTo>
                      <a:pt x="54" y="2"/>
                    </a:moveTo>
                    <a:cubicBezTo>
                      <a:pt x="55" y="0"/>
                      <a:pt x="57" y="0"/>
                      <a:pt x="58" y="1"/>
                    </a:cubicBezTo>
                    <a:cubicBezTo>
                      <a:pt x="59" y="2"/>
                      <a:pt x="60" y="4"/>
                      <a:pt x="59" y="6"/>
                    </a:cubicBezTo>
                    <a:cubicBezTo>
                      <a:pt x="57" y="8"/>
                      <a:pt x="57" y="9"/>
                      <a:pt x="58" y="10"/>
                    </a:cubicBezTo>
                    <a:cubicBezTo>
                      <a:pt x="59" y="11"/>
                      <a:pt x="61" y="12"/>
                      <a:pt x="63" y="11"/>
                    </a:cubicBezTo>
                    <a:cubicBezTo>
                      <a:pt x="67" y="9"/>
                      <a:pt x="73" y="9"/>
                      <a:pt x="80" y="11"/>
                    </a:cubicBezTo>
                    <a:cubicBezTo>
                      <a:pt x="84" y="13"/>
                      <a:pt x="87" y="16"/>
                      <a:pt x="88" y="22"/>
                    </a:cubicBezTo>
                    <a:cubicBezTo>
                      <a:pt x="89" y="27"/>
                      <a:pt x="88" y="32"/>
                      <a:pt x="85" y="35"/>
                    </a:cubicBezTo>
                    <a:cubicBezTo>
                      <a:pt x="84" y="38"/>
                      <a:pt x="81" y="39"/>
                      <a:pt x="75" y="37"/>
                    </a:cubicBezTo>
                    <a:cubicBezTo>
                      <a:pt x="75" y="37"/>
                      <a:pt x="74" y="37"/>
                      <a:pt x="74" y="37"/>
                    </a:cubicBezTo>
                    <a:cubicBezTo>
                      <a:pt x="69" y="37"/>
                      <a:pt x="66" y="37"/>
                      <a:pt x="63" y="38"/>
                    </a:cubicBezTo>
                    <a:cubicBezTo>
                      <a:pt x="62" y="38"/>
                      <a:pt x="61" y="40"/>
                      <a:pt x="61" y="43"/>
                    </a:cubicBezTo>
                    <a:cubicBezTo>
                      <a:pt x="62" y="48"/>
                      <a:pt x="62" y="56"/>
                      <a:pt x="62" y="66"/>
                    </a:cubicBezTo>
                    <a:cubicBezTo>
                      <a:pt x="62" y="70"/>
                      <a:pt x="61" y="76"/>
                      <a:pt x="61" y="84"/>
                    </a:cubicBezTo>
                    <a:cubicBezTo>
                      <a:pt x="59" y="99"/>
                      <a:pt x="58" y="110"/>
                      <a:pt x="57" y="116"/>
                    </a:cubicBezTo>
                    <a:cubicBezTo>
                      <a:pt x="57" y="122"/>
                      <a:pt x="55" y="128"/>
                      <a:pt x="53" y="136"/>
                    </a:cubicBezTo>
                    <a:cubicBezTo>
                      <a:pt x="52" y="137"/>
                      <a:pt x="51" y="138"/>
                      <a:pt x="50" y="138"/>
                    </a:cubicBezTo>
                    <a:cubicBezTo>
                      <a:pt x="48" y="138"/>
                      <a:pt x="48" y="137"/>
                      <a:pt x="48" y="136"/>
                    </a:cubicBezTo>
                    <a:cubicBezTo>
                      <a:pt x="48" y="135"/>
                      <a:pt x="48" y="133"/>
                      <a:pt x="48" y="130"/>
                    </a:cubicBezTo>
                    <a:cubicBezTo>
                      <a:pt x="49" y="127"/>
                      <a:pt x="49" y="126"/>
                      <a:pt x="49" y="125"/>
                    </a:cubicBezTo>
                    <a:cubicBezTo>
                      <a:pt x="53" y="104"/>
                      <a:pt x="55" y="85"/>
                      <a:pt x="55" y="68"/>
                    </a:cubicBezTo>
                    <a:cubicBezTo>
                      <a:pt x="56" y="60"/>
                      <a:pt x="56" y="54"/>
                      <a:pt x="55" y="48"/>
                    </a:cubicBezTo>
                    <a:cubicBezTo>
                      <a:pt x="54" y="45"/>
                      <a:pt x="53" y="42"/>
                      <a:pt x="52" y="40"/>
                    </a:cubicBezTo>
                    <a:cubicBezTo>
                      <a:pt x="50" y="38"/>
                      <a:pt x="51" y="36"/>
                      <a:pt x="54" y="34"/>
                    </a:cubicBezTo>
                    <a:cubicBezTo>
                      <a:pt x="58" y="30"/>
                      <a:pt x="66" y="29"/>
                      <a:pt x="76" y="31"/>
                    </a:cubicBezTo>
                    <a:cubicBezTo>
                      <a:pt x="81" y="32"/>
                      <a:pt x="83" y="30"/>
                      <a:pt x="83" y="25"/>
                    </a:cubicBezTo>
                    <a:cubicBezTo>
                      <a:pt x="83" y="21"/>
                      <a:pt x="81" y="18"/>
                      <a:pt x="77" y="18"/>
                    </a:cubicBezTo>
                    <a:cubicBezTo>
                      <a:pt x="70" y="17"/>
                      <a:pt x="66" y="17"/>
                      <a:pt x="65" y="18"/>
                    </a:cubicBezTo>
                    <a:cubicBezTo>
                      <a:pt x="63" y="19"/>
                      <a:pt x="60" y="19"/>
                      <a:pt x="57" y="19"/>
                    </a:cubicBezTo>
                    <a:cubicBezTo>
                      <a:pt x="57" y="18"/>
                      <a:pt x="55" y="17"/>
                      <a:pt x="53" y="15"/>
                    </a:cubicBezTo>
                    <a:cubicBezTo>
                      <a:pt x="53" y="14"/>
                      <a:pt x="52" y="14"/>
                      <a:pt x="52" y="13"/>
                    </a:cubicBezTo>
                    <a:cubicBezTo>
                      <a:pt x="50" y="10"/>
                      <a:pt x="51" y="6"/>
                      <a:pt x="54" y="2"/>
                    </a:cubicBezTo>
                    <a:close/>
                    <a:moveTo>
                      <a:pt x="95" y="70"/>
                    </a:moveTo>
                    <a:cubicBezTo>
                      <a:pt x="96" y="72"/>
                      <a:pt x="95" y="73"/>
                      <a:pt x="94" y="74"/>
                    </a:cubicBezTo>
                    <a:cubicBezTo>
                      <a:pt x="92" y="74"/>
                      <a:pt x="91" y="74"/>
                      <a:pt x="90" y="72"/>
                    </a:cubicBezTo>
                    <a:cubicBezTo>
                      <a:pt x="88" y="67"/>
                      <a:pt x="84" y="62"/>
                      <a:pt x="78" y="56"/>
                    </a:cubicBezTo>
                    <a:cubicBezTo>
                      <a:pt x="77" y="55"/>
                      <a:pt x="76" y="54"/>
                      <a:pt x="76" y="54"/>
                    </a:cubicBezTo>
                    <a:cubicBezTo>
                      <a:pt x="75" y="56"/>
                      <a:pt x="75" y="56"/>
                      <a:pt x="75" y="56"/>
                    </a:cubicBezTo>
                    <a:cubicBezTo>
                      <a:pt x="75" y="61"/>
                      <a:pt x="75" y="73"/>
                      <a:pt x="77" y="93"/>
                    </a:cubicBezTo>
                    <a:cubicBezTo>
                      <a:pt x="78" y="99"/>
                      <a:pt x="80" y="107"/>
                      <a:pt x="83" y="119"/>
                    </a:cubicBezTo>
                    <a:cubicBezTo>
                      <a:pt x="84" y="122"/>
                      <a:pt x="85" y="124"/>
                      <a:pt x="85" y="124"/>
                    </a:cubicBezTo>
                    <a:cubicBezTo>
                      <a:pt x="86" y="126"/>
                      <a:pt x="86" y="128"/>
                      <a:pt x="87" y="131"/>
                    </a:cubicBezTo>
                    <a:cubicBezTo>
                      <a:pt x="88" y="132"/>
                      <a:pt x="88" y="133"/>
                      <a:pt x="88" y="133"/>
                    </a:cubicBezTo>
                    <a:cubicBezTo>
                      <a:pt x="88" y="135"/>
                      <a:pt x="88" y="136"/>
                      <a:pt x="86" y="136"/>
                    </a:cubicBezTo>
                    <a:cubicBezTo>
                      <a:pt x="84" y="136"/>
                      <a:pt x="83" y="135"/>
                      <a:pt x="82" y="133"/>
                    </a:cubicBezTo>
                    <a:cubicBezTo>
                      <a:pt x="77" y="123"/>
                      <a:pt x="73" y="110"/>
                      <a:pt x="70" y="93"/>
                    </a:cubicBezTo>
                    <a:cubicBezTo>
                      <a:pt x="69" y="79"/>
                      <a:pt x="68" y="68"/>
                      <a:pt x="68" y="58"/>
                    </a:cubicBezTo>
                    <a:cubicBezTo>
                      <a:pt x="68" y="51"/>
                      <a:pt x="68" y="46"/>
                      <a:pt x="68" y="44"/>
                    </a:cubicBezTo>
                    <a:cubicBezTo>
                      <a:pt x="68" y="43"/>
                      <a:pt x="69" y="42"/>
                      <a:pt x="70" y="42"/>
                    </a:cubicBezTo>
                    <a:cubicBezTo>
                      <a:pt x="71" y="41"/>
                      <a:pt x="71" y="41"/>
                      <a:pt x="72" y="42"/>
                    </a:cubicBezTo>
                    <a:cubicBezTo>
                      <a:pt x="76" y="45"/>
                      <a:pt x="78" y="48"/>
                      <a:pt x="80" y="49"/>
                    </a:cubicBezTo>
                    <a:cubicBezTo>
                      <a:pt x="86" y="54"/>
                      <a:pt x="91" y="61"/>
                      <a:pt x="95" y="7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83" name="íṣ1ïḑe"/>
              <p:cNvSpPr/>
              <p:nvPr/>
            </p:nvSpPr>
            <p:spPr bwMode="auto">
              <a:xfrm>
                <a:off x="1750909" y="4905965"/>
                <a:ext cx="93663" cy="87313"/>
              </a:xfrm>
              <a:custGeom>
                <a:avLst/>
                <a:gdLst>
                  <a:gd name="T0" fmla="*/ 51 w 51"/>
                  <a:gd name="T1" fmla="*/ 17 h 47"/>
                  <a:gd name="T2" fmla="*/ 46 w 51"/>
                  <a:gd name="T3" fmla="*/ 25 h 47"/>
                  <a:gd name="T4" fmla="*/ 26 w 51"/>
                  <a:gd name="T5" fmla="*/ 13 h 47"/>
                  <a:gd name="T6" fmla="*/ 20 w 51"/>
                  <a:gd name="T7" fmla="*/ 9 h 47"/>
                  <a:gd name="T8" fmla="*/ 14 w 51"/>
                  <a:gd name="T9" fmla="*/ 9 h 47"/>
                  <a:gd name="T10" fmla="*/ 10 w 51"/>
                  <a:gd name="T11" fmla="*/ 13 h 47"/>
                  <a:gd name="T12" fmla="*/ 8 w 51"/>
                  <a:gd name="T13" fmla="*/ 19 h 47"/>
                  <a:gd name="T14" fmla="*/ 10 w 51"/>
                  <a:gd name="T15" fmla="*/ 23 h 47"/>
                  <a:gd name="T16" fmla="*/ 17 w 51"/>
                  <a:gd name="T17" fmla="*/ 27 h 47"/>
                  <a:gd name="T18" fmla="*/ 37 w 51"/>
                  <a:gd name="T19" fmla="*/ 40 h 47"/>
                  <a:gd name="T20" fmla="*/ 33 w 51"/>
                  <a:gd name="T21" fmla="*/ 47 h 47"/>
                  <a:gd name="T22" fmla="*/ 13 w 51"/>
                  <a:gd name="T23" fmla="*/ 35 h 47"/>
                  <a:gd name="T24" fmla="*/ 4 w 51"/>
                  <a:gd name="T25" fmla="*/ 29 h 47"/>
                  <a:gd name="T26" fmla="*/ 1 w 51"/>
                  <a:gd name="T27" fmla="*/ 24 h 47"/>
                  <a:gd name="T28" fmla="*/ 0 w 51"/>
                  <a:gd name="T29" fmla="*/ 18 h 47"/>
                  <a:gd name="T30" fmla="*/ 3 w 51"/>
                  <a:gd name="T31" fmla="*/ 10 h 47"/>
                  <a:gd name="T32" fmla="*/ 10 w 51"/>
                  <a:gd name="T33" fmla="*/ 2 h 47"/>
                  <a:gd name="T34" fmla="*/ 15 w 51"/>
                  <a:gd name="T35" fmla="*/ 0 h 47"/>
                  <a:gd name="T36" fmla="*/ 21 w 51"/>
                  <a:gd name="T37" fmla="*/ 0 h 47"/>
                  <a:gd name="T38" fmla="*/ 31 w 51"/>
                  <a:gd name="T39" fmla="*/ 5 h 47"/>
                  <a:gd name="T40" fmla="*/ 51 w 51"/>
                  <a:gd name="T41" fmla="*/ 17 h 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51" h="47">
                    <a:moveTo>
                      <a:pt x="51" y="17"/>
                    </a:moveTo>
                    <a:cubicBezTo>
                      <a:pt x="46" y="25"/>
                      <a:pt x="46" y="25"/>
                      <a:pt x="46" y="25"/>
                    </a:cubicBezTo>
                    <a:cubicBezTo>
                      <a:pt x="26" y="13"/>
                      <a:pt x="26" y="13"/>
                      <a:pt x="26" y="13"/>
                    </a:cubicBezTo>
                    <a:cubicBezTo>
                      <a:pt x="23" y="11"/>
                      <a:pt x="21" y="10"/>
                      <a:pt x="20" y="9"/>
                    </a:cubicBezTo>
                    <a:cubicBezTo>
                      <a:pt x="18" y="9"/>
                      <a:pt x="16" y="9"/>
                      <a:pt x="14" y="9"/>
                    </a:cubicBezTo>
                    <a:cubicBezTo>
                      <a:pt x="13" y="10"/>
                      <a:pt x="11" y="11"/>
                      <a:pt x="10" y="13"/>
                    </a:cubicBezTo>
                    <a:cubicBezTo>
                      <a:pt x="9" y="16"/>
                      <a:pt x="8" y="17"/>
                      <a:pt x="8" y="19"/>
                    </a:cubicBezTo>
                    <a:cubicBezTo>
                      <a:pt x="9" y="21"/>
                      <a:pt x="9" y="22"/>
                      <a:pt x="10" y="23"/>
                    </a:cubicBezTo>
                    <a:cubicBezTo>
                      <a:pt x="12" y="24"/>
                      <a:pt x="14" y="25"/>
                      <a:pt x="17" y="27"/>
                    </a:cubicBezTo>
                    <a:cubicBezTo>
                      <a:pt x="37" y="40"/>
                      <a:pt x="37" y="40"/>
                      <a:pt x="37" y="40"/>
                    </a:cubicBezTo>
                    <a:cubicBezTo>
                      <a:pt x="33" y="47"/>
                      <a:pt x="33" y="47"/>
                      <a:pt x="33" y="47"/>
                    </a:cubicBezTo>
                    <a:cubicBezTo>
                      <a:pt x="13" y="35"/>
                      <a:pt x="13" y="35"/>
                      <a:pt x="13" y="35"/>
                    </a:cubicBezTo>
                    <a:cubicBezTo>
                      <a:pt x="9" y="33"/>
                      <a:pt x="6" y="31"/>
                      <a:pt x="4" y="29"/>
                    </a:cubicBezTo>
                    <a:cubicBezTo>
                      <a:pt x="2" y="28"/>
                      <a:pt x="1" y="26"/>
                      <a:pt x="1" y="24"/>
                    </a:cubicBezTo>
                    <a:cubicBezTo>
                      <a:pt x="0" y="22"/>
                      <a:pt x="0" y="20"/>
                      <a:pt x="0" y="18"/>
                    </a:cubicBezTo>
                    <a:cubicBezTo>
                      <a:pt x="0" y="15"/>
                      <a:pt x="2" y="13"/>
                      <a:pt x="3" y="10"/>
                    </a:cubicBezTo>
                    <a:cubicBezTo>
                      <a:pt x="6" y="6"/>
                      <a:pt x="8" y="4"/>
                      <a:pt x="10" y="2"/>
                    </a:cubicBezTo>
                    <a:cubicBezTo>
                      <a:pt x="11" y="1"/>
                      <a:pt x="13" y="0"/>
                      <a:pt x="15" y="0"/>
                    </a:cubicBezTo>
                    <a:cubicBezTo>
                      <a:pt x="17" y="0"/>
                      <a:pt x="19" y="0"/>
                      <a:pt x="21" y="0"/>
                    </a:cubicBezTo>
                    <a:cubicBezTo>
                      <a:pt x="23" y="1"/>
                      <a:pt x="27" y="3"/>
                      <a:pt x="31" y="5"/>
                    </a:cubicBezTo>
                    <a:lnTo>
                      <a:pt x="51" y="1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84" name="íṧḷîde"/>
              <p:cNvSpPr/>
              <p:nvPr/>
            </p:nvSpPr>
            <p:spPr bwMode="auto">
              <a:xfrm>
                <a:off x="1704872" y="4971053"/>
                <a:ext cx="100013" cy="92075"/>
              </a:xfrm>
              <a:custGeom>
                <a:avLst/>
                <a:gdLst>
                  <a:gd name="T0" fmla="*/ 17 w 63"/>
                  <a:gd name="T1" fmla="*/ 0 h 58"/>
                  <a:gd name="T2" fmla="*/ 63 w 63"/>
                  <a:gd name="T3" fmla="*/ 21 h 58"/>
                  <a:gd name="T4" fmla="*/ 59 w 63"/>
                  <a:gd name="T5" fmla="*/ 30 h 58"/>
                  <a:gd name="T6" fmla="*/ 19 w 63"/>
                  <a:gd name="T7" fmla="*/ 35 h 58"/>
                  <a:gd name="T8" fmla="*/ 50 w 63"/>
                  <a:gd name="T9" fmla="*/ 50 h 58"/>
                  <a:gd name="T10" fmla="*/ 46 w 63"/>
                  <a:gd name="T11" fmla="*/ 58 h 58"/>
                  <a:gd name="T12" fmla="*/ 0 w 63"/>
                  <a:gd name="T13" fmla="*/ 37 h 58"/>
                  <a:gd name="T14" fmla="*/ 4 w 63"/>
                  <a:gd name="T15" fmla="*/ 26 h 58"/>
                  <a:gd name="T16" fmla="*/ 43 w 63"/>
                  <a:gd name="T17" fmla="*/ 22 h 58"/>
                  <a:gd name="T18" fmla="*/ 12 w 63"/>
                  <a:gd name="T19" fmla="*/ 8 h 58"/>
                  <a:gd name="T20" fmla="*/ 17 w 63"/>
                  <a:gd name="T21" fmla="*/ 0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63" h="58">
                    <a:moveTo>
                      <a:pt x="17" y="0"/>
                    </a:moveTo>
                    <a:lnTo>
                      <a:pt x="63" y="21"/>
                    </a:lnTo>
                    <a:lnTo>
                      <a:pt x="59" y="30"/>
                    </a:lnTo>
                    <a:lnTo>
                      <a:pt x="19" y="35"/>
                    </a:lnTo>
                    <a:lnTo>
                      <a:pt x="50" y="50"/>
                    </a:lnTo>
                    <a:lnTo>
                      <a:pt x="46" y="58"/>
                    </a:lnTo>
                    <a:lnTo>
                      <a:pt x="0" y="37"/>
                    </a:lnTo>
                    <a:lnTo>
                      <a:pt x="4" y="26"/>
                    </a:lnTo>
                    <a:lnTo>
                      <a:pt x="43" y="22"/>
                    </a:lnTo>
                    <a:lnTo>
                      <a:pt x="12" y="8"/>
                    </a:lnTo>
                    <a:lnTo>
                      <a:pt x="17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85" name="íS1îḍé"/>
              <p:cNvSpPr/>
              <p:nvPr/>
            </p:nvSpPr>
            <p:spPr bwMode="auto">
              <a:xfrm>
                <a:off x="1690584" y="5045665"/>
                <a:ext cx="84138" cy="44450"/>
              </a:xfrm>
              <a:custGeom>
                <a:avLst/>
                <a:gdLst>
                  <a:gd name="T0" fmla="*/ 5 w 53"/>
                  <a:gd name="T1" fmla="*/ 0 h 28"/>
                  <a:gd name="T2" fmla="*/ 53 w 53"/>
                  <a:gd name="T3" fmla="*/ 19 h 28"/>
                  <a:gd name="T4" fmla="*/ 49 w 53"/>
                  <a:gd name="T5" fmla="*/ 28 h 28"/>
                  <a:gd name="T6" fmla="*/ 0 w 53"/>
                  <a:gd name="T7" fmla="*/ 10 h 28"/>
                  <a:gd name="T8" fmla="*/ 5 w 53"/>
                  <a:gd name="T9" fmla="*/ 0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3" h="28">
                    <a:moveTo>
                      <a:pt x="5" y="0"/>
                    </a:moveTo>
                    <a:lnTo>
                      <a:pt x="53" y="19"/>
                    </a:lnTo>
                    <a:lnTo>
                      <a:pt x="49" y="28"/>
                    </a:lnTo>
                    <a:lnTo>
                      <a:pt x="0" y="10"/>
                    </a:lnTo>
                    <a:lnTo>
                      <a:pt x="5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86" name="íṧļïḋè"/>
              <p:cNvSpPr/>
              <p:nvPr/>
            </p:nvSpPr>
            <p:spPr bwMode="auto">
              <a:xfrm>
                <a:off x="1674709" y="5091703"/>
                <a:ext cx="92075" cy="73025"/>
              </a:xfrm>
              <a:custGeom>
                <a:avLst/>
                <a:gdLst>
                  <a:gd name="T0" fmla="*/ 4 w 58"/>
                  <a:gd name="T1" fmla="*/ 3 h 46"/>
                  <a:gd name="T2" fmla="*/ 58 w 58"/>
                  <a:gd name="T3" fmla="*/ 0 h 46"/>
                  <a:gd name="T4" fmla="*/ 55 w 58"/>
                  <a:gd name="T5" fmla="*/ 11 h 46"/>
                  <a:gd name="T6" fmla="*/ 14 w 58"/>
                  <a:gd name="T7" fmla="*/ 13 h 46"/>
                  <a:gd name="T8" fmla="*/ 46 w 58"/>
                  <a:gd name="T9" fmla="*/ 35 h 46"/>
                  <a:gd name="T10" fmla="*/ 44 w 58"/>
                  <a:gd name="T11" fmla="*/ 46 h 46"/>
                  <a:gd name="T12" fmla="*/ 0 w 58"/>
                  <a:gd name="T13" fmla="*/ 14 h 46"/>
                  <a:gd name="T14" fmla="*/ 4 w 58"/>
                  <a:gd name="T15" fmla="*/ 3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58" h="46">
                    <a:moveTo>
                      <a:pt x="4" y="3"/>
                    </a:moveTo>
                    <a:lnTo>
                      <a:pt x="58" y="0"/>
                    </a:lnTo>
                    <a:lnTo>
                      <a:pt x="55" y="11"/>
                    </a:lnTo>
                    <a:lnTo>
                      <a:pt x="14" y="13"/>
                    </a:lnTo>
                    <a:lnTo>
                      <a:pt x="46" y="35"/>
                    </a:lnTo>
                    <a:lnTo>
                      <a:pt x="44" y="46"/>
                    </a:lnTo>
                    <a:lnTo>
                      <a:pt x="0" y="14"/>
                    </a:lnTo>
                    <a:lnTo>
                      <a:pt x="4" y="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87" name="ïṡḷiḋé"/>
              <p:cNvSpPr/>
              <p:nvPr/>
            </p:nvSpPr>
            <p:spPr bwMode="auto">
              <a:xfrm>
                <a:off x="1652484" y="5153615"/>
                <a:ext cx="90488" cy="73025"/>
              </a:xfrm>
              <a:custGeom>
                <a:avLst/>
                <a:gdLst>
                  <a:gd name="T0" fmla="*/ 7 w 57"/>
                  <a:gd name="T1" fmla="*/ 0 h 46"/>
                  <a:gd name="T2" fmla="*/ 57 w 57"/>
                  <a:gd name="T3" fmla="*/ 10 h 46"/>
                  <a:gd name="T4" fmla="*/ 50 w 57"/>
                  <a:gd name="T5" fmla="*/ 46 h 46"/>
                  <a:gd name="T6" fmla="*/ 42 w 57"/>
                  <a:gd name="T7" fmla="*/ 45 h 46"/>
                  <a:gd name="T8" fmla="*/ 47 w 57"/>
                  <a:gd name="T9" fmla="*/ 18 h 46"/>
                  <a:gd name="T10" fmla="*/ 36 w 57"/>
                  <a:gd name="T11" fmla="*/ 16 h 46"/>
                  <a:gd name="T12" fmla="*/ 30 w 57"/>
                  <a:gd name="T13" fmla="*/ 40 h 46"/>
                  <a:gd name="T14" fmla="*/ 22 w 57"/>
                  <a:gd name="T15" fmla="*/ 39 h 46"/>
                  <a:gd name="T16" fmla="*/ 27 w 57"/>
                  <a:gd name="T17" fmla="*/ 14 h 46"/>
                  <a:gd name="T18" fmla="*/ 14 w 57"/>
                  <a:gd name="T19" fmla="*/ 11 h 46"/>
                  <a:gd name="T20" fmla="*/ 8 w 57"/>
                  <a:gd name="T21" fmla="*/ 39 h 46"/>
                  <a:gd name="T22" fmla="*/ 0 w 57"/>
                  <a:gd name="T23" fmla="*/ 38 h 46"/>
                  <a:gd name="T24" fmla="*/ 7 w 57"/>
                  <a:gd name="T25" fmla="*/ 0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57" h="46">
                    <a:moveTo>
                      <a:pt x="7" y="0"/>
                    </a:moveTo>
                    <a:lnTo>
                      <a:pt x="57" y="10"/>
                    </a:lnTo>
                    <a:lnTo>
                      <a:pt x="50" y="46"/>
                    </a:lnTo>
                    <a:lnTo>
                      <a:pt x="42" y="45"/>
                    </a:lnTo>
                    <a:lnTo>
                      <a:pt x="47" y="18"/>
                    </a:lnTo>
                    <a:lnTo>
                      <a:pt x="36" y="16"/>
                    </a:lnTo>
                    <a:lnTo>
                      <a:pt x="30" y="40"/>
                    </a:lnTo>
                    <a:lnTo>
                      <a:pt x="22" y="39"/>
                    </a:lnTo>
                    <a:lnTo>
                      <a:pt x="27" y="14"/>
                    </a:lnTo>
                    <a:lnTo>
                      <a:pt x="14" y="11"/>
                    </a:lnTo>
                    <a:lnTo>
                      <a:pt x="8" y="39"/>
                    </a:lnTo>
                    <a:lnTo>
                      <a:pt x="0" y="38"/>
                    </a:lnTo>
                    <a:lnTo>
                      <a:pt x="7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88" name="ïşļiḋe"/>
              <p:cNvSpPr/>
              <p:nvPr/>
            </p:nvSpPr>
            <p:spPr bwMode="auto">
              <a:xfrm>
                <a:off x="1641372" y="5231403"/>
                <a:ext cx="88900" cy="71438"/>
              </a:xfrm>
              <a:custGeom>
                <a:avLst/>
                <a:gdLst>
                  <a:gd name="T0" fmla="*/ 4 w 48"/>
                  <a:gd name="T1" fmla="*/ 0 h 39"/>
                  <a:gd name="T2" fmla="*/ 48 w 48"/>
                  <a:gd name="T3" fmla="*/ 4 h 39"/>
                  <a:gd name="T4" fmla="*/ 46 w 48"/>
                  <a:gd name="T5" fmla="*/ 23 h 39"/>
                  <a:gd name="T6" fmla="*/ 44 w 48"/>
                  <a:gd name="T7" fmla="*/ 33 h 39"/>
                  <a:gd name="T8" fmla="*/ 39 w 48"/>
                  <a:gd name="T9" fmla="*/ 38 h 39"/>
                  <a:gd name="T10" fmla="*/ 32 w 48"/>
                  <a:gd name="T11" fmla="*/ 39 h 39"/>
                  <a:gd name="T12" fmla="*/ 24 w 48"/>
                  <a:gd name="T13" fmla="*/ 35 h 39"/>
                  <a:gd name="T14" fmla="*/ 21 w 48"/>
                  <a:gd name="T15" fmla="*/ 26 h 39"/>
                  <a:gd name="T16" fmla="*/ 17 w 48"/>
                  <a:gd name="T17" fmla="*/ 30 h 39"/>
                  <a:gd name="T18" fmla="*/ 9 w 48"/>
                  <a:gd name="T19" fmla="*/ 35 h 39"/>
                  <a:gd name="T20" fmla="*/ 0 w 48"/>
                  <a:gd name="T21" fmla="*/ 39 h 39"/>
                  <a:gd name="T22" fmla="*/ 1 w 48"/>
                  <a:gd name="T23" fmla="*/ 29 h 39"/>
                  <a:gd name="T24" fmla="*/ 12 w 48"/>
                  <a:gd name="T25" fmla="*/ 23 h 39"/>
                  <a:gd name="T26" fmla="*/ 18 w 48"/>
                  <a:gd name="T27" fmla="*/ 19 h 39"/>
                  <a:gd name="T28" fmla="*/ 20 w 48"/>
                  <a:gd name="T29" fmla="*/ 17 h 39"/>
                  <a:gd name="T30" fmla="*/ 21 w 48"/>
                  <a:gd name="T31" fmla="*/ 12 h 39"/>
                  <a:gd name="T32" fmla="*/ 22 w 48"/>
                  <a:gd name="T33" fmla="*/ 11 h 39"/>
                  <a:gd name="T34" fmla="*/ 3 w 48"/>
                  <a:gd name="T35" fmla="*/ 9 h 39"/>
                  <a:gd name="T36" fmla="*/ 4 w 48"/>
                  <a:gd name="T37" fmla="*/ 0 h 39"/>
                  <a:gd name="T38" fmla="*/ 29 w 48"/>
                  <a:gd name="T39" fmla="*/ 11 h 39"/>
                  <a:gd name="T40" fmla="*/ 28 w 48"/>
                  <a:gd name="T41" fmla="*/ 18 h 39"/>
                  <a:gd name="T42" fmla="*/ 28 w 48"/>
                  <a:gd name="T43" fmla="*/ 26 h 39"/>
                  <a:gd name="T44" fmla="*/ 29 w 48"/>
                  <a:gd name="T45" fmla="*/ 28 h 39"/>
                  <a:gd name="T46" fmla="*/ 32 w 48"/>
                  <a:gd name="T47" fmla="*/ 30 h 39"/>
                  <a:gd name="T48" fmla="*/ 36 w 48"/>
                  <a:gd name="T49" fmla="*/ 29 h 39"/>
                  <a:gd name="T50" fmla="*/ 38 w 48"/>
                  <a:gd name="T51" fmla="*/ 26 h 39"/>
                  <a:gd name="T52" fmla="*/ 39 w 48"/>
                  <a:gd name="T53" fmla="*/ 19 h 39"/>
                  <a:gd name="T54" fmla="*/ 40 w 48"/>
                  <a:gd name="T55" fmla="*/ 12 h 39"/>
                  <a:gd name="T56" fmla="*/ 29 w 48"/>
                  <a:gd name="T57" fmla="*/ 11 h 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48" h="39">
                    <a:moveTo>
                      <a:pt x="4" y="0"/>
                    </a:moveTo>
                    <a:cubicBezTo>
                      <a:pt x="48" y="4"/>
                      <a:pt x="48" y="4"/>
                      <a:pt x="48" y="4"/>
                    </a:cubicBezTo>
                    <a:cubicBezTo>
                      <a:pt x="46" y="23"/>
                      <a:pt x="46" y="23"/>
                      <a:pt x="46" y="23"/>
                    </a:cubicBezTo>
                    <a:cubicBezTo>
                      <a:pt x="46" y="27"/>
                      <a:pt x="45" y="31"/>
                      <a:pt x="44" y="33"/>
                    </a:cubicBezTo>
                    <a:cubicBezTo>
                      <a:pt x="43" y="35"/>
                      <a:pt x="41" y="36"/>
                      <a:pt x="39" y="38"/>
                    </a:cubicBezTo>
                    <a:cubicBezTo>
                      <a:pt x="37" y="39"/>
                      <a:pt x="35" y="39"/>
                      <a:pt x="32" y="39"/>
                    </a:cubicBezTo>
                    <a:cubicBezTo>
                      <a:pt x="29" y="38"/>
                      <a:pt x="26" y="37"/>
                      <a:pt x="24" y="35"/>
                    </a:cubicBezTo>
                    <a:cubicBezTo>
                      <a:pt x="22" y="33"/>
                      <a:pt x="21" y="30"/>
                      <a:pt x="21" y="26"/>
                    </a:cubicBezTo>
                    <a:cubicBezTo>
                      <a:pt x="20" y="28"/>
                      <a:pt x="18" y="29"/>
                      <a:pt x="17" y="30"/>
                    </a:cubicBezTo>
                    <a:cubicBezTo>
                      <a:pt x="16" y="32"/>
                      <a:pt x="13" y="33"/>
                      <a:pt x="9" y="35"/>
                    </a:cubicBezTo>
                    <a:cubicBezTo>
                      <a:pt x="0" y="39"/>
                      <a:pt x="0" y="39"/>
                      <a:pt x="0" y="39"/>
                    </a:cubicBezTo>
                    <a:cubicBezTo>
                      <a:pt x="1" y="29"/>
                      <a:pt x="1" y="29"/>
                      <a:pt x="1" y="29"/>
                    </a:cubicBezTo>
                    <a:cubicBezTo>
                      <a:pt x="12" y="23"/>
                      <a:pt x="12" y="23"/>
                      <a:pt x="12" y="23"/>
                    </a:cubicBezTo>
                    <a:cubicBezTo>
                      <a:pt x="15" y="21"/>
                      <a:pt x="17" y="20"/>
                      <a:pt x="18" y="19"/>
                    </a:cubicBezTo>
                    <a:cubicBezTo>
                      <a:pt x="19" y="18"/>
                      <a:pt x="20" y="18"/>
                      <a:pt x="20" y="17"/>
                    </a:cubicBezTo>
                    <a:cubicBezTo>
                      <a:pt x="21" y="16"/>
                      <a:pt x="21" y="14"/>
                      <a:pt x="21" y="12"/>
                    </a:cubicBezTo>
                    <a:cubicBezTo>
                      <a:pt x="22" y="11"/>
                      <a:pt x="22" y="11"/>
                      <a:pt x="22" y="11"/>
                    </a:cubicBezTo>
                    <a:cubicBezTo>
                      <a:pt x="3" y="9"/>
                      <a:pt x="3" y="9"/>
                      <a:pt x="3" y="9"/>
                    </a:cubicBezTo>
                    <a:lnTo>
                      <a:pt x="4" y="0"/>
                    </a:lnTo>
                    <a:close/>
                    <a:moveTo>
                      <a:pt x="29" y="11"/>
                    </a:moveTo>
                    <a:cubicBezTo>
                      <a:pt x="28" y="18"/>
                      <a:pt x="28" y="18"/>
                      <a:pt x="28" y="18"/>
                    </a:cubicBezTo>
                    <a:cubicBezTo>
                      <a:pt x="28" y="22"/>
                      <a:pt x="27" y="25"/>
                      <a:pt x="28" y="26"/>
                    </a:cubicBezTo>
                    <a:cubicBezTo>
                      <a:pt x="28" y="27"/>
                      <a:pt x="28" y="28"/>
                      <a:pt x="29" y="28"/>
                    </a:cubicBezTo>
                    <a:cubicBezTo>
                      <a:pt x="30" y="29"/>
                      <a:pt x="31" y="30"/>
                      <a:pt x="32" y="30"/>
                    </a:cubicBezTo>
                    <a:cubicBezTo>
                      <a:pt x="34" y="30"/>
                      <a:pt x="35" y="30"/>
                      <a:pt x="36" y="29"/>
                    </a:cubicBezTo>
                    <a:cubicBezTo>
                      <a:pt x="37" y="28"/>
                      <a:pt x="38" y="27"/>
                      <a:pt x="38" y="26"/>
                    </a:cubicBezTo>
                    <a:cubicBezTo>
                      <a:pt x="38" y="25"/>
                      <a:pt x="39" y="23"/>
                      <a:pt x="39" y="19"/>
                    </a:cubicBezTo>
                    <a:cubicBezTo>
                      <a:pt x="40" y="12"/>
                      <a:pt x="40" y="12"/>
                      <a:pt x="40" y="12"/>
                    </a:cubicBezTo>
                    <a:lnTo>
                      <a:pt x="29" y="1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89" name="îś1iḓê"/>
              <p:cNvSpPr/>
              <p:nvPr/>
            </p:nvSpPr>
            <p:spPr bwMode="auto">
              <a:xfrm>
                <a:off x="1641372" y="5312365"/>
                <a:ext cx="82550" cy="66675"/>
              </a:xfrm>
              <a:custGeom>
                <a:avLst/>
                <a:gdLst>
                  <a:gd name="T0" fmla="*/ 15 w 45"/>
                  <a:gd name="T1" fmla="*/ 0 h 36"/>
                  <a:gd name="T2" fmla="*/ 16 w 45"/>
                  <a:gd name="T3" fmla="*/ 8 h 36"/>
                  <a:gd name="T4" fmla="*/ 9 w 45"/>
                  <a:gd name="T5" fmla="*/ 12 h 36"/>
                  <a:gd name="T6" fmla="*/ 7 w 45"/>
                  <a:gd name="T7" fmla="*/ 18 h 36"/>
                  <a:gd name="T8" fmla="*/ 9 w 45"/>
                  <a:gd name="T9" fmla="*/ 25 h 36"/>
                  <a:gd name="T10" fmla="*/ 13 w 45"/>
                  <a:gd name="T11" fmla="*/ 27 h 36"/>
                  <a:gd name="T12" fmla="*/ 16 w 45"/>
                  <a:gd name="T13" fmla="*/ 26 h 36"/>
                  <a:gd name="T14" fmla="*/ 18 w 45"/>
                  <a:gd name="T15" fmla="*/ 23 h 36"/>
                  <a:gd name="T16" fmla="*/ 20 w 45"/>
                  <a:gd name="T17" fmla="*/ 15 h 36"/>
                  <a:gd name="T18" fmla="*/ 24 w 45"/>
                  <a:gd name="T19" fmla="*/ 5 h 36"/>
                  <a:gd name="T20" fmla="*/ 33 w 45"/>
                  <a:gd name="T21" fmla="*/ 1 h 36"/>
                  <a:gd name="T22" fmla="*/ 39 w 45"/>
                  <a:gd name="T23" fmla="*/ 3 h 36"/>
                  <a:gd name="T24" fmla="*/ 44 w 45"/>
                  <a:gd name="T25" fmla="*/ 9 h 36"/>
                  <a:gd name="T26" fmla="*/ 45 w 45"/>
                  <a:gd name="T27" fmla="*/ 17 h 36"/>
                  <a:gd name="T28" fmla="*/ 42 w 45"/>
                  <a:gd name="T29" fmla="*/ 30 h 36"/>
                  <a:gd name="T30" fmla="*/ 32 w 45"/>
                  <a:gd name="T31" fmla="*/ 34 h 36"/>
                  <a:gd name="T32" fmla="*/ 31 w 45"/>
                  <a:gd name="T33" fmla="*/ 25 h 36"/>
                  <a:gd name="T34" fmla="*/ 36 w 45"/>
                  <a:gd name="T35" fmla="*/ 23 h 36"/>
                  <a:gd name="T36" fmla="*/ 38 w 45"/>
                  <a:gd name="T37" fmla="*/ 17 h 36"/>
                  <a:gd name="T38" fmla="*/ 36 w 45"/>
                  <a:gd name="T39" fmla="*/ 11 h 36"/>
                  <a:gd name="T40" fmla="*/ 33 w 45"/>
                  <a:gd name="T41" fmla="*/ 10 h 36"/>
                  <a:gd name="T42" fmla="*/ 31 w 45"/>
                  <a:gd name="T43" fmla="*/ 11 h 36"/>
                  <a:gd name="T44" fmla="*/ 28 w 45"/>
                  <a:gd name="T45" fmla="*/ 19 h 36"/>
                  <a:gd name="T46" fmla="*/ 25 w 45"/>
                  <a:gd name="T47" fmla="*/ 29 h 36"/>
                  <a:gd name="T48" fmla="*/ 20 w 45"/>
                  <a:gd name="T49" fmla="*/ 34 h 36"/>
                  <a:gd name="T50" fmla="*/ 13 w 45"/>
                  <a:gd name="T51" fmla="*/ 36 h 36"/>
                  <a:gd name="T52" fmla="*/ 6 w 45"/>
                  <a:gd name="T53" fmla="*/ 33 h 36"/>
                  <a:gd name="T54" fmla="*/ 1 w 45"/>
                  <a:gd name="T55" fmla="*/ 28 h 36"/>
                  <a:gd name="T56" fmla="*/ 0 w 45"/>
                  <a:gd name="T57" fmla="*/ 18 h 36"/>
                  <a:gd name="T58" fmla="*/ 3 w 45"/>
                  <a:gd name="T59" fmla="*/ 5 h 36"/>
                  <a:gd name="T60" fmla="*/ 15 w 45"/>
                  <a:gd name="T61" fmla="*/ 0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45" h="36">
                    <a:moveTo>
                      <a:pt x="15" y="0"/>
                    </a:moveTo>
                    <a:cubicBezTo>
                      <a:pt x="16" y="8"/>
                      <a:pt x="16" y="8"/>
                      <a:pt x="16" y="8"/>
                    </a:cubicBezTo>
                    <a:cubicBezTo>
                      <a:pt x="13" y="9"/>
                      <a:pt x="10" y="10"/>
                      <a:pt x="9" y="12"/>
                    </a:cubicBezTo>
                    <a:cubicBezTo>
                      <a:pt x="8" y="13"/>
                      <a:pt x="7" y="15"/>
                      <a:pt x="7" y="18"/>
                    </a:cubicBezTo>
                    <a:cubicBezTo>
                      <a:pt x="7" y="21"/>
                      <a:pt x="8" y="23"/>
                      <a:pt x="9" y="25"/>
                    </a:cubicBezTo>
                    <a:cubicBezTo>
                      <a:pt x="10" y="26"/>
                      <a:pt x="12" y="27"/>
                      <a:pt x="13" y="27"/>
                    </a:cubicBezTo>
                    <a:cubicBezTo>
                      <a:pt x="14" y="27"/>
                      <a:pt x="15" y="26"/>
                      <a:pt x="16" y="26"/>
                    </a:cubicBezTo>
                    <a:cubicBezTo>
                      <a:pt x="17" y="25"/>
                      <a:pt x="17" y="24"/>
                      <a:pt x="18" y="23"/>
                    </a:cubicBezTo>
                    <a:cubicBezTo>
                      <a:pt x="18" y="22"/>
                      <a:pt x="19" y="19"/>
                      <a:pt x="20" y="15"/>
                    </a:cubicBezTo>
                    <a:cubicBezTo>
                      <a:pt x="21" y="11"/>
                      <a:pt x="22" y="7"/>
                      <a:pt x="24" y="5"/>
                    </a:cubicBezTo>
                    <a:cubicBezTo>
                      <a:pt x="26" y="3"/>
                      <a:pt x="29" y="1"/>
                      <a:pt x="33" y="1"/>
                    </a:cubicBezTo>
                    <a:cubicBezTo>
                      <a:pt x="35" y="1"/>
                      <a:pt x="37" y="2"/>
                      <a:pt x="39" y="3"/>
                    </a:cubicBezTo>
                    <a:cubicBezTo>
                      <a:pt x="41" y="4"/>
                      <a:pt x="43" y="6"/>
                      <a:pt x="44" y="9"/>
                    </a:cubicBezTo>
                    <a:cubicBezTo>
                      <a:pt x="45" y="11"/>
                      <a:pt x="45" y="14"/>
                      <a:pt x="45" y="17"/>
                    </a:cubicBezTo>
                    <a:cubicBezTo>
                      <a:pt x="45" y="23"/>
                      <a:pt x="44" y="27"/>
                      <a:pt x="42" y="30"/>
                    </a:cubicBezTo>
                    <a:cubicBezTo>
                      <a:pt x="39" y="33"/>
                      <a:pt x="36" y="34"/>
                      <a:pt x="32" y="34"/>
                    </a:cubicBezTo>
                    <a:cubicBezTo>
                      <a:pt x="31" y="25"/>
                      <a:pt x="31" y="25"/>
                      <a:pt x="31" y="25"/>
                    </a:cubicBezTo>
                    <a:cubicBezTo>
                      <a:pt x="34" y="25"/>
                      <a:pt x="35" y="24"/>
                      <a:pt x="36" y="23"/>
                    </a:cubicBezTo>
                    <a:cubicBezTo>
                      <a:pt x="37" y="22"/>
                      <a:pt x="38" y="20"/>
                      <a:pt x="38" y="17"/>
                    </a:cubicBezTo>
                    <a:cubicBezTo>
                      <a:pt x="38" y="15"/>
                      <a:pt x="37" y="13"/>
                      <a:pt x="36" y="11"/>
                    </a:cubicBezTo>
                    <a:cubicBezTo>
                      <a:pt x="35" y="10"/>
                      <a:pt x="35" y="10"/>
                      <a:pt x="33" y="10"/>
                    </a:cubicBezTo>
                    <a:cubicBezTo>
                      <a:pt x="32" y="10"/>
                      <a:pt x="31" y="10"/>
                      <a:pt x="31" y="11"/>
                    </a:cubicBezTo>
                    <a:cubicBezTo>
                      <a:pt x="30" y="12"/>
                      <a:pt x="29" y="15"/>
                      <a:pt x="28" y="19"/>
                    </a:cubicBezTo>
                    <a:cubicBezTo>
                      <a:pt x="27" y="24"/>
                      <a:pt x="26" y="27"/>
                      <a:pt x="25" y="29"/>
                    </a:cubicBezTo>
                    <a:cubicBezTo>
                      <a:pt x="24" y="31"/>
                      <a:pt x="22" y="33"/>
                      <a:pt x="20" y="34"/>
                    </a:cubicBezTo>
                    <a:cubicBezTo>
                      <a:pt x="18" y="35"/>
                      <a:pt x="16" y="36"/>
                      <a:pt x="13" y="36"/>
                    </a:cubicBezTo>
                    <a:cubicBezTo>
                      <a:pt x="11" y="36"/>
                      <a:pt x="8" y="35"/>
                      <a:pt x="6" y="33"/>
                    </a:cubicBezTo>
                    <a:cubicBezTo>
                      <a:pt x="4" y="32"/>
                      <a:pt x="2" y="30"/>
                      <a:pt x="1" y="28"/>
                    </a:cubicBezTo>
                    <a:cubicBezTo>
                      <a:pt x="0" y="25"/>
                      <a:pt x="0" y="22"/>
                      <a:pt x="0" y="18"/>
                    </a:cubicBezTo>
                    <a:cubicBezTo>
                      <a:pt x="0" y="12"/>
                      <a:pt x="1" y="8"/>
                      <a:pt x="3" y="5"/>
                    </a:cubicBezTo>
                    <a:cubicBezTo>
                      <a:pt x="6" y="2"/>
                      <a:pt x="10" y="0"/>
                      <a:pt x="15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90" name="íş1ïḓe"/>
              <p:cNvSpPr/>
              <p:nvPr/>
            </p:nvSpPr>
            <p:spPr bwMode="auto">
              <a:xfrm>
                <a:off x="1642959" y="5385390"/>
                <a:ext cx="84138" cy="22225"/>
              </a:xfrm>
              <a:custGeom>
                <a:avLst/>
                <a:gdLst>
                  <a:gd name="T0" fmla="*/ 0 w 53"/>
                  <a:gd name="T1" fmla="*/ 5 h 14"/>
                  <a:gd name="T2" fmla="*/ 51 w 53"/>
                  <a:gd name="T3" fmla="*/ 0 h 14"/>
                  <a:gd name="T4" fmla="*/ 53 w 53"/>
                  <a:gd name="T5" fmla="*/ 11 h 14"/>
                  <a:gd name="T6" fmla="*/ 1 w 53"/>
                  <a:gd name="T7" fmla="*/ 14 h 14"/>
                  <a:gd name="T8" fmla="*/ 0 w 53"/>
                  <a:gd name="T9" fmla="*/ 5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3" h="14">
                    <a:moveTo>
                      <a:pt x="0" y="5"/>
                    </a:moveTo>
                    <a:lnTo>
                      <a:pt x="51" y="0"/>
                    </a:lnTo>
                    <a:lnTo>
                      <a:pt x="53" y="11"/>
                    </a:lnTo>
                    <a:lnTo>
                      <a:pt x="1" y="14"/>
                    </a:lnTo>
                    <a:lnTo>
                      <a:pt x="0" y="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91" name="ïṩlîḋè"/>
              <p:cNvSpPr/>
              <p:nvPr/>
            </p:nvSpPr>
            <p:spPr bwMode="auto">
              <a:xfrm>
                <a:off x="1649309" y="5407615"/>
                <a:ext cx="84138" cy="66675"/>
              </a:xfrm>
              <a:custGeom>
                <a:avLst/>
                <a:gdLst>
                  <a:gd name="T0" fmla="*/ 0 w 53"/>
                  <a:gd name="T1" fmla="*/ 22 h 42"/>
                  <a:gd name="T2" fmla="*/ 42 w 53"/>
                  <a:gd name="T3" fmla="*/ 17 h 42"/>
                  <a:gd name="T4" fmla="*/ 39 w 53"/>
                  <a:gd name="T5" fmla="*/ 1 h 42"/>
                  <a:gd name="T6" fmla="*/ 49 w 53"/>
                  <a:gd name="T7" fmla="*/ 0 h 42"/>
                  <a:gd name="T8" fmla="*/ 53 w 53"/>
                  <a:gd name="T9" fmla="*/ 41 h 42"/>
                  <a:gd name="T10" fmla="*/ 45 w 53"/>
                  <a:gd name="T11" fmla="*/ 42 h 42"/>
                  <a:gd name="T12" fmla="*/ 43 w 53"/>
                  <a:gd name="T13" fmla="*/ 27 h 42"/>
                  <a:gd name="T14" fmla="*/ 1 w 53"/>
                  <a:gd name="T15" fmla="*/ 33 h 42"/>
                  <a:gd name="T16" fmla="*/ 0 w 53"/>
                  <a:gd name="T17" fmla="*/ 22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3" h="42">
                    <a:moveTo>
                      <a:pt x="0" y="22"/>
                    </a:moveTo>
                    <a:lnTo>
                      <a:pt x="42" y="17"/>
                    </a:lnTo>
                    <a:lnTo>
                      <a:pt x="39" y="1"/>
                    </a:lnTo>
                    <a:lnTo>
                      <a:pt x="49" y="0"/>
                    </a:lnTo>
                    <a:lnTo>
                      <a:pt x="53" y="41"/>
                    </a:lnTo>
                    <a:lnTo>
                      <a:pt x="45" y="42"/>
                    </a:lnTo>
                    <a:lnTo>
                      <a:pt x="43" y="27"/>
                    </a:lnTo>
                    <a:lnTo>
                      <a:pt x="1" y="33"/>
                    </a:lnTo>
                    <a:lnTo>
                      <a:pt x="0" y="2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92" name="ïṣľîďe"/>
              <p:cNvSpPr/>
              <p:nvPr/>
            </p:nvSpPr>
            <p:spPr bwMode="auto">
              <a:xfrm>
                <a:off x="1662009" y="5471115"/>
                <a:ext cx="90488" cy="73025"/>
              </a:xfrm>
              <a:custGeom>
                <a:avLst/>
                <a:gdLst>
                  <a:gd name="T0" fmla="*/ 0 w 57"/>
                  <a:gd name="T1" fmla="*/ 29 h 46"/>
                  <a:gd name="T2" fmla="*/ 21 w 57"/>
                  <a:gd name="T3" fmla="*/ 24 h 46"/>
                  <a:gd name="T4" fmla="*/ 45 w 57"/>
                  <a:gd name="T5" fmla="*/ 0 h 46"/>
                  <a:gd name="T6" fmla="*/ 49 w 57"/>
                  <a:gd name="T7" fmla="*/ 11 h 46"/>
                  <a:gd name="T8" fmla="*/ 31 w 57"/>
                  <a:gd name="T9" fmla="*/ 28 h 46"/>
                  <a:gd name="T10" fmla="*/ 53 w 57"/>
                  <a:gd name="T11" fmla="*/ 35 h 46"/>
                  <a:gd name="T12" fmla="*/ 57 w 57"/>
                  <a:gd name="T13" fmla="*/ 46 h 46"/>
                  <a:gd name="T14" fmla="*/ 23 w 57"/>
                  <a:gd name="T15" fmla="*/ 35 h 46"/>
                  <a:gd name="T16" fmla="*/ 2 w 57"/>
                  <a:gd name="T17" fmla="*/ 39 h 46"/>
                  <a:gd name="T18" fmla="*/ 0 w 57"/>
                  <a:gd name="T19" fmla="*/ 29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57" h="46">
                    <a:moveTo>
                      <a:pt x="0" y="29"/>
                    </a:moveTo>
                    <a:lnTo>
                      <a:pt x="21" y="24"/>
                    </a:lnTo>
                    <a:lnTo>
                      <a:pt x="45" y="0"/>
                    </a:lnTo>
                    <a:lnTo>
                      <a:pt x="49" y="11"/>
                    </a:lnTo>
                    <a:lnTo>
                      <a:pt x="31" y="28"/>
                    </a:lnTo>
                    <a:lnTo>
                      <a:pt x="53" y="35"/>
                    </a:lnTo>
                    <a:lnTo>
                      <a:pt x="57" y="46"/>
                    </a:lnTo>
                    <a:lnTo>
                      <a:pt x="23" y="35"/>
                    </a:lnTo>
                    <a:lnTo>
                      <a:pt x="2" y="39"/>
                    </a:lnTo>
                    <a:lnTo>
                      <a:pt x="0" y="2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93" name="íśļiḓe"/>
              <p:cNvSpPr/>
              <p:nvPr/>
            </p:nvSpPr>
            <p:spPr bwMode="auto">
              <a:xfrm>
                <a:off x="1704872" y="5609228"/>
                <a:ext cx="85725" cy="80963"/>
              </a:xfrm>
              <a:custGeom>
                <a:avLst/>
                <a:gdLst>
                  <a:gd name="T0" fmla="*/ 15 w 47"/>
                  <a:gd name="T1" fmla="*/ 2 h 44"/>
                  <a:gd name="T2" fmla="*/ 26 w 47"/>
                  <a:gd name="T3" fmla="*/ 0 h 44"/>
                  <a:gd name="T4" fmla="*/ 33 w 47"/>
                  <a:gd name="T5" fmla="*/ 1 h 44"/>
                  <a:gd name="T6" fmla="*/ 39 w 47"/>
                  <a:gd name="T7" fmla="*/ 4 h 44"/>
                  <a:gd name="T8" fmla="*/ 44 w 47"/>
                  <a:gd name="T9" fmla="*/ 12 h 44"/>
                  <a:gd name="T10" fmla="*/ 45 w 47"/>
                  <a:gd name="T11" fmla="*/ 29 h 44"/>
                  <a:gd name="T12" fmla="*/ 32 w 47"/>
                  <a:gd name="T13" fmla="*/ 41 h 44"/>
                  <a:gd name="T14" fmla="*/ 15 w 47"/>
                  <a:gd name="T15" fmla="*/ 43 h 44"/>
                  <a:gd name="T16" fmla="*/ 3 w 47"/>
                  <a:gd name="T17" fmla="*/ 31 h 44"/>
                  <a:gd name="T18" fmla="*/ 2 w 47"/>
                  <a:gd name="T19" fmla="*/ 14 h 44"/>
                  <a:gd name="T20" fmla="*/ 15 w 47"/>
                  <a:gd name="T21" fmla="*/ 2 h 44"/>
                  <a:gd name="T22" fmla="*/ 19 w 47"/>
                  <a:gd name="T23" fmla="*/ 10 h 44"/>
                  <a:gd name="T24" fmla="*/ 10 w 47"/>
                  <a:gd name="T25" fmla="*/ 18 h 44"/>
                  <a:gd name="T26" fmla="*/ 10 w 47"/>
                  <a:gd name="T27" fmla="*/ 28 h 44"/>
                  <a:gd name="T28" fmla="*/ 17 w 47"/>
                  <a:gd name="T29" fmla="*/ 34 h 44"/>
                  <a:gd name="T30" fmla="*/ 29 w 47"/>
                  <a:gd name="T31" fmla="*/ 33 h 44"/>
                  <a:gd name="T32" fmla="*/ 38 w 47"/>
                  <a:gd name="T33" fmla="*/ 25 h 44"/>
                  <a:gd name="T34" fmla="*/ 37 w 47"/>
                  <a:gd name="T35" fmla="*/ 16 h 44"/>
                  <a:gd name="T36" fmla="*/ 30 w 47"/>
                  <a:gd name="T37" fmla="*/ 9 h 44"/>
                  <a:gd name="T38" fmla="*/ 19 w 47"/>
                  <a:gd name="T39" fmla="*/ 10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47" h="44">
                    <a:moveTo>
                      <a:pt x="15" y="2"/>
                    </a:moveTo>
                    <a:cubicBezTo>
                      <a:pt x="19" y="0"/>
                      <a:pt x="23" y="0"/>
                      <a:pt x="26" y="0"/>
                    </a:cubicBezTo>
                    <a:cubicBezTo>
                      <a:pt x="28" y="0"/>
                      <a:pt x="31" y="0"/>
                      <a:pt x="33" y="1"/>
                    </a:cubicBezTo>
                    <a:cubicBezTo>
                      <a:pt x="35" y="2"/>
                      <a:pt x="37" y="3"/>
                      <a:pt x="39" y="4"/>
                    </a:cubicBezTo>
                    <a:cubicBezTo>
                      <a:pt x="41" y="6"/>
                      <a:pt x="43" y="9"/>
                      <a:pt x="44" y="12"/>
                    </a:cubicBezTo>
                    <a:cubicBezTo>
                      <a:pt x="47" y="18"/>
                      <a:pt x="47" y="24"/>
                      <a:pt x="45" y="29"/>
                    </a:cubicBezTo>
                    <a:cubicBezTo>
                      <a:pt x="43" y="34"/>
                      <a:pt x="39" y="38"/>
                      <a:pt x="32" y="41"/>
                    </a:cubicBezTo>
                    <a:cubicBezTo>
                      <a:pt x="26" y="44"/>
                      <a:pt x="20" y="44"/>
                      <a:pt x="15" y="43"/>
                    </a:cubicBezTo>
                    <a:cubicBezTo>
                      <a:pt x="9" y="41"/>
                      <a:pt x="5" y="37"/>
                      <a:pt x="3" y="31"/>
                    </a:cubicBezTo>
                    <a:cubicBezTo>
                      <a:pt x="0" y="25"/>
                      <a:pt x="0" y="19"/>
                      <a:pt x="2" y="14"/>
                    </a:cubicBezTo>
                    <a:cubicBezTo>
                      <a:pt x="4" y="9"/>
                      <a:pt x="8" y="5"/>
                      <a:pt x="15" y="2"/>
                    </a:cubicBezTo>
                    <a:close/>
                    <a:moveTo>
                      <a:pt x="19" y="10"/>
                    </a:moveTo>
                    <a:cubicBezTo>
                      <a:pt x="14" y="12"/>
                      <a:pt x="11" y="15"/>
                      <a:pt x="10" y="18"/>
                    </a:cubicBezTo>
                    <a:cubicBezTo>
                      <a:pt x="8" y="21"/>
                      <a:pt x="8" y="24"/>
                      <a:pt x="10" y="28"/>
                    </a:cubicBezTo>
                    <a:cubicBezTo>
                      <a:pt x="11" y="31"/>
                      <a:pt x="13" y="33"/>
                      <a:pt x="17" y="34"/>
                    </a:cubicBezTo>
                    <a:cubicBezTo>
                      <a:pt x="20" y="35"/>
                      <a:pt x="24" y="35"/>
                      <a:pt x="29" y="33"/>
                    </a:cubicBezTo>
                    <a:cubicBezTo>
                      <a:pt x="33" y="31"/>
                      <a:pt x="36" y="28"/>
                      <a:pt x="38" y="25"/>
                    </a:cubicBezTo>
                    <a:cubicBezTo>
                      <a:pt x="39" y="22"/>
                      <a:pt x="39" y="19"/>
                      <a:pt x="37" y="16"/>
                    </a:cubicBezTo>
                    <a:cubicBezTo>
                      <a:pt x="36" y="12"/>
                      <a:pt x="34" y="10"/>
                      <a:pt x="30" y="9"/>
                    </a:cubicBezTo>
                    <a:cubicBezTo>
                      <a:pt x="27" y="8"/>
                      <a:pt x="23" y="8"/>
                      <a:pt x="19" y="1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94" name="î$ḷïďe"/>
              <p:cNvSpPr/>
              <p:nvPr/>
            </p:nvSpPr>
            <p:spPr bwMode="auto">
              <a:xfrm>
                <a:off x="1733447" y="5675903"/>
                <a:ext cx="98425" cy="66675"/>
              </a:xfrm>
              <a:custGeom>
                <a:avLst/>
                <a:gdLst>
                  <a:gd name="T0" fmla="*/ 0 w 62"/>
                  <a:gd name="T1" fmla="*/ 26 h 42"/>
                  <a:gd name="T2" fmla="*/ 45 w 62"/>
                  <a:gd name="T3" fmla="*/ 0 h 42"/>
                  <a:gd name="T4" fmla="*/ 62 w 62"/>
                  <a:gd name="T5" fmla="*/ 30 h 42"/>
                  <a:gd name="T6" fmla="*/ 55 w 62"/>
                  <a:gd name="T7" fmla="*/ 35 h 42"/>
                  <a:gd name="T8" fmla="*/ 43 w 62"/>
                  <a:gd name="T9" fmla="*/ 14 h 42"/>
                  <a:gd name="T10" fmla="*/ 32 w 62"/>
                  <a:gd name="T11" fmla="*/ 20 h 42"/>
                  <a:gd name="T12" fmla="*/ 43 w 62"/>
                  <a:gd name="T13" fmla="*/ 38 h 42"/>
                  <a:gd name="T14" fmla="*/ 35 w 62"/>
                  <a:gd name="T15" fmla="*/ 42 h 42"/>
                  <a:gd name="T16" fmla="*/ 25 w 62"/>
                  <a:gd name="T17" fmla="*/ 23 h 42"/>
                  <a:gd name="T18" fmla="*/ 6 w 62"/>
                  <a:gd name="T19" fmla="*/ 35 h 42"/>
                  <a:gd name="T20" fmla="*/ 0 w 62"/>
                  <a:gd name="T21" fmla="*/ 26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62" h="42">
                    <a:moveTo>
                      <a:pt x="0" y="26"/>
                    </a:moveTo>
                    <a:lnTo>
                      <a:pt x="45" y="0"/>
                    </a:lnTo>
                    <a:lnTo>
                      <a:pt x="62" y="30"/>
                    </a:lnTo>
                    <a:lnTo>
                      <a:pt x="55" y="35"/>
                    </a:lnTo>
                    <a:lnTo>
                      <a:pt x="43" y="14"/>
                    </a:lnTo>
                    <a:lnTo>
                      <a:pt x="32" y="20"/>
                    </a:lnTo>
                    <a:lnTo>
                      <a:pt x="43" y="38"/>
                    </a:lnTo>
                    <a:lnTo>
                      <a:pt x="35" y="42"/>
                    </a:lnTo>
                    <a:lnTo>
                      <a:pt x="25" y="23"/>
                    </a:lnTo>
                    <a:lnTo>
                      <a:pt x="6" y="35"/>
                    </a:lnTo>
                    <a:lnTo>
                      <a:pt x="0" y="26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95" name="îśḻîḍe"/>
              <p:cNvSpPr/>
              <p:nvPr/>
            </p:nvSpPr>
            <p:spPr bwMode="auto">
              <a:xfrm>
                <a:off x="1812822" y="5785440"/>
                <a:ext cx="85725" cy="82550"/>
              </a:xfrm>
              <a:custGeom>
                <a:avLst/>
                <a:gdLst>
                  <a:gd name="T0" fmla="*/ 6 w 46"/>
                  <a:gd name="T1" fmla="*/ 13 h 45"/>
                  <a:gd name="T2" fmla="*/ 12 w 46"/>
                  <a:gd name="T3" fmla="*/ 19 h 45"/>
                  <a:gd name="T4" fmla="*/ 9 w 46"/>
                  <a:gd name="T5" fmla="*/ 26 h 45"/>
                  <a:gd name="T6" fmla="*/ 11 w 46"/>
                  <a:gd name="T7" fmla="*/ 32 h 45"/>
                  <a:gd name="T8" fmla="*/ 17 w 46"/>
                  <a:gd name="T9" fmla="*/ 36 h 45"/>
                  <a:gd name="T10" fmla="*/ 22 w 46"/>
                  <a:gd name="T11" fmla="*/ 35 h 45"/>
                  <a:gd name="T12" fmla="*/ 23 w 46"/>
                  <a:gd name="T13" fmla="*/ 32 h 45"/>
                  <a:gd name="T14" fmla="*/ 22 w 46"/>
                  <a:gd name="T15" fmla="*/ 29 h 45"/>
                  <a:gd name="T16" fmla="*/ 19 w 46"/>
                  <a:gd name="T17" fmla="*/ 22 h 45"/>
                  <a:gd name="T18" fmla="*/ 16 w 46"/>
                  <a:gd name="T19" fmla="*/ 12 h 45"/>
                  <a:gd name="T20" fmla="*/ 21 w 46"/>
                  <a:gd name="T21" fmla="*/ 3 h 45"/>
                  <a:gd name="T22" fmla="*/ 27 w 46"/>
                  <a:gd name="T23" fmla="*/ 0 h 45"/>
                  <a:gd name="T24" fmla="*/ 34 w 46"/>
                  <a:gd name="T25" fmla="*/ 2 h 45"/>
                  <a:gd name="T26" fmla="*/ 40 w 46"/>
                  <a:gd name="T27" fmla="*/ 8 h 45"/>
                  <a:gd name="T28" fmla="*/ 45 w 46"/>
                  <a:gd name="T29" fmla="*/ 19 h 45"/>
                  <a:gd name="T30" fmla="*/ 41 w 46"/>
                  <a:gd name="T31" fmla="*/ 29 h 45"/>
                  <a:gd name="T32" fmla="*/ 35 w 46"/>
                  <a:gd name="T33" fmla="*/ 22 h 45"/>
                  <a:gd name="T34" fmla="*/ 37 w 46"/>
                  <a:gd name="T35" fmla="*/ 17 h 45"/>
                  <a:gd name="T36" fmla="*/ 35 w 46"/>
                  <a:gd name="T37" fmla="*/ 12 h 45"/>
                  <a:gd name="T38" fmla="*/ 30 w 46"/>
                  <a:gd name="T39" fmla="*/ 8 h 45"/>
                  <a:gd name="T40" fmla="*/ 27 w 46"/>
                  <a:gd name="T41" fmla="*/ 9 h 45"/>
                  <a:gd name="T42" fmla="*/ 25 w 46"/>
                  <a:gd name="T43" fmla="*/ 12 h 45"/>
                  <a:gd name="T44" fmla="*/ 28 w 46"/>
                  <a:gd name="T45" fmla="*/ 20 h 45"/>
                  <a:gd name="T46" fmla="*/ 32 w 46"/>
                  <a:gd name="T47" fmla="*/ 29 h 45"/>
                  <a:gd name="T48" fmla="*/ 31 w 46"/>
                  <a:gd name="T49" fmla="*/ 36 h 45"/>
                  <a:gd name="T50" fmla="*/ 27 w 46"/>
                  <a:gd name="T51" fmla="*/ 42 h 45"/>
                  <a:gd name="T52" fmla="*/ 20 w 46"/>
                  <a:gd name="T53" fmla="*/ 45 h 45"/>
                  <a:gd name="T54" fmla="*/ 13 w 46"/>
                  <a:gd name="T55" fmla="*/ 43 h 45"/>
                  <a:gd name="T56" fmla="*/ 6 w 46"/>
                  <a:gd name="T57" fmla="*/ 37 h 45"/>
                  <a:gd name="T58" fmla="*/ 0 w 46"/>
                  <a:gd name="T59" fmla="*/ 24 h 45"/>
                  <a:gd name="T60" fmla="*/ 6 w 46"/>
                  <a:gd name="T61" fmla="*/ 13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46" h="45">
                    <a:moveTo>
                      <a:pt x="6" y="13"/>
                    </a:moveTo>
                    <a:cubicBezTo>
                      <a:pt x="12" y="19"/>
                      <a:pt x="12" y="19"/>
                      <a:pt x="12" y="19"/>
                    </a:cubicBezTo>
                    <a:cubicBezTo>
                      <a:pt x="10" y="21"/>
                      <a:pt x="9" y="24"/>
                      <a:pt x="9" y="26"/>
                    </a:cubicBezTo>
                    <a:cubicBezTo>
                      <a:pt x="9" y="28"/>
                      <a:pt x="10" y="30"/>
                      <a:pt x="11" y="32"/>
                    </a:cubicBezTo>
                    <a:cubicBezTo>
                      <a:pt x="13" y="34"/>
                      <a:pt x="15" y="35"/>
                      <a:pt x="17" y="36"/>
                    </a:cubicBezTo>
                    <a:cubicBezTo>
                      <a:pt x="19" y="36"/>
                      <a:pt x="20" y="36"/>
                      <a:pt x="22" y="35"/>
                    </a:cubicBezTo>
                    <a:cubicBezTo>
                      <a:pt x="22" y="34"/>
                      <a:pt x="23" y="33"/>
                      <a:pt x="23" y="32"/>
                    </a:cubicBezTo>
                    <a:cubicBezTo>
                      <a:pt x="23" y="32"/>
                      <a:pt x="23" y="30"/>
                      <a:pt x="22" y="29"/>
                    </a:cubicBezTo>
                    <a:cubicBezTo>
                      <a:pt x="22" y="28"/>
                      <a:pt x="21" y="26"/>
                      <a:pt x="19" y="22"/>
                    </a:cubicBezTo>
                    <a:cubicBezTo>
                      <a:pt x="17" y="18"/>
                      <a:pt x="16" y="14"/>
                      <a:pt x="16" y="12"/>
                    </a:cubicBezTo>
                    <a:cubicBezTo>
                      <a:pt x="17" y="8"/>
                      <a:pt x="18" y="5"/>
                      <a:pt x="21" y="3"/>
                    </a:cubicBezTo>
                    <a:cubicBezTo>
                      <a:pt x="23" y="1"/>
                      <a:pt x="25" y="1"/>
                      <a:pt x="27" y="0"/>
                    </a:cubicBezTo>
                    <a:cubicBezTo>
                      <a:pt x="29" y="0"/>
                      <a:pt x="31" y="1"/>
                      <a:pt x="34" y="2"/>
                    </a:cubicBezTo>
                    <a:cubicBezTo>
                      <a:pt x="36" y="3"/>
                      <a:pt x="38" y="5"/>
                      <a:pt x="40" y="8"/>
                    </a:cubicBezTo>
                    <a:cubicBezTo>
                      <a:pt x="44" y="12"/>
                      <a:pt x="46" y="16"/>
                      <a:pt x="45" y="19"/>
                    </a:cubicBezTo>
                    <a:cubicBezTo>
                      <a:pt x="45" y="23"/>
                      <a:pt x="44" y="26"/>
                      <a:pt x="41" y="29"/>
                    </a:cubicBezTo>
                    <a:cubicBezTo>
                      <a:pt x="35" y="22"/>
                      <a:pt x="35" y="22"/>
                      <a:pt x="35" y="22"/>
                    </a:cubicBezTo>
                    <a:cubicBezTo>
                      <a:pt x="36" y="21"/>
                      <a:pt x="37" y="19"/>
                      <a:pt x="37" y="17"/>
                    </a:cubicBezTo>
                    <a:cubicBezTo>
                      <a:pt x="37" y="16"/>
                      <a:pt x="36" y="14"/>
                      <a:pt x="35" y="12"/>
                    </a:cubicBezTo>
                    <a:cubicBezTo>
                      <a:pt x="33" y="10"/>
                      <a:pt x="31" y="9"/>
                      <a:pt x="30" y="8"/>
                    </a:cubicBezTo>
                    <a:cubicBezTo>
                      <a:pt x="28" y="8"/>
                      <a:pt x="27" y="8"/>
                      <a:pt x="27" y="9"/>
                    </a:cubicBezTo>
                    <a:cubicBezTo>
                      <a:pt x="26" y="10"/>
                      <a:pt x="25" y="11"/>
                      <a:pt x="25" y="12"/>
                    </a:cubicBezTo>
                    <a:cubicBezTo>
                      <a:pt x="25" y="13"/>
                      <a:pt x="26" y="16"/>
                      <a:pt x="28" y="20"/>
                    </a:cubicBezTo>
                    <a:cubicBezTo>
                      <a:pt x="30" y="24"/>
                      <a:pt x="31" y="27"/>
                      <a:pt x="32" y="29"/>
                    </a:cubicBezTo>
                    <a:cubicBezTo>
                      <a:pt x="32" y="32"/>
                      <a:pt x="32" y="34"/>
                      <a:pt x="31" y="36"/>
                    </a:cubicBezTo>
                    <a:cubicBezTo>
                      <a:pt x="31" y="38"/>
                      <a:pt x="29" y="40"/>
                      <a:pt x="27" y="42"/>
                    </a:cubicBezTo>
                    <a:cubicBezTo>
                      <a:pt x="25" y="43"/>
                      <a:pt x="23" y="44"/>
                      <a:pt x="20" y="45"/>
                    </a:cubicBezTo>
                    <a:cubicBezTo>
                      <a:pt x="18" y="45"/>
                      <a:pt x="15" y="44"/>
                      <a:pt x="13" y="43"/>
                    </a:cubicBezTo>
                    <a:cubicBezTo>
                      <a:pt x="10" y="42"/>
                      <a:pt x="8" y="40"/>
                      <a:pt x="6" y="37"/>
                    </a:cubicBezTo>
                    <a:cubicBezTo>
                      <a:pt x="2" y="32"/>
                      <a:pt x="0" y="28"/>
                      <a:pt x="0" y="24"/>
                    </a:cubicBezTo>
                    <a:cubicBezTo>
                      <a:pt x="1" y="20"/>
                      <a:pt x="2" y="17"/>
                      <a:pt x="6" y="1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96" name="í$ļîḋê"/>
              <p:cNvSpPr/>
              <p:nvPr/>
            </p:nvSpPr>
            <p:spPr bwMode="auto">
              <a:xfrm>
                <a:off x="1868384" y="5844178"/>
                <a:ext cx="82550" cy="82550"/>
              </a:xfrm>
              <a:custGeom>
                <a:avLst/>
                <a:gdLst>
                  <a:gd name="T0" fmla="*/ 25 w 45"/>
                  <a:gd name="T1" fmla="*/ 33 h 45"/>
                  <a:gd name="T2" fmla="*/ 29 w 45"/>
                  <a:gd name="T3" fmla="*/ 41 h 45"/>
                  <a:gd name="T4" fmla="*/ 17 w 45"/>
                  <a:gd name="T5" fmla="*/ 44 h 45"/>
                  <a:gd name="T6" fmla="*/ 6 w 45"/>
                  <a:gd name="T7" fmla="*/ 38 h 45"/>
                  <a:gd name="T8" fmla="*/ 0 w 45"/>
                  <a:gd name="T9" fmla="*/ 24 h 45"/>
                  <a:gd name="T10" fmla="*/ 8 w 45"/>
                  <a:gd name="T11" fmla="*/ 8 h 45"/>
                  <a:gd name="T12" fmla="*/ 24 w 45"/>
                  <a:gd name="T13" fmla="*/ 0 h 45"/>
                  <a:gd name="T14" fmla="*/ 39 w 45"/>
                  <a:gd name="T15" fmla="*/ 7 h 45"/>
                  <a:gd name="T16" fmla="*/ 45 w 45"/>
                  <a:gd name="T17" fmla="*/ 19 h 45"/>
                  <a:gd name="T18" fmla="*/ 42 w 45"/>
                  <a:gd name="T19" fmla="*/ 28 h 45"/>
                  <a:gd name="T20" fmla="*/ 34 w 45"/>
                  <a:gd name="T21" fmla="*/ 23 h 45"/>
                  <a:gd name="T22" fmla="*/ 36 w 45"/>
                  <a:gd name="T23" fmla="*/ 17 h 45"/>
                  <a:gd name="T24" fmla="*/ 33 w 45"/>
                  <a:gd name="T25" fmla="*/ 12 h 45"/>
                  <a:gd name="T26" fmla="*/ 25 w 45"/>
                  <a:gd name="T27" fmla="*/ 9 h 45"/>
                  <a:gd name="T28" fmla="*/ 15 w 45"/>
                  <a:gd name="T29" fmla="*/ 14 h 45"/>
                  <a:gd name="T30" fmla="*/ 8 w 45"/>
                  <a:gd name="T31" fmla="*/ 25 h 45"/>
                  <a:gd name="T32" fmla="*/ 11 w 45"/>
                  <a:gd name="T33" fmla="*/ 33 h 45"/>
                  <a:gd name="T34" fmla="*/ 17 w 45"/>
                  <a:gd name="T35" fmla="*/ 36 h 45"/>
                  <a:gd name="T36" fmla="*/ 25 w 45"/>
                  <a:gd name="T37" fmla="*/ 33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45" h="45">
                    <a:moveTo>
                      <a:pt x="25" y="33"/>
                    </a:moveTo>
                    <a:cubicBezTo>
                      <a:pt x="29" y="41"/>
                      <a:pt x="29" y="41"/>
                      <a:pt x="29" y="41"/>
                    </a:cubicBezTo>
                    <a:cubicBezTo>
                      <a:pt x="25" y="44"/>
                      <a:pt x="21" y="45"/>
                      <a:pt x="17" y="44"/>
                    </a:cubicBezTo>
                    <a:cubicBezTo>
                      <a:pt x="13" y="44"/>
                      <a:pt x="9" y="42"/>
                      <a:pt x="6" y="38"/>
                    </a:cubicBezTo>
                    <a:cubicBezTo>
                      <a:pt x="2" y="34"/>
                      <a:pt x="0" y="29"/>
                      <a:pt x="0" y="24"/>
                    </a:cubicBezTo>
                    <a:cubicBezTo>
                      <a:pt x="0" y="19"/>
                      <a:pt x="3" y="13"/>
                      <a:pt x="8" y="8"/>
                    </a:cubicBezTo>
                    <a:cubicBezTo>
                      <a:pt x="13" y="3"/>
                      <a:pt x="18" y="1"/>
                      <a:pt x="24" y="0"/>
                    </a:cubicBezTo>
                    <a:cubicBezTo>
                      <a:pt x="29" y="0"/>
                      <a:pt x="34" y="2"/>
                      <a:pt x="39" y="7"/>
                    </a:cubicBezTo>
                    <a:cubicBezTo>
                      <a:pt x="42" y="10"/>
                      <a:pt x="44" y="15"/>
                      <a:pt x="45" y="19"/>
                    </a:cubicBezTo>
                    <a:cubicBezTo>
                      <a:pt x="45" y="22"/>
                      <a:pt x="44" y="25"/>
                      <a:pt x="42" y="28"/>
                    </a:cubicBezTo>
                    <a:cubicBezTo>
                      <a:pt x="34" y="23"/>
                      <a:pt x="34" y="23"/>
                      <a:pt x="34" y="23"/>
                    </a:cubicBezTo>
                    <a:cubicBezTo>
                      <a:pt x="36" y="21"/>
                      <a:pt x="36" y="19"/>
                      <a:pt x="36" y="17"/>
                    </a:cubicBezTo>
                    <a:cubicBezTo>
                      <a:pt x="36" y="15"/>
                      <a:pt x="35" y="13"/>
                      <a:pt x="33" y="12"/>
                    </a:cubicBezTo>
                    <a:cubicBezTo>
                      <a:pt x="31" y="9"/>
                      <a:pt x="28" y="8"/>
                      <a:pt x="25" y="9"/>
                    </a:cubicBezTo>
                    <a:cubicBezTo>
                      <a:pt x="22" y="9"/>
                      <a:pt x="18" y="11"/>
                      <a:pt x="15" y="14"/>
                    </a:cubicBezTo>
                    <a:cubicBezTo>
                      <a:pt x="11" y="18"/>
                      <a:pt x="9" y="22"/>
                      <a:pt x="8" y="25"/>
                    </a:cubicBezTo>
                    <a:cubicBezTo>
                      <a:pt x="8" y="28"/>
                      <a:pt x="9" y="31"/>
                      <a:pt x="11" y="33"/>
                    </a:cubicBezTo>
                    <a:cubicBezTo>
                      <a:pt x="13" y="35"/>
                      <a:pt x="15" y="36"/>
                      <a:pt x="17" y="36"/>
                    </a:cubicBezTo>
                    <a:cubicBezTo>
                      <a:pt x="20" y="36"/>
                      <a:pt x="22" y="35"/>
                      <a:pt x="25" y="3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97" name="íṩḷiḋé"/>
              <p:cNvSpPr/>
              <p:nvPr/>
            </p:nvSpPr>
            <p:spPr bwMode="auto">
              <a:xfrm>
                <a:off x="1916009" y="5887040"/>
                <a:ext cx="65088" cy="71438"/>
              </a:xfrm>
              <a:custGeom>
                <a:avLst/>
                <a:gdLst>
                  <a:gd name="T0" fmla="*/ 0 w 41"/>
                  <a:gd name="T1" fmla="*/ 38 h 45"/>
                  <a:gd name="T2" fmla="*/ 34 w 41"/>
                  <a:gd name="T3" fmla="*/ 0 h 45"/>
                  <a:gd name="T4" fmla="*/ 41 w 41"/>
                  <a:gd name="T5" fmla="*/ 6 h 45"/>
                  <a:gd name="T6" fmla="*/ 8 w 41"/>
                  <a:gd name="T7" fmla="*/ 45 h 45"/>
                  <a:gd name="T8" fmla="*/ 0 w 41"/>
                  <a:gd name="T9" fmla="*/ 38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1" h="45">
                    <a:moveTo>
                      <a:pt x="0" y="38"/>
                    </a:moveTo>
                    <a:lnTo>
                      <a:pt x="34" y="0"/>
                    </a:lnTo>
                    <a:lnTo>
                      <a:pt x="41" y="6"/>
                    </a:lnTo>
                    <a:lnTo>
                      <a:pt x="8" y="45"/>
                    </a:lnTo>
                    <a:lnTo>
                      <a:pt x="0" y="3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98" name="îsľïďé"/>
              <p:cNvSpPr/>
              <p:nvPr/>
            </p:nvSpPr>
            <p:spPr bwMode="auto">
              <a:xfrm>
                <a:off x="1941409" y="5904503"/>
                <a:ext cx="96838" cy="101600"/>
              </a:xfrm>
              <a:custGeom>
                <a:avLst/>
                <a:gdLst>
                  <a:gd name="T0" fmla="*/ 0 w 61"/>
                  <a:gd name="T1" fmla="*/ 41 h 64"/>
                  <a:gd name="T2" fmla="*/ 31 w 61"/>
                  <a:gd name="T3" fmla="*/ 0 h 64"/>
                  <a:gd name="T4" fmla="*/ 61 w 61"/>
                  <a:gd name="T5" fmla="*/ 22 h 64"/>
                  <a:gd name="T6" fmla="*/ 56 w 61"/>
                  <a:gd name="T7" fmla="*/ 29 h 64"/>
                  <a:gd name="T8" fmla="*/ 34 w 61"/>
                  <a:gd name="T9" fmla="*/ 13 h 64"/>
                  <a:gd name="T10" fmla="*/ 27 w 61"/>
                  <a:gd name="T11" fmla="*/ 22 h 64"/>
                  <a:gd name="T12" fmla="*/ 47 w 61"/>
                  <a:gd name="T13" fmla="*/ 37 h 64"/>
                  <a:gd name="T14" fmla="*/ 42 w 61"/>
                  <a:gd name="T15" fmla="*/ 44 h 64"/>
                  <a:gd name="T16" fmla="*/ 21 w 61"/>
                  <a:gd name="T17" fmla="*/ 29 h 64"/>
                  <a:gd name="T18" fmla="*/ 13 w 61"/>
                  <a:gd name="T19" fmla="*/ 40 h 64"/>
                  <a:gd name="T20" fmla="*/ 36 w 61"/>
                  <a:gd name="T21" fmla="*/ 57 h 64"/>
                  <a:gd name="T22" fmla="*/ 31 w 61"/>
                  <a:gd name="T23" fmla="*/ 64 h 64"/>
                  <a:gd name="T24" fmla="*/ 0 w 61"/>
                  <a:gd name="T25" fmla="*/ 41 h 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1" h="64">
                    <a:moveTo>
                      <a:pt x="0" y="41"/>
                    </a:moveTo>
                    <a:lnTo>
                      <a:pt x="31" y="0"/>
                    </a:lnTo>
                    <a:lnTo>
                      <a:pt x="61" y="22"/>
                    </a:lnTo>
                    <a:lnTo>
                      <a:pt x="56" y="29"/>
                    </a:lnTo>
                    <a:lnTo>
                      <a:pt x="34" y="13"/>
                    </a:lnTo>
                    <a:lnTo>
                      <a:pt x="27" y="22"/>
                    </a:lnTo>
                    <a:lnTo>
                      <a:pt x="47" y="37"/>
                    </a:lnTo>
                    <a:lnTo>
                      <a:pt x="42" y="44"/>
                    </a:lnTo>
                    <a:lnTo>
                      <a:pt x="21" y="29"/>
                    </a:lnTo>
                    <a:lnTo>
                      <a:pt x="13" y="40"/>
                    </a:lnTo>
                    <a:lnTo>
                      <a:pt x="36" y="57"/>
                    </a:lnTo>
                    <a:lnTo>
                      <a:pt x="31" y="64"/>
                    </a:lnTo>
                    <a:lnTo>
                      <a:pt x="0" y="4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99" name="íśliḋé"/>
              <p:cNvSpPr/>
              <p:nvPr/>
            </p:nvSpPr>
            <p:spPr bwMode="auto">
              <a:xfrm>
                <a:off x="2004909" y="5947365"/>
                <a:ext cx="96838" cy="101600"/>
              </a:xfrm>
              <a:custGeom>
                <a:avLst/>
                <a:gdLst>
                  <a:gd name="T0" fmla="*/ 0 w 61"/>
                  <a:gd name="T1" fmla="*/ 43 h 64"/>
                  <a:gd name="T2" fmla="*/ 27 w 61"/>
                  <a:gd name="T3" fmla="*/ 0 h 64"/>
                  <a:gd name="T4" fmla="*/ 35 w 61"/>
                  <a:gd name="T5" fmla="*/ 5 h 64"/>
                  <a:gd name="T6" fmla="*/ 36 w 61"/>
                  <a:gd name="T7" fmla="*/ 45 h 64"/>
                  <a:gd name="T8" fmla="*/ 53 w 61"/>
                  <a:gd name="T9" fmla="*/ 15 h 64"/>
                  <a:gd name="T10" fmla="*/ 61 w 61"/>
                  <a:gd name="T11" fmla="*/ 21 h 64"/>
                  <a:gd name="T12" fmla="*/ 35 w 61"/>
                  <a:gd name="T13" fmla="*/ 64 h 64"/>
                  <a:gd name="T14" fmla="*/ 27 w 61"/>
                  <a:gd name="T15" fmla="*/ 59 h 64"/>
                  <a:gd name="T16" fmla="*/ 25 w 61"/>
                  <a:gd name="T17" fmla="*/ 20 h 64"/>
                  <a:gd name="T18" fmla="*/ 8 w 61"/>
                  <a:gd name="T19" fmla="*/ 49 h 64"/>
                  <a:gd name="T20" fmla="*/ 0 w 61"/>
                  <a:gd name="T21" fmla="*/ 43 h 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61" h="64">
                    <a:moveTo>
                      <a:pt x="0" y="43"/>
                    </a:moveTo>
                    <a:lnTo>
                      <a:pt x="27" y="0"/>
                    </a:lnTo>
                    <a:lnTo>
                      <a:pt x="35" y="5"/>
                    </a:lnTo>
                    <a:lnTo>
                      <a:pt x="36" y="45"/>
                    </a:lnTo>
                    <a:lnTo>
                      <a:pt x="53" y="15"/>
                    </a:lnTo>
                    <a:lnTo>
                      <a:pt x="61" y="21"/>
                    </a:lnTo>
                    <a:lnTo>
                      <a:pt x="35" y="64"/>
                    </a:lnTo>
                    <a:lnTo>
                      <a:pt x="27" y="59"/>
                    </a:lnTo>
                    <a:lnTo>
                      <a:pt x="25" y="20"/>
                    </a:lnTo>
                    <a:lnTo>
                      <a:pt x="8" y="49"/>
                    </a:lnTo>
                    <a:lnTo>
                      <a:pt x="0" y="4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100" name="iSļiďê"/>
              <p:cNvSpPr/>
              <p:nvPr/>
            </p:nvSpPr>
            <p:spPr bwMode="auto">
              <a:xfrm>
                <a:off x="2087459" y="5993403"/>
                <a:ext cx="79375" cy="87313"/>
              </a:xfrm>
              <a:custGeom>
                <a:avLst/>
                <a:gdLst>
                  <a:gd name="T0" fmla="*/ 28 w 43"/>
                  <a:gd name="T1" fmla="*/ 33 h 47"/>
                  <a:gd name="T2" fmla="*/ 34 w 43"/>
                  <a:gd name="T3" fmla="*/ 39 h 47"/>
                  <a:gd name="T4" fmla="*/ 24 w 43"/>
                  <a:gd name="T5" fmla="*/ 46 h 47"/>
                  <a:gd name="T6" fmla="*/ 12 w 43"/>
                  <a:gd name="T7" fmla="*/ 44 h 47"/>
                  <a:gd name="T8" fmla="*/ 1 w 43"/>
                  <a:gd name="T9" fmla="*/ 33 h 47"/>
                  <a:gd name="T10" fmla="*/ 3 w 43"/>
                  <a:gd name="T11" fmla="*/ 15 h 47"/>
                  <a:gd name="T12" fmla="*/ 15 w 43"/>
                  <a:gd name="T13" fmla="*/ 2 h 47"/>
                  <a:gd name="T14" fmla="*/ 32 w 43"/>
                  <a:gd name="T15" fmla="*/ 3 h 47"/>
                  <a:gd name="T16" fmla="*/ 41 w 43"/>
                  <a:gd name="T17" fmla="*/ 13 h 47"/>
                  <a:gd name="T18" fmla="*/ 42 w 43"/>
                  <a:gd name="T19" fmla="*/ 22 h 47"/>
                  <a:gd name="T20" fmla="*/ 33 w 43"/>
                  <a:gd name="T21" fmla="*/ 20 h 47"/>
                  <a:gd name="T22" fmla="*/ 33 w 43"/>
                  <a:gd name="T23" fmla="*/ 14 h 47"/>
                  <a:gd name="T24" fmla="*/ 28 w 43"/>
                  <a:gd name="T25" fmla="*/ 10 h 47"/>
                  <a:gd name="T26" fmla="*/ 19 w 43"/>
                  <a:gd name="T27" fmla="*/ 10 h 47"/>
                  <a:gd name="T28" fmla="*/ 12 w 43"/>
                  <a:gd name="T29" fmla="*/ 19 h 47"/>
                  <a:gd name="T30" fmla="*/ 9 w 43"/>
                  <a:gd name="T31" fmla="*/ 31 h 47"/>
                  <a:gd name="T32" fmla="*/ 15 w 43"/>
                  <a:gd name="T33" fmla="*/ 37 h 47"/>
                  <a:gd name="T34" fmla="*/ 22 w 43"/>
                  <a:gd name="T35" fmla="*/ 38 h 47"/>
                  <a:gd name="T36" fmla="*/ 28 w 43"/>
                  <a:gd name="T37" fmla="*/ 33 h 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43" h="47">
                    <a:moveTo>
                      <a:pt x="28" y="33"/>
                    </a:moveTo>
                    <a:cubicBezTo>
                      <a:pt x="34" y="39"/>
                      <a:pt x="34" y="39"/>
                      <a:pt x="34" y="39"/>
                    </a:cubicBezTo>
                    <a:cubicBezTo>
                      <a:pt x="31" y="43"/>
                      <a:pt x="28" y="45"/>
                      <a:pt x="24" y="46"/>
                    </a:cubicBezTo>
                    <a:cubicBezTo>
                      <a:pt x="20" y="47"/>
                      <a:pt x="16" y="46"/>
                      <a:pt x="12" y="44"/>
                    </a:cubicBezTo>
                    <a:cubicBezTo>
                      <a:pt x="7" y="42"/>
                      <a:pt x="3" y="38"/>
                      <a:pt x="1" y="33"/>
                    </a:cubicBezTo>
                    <a:cubicBezTo>
                      <a:pt x="0" y="27"/>
                      <a:pt x="0" y="22"/>
                      <a:pt x="3" y="15"/>
                    </a:cubicBezTo>
                    <a:cubicBezTo>
                      <a:pt x="6" y="9"/>
                      <a:pt x="10" y="4"/>
                      <a:pt x="15" y="2"/>
                    </a:cubicBezTo>
                    <a:cubicBezTo>
                      <a:pt x="21" y="0"/>
                      <a:pt x="26" y="1"/>
                      <a:pt x="32" y="3"/>
                    </a:cubicBezTo>
                    <a:cubicBezTo>
                      <a:pt x="36" y="5"/>
                      <a:pt x="40" y="9"/>
                      <a:pt x="41" y="13"/>
                    </a:cubicBezTo>
                    <a:cubicBezTo>
                      <a:pt x="42" y="16"/>
                      <a:pt x="43" y="19"/>
                      <a:pt x="42" y="22"/>
                    </a:cubicBezTo>
                    <a:cubicBezTo>
                      <a:pt x="33" y="20"/>
                      <a:pt x="33" y="20"/>
                      <a:pt x="33" y="20"/>
                    </a:cubicBezTo>
                    <a:cubicBezTo>
                      <a:pt x="34" y="18"/>
                      <a:pt x="34" y="16"/>
                      <a:pt x="33" y="14"/>
                    </a:cubicBezTo>
                    <a:cubicBezTo>
                      <a:pt x="32" y="12"/>
                      <a:pt x="30" y="11"/>
                      <a:pt x="28" y="10"/>
                    </a:cubicBezTo>
                    <a:cubicBezTo>
                      <a:pt x="25" y="8"/>
                      <a:pt x="22" y="8"/>
                      <a:pt x="19" y="10"/>
                    </a:cubicBezTo>
                    <a:cubicBezTo>
                      <a:pt x="16" y="11"/>
                      <a:pt x="14" y="14"/>
                      <a:pt x="12" y="19"/>
                    </a:cubicBezTo>
                    <a:cubicBezTo>
                      <a:pt x="9" y="24"/>
                      <a:pt x="9" y="28"/>
                      <a:pt x="9" y="31"/>
                    </a:cubicBezTo>
                    <a:cubicBezTo>
                      <a:pt x="10" y="34"/>
                      <a:pt x="12" y="36"/>
                      <a:pt x="15" y="37"/>
                    </a:cubicBezTo>
                    <a:cubicBezTo>
                      <a:pt x="17" y="38"/>
                      <a:pt x="19" y="38"/>
                      <a:pt x="22" y="38"/>
                    </a:cubicBezTo>
                    <a:cubicBezTo>
                      <a:pt x="24" y="37"/>
                      <a:pt x="26" y="35"/>
                      <a:pt x="28" y="3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101" name="íSliḋé"/>
              <p:cNvSpPr/>
              <p:nvPr/>
            </p:nvSpPr>
            <p:spPr bwMode="auto">
              <a:xfrm>
                <a:off x="2157309" y="6017215"/>
                <a:ext cx="82550" cy="96838"/>
              </a:xfrm>
              <a:custGeom>
                <a:avLst/>
                <a:gdLst>
                  <a:gd name="T0" fmla="*/ 0 w 52"/>
                  <a:gd name="T1" fmla="*/ 49 h 61"/>
                  <a:gd name="T2" fmla="*/ 16 w 52"/>
                  <a:gd name="T3" fmla="*/ 0 h 61"/>
                  <a:gd name="T4" fmla="*/ 52 w 52"/>
                  <a:gd name="T5" fmla="*/ 13 h 61"/>
                  <a:gd name="T6" fmla="*/ 50 w 52"/>
                  <a:gd name="T7" fmla="*/ 21 h 61"/>
                  <a:gd name="T8" fmla="*/ 23 w 52"/>
                  <a:gd name="T9" fmla="*/ 12 h 61"/>
                  <a:gd name="T10" fmla="*/ 20 w 52"/>
                  <a:gd name="T11" fmla="*/ 22 h 61"/>
                  <a:gd name="T12" fmla="*/ 44 w 52"/>
                  <a:gd name="T13" fmla="*/ 30 h 61"/>
                  <a:gd name="T14" fmla="*/ 41 w 52"/>
                  <a:gd name="T15" fmla="*/ 38 h 61"/>
                  <a:gd name="T16" fmla="*/ 18 w 52"/>
                  <a:gd name="T17" fmla="*/ 30 h 61"/>
                  <a:gd name="T18" fmla="*/ 13 w 52"/>
                  <a:gd name="T19" fmla="*/ 43 h 61"/>
                  <a:gd name="T20" fmla="*/ 40 w 52"/>
                  <a:gd name="T21" fmla="*/ 52 h 61"/>
                  <a:gd name="T22" fmla="*/ 36 w 52"/>
                  <a:gd name="T23" fmla="*/ 61 h 61"/>
                  <a:gd name="T24" fmla="*/ 0 w 52"/>
                  <a:gd name="T25" fmla="*/ 49 h 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52" h="61">
                    <a:moveTo>
                      <a:pt x="0" y="49"/>
                    </a:moveTo>
                    <a:lnTo>
                      <a:pt x="16" y="0"/>
                    </a:lnTo>
                    <a:lnTo>
                      <a:pt x="52" y="13"/>
                    </a:lnTo>
                    <a:lnTo>
                      <a:pt x="50" y="21"/>
                    </a:lnTo>
                    <a:lnTo>
                      <a:pt x="23" y="12"/>
                    </a:lnTo>
                    <a:lnTo>
                      <a:pt x="20" y="22"/>
                    </a:lnTo>
                    <a:lnTo>
                      <a:pt x="44" y="30"/>
                    </a:lnTo>
                    <a:lnTo>
                      <a:pt x="41" y="38"/>
                    </a:lnTo>
                    <a:lnTo>
                      <a:pt x="18" y="30"/>
                    </a:lnTo>
                    <a:lnTo>
                      <a:pt x="13" y="43"/>
                    </a:lnTo>
                    <a:lnTo>
                      <a:pt x="40" y="52"/>
                    </a:lnTo>
                    <a:lnTo>
                      <a:pt x="36" y="61"/>
                    </a:lnTo>
                    <a:lnTo>
                      <a:pt x="0" y="4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102" name="îŝ1îḑè"/>
              <p:cNvSpPr/>
              <p:nvPr/>
            </p:nvSpPr>
            <p:spPr bwMode="auto">
              <a:xfrm>
                <a:off x="2663722" y="6026740"/>
                <a:ext cx="77788" cy="92075"/>
              </a:xfrm>
              <a:custGeom>
                <a:avLst/>
                <a:gdLst>
                  <a:gd name="T0" fmla="*/ 49 w 49"/>
                  <a:gd name="T1" fmla="*/ 42 h 58"/>
                  <a:gd name="T2" fmla="*/ 39 w 49"/>
                  <a:gd name="T3" fmla="*/ 45 h 58"/>
                  <a:gd name="T4" fmla="*/ 31 w 49"/>
                  <a:gd name="T5" fmla="*/ 36 h 58"/>
                  <a:gd name="T6" fmla="*/ 11 w 49"/>
                  <a:gd name="T7" fmla="*/ 43 h 58"/>
                  <a:gd name="T8" fmla="*/ 11 w 49"/>
                  <a:gd name="T9" fmla="*/ 55 h 58"/>
                  <a:gd name="T10" fmla="*/ 0 w 49"/>
                  <a:gd name="T11" fmla="*/ 58 h 58"/>
                  <a:gd name="T12" fmla="*/ 3 w 49"/>
                  <a:gd name="T13" fmla="*/ 3 h 58"/>
                  <a:gd name="T14" fmla="*/ 13 w 49"/>
                  <a:gd name="T15" fmla="*/ 0 h 58"/>
                  <a:gd name="T16" fmla="*/ 49 w 49"/>
                  <a:gd name="T17" fmla="*/ 42 h 58"/>
                  <a:gd name="T18" fmla="*/ 25 w 49"/>
                  <a:gd name="T19" fmla="*/ 29 h 58"/>
                  <a:gd name="T20" fmla="*/ 12 w 49"/>
                  <a:gd name="T21" fmla="*/ 14 h 58"/>
                  <a:gd name="T22" fmla="*/ 11 w 49"/>
                  <a:gd name="T23" fmla="*/ 34 h 58"/>
                  <a:gd name="T24" fmla="*/ 25 w 49"/>
                  <a:gd name="T25" fmla="*/ 29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49" h="58">
                    <a:moveTo>
                      <a:pt x="49" y="42"/>
                    </a:moveTo>
                    <a:lnTo>
                      <a:pt x="39" y="45"/>
                    </a:lnTo>
                    <a:lnTo>
                      <a:pt x="31" y="36"/>
                    </a:lnTo>
                    <a:lnTo>
                      <a:pt x="11" y="43"/>
                    </a:lnTo>
                    <a:lnTo>
                      <a:pt x="11" y="55"/>
                    </a:lnTo>
                    <a:lnTo>
                      <a:pt x="0" y="58"/>
                    </a:lnTo>
                    <a:lnTo>
                      <a:pt x="3" y="3"/>
                    </a:lnTo>
                    <a:lnTo>
                      <a:pt x="13" y="0"/>
                    </a:lnTo>
                    <a:lnTo>
                      <a:pt x="49" y="42"/>
                    </a:lnTo>
                    <a:close/>
                    <a:moveTo>
                      <a:pt x="25" y="29"/>
                    </a:moveTo>
                    <a:lnTo>
                      <a:pt x="12" y="14"/>
                    </a:lnTo>
                    <a:lnTo>
                      <a:pt x="11" y="34"/>
                    </a:lnTo>
                    <a:lnTo>
                      <a:pt x="25" y="2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103" name="íṩḻiḋê"/>
              <p:cNvSpPr/>
              <p:nvPr/>
            </p:nvSpPr>
            <p:spPr bwMode="auto">
              <a:xfrm>
                <a:off x="2714522" y="5990228"/>
                <a:ext cx="92075" cy="101600"/>
              </a:xfrm>
              <a:custGeom>
                <a:avLst/>
                <a:gdLst>
                  <a:gd name="T0" fmla="*/ 21 w 58"/>
                  <a:gd name="T1" fmla="*/ 64 h 64"/>
                  <a:gd name="T2" fmla="*/ 0 w 58"/>
                  <a:gd name="T3" fmla="*/ 17 h 64"/>
                  <a:gd name="T4" fmla="*/ 9 w 58"/>
                  <a:gd name="T5" fmla="*/ 12 h 64"/>
                  <a:gd name="T6" fmla="*/ 43 w 58"/>
                  <a:gd name="T7" fmla="*/ 36 h 64"/>
                  <a:gd name="T8" fmla="*/ 29 w 58"/>
                  <a:gd name="T9" fmla="*/ 4 h 64"/>
                  <a:gd name="T10" fmla="*/ 37 w 58"/>
                  <a:gd name="T11" fmla="*/ 0 h 64"/>
                  <a:gd name="T12" fmla="*/ 58 w 58"/>
                  <a:gd name="T13" fmla="*/ 46 h 64"/>
                  <a:gd name="T14" fmla="*/ 49 w 58"/>
                  <a:gd name="T15" fmla="*/ 51 h 64"/>
                  <a:gd name="T16" fmla="*/ 16 w 58"/>
                  <a:gd name="T17" fmla="*/ 29 h 64"/>
                  <a:gd name="T18" fmla="*/ 30 w 58"/>
                  <a:gd name="T19" fmla="*/ 59 h 64"/>
                  <a:gd name="T20" fmla="*/ 21 w 58"/>
                  <a:gd name="T21" fmla="*/ 64 h 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58" h="64">
                    <a:moveTo>
                      <a:pt x="21" y="64"/>
                    </a:moveTo>
                    <a:lnTo>
                      <a:pt x="0" y="17"/>
                    </a:lnTo>
                    <a:lnTo>
                      <a:pt x="9" y="12"/>
                    </a:lnTo>
                    <a:lnTo>
                      <a:pt x="43" y="36"/>
                    </a:lnTo>
                    <a:lnTo>
                      <a:pt x="29" y="4"/>
                    </a:lnTo>
                    <a:lnTo>
                      <a:pt x="37" y="0"/>
                    </a:lnTo>
                    <a:lnTo>
                      <a:pt x="58" y="46"/>
                    </a:lnTo>
                    <a:lnTo>
                      <a:pt x="49" y="51"/>
                    </a:lnTo>
                    <a:lnTo>
                      <a:pt x="16" y="29"/>
                    </a:lnTo>
                    <a:lnTo>
                      <a:pt x="30" y="59"/>
                    </a:lnTo>
                    <a:lnTo>
                      <a:pt x="21" y="6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104" name="îṧľíḍe"/>
              <p:cNvSpPr/>
              <p:nvPr/>
            </p:nvSpPr>
            <p:spPr bwMode="auto">
              <a:xfrm>
                <a:off x="2781197" y="5963240"/>
                <a:ext cx="85725" cy="95250"/>
              </a:xfrm>
              <a:custGeom>
                <a:avLst/>
                <a:gdLst>
                  <a:gd name="T0" fmla="*/ 0 w 47"/>
                  <a:gd name="T1" fmla="*/ 13 h 51"/>
                  <a:gd name="T2" fmla="*/ 14 w 47"/>
                  <a:gd name="T3" fmla="*/ 4 h 51"/>
                  <a:gd name="T4" fmla="*/ 22 w 47"/>
                  <a:gd name="T5" fmla="*/ 1 h 51"/>
                  <a:gd name="T6" fmla="*/ 29 w 47"/>
                  <a:gd name="T7" fmla="*/ 1 h 51"/>
                  <a:gd name="T8" fmla="*/ 37 w 47"/>
                  <a:gd name="T9" fmla="*/ 5 h 51"/>
                  <a:gd name="T10" fmla="*/ 43 w 47"/>
                  <a:gd name="T11" fmla="*/ 14 h 51"/>
                  <a:gd name="T12" fmla="*/ 47 w 47"/>
                  <a:gd name="T13" fmla="*/ 22 h 51"/>
                  <a:gd name="T14" fmla="*/ 46 w 47"/>
                  <a:gd name="T15" fmla="*/ 31 h 51"/>
                  <a:gd name="T16" fmla="*/ 43 w 47"/>
                  <a:gd name="T17" fmla="*/ 38 h 51"/>
                  <a:gd name="T18" fmla="*/ 36 w 47"/>
                  <a:gd name="T19" fmla="*/ 42 h 51"/>
                  <a:gd name="T20" fmla="*/ 22 w 47"/>
                  <a:gd name="T21" fmla="*/ 51 h 51"/>
                  <a:gd name="T22" fmla="*/ 0 w 47"/>
                  <a:gd name="T23" fmla="*/ 13 h 51"/>
                  <a:gd name="T24" fmla="*/ 11 w 47"/>
                  <a:gd name="T25" fmla="*/ 15 h 51"/>
                  <a:gd name="T26" fmla="*/ 26 w 47"/>
                  <a:gd name="T27" fmla="*/ 40 h 51"/>
                  <a:gd name="T28" fmla="*/ 32 w 47"/>
                  <a:gd name="T29" fmla="*/ 37 h 51"/>
                  <a:gd name="T30" fmla="*/ 36 w 47"/>
                  <a:gd name="T31" fmla="*/ 33 h 51"/>
                  <a:gd name="T32" fmla="*/ 38 w 47"/>
                  <a:gd name="T33" fmla="*/ 30 h 51"/>
                  <a:gd name="T34" fmla="*/ 38 w 47"/>
                  <a:gd name="T35" fmla="*/ 25 h 51"/>
                  <a:gd name="T36" fmla="*/ 35 w 47"/>
                  <a:gd name="T37" fmla="*/ 18 h 51"/>
                  <a:gd name="T38" fmla="*/ 30 w 47"/>
                  <a:gd name="T39" fmla="*/ 11 h 51"/>
                  <a:gd name="T40" fmla="*/ 26 w 47"/>
                  <a:gd name="T41" fmla="*/ 9 h 51"/>
                  <a:gd name="T42" fmla="*/ 21 w 47"/>
                  <a:gd name="T43" fmla="*/ 9 h 51"/>
                  <a:gd name="T44" fmla="*/ 15 w 47"/>
                  <a:gd name="T45" fmla="*/ 13 h 51"/>
                  <a:gd name="T46" fmla="*/ 11 w 47"/>
                  <a:gd name="T47" fmla="*/ 15 h 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47" h="51">
                    <a:moveTo>
                      <a:pt x="0" y="13"/>
                    </a:moveTo>
                    <a:cubicBezTo>
                      <a:pt x="14" y="4"/>
                      <a:pt x="14" y="4"/>
                      <a:pt x="14" y="4"/>
                    </a:cubicBezTo>
                    <a:cubicBezTo>
                      <a:pt x="17" y="3"/>
                      <a:pt x="20" y="1"/>
                      <a:pt x="22" y="1"/>
                    </a:cubicBezTo>
                    <a:cubicBezTo>
                      <a:pt x="24" y="0"/>
                      <a:pt x="27" y="0"/>
                      <a:pt x="29" y="1"/>
                    </a:cubicBezTo>
                    <a:cubicBezTo>
                      <a:pt x="32" y="2"/>
                      <a:pt x="34" y="3"/>
                      <a:pt x="37" y="5"/>
                    </a:cubicBezTo>
                    <a:cubicBezTo>
                      <a:pt x="39" y="7"/>
                      <a:pt x="41" y="10"/>
                      <a:pt x="43" y="14"/>
                    </a:cubicBezTo>
                    <a:cubicBezTo>
                      <a:pt x="45" y="17"/>
                      <a:pt x="46" y="20"/>
                      <a:pt x="47" y="22"/>
                    </a:cubicBezTo>
                    <a:cubicBezTo>
                      <a:pt x="47" y="26"/>
                      <a:pt x="47" y="29"/>
                      <a:pt x="46" y="31"/>
                    </a:cubicBezTo>
                    <a:cubicBezTo>
                      <a:pt x="46" y="34"/>
                      <a:pt x="45" y="36"/>
                      <a:pt x="43" y="38"/>
                    </a:cubicBezTo>
                    <a:cubicBezTo>
                      <a:pt x="41" y="39"/>
                      <a:pt x="39" y="41"/>
                      <a:pt x="36" y="42"/>
                    </a:cubicBezTo>
                    <a:cubicBezTo>
                      <a:pt x="22" y="51"/>
                      <a:pt x="22" y="51"/>
                      <a:pt x="22" y="51"/>
                    </a:cubicBezTo>
                    <a:lnTo>
                      <a:pt x="0" y="13"/>
                    </a:lnTo>
                    <a:close/>
                    <a:moveTo>
                      <a:pt x="11" y="15"/>
                    </a:moveTo>
                    <a:cubicBezTo>
                      <a:pt x="26" y="40"/>
                      <a:pt x="26" y="40"/>
                      <a:pt x="26" y="40"/>
                    </a:cubicBezTo>
                    <a:cubicBezTo>
                      <a:pt x="32" y="37"/>
                      <a:pt x="32" y="37"/>
                      <a:pt x="32" y="37"/>
                    </a:cubicBezTo>
                    <a:cubicBezTo>
                      <a:pt x="34" y="35"/>
                      <a:pt x="35" y="34"/>
                      <a:pt x="36" y="33"/>
                    </a:cubicBezTo>
                    <a:cubicBezTo>
                      <a:pt x="37" y="32"/>
                      <a:pt x="38" y="31"/>
                      <a:pt x="38" y="30"/>
                    </a:cubicBezTo>
                    <a:cubicBezTo>
                      <a:pt x="39" y="29"/>
                      <a:pt x="39" y="27"/>
                      <a:pt x="38" y="25"/>
                    </a:cubicBezTo>
                    <a:cubicBezTo>
                      <a:pt x="38" y="23"/>
                      <a:pt x="37" y="21"/>
                      <a:pt x="35" y="18"/>
                    </a:cubicBezTo>
                    <a:cubicBezTo>
                      <a:pt x="33" y="15"/>
                      <a:pt x="32" y="13"/>
                      <a:pt x="30" y="11"/>
                    </a:cubicBezTo>
                    <a:cubicBezTo>
                      <a:pt x="29" y="10"/>
                      <a:pt x="27" y="9"/>
                      <a:pt x="26" y="9"/>
                    </a:cubicBezTo>
                    <a:cubicBezTo>
                      <a:pt x="25" y="9"/>
                      <a:pt x="23" y="9"/>
                      <a:pt x="21" y="9"/>
                    </a:cubicBezTo>
                    <a:cubicBezTo>
                      <a:pt x="20" y="10"/>
                      <a:pt x="18" y="11"/>
                      <a:pt x="15" y="13"/>
                    </a:cubicBezTo>
                    <a:lnTo>
                      <a:pt x="11" y="1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105" name="ïṩḻiḍe"/>
              <p:cNvSpPr/>
              <p:nvPr/>
            </p:nvSpPr>
            <p:spPr bwMode="auto">
              <a:xfrm>
                <a:off x="2876447" y="5888628"/>
                <a:ext cx="80963" cy="88900"/>
              </a:xfrm>
              <a:custGeom>
                <a:avLst/>
                <a:gdLst>
                  <a:gd name="T0" fmla="*/ 43 w 51"/>
                  <a:gd name="T1" fmla="*/ 56 h 56"/>
                  <a:gd name="T2" fmla="*/ 16 w 51"/>
                  <a:gd name="T3" fmla="*/ 22 h 56"/>
                  <a:gd name="T4" fmla="*/ 5 w 51"/>
                  <a:gd name="T5" fmla="*/ 31 h 56"/>
                  <a:gd name="T6" fmla="*/ 0 w 51"/>
                  <a:gd name="T7" fmla="*/ 25 h 56"/>
                  <a:gd name="T8" fmla="*/ 31 w 51"/>
                  <a:gd name="T9" fmla="*/ 0 h 56"/>
                  <a:gd name="T10" fmla="*/ 37 w 51"/>
                  <a:gd name="T11" fmla="*/ 7 h 56"/>
                  <a:gd name="T12" fmla="*/ 24 w 51"/>
                  <a:gd name="T13" fmla="*/ 16 h 56"/>
                  <a:gd name="T14" fmla="*/ 51 w 51"/>
                  <a:gd name="T15" fmla="*/ 49 h 56"/>
                  <a:gd name="T16" fmla="*/ 43 w 51"/>
                  <a:gd name="T17" fmla="*/ 56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1" h="56">
                    <a:moveTo>
                      <a:pt x="43" y="56"/>
                    </a:moveTo>
                    <a:lnTo>
                      <a:pt x="16" y="22"/>
                    </a:lnTo>
                    <a:lnTo>
                      <a:pt x="5" y="31"/>
                    </a:lnTo>
                    <a:lnTo>
                      <a:pt x="0" y="25"/>
                    </a:lnTo>
                    <a:lnTo>
                      <a:pt x="31" y="0"/>
                    </a:lnTo>
                    <a:lnTo>
                      <a:pt x="37" y="7"/>
                    </a:lnTo>
                    <a:lnTo>
                      <a:pt x="24" y="16"/>
                    </a:lnTo>
                    <a:lnTo>
                      <a:pt x="51" y="49"/>
                    </a:lnTo>
                    <a:lnTo>
                      <a:pt x="43" y="56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106" name="íśļïḓè"/>
              <p:cNvSpPr/>
              <p:nvPr/>
            </p:nvSpPr>
            <p:spPr bwMode="auto">
              <a:xfrm>
                <a:off x="2925659" y="5845765"/>
                <a:ext cx="101600" cy="100013"/>
              </a:xfrm>
              <a:custGeom>
                <a:avLst/>
                <a:gdLst>
                  <a:gd name="T0" fmla="*/ 36 w 64"/>
                  <a:gd name="T1" fmla="*/ 63 h 63"/>
                  <a:gd name="T2" fmla="*/ 0 w 64"/>
                  <a:gd name="T3" fmla="*/ 26 h 63"/>
                  <a:gd name="T4" fmla="*/ 28 w 64"/>
                  <a:gd name="T5" fmla="*/ 0 h 63"/>
                  <a:gd name="T6" fmla="*/ 34 w 64"/>
                  <a:gd name="T7" fmla="*/ 6 h 63"/>
                  <a:gd name="T8" fmla="*/ 14 w 64"/>
                  <a:gd name="T9" fmla="*/ 26 h 63"/>
                  <a:gd name="T10" fmla="*/ 22 w 64"/>
                  <a:gd name="T11" fmla="*/ 34 h 63"/>
                  <a:gd name="T12" fmla="*/ 41 w 64"/>
                  <a:gd name="T13" fmla="*/ 16 h 63"/>
                  <a:gd name="T14" fmla="*/ 47 w 64"/>
                  <a:gd name="T15" fmla="*/ 22 h 63"/>
                  <a:gd name="T16" fmla="*/ 28 w 64"/>
                  <a:gd name="T17" fmla="*/ 39 h 63"/>
                  <a:gd name="T18" fmla="*/ 38 w 64"/>
                  <a:gd name="T19" fmla="*/ 50 h 63"/>
                  <a:gd name="T20" fmla="*/ 58 w 64"/>
                  <a:gd name="T21" fmla="*/ 30 h 63"/>
                  <a:gd name="T22" fmla="*/ 64 w 64"/>
                  <a:gd name="T23" fmla="*/ 36 h 63"/>
                  <a:gd name="T24" fmla="*/ 36 w 64"/>
                  <a:gd name="T25" fmla="*/ 63 h 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4" h="63">
                    <a:moveTo>
                      <a:pt x="36" y="63"/>
                    </a:moveTo>
                    <a:lnTo>
                      <a:pt x="0" y="26"/>
                    </a:lnTo>
                    <a:lnTo>
                      <a:pt x="28" y="0"/>
                    </a:lnTo>
                    <a:lnTo>
                      <a:pt x="34" y="6"/>
                    </a:lnTo>
                    <a:lnTo>
                      <a:pt x="14" y="26"/>
                    </a:lnTo>
                    <a:lnTo>
                      <a:pt x="22" y="34"/>
                    </a:lnTo>
                    <a:lnTo>
                      <a:pt x="41" y="16"/>
                    </a:lnTo>
                    <a:lnTo>
                      <a:pt x="47" y="22"/>
                    </a:lnTo>
                    <a:lnTo>
                      <a:pt x="28" y="39"/>
                    </a:lnTo>
                    <a:lnTo>
                      <a:pt x="38" y="50"/>
                    </a:lnTo>
                    <a:lnTo>
                      <a:pt x="58" y="30"/>
                    </a:lnTo>
                    <a:lnTo>
                      <a:pt x="64" y="36"/>
                    </a:lnTo>
                    <a:lnTo>
                      <a:pt x="36" y="6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107" name="íṩḻîde"/>
              <p:cNvSpPr/>
              <p:nvPr/>
            </p:nvSpPr>
            <p:spPr bwMode="auto">
              <a:xfrm>
                <a:off x="2985984" y="5801315"/>
                <a:ext cx="82550" cy="80963"/>
              </a:xfrm>
              <a:custGeom>
                <a:avLst/>
                <a:gdLst>
                  <a:gd name="T0" fmla="*/ 34 w 45"/>
                  <a:gd name="T1" fmla="*/ 19 h 44"/>
                  <a:gd name="T2" fmla="*/ 41 w 45"/>
                  <a:gd name="T3" fmla="*/ 14 h 44"/>
                  <a:gd name="T4" fmla="*/ 45 w 45"/>
                  <a:gd name="T5" fmla="*/ 26 h 44"/>
                  <a:gd name="T6" fmla="*/ 40 w 45"/>
                  <a:gd name="T7" fmla="*/ 37 h 44"/>
                  <a:gd name="T8" fmla="*/ 26 w 45"/>
                  <a:gd name="T9" fmla="*/ 44 h 44"/>
                  <a:gd name="T10" fmla="*/ 10 w 45"/>
                  <a:gd name="T11" fmla="*/ 38 h 44"/>
                  <a:gd name="T12" fmla="*/ 1 w 45"/>
                  <a:gd name="T13" fmla="*/ 22 h 44"/>
                  <a:gd name="T14" fmla="*/ 6 w 45"/>
                  <a:gd name="T15" fmla="*/ 7 h 44"/>
                  <a:gd name="T16" fmla="*/ 18 w 45"/>
                  <a:gd name="T17" fmla="*/ 0 h 44"/>
                  <a:gd name="T18" fmla="*/ 27 w 45"/>
                  <a:gd name="T19" fmla="*/ 2 h 44"/>
                  <a:gd name="T20" fmla="*/ 23 w 45"/>
                  <a:gd name="T21" fmla="*/ 10 h 44"/>
                  <a:gd name="T22" fmla="*/ 17 w 45"/>
                  <a:gd name="T23" fmla="*/ 9 h 44"/>
                  <a:gd name="T24" fmla="*/ 11 w 45"/>
                  <a:gd name="T25" fmla="*/ 12 h 44"/>
                  <a:gd name="T26" fmla="*/ 9 w 45"/>
                  <a:gd name="T27" fmla="*/ 21 h 44"/>
                  <a:gd name="T28" fmla="*/ 15 w 45"/>
                  <a:gd name="T29" fmla="*/ 30 h 44"/>
                  <a:gd name="T30" fmla="*/ 26 w 45"/>
                  <a:gd name="T31" fmla="*/ 36 h 44"/>
                  <a:gd name="T32" fmla="*/ 34 w 45"/>
                  <a:gd name="T33" fmla="*/ 32 h 44"/>
                  <a:gd name="T34" fmla="*/ 36 w 45"/>
                  <a:gd name="T35" fmla="*/ 26 h 44"/>
                  <a:gd name="T36" fmla="*/ 34 w 45"/>
                  <a:gd name="T37" fmla="*/ 19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45" h="44">
                    <a:moveTo>
                      <a:pt x="34" y="19"/>
                    </a:moveTo>
                    <a:cubicBezTo>
                      <a:pt x="41" y="14"/>
                      <a:pt x="41" y="14"/>
                      <a:pt x="41" y="14"/>
                    </a:cubicBezTo>
                    <a:cubicBezTo>
                      <a:pt x="44" y="18"/>
                      <a:pt x="45" y="22"/>
                      <a:pt x="45" y="26"/>
                    </a:cubicBezTo>
                    <a:cubicBezTo>
                      <a:pt x="45" y="30"/>
                      <a:pt x="43" y="34"/>
                      <a:pt x="40" y="37"/>
                    </a:cubicBezTo>
                    <a:cubicBezTo>
                      <a:pt x="36" y="42"/>
                      <a:pt x="31" y="44"/>
                      <a:pt x="26" y="44"/>
                    </a:cubicBezTo>
                    <a:cubicBezTo>
                      <a:pt x="21" y="44"/>
                      <a:pt x="15" y="42"/>
                      <a:pt x="10" y="38"/>
                    </a:cubicBezTo>
                    <a:cubicBezTo>
                      <a:pt x="4" y="33"/>
                      <a:pt x="1" y="28"/>
                      <a:pt x="1" y="22"/>
                    </a:cubicBezTo>
                    <a:cubicBezTo>
                      <a:pt x="0" y="17"/>
                      <a:pt x="2" y="12"/>
                      <a:pt x="6" y="7"/>
                    </a:cubicBezTo>
                    <a:cubicBezTo>
                      <a:pt x="10" y="3"/>
                      <a:pt x="14" y="1"/>
                      <a:pt x="18" y="0"/>
                    </a:cubicBezTo>
                    <a:cubicBezTo>
                      <a:pt x="21" y="0"/>
                      <a:pt x="24" y="1"/>
                      <a:pt x="27" y="2"/>
                    </a:cubicBezTo>
                    <a:cubicBezTo>
                      <a:pt x="23" y="10"/>
                      <a:pt x="23" y="10"/>
                      <a:pt x="23" y="10"/>
                    </a:cubicBezTo>
                    <a:cubicBezTo>
                      <a:pt x="21" y="9"/>
                      <a:pt x="19" y="9"/>
                      <a:pt x="17" y="9"/>
                    </a:cubicBezTo>
                    <a:cubicBezTo>
                      <a:pt x="15" y="9"/>
                      <a:pt x="13" y="11"/>
                      <a:pt x="11" y="12"/>
                    </a:cubicBezTo>
                    <a:cubicBezTo>
                      <a:pt x="9" y="15"/>
                      <a:pt x="8" y="18"/>
                      <a:pt x="9" y="21"/>
                    </a:cubicBezTo>
                    <a:cubicBezTo>
                      <a:pt x="9" y="24"/>
                      <a:pt x="12" y="27"/>
                      <a:pt x="15" y="30"/>
                    </a:cubicBezTo>
                    <a:cubicBezTo>
                      <a:pt x="20" y="34"/>
                      <a:pt x="23" y="36"/>
                      <a:pt x="26" y="36"/>
                    </a:cubicBezTo>
                    <a:cubicBezTo>
                      <a:pt x="29" y="36"/>
                      <a:pt x="32" y="35"/>
                      <a:pt x="34" y="32"/>
                    </a:cubicBezTo>
                    <a:cubicBezTo>
                      <a:pt x="36" y="31"/>
                      <a:pt x="36" y="29"/>
                      <a:pt x="36" y="26"/>
                    </a:cubicBezTo>
                    <a:cubicBezTo>
                      <a:pt x="36" y="24"/>
                      <a:pt x="35" y="22"/>
                      <a:pt x="34" y="1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108" name="îŝḷïḓê"/>
              <p:cNvSpPr/>
              <p:nvPr/>
            </p:nvSpPr>
            <p:spPr bwMode="auto">
              <a:xfrm>
                <a:off x="3022497" y="5733053"/>
                <a:ext cx="103188" cy="101600"/>
              </a:xfrm>
              <a:custGeom>
                <a:avLst/>
                <a:gdLst>
                  <a:gd name="T0" fmla="*/ 42 w 65"/>
                  <a:gd name="T1" fmla="*/ 64 h 64"/>
                  <a:gd name="T2" fmla="*/ 0 w 65"/>
                  <a:gd name="T3" fmla="*/ 34 h 64"/>
                  <a:gd name="T4" fmla="*/ 6 w 65"/>
                  <a:gd name="T5" fmla="*/ 26 h 64"/>
                  <a:gd name="T6" fmla="*/ 22 w 65"/>
                  <a:gd name="T7" fmla="*/ 37 h 64"/>
                  <a:gd name="T8" fmla="*/ 33 w 65"/>
                  <a:gd name="T9" fmla="*/ 21 h 64"/>
                  <a:gd name="T10" fmla="*/ 17 w 65"/>
                  <a:gd name="T11" fmla="*/ 9 h 64"/>
                  <a:gd name="T12" fmla="*/ 23 w 65"/>
                  <a:gd name="T13" fmla="*/ 0 h 64"/>
                  <a:gd name="T14" fmla="*/ 65 w 65"/>
                  <a:gd name="T15" fmla="*/ 30 h 64"/>
                  <a:gd name="T16" fmla="*/ 59 w 65"/>
                  <a:gd name="T17" fmla="*/ 38 h 64"/>
                  <a:gd name="T18" fmla="*/ 40 w 65"/>
                  <a:gd name="T19" fmla="*/ 26 h 64"/>
                  <a:gd name="T20" fmla="*/ 29 w 65"/>
                  <a:gd name="T21" fmla="*/ 42 h 64"/>
                  <a:gd name="T22" fmla="*/ 47 w 65"/>
                  <a:gd name="T23" fmla="*/ 55 h 64"/>
                  <a:gd name="T24" fmla="*/ 42 w 65"/>
                  <a:gd name="T25" fmla="*/ 64 h 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5" h="64">
                    <a:moveTo>
                      <a:pt x="42" y="64"/>
                    </a:moveTo>
                    <a:lnTo>
                      <a:pt x="0" y="34"/>
                    </a:lnTo>
                    <a:lnTo>
                      <a:pt x="6" y="26"/>
                    </a:lnTo>
                    <a:lnTo>
                      <a:pt x="22" y="37"/>
                    </a:lnTo>
                    <a:lnTo>
                      <a:pt x="33" y="21"/>
                    </a:lnTo>
                    <a:lnTo>
                      <a:pt x="17" y="9"/>
                    </a:lnTo>
                    <a:lnTo>
                      <a:pt x="23" y="0"/>
                    </a:lnTo>
                    <a:lnTo>
                      <a:pt x="65" y="30"/>
                    </a:lnTo>
                    <a:lnTo>
                      <a:pt x="59" y="38"/>
                    </a:lnTo>
                    <a:lnTo>
                      <a:pt x="40" y="26"/>
                    </a:lnTo>
                    <a:lnTo>
                      <a:pt x="29" y="42"/>
                    </a:lnTo>
                    <a:lnTo>
                      <a:pt x="47" y="55"/>
                    </a:lnTo>
                    <a:lnTo>
                      <a:pt x="42" y="6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109" name="îşḷîḑe"/>
              <p:cNvSpPr/>
              <p:nvPr/>
            </p:nvSpPr>
            <p:spPr bwMode="auto">
              <a:xfrm>
                <a:off x="3062184" y="5672728"/>
                <a:ext cx="103188" cy="95250"/>
              </a:xfrm>
              <a:custGeom>
                <a:avLst/>
                <a:gdLst>
                  <a:gd name="T0" fmla="*/ 44 w 65"/>
                  <a:gd name="T1" fmla="*/ 60 h 60"/>
                  <a:gd name="T2" fmla="*/ 0 w 65"/>
                  <a:gd name="T3" fmla="*/ 34 h 60"/>
                  <a:gd name="T4" fmla="*/ 5 w 65"/>
                  <a:gd name="T5" fmla="*/ 26 h 60"/>
                  <a:gd name="T6" fmla="*/ 46 w 65"/>
                  <a:gd name="T7" fmla="*/ 24 h 60"/>
                  <a:gd name="T8" fmla="*/ 15 w 65"/>
                  <a:gd name="T9" fmla="*/ 8 h 60"/>
                  <a:gd name="T10" fmla="*/ 20 w 65"/>
                  <a:gd name="T11" fmla="*/ 0 h 60"/>
                  <a:gd name="T12" fmla="*/ 65 w 65"/>
                  <a:gd name="T13" fmla="*/ 24 h 60"/>
                  <a:gd name="T14" fmla="*/ 59 w 65"/>
                  <a:gd name="T15" fmla="*/ 33 h 60"/>
                  <a:gd name="T16" fmla="*/ 20 w 65"/>
                  <a:gd name="T17" fmla="*/ 34 h 60"/>
                  <a:gd name="T18" fmla="*/ 49 w 65"/>
                  <a:gd name="T19" fmla="*/ 52 h 60"/>
                  <a:gd name="T20" fmla="*/ 44 w 65"/>
                  <a:gd name="T21" fmla="*/ 60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65" h="60">
                    <a:moveTo>
                      <a:pt x="44" y="60"/>
                    </a:moveTo>
                    <a:lnTo>
                      <a:pt x="0" y="34"/>
                    </a:lnTo>
                    <a:lnTo>
                      <a:pt x="5" y="26"/>
                    </a:lnTo>
                    <a:lnTo>
                      <a:pt x="46" y="24"/>
                    </a:lnTo>
                    <a:lnTo>
                      <a:pt x="15" y="8"/>
                    </a:lnTo>
                    <a:lnTo>
                      <a:pt x="20" y="0"/>
                    </a:lnTo>
                    <a:lnTo>
                      <a:pt x="65" y="24"/>
                    </a:lnTo>
                    <a:lnTo>
                      <a:pt x="59" y="33"/>
                    </a:lnTo>
                    <a:lnTo>
                      <a:pt x="20" y="34"/>
                    </a:lnTo>
                    <a:lnTo>
                      <a:pt x="49" y="52"/>
                    </a:lnTo>
                    <a:lnTo>
                      <a:pt x="44" y="6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110" name="îşḷïḋê"/>
              <p:cNvSpPr/>
              <p:nvPr/>
            </p:nvSpPr>
            <p:spPr bwMode="auto">
              <a:xfrm>
                <a:off x="3106634" y="5606053"/>
                <a:ext cx="87313" cy="84138"/>
              </a:xfrm>
              <a:custGeom>
                <a:avLst/>
                <a:gdLst>
                  <a:gd name="T0" fmla="*/ 15 w 47"/>
                  <a:gd name="T1" fmla="*/ 43 h 46"/>
                  <a:gd name="T2" fmla="*/ 5 w 47"/>
                  <a:gd name="T3" fmla="*/ 36 h 46"/>
                  <a:gd name="T4" fmla="*/ 2 w 47"/>
                  <a:gd name="T5" fmla="*/ 30 h 46"/>
                  <a:gd name="T6" fmla="*/ 0 w 47"/>
                  <a:gd name="T7" fmla="*/ 23 h 46"/>
                  <a:gd name="T8" fmla="*/ 2 w 47"/>
                  <a:gd name="T9" fmla="*/ 14 h 46"/>
                  <a:gd name="T10" fmla="*/ 14 w 47"/>
                  <a:gd name="T11" fmla="*/ 2 h 46"/>
                  <a:gd name="T12" fmla="*/ 32 w 47"/>
                  <a:gd name="T13" fmla="*/ 3 h 46"/>
                  <a:gd name="T14" fmla="*/ 45 w 47"/>
                  <a:gd name="T15" fmla="*/ 15 h 46"/>
                  <a:gd name="T16" fmla="*/ 44 w 47"/>
                  <a:gd name="T17" fmla="*/ 32 h 46"/>
                  <a:gd name="T18" fmla="*/ 32 w 47"/>
                  <a:gd name="T19" fmla="*/ 44 h 46"/>
                  <a:gd name="T20" fmla="*/ 15 w 47"/>
                  <a:gd name="T21" fmla="*/ 43 h 46"/>
                  <a:gd name="T22" fmla="*/ 18 w 47"/>
                  <a:gd name="T23" fmla="*/ 34 h 46"/>
                  <a:gd name="T24" fmla="*/ 30 w 47"/>
                  <a:gd name="T25" fmla="*/ 35 h 46"/>
                  <a:gd name="T26" fmla="*/ 37 w 47"/>
                  <a:gd name="T27" fmla="*/ 29 h 46"/>
                  <a:gd name="T28" fmla="*/ 37 w 47"/>
                  <a:gd name="T29" fmla="*/ 19 h 46"/>
                  <a:gd name="T30" fmla="*/ 28 w 47"/>
                  <a:gd name="T31" fmla="*/ 12 h 46"/>
                  <a:gd name="T32" fmla="*/ 16 w 47"/>
                  <a:gd name="T33" fmla="*/ 10 h 46"/>
                  <a:gd name="T34" fmla="*/ 9 w 47"/>
                  <a:gd name="T35" fmla="*/ 17 h 46"/>
                  <a:gd name="T36" fmla="*/ 9 w 47"/>
                  <a:gd name="T37" fmla="*/ 27 h 46"/>
                  <a:gd name="T38" fmla="*/ 18 w 47"/>
                  <a:gd name="T39" fmla="*/ 34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47" h="46">
                    <a:moveTo>
                      <a:pt x="15" y="43"/>
                    </a:moveTo>
                    <a:cubicBezTo>
                      <a:pt x="11" y="41"/>
                      <a:pt x="8" y="39"/>
                      <a:pt x="5" y="36"/>
                    </a:cubicBezTo>
                    <a:cubicBezTo>
                      <a:pt x="4" y="34"/>
                      <a:pt x="2" y="32"/>
                      <a:pt x="2" y="30"/>
                    </a:cubicBezTo>
                    <a:cubicBezTo>
                      <a:pt x="1" y="28"/>
                      <a:pt x="0" y="26"/>
                      <a:pt x="0" y="23"/>
                    </a:cubicBezTo>
                    <a:cubicBezTo>
                      <a:pt x="0" y="20"/>
                      <a:pt x="1" y="17"/>
                      <a:pt x="2" y="14"/>
                    </a:cubicBezTo>
                    <a:cubicBezTo>
                      <a:pt x="5" y="8"/>
                      <a:pt x="9" y="4"/>
                      <a:pt x="14" y="2"/>
                    </a:cubicBezTo>
                    <a:cubicBezTo>
                      <a:pt x="19" y="0"/>
                      <a:pt x="25" y="1"/>
                      <a:pt x="32" y="3"/>
                    </a:cubicBezTo>
                    <a:cubicBezTo>
                      <a:pt x="38" y="6"/>
                      <a:pt x="43" y="10"/>
                      <a:pt x="45" y="15"/>
                    </a:cubicBezTo>
                    <a:cubicBezTo>
                      <a:pt x="47" y="21"/>
                      <a:pt x="47" y="26"/>
                      <a:pt x="44" y="32"/>
                    </a:cubicBezTo>
                    <a:cubicBezTo>
                      <a:pt x="41" y="38"/>
                      <a:pt x="38" y="42"/>
                      <a:pt x="32" y="44"/>
                    </a:cubicBezTo>
                    <a:cubicBezTo>
                      <a:pt x="27" y="46"/>
                      <a:pt x="21" y="45"/>
                      <a:pt x="15" y="43"/>
                    </a:cubicBezTo>
                    <a:close/>
                    <a:moveTo>
                      <a:pt x="18" y="34"/>
                    </a:moveTo>
                    <a:cubicBezTo>
                      <a:pt x="23" y="36"/>
                      <a:pt x="27" y="37"/>
                      <a:pt x="30" y="35"/>
                    </a:cubicBezTo>
                    <a:cubicBezTo>
                      <a:pt x="33" y="34"/>
                      <a:pt x="36" y="32"/>
                      <a:pt x="37" y="29"/>
                    </a:cubicBezTo>
                    <a:cubicBezTo>
                      <a:pt x="39" y="26"/>
                      <a:pt x="39" y="23"/>
                      <a:pt x="37" y="19"/>
                    </a:cubicBezTo>
                    <a:cubicBezTo>
                      <a:pt x="36" y="16"/>
                      <a:pt x="33" y="14"/>
                      <a:pt x="28" y="12"/>
                    </a:cubicBezTo>
                    <a:cubicBezTo>
                      <a:pt x="23" y="10"/>
                      <a:pt x="19" y="9"/>
                      <a:pt x="16" y="10"/>
                    </a:cubicBezTo>
                    <a:cubicBezTo>
                      <a:pt x="13" y="11"/>
                      <a:pt x="11" y="14"/>
                      <a:pt x="9" y="17"/>
                    </a:cubicBezTo>
                    <a:cubicBezTo>
                      <a:pt x="8" y="20"/>
                      <a:pt x="8" y="23"/>
                      <a:pt x="9" y="27"/>
                    </a:cubicBezTo>
                    <a:cubicBezTo>
                      <a:pt x="11" y="30"/>
                      <a:pt x="14" y="32"/>
                      <a:pt x="18" y="3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111" name="îṣlïḍè"/>
              <p:cNvSpPr/>
              <p:nvPr/>
            </p:nvSpPr>
            <p:spPr bwMode="auto">
              <a:xfrm>
                <a:off x="3128859" y="5560015"/>
                <a:ext cx="93663" cy="57150"/>
              </a:xfrm>
              <a:custGeom>
                <a:avLst/>
                <a:gdLst>
                  <a:gd name="T0" fmla="*/ 49 w 59"/>
                  <a:gd name="T1" fmla="*/ 36 h 36"/>
                  <a:gd name="T2" fmla="*/ 0 w 59"/>
                  <a:gd name="T3" fmla="*/ 21 h 36"/>
                  <a:gd name="T4" fmla="*/ 4 w 59"/>
                  <a:gd name="T5" fmla="*/ 10 h 36"/>
                  <a:gd name="T6" fmla="*/ 43 w 59"/>
                  <a:gd name="T7" fmla="*/ 24 h 36"/>
                  <a:gd name="T8" fmla="*/ 51 w 59"/>
                  <a:gd name="T9" fmla="*/ 0 h 36"/>
                  <a:gd name="T10" fmla="*/ 59 w 59"/>
                  <a:gd name="T11" fmla="*/ 2 h 36"/>
                  <a:gd name="T12" fmla="*/ 49 w 59"/>
                  <a:gd name="T13" fmla="*/ 36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59" h="36">
                    <a:moveTo>
                      <a:pt x="49" y="36"/>
                    </a:moveTo>
                    <a:lnTo>
                      <a:pt x="0" y="21"/>
                    </a:lnTo>
                    <a:lnTo>
                      <a:pt x="4" y="10"/>
                    </a:lnTo>
                    <a:lnTo>
                      <a:pt x="43" y="24"/>
                    </a:lnTo>
                    <a:lnTo>
                      <a:pt x="51" y="0"/>
                    </a:lnTo>
                    <a:lnTo>
                      <a:pt x="59" y="2"/>
                    </a:lnTo>
                    <a:lnTo>
                      <a:pt x="49" y="36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112" name="ïṩḷîḓê"/>
              <p:cNvSpPr/>
              <p:nvPr/>
            </p:nvSpPr>
            <p:spPr bwMode="auto">
              <a:xfrm>
                <a:off x="3152672" y="5469528"/>
                <a:ext cx="85725" cy="80963"/>
              </a:xfrm>
              <a:custGeom>
                <a:avLst/>
                <a:gdLst>
                  <a:gd name="T0" fmla="*/ 18 w 46"/>
                  <a:gd name="T1" fmla="*/ 43 h 44"/>
                  <a:gd name="T2" fmla="*/ 8 w 46"/>
                  <a:gd name="T3" fmla="*/ 38 h 44"/>
                  <a:gd name="T4" fmla="*/ 3 w 46"/>
                  <a:gd name="T5" fmla="*/ 33 h 44"/>
                  <a:gd name="T6" fmla="*/ 0 w 46"/>
                  <a:gd name="T7" fmla="*/ 27 h 44"/>
                  <a:gd name="T8" fmla="*/ 1 w 46"/>
                  <a:gd name="T9" fmla="*/ 17 h 44"/>
                  <a:gd name="T10" fmla="*/ 10 w 46"/>
                  <a:gd name="T11" fmla="*/ 3 h 44"/>
                  <a:gd name="T12" fmla="*/ 28 w 46"/>
                  <a:gd name="T13" fmla="*/ 1 h 44"/>
                  <a:gd name="T14" fmla="*/ 43 w 46"/>
                  <a:gd name="T15" fmla="*/ 11 h 44"/>
                  <a:gd name="T16" fmla="*/ 45 w 46"/>
                  <a:gd name="T17" fmla="*/ 27 h 44"/>
                  <a:gd name="T18" fmla="*/ 36 w 46"/>
                  <a:gd name="T19" fmla="*/ 41 h 44"/>
                  <a:gd name="T20" fmla="*/ 18 w 46"/>
                  <a:gd name="T21" fmla="*/ 43 h 44"/>
                  <a:gd name="T22" fmla="*/ 20 w 46"/>
                  <a:gd name="T23" fmla="*/ 34 h 44"/>
                  <a:gd name="T24" fmla="*/ 32 w 46"/>
                  <a:gd name="T25" fmla="*/ 33 h 44"/>
                  <a:gd name="T26" fmla="*/ 38 w 46"/>
                  <a:gd name="T27" fmla="*/ 25 h 44"/>
                  <a:gd name="T28" fmla="*/ 36 w 46"/>
                  <a:gd name="T29" fmla="*/ 16 h 44"/>
                  <a:gd name="T30" fmla="*/ 25 w 46"/>
                  <a:gd name="T31" fmla="*/ 10 h 44"/>
                  <a:gd name="T32" fmla="*/ 14 w 46"/>
                  <a:gd name="T33" fmla="*/ 11 h 44"/>
                  <a:gd name="T34" fmla="*/ 8 w 46"/>
                  <a:gd name="T35" fmla="*/ 19 h 44"/>
                  <a:gd name="T36" fmla="*/ 10 w 46"/>
                  <a:gd name="T37" fmla="*/ 28 h 44"/>
                  <a:gd name="T38" fmla="*/ 20 w 46"/>
                  <a:gd name="T39" fmla="*/ 34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46" h="44">
                    <a:moveTo>
                      <a:pt x="18" y="43"/>
                    </a:moveTo>
                    <a:cubicBezTo>
                      <a:pt x="14" y="42"/>
                      <a:pt x="10" y="40"/>
                      <a:pt x="8" y="38"/>
                    </a:cubicBezTo>
                    <a:cubicBezTo>
                      <a:pt x="6" y="37"/>
                      <a:pt x="4" y="35"/>
                      <a:pt x="3" y="33"/>
                    </a:cubicBezTo>
                    <a:cubicBezTo>
                      <a:pt x="1" y="31"/>
                      <a:pt x="1" y="29"/>
                      <a:pt x="0" y="27"/>
                    </a:cubicBezTo>
                    <a:cubicBezTo>
                      <a:pt x="0" y="24"/>
                      <a:pt x="0" y="21"/>
                      <a:pt x="1" y="17"/>
                    </a:cubicBezTo>
                    <a:cubicBezTo>
                      <a:pt x="2" y="11"/>
                      <a:pt x="5" y="6"/>
                      <a:pt x="10" y="3"/>
                    </a:cubicBezTo>
                    <a:cubicBezTo>
                      <a:pt x="15" y="0"/>
                      <a:pt x="21" y="0"/>
                      <a:pt x="28" y="1"/>
                    </a:cubicBezTo>
                    <a:cubicBezTo>
                      <a:pt x="34" y="3"/>
                      <a:pt x="39" y="6"/>
                      <a:pt x="43" y="11"/>
                    </a:cubicBezTo>
                    <a:cubicBezTo>
                      <a:pt x="46" y="15"/>
                      <a:pt x="46" y="21"/>
                      <a:pt x="45" y="27"/>
                    </a:cubicBezTo>
                    <a:cubicBezTo>
                      <a:pt x="44" y="33"/>
                      <a:pt x="40" y="38"/>
                      <a:pt x="36" y="41"/>
                    </a:cubicBezTo>
                    <a:cubicBezTo>
                      <a:pt x="31" y="44"/>
                      <a:pt x="25" y="44"/>
                      <a:pt x="18" y="43"/>
                    </a:cubicBezTo>
                    <a:close/>
                    <a:moveTo>
                      <a:pt x="20" y="34"/>
                    </a:moveTo>
                    <a:cubicBezTo>
                      <a:pt x="25" y="35"/>
                      <a:pt x="29" y="35"/>
                      <a:pt x="32" y="33"/>
                    </a:cubicBezTo>
                    <a:cubicBezTo>
                      <a:pt x="35" y="31"/>
                      <a:pt x="37" y="29"/>
                      <a:pt x="38" y="25"/>
                    </a:cubicBezTo>
                    <a:cubicBezTo>
                      <a:pt x="38" y="22"/>
                      <a:pt x="38" y="19"/>
                      <a:pt x="36" y="16"/>
                    </a:cubicBezTo>
                    <a:cubicBezTo>
                      <a:pt x="34" y="13"/>
                      <a:pt x="30" y="11"/>
                      <a:pt x="25" y="10"/>
                    </a:cubicBezTo>
                    <a:cubicBezTo>
                      <a:pt x="20" y="9"/>
                      <a:pt x="16" y="9"/>
                      <a:pt x="14" y="11"/>
                    </a:cubicBezTo>
                    <a:cubicBezTo>
                      <a:pt x="11" y="13"/>
                      <a:pt x="9" y="15"/>
                      <a:pt x="8" y="19"/>
                    </a:cubicBezTo>
                    <a:cubicBezTo>
                      <a:pt x="7" y="22"/>
                      <a:pt x="8" y="25"/>
                      <a:pt x="10" y="28"/>
                    </a:cubicBezTo>
                    <a:cubicBezTo>
                      <a:pt x="12" y="31"/>
                      <a:pt x="15" y="33"/>
                      <a:pt x="20" y="3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113" name="ïSļiďé"/>
              <p:cNvSpPr/>
              <p:nvPr/>
            </p:nvSpPr>
            <p:spPr bwMode="auto">
              <a:xfrm>
                <a:off x="3165372" y="5390153"/>
                <a:ext cx="85725" cy="77788"/>
              </a:xfrm>
              <a:custGeom>
                <a:avLst/>
                <a:gdLst>
                  <a:gd name="T0" fmla="*/ 29 w 46"/>
                  <a:gd name="T1" fmla="*/ 21 h 42"/>
                  <a:gd name="T2" fmla="*/ 22 w 46"/>
                  <a:gd name="T3" fmla="*/ 20 h 42"/>
                  <a:gd name="T4" fmla="*/ 24 w 46"/>
                  <a:gd name="T5" fmla="*/ 1 h 42"/>
                  <a:gd name="T6" fmla="*/ 41 w 46"/>
                  <a:gd name="T7" fmla="*/ 3 h 42"/>
                  <a:gd name="T8" fmla="*/ 45 w 46"/>
                  <a:gd name="T9" fmla="*/ 11 h 42"/>
                  <a:gd name="T10" fmla="*/ 46 w 46"/>
                  <a:gd name="T11" fmla="*/ 22 h 42"/>
                  <a:gd name="T12" fmla="*/ 42 w 46"/>
                  <a:gd name="T13" fmla="*/ 34 h 42"/>
                  <a:gd name="T14" fmla="*/ 33 w 46"/>
                  <a:gd name="T15" fmla="*/ 41 h 42"/>
                  <a:gd name="T16" fmla="*/ 21 w 46"/>
                  <a:gd name="T17" fmla="*/ 42 h 42"/>
                  <a:gd name="T18" fmla="*/ 9 w 46"/>
                  <a:gd name="T19" fmla="*/ 38 h 42"/>
                  <a:gd name="T20" fmla="*/ 2 w 46"/>
                  <a:gd name="T21" fmla="*/ 28 h 42"/>
                  <a:gd name="T22" fmla="*/ 1 w 46"/>
                  <a:gd name="T23" fmla="*/ 18 h 42"/>
                  <a:gd name="T24" fmla="*/ 6 w 46"/>
                  <a:gd name="T25" fmla="*/ 5 h 42"/>
                  <a:gd name="T26" fmla="*/ 16 w 46"/>
                  <a:gd name="T27" fmla="*/ 0 h 42"/>
                  <a:gd name="T28" fmla="*/ 16 w 46"/>
                  <a:gd name="T29" fmla="*/ 9 h 42"/>
                  <a:gd name="T30" fmla="*/ 11 w 46"/>
                  <a:gd name="T31" fmla="*/ 12 h 42"/>
                  <a:gd name="T32" fmla="*/ 8 w 46"/>
                  <a:gd name="T33" fmla="*/ 18 h 42"/>
                  <a:gd name="T34" fmla="*/ 11 w 46"/>
                  <a:gd name="T35" fmla="*/ 28 h 42"/>
                  <a:gd name="T36" fmla="*/ 21 w 46"/>
                  <a:gd name="T37" fmla="*/ 33 h 42"/>
                  <a:gd name="T38" fmla="*/ 34 w 46"/>
                  <a:gd name="T39" fmla="*/ 31 h 42"/>
                  <a:gd name="T40" fmla="*/ 38 w 46"/>
                  <a:gd name="T41" fmla="*/ 22 h 42"/>
                  <a:gd name="T42" fmla="*/ 38 w 46"/>
                  <a:gd name="T43" fmla="*/ 16 h 42"/>
                  <a:gd name="T44" fmla="*/ 36 w 46"/>
                  <a:gd name="T45" fmla="*/ 11 h 42"/>
                  <a:gd name="T46" fmla="*/ 30 w 46"/>
                  <a:gd name="T47" fmla="*/ 11 h 42"/>
                  <a:gd name="T48" fmla="*/ 29 w 46"/>
                  <a:gd name="T49" fmla="*/ 21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46" h="42">
                    <a:moveTo>
                      <a:pt x="29" y="21"/>
                    </a:moveTo>
                    <a:cubicBezTo>
                      <a:pt x="22" y="20"/>
                      <a:pt x="22" y="20"/>
                      <a:pt x="22" y="20"/>
                    </a:cubicBezTo>
                    <a:cubicBezTo>
                      <a:pt x="24" y="1"/>
                      <a:pt x="24" y="1"/>
                      <a:pt x="24" y="1"/>
                    </a:cubicBezTo>
                    <a:cubicBezTo>
                      <a:pt x="41" y="3"/>
                      <a:pt x="41" y="3"/>
                      <a:pt x="41" y="3"/>
                    </a:cubicBezTo>
                    <a:cubicBezTo>
                      <a:pt x="43" y="5"/>
                      <a:pt x="44" y="8"/>
                      <a:pt x="45" y="11"/>
                    </a:cubicBezTo>
                    <a:cubicBezTo>
                      <a:pt x="46" y="15"/>
                      <a:pt x="46" y="19"/>
                      <a:pt x="46" y="22"/>
                    </a:cubicBezTo>
                    <a:cubicBezTo>
                      <a:pt x="46" y="27"/>
                      <a:pt x="44" y="31"/>
                      <a:pt x="42" y="34"/>
                    </a:cubicBezTo>
                    <a:cubicBezTo>
                      <a:pt x="39" y="37"/>
                      <a:pt x="36" y="39"/>
                      <a:pt x="33" y="41"/>
                    </a:cubicBezTo>
                    <a:cubicBezTo>
                      <a:pt x="29" y="42"/>
                      <a:pt x="25" y="42"/>
                      <a:pt x="21" y="42"/>
                    </a:cubicBezTo>
                    <a:cubicBezTo>
                      <a:pt x="16" y="41"/>
                      <a:pt x="12" y="40"/>
                      <a:pt x="9" y="38"/>
                    </a:cubicBezTo>
                    <a:cubicBezTo>
                      <a:pt x="6" y="35"/>
                      <a:pt x="3" y="32"/>
                      <a:pt x="2" y="28"/>
                    </a:cubicBezTo>
                    <a:cubicBezTo>
                      <a:pt x="1" y="25"/>
                      <a:pt x="0" y="22"/>
                      <a:pt x="1" y="18"/>
                    </a:cubicBezTo>
                    <a:cubicBezTo>
                      <a:pt x="1" y="12"/>
                      <a:pt x="3" y="8"/>
                      <a:pt x="6" y="5"/>
                    </a:cubicBezTo>
                    <a:cubicBezTo>
                      <a:pt x="8" y="2"/>
                      <a:pt x="12" y="1"/>
                      <a:pt x="16" y="0"/>
                    </a:cubicBezTo>
                    <a:cubicBezTo>
                      <a:pt x="16" y="9"/>
                      <a:pt x="16" y="9"/>
                      <a:pt x="16" y="9"/>
                    </a:cubicBezTo>
                    <a:cubicBezTo>
                      <a:pt x="14" y="10"/>
                      <a:pt x="12" y="11"/>
                      <a:pt x="11" y="12"/>
                    </a:cubicBezTo>
                    <a:cubicBezTo>
                      <a:pt x="10" y="14"/>
                      <a:pt x="9" y="16"/>
                      <a:pt x="8" y="18"/>
                    </a:cubicBezTo>
                    <a:cubicBezTo>
                      <a:pt x="8" y="22"/>
                      <a:pt x="9" y="25"/>
                      <a:pt x="11" y="28"/>
                    </a:cubicBezTo>
                    <a:cubicBezTo>
                      <a:pt x="13" y="31"/>
                      <a:pt x="17" y="32"/>
                      <a:pt x="21" y="33"/>
                    </a:cubicBezTo>
                    <a:cubicBezTo>
                      <a:pt x="27" y="33"/>
                      <a:pt x="31" y="33"/>
                      <a:pt x="34" y="31"/>
                    </a:cubicBezTo>
                    <a:cubicBezTo>
                      <a:pt x="36" y="29"/>
                      <a:pt x="38" y="26"/>
                      <a:pt x="38" y="22"/>
                    </a:cubicBezTo>
                    <a:cubicBezTo>
                      <a:pt x="39" y="20"/>
                      <a:pt x="39" y="18"/>
                      <a:pt x="38" y="16"/>
                    </a:cubicBezTo>
                    <a:cubicBezTo>
                      <a:pt x="37" y="14"/>
                      <a:pt x="37" y="13"/>
                      <a:pt x="36" y="11"/>
                    </a:cubicBezTo>
                    <a:cubicBezTo>
                      <a:pt x="30" y="11"/>
                      <a:pt x="30" y="11"/>
                      <a:pt x="30" y="11"/>
                    </a:cubicBezTo>
                    <a:lnTo>
                      <a:pt x="29" y="2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114" name="îSḷiḋè"/>
              <p:cNvSpPr/>
              <p:nvPr/>
            </p:nvSpPr>
            <p:spPr bwMode="auto">
              <a:xfrm>
                <a:off x="3173309" y="5313953"/>
                <a:ext cx="80963" cy="76200"/>
              </a:xfrm>
              <a:custGeom>
                <a:avLst/>
                <a:gdLst>
                  <a:gd name="T0" fmla="*/ 51 w 51"/>
                  <a:gd name="T1" fmla="*/ 30 h 48"/>
                  <a:gd name="T2" fmla="*/ 29 w 51"/>
                  <a:gd name="T3" fmla="*/ 29 h 48"/>
                  <a:gd name="T4" fmla="*/ 0 w 51"/>
                  <a:gd name="T5" fmla="*/ 48 h 48"/>
                  <a:gd name="T6" fmla="*/ 0 w 51"/>
                  <a:gd name="T7" fmla="*/ 36 h 48"/>
                  <a:gd name="T8" fmla="*/ 20 w 51"/>
                  <a:gd name="T9" fmla="*/ 24 h 48"/>
                  <a:gd name="T10" fmla="*/ 0 w 51"/>
                  <a:gd name="T11" fmla="*/ 12 h 48"/>
                  <a:gd name="T12" fmla="*/ 0 w 51"/>
                  <a:gd name="T13" fmla="*/ 0 h 48"/>
                  <a:gd name="T14" fmla="*/ 30 w 51"/>
                  <a:gd name="T15" fmla="*/ 20 h 48"/>
                  <a:gd name="T16" fmla="*/ 51 w 51"/>
                  <a:gd name="T17" fmla="*/ 20 h 48"/>
                  <a:gd name="T18" fmla="*/ 51 w 51"/>
                  <a:gd name="T19" fmla="*/ 30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51" h="48">
                    <a:moveTo>
                      <a:pt x="51" y="30"/>
                    </a:moveTo>
                    <a:lnTo>
                      <a:pt x="29" y="29"/>
                    </a:lnTo>
                    <a:lnTo>
                      <a:pt x="0" y="48"/>
                    </a:lnTo>
                    <a:lnTo>
                      <a:pt x="0" y="36"/>
                    </a:lnTo>
                    <a:lnTo>
                      <a:pt x="20" y="24"/>
                    </a:lnTo>
                    <a:lnTo>
                      <a:pt x="0" y="12"/>
                    </a:lnTo>
                    <a:lnTo>
                      <a:pt x="0" y="0"/>
                    </a:lnTo>
                    <a:lnTo>
                      <a:pt x="30" y="20"/>
                    </a:lnTo>
                    <a:lnTo>
                      <a:pt x="51" y="20"/>
                    </a:lnTo>
                    <a:lnTo>
                      <a:pt x="51" y="3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115" name="îṣḷíḋé"/>
              <p:cNvSpPr/>
              <p:nvPr/>
            </p:nvSpPr>
            <p:spPr bwMode="auto">
              <a:xfrm>
                <a:off x="3163784" y="5193303"/>
                <a:ext cx="87313" cy="76200"/>
              </a:xfrm>
              <a:custGeom>
                <a:avLst/>
                <a:gdLst>
                  <a:gd name="T0" fmla="*/ 4 w 47"/>
                  <a:gd name="T1" fmla="*/ 41 h 41"/>
                  <a:gd name="T2" fmla="*/ 1 w 47"/>
                  <a:gd name="T3" fmla="*/ 24 h 41"/>
                  <a:gd name="T4" fmla="*/ 0 w 47"/>
                  <a:gd name="T5" fmla="*/ 16 h 41"/>
                  <a:gd name="T6" fmla="*/ 2 w 47"/>
                  <a:gd name="T7" fmla="*/ 11 h 41"/>
                  <a:gd name="T8" fmla="*/ 5 w 47"/>
                  <a:gd name="T9" fmla="*/ 7 h 41"/>
                  <a:gd name="T10" fmla="*/ 10 w 47"/>
                  <a:gd name="T11" fmla="*/ 5 h 41"/>
                  <a:gd name="T12" fmla="*/ 16 w 47"/>
                  <a:gd name="T13" fmla="*/ 6 h 41"/>
                  <a:gd name="T14" fmla="*/ 20 w 47"/>
                  <a:gd name="T15" fmla="*/ 10 h 41"/>
                  <a:gd name="T16" fmla="*/ 23 w 47"/>
                  <a:gd name="T17" fmla="*/ 3 h 41"/>
                  <a:gd name="T18" fmla="*/ 29 w 47"/>
                  <a:gd name="T19" fmla="*/ 0 h 41"/>
                  <a:gd name="T20" fmla="*/ 35 w 47"/>
                  <a:gd name="T21" fmla="*/ 1 h 41"/>
                  <a:gd name="T22" fmla="*/ 40 w 47"/>
                  <a:gd name="T23" fmla="*/ 4 h 41"/>
                  <a:gd name="T24" fmla="*/ 43 w 47"/>
                  <a:gd name="T25" fmla="*/ 10 h 41"/>
                  <a:gd name="T26" fmla="*/ 45 w 47"/>
                  <a:gd name="T27" fmla="*/ 20 h 41"/>
                  <a:gd name="T28" fmla="*/ 47 w 47"/>
                  <a:gd name="T29" fmla="*/ 35 h 41"/>
                  <a:gd name="T30" fmla="*/ 4 w 47"/>
                  <a:gd name="T31" fmla="*/ 41 h 41"/>
                  <a:gd name="T32" fmla="*/ 10 w 47"/>
                  <a:gd name="T33" fmla="*/ 31 h 41"/>
                  <a:gd name="T34" fmla="*/ 20 w 47"/>
                  <a:gd name="T35" fmla="*/ 30 h 41"/>
                  <a:gd name="T36" fmla="*/ 19 w 47"/>
                  <a:gd name="T37" fmla="*/ 24 h 41"/>
                  <a:gd name="T38" fmla="*/ 18 w 47"/>
                  <a:gd name="T39" fmla="*/ 18 h 41"/>
                  <a:gd name="T40" fmla="*/ 16 w 47"/>
                  <a:gd name="T41" fmla="*/ 15 h 41"/>
                  <a:gd name="T42" fmla="*/ 12 w 47"/>
                  <a:gd name="T43" fmla="*/ 14 h 41"/>
                  <a:gd name="T44" fmla="*/ 9 w 47"/>
                  <a:gd name="T45" fmla="*/ 15 h 41"/>
                  <a:gd name="T46" fmla="*/ 8 w 47"/>
                  <a:gd name="T47" fmla="*/ 19 h 41"/>
                  <a:gd name="T48" fmla="*/ 9 w 47"/>
                  <a:gd name="T49" fmla="*/ 26 h 41"/>
                  <a:gd name="T50" fmla="*/ 10 w 47"/>
                  <a:gd name="T51" fmla="*/ 31 h 41"/>
                  <a:gd name="T52" fmla="*/ 27 w 47"/>
                  <a:gd name="T53" fmla="*/ 29 h 41"/>
                  <a:gd name="T54" fmla="*/ 39 w 47"/>
                  <a:gd name="T55" fmla="*/ 27 h 41"/>
                  <a:gd name="T56" fmla="*/ 37 w 47"/>
                  <a:gd name="T57" fmla="*/ 19 h 41"/>
                  <a:gd name="T58" fmla="*/ 36 w 47"/>
                  <a:gd name="T59" fmla="*/ 13 h 41"/>
                  <a:gd name="T60" fmla="*/ 34 w 47"/>
                  <a:gd name="T61" fmla="*/ 10 h 41"/>
                  <a:gd name="T62" fmla="*/ 30 w 47"/>
                  <a:gd name="T63" fmla="*/ 10 h 41"/>
                  <a:gd name="T64" fmla="*/ 27 w 47"/>
                  <a:gd name="T65" fmla="*/ 11 h 41"/>
                  <a:gd name="T66" fmla="*/ 25 w 47"/>
                  <a:gd name="T67" fmla="*/ 14 h 41"/>
                  <a:gd name="T68" fmla="*/ 26 w 47"/>
                  <a:gd name="T69" fmla="*/ 22 h 41"/>
                  <a:gd name="T70" fmla="*/ 27 w 47"/>
                  <a:gd name="T71" fmla="*/ 29 h 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47" h="41">
                    <a:moveTo>
                      <a:pt x="4" y="41"/>
                    </a:moveTo>
                    <a:cubicBezTo>
                      <a:pt x="1" y="24"/>
                      <a:pt x="1" y="24"/>
                      <a:pt x="1" y="24"/>
                    </a:cubicBezTo>
                    <a:cubicBezTo>
                      <a:pt x="1" y="20"/>
                      <a:pt x="0" y="18"/>
                      <a:pt x="0" y="16"/>
                    </a:cubicBezTo>
                    <a:cubicBezTo>
                      <a:pt x="1" y="14"/>
                      <a:pt x="1" y="13"/>
                      <a:pt x="2" y="11"/>
                    </a:cubicBezTo>
                    <a:cubicBezTo>
                      <a:pt x="2" y="10"/>
                      <a:pt x="3" y="9"/>
                      <a:pt x="5" y="7"/>
                    </a:cubicBezTo>
                    <a:cubicBezTo>
                      <a:pt x="6" y="6"/>
                      <a:pt x="8" y="6"/>
                      <a:pt x="10" y="5"/>
                    </a:cubicBezTo>
                    <a:cubicBezTo>
                      <a:pt x="12" y="5"/>
                      <a:pt x="14" y="5"/>
                      <a:pt x="16" y="6"/>
                    </a:cubicBezTo>
                    <a:cubicBezTo>
                      <a:pt x="17" y="7"/>
                      <a:pt x="19" y="8"/>
                      <a:pt x="20" y="10"/>
                    </a:cubicBezTo>
                    <a:cubicBezTo>
                      <a:pt x="20" y="7"/>
                      <a:pt x="21" y="5"/>
                      <a:pt x="23" y="3"/>
                    </a:cubicBezTo>
                    <a:cubicBezTo>
                      <a:pt x="25" y="2"/>
                      <a:pt x="27" y="1"/>
                      <a:pt x="29" y="0"/>
                    </a:cubicBezTo>
                    <a:cubicBezTo>
                      <a:pt x="31" y="0"/>
                      <a:pt x="33" y="0"/>
                      <a:pt x="35" y="1"/>
                    </a:cubicBezTo>
                    <a:cubicBezTo>
                      <a:pt x="37" y="2"/>
                      <a:pt x="39" y="3"/>
                      <a:pt x="40" y="4"/>
                    </a:cubicBezTo>
                    <a:cubicBezTo>
                      <a:pt x="42" y="5"/>
                      <a:pt x="43" y="7"/>
                      <a:pt x="43" y="10"/>
                    </a:cubicBezTo>
                    <a:cubicBezTo>
                      <a:pt x="44" y="11"/>
                      <a:pt x="44" y="15"/>
                      <a:pt x="45" y="20"/>
                    </a:cubicBezTo>
                    <a:cubicBezTo>
                      <a:pt x="47" y="35"/>
                      <a:pt x="47" y="35"/>
                      <a:pt x="47" y="35"/>
                    </a:cubicBezTo>
                    <a:lnTo>
                      <a:pt x="4" y="41"/>
                    </a:lnTo>
                    <a:close/>
                    <a:moveTo>
                      <a:pt x="10" y="31"/>
                    </a:moveTo>
                    <a:cubicBezTo>
                      <a:pt x="20" y="30"/>
                      <a:pt x="20" y="30"/>
                      <a:pt x="20" y="30"/>
                    </a:cubicBezTo>
                    <a:cubicBezTo>
                      <a:pt x="19" y="24"/>
                      <a:pt x="19" y="24"/>
                      <a:pt x="19" y="24"/>
                    </a:cubicBezTo>
                    <a:cubicBezTo>
                      <a:pt x="18" y="21"/>
                      <a:pt x="18" y="19"/>
                      <a:pt x="18" y="18"/>
                    </a:cubicBezTo>
                    <a:cubicBezTo>
                      <a:pt x="17" y="16"/>
                      <a:pt x="17" y="15"/>
                      <a:pt x="16" y="15"/>
                    </a:cubicBezTo>
                    <a:cubicBezTo>
                      <a:pt x="15" y="14"/>
                      <a:pt x="14" y="14"/>
                      <a:pt x="12" y="14"/>
                    </a:cubicBezTo>
                    <a:cubicBezTo>
                      <a:pt x="11" y="14"/>
                      <a:pt x="10" y="14"/>
                      <a:pt x="9" y="15"/>
                    </a:cubicBezTo>
                    <a:cubicBezTo>
                      <a:pt x="8" y="16"/>
                      <a:pt x="8" y="17"/>
                      <a:pt x="8" y="19"/>
                    </a:cubicBezTo>
                    <a:cubicBezTo>
                      <a:pt x="8" y="20"/>
                      <a:pt x="8" y="22"/>
                      <a:pt x="9" y="26"/>
                    </a:cubicBezTo>
                    <a:lnTo>
                      <a:pt x="10" y="31"/>
                    </a:lnTo>
                    <a:close/>
                    <a:moveTo>
                      <a:pt x="27" y="29"/>
                    </a:moveTo>
                    <a:cubicBezTo>
                      <a:pt x="39" y="27"/>
                      <a:pt x="39" y="27"/>
                      <a:pt x="39" y="27"/>
                    </a:cubicBezTo>
                    <a:cubicBezTo>
                      <a:pt x="37" y="19"/>
                      <a:pt x="37" y="19"/>
                      <a:pt x="37" y="19"/>
                    </a:cubicBezTo>
                    <a:cubicBezTo>
                      <a:pt x="37" y="16"/>
                      <a:pt x="37" y="14"/>
                      <a:pt x="36" y="13"/>
                    </a:cubicBezTo>
                    <a:cubicBezTo>
                      <a:pt x="36" y="12"/>
                      <a:pt x="35" y="11"/>
                      <a:pt x="34" y="10"/>
                    </a:cubicBezTo>
                    <a:cubicBezTo>
                      <a:pt x="33" y="10"/>
                      <a:pt x="32" y="9"/>
                      <a:pt x="30" y="10"/>
                    </a:cubicBezTo>
                    <a:cubicBezTo>
                      <a:pt x="29" y="10"/>
                      <a:pt x="28" y="10"/>
                      <a:pt x="27" y="11"/>
                    </a:cubicBezTo>
                    <a:cubicBezTo>
                      <a:pt x="26" y="12"/>
                      <a:pt x="26" y="13"/>
                      <a:pt x="25" y="14"/>
                    </a:cubicBezTo>
                    <a:cubicBezTo>
                      <a:pt x="25" y="15"/>
                      <a:pt x="25" y="18"/>
                      <a:pt x="26" y="22"/>
                    </a:cubicBezTo>
                    <a:lnTo>
                      <a:pt x="27" y="2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116" name="îṩliďè"/>
              <p:cNvSpPr/>
              <p:nvPr/>
            </p:nvSpPr>
            <p:spPr bwMode="auto">
              <a:xfrm>
                <a:off x="3146322" y="5120278"/>
                <a:ext cx="93663" cy="79375"/>
              </a:xfrm>
              <a:custGeom>
                <a:avLst/>
                <a:gdLst>
                  <a:gd name="T0" fmla="*/ 59 w 59"/>
                  <a:gd name="T1" fmla="*/ 37 h 50"/>
                  <a:gd name="T2" fmla="*/ 9 w 59"/>
                  <a:gd name="T3" fmla="*/ 50 h 50"/>
                  <a:gd name="T4" fmla="*/ 0 w 59"/>
                  <a:gd name="T5" fmla="*/ 13 h 50"/>
                  <a:gd name="T6" fmla="*/ 8 w 59"/>
                  <a:gd name="T7" fmla="*/ 10 h 50"/>
                  <a:gd name="T8" fmla="*/ 15 w 59"/>
                  <a:gd name="T9" fmla="*/ 37 h 50"/>
                  <a:gd name="T10" fmla="*/ 25 w 59"/>
                  <a:gd name="T11" fmla="*/ 35 h 50"/>
                  <a:gd name="T12" fmla="*/ 19 w 59"/>
                  <a:gd name="T13" fmla="*/ 9 h 50"/>
                  <a:gd name="T14" fmla="*/ 27 w 59"/>
                  <a:gd name="T15" fmla="*/ 8 h 50"/>
                  <a:gd name="T16" fmla="*/ 34 w 59"/>
                  <a:gd name="T17" fmla="*/ 32 h 50"/>
                  <a:gd name="T18" fmla="*/ 47 w 59"/>
                  <a:gd name="T19" fmla="*/ 29 h 50"/>
                  <a:gd name="T20" fmla="*/ 40 w 59"/>
                  <a:gd name="T21" fmla="*/ 1 h 50"/>
                  <a:gd name="T22" fmla="*/ 49 w 59"/>
                  <a:gd name="T23" fmla="*/ 0 h 50"/>
                  <a:gd name="T24" fmla="*/ 59 w 59"/>
                  <a:gd name="T25" fmla="*/ 37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59" h="50">
                    <a:moveTo>
                      <a:pt x="59" y="37"/>
                    </a:moveTo>
                    <a:lnTo>
                      <a:pt x="9" y="50"/>
                    </a:lnTo>
                    <a:lnTo>
                      <a:pt x="0" y="13"/>
                    </a:lnTo>
                    <a:lnTo>
                      <a:pt x="8" y="10"/>
                    </a:lnTo>
                    <a:lnTo>
                      <a:pt x="15" y="37"/>
                    </a:lnTo>
                    <a:lnTo>
                      <a:pt x="25" y="35"/>
                    </a:lnTo>
                    <a:lnTo>
                      <a:pt x="19" y="9"/>
                    </a:lnTo>
                    <a:lnTo>
                      <a:pt x="27" y="8"/>
                    </a:lnTo>
                    <a:lnTo>
                      <a:pt x="34" y="32"/>
                    </a:lnTo>
                    <a:lnTo>
                      <a:pt x="47" y="29"/>
                    </a:lnTo>
                    <a:lnTo>
                      <a:pt x="40" y="1"/>
                    </a:lnTo>
                    <a:lnTo>
                      <a:pt x="49" y="0"/>
                    </a:lnTo>
                    <a:lnTo>
                      <a:pt x="59" y="3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117" name="iṧlíḋè"/>
              <p:cNvSpPr/>
              <p:nvPr/>
            </p:nvSpPr>
            <p:spPr bwMode="auto">
              <a:xfrm>
                <a:off x="3138384" y="5096465"/>
                <a:ext cx="82550" cy="38100"/>
              </a:xfrm>
              <a:custGeom>
                <a:avLst/>
                <a:gdLst>
                  <a:gd name="T0" fmla="*/ 52 w 52"/>
                  <a:gd name="T1" fmla="*/ 9 h 24"/>
                  <a:gd name="T2" fmla="*/ 3 w 52"/>
                  <a:gd name="T3" fmla="*/ 24 h 24"/>
                  <a:gd name="T4" fmla="*/ 0 w 52"/>
                  <a:gd name="T5" fmla="*/ 15 h 24"/>
                  <a:gd name="T6" fmla="*/ 49 w 52"/>
                  <a:gd name="T7" fmla="*/ 0 h 24"/>
                  <a:gd name="T8" fmla="*/ 52 w 52"/>
                  <a:gd name="T9" fmla="*/ 9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2" h="24">
                    <a:moveTo>
                      <a:pt x="52" y="9"/>
                    </a:moveTo>
                    <a:lnTo>
                      <a:pt x="3" y="24"/>
                    </a:lnTo>
                    <a:lnTo>
                      <a:pt x="0" y="15"/>
                    </a:lnTo>
                    <a:lnTo>
                      <a:pt x="49" y="0"/>
                    </a:lnTo>
                    <a:lnTo>
                      <a:pt x="52" y="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118" name="islïḓè"/>
              <p:cNvSpPr/>
              <p:nvPr/>
            </p:nvSpPr>
            <p:spPr bwMode="auto">
              <a:xfrm>
                <a:off x="3120922" y="5047253"/>
                <a:ext cx="88900" cy="52388"/>
              </a:xfrm>
              <a:custGeom>
                <a:avLst/>
                <a:gdLst>
                  <a:gd name="T0" fmla="*/ 3 w 48"/>
                  <a:gd name="T1" fmla="*/ 20 h 28"/>
                  <a:gd name="T2" fmla="*/ 0 w 48"/>
                  <a:gd name="T3" fmla="*/ 12 h 28"/>
                  <a:gd name="T4" fmla="*/ 26 w 48"/>
                  <a:gd name="T5" fmla="*/ 2 h 28"/>
                  <a:gd name="T6" fmla="*/ 34 w 48"/>
                  <a:gd name="T7" fmla="*/ 0 h 28"/>
                  <a:gd name="T8" fmla="*/ 42 w 48"/>
                  <a:gd name="T9" fmla="*/ 3 h 28"/>
                  <a:gd name="T10" fmla="*/ 47 w 48"/>
                  <a:gd name="T11" fmla="*/ 10 h 28"/>
                  <a:gd name="T12" fmla="*/ 47 w 48"/>
                  <a:gd name="T13" fmla="*/ 21 h 28"/>
                  <a:gd name="T14" fmla="*/ 38 w 48"/>
                  <a:gd name="T15" fmla="*/ 28 h 28"/>
                  <a:gd name="T16" fmla="*/ 34 w 48"/>
                  <a:gd name="T17" fmla="*/ 20 h 28"/>
                  <a:gd name="T18" fmla="*/ 39 w 48"/>
                  <a:gd name="T19" fmla="*/ 17 h 28"/>
                  <a:gd name="T20" fmla="*/ 40 w 48"/>
                  <a:gd name="T21" fmla="*/ 13 h 28"/>
                  <a:gd name="T22" fmla="*/ 37 w 48"/>
                  <a:gd name="T23" fmla="*/ 9 h 28"/>
                  <a:gd name="T24" fmla="*/ 30 w 48"/>
                  <a:gd name="T25" fmla="*/ 10 h 28"/>
                  <a:gd name="T26" fmla="*/ 3 w 48"/>
                  <a:gd name="T27" fmla="*/ 20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48" h="28">
                    <a:moveTo>
                      <a:pt x="3" y="20"/>
                    </a:moveTo>
                    <a:cubicBezTo>
                      <a:pt x="0" y="12"/>
                      <a:pt x="0" y="12"/>
                      <a:pt x="0" y="12"/>
                    </a:cubicBezTo>
                    <a:cubicBezTo>
                      <a:pt x="26" y="2"/>
                      <a:pt x="26" y="2"/>
                      <a:pt x="26" y="2"/>
                    </a:cubicBezTo>
                    <a:cubicBezTo>
                      <a:pt x="29" y="1"/>
                      <a:pt x="32" y="0"/>
                      <a:pt x="34" y="0"/>
                    </a:cubicBezTo>
                    <a:cubicBezTo>
                      <a:pt x="37" y="0"/>
                      <a:pt x="39" y="1"/>
                      <a:pt x="42" y="3"/>
                    </a:cubicBezTo>
                    <a:cubicBezTo>
                      <a:pt x="44" y="4"/>
                      <a:pt x="46" y="7"/>
                      <a:pt x="47" y="10"/>
                    </a:cubicBezTo>
                    <a:cubicBezTo>
                      <a:pt x="48" y="14"/>
                      <a:pt x="48" y="18"/>
                      <a:pt x="47" y="21"/>
                    </a:cubicBezTo>
                    <a:cubicBezTo>
                      <a:pt x="45" y="24"/>
                      <a:pt x="42" y="26"/>
                      <a:pt x="38" y="28"/>
                    </a:cubicBezTo>
                    <a:cubicBezTo>
                      <a:pt x="34" y="20"/>
                      <a:pt x="34" y="20"/>
                      <a:pt x="34" y="20"/>
                    </a:cubicBezTo>
                    <a:cubicBezTo>
                      <a:pt x="37" y="19"/>
                      <a:pt x="38" y="18"/>
                      <a:pt x="39" y="17"/>
                    </a:cubicBezTo>
                    <a:cubicBezTo>
                      <a:pt x="40" y="16"/>
                      <a:pt x="40" y="14"/>
                      <a:pt x="40" y="13"/>
                    </a:cubicBezTo>
                    <a:cubicBezTo>
                      <a:pt x="39" y="11"/>
                      <a:pt x="38" y="10"/>
                      <a:pt x="37" y="9"/>
                    </a:cubicBezTo>
                    <a:cubicBezTo>
                      <a:pt x="35" y="9"/>
                      <a:pt x="33" y="9"/>
                      <a:pt x="30" y="10"/>
                    </a:cubicBezTo>
                    <a:lnTo>
                      <a:pt x="3" y="2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119" name="íṥ1iḍe"/>
              <p:cNvSpPr/>
              <p:nvPr/>
            </p:nvSpPr>
            <p:spPr bwMode="auto">
              <a:xfrm>
                <a:off x="3112984" y="5017090"/>
                <a:ext cx="80963" cy="46038"/>
              </a:xfrm>
              <a:custGeom>
                <a:avLst/>
                <a:gdLst>
                  <a:gd name="T0" fmla="*/ 51 w 51"/>
                  <a:gd name="T1" fmla="*/ 9 h 29"/>
                  <a:gd name="T2" fmla="*/ 3 w 51"/>
                  <a:gd name="T3" fmla="*/ 29 h 29"/>
                  <a:gd name="T4" fmla="*/ 0 w 51"/>
                  <a:gd name="T5" fmla="*/ 19 h 29"/>
                  <a:gd name="T6" fmla="*/ 46 w 51"/>
                  <a:gd name="T7" fmla="*/ 0 h 29"/>
                  <a:gd name="T8" fmla="*/ 51 w 51"/>
                  <a:gd name="T9" fmla="*/ 9 h 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1" h="29">
                    <a:moveTo>
                      <a:pt x="51" y="9"/>
                    </a:moveTo>
                    <a:lnTo>
                      <a:pt x="3" y="29"/>
                    </a:lnTo>
                    <a:lnTo>
                      <a:pt x="0" y="19"/>
                    </a:lnTo>
                    <a:lnTo>
                      <a:pt x="46" y="0"/>
                    </a:lnTo>
                    <a:lnTo>
                      <a:pt x="51" y="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120" name="iṥľîḋé"/>
              <p:cNvSpPr/>
              <p:nvPr/>
            </p:nvSpPr>
            <p:spPr bwMode="auto">
              <a:xfrm>
                <a:off x="3081234" y="4948828"/>
                <a:ext cx="101600" cy="93663"/>
              </a:xfrm>
              <a:custGeom>
                <a:avLst/>
                <a:gdLst>
                  <a:gd name="T0" fmla="*/ 64 w 64"/>
                  <a:gd name="T1" fmla="*/ 36 h 59"/>
                  <a:gd name="T2" fmla="*/ 18 w 64"/>
                  <a:gd name="T3" fmla="*/ 59 h 59"/>
                  <a:gd name="T4" fmla="*/ 14 w 64"/>
                  <a:gd name="T5" fmla="*/ 50 h 59"/>
                  <a:gd name="T6" fmla="*/ 35 w 64"/>
                  <a:gd name="T7" fmla="*/ 16 h 59"/>
                  <a:gd name="T8" fmla="*/ 3 w 64"/>
                  <a:gd name="T9" fmla="*/ 31 h 59"/>
                  <a:gd name="T10" fmla="*/ 0 w 64"/>
                  <a:gd name="T11" fmla="*/ 22 h 59"/>
                  <a:gd name="T12" fmla="*/ 45 w 64"/>
                  <a:gd name="T13" fmla="*/ 0 h 59"/>
                  <a:gd name="T14" fmla="*/ 50 w 64"/>
                  <a:gd name="T15" fmla="*/ 8 h 59"/>
                  <a:gd name="T16" fmla="*/ 29 w 64"/>
                  <a:gd name="T17" fmla="*/ 42 h 59"/>
                  <a:gd name="T18" fmla="*/ 59 w 64"/>
                  <a:gd name="T19" fmla="*/ 26 h 59"/>
                  <a:gd name="T20" fmla="*/ 64 w 64"/>
                  <a:gd name="T21" fmla="*/ 36 h 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64" h="59">
                    <a:moveTo>
                      <a:pt x="64" y="36"/>
                    </a:moveTo>
                    <a:lnTo>
                      <a:pt x="18" y="59"/>
                    </a:lnTo>
                    <a:lnTo>
                      <a:pt x="14" y="50"/>
                    </a:lnTo>
                    <a:lnTo>
                      <a:pt x="35" y="16"/>
                    </a:lnTo>
                    <a:lnTo>
                      <a:pt x="3" y="31"/>
                    </a:lnTo>
                    <a:lnTo>
                      <a:pt x="0" y="22"/>
                    </a:lnTo>
                    <a:lnTo>
                      <a:pt x="45" y="0"/>
                    </a:lnTo>
                    <a:lnTo>
                      <a:pt x="50" y="8"/>
                    </a:lnTo>
                    <a:lnTo>
                      <a:pt x="29" y="42"/>
                    </a:lnTo>
                    <a:lnTo>
                      <a:pt x="59" y="26"/>
                    </a:lnTo>
                    <a:lnTo>
                      <a:pt x="64" y="36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121" name="îślidè"/>
              <p:cNvSpPr/>
              <p:nvPr/>
            </p:nvSpPr>
            <p:spPr bwMode="auto">
              <a:xfrm>
                <a:off x="3047897" y="4877390"/>
                <a:ext cx="84138" cy="88900"/>
              </a:xfrm>
              <a:custGeom>
                <a:avLst/>
                <a:gdLst>
                  <a:gd name="T0" fmla="*/ 28 w 46"/>
                  <a:gd name="T1" fmla="*/ 21 h 48"/>
                  <a:gd name="T2" fmla="*/ 22 w 46"/>
                  <a:gd name="T3" fmla="*/ 25 h 48"/>
                  <a:gd name="T4" fmla="*/ 11 w 46"/>
                  <a:gd name="T5" fmla="*/ 9 h 48"/>
                  <a:gd name="T6" fmla="*/ 26 w 46"/>
                  <a:gd name="T7" fmla="*/ 0 h 48"/>
                  <a:gd name="T8" fmla="*/ 35 w 46"/>
                  <a:gd name="T9" fmla="*/ 4 h 48"/>
                  <a:gd name="T10" fmla="*/ 42 w 46"/>
                  <a:gd name="T11" fmla="*/ 12 h 48"/>
                  <a:gd name="T12" fmla="*/ 46 w 46"/>
                  <a:gd name="T13" fmla="*/ 24 h 48"/>
                  <a:gd name="T14" fmla="*/ 43 w 46"/>
                  <a:gd name="T15" fmla="*/ 35 h 48"/>
                  <a:gd name="T16" fmla="*/ 35 w 46"/>
                  <a:gd name="T17" fmla="*/ 43 h 48"/>
                  <a:gd name="T18" fmla="*/ 23 w 46"/>
                  <a:gd name="T19" fmla="*/ 47 h 48"/>
                  <a:gd name="T20" fmla="*/ 12 w 46"/>
                  <a:gd name="T21" fmla="*/ 45 h 48"/>
                  <a:gd name="T22" fmla="*/ 4 w 46"/>
                  <a:gd name="T23" fmla="*/ 37 h 48"/>
                  <a:gd name="T24" fmla="*/ 0 w 46"/>
                  <a:gd name="T25" fmla="*/ 24 h 48"/>
                  <a:gd name="T26" fmla="*/ 5 w 46"/>
                  <a:gd name="T27" fmla="*/ 14 h 48"/>
                  <a:gd name="T28" fmla="*/ 11 w 46"/>
                  <a:gd name="T29" fmla="*/ 21 h 48"/>
                  <a:gd name="T30" fmla="*/ 9 w 46"/>
                  <a:gd name="T31" fmla="*/ 27 h 48"/>
                  <a:gd name="T32" fmla="*/ 11 w 46"/>
                  <a:gd name="T33" fmla="*/ 33 h 48"/>
                  <a:gd name="T34" fmla="*/ 19 w 46"/>
                  <a:gd name="T35" fmla="*/ 39 h 48"/>
                  <a:gd name="T36" fmla="*/ 30 w 46"/>
                  <a:gd name="T37" fmla="*/ 36 h 48"/>
                  <a:gd name="T38" fmla="*/ 38 w 46"/>
                  <a:gd name="T39" fmla="*/ 26 h 48"/>
                  <a:gd name="T40" fmla="*/ 36 w 46"/>
                  <a:gd name="T41" fmla="*/ 17 h 48"/>
                  <a:gd name="T42" fmla="*/ 32 w 46"/>
                  <a:gd name="T43" fmla="*/ 13 h 48"/>
                  <a:gd name="T44" fmla="*/ 27 w 46"/>
                  <a:gd name="T45" fmla="*/ 10 h 48"/>
                  <a:gd name="T46" fmla="*/ 23 w 46"/>
                  <a:gd name="T47" fmla="*/ 13 h 48"/>
                  <a:gd name="T48" fmla="*/ 28 w 46"/>
                  <a:gd name="T49" fmla="*/ 21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46" h="48">
                    <a:moveTo>
                      <a:pt x="28" y="21"/>
                    </a:moveTo>
                    <a:cubicBezTo>
                      <a:pt x="22" y="25"/>
                      <a:pt x="22" y="25"/>
                      <a:pt x="22" y="25"/>
                    </a:cubicBezTo>
                    <a:cubicBezTo>
                      <a:pt x="11" y="9"/>
                      <a:pt x="11" y="9"/>
                      <a:pt x="11" y="9"/>
                    </a:cubicBezTo>
                    <a:cubicBezTo>
                      <a:pt x="26" y="0"/>
                      <a:pt x="26" y="0"/>
                      <a:pt x="26" y="0"/>
                    </a:cubicBezTo>
                    <a:cubicBezTo>
                      <a:pt x="29" y="1"/>
                      <a:pt x="31" y="2"/>
                      <a:pt x="35" y="4"/>
                    </a:cubicBezTo>
                    <a:cubicBezTo>
                      <a:pt x="38" y="6"/>
                      <a:pt x="40" y="9"/>
                      <a:pt x="42" y="12"/>
                    </a:cubicBezTo>
                    <a:cubicBezTo>
                      <a:pt x="45" y="16"/>
                      <a:pt x="46" y="20"/>
                      <a:pt x="46" y="24"/>
                    </a:cubicBezTo>
                    <a:cubicBezTo>
                      <a:pt x="46" y="28"/>
                      <a:pt x="45" y="31"/>
                      <a:pt x="43" y="35"/>
                    </a:cubicBezTo>
                    <a:cubicBezTo>
                      <a:pt x="41" y="38"/>
                      <a:pt x="38" y="41"/>
                      <a:pt x="35" y="43"/>
                    </a:cubicBezTo>
                    <a:cubicBezTo>
                      <a:pt x="31" y="46"/>
                      <a:pt x="27" y="47"/>
                      <a:pt x="23" y="47"/>
                    </a:cubicBezTo>
                    <a:cubicBezTo>
                      <a:pt x="19" y="48"/>
                      <a:pt x="15" y="47"/>
                      <a:pt x="12" y="45"/>
                    </a:cubicBezTo>
                    <a:cubicBezTo>
                      <a:pt x="9" y="43"/>
                      <a:pt x="6" y="41"/>
                      <a:pt x="4" y="37"/>
                    </a:cubicBezTo>
                    <a:cubicBezTo>
                      <a:pt x="1" y="32"/>
                      <a:pt x="0" y="28"/>
                      <a:pt x="0" y="24"/>
                    </a:cubicBezTo>
                    <a:cubicBezTo>
                      <a:pt x="0" y="21"/>
                      <a:pt x="2" y="17"/>
                      <a:pt x="5" y="14"/>
                    </a:cubicBezTo>
                    <a:cubicBezTo>
                      <a:pt x="11" y="21"/>
                      <a:pt x="11" y="21"/>
                      <a:pt x="11" y="21"/>
                    </a:cubicBezTo>
                    <a:cubicBezTo>
                      <a:pt x="10" y="23"/>
                      <a:pt x="9" y="24"/>
                      <a:pt x="9" y="27"/>
                    </a:cubicBezTo>
                    <a:cubicBezTo>
                      <a:pt x="8" y="29"/>
                      <a:pt x="9" y="31"/>
                      <a:pt x="11" y="33"/>
                    </a:cubicBezTo>
                    <a:cubicBezTo>
                      <a:pt x="13" y="36"/>
                      <a:pt x="15" y="38"/>
                      <a:pt x="19" y="39"/>
                    </a:cubicBezTo>
                    <a:cubicBezTo>
                      <a:pt x="22" y="39"/>
                      <a:pt x="26" y="38"/>
                      <a:pt x="30" y="36"/>
                    </a:cubicBezTo>
                    <a:cubicBezTo>
                      <a:pt x="34" y="33"/>
                      <a:pt x="37" y="30"/>
                      <a:pt x="38" y="26"/>
                    </a:cubicBezTo>
                    <a:cubicBezTo>
                      <a:pt x="39" y="23"/>
                      <a:pt x="38" y="20"/>
                      <a:pt x="36" y="17"/>
                    </a:cubicBezTo>
                    <a:cubicBezTo>
                      <a:pt x="35" y="15"/>
                      <a:pt x="34" y="14"/>
                      <a:pt x="32" y="13"/>
                    </a:cubicBezTo>
                    <a:cubicBezTo>
                      <a:pt x="30" y="11"/>
                      <a:pt x="29" y="10"/>
                      <a:pt x="27" y="10"/>
                    </a:cubicBezTo>
                    <a:cubicBezTo>
                      <a:pt x="23" y="13"/>
                      <a:pt x="23" y="13"/>
                      <a:pt x="23" y="13"/>
                    </a:cubicBezTo>
                    <a:lnTo>
                      <a:pt x="28" y="2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122" name="îŝ1ide"/>
              <p:cNvSpPr/>
              <p:nvPr/>
            </p:nvSpPr>
            <p:spPr bwMode="auto">
              <a:xfrm>
                <a:off x="1981097" y="4907553"/>
                <a:ext cx="931863" cy="969963"/>
              </a:xfrm>
              <a:custGeom>
                <a:avLst/>
                <a:gdLst>
                  <a:gd name="T0" fmla="*/ 488 w 506"/>
                  <a:gd name="T1" fmla="*/ 144 h 525"/>
                  <a:gd name="T2" fmla="*/ 449 w 506"/>
                  <a:gd name="T3" fmla="*/ 161 h 525"/>
                  <a:gd name="T4" fmla="*/ 473 w 506"/>
                  <a:gd name="T5" fmla="*/ 361 h 525"/>
                  <a:gd name="T6" fmla="*/ 434 w 506"/>
                  <a:gd name="T7" fmla="*/ 382 h 525"/>
                  <a:gd name="T8" fmla="*/ 463 w 506"/>
                  <a:gd name="T9" fmla="*/ 392 h 525"/>
                  <a:gd name="T10" fmla="*/ 434 w 506"/>
                  <a:gd name="T11" fmla="*/ 455 h 525"/>
                  <a:gd name="T12" fmla="*/ 418 w 506"/>
                  <a:gd name="T13" fmla="*/ 525 h 525"/>
                  <a:gd name="T14" fmla="*/ 328 w 506"/>
                  <a:gd name="T15" fmla="*/ 392 h 525"/>
                  <a:gd name="T16" fmla="*/ 200 w 506"/>
                  <a:gd name="T17" fmla="*/ 376 h 525"/>
                  <a:gd name="T18" fmla="*/ 179 w 506"/>
                  <a:gd name="T19" fmla="*/ 525 h 525"/>
                  <a:gd name="T20" fmla="*/ 72 w 506"/>
                  <a:gd name="T21" fmla="*/ 510 h 525"/>
                  <a:gd name="T22" fmla="*/ 44 w 506"/>
                  <a:gd name="T23" fmla="*/ 439 h 525"/>
                  <a:gd name="T24" fmla="*/ 72 w 506"/>
                  <a:gd name="T25" fmla="*/ 392 h 525"/>
                  <a:gd name="T26" fmla="*/ 57 w 506"/>
                  <a:gd name="T27" fmla="*/ 382 h 525"/>
                  <a:gd name="T28" fmla="*/ 18 w 506"/>
                  <a:gd name="T29" fmla="*/ 161 h 525"/>
                  <a:gd name="T30" fmla="*/ 56 w 506"/>
                  <a:gd name="T31" fmla="*/ 144 h 525"/>
                  <a:gd name="T32" fmla="*/ 0 w 506"/>
                  <a:gd name="T33" fmla="*/ 21 h 525"/>
                  <a:gd name="T34" fmla="*/ 92 w 506"/>
                  <a:gd name="T35" fmla="*/ 21 h 525"/>
                  <a:gd name="T36" fmla="*/ 403 w 506"/>
                  <a:gd name="T37" fmla="*/ 82 h 525"/>
                  <a:gd name="T38" fmla="*/ 457 w 506"/>
                  <a:gd name="T39" fmla="*/ 0 h 525"/>
                  <a:gd name="T40" fmla="*/ 461 w 506"/>
                  <a:gd name="T41" fmla="*/ 82 h 525"/>
                  <a:gd name="T42" fmla="*/ 455 w 506"/>
                  <a:gd name="T43" fmla="*/ 24 h 525"/>
                  <a:gd name="T44" fmla="*/ 435 w 506"/>
                  <a:gd name="T45" fmla="*/ 82 h 525"/>
                  <a:gd name="T46" fmla="*/ 454 w 506"/>
                  <a:gd name="T47" fmla="*/ 127 h 525"/>
                  <a:gd name="T48" fmla="*/ 49 w 506"/>
                  <a:gd name="T49" fmla="*/ 112 h 525"/>
                  <a:gd name="T50" fmla="*/ 78 w 506"/>
                  <a:gd name="T51" fmla="*/ 127 h 525"/>
                  <a:gd name="T52" fmla="*/ 81 w 506"/>
                  <a:gd name="T53" fmla="*/ 161 h 525"/>
                  <a:gd name="T54" fmla="*/ 426 w 506"/>
                  <a:gd name="T55" fmla="*/ 145 h 525"/>
                  <a:gd name="T56" fmla="*/ 454 w 506"/>
                  <a:gd name="T57" fmla="*/ 127 h 525"/>
                  <a:gd name="T58" fmla="*/ 450 w 506"/>
                  <a:gd name="T59" fmla="*/ 178 h 525"/>
                  <a:gd name="T60" fmla="*/ 65 w 506"/>
                  <a:gd name="T61" fmla="*/ 335 h 525"/>
                  <a:gd name="T62" fmla="*/ 421 w 506"/>
                  <a:gd name="T63" fmla="*/ 349 h 525"/>
                  <a:gd name="T64" fmla="*/ 398 w 506"/>
                  <a:gd name="T65" fmla="*/ 490 h 525"/>
                  <a:gd name="T66" fmla="*/ 356 w 506"/>
                  <a:gd name="T67" fmla="*/ 371 h 525"/>
                  <a:gd name="T68" fmla="*/ 389 w 506"/>
                  <a:gd name="T69" fmla="*/ 496 h 525"/>
                  <a:gd name="T70" fmla="*/ 150 w 506"/>
                  <a:gd name="T71" fmla="*/ 496 h 525"/>
                  <a:gd name="T72" fmla="*/ 108 w 506"/>
                  <a:gd name="T73" fmla="*/ 371 h 525"/>
                  <a:gd name="T74" fmla="*/ 117 w 506"/>
                  <a:gd name="T75" fmla="*/ 496 h 525"/>
                  <a:gd name="T76" fmla="*/ 71 w 506"/>
                  <a:gd name="T77" fmla="*/ 82 h 525"/>
                  <a:gd name="T78" fmla="*/ 51 w 506"/>
                  <a:gd name="T79" fmla="*/ 24 h 525"/>
                  <a:gd name="T80" fmla="*/ 45 w 506"/>
                  <a:gd name="T81" fmla="*/ 82 h 5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506" h="525">
                    <a:moveTo>
                      <a:pt x="506" y="21"/>
                    </a:moveTo>
                    <a:cubicBezTo>
                      <a:pt x="488" y="144"/>
                      <a:pt x="488" y="144"/>
                      <a:pt x="488" y="144"/>
                    </a:cubicBezTo>
                    <a:cubicBezTo>
                      <a:pt x="450" y="144"/>
                      <a:pt x="450" y="144"/>
                      <a:pt x="450" y="144"/>
                    </a:cubicBezTo>
                    <a:cubicBezTo>
                      <a:pt x="449" y="161"/>
                      <a:pt x="449" y="161"/>
                      <a:pt x="449" y="161"/>
                    </a:cubicBezTo>
                    <a:cubicBezTo>
                      <a:pt x="488" y="161"/>
                      <a:pt x="488" y="161"/>
                      <a:pt x="488" y="161"/>
                    </a:cubicBezTo>
                    <a:cubicBezTo>
                      <a:pt x="473" y="361"/>
                      <a:pt x="473" y="361"/>
                      <a:pt x="473" y="361"/>
                    </a:cubicBezTo>
                    <a:cubicBezTo>
                      <a:pt x="473" y="372"/>
                      <a:pt x="462" y="382"/>
                      <a:pt x="450" y="382"/>
                    </a:cubicBezTo>
                    <a:cubicBezTo>
                      <a:pt x="434" y="382"/>
                      <a:pt x="434" y="382"/>
                      <a:pt x="434" y="382"/>
                    </a:cubicBezTo>
                    <a:cubicBezTo>
                      <a:pt x="434" y="392"/>
                      <a:pt x="434" y="392"/>
                      <a:pt x="434" y="392"/>
                    </a:cubicBezTo>
                    <a:cubicBezTo>
                      <a:pt x="463" y="392"/>
                      <a:pt x="463" y="392"/>
                      <a:pt x="463" y="392"/>
                    </a:cubicBezTo>
                    <a:cubicBezTo>
                      <a:pt x="463" y="439"/>
                      <a:pt x="463" y="439"/>
                      <a:pt x="463" y="439"/>
                    </a:cubicBezTo>
                    <a:cubicBezTo>
                      <a:pt x="463" y="448"/>
                      <a:pt x="450" y="455"/>
                      <a:pt x="434" y="455"/>
                    </a:cubicBezTo>
                    <a:cubicBezTo>
                      <a:pt x="434" y="510"/>
                      <a:pt x="434" y="510"/>
                      <a:pt x="434" y="510"/>
                    </a:cubicBezTo>
                    <a:cubicBezTo>
                      <a:pt x="434" y="518"/>
                      <a:pt x="427" y="525"/>
                      <a:pt x="418" y="525"/>
                    </a:cubicBezTo>
                    <a:cubicBezTo>
                      <a:pt x="328" y="525"/>
                      <a:pt x="328" y="525"/>
                      <a:pt x="328" y="525"/>
                    </a:cubicBezTo>
                    <a:cubicBezTo>
                      <a:pt x="328" y="392"/>
                      <a:pt x="328" y="392"/>
                      <a:pt x="328" y="392"/>
                    </a:cubicBezTo>
                    <a:cubicBezTo>
                      <a:pt x="328" y="383"/>
                      <a:pt x="318" y="376"/>
                      <a:pt x="307" y="376"/>
                    </a:cubicBezTo>
                    <a:cubicBezTo>
                      <a:pt x="200" y="376"/>
                      <a:pt x="200" y="376"/>
                      <a:pt x="200" y="376"/>
                    </a:cubicBezTo>
                    <a:cubicBezTo>
                      <a:pt x="188" y="376"/>
                      <a:pt x="179" y="383"/>
                      <a:pt x="179" y="392"/>
                    </a:cubicBezTo>
                    <a:cubicBezTo>
                      <a:pt x="179" y="525"/>
                      <a:pt x="179" y="525"/>
                      <a:pt x="179" y="525"/>
                    </a:cubicBezTo>
                    <a:cubicBezTo>
                      <a:pt x="89" y="525"/>
                      <a:pt x="89" y="525"/>
                      <a:pt x="89" y="525"/>
                    </a:cubicBezTo>
                    <a:cubicBezTo>
                      <a:pt x="80" y="525"/>
                      <a:pt x="72" y="518"/>
                      <a:pt x="72" y="510"/>
                    </a:cubicBezTo>
                    <a:cubicBezTo>
                      <a:pt x="72" y="455"/>
                      <a:pt x="72" y="455"/>
                      <a:pt x="72" y="455"/>
                    </a:cubicBezTo>
                    <a:cubicBezTo>
                      <a:pt x="56" y="455"/>
                      <a:pt x="44" y="448"/>
                      <a:pt x="44" y="439"/>
                    </a:cubicBezTo>
                    <a:cubicBezTo>
                      <a:pt x="44" y="392"/>
                      <a:pt x="44" y="392"/>
                      <a:pt x="44" y="392"/>
                    </a:cubicBezTo>
                    <a:cubicBezTo>
                      <a:pt x="72" y="392"/>
                      <a:pt x="72" y="392"/>
                      <a:pt x="72" y="392"/>
                    </a:cubicBezTo>
                    <a:cubicBezTo>
                      <a:pt x="72" y="382"/>
                      <a:pt x="72" y="382"/>
                      <a:pt x="72" y="382"/>
                    </a:cubicBezTo>
                    <a:cubicBezTo>
                      <a:pt x="57" y="382"/>
                      <a:pt x="57" y="382"/>
                      <a:pt x="57" y="382"/>
                    </a:cubicBezTo>
                    <a:cubicBezTo>
                      <a:pt x="44" y="382"/>
                      <a:pt x="34" y="372"/>
                      <a:pt x="34" y="361"/>
                    </a:cubicBezTo>
                    <a:cubicBezTo>
                      <a:pt x="18" y="161"/>
                      <a:pt x="18" y="161"/>
                      <a:pt x="18" y="161"/>
                    </a:cubicBezTo>
                    <a:cubicBezTo>
                      <a:pt x="58" y="161"/>
                      <a:pt x="58" y="161"/>
                      <a:pt x="58" y="161"/>
                    </a:cubicBezTo>
                    <a:cubicBezTo>
                      <a:pt x="56" y="144"/>
                      <a:pt x="56" y="144"/>
                      <a:pt x="56" y="144"/>
                    </a:cubicBezTo>
                    <a:cubicBezTo>
                      <a:pt x="18" y="144"/>
                      <a:pt x="18" y="144"/>
                      <a:pt x="18" y="144"/>
                    </a:cubicBezTo>
                    <a:cubicBezTo>
                      <a:pt x="0" y="21"/>
                      <a:pt x="0" y="21"/>
                      <a:pt x="0" y="21"/>
                    </a:cubicBezTo>
                    <a:cubicBezTo>
                      <a:pt x="2" y="7"/>
                      <a:pt x="31" y="0"/>
                      <a:pt x="49" y="0"/>
                    </a:cubicBezTo>
                    <a:cubicBezTo>
                      <a:pt x="73" y="0"/>
                      <a:pt x="80" y="3"/>
                      <a:pt x="92" y="21"/>
                    </a:cubicBezTo>
                    <a:cubicBezTo>
                      <a:pt x="103" y="82"/>
                      <a:pt x="103" y="82"/>
                      <a:pt x="103" y="82"/>
                    </a:cubicBezTo>
                    <a:cubicBezTo>
                      <a:pt x="403" y="82"/>
                      <a:pt x="403" y="82"/>
                      <a:pt x="403" y="82"/>
                    </a:cubicBezTo>
                    <a:cubicBezTo>
                      <a:pt x="415" y="21"/>
                      <a:pt x="415" y="21"/>
                      <a:pt x="415" y="21"/>
                    </a:cubicBezTo>
                    <a:cubicBezTo>
                      <a:pt x="426" y="3"/>
                      <a:pt x="433" y="0"/>
                      <a:pt x="457" y="0"/>
                    </a:cubicBezTo>
                    <a:cubicBezTo>
                      <a:pt x="475" y="0"/>
                      <a:pt x="504" y="7"/>
                      <a:pt x="506" y="21"/>
                    </a:cubicBezTo>
                    <a:close/>
                    <a:moveTo>
                      <a:pt x="461" y="82"/>
                    </a:moveTo>
                    <a:cubicBezTo>
                      <a:pt x="469" y="32"/>
                      <a:pt x="469" y="32"/>
                      <a:pt x="469" y="32"/>
                    </a:cubicBezTo>
                    <a:cubicBezTo>
                      <a:pt x="469" y="24"/>
                      <a:pt x="463" y="24"/>
                      <a:pt x="455" y="24"/>
                    </a:cubicBezTo>
                    <a:cubicBezTo>
                      <a:pt x="450" y="24"/>
                      <a:pt x="447" y="26"/>
                      <a:pt x="445" y="32"/>
                    </a:cubicBezTo>
                    <a:cubicBezTo>
                      <a:pt x="435" y="82"/>
                      <a:pt x="435" y="82"/>
                      <a:pt x="435" y="82"/>
                    </a:cubicBezTo>
                    <a:lnTo>
                      <a:pt x="461" y="82"/>
                    </a:lnTo>
                    <a:close/>
                    <a:moveTo>
                      <a:pt x="454" y="127"/>
                    </a:moveTo>
                    <a:cubicBezTo>
                      <a:pt x="457" y="112"/>
                      <a:pt x="457" y="112"/>
                      <a:pt x="457" y="112"/>
                    </a:cubicBezTo>
                    <a:cubicBezTo>
                      <a:pt x="49" y="112"/>
                      <a:pt x="49" y="112"/>
                      <a:pt x="49" y="112"/>
                    </a:cubicBezTo>
                    <a:cubicBezTo>
                      <a:pt x="52" y="127"/>
                      <a:pt x="52" y="127"/>
                      <a:pt x="52" y="127"/>
                    </a:cubicBezTo>
                    <a:cubicBezTo>
                      <a:pt x="78" y="127"/>
                      <a:pt x="78" y="127"/>
                      <a:pt x="78" y="127"/>
                    </a:cubicBezTo>
                    <a:cubicBezTo>
                      <a:pt x="80" y="145"/>
                      <a:pt x="80" y="145"/>
                      <a:pt x="80" y="145"/>
                    </a:cubicBezTo>
                    <a:cubicBezTo>
                      <a:pt x="81" y="161"/>
                      <a:pt x="81" y="161"/>
                      <a:pt x="81" y="161"/>
                    </a:cubicBezTo>
                    <a:cubicBezTo>
                      <a:pt x="425" y="161"/>
                      <a:pt x="425" y="161"/>
                      <a:pt x="425" y="161"/>
                    </a:cubicBezTo>
                    <a:cubicBezTo>
                      <a:pt x="426" y="145"/>
                      <a:pt x="426" y="145"/>
                      <a:pt x="426" y="145"/>
                    </a:cubicBezTo>
                    <a:cubicBezTo>
                      <a:pt x="428" y="127"/>
                      <a:pt x="428" y="127"/>
                      <a:pt x="428" y="127"/>
                    </a:cubicBezTo>
                    <a:lnTo>
                      <a:pt x="454" y="127"/>
                    </a:lnTo>
                    <a:close/>
                    <a:moveTo>
                      <a:pt x="441" y="335"/>
                    </a:moveTo>
                    <a:cubicBezTo>
                      <a:pt x="450" y="178"/>
                      <a:pt x="450" y="178"/>
                      <a:pt x="450" y="178"/>
                    </a:cubicBezTo>
                    <a:cubicBezTo>
                      <a:pt x="56" y="178"/>
                      <a:pt x="56" y="178"/>
                      <a:pt x="56" y="178"/>
                    </a:cubicBezTo>
                    <a:cubicBezTo>
                      <a:pt x="65" y="335"/>
                      <a:pt x="65" y="335"/>
                      <a:pt x="65" y="335"/>
                    </a:cubicBezTo>
                    <a:cubicBezTo>
                      <a:pt x="65" y="343"/>
                      <a:pt x="74" y="349"/>
                      <a:pt x="85" y="349"/>
                    </a:cubicBezTo>
                    <a:cubicBezTo>
                      <a:pt x="421" y="349"/>
                      <a:pt x="421" y="349"/>
                      <a:pt x="421" y="349"/>
                    </a:cubicBezTo>
                    <a:cubicBezTo>
                      <a:pt x="432" y="349"/>
                      <a:pt x="441" y="343"/>
                      <a:pt x="441" y="335"/>
                    </a:cubicBezTo>
                    <a:close/>
                    <a:moveTo>
                      <a:pt x="398" y="490"/>
                    </a:moveTo>
                    <a:cubicBezTo>
                      <a:pt x="398" y="371"/>
                      <a:pt x="398" y="371"/>
                      <a:pt x="398" y="371"/>
                    </a:cubicBezTo>
                    <a:cubicBezTo>
                      <a:pt x="356" y="371"/>
                      <a:pt x="356" y="371"/>
                      <a:pt x="356" y="371"/>
                    </a:cubicBezTo>
                    <a:cubicBezTo>
                      <a:pt x="356" y="496"/>
                      <a:pt x="356" y="496"/>
                      <a:pt x="356" y="496"/>
                    </a:cubicBezTo>
                    <a:cubicBezTo>
                      <a:pt x="389" y="496"/>
                      <a:pt x="389" y="496"/>
                      <a:pt x="389" y="496"/>
                    </a:cubicBezTo>
                    <a:cubicBezTo>
                      <a:pt x="394" y="496"/>
                      <a:pt x="398" y="496"/>
                      <a:pt x="398" y="490"/>
                    </a:cubicBezTo>
                    <a:close/>
                    <a:moveTo>
                      <a:pt x="150" y="496"/>
                    </a:moveTo>
                    <a:cubicBezTo>
                      <a:pt x="150" y="371"/>
                      <a:pt x="150" y="371"/>
                      <a:pt x="150" y="371"/>
                    </a:cubicBezTo>
                    <a:cubicBezTo>
                      <a:pt x="108" y="371"/>
                      <a:pt x="108" y="371"/>
                      <a:pt x="108" y="371"/>
                    </a:cubicBezTo>
                    <a:cubicBezTo>
                      <a:pt x="108" y="490"/>
                      <a:pt x="108" y="490"/>
                      <a:pt x="108" y="490"/>
                    </a:cubicBezTo>
                    <a:cubicBezTo>
                      <a:pt x="108" y="496"/>
                      <a:pt x="112" y="496"/>
                      <a:pt x="117" y="496"/>
                    </a:cubicBezTo>
                    <a:lnTo>
                      <a:pt x="150" y="496"/>
                    </a:lnTo>
                    <a:close/>
                    <a:moveTo>
                      <a:pt x="71" y="82"/>
                    </a:moveTo>
                    <a:cubicBezTo>
                      <a:pt x="61" y="32"/>
                      <a:pt x="61" y="32"/>
                      <a:pt x="61" y="32"/>
                    </a:cubicBezTo>
                    <a:cubicBezTo>
                      <a:pt x="60" y="26"/>
                      <a:pt x="57" y="24"/>
                      <a:pt x="51" y="24"/>
                    </a:cubicBezTo>
                    <a:cubicBezTo>
                      <a:pt x="43" y="24"/>
                      <a:pt x="37" y="24"/>
                      <a:pt x="37" y="32"/>
                    </a:cubicBezTo>
                    <a:cubicBezTo>
                      <a:pt x="45" y="82"/>
                      <a:pt x="45" y="82"/>
                      <a:pt x="45" y="82"/>
                    </a:cubicBezTo>
                    <a:lnTo>
                      <a:pt x="71" y="8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123" name="í$ḻíde"/>
              <p:cNvSpPr/>
              <p:nvPr/>
            </p:nvSpPr>
            <p:spPr bwMode="auto">
              <a:xfrm>
                <a:off x="2144609" y="5142503"/>
                <a:ext cx="604838" cy="31750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</p:grpSp>
        <p:grpSp>
          <p:nvGrpSpPr>
            <p:cNvPr id="15" name="组合 14"/>
            <p:cNvGrpSpPr/>
            <p:nvPr userDrawn="1"/>
          </p:nvGrpSpPr>
          <p:grpSpPr>
            <a:xfrm>
              <a:off x="10250573" y="283036"/>
              <a:ext cx="1640266" cy="338554"/>
              <a:chOff x="5180266" y="4756740"/>
              <a:chExt cx="5753100" cy="1187451"/>
            </a:xfrm>
            <a:solidFill>
              <a:srgbClr val="CA351C"/>
            </a:solidFill>
          </p:grpSpPr>
          <p:sp>
            <p:nvSpPr>
              <p:cNvPr id="16" name="ïṩļîḑê"/>
              <p:cNvSpPr/>
              <p:nvPr/>
            </p:nvSpPr>
            <p:spPr bwMode="auto">
              <a:xfrm>
                <a:off x="10319003" y="4805953"/>
                <a:ext cx="600075" cy="771525"/>
              </a:xfrm>
              <a:custGeom>
                <a:avLst/>
                <a:gdLst>
                  <a:gd name="T0" fmla="*/ 210 w 325"/>
                  <a:gd name="T1" fmla="*/ 140 h 418"/>
                  <a:gd name="T2" fmla="*/ 237 w 325"/>
                  <a:gd name="T3" fmla="*/ 155 h 418"/>
                  <a:gd name="T4" fmla="*/ 161 w 325"/>
                  <a:gd name="T5" fmla="*/ 179 h 418"/>
                  <a:gd name="T6" fmla="*/ 187 w 325"/>
                  <a:gd name="T7" fmla="*/ 68 h 418"/>
                  <a:gd name="T8" fmla="*/ 230 w 325"/>
                  <a:gd name="T9" fmla="*/ 40 h 418"/>
                  <a:gd name="T10" fmla="*/ 199 w 325"/>
                  <a:gd name="T11" fmla="*/ 85 h 418"/>
                  <a:gd name="T12" fmla="*/ 99 w 325"/>
                  <a:gd name="T13" fmla="*/ 132 h 418"/>
                  <a:gd name="T14" fmla="*/ 132 w 325"/>
                  <a:gd name="T15" fmla="*/ 83 h 418"/>
                  <a:gd name="T16" fmla="*/ 174 w 325"/>
                  <a:gd name="T17" fmla="*/ 116 h 418"/>
                  <a:gd name="T18" fmla="*/ 59 w 325"/>
                  <a:gd name="T19" fmla="*/ 198 h 418"/>
                  <a:gd name="T20" fmla="*/ 16 w 325"/>
                  <a:gd name="T21" fmla="*/ 224 h 418"/>
                  <a:gd name="T22" fmla="*/ 17 w 325"/>
                  <a:gd name="T23" fmla="*/ 314 h 418"/>
                  <a:gd name="T24" fmla="*/ 55 w 325"/>
                  <a:gd name="T25" fmla="*/ 244 h 418"/>
                  <a:gd name="T26" fmla="*/ 131 w 325"/>
                  <a:gd name="T27" fmla="*/ 194 h 418"/>
                  <a:gd name="T28" fmla="*/ 111 w 325"/>
                  <a:gd name="T29" fmla="*/ 251 h 418"/>
                  <a:gd name="T30" fmla="*/ 148 w 325"/>
                  <a:gd name="T31" fmla="*/ 246 h 418"/>
                  <a:gd name="T32" fmla="*/ 184 w 325"/>
                  <a:gd name="T33" fmla="*/ 243 h 418"/>
                  <a:gd name="T34" fmla="*/ 131 w 325"/>
                  <a:gd name="T35" fmla="*/ 281 h 418"/>
                  <a:gd name="T36" fmla="*/ 76 w 325"/>
                  <a:gd name="T37" fmla="*/ 299 h 418"/>
                  <a:gd name="T38" fmla="*/ 134 w 325"/>
                  <a:gd name="T39" fmla="*/ 334 h 418"/>
                  <a:gd name="T40" fmla="*/ 203 w 325"/>
                  <a:gd name="T41" fmla="*/ 298 h 418"/>
                  <a:gd name="T42" fmla="*/ 206 w 325"/>
                  <a:gd name="T43" fmla="*/ 350 h 418"/>
                  <a:gd name="T44" fmla="*/ 165 w 325"/>
                  <a:gd name="T45" fmla="*/ 378 h 418"/>
                  <a:gd name="T46" fmla="*/ 144 w 325"/>
                  <a:gd name="T47" fmla="*/ 410 h 418"/>
                  <a:gd name="T48" fmla="*/ 228 w 325"/>
                  <a:gd name="T49" fmla="*/ 408 h 418"/>
                  <a:gd name="T50" fmla="*/ 239 w 325"/>
                  <a:gd name="T51" fmla="*/ 307 h 418"/>
                  <a:gd name="T52" fmla="*/ 273 w 325"/>
                  <a:gd name="T53" fmla="*/ 283 h 418"/>
                  <a:gd name="T54" fmla="*/ 271 w 325"/>
                  <a:gd name="T55" fmla="*/ 239 h 418"/>
                  <a:gd name="T56" fmla="*/ 233 w 325"/>
                  <a:gd name="T57" fmla="*/ 226 h 418"/>
                  <a:gd name="T58" fmla="*/ 261 w 325"/>
                  <a:gd name="T59" fmla="*/ 181 h 418"/>
                  <a:gd name="T60" fmla="*/ 316 w 325"/>
                  <a:gd name="T61" fmla="*/ 167 h 418"/>
                  <a:gd name="T62" fmla="*/ 297 w 325"/>
                  <a:gd name="T63" fmla="*/ 119 h 418"/>
                  <a:gd name="T64" fmla="*/ 251 w 325"/>
                  <a:gd name="T65" fmla="*/ 93 h 418"/>
                  <a:gd name="T66" fmla="*/ 276 w 325"/>
                  <a:gd name="T67" fmla="*/ 34 h 418"/>
                  <a:gd name="T68" fmla="*/ 217 w 325"/>
                  <a:gd name="T69" fmla="*/ 11 h 418"/>
                  <a:gd name="T70" fmla="*/ 164 w 325"/>
                  <a:gd name="T71" fmla="*/ 29 h 418"/>
                  <a:gd name="T72" fmla="*/ 136 w 325"/>
                  <a:gd name="T73" fmla="*/ 43 h 418"/>
                  <a:gd name="T74" fmla="*/ 113 w 325"/>
                  <a:gd name="T75" fmla="*/ 21 h 418"/>
                  <a:gd name="T76" fmla="*/ 78 w 325"/>
                  <a:gd name="T77" fmla="*/ 52 h 4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325" h="418">
                    <a:moveTo>
                      <a:pt x="161" y="179"/>
                    </a:moveTo>
                    <a:cubicBezTo>
                      <a:pt x="160" y="178"/>
                      <a:pt x="188" y="143"/>
                      <a:pt x="210" y="140"/>
                    </a:cubicBezTo>
                    <a:cubicBezTo>
                      <a:pt x="232" y="137"/>
                      <a:pt x="226" y="133"/>
                      <a:pt x="238" y="138"/>
                    </a:cubicBezTo>
                    <a:cubicBezTo>
                      <a:pt x="250" y="144"/>
                      <a:pt x="252" y="148"/>
                      <a:pt x="237" y="155"/>
                    </a:cubicBezTo>
                    <a:cubicBezTo>
                      <a:pt x="222" y="162"/>
                      <a:pt x="215" y="168"/>
                      <a:pt x="196" y="171"/>
                    </a:cubicBezTo>
                    <a:cubicBezTo>
                      <a:pt x="177" y="175"/>
                      <a:pt x="163" y="181"/>
                      <a:pt x="161" y="179"/>
                    </a:cubicBezTo>
                    <a:close/>
                    <a:moveTo>
                      <a:pt x="199" y="85"/>
                    </a:moveTo>
                    <a:cubicBezTo>
                      <a:pt x="197" y="87"/>
                      <a:pt x="186" y="79"/>
                      <a:pt x="187" y="68"/>
                    </a:cubicBezTo>
                    <a:cubicBezTo>
                      <a:pt x="188" y="57"/>
                      <a:pt x="197" y="38"/>
                      <a:pt x="211" y="34"/>
                    </a:cubicBezTo>
                    <a:cubicBezTo>
                      <a:pt x="225" y="30"/>
                      <a:pt x="230" y="30"/>
                      <a:pt x="230" y="40"/>
                    </a:cubicBezTo>
                    <a:cubicBezTo>
                      <a:pt x="229" y="51"/>
                      <a:pt x="229" y="62"/>
                      <a:pt x="219" y="71"/>
                    </a:cubicBezTo>
                    <a:cubicBezTo>
                      <a:pt x="210" y="80"/>
                      <a:pt x="201" y="84"/>
                      <a:pt x="199" y="85"/>
                    </a:cubicBezTo>
                    <a:close/>
                    <a:moveTo>
                      <a:pt x="79" y="112"/>
                    </a:moveTo>
                    <a:cubicBezTo>
                      <a:pt x="79" y="113"/>
                      <a:pt x="87" y="125"/>
                      <a:pt x="99" y="132"/>
                    </a:cubicBezTo>
                    <a:cubicBezTo>
                      <a:pt x="112" y="138"/>
                      <a:pt x="119" y="135"/>
                      <a:pt x="129" y="127"/>
                    </a:cubicBezTo>
                    <a:cubicBezTo>
                      <a:pt x="139" y="118"/>
                      <a:pt x="130" y="95"/>
                      <a:pt x="132" y="83"/>
                    </a:cubicBezTo>
                    <a:cubicBezTo>
                      <a:pt x="135" y="70"/>
                      <a:pt x="136" y="73"/>
                      <a:pt x="146" y="75"/>
                    </a:cubicBezTo>
                    <a:cubicBezTo>
                      <a:pt x="156" y="76"/>
                      <a:pt x="173" y="108"/>
                      <a:pt x="174" y="116"/>
                    </a:cubicBezTo>
                    <a:cubicBezTo>
                      <a:pt x="174" y="123"/>
                      <a:pt x="170" y="123"/>
                      <a:pt x="128" y="142"/>
                    </a:cubicBezTo>
                    <a:cubicBezTo>
                      <a:pt x="86" y="161"/>
                      <a:pt x="67" y="195"/>
                      <a:pt x="59" y="198"/>
                    </a:cubicBezTo>
                    <a:cubicBezTo>
                      <a:pt x="52" y="202"/>
                      <a:pt x="55" y="191"/>
                      <a:pt x="40" y="188"/>
                    </a:cubicBezTo>
                    <a:cubicBezTo>
                      <a:pt x="26" y="186"/>
                      <a:pt x="23" y="211"/>
                      <a:pt x="16" y="224"/>
                    </a:cubicBezTo>
                    <a:cubicBezTo>
                      <a:pt x="8" y="238"/>
                      <a:pt x="5" y="266"/>
                      <a:pt x="5" y="277"/>
                    </a:cubicBezTo>
                    <a:cubicBezTo>
                      <a:pt x="5" y="288"/>
                      <a:pt x="0" y="301"/>
                      <a:pt x="17" y="314"/>
                    </a:cubicBezTo>
                    <a:cubicBezTo>
                      <a:pt x="33" y="326"/>
                      <a:pt x="49" y="311"/>
                      <a:pt x="53" y="304"/>
                    </a:cubicBezTo>
                    <a:cubicBezTo>
                      <a:pt x="57" y="298"/>
                      <a:pt x="53" y="269"/>
                      <a:pt x="55" y="244"/>
                    </a:cubicBezTo>
                    <a:cubicBezTo>
                      <a:pt x="57" y="220"/>
                      <a:pt x="89" y="204"/>
                      <a:pt x="100" y="197"/>
                    </a:cubicBezTo>
                    <a:cubicBezTo>
                      <a:pt x="115" y="189"/>
                      <a:pt x="129" y="190"/>
                      <a:pt x="131" y="194"/>
                    </a:cubicBezTo>
                    <a:cubicBezTo>
                      <a:pt x="134" y="197"/>
                      <a:pt x="119" y="214"/>
                      <a:pt x="112" y="219"/>
                    </a:cubicBezTo>
                    <a:cubicBezTo>
                      <a:pt x="105" y="224"/>
                      <a:pt x="110" y="244"/>
                      <a:pt x="111" y="251"/>
                    </a:cubicBezTo>
                    <a:cubicBezTo>
                      <a:pt x="113" y="257"/>
                      <a:pt x="111" y="260"/>
                      <a:pt x="125" y="265"/>
                    </a:cubicBezTo>
                    <a:cubicBezTo>
                      <a:pt x="142" y="271"/>
                      <a:pt x="139" y="257"/>
                      <a:pt x="148" y="246"/>
                    </a:cubicBezTo>
                    <a:cubicBezTo>
                      <a:pt x="157" y="236"/>
                      <a:pt x="163" y="224"/>
                      <a:pt x="170" y="224"/>
                    </a:cubicBezTo>
                    <a:cubicBezTo>
                      <a:pt x="177" y="224"/>
                      <a:pt x="180" y="238"/>
                      <a:pt x="184" y="243"/>
                    </a:cubicBezTo>
                    <a:cubicBezTo>
                      <a:pt x="187" y="248"/>
                      <a:pt x="189" y="257"/>
                      <a:pt x="177" y="263"/>
                    </a:cubicBezTo>
                    <a:cubicBezTo>
                      <a:pt x="165" y="269"/>
                      <a:pt x="131" y="281"/>
                      <a:pt x="131" y="281"/>
                    </a:cubicBezTo>
                    <a:cubicBezTo>
                      <a:pt x="131" y="281"/>
                      <a:pt x="112" y="284"/>
                      <a:pt x="101" y="287"/>
                    </a:cubicBezTo>
                    <a:cubicBezTo>
                      <a:pt x="90" y="289"/>
                      <a:pt x="78" y="285"/>
                      <a:pt x="76" y="299"/>
                    </a:cubicBezTo>
                    <a:cubicBezTo>
                      <a:pt x="73" y="312"/>
                      <a:pt x="78" y="305"/>
                      <a:pt x="86" y="319"/>
                    </a:cubicBezTo>
                    <a:cubicBezTo>
                      <a:pt x="94" y="333"/>
                      <a:pt x="119" y="337"/>
                      <a:pt x="134" y="334"/>
                    </a:cubicBezTo>
                    <a:cubicBezTo>
                      <a:pt x="149" y="332"/>
                      <a:pt x="157" y="324"/>
                      <a:pt x="168" y="316"/>
                    </a:cubicBezTo>
                    <a:cubicBezTo>
                      <a:pt x="178" y="308"/>
                      <a:pt x="194" y="298"/>
                      <a:pt x="203" y="298"/>
                    </a:cubicBezTo>
                    <a:cubicBezTo>
                      <a:pt x="211" y="299"/>
                      <a:pt x="211" y="311"/>
                      <a:pt x="211" y="325"/>
                    </a:cubicBezTo>
                    <a:cubicBezTo>
                      <a:pt x="211" y="339"/>
                      <a:pt x="210" y="337"/>
                      <a:pt x="206" y="350"/>
                    </a:cubicBezTo>
                    <a:cubicBezTo>
                      <a:pt x="202" y="364"/>
                      <a:pt x="199" y="368"/>
                      <a:pt x="194" y="372"/>
                    </a:cubicBezTo>
                    <a:cubicBezTo>
                      <a:pt x="189" y="377"/>
                      <a:pt x="184" y="376"/>
                      <a:pt x="165" y="378"/>
                    </a:cubicBezTo>
                    <a:cubicBezTo>
                      <a:pt x="145" y="380"/>
                      <a:pt x="131" y="393"/>
                      <a:pt x="129" y="400"/>
                    </a:cubicBezTo>
                    <a:cubicBezTo>
                      <a:pt x="128" y="407"/>
                      <a:pt x="135" y="405"/>
                      <a:pt x="144" y="410"/>
                    </a:cubicBezTo>
                    <a:cubicBezTo>
                      <a:pt x="152" y="414"/>
                      <a:pt x="163" y="416"/>
                      <a:pt x="185" y="417"/>
                    </a:cubicBezTo>
                    <a:cubicBezTo>
                      <a:pt x="208" y="418"/>
                      <a:pt x="219" y="417"/>
                      <a:pt x="228" y="408"/>
                    </a:cubicBezTo>
                    <a:cubicBezTo>
                      <a:pt x="238" y="400"/>
                      <a:pt x="240" y="373"/>
                      <a:pt x="241" y="354"/>
                    </a:cubicBezTo>
                    <a:cubicBezTo>
                      <a:pt x="243" y="335"/>
                      <a:pt x="239" y="315"/>
                      <a:pt x="239" y="307"/>
                    </a:cubicBezTo>
                    <a:cubicBezTo>
                      <a:pt x="239" y="299"/>
                      <a:pt x="239" y="297"/>
                      <a:pt x="244" y="288"/>
                    </a:cubicBezTo>
                    <a:cubicBezTo>
                      <a:pt x="249" y="280"/>
                      <a:pt x="257" y="284"/>
                      <a:pt x="273" y="283"/>
                    </a:cubicBezTo>
                    <a:cubicBezTo>
                      <a:pt x="288" y="281"/>
                      <a:pt x="286" y="270"/>
                      <a:pt x="287" y="261"/>
                    </a:cubicBezTo>
                    <a:cubicBezTo>
                      <a:pt x="288" y="251"/>
                      <a:pt x="281" y="247"/>
                      <a:pt x="271" y="239"/>
                    </a:cubicBezTo>
                    <a:cubicBezTo>
                      <a:pt x="260" y="231"/>
                      <a:pt x="250" y="236"/>
                      <a:pt x="240" y="236"/>
                    </a:cubicBezTo>
                    <a:cubicBezTo>
                      <a:pt x="230" y="236"/>
                      <a:pt x="233" y="234"/>
                      <a:pt x="233" y="226"/>
                    </a:cubicBezTo>
                    <a:cubicBezTo>
                      <a:pt x="233" y="219"/>
                      <a:pt x="238" y="215"/>
                      <a:pt x="239" y="207"/>
                    </a:cubicBezTo>
                    <a:cubicBezTo>
                      <a:pt x="241" y="200"/>
                      <a:pt x="251" y="192"/>
                      <a:pt x="261" y="181"/>
                    </a:cubicBezTo>
                    <a:cubicBezTo>
                      <a:pt x="270" y="170"/>
                      <a:pt x="276" y="175"/>
                      <a:pt x="289" y="176"/>
                    </a:cubicBezTo>
                    <a:cubicBezTo>
                      <a:pt x="302" y="176"/>
                      <a:pt x="307" y="176"/>
                      <a:pt x="316" y="167"/>
                    </a:cubicBezTo>
                    <a:cubicBezTo>
                      <a:pt x="325" y="157"/>
                      <a:pt x="318" y="138"/>
                      <a:pt x="316" y="132"/>
                    </a:cubicBezTo>
                    <a:cubicBezTo>
                      <a:pt x="315" y="125"/>
                      <a:pt x="309" y="129"/>
                      <a:pt x="297" y="119"/>
                    </a:cubicBezTo>
                    <a:cubicBezTo>
                      <a:pt x="285" y="108"/>
                      <a:pt x="274" y="111"/>
                      <a:pt x="261" y="111"/>
                    </a:cubicBezTo>
                    <a:cubicBezTo>
                      <a:pt x="248" y="111"/>
                      <a:pt x="244" y="100"/>
                      <a:pt x="251" y="93"/>
                    </a:cubicBezTo>
                    <a:cubicBezTo>
                      <a:pt x="259" y="87"/>
                      <a:pt x="265" y="77"/>
                      <a:pt x="272" y="66"/>
                    </a:cubicBezTo>
                    <a:cubicBezTo>
                      <a:pt x="278" y="55"/>
                      <a:pt x="276" y="45"/>
                      <a:pt x="276" y="34"/>
                    </a:cubicBezTo>
                    <a:cubicBezTo>
                      <a:pt x="275" y="24"/>
                      <a:pt x="264" y="20"/>
                      <a:pt x="252" y="10"/>
                    </a:cubicBezTo>
                    <a:cubicBezTo>
                      <a:pt x="240" y="0"/>
                      <a:pt x="225" y="8"/>
                      <a:pt x="217" y="11"/>
                    </a:cubicBezTo>
                    <a:cubicBezTo>
                      <a:pt x="208" y="14"/>
                      <a:pt x="196" y="20"/>
                      <a:pt x="187" y="25"/>
                    </a:cubicBezTo>
                    <a:cubicBezTo>
                      <a:pt x="178" y="30"/>
                      <a:pt x="172" y="30"/>
                      <a:pt x="164" y="29"/>
                    </a:cubicBezTo>
                    <a:cubicBezTo>
                      <a:pt x="157" y="29"/>
                      <a:pt x="150" y="29"/>
                      <a:pt x="147" y="29"/>
                    </a:cubicBezTo>
                    <a:cubicBezTo>
                      <a:pt x="144" y="29"/>
                      <a:pt x="141" y="35"/>
                      <a:pt x="136" y="43"/>
                    </a:cubicBezTo>
                    <a:cubicBezTo>
                      <a:pt x="131" y="51"/>
                      <a:pt x="126" y="47"/>
                      <a:pt x="124" y="43"/>
                    </a:cubicBezTo>
                    <a:cubicBezTo>
                      <a:pt x="121" y="38"/>
                      <a:pt x="116" y="28"/>
                      <a:pt x="113" y="21"/>
                    </a:cubicBezTo>
                    <a:cubicBezTo>
                      <a:pt x="110" y="15"/>
                      <a:pt x="97" y="18"/>
                      <a:pt x="91" y="21"/>
                    </a:cubicBezTo>
                    <a:cubicBezTo>
                      <a:pt x="84" y="25"/>
                      <a:pt x="80" y="41"/>
                      <a:pt x="78" y="52"/>
                    </a:cubicBezTo>
                    <a:cubicBezTo>
                      <a:pt x="75" y="63"/>
                      <a:pt x="78" y="111"/>
                      <a:pt x="79" y="1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17" name="îşḷïḍe"/>
              <p:cNvSpPr/>
              <p:nvPr/>
            </p:nvSpPr>
            <p:spPr bwMode="auto">
              <a:xfrm>
                <a:off x="9461753" y="4939303"/>
                <a:ext cx="388938" cy="534988"/>
              </a:xfrm>
              <a:custGeom>
                <a:avLst/>
                <a:gdLst>
                  <a:gd name="T0" fmla="*/ 4 w 211"/>
                  <a:gd name="T1" fmla="*/ 137 h 290"/>
                  <a:gd name="T2" fmla="*/ 41 w 211"/>
                  <a:gd name="T3" fmla="*/ 117 h 290"/>
                  <a:gd name="T4" fmla="*/ 75 w 211"/>
                  <a:gd name="T5" fmla="*/ 83 h 290"/>
                  <a:gd name="T6" fmla="*/ 82 w 211"/>
                  <a:gd name="T7" fmla="*/ 29 h 290"/>
                  <a:gd name="T8" fmla="*/ 94 w 211"/>
                  <a:gd name="T9" fmla="*/ 6 h 290"/>
                  <a:gd name="T10" fmla="*/ 126 w 211"/>
                  <a:gd name="T11" fmla="*/ 27 h 290"/>
                  <a:gd name="T12" fmla="*/ 145 w 211"/>
                  <a:gd name="T13" fmla="*/ 65 h 290"/>
                  <a:gd name="T14" fmla="*/ 170 w 211"/>
                  <a:gd name="T15" fmla="*/ 93 h 290"/>
                  <a:gd name="T16" fmla="*/ 164 w 211"/>
                  <a:gd name="T17" fmla="*/ 119 h 290"/>
                  <a:gd name="T18" fmla="*/ 127 w 211"/>
                  <a:gd name="T19" fmla="*/ 151 h 290"/>
                  <a:gd name="T20" fmla="*/ 123 w 211"/>
                  <a:gd name="T21" fmla="*/ 165 h 290"/>
                  <a:gd name="T22" fmla="*/ 181 w 211"/>
                  <a:gd name="T23" fmla="*/ 187 h 290"/>
                  <a:gd name="T24" fmla="*/ 210 w 211"/>
                  <a:gd name="T25" fmla="*/ 231 h 290"/>
                  <a:gd name="T26" fmla="*/ 202 w 211"/>
                  <a:gd name="T27" fmla="*/ 281 h 290"/>
                  <a:gd name="T28" fmla="*/ 185 w 211"/>
                  <a:gd name="T29" fmla="*/ 289 h 290"/>
                  <a:gd name="T30" fmla="*/ 162 w 211"/>
                  <a:gd name="T31" fmla="*/ 267 h 290"/>
                  <a:gd name="T32" fmla="*/ 158 w 211"/>
                  <a:gd name="T33" fmla="*/ 217 h 290"/>
                  <a:gd name="T34" fmla="*/ 134 w 211"/>
                  <a:gd name="T35" fmla="*/ 188 h 290"/>
                  <a:gd name="T36" fmla="*/ 117 w 211"/>
                  <a:gd name="T37" fmla="*/ 183 h 290"/>
                  <a:gd name="T38" fmla="*/ 105 w 211"/>
                  <a:gd name="T39" fmla="*/ 191 h 290"/>
                  <a:gd name="T40" fmla="*/ 95 w 211"/>
                  <a:gd name="T41" fmla="*/ 225 h 290"/>
                  <a:gd name="T42" fmla="*/ 92 w 211"/>
                  <a:gd name="T43" fmla="*/ 251 h 290"/>
                  <a:gd name="T44" fmla="*/ 58 w 211"/>
                  <a:gd name="T45" fmla="*/ 261 h 290"/>
                  <a:gd name="T46" fmla="*/ 37 w 211"/>
                  <a:gd name="T47" fmla="*/ 235 h 290"/>
                  <a:gd name="T48" fmla="*/ 39 w 211"/>
                  <a:gd name="T49" fmla="*/ 205 h 290"/>
                  <a:gd name="T50" fmla="*/ 45 w 211"/>
                  <a:gd name="T51" fmla="*/ 177 h 290"/>
                  <a:gd name="T52" fmla="*/ 18 w 211"/>
                  <a:gd name="T53" fmla="*/ 155 h 290"/>
                  <a:gd name="T54" fmla="*/ 0 w 211"/>
                  <a:gd name="T55" fmla="*/ 147 h 290"/>
                  <a:gd name="T56" fmla="*/ 4 w 211"/>
                  <a:gd name="T57" fmla="*/ 137 h 2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211" h="290">
                    <a:moveTo>
                      <a:pt x="4" y="137"/>
                    </a:moveTo>
                    <a:cubicBezTo>
                      <a:pt x="4" y="137"/>
                      <a:pt x="32" y="120"/>
                      <a:pt x="41" y="117"/>
                    </a:cubicBezTo>
                    <a:cubicBezTo>
                      <a:pt x="50" y="115"/>
                      <a:pt x="69" y="103"/>
                      <a:pt x="75" y="83"/>
                    </a:cubicBezTo>
                    <a:cubicBezTo>
                      <a:pt x="81" y="63"/>
                      <a:pt x="82" y="39"/>
                      <a:pt x="82" y="29"/>
                    </a:cubicBezTo>
                    <a:cubicBezTo>
                      <a:pt x="82" y="19"/>
                      <a:pt x="76" y="0"/>
                      <a:pt x="94" y="6"/>
                    </a:cubicBezTo>
                    <a:cubicBezTo>
                      <a:pt x="112" y="12"/>
                      <a:pt x="124" y="15"/>
                      <a:pt x="126" y="27"/>
                    </a:cubicBezTo>
                    <a:cubicBezTo>
                      <a:pt x="129" y="39"/>
                      <a:pt x="131" y="55"/>
                      <a:pt x="145" y="65"/>
                    </a:cubicBezTo>
                    <a:cubicBezTo>
                      <a:pt x="159" y="75"/>
                      <a:pt x="168" y="83"/>
                      <a:pt x="170" y="93"/>
                    </a:cubicBezTo>
                    <a:cubicBezTo>
                      <a:pt x="172" y="103"/>
                      <a:pt x="172" y="114"/>
                      <a:pt x="164" y="119"/>
                    </a:cubicBezTo>
                    <a:cubicBezTo>
                      <a:pt x="157" y="123"/>
                      <a:pt x="132" y="147"/>
                      <a:pt x="127" y="151"/>
                    </a:cubicBezTo>
                    <a:cubicBezTo>
                      <a:pt x="121" y="154"/>
                      <a:pt x="119" y="165"/>
                      <a:pt x="123" y="165"/>
                    </a:cubicBezTo>
                    <a:cubicBezTo>
                      <a:pt x="127" y="165"/>
                      <a:pt x="163" y="172"/>
                      <a:pt x="181" y="187"/>
                    </a:cubicBezTo>
                    <a:cubicBezTo>
                      <a:pt x="198" y="202"/>
                      <a:pt x="209" y="216"/>
                      <a:pt x="210" y="231"/>
                    </a:cubicBezTo>
                    <a:cubicBezTo>
                      <a:pt x="211" y="247"/>
                      <a:pt x="210" y="273"/>
                      <a:pt x="202" y="281"/>
                    </a:cubicBezTo>
                    <a:cubicBezTo>
                      <a:pt x="194" y="288"/>
                      <a:pt x="192" y="290"/>
                      <a:pt x="185" y="289"/>
                    </a:cubicBezTo>
                    <a:cubicBezTo>
                      <a:pt x="178" y="288"/>
                      <a:pt x="164" y="279"/>
                      <a:pt x="162" y="267"/>
                    </a:cubicBezTo>
                    <a:cubicBezTo>
                      <a:pt x="160" y="255"/>
                      <a:pt x="164" y="239"/>
                      <a:pt x="158" y="217"/>
                    </a:cubicBezTo>
                    <a:cubicBezTo>
                      <a:pt x="153" y="196"/>
                      <a:pt x="139" y="191"/>
                      <a:pt x="134" y="188"/>
                    </a:cubicBezTo>
                    <a:cubicBezTo>
                      <a:pt x="129" y="186"/>
                      <a:pt x="117" y="183"/>
                      <a:pt x="117" y="183"/>
                    </a:cubicBezTo>
                    <a:cubicBezTo>
                      <a:pt x="117" y="183"/>
                      <a:pt x="108" y="182"/>
                      <a:pt x="105" y="191"/>
                    </a:cubicBezTo>
                    <a:cubicBezTo>
                      <a:pt x="102" y="199"/>
                      <a:pt x="96" y="215"/>
                      <a:pt x="95" y="225"/>
                    </a:cubicBezTo>
                    <a:cubicBezTo>
                      <a:pt x="94" y="235"/>
                      <a:pt x="96" y="247"/>
                      <a:pt x="92" y="251"/>
                    </a:cubicBezTo>
                    <a:cubicBezTo>
                      <a:pt x="87" y="256"/>
                      <a:pt x="77" y="267"/>
                      <a:pt x="58" y="261"/>
                    </a:cubicBezTo>
                    <a:cubicBezTo>
                      <a:pt x="39" y="255"/>
                      <a:pt x="41" y="238"/>
                      <a:pt x="37" y="235"/>
                    </a:cubicBezTo>
                    <a:cubicBezTo>
                      <a:pt x="33" y="231"/>
                      <a:pt x="39" y="211"/>
                      <a:pt x="39" y="205"/>
                    </a:cubicBezTo>
                    <a:cubicBezTo>
                      <a:pt x="39" y="200"/>
                      <a:pt x="47" y="182"/>
                      <a:pt x="45" y="177"/>
                    </a:cubicBezTo>
                    <a:cubicBezTo>
                      <a:pt x="44" y="173"/>
                      <a:pt x="25" y="153"/>
                      <a:pt x="18" y="155"/>
                    </a:cubicBezTo>
                    <a:cubicBezTo>
                      <a:pt x="11" y="157"/>
                      <a:pt x="1" y="155"/>
                      <a:pt x="0" y="147"/>
                    </a:cubicBezTo>
                    <a:cubicBezTo>
                      <a:pt x="0" y="140"/>
                      <a:pt x="4" y="137"/>
                      <a:pt x="4" y="13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18" name="îṧļíďe"/>
              <p:cNvSpPr/>
              <p:nvPr/>
            </p:nvSpPr>
            <p:spPr bwMode="auto">
              <a:xfrm>
                <a:off x="8326691" y="4823415"/>
                <a:ext cx="746125" cy="695325"/>
              </a:xfrm>
              <a:custGeom>
                <a:avLst/>
                <a:gdLst>
                  <a:gd name="T0" fmla="*/ 159 w 405"/>
                  <a:gd name="T1" fmla="*/ 229 h 377"/>
                  <a:gd name="T2" fmla="*/ 218 w 405"/>
                  <a:gd name="T3" fmla="*/ 183 h 377"/>
                  <a:gd name="T4" fmla="*/ 234 w 405"/>
                  <a:gd name="T5" fmla="*/ 247 h 377"/>
                  <a:gd name="T6" fmla="*/ 260 w 405"/>
                  <a:gd name="T7" fmla="*/ 269 h 377"/>
                  <a:gd name="T8" fmla="*/ 209 w 405"/>
                  <a:gd name="T9" fmla="*/ 247 h 377"/>
                  <a:gd name="T10" fmla="*/ 108 w 405"/>
                  <a:gd name="T11" fmla="*/ 215 h 377"/>
                  <a:gd name="T12" fmla="*/ 73 w 405"/>
                  <a:gd name="T13" fmla="*/ 283 h 377"/>
                  <a:gd name="T14" fmla="*/ 43 w 405"/>
                  <a:gd name="T15" fmla="*/ 350 h 377"/>
                  <a:gd name="T16" fmla="*/ 91 w 405"/>
                  <a:gd name="T17" fmla="*/ 347 h 377"/>
                  <a:gd name="T18" fmla="*/ 118 w 405"/>
                  <a:gd name="T19" fmla="*/ 372 h 377"/>
                  <a:gd name="T20" fmla="*/ 136 w 405"/>
                  <a:gd name="T21" fmla="*/ 328 h 377"/>
                  <a:gd name="T22" fmla="*/ 147 w 405"/>
                  <a:gd name="T23" fmla="*/ 265 h 377"/>
                  <a:gd name="T24" fmla="*/ 242 w 405"/>
                  <a:gd name="T25" fmla="*/ 306 h 377"/>
                  <a:gd name="T26" fmla="*/ 186 w 405"/>
                  <a:gd name="T27" fmla="*/ 337 h 377"/>
                  <a:gd name="T28" fmla="*/ 172 w 405"/>
                  <a:gd name="T29" fmla="*/ 367 h 377"/>
                  <a:gd name="T30" fmla="*/ 272 w 405"/>
                  <a:gd name="T31" fmla="*/ 328 h 377"/>
                  <a:gd name="T32" fmla="*/ 352 w 405"/>
                  <a:gd name="T33" fmla="*/ 373 h 377"/>
                  <a:gd name="T34" fmla="*/ 389 w 405"/>
                  <a:gd name="T35" fmla="*/ 333 h 377"/>
                  <a:gd name="T36" fmla="*/ 292 w 405"/>
                  <a:gd name="T37" fmla="*/ 299 h 377"/>
                  <a:gd name="T38" fmla="*/ 291 w 405"/>
                  <a:gd name="T39" fmla="*/ 217 h 377"/>
                  <a:gd name="T40" fmla="*/ 261 w 405"/>
                  <a:gd name="T41" fmla="*/ 173 h 377"/>
                  <a:gd name="T42" fmla="*/ 297 w 405"/>
                  <a:gd name="T43" fmla="*/ 107 h 377"/>
                  <a:gd name="T44" fmla="*/ 283 w 405"/>
                  <a:gd name="T45" fmla="*/ 43 h 377"/>
                  <a:gd name="T46" fmla="*/ 241 w 405"/>
                  <a:gd name="T47" fmla="*/ 1 h 377"/>
                  <a:gd name="T48" fmla="*/ 241 w 405"/>
                  <a:gd name="T49" fmla="*/ 35 h 377"/>
                  <a:gd name="T50" fmla="*/ 245 w 405"/>
                  <a:gd name="T51" fmla="*/ 97 h 377"/>
                  <a:gd name="T52" fmla="*/ 194 w 405"/>
                  <a:gd name="T53" fmla="*/ 129 h 377"/>
                  <a:gd name="T54" fmla="*/ 161 w 405"/>
                  <a:gd name="T55" fmla="*/ 121 h 377"/>
                  <a:gd name="T56" fmla="*/ 150 w 405"/>
                  <a:gd name="T57" fmla="*/ 33 h 377"/>
                  <a:gd name="T58" fmla="*/ 122 w 405"/>
                  <a:gd name="T59" fmla="*/ 56 h 377"/>
                  <a:gd name="T60" fmla="*/ 121 w 405"/>
                  <a:gd name="T61" fmla="*/ 133 h 377"/>
                  <a:gd name="T62" fmla="*/ 30 w 405"/>
                  <a:gd name="T63" fmla="*/ 180 h 377"/>
                  <a:gd name="T64" fmla="*/ 22 w 405"/>
                  <a:gd name="T65" fmla="*/ 219 h 3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405" h="377">
                    <a:moveTo>
                      <a:pt x="174" y="243"/>
                    </a:moveTo>
                    <a:cubicBezTo>
                      <a:pt x="172" y="243"/>
                      <a:pt x="154" y="236"/>
                      <a:pt x="159" y="229"/>
                    </a:cubicBezTo>
                    <a:cubicBezTo>
                      <a:pt x="163" y="221"/>
                      <a:pt x="190" y="187"/>
                      <a:pt x="199" y="183"/>
                    </a:cubicBezTo>
                    <a:cubicBezTo>
                      <a:pt x="208" y="178"/>
                      <a:pt x="215" y="172"/>
                      <a:pt x="218" y="183"/>
                    </a:cubicBezTo>
                    <a:cubicBezTo>
                      <a:pt x="221" y="193"/>
                      <a:pt x="215" y="230"/>
                      <a:pt x="220" y="236"/>
                    </a:cubicBezTo>
                    <a:cubicBezTo>
                      <a:pt x="225" y="241"/>
                      <a:pt x="227" y="248"/>
                      <a:pt x="234" y="247"/>
                    </a:cubicBezTo>
                    <a:cubicBezTo>
                      <a:pt x="241" y="246"/>
                      <a:pt x="256" y="238"/>
                      <a:pt x="260" y="245"/>
                    </a:cubicBezTo>
                    <a:cubicBezTo>
                      <a:pt x="263" y="252"/>
                      <a:pt x="268" y="259"/>
                      <a:pt x="260" y="269"/>
                    </a:cubicBezTo>
                    <a:cubicBezTo>
                      <a:pt x="253" y="278"/>
                      <a:pt x="247" y="281"/>
                      <a:pt x="239" y="274"/>
                    </a:cubicBezTo>
                    <a:cubicBezTo>
                      <a:pt x="230" y="267"/>
                      <a:pt x="221" y="250"/>
                      <a:pt x="209" y="247"/>
                    </a:cubicBezTo>
                    <a:cubicBezTo>
                      <a:pt x="198" y="245"/>
                      <a:pt x="176" y="243"/>
                      <a:pt x="174" y="243"/>
                    </a:cubicBezTo>
                    <a:close/>
                    <a:moveTo>
                      <a:pt x="108" y="215"/>
                    </a:moveTo>
                    <a:cubicBezTo>
                      <a:pt x="109" y="216"/>
                      <a:pt x="102" y="238"/>
                      <a:pt x="93" y="254"/>
                    </a:cubicBezTo>
                    <a:cubicBezTo>
                      <a:pt x="84" y="271"/>
                      <a:pt x="81" y="271"/>
                      <a:pt x="73" y="283"/>
                    </a:cubicBezTo>
                    <a:cubicBezTo>
                      <a:pt x="65" y="295"/>
                      <a:pt x="45" y="309"/>
                      <a:pt x="44" y="316"/>
                    </a:cubicBezTo>
                    <a:cubicBezTo>
                      <a:pt x="43" y="323"/>
                      <a:pt x="41" y="343"/>
                      <a:pt x="43" y="350"/>
                    </a:cubicBezTo>
                    <a:cubicBezTo>
                      <a:pt x="44" y="357"/>
                      <a:pt x="61" y="358"/>
                      <a:pt x="69" y="357"/>
                    </a:cubicBezTo>
                    <a:cubicBezTo>
                      <a:pt x="77" y="355"/>
                      <a:pt x="84" y="347"/>
                      <a:pt x="91" y="347"/>
                    </a:cubicBezTo>
                    <a:cubicBezTo>
                      <a:pt x="98" y="347"/>
                      <a:pt x="96" y="355"/>
                      <a:pt x="97" y="361"/>
                    </a:cubicBezTo>
                    <a:cubicBezTo>
                      <a:pt x="97" y="366"/>
                      <a:pt x="101" y="368"/>
                      <a:pt x="118" y="372"/>
                    </a:cubicBezTo>
                    <a:cubicBezTo>
                      <a:pt x="136" y="377"/>
                      <a:pt x="140" y="364"/>
                      <a:pt x="144" y="352"/>
                    </a:cubicBezTo>
                    <a:cubicBezTo>
                      <a:pt x="148" y="339"/>
                      <a:pt x="140" y="339"/>
                      <a:pt x="136" y="328"/>
                    </a:cubicBezTo>
                    <a:cubicBezTo>
                      <a:pt x="133" y="316"/>
                      <a:pt x="136" y="302"/>
                      <a:pt x="136" y="292"/>
                    </a:cubicBezTo>
                    <a:cubicBezTo>
                      <a:pt x="135" y="281"/>
                      <a:pt x="141" y="272"/>
                      <a:pt x="147" y="265"/>
                    </a:cubicBezTo>
                    <a:cubicBezTo>
                      <a:pt x="153" y="258"/>
                      <a:pt x="160" y="248"/>
                      <a:pt x="186" y="258"/>
                    </a:cubicBezTo>
                    <a:cubicBezTo>
                      <a:pt x="212" y="267"/>
                      <a:pt x="239" y="298"/>
                      <a:pt x="242" y="306"/>
                    </a:cubicBezTo>
                    <a:cubicBezTo>
                      <a:pt x="245" y="313"/>
                      <a:pt x="232" y="318"/>
                      <a:pt x="227" y="325"/>
                    </a:cubicBezTo>
                    <a:cubicBezTo>
                      <a:pt x="222" y="332"/>
                      <a:pt x="196" y="338"/>
                      <a:pt x="186" y="337"/>
                    </a:cubicBezTo>
                    <a:cubicBezTo>
                      <a:pt x="175" y="336"/>
                      <a:pt x="172" y="344"/>
                      <a:pt x="167" y="348"/>
                    </a:cubicBezTo>
                    <a:cubicBezTo>
                      <a:pt x="162" y="351"/>
                      <a:pt x="167" y="361"/>
                      <a:pt x="172" y="367"/>
                    </a:cubicBezTo>
                    <a:cubicBezTo>
                      <a:pt x="177" y="373"/>
                      <a:pt x="211" y="373"/>
                      <a:pt x="224" y="364"/>
                    </a:cubicBezTo>
                    <a:cubicBezTo>
                      <a:pt x="237" y="354"/>
                      <a:pt x="272" y="328"/>
                      <a:pt x="272" y="328"/>
                    </a:cubicBezTo>
                    <a:cubicBezTo>
                      <a:pt x="272" y="328"/>
                      <a:pt x="285" y="340"/>
                      <a:pt x="293" y="348"/>
                    </a:cubicBezTo>
                    <a:cubicBezTo>
                      <a:pt x="301" y="357"/>
                      <a:pt x="319" y="369"/>
                      <a:pt x="352" y="373"/>
                    </a:cubicBezTo>
                    <a:cubicBezTo>
                      <a:pt x="385" y="377"/>
                      <a:pt x="398" y="356"/>
                      <a:pt x="401" y="352"/>
                    </a:cubicBezTo>
                    <a:cubicBezTo>
                      <a:pt x="405" y="348"/>
                      <a:pt x="399" y="342"/>
                      <a:pt x="389" y="333"/>
                    </a:cubicBezTo>
                    <a:cubicBezTo>
                      <a:pt x="379" y="323"/>
                      <a:pt x="353" y="312"/>
                      <a:pt x="337" y="313"/>
                    </a:cubicBezTo>
                    <a:cubicBezTo>
                      <a:pt x="321" y="315"/>
                      <a:pt x="303" y="305"/>
                      <a:pt x="292" y="299"/>
                    </a:cubicBezTo>
                    <a:cubicBezTo>
                      <a:pt x="282" y="293"/>
                      <a:pt x="287" y="293"/>
                      <a:pt x="291" y="277"/>
                    </a:cubicBezTo>
                    <a:cubicBezTo>
                      <a:pt x="295" y="261"/>
                      <a:pt x="294" y="231"/>
                      <a:pt x="291" y="217"/>
                    </a:cubicBezTo>
                    <a:cubicBezTo>
                      <a:pt x="287" y="204"/>
                      <a:pt x="269" y="200"/>
                      <a:pt x="264" y="192"/>
                    </a:cubicBezTo>
                    <a:cubicBezTo>
                      <a:pt x="258" y="184"/>
                      <a:pt x="251" y="180"/>
                      <a:pt x="261" y="173"/>
                    </a:cubicBezTo>
                    <a:cubicBezTo>
                      <a:pt x="272" y="166"/>
                      <a:pt x="282" y="146"/>
                      <a:pt x="290" y="135"/>
                    </a:cubicBezTo>
                    <a:cubicBezTo>
                      <a:pt x="298" y="123"/>
                      <a:pt x="305" y="117"/>
                      <a:pt x="297" y="107"/>
                    </a:cubicBezTo>
                    <a:cubicBezTo>
                      <a:pt x="289" y="97"/>
                      <a:pt x="283" y="94"/>
                      <a:pt x="281" y="86"/>
                    </a:cubicBezTo>
                    <a:cubicBezTo>
                      <a:pt x="280" y="79"/>
                      <a:pt x="283" y="57"/>
                      <a:pt x="283" y="43"/>
                    </a:cubicBezTo>
                    <a:cubicBezTo>
                      <a:pt x="283" y="29"/>
                      <a:pt x="285" y="30"/>
                      <a:pt x="272" y="15"/>
                    </a:cubicBezTo>
                    <a:cubicBezTo>
                      <a:pt x="260" y="0"/>
                      <a:pt x="248" y="2"/>
                      <a:pt x="241" y="1"/>
                    </a:cubicBezTo>
                    <a:cubicBezTo>
                      <a:pt x="235" y="0"/>
                      <a:pt x="231" y="21"/>
                      <a:pt x="233" y="26"/>
                    </a:cubicBezTo>
                    <a:cubicBezTo>
                      <a:pt x="235" y="31"/>
                      <a:pt x="239" y="31"/>
                      <a:pt x="241" y="35"/>
                    </a:cubicBezTo>
                    <a:cubicBezTo>
                      <a:pt x="242" y="39"/>
                      <a:pt x="239" y="36"/>
                      <a:pt x="243" y="53"/>
                    </a:cubicBezTo>
                    <a:cubicBezTo>
                      <a:pt x="247" y="70"/>
                      <a:pt x="245" y="91"/>
                      <a:pt x="245" y="97"/>
                    </a:cubicBezTo>
                    <a:cubicBezTo>
                      <a:pt x="245" y="103"/>
                      <a:pt x="240" y="107"/>
                      <a:pt x="234" y="114"/>
                    </a:cubicBezTo>
                    <a:cubicBezTo>
                      <a:pt x="228" y="121"/>
                      <a:pt x="206" y="123"/>
                      <a:pt x="194" y="129"/>
                    </a:cubicBezTo>
                    <a:cubicBezTo>
                      <a:pt x="181" y="135"/>
                      <a:pt x="179" y="146"/>
                      <a:pt x="170" y="149"/>
                    </a:cubicBezTo>
                    <a:cubicBezTo>
                      <a:pt x="161" y="151"/>
                      <a:pt x="157" y="138"/>
                      <a:pt x="161" y="121"/>
                    </a:cubicBezTo>
                    <a:cubicBezTo>
                      <a:pt x="164" y="109"/>
                      <a:pt x="168" y="79"/>
                      <a:pt x="168" y="64"/>
                    </a:cubicBezTo>
                    <a:cubicBezTo>
                      <a:pt x="167" y="54"/>
                      <a:pt x="158" y="40"/>
                      <a:pt x="150" y="33"/>
                    </a:cubicBezTo>
                    <a:cubicBezTo>
                      <a:pt x="142" y="25"/>
                      <a:pt x="136" y="30"/>
                      <a:pt x="131" y="32"/>
                    </a:cubicBezTo>
                    <a:cubicBezTo>
                      <a:pt x="126" y="35"/>
                      <a:pt x="120" y="43"/>
                      <a:pt x="122" y="56"/>
                    </a:cubicBezTo>
                    <a:cubicBezTo>
                      <a:pt x="124" y="70"/>
                      <a:pt x="127" y="72"/>
                      <a:pt x="127" y="82"/>
                    </a:cubicBezTo>
                    <a:cubicBezTo>
                      <a:pt x="128" y="92"/>
                      <a:pt x="124" y="113"/>
                      <a:pt x="121" y="133"/>
                    </a:cubicBezTo>
                    <a:cubicBezTo>
                      <a:pt x="117" y="152"/>
                      <a:pt x="104" y="151"/>
                      <a:pt x="90" y="158"/>
                    </a:cubicBezTo>
                    <a:cubicBezTo>
                      <a:pt x="76" y="165"/>
                      <a:pt x="48" y="175"/>
                      <a:pt x="30" y="180"/>
                    </a:cubicBezTo>
                    <a:cubicBezTo>
                      <a:pt x="13" y="184"/>
                      <a:pt x="0" y="191"/>
                      <a:pt x="0" y="200"/>
                    </a:cubicBezTo>
                    <a:cubicBezTo>
                      <a:pt x="0" y="209"/>
                      <a:pt x="9" y="210"/>
                      <a:pt x="22" y="219"/>
                    </a:cubicBezTo>
                    <a:cubicBezTo>
                      <a:pt x="35" y="228"/>
                      <a:pt x="107" y="215"/>
                      <a:pt x="108" y="21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19" name="íŝļïḓè"/>
              <p:cNvSpPr/>
              <p:nvPr/>
            </p:nvSpPr>
            <p:spPr bwMode="auto">
              <a:xfrm>
                <a:off x="6220078" y="4756740"/>
                <a:ext cx="627063" cy="793750"/>
              </a:xfrm>
              <a:custGeom>
                <a:avLst/>
                <a:gdLst>
                  <a:gd name="T0" fmla="*/ 194 w 340"/>
                  <a:gd name="T1" fmla="*/ 225 h 430"/>
                  <a:gd name="T2" fmla="*/ 189 w 340"/>
                  <a:gd name="T3" fmla="*/ 204 h 430"/>
                  <a:gd name="T4" fmla="*/ 222 w 340"/>
                  <a:gd name="T5" fmla="*/ 196 h 430"/>
                  <a:gd name="T6" fmla="*/ 234 w 340"/>
                  <a:gd name="T7" fmla="*/ 215 h 430"/>
                  <a:gd name="T8" fmla="*/ 217 w 340"/>
                  <a:gd name="T9" fmla="*/ 231 h 430"/>
                  <a:gd name="T10" fmla="*/ 194 w 340"/>
                  <a:gd name="T11" fmla="*/ 225 h 430"/>
                  <a:gd name="T12" fmla="*/ 33 w 340"/>
                  <a:gd name="T13" fmla="*/ 228 h 430"/>
                  <a:gd name="T14" fmla="*/ 67 w 340"/>
                  <a:gd name="T15" fmla="*/ 224 h 430"/>
                  <a:gd name="T16" fmla="*/ 105 w 340"/>
                  <a:gd name="T17" fmla="*/ 194 h 430"/>
                  <a:gd name="T18" fmla="*/ 164 w 340"/>
                  <a:gd name="T19" fmla="*/ 151 h 430"/>
                  <a:gd name="T20" fmla="*/ 170 w 340"/>
                  <a:gd name="T21" fmla="*/ 163 h 430"/>
                  <a:gd name="T22" fmla="*/ 144 w 340"/>
                  <a:gd name="T23" fmla="*/ 203 h 430"/>
                  <a:gd name="T24" fmla="*/ 142 w 340"/>
                  <a:gd name="T25" fmla="*/ 250 h 430"/>
                  <a:gd name="T26" fmla="*/ 166 w 340"/>
                  <a:gd name="T27" fmla="*/ 278 h 430"/>
                  <a:gd name="T28" fmla="*/ 170 w 340"/>
                  <a:gd name="T29" fmla="*/ 300 h 430"/>
                  <a:gd name="T30" fmla="*/ 132 w 340"/>
                  <a:gd name="T31" fmla="*/ 347 h 430"/>
                  <a:gd name="T32" fmla="*/ 133 w 340"/>
                  <a:gd name="T33" fmla="*/ 397 h 430"/>
                  <a:gd name="T34" fmla="*/ 181 w 340"/>
                  <a:gd name="T35" fmla="*/ 410 h 430"/>
                  <a:gd name="T36" fmla="*/ 184 w 340"/>
                  <a:gd name="T37" fmla="*/ 375 h 430"/>
                  <a:gd name="T38" fmla="*/ 198 w 340"/>
                  <a:gd name="T39" fmla="*/ 374 h 430"/>
                  <a:gd name="T40" fmla="*/ 215 w 340"/>
                  <a:gd name="T41" fmla="*/ 416 h 430"/>
                  <a:gd name="T42" fmla="*/ 240 w 340"/>
                  <a:gd name="T43" fmla="*/ 406 h 430"/>
                  <a:gd name="T44" fmla="*/ 230 w 340"/>
                  <a:gd name="T45" fmla="*/ 341 h 430"/>
                  <a:gd name="T46" fmla="*/ 250 w 340"/>
                  <a:gd name="T47" fmla="*/ 322 h 430"/>
                  <a:gd name="T48" fmla="*/ 268 w 340"/>
                  <a:gd name="T49" fmla="*/ 373 h 430"/>
                  <a:gd name="T50" fmla="*/ 316 w 340"/>
                  <a:gd name="T51" fmla="*/ 385 h 430"/>
                  <a:gd name="T52" fmla="*/ 295 w 340"/>
                  <a:gd name="T53" fmla="*/ 310 h 430"/>
                  <a:gd name="T54" fmla="*/ 263 w 340"/>
                  <a:gd name="T55" fmla="*/ 288 h 430"/>
                  <a:gd name="T56" fmla="*/ 264 w 340"/>
                  <a:gd name="T57" fmla="*/ 259 h 430"/>
                  <a:gd name="T58" fmla="*/ 265 w 340"/>
                  <a:gd name="T59" fmla="*/ 233 h 430"/>
                  <a:gd name="T60" fmla="*/ 300 w 340"/>
                  <a:gd name="T61" fmla="*/ 199 h 430"/>
                  <a:gd name="T62" fmla="*/ 275 w 340"/>
                  <a:gd name="T63" fmla="*/ 161 h 430"/>
                  <a:gd name="T64" fmla="*/ 217 w 340"/>
                  <a:gd name="T65" fmla="*/ 159 h 430"/>
                  <a:gd name="T66" fmla="*/ 270 w 340"/>
                  <a:gd name="T67" fmla="*/ 132 h 430"/>
                  <a:gd name="T68" fmla="*/ 316 w 340"/>
                  <a:gd name="T69" fmla="*/ 126 h 430"/>
                  <a:gd name="T70" fmla="*/ 332 w 340"/>
                  <a:gd name="T71" fmla="*/ 110 h 430"/>
                  <a:gd name="T72" fmla="*/ 321 w 340"/>
                  <a:gd name="T73" fmla="*/ 75 h 430"/>
                  <a:gd name="T74" fmla="*/ 256 w 340"/>
                  <a:gd name="T75" fmla="*/ 74 h 430"/>
                  <a:gd name="T76" fmla="*/ 240 w 340"/>
                  <a:gd name="T77" fmla="*/ 51 h 430"/>
                  <a:gd name="T78" fmla="*/ 212 w 340"/>
                  <a:gd name="T79" fmla="*/ 9 h 430"/>
                  <a:gd name="T80" fmla="*/ 190 w 340"/>
                  <a:gd name="T81" fmla="*/ 6 h 430"/>
                  <a:gd name="T82" fmla="*/ 174 w 340"/>
                  <a:gd name="T83" fmla="*/ 34 h 430"/>
                  <a:gd name="T84" fmla="*/ 183 w 340"/>
                  <a:gd name="T85" fmla="*/ 70 h 430"/>
                  <a:gd name="T86" fmla="*/ 172 w 340"/>
                  <a:gd name="T87" fmla="*/ 98 h 430"/>
                  <a:gd name="T88" fmla="*/ 65 w 340"/>
                  <a:gd name="T89" fmla="*/ 161 h 430"/>
                  <a:gd name="T90" fmla="*/ 21 w 340"/>
                  <a:gd name="T91" fmla="*/ 171 h 430"/>
                  <a:gd name="T92" fmla="*/ 10 w 340"/>
                  <a:gd name="T93" fmla="*/ 198 h 430"/>
                  <a:gd name="T94" fmla="*/ 33 w 340"/>
                  <a:gd name="T95" fmla="*/ 228 h 4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340" h="430">
                    <a:moveTo>
                      <a:pt x="194" y="225"/>
                    </a:moveTo>
                    <a:cubicBezTo>
                      <a:pt x="194" y="225"/>
                      <a:pt x="178" y="212"/>
                      <a:pt x="189" y="204"/>
                    </a:cubicBezTo>
                    <a:cubicBezTo>
                      <a:pt x="201" y="196"/>
                      <a:pt x="211" y="188"/>
                      <a:pt x="222" y="196"/>
                    </a:cubicBezTo>
                    <a:cubicBezTo>
                      <a:pt x="234" y="203"/>
                      <a:pt x="238" y="207"/>
                      <a:pt x="234" y="215"/>
                    </a:cubicBezTo>
                    <a:cubicBezTo>
                      <a:pt x="230" y="222"/>
                      <a:pt x="228" y="229"/>
                      <a:pt x="217" y="231"/>
                    </a:cubicBezTo>
                    <a:cubicBezTo>
                      <a:pt x="204" y="230"/>
                      <a:pt x="194" y="225"/>
                      <a:pt x="194" y="225"/>
                    </a:cubicBezTo>
                    <a:close/>
                    <a:moveTo>
                      <a:pt x="33" y="228"/>
                    </a:moveTo>
                    <a:cubicBezTo>
                      <a:pt x="40" y="229"/>
                      <a:pt x="52" y="231"/>
                      <a:pt x="67" y="224"/>
                    </a:cubicBezTo>
                    <a:cubicBezTo>
                      <a:pt x="82" y="216"/>
                      <a:pt x="91" y="208"/>
                      <a:pt x="105" y="194"/>
                    </a:cubicBezTo>
                    <a:cubicBezTo>
                      <a:pt x="119" y="180"/>
                      <a:pt x="153" y="155"/>
                      <a:pt x="164" y="151"/>
                    </a:cubicBezTo>
                    <a:cubicBezTo>
                      <a:pt x="176" y="146"/>
                      <a:pt x="176" y="155"/>
                      <a:pt x="170" y="163"/>
                    </a:cubicBezTo>
                    <a:cubicBezTo>
                      <a:pt x="164" y="171"/>
                      <a:pt x="150" y="188"/>
                      <a:pt x="144" y="203"/>
                    </a:cubicBezTo>
                    <a:cubicBezTo>
                      <a:pt x="139" y="218"/>
                      <a:pt x="134" y="224"/>
                      <a:pt x="142" y="250"/>
                    </a:cubicBezTo>
                    <a:cubicBezTo>
                      <a:pt x="149" y="275"/>
                      <a:pt x="160" y="275"/>
                      <a:pt x="166" y="278"/>
                    </a:cubicBezTo>
                    <a:cubicBezTo>
                      <a:pt x="172" y="281"/>
                      <a:pt x="176" y="301"/>
                      <a:pt x="170" y="300"/>
                    </a:cubicBezTo>
                    <a:cubicBezTo>
                      <a:pt x="164" y="299"/>
                      <a:pt x="136" y="327"/>
                      <a:pt x="132" y="347"/>
                    </a:cubicBezTo>
                    <a:cubicBezTo>
                      <a:pt x="127" y="366"/>
                      <a:pt x="123" y="375"/>
                      <a:pt x="133" y="397"/>
                    </a:cubicBezTo>
                    <a:cubicBezTo>
                      <a:pt x="144" y="419"/>
                      <a:pt x="174" y="413"/>
                      <a:pt x="181" y="410"/>
                    </a:cubicBezTo>
                    <a:cubicBezTo>
                      <a:pt x="189" y="407"/>
                      <a:pt x="185" y="395"/>
                      <a:pt x="184" y="375"/>
                    </a:cubicBezTo>
                    <a:cubicBezTo>
                      <a:pt x="182" y="355"/>
                      <a:pt x="192" y="364"/>
                      <a:pt x="198" y="374"/>
                    </a:cubicBezTo>
                    <a:cubicBezTo>
                      <a:pt x="204" y="384"/>
                      <a:pt x="203" y="402"/>
                      <a:pt x="215" y="416"/>
                    </a:cubicBezTo>
                    <a:cubicBezTo>
                      <a:pt x="226" y="430"/>
                      <a:pt x="235" y="419"/>
                      <a:pt x="240" y="406"/>
                    </a:cubicBezTo>
                    <a:cubicBezTo>
                      <a:pt x="245" y="393"/>
                      <a:pt x="232" y="357"/>
                      <a:pt x="230" y="341"/>
                    </a:cubicBezTo>
                    <a:cubicBezTo>
                      <a:pt x="229" y="326"/>
                      <a:pt x="238" y="322"/>
                      <a:pt x="250" y="322"/>
                    </a:cubicBezTo>
                    <a:cubicBezTo>
                      <a:pt x="262" y="322"/>
                      <a:pt x="248" y="347"/>
                      <a:pt x="268" y="373"/>
                    </a:cubicBezTo>
                    <a:cubicBezTo>
                      <a:pt x="287" y="399"/>
                      <a:pt x="292" y="396"/>
                      <a:pt x="316" y="385"/>
                    </a:cubicBezTo>
                    <a:cubicBezTo>
                      <a:pt x="340" y="375"/>
                      <a:pt x="311" y="327"/>
                      <a:pt x="295" y="310"/>
                    </a:cubicBezTo>
                    <a:cubicBezTo>
                      <a:pt x="279" y="294"/>
                      <a:pt x="263" y="294"/>
                      <a:pt x="263" y="288"/>
                    </a:cubicBezTo>
                    <a:cubicBezTo>
                      <a:pt x="263" y="282"/>
                      <a:pt x="266" y="267"/>
                      <a:pt x="264" y="259"/>
                    </a:cubicBezTo>
                    <a:cubicBezTo>
                      <a:pt x="262" y="251"/>
                      <a:pt x="258" y="239"/>
                      <a:pt x="265" y="233"/>
                    </a:cubicBezTo>
                    <a:cubicBezTo>
                      <a:pt x="273" y="226"/>
                      <a:pt x="301" y="222"/>
                      <a:pt x="300" y="199"/>
                    </a:cubicBezTo>
                    <a:cubicBezTo>
                      <a:pt x="299" y="177"/>
                      <a:pt x="294" y="175"/>
                      <a:pt x="275" y="161"/>
                    </a:cubicBezTo>
                    <a:cubicBezTo>
                      <a:pt x="257" y="148"/>
                      <a:pt x="216" y="168"/>
                      <a:pt x="217" y="159"/>
                    </a:cubicBezTo>
                    <a:cubicBezTo>
                      <a:pt x="218" y="150"/>
                      <a:pt x="250" y="138"/>
                      <a:pt x="270" y="132"/>
                    </a:cubicBezTo>
                    <a:cubicBezTo>
                      <a:pt x="290" y="125"/>
                      <a:pt x="306" y="126"/>
                      <a:pt x="316" y="126"/>
                    </a:cubicBezTo>
                    <a:cubicBezTo>
                      <a:pt x="326" y="126"/>
                      <a:pt x="326" y="118"/>
                      <a:pt x="332" y="110"/>
                    </a:cubicBezTo>
                    <a:cubicBezTo>
                      <a:pt x="337" y="102"/>
                      <a:pt x="334" y="88"/>
                      <a:pt x="321" y="75"/>
                    </a:cubicBezTo>
                    <a:cubicBezTo>
                      <a:pt x="308" y="61"/>
                      <a:pt x="263" y="74"/>
                      <a:pt x="256" y="74"/>
                    </a:cubicBezTo>
                    <a:cubicBezTo>
                      <a:pt x="250" y="74"/>
                      <a:pt x="250" y="63"/>
                      <a:pt x="240" y="51"/>
                    </a:cubicBezTo>
                    <a:cubicBezTo>
                      <a:pt x="229" y="38"/>
                      <a:pt x="220" y="18"/>
                      <a:pt x="212" y="9"/>
                    </a:cubicBezTo>
                    <a:cubicBezTo>
                      <a:pt x="205" y="0"/>
                      <a:pt x="203" y="8"/>
                      <a:pt x="190" y="6"/>
                    </a:cubicBezTo>
                    <a:cubicBezTo>
                      <a:pt x="176" y="3"/>
                      <a:pt x="165" y="15"/>
                      <a:pt x="174" y="34"/>
                    </a:cubicBezTo>
                    <a:cubicBezTo>
                      <a:pt x="183" y="53"/>
                      <a:pt x="183" y="56"/>
                      <a:pt x="183" y="70"/>
                    </a:cubicBezTo>
                    <a:cubicBezTo>
                      <a:pt x="183" y="84"/>
                      <a:pt x="197" y="88"/>
                      <a:pt x="172" y="98"/>
                    </a:cubicBezTo>
                    <a:cubicBezTo>
                      <a:pt x="147" y="108"/>
                      <a:pt x="75" y="152"/>
                      <a:pt x="65" y="161"/>
                    </a:cubicBezTo>
                    <a:cubicBezTo>
                      <a:pt x="55" y="170"/>
                      <a:pt x="26" y="169"/>
                      <a:pt x="21" y="171"/>
                    </a:cubicBezTo>
                    <a:cubicBezTo>
                      <a:pt x="15" y="173"/>
                      <a:pt x="0" y="170"/>
                      <a:pt x="10" y="198"/>
                    </a:cubicBezTo>
                    <a:cubicBezTo>
                      <a:pt x="24" y="238"/>
                      <a:pt x="26" y="227"/>
                      <a:pt x="33" y="22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20" name="ïs1îḋè"/>
              <p:cNvSpPr/>
              <p:nvPr/>
            </p:nvSpPr>
            <p:spPr bwMode="auto">
              <a:xfrm>
                <a:off x="7263066" y="4780553"/>
                <a:ext cx="674688" cy="863600"/>
              </a:xfrm>
              <a:custGeom>
                <a:avLst/>
                <a:gdLst>
                  <a:gd name="T0" fmla="*/ 258 w 366"/>
                  <a:gd name="T1" fmla="*/ 136 h 468"/>
                  <a:gd name="T2" fmla="*/ 270 w 366"/>
                  <a:gd name="T3" fmla="*/ 115 h 468"/>
                  <a:gd name="T4" fmla="*/ 287 w 366"/>
                  <a:gd name="T5" fmla="*/ 153 h 468"/>
                  <a:gd name="T6" fmla="*/ 200 w 366"/>
                  <a:gd name="T7" fmla="*/ 103 h 468"/>
                  <a:gd name="T8" fmla="*/ 227 w 366"/>
                  <a:gd name="T9" fmla="*/ 122 h 468"/>
                  <a:gd name="T10" fmla="*/ 225 w 366"/>
                  <a:gd name="T11" fmla="*/ 167 h 468"/>
                  <a:gd name="T12" fmla="*/ 215 w 366"/>
                  <a:gd name="T13" fmla="*/ 201 h 468"/>
                  <a:gd name="T14" fmla="*/ 197 w 366"/>
                  <a:gd name="T15" fmla="*/ 167 h 468"/>
                  <a:gd name="T16" fmla="*/ 204 w 366"/>
                  <a:gd name="T17" fmla="*/ 133 h 468"/>
                  <a:gd name="T18" fmla="*/ 200 w 366"/>
                  <a:gd name="T19" fmla="*/ 103 h 468"/>
                  <a:gd name="T20" fmla="*/ 271 w 366"/>
                  <a:gd name="T21" fmla="*/ 175 h 468"/>
                  <a:gd name="T22" fmla="*/ 286 w 366"/>
                  <a:gd name="T23" fmla="*/ 190 h 468"/>
                  <a:gd name="T24" fmla="*/ 146 w 366"/>
                  <a:gd name="T25" fmla="*/ 109 h 468"/>
                  <a:gd name="T26" fmla="*/ 87 w 366"/>
                  <a:gd name="T27" fmla="*/ 173 h 468"/>
                  <a:gd name="T28" fmla="*/ 7 w 366"/>
                  <a:gd name="T29" fmla="*/ 236 h 468"/>
                  <a:gd name="T30" fmla="*/ 111 w 366"/>
                  <a:gd name="T31" fmla="*/ 239 h 468"/>
                  <a:gd name="T32" fmla="*/ 108 w 366"/>
                  <a:gd name="T33" fmla="*/ 279 h 468"/>
                  <a:gd name="T34" fmla="*/ 110 w 366"/>
                  <a:gd name="T35" fmla="*/ 332 h 468"/>
                  <a:gd name="T36" fmla="*/ 139 w 366"/>
                  <a:gd name="T37" fmla="*/ 316 h 468"/>
                  <a:gd name="T38" fmla="*/ 159 w 366"/>
                  <a:gd name="T39" fmla="*/ 326 h 468"/>
                  <a:gd name="T40" fmla="*/ 189 w 366"/>
                  <a:gd name="T41" fmla="*/ 330 h 468"/>
                  <a:gd name="T42" fmla="*/ 217 w 366"/>
                  <a:gd name="T43" fmla="*/ 281 h 468"/>
                  <a:gd name="T44" fmla="*/ 284 w 366"/>
                  <a:gd name="T45" fmla="*/ 237 h 468"/>
                  <a:gd name="T46" fmla="*/ 287 w 366"/>
                  <a:gd name="T47" fmla="*/ 396 h 468"/>
                  <a:gd name="T48" fmla="*/ 284 w 366"/>
                  <a:gd name="T49" fmla="*/ 461 h 468"/>
                  <a:gd name="T50" fmla="*/ 319 w 366"/>
                  <a:gd name="T51" fmla="*/ 393 h 468"/>
                  <a:gd name="T52" fmla="*/ 327 w 366"/>
                  <a:gd name="T53" fmla="*/ 227 h 468"/>
                  <a:gd name="T54" fmla="*/ 363 w 366"/>
                  <a:gd name="T55" fmla="*/ 202 h 468"/>
                  <a:gd name="T56" fmla="*/ 324 w 366"/>
                  <a:gd name="T57" fmla="*/ 162 h 468"/>
                  <a:gd name="T58" fmla="*/ 330 w 366"/>
                  <a:gd name="T59" fmla="*/ 85 h 468"/>
                  <a:gd name="T60" fmla="*/ 324 w 366"/>
                  <a:gd name="T61" fmla="*/ 23 h 468"/>
                  <a:gd name="T62" fmla="*/ 275 w 366"/>
                  <a:gd name="T63" fmla="*/ 29 h 468"/>
                  <a:gd name="T64" fmla="*/ 286 w 366"/>
                  <a:gd name="T65" fmla="*/ 69 h 468"/>
                  <a:gd name="T66" fmla="*/ 253 w 366"/>
                  <a:gd name="T67" fmla="*/ 65 h 468"/>
                  <a:gd name="T68" fmla="*/ 212 w 366"/>
                  <a:gd name="T69" fmla="*/ 52 h 468"/>
                  <a:gd name="T70" fmla="*/ 115 w 366"/>
                  <a:gd name="T71" fmla="*/ 68 h 468"/>
                  <a:gd name="T72" fmla="*/ 30 w 366"/>
                  <a:gd name="T73" fmla="*/ 163 h 468"/>
                  <a:gd name="T74" fmla="*/ 96 w 366"/>
                  <a:gd name="T75" fmla="*/ 132 h 4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366" h="468">
                    <a:moveTo>
                      <a:pt x="270" y="152"/>
                    </a:moveTo>
                    <a:cubicBezTo>
                      <a:pt x="270" y="152"/>
                      <a:pt x="273" y="146"/>
                      <a:pt x="258" y="136"/>
                    </a:cubicBezTo>
                    <a:cubicBezTo>
                      <a:pt x="242" y="126"/>
                      <a:pt x="247" y="126"/>
                      <a:pt x="254" y="122"/>
                    </a:cubicBezTo>
                    <a:cubicBezTo>
                      <a:pt x="261" y="119"/>
                      <a:pt x="262" y="114"/>
                      <a:pt x="270" y="115"/>
                    </a:cubicBezTo>
                    <a:cubicBezTo>
                      <a:pt x="279" y="116"/>
                      <a:pt x="285" y="112"/>
                      <a:pt x="287" y="120"/>
                    </a:cubicBezTo>
                    <a:cubicBezTo>
                      <a:pt x="289" y="128"/>
                      <a:pt x="291" y="151"/>
                      <a:pt x="287" y="153"/>
                    </a:cubicBezTo>
                    <a:cubicBezTo>
                      <a:pt x="284" y="155"/>
                      <a:pt x="271" y="153"/>
                      <a:pt x="270" y="152"/>
                    </a:cubicBezTo>
                    <a:close/>
                    <a:moveTo>
                      <a:pt x="200" y="103"/>
                    </a:moveTo>
                    <a:cubicBezTo>
                      <a:pt x="200" y="99"/>
                      <a:pt x="207" y="96"/>
                      <a:pt x="216" y="102"/>
                    </a:cubicBezTo>
                    <a:cubicBezTo>
                      <a:pt x="225" y="108"/>
                      <a:pt x="228" y="113"/>
                      <a:pt x="227" y="122"/>
                    </a:cubicBezTo>
                    <a:cubicBezTo>
                      <a:pt x="225" y="131"/>
                      <a:pt x="222" y="135"/>
                      <a:pt x="223" y="145"/>
                    </a:cubicBezTo>
                    <a:cubicBezTo>
                      <a:pt x="223" y="156"/>
                      <a:pt x="217" y="162"/>
                      <a:pt x="225" y="167"/>
                    </a:cubicBezTo>
                    <a:cubicBezTo>
                      <a:pt x="232" y="173"/>
                      <a:pt x="235" y="171"/>
                      <a:pt x="233" y="185"/>
                    </a:cubicBezTo>
                    <a:cubicBezTo>
                      <a:pt x="231" y="202"/>
                      <a:pt x="214" y="210"/>
                      <a:pt x="215" y="201"/>
                    </a:cubicBezTo>
                    <a:cubicBezTo>
                      <a:pt x="215" y="192"/>
                      <a:pt x="220" y="185"/>
                      <a:pt x="213" y="176"/>
                    </a:cubicBezTo>
                    <a:cubicBezTo>
                      <a:pt x="205" y="167"/>
                      <a:pt x="204" y="178"/>
                      <a:pt x="197" y="167"/>
                    </a:cubicBezTo>
                    <a:cubicBezTo>
                      <a:pt x="191" y="155"/>
                      <a:pt x="195" y="154"/>
                      <a:pt x="199" y="152"/>
                    </a:cubicBezTo>
                    <a:cubicBezTo>
                      <a:pt x="204" y="149"/>
                      <a:pt x="209" y="147"/>
                      <a:pt x="204" y="133"/>
                    </a:cubicBezTo>
                    <a:cubicBezTo>
                      <a:pt x="199" y="119"/>
                      <a:pt x="198" y="127"/>
                      <a:pt x="197" y="119"/>
                    </a:cubicBezTo>
                    <a:cubicBezTo>
                      <a:pt x="196" y="112"/>
                      <a:pt x="200" y="107"/>
                      <a:pt x="200" y="103"/>
                    </a:cubicBezTo>
                    <a:close/>
                    <a:moveTo>
                      <a:pt x="246" y="206"/>
                    </a:moveTo>
                    <a:cubicBezTo>
                      <a:pt x="243" y="205"/>
                      <a:pt x="264" y="181"/>
                      <a:pt x="271" y="175"/>
                    </a:cubicBezTo>
                    <a:cubicBezTo>
                      <a:pt x="277" y="170"/>
                      <a:pt x="289" y="166"/>
                      <a:pt x="288" y="173"/>
                    </a:cubicBezTo>
                    <a:cubicBezTo>
                      <a:pt x="287" y="180"/>
                      <a:pt x="291" y="185"/>
                      <a:pt x="286" y="190"/>
                    </a:cubicBezTo>
                    <a:cubicBezTo>
                      <a:pt x="282" y="195"/>
                      <a:pt x="250" y="207"/>
                      <a:pt x="246" y="206"/>
                    </a:cubicBezTo>
                    <a:close/>
                    <a:moveTo>
                      <a:pt x="146" y="109"/>
                    </a:moveTo>
                    <a:cubicBezTo>
                      <a:pt x="146" y="114"/>
                      <a:pt x="141" y="124"/>
                      <a:pt x="134" y="134"/>
                    </a:cubicBezTo>
                    <a:cubicBezTo>
                      <a:pt x="127" y="144"/>
                      <a:pt x="103" y="162"/>
                      <a:pt x="87" y="173"/>
                    </a:cubicBezTo>
                    <a:cubicBezTo>
                      <a:pt x="70" y="183"/>
                      <a:pt x="23" y="206"/>
                      <a:pt x="16" y="212"/>
                    </a:cubicBezTo>
                    <a:cubicBezTo>
                      <a:pt x="10" y="218"/>
                      <a:pt x="0" y="213"/>
                      <a:pt x="7" y="236"/>
                    </a:cubicBezTo>
                    <a:cubicBezTo>
                      <a:pt x="13" y="258"/>
                      <a:pt x="24" y="253"/>
                      <a:pt x="55" y="252"/>
                    </a:cubicBezTo>
                    <a:cubicBezTo>
                      <a:pt x="85" y="250"/>
                      <a:pt x="106" y="237"/>
                      <a:pt x="111" y="239"/>
                    </a:cubicBezTo>
                    <a:cubicBezTo>
                      <a:pt x="116" y="242"/>
                      <a:pt x="119" y="251"/>
                      <a:pt x="119" y="259"/>
                    </a:cubicBezTo>
                    <a:cubicBezTo>
                      <a:pt x="120" y="266"/>
                      <a:pt x="116" y="270"/>
                      <a:pt x="108" y="279"/>
                    </a:cubicBezTo>
                    <a:cubicBezTo>
                      <a:pt x="100" y="288"/>
                      <a:pt x="100" y="303"/>
                      <a:pt x="100" y="311"/>
                    </a:cubicBezTo>
                    <a:cubicBezTo>
                      <a:pt x="101" y="318"/>
                      <a:pt x="104" y="325"/>
                      <a:pt x="110" y="332"/>
                    </a:cubicBezTo>
                    <a:cubicBezTo>
                      <a:pt x="117" y="338"/>
                      <a:pt x="119" y="333"/>
                      <a:pt x="127" y="333"/>
                    </a:cubicBezTo>
                    <a:cubicBezTo>
                      <a:pt x="134" y="332"/>
                      <a:pt x="138" y="323"/>
                      <a:pt x="139" y="316"/>
                    </a:cubicBezTo>
                    <a:cubicBezTo>
                      <a:pt x="140" y="308"/>
                      <a:pt x="148" y="313"/>
                      <a:pt x="155" y="314"/>
                    </a:cubicBezTo>
                    <a:cubicBezTo>
                      <a:pt x="161" y="316"/>
                      <a:pt x="158" y="318"/>
                      <a:pt x="159" y="326"/>
                    </a:cubicBezTo>
                    <a:cubicBezTo>
                      <a:pt x="159" y="334"/>
                      <a:pt x="159" y="336"/>
                      <a:pt x="168" y="339"/>
                    </a:cubicBezTo>
                    <a:cubicBezTo>
                      <a:pt x="177" y="343"/>
                      <a:pt x="178" y="342"/>
                      <a:pt x="189" y="330"/>
                    </a:cubicBezTo>
                    <a:cubicBezTo>
                      <a:pt x="199" y="319"/>
                      <a:pt x="187" y="291"/>
                      <a:pt x="193" y="292"/>
                    </a:cubicBezTo>
                    <a:cubicBezTo>
                      <a:pt x="198" y="293"/>
                      <a:pt x="209" y="289"/>
                      <a:pt x="217" y="281"/>
                    </a:cubicBezTo>
                    <a:cubicBezTo>
                      <a:pt x="225" y="273"/>
                      <a:pt x="232" y="272"/>
                      <a:pt x="243" y="263"/>
                    </a:cubicBezTo>
                    <a:cubicBezTo>
                      <a:pt x="253" y="254"/>
                      <a:pt x="278" y="233"/>
                      <a:pt x="284" y="237"/>
                    </a:cubicBezTo>
                    <a:cubicBezTo>
                      <a:pt x="290" y="240"/>
                      <a:pt x="285" y="282"/>
                      <a:pt x="286" y="321"/>
                    </a:cubicBezTo>
                    <a:cubicBezTo>
                      <a:pt x="288" y="361"/>
                      <a:pt x="286" y="379"/>
                      <a:pt x="287" y="396"/>
                    </a:cubicBezTo>
                    <a:cubicBezTo>
                      <a:pt x="289" y="413"/>
                      <a:pt x="278" y="425"/>
                      <a:pt x="278" y="434"/>
                    </a:cubicBezTo>
                    <a:cubicBezTo>
                      <a:pt x="277" y="443"/>
                      <a:pt x="278" y="454"/>
                      <a:pt x="284" y="461"/>
                    </a:cubicBezTo>
                    <a:cubicBezTo>
                      <a:pt x="291" y="468"/>
                      <a:pt x="296" y="458"/>
                      <a:pt x="305" y="449"/>
                    </a:cubicBezTo>
                    <a:cubicBezTo>
                      <a:pt x="314" y="440"/>
                      <a:pt x="315" y="424"/>
                      <a:pt x="319" y="393"/>
                    </a:cubicBezTo>
                    <a:cubicBezTo>
                      <a:pt x="323" y="362"/>
                      <a:pt x="318" y="269"/>
                      <a:pt x="320" y="252"/>
                    </a:cubicBezTo>
                    <a:cubicBezTo>
                      <a:pt x="321" y="236"/>
                      <a:pt x="323" y="232"/>
                      <a:pt x="327" y="227"/>
                    </a:cubicBezTo>
                    <a:cubicBezTo>
                      <a:pt x="332" y="222"/>
                      <a:pt x="332" y="212"/>
                      <a:pt x="340" y="211"/>
                    </a:cubicBezTo>
                    <a:cubicBezTo>
                      <a:pt x="349" y="210"/>
                      <a:pt x="360" y="212"/>
                      <a:pt x="363" y="202"/>
                    </a:cubicBezTo>
                    <a:cubicBezTo>
                      <a:pt x="366" y="192"/>
                      <a:pt x="364" y="182"/>
                      <a:pt x="358" y="177"/>
                    </a:cubicBezTo>
                    <a:cubicBezTo>
                      <a:pt x="352" y="172"/>
                      <a:pt x="326" y="167"/>
                      <a:pt x="324" y="162"/>
                    </a:cubicBezTo>
                    <a:cubicBezTo>
                      <a:pt x="322" y="158"/>
                      <a:pt x="323" y="119"/>
                      <a:pt x="322" y="108"/>
                    </a:cubicBezTo>
                    <a:cubicBezTo>
                      <a:pt x="322" y="96"/>
                      <a:pt x="324" y="98"/>
                      <a:pt x="330" y="85"/>
                    </a:cubicBezTo>
                    <a:cubicBezTo>
                      <a:pt x="336" y="73"/>
                      <a:pt x="333" y="65"/>
                      <a:pt x="334" y="48"/>
                    </a:cubicBezTo>
                    <a:cubicBezTo>
                      <a:pt x="334" y="32"/>
                      <a:pt x="334" y="33"/>
                      <a:pt x="324" y="23"/>
                    </a:cubicBezTo>
                    <a:cubicBezTo>
                      <a:pt x="315" y="14"/>
                      <a:pt x="306" y="6"/>
                      <a:pt x="292" y="3"/>
                    </a:cubicBezTo>
                    <a:cubicBezTo>
                      <a:pt x="278" y="0"/>
                      <a:pt x="274" y="12"/>
                      <a:pt x="275" y="29"/>
                    </a:cubicBezTo>
                    <a:cubicBezTo>
                      <a:pt x="275" y="47"/>
                      <a:pt x="278" y="37"/>
                      <a:pt x="282" y="43"/>
                    </a:cubicBezTo>
                    <a:cubicBezTo>
                      <a:pt x="286" y="49"/>
                      <a:pt x="285" y="62"/>
                      <a:pt x="286" y="69"/>
                    </a:cubicBezTo>
                    <a:cubicBezTo>
                      <a:pt x="287" y="76"/>
                      <a:pt x="283" y="77"/>
                      <a:pt x="274" y="77"/>
                    </a:cubicBezTo>
                    <a:cubicBezTo>
                      <a:pt x="265" y="78"/>
                      <a:pt x="268" y="69"/>
                      <a:pt x="253" y="65"/>
                    </a:cubicBezTo>
                    <a:cubicBezTo>
                      <a:pt x="238" y="60"/>
                      <a:pt x="225" y="74"/>
                      <a:pt x="218" y="72"/>
                    </a:cubicBezTo>
                    <a:cubicBezTo>
                      <a:pt x="212" y="71"/>
                      <a:pt x="215" y="68"/>
                      <a:pt x="212" y="52"/>
                    </a:cubicBezTo>
                    <a:cubicBezTo>
                      <a:pt x="209" y="36"/>
                      <a:pt x="191" y="26"/>
                      <a:pt x="177" y="26"/>
                    </a:cubicBezTo>
                    <a:cubicBezTo>
                      <a:pt x="164" y="26"/>
                      <a:pt x="135" y="52"/>
                      <a:pt x="115" y="68"/>
                    </a:cubicBezTo>
                    <a:cubicBezTo>
                      <a:pt x="96" y="84"/>
                      <a:pt x="55" y="129"/>
                      <a:pt x="47" y="139"/>
                    </a:cubicBezTo>
                    <a:cubicBezTo>
                      <a:pt x="39" y="149"/>
                      <a:pt x="30" y="156"/>
                      <a:pt x="30" y="163"/>
                    </a:cubicBezTo>
                    <a:cubicBezTo>
                      <a:pt x="30" y="170"/>
                      <a:pt x="28" y="170"/>
                      <a:pt x="39" y="172"/>
                    </a:cubicBezTo>
                    <a:cubicBezTo>
                      <a:pt x="49" y="174"/>
                      <a:pt x="64" y="154"/>
                      <a:pt x="96" y="132"/>
                    </a:cubicBezTo>
                    <a:cubicBezTo>
                      <a:pt x="128" y="110"/>
                      <a:pt x="147" y="103"/>
                      <a:pt x="146" y="10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21" name="îš1ïdè"/>
              <p:cNvSpPr/>
              <p:nvPr/>
            </p:nvSpPr>
            <p:spPr bwMode="auto">
              <a:xfrm>
                <a:off x="5180266" y="4845640"/>
                <a:ext cx="635000" cy="660400"/>
              </a:xfrm>
              <a:custGeom>
                <a:avLst/>
                <a:gdLst>
                  <a:gd name="T0" fmla="*/ 5 w 344"/>
                  <a:gd name="T1" fmla="*/ 147 h 358"/>
                  <a:gd name="T2" fmla="*/ 38 w 344"/>
                  <a:gd name="T3" fmla="*/ 142 h 358"/>
                  <a:gd name="T4" fmla="*/ 53 w 344"/>
                  <a:gd name="T5" fmla="*/ 125 h 358"/>
                  <a:gd name="T6" fmla="*/ 43 w 344"/>
                  <a:gd name="T7" fmla="*/ 70 h 358"/>
                  <a:gd name="T8" fmla="*/ 48 w 344"/>
                  <a:gd name="T9" fmla="*/ 43 h 358"/>
                  <a:gd name="T10" fmla="*/ 76 w 344"/>
                  <a:gd name="T11" fmla="*/ 45 h 358"/>
                  <a:gd name="T12" fmla="*/ 122 w 344"/>
                  <a:gd name="T13" fmla="*/ 89 h 358"/>
                  <a:gd name="T14" fmla="*/ 122 w 344"/>
                  <a:gd name="T15" fmla="*/ 185 h 358"/>
                  <a:gd name="T16" fmla="*/ 141 w 344"/>
                  <a:gd name="T17" fmla="*/ 192 h 358"/>
                  <a:gd name="T18" fmla="*/ 231 w 344"/>
                  <a:gd name="T19" fmla="*/ 135 h 358"/>
                  <a:gd name="T20" fmla="*/ 241 w 344"/>
                  <a:gd name="T21" fmla="*/ 87 h 358"/>
                  <a:gd name="T22" fmla="*/ 234 w 344"/>
                  <a:gd name="T23" fmla="*/ 48 h 358"/>
                  <a:gd name="T24" fmla="*/ 263 w 344"/>
                  <a:gd name="T25" fmla="*/ 17 h 358"/>
                  <a:gd name="T26" fmla="*/ 298 w 344"/>
                  <a:gd name="T27" fmla="*/ 76 h 358"/>
                  <a:gd name="T28" fmla="*/ 292 w 344"/>
                  <a:gd name="T29" fmla="*/ 111 h 358"/>
                  <a:gd name="T30" fmla="*/ 317 w 344"/>
                  <a:gd name="T31" fmla="*/ 138 h 358"/>
                  <a:gd name="T32" fmla="*/ 292 w 344"/>
                  <a:gd name="T33" fmla="*/ 181 h 358"/>
                  <a:gd name="T34" fmla="*/ 270 w 344"/>
                  <a:gd name="T35" fmla="*/ 217 h 358"/>
                  <a:gd name="T36" fmla="*/ 276 w 344"/>
                  <a:gd name="T37" fmla="*/ 252 h 358"/>
                  <a:gd name="T38" fmla="*/ 334 w 344"/>
                  <a:gd name="T39" fmla="*/ 270 h 358"/>
                  <a:gd name="T40" fmla="*/ 333 w 344"/>
                  <a:gd name="T41" fmla="*/ 304 h 358"/>
                  <a:gd name="T42" fmla="*/ 226 w 344"/>
                  <a:gd name="T43" fmla="*/ 338 h 358"/>
                  <a:gd name="T44" fmla="*/ 166 w 344"/>
                  <a:gd name="T45" fmla="*/ 352 h 358"/>
                  <a:gd name="T46" fmla="*/ 191 w 344"/>
                  <a:gd name="T47" fmla="*/ 319 h 358"/>
                  <a:gd name="T48" fmla="*/ 228 w 344"/>
                  <a:gd name="T49" fmla="*/ 287 h 358"/>
                  <a:gd name="T50" fmla="*/ 231 w 344"/>
                  <a:gd name="T51" fmla="*/ 223 h 358"/>
                  <a:gd name="T52" fmla="*/ 194 w 344"/>
                  <a:gd name="T53" fmla="*/ 194 h 358"/>
                  <a:gd name="T54" fmla="*/ 152 w 344"/>
                  <a:gd name="T55" fmla="*/ 228 h 358"/>
                  <a:gd name="T56" fmla="*/ 55 w 344"/>
                  <a:gd name="T57" fmla="*/ 337 h 358"/>
                  <a:gd name="T58" fmla="*/ 21 w 344"/>
                  <a:gd name="T59" fmla="*/ 316 h 358"/>
                  <a:gd name="T60" fmla="*/ 30 w 344"/>
                  <a:gd name="T61" fmla="*/ 260 h 358"/>
                  <a:gd name="T62" fmla="*/ 53 w 344"/>
                  <a:gd name="T63" fmla="*/ 228 h 358"/>
                  <a:gd name="T64" fmla="*/ 37 w 344"/>
                  <a:gd name="T65" fmla="*/ 201 h 358"/>
                  <a:gd name="T66" fmla="*/ 1 w 344"/>
                  <a:gd name="T67" fmla="*/ 170 h 358"/>
                  <a:gd name="T68" fmla="*/ 5 w 344"/>
                  <a:gd name="T69" fmla="*/ 147 h 3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344" h="358">
                    <a:moveTo>
                      <a:pt x="5" y="147"/>
                    </a:moveTo>
                    <a:cubicBezTo>
                      <a:pt x="6" y="143"/>
                      <a:pt x="22" y="140"/>
                      <a:pt x="38" y="142"/>
                    </a:cubicBezTo>
                    <a:cubicBezTo>
                      <a:pt x="54" y="144"/>
                      <a:pt x="53" y="137"/>
                      <a:pt x="53" y="125"/>
                    </a:cubicBezTo>
                    <a:cubicBezTo>
                      <a:pt x="53" y="112"/>
                      <a:pt x="60" y="89"/>
                      <a:pt x="43" y="70"/>
                    </a:cubicBezTo>
                    <a:cubicBezTo>
                      <a:pt x="25" y="52"/>
                      <a:pt x="48" y="43"/>
                      <a:pt x="48" y="43"/>
                    </a:cubicBezTo>
                    <a:cubicBezTo>
                      <a:pt x="48" y="43"/>
                      <a:pt x="55" y="32"/>
                      <a:pt x="76" y="45"/>
                    </a:cubicBezTo>
                    <a:cubicBezTo>
                      <a:pt x="97" y="58"/>
                      <a:pt x="115" y="74"/>
                      <a:pt x="122" y="89"/>
                    </a:cubicBezTo>
                    <a:cubicBezTo>
                      <a:pt x="129" y="104"/>
                      <a:pt x="118" y="174"/>
                      <a:pt x="122" y="185"/>
                    </a:cubicBezTo>
                    <a:cubicBezTo>
                      <a:pt x="125" y="195"/>
                      <a:pt x="130" y="200"/>
                      <a:pt x="141" y="192"/>
                    </a:cubicBezTo>
                    <a:cubicBezTo>
                      <a:pt x="153" y="183"/>
                      <a:pt x="214" y="138"/>
                      <a:pt x="231" y="135"/>
                    </a:cubicBezTo>
                    <a:cubicBezTo>
                      <a:pt x="249" y="132"/>
                      <a:pt x="241" y="103"/>
                      <a:pt x="241" y="87"/>
                    </a:cubicBezTo>
                    <a:cubicBezTo>
                      <a:pt x="242" y="70"/>
                      <a:pt x="234" y="59"/>
                      <a:pt x="234" y="48"/>
                    </a:cubicBezTo>
                    <a:cubicBezTo>
                      <a:pt x="234" y="36"/>
                      <a:pt x="247" y="0"/>
                      <a:pt x="263" y="17"/>
                    </a:cubicBezTo>
                    <a:cubicBezTo>
                      <a:pt x="279" y="35"/>
                      <a:pt x="303" y="58"/>
                      <a:pt x="298" y="76"/>
                    </a:cubicBezTo>
                    <a:cubicBezTo>
                      <a:pt x="294" y="95"/>
                      <a:pt x="283" y="92"/>
                      <a:pt x="292" y="111"/>
                    </a:cubicBezTo>
                    <a:cubicBezTo>
                      <a:pt x="301" y="129"/>
                      <a:pt x="320" y="117"/>
                      <a:pt x="317" y="138"/>
                    </a:cubicBezTo>
                    <a:cubicBezTo>
                      <a:pt x="315" y="160"/>
                      <a:pt x="321" y="149"/>
                      <a:pt x="292" y="181"/>
                    </a:cubicBezTo>
                    <a:cubicBezTo>
                      <a:pt x="268" y="209"/>
                      <a:pt x="270" y="208"/>
                      <a:pt x="270" y="217"/>
                    </a:cubicBezTo>
                    <a:cubicBezTo>
                      <a:pt x="270" y="226"/>
                      <a:pt x="266" y="249"/>
                      <a:pt x="276" y="252"/>
                    </a:cubicBezTo>
                    <a:cubicBezTo>
                      <a:pt x="287" y="254"/>
                      <a:pt x="325" y="250"/>
                      <a:pt x="334" y="270"/>
                    </a:cubicBezTo>
                    <a:cubicBezTo>
                      <a:pt x="344" y="290"/>
                      <a:pt x="344" y="295"/>
                      <a:pt x="333" y="304"/>
                    </a:cubicBezTo>
                    <a:cubicBezTo>
                      <a:pt x="321" y="312"/>
                      <a:pt x="288" y="320"/>
                      <a:pt x="226" y="338"/>
                    </a:cubicBezTo>
                    <a:cubicBezTo>
                      <a:pt x="180" y="351"/>
                      <a:pt x="168" y="358"/>
                      <a:pt x="166" y="352"/>
                    </a:cubicBezTo>
                    <a:cubicBezTo>
                      <a:pt x="164" y="346"/>
                      <a:pt x="175" y="331"/>
                      <a:pt x="191" y="319"/>
                    </a:cubicBezTo>
                    <a:cubicBezTo>
                      <a:pt x="207" y="307"/>
                      <a:pt x="224" y="304"/>
                      <a:pt x="228" y="287"/>
                    </a:cubicBezTo>
                    <a:cubicBezTo>
                      <a:pt x="232" y="270"/>
                      <a:pt x="235" y="234"/>
                      <a:pt x="231" y="223"/>
                    </a:cubicBezTo>
                    <a:cubicBezTo>
                      <a:pt x="227" y="212"/>
                      <a:pt x="213" y="188"/>
                      <a:pt x="194" y="194"/>
                    </a:cubicBezTo>
                    <a:cubicBezTo>
                      <a:pt x="176" y="200"/>
                      <a:pt x="166" y="210"/>
                      <a:pt x="152" y="228"/>
                    </a:cubicBezTo>
                    <a:cubicBezTo>
                      <a:pt x="138" y="247"/>
                      <a:pt x="66" y="336"/>
                      <a:pt x="55" y="337"/>
                    </a:cubicBezTo>
                    <a:cubicBezTo>
                      <a:pt x="45" y="338"/>
                      <a:pt x="22" y="340"/>
                      <a:pt x="21" y="316"/>
                    </a:cubicBezTo>
                    <a:cubicBezTo>
                      <a:pt x="20" y="292"/>
                      <a:pt x="16" y="285"/>
                      <a:pt x="30" y="260"/>
                    </a:cubicBezTo>
                    <a:cubicBezTo>
                      <a:pt x="44" y="234"/>
                      <a:pt x="53" y="241"/>
                      <a:pt x="53" y="228"/>
                    </a:cubicBezTo>
                    <a:cubicBezTo>
                      <a:pt x="53" y="216"/>
                      <a:pt x="47" y="207"/>
                      <a:pt x="37" y="201"/>
                    </a:cubicBezTo>
                    <a:cubicBezTo>
                      <a:pt x="27" y="195"/>
                      <a:pt x="2" y="182"/>
                      <a:pt x="1" y="170"/>
                    </a:cubicBezTo>
                    <a:cubicBezTo>
                      <a:pt x="0" y="157"/>
                      <a:pt x="4" y="150"/>
                      <a:pt x="5" y="14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22" name="ï$líḋé"/>
              <p:cNvSpPr/>
              <p:nvPr/>
            </p:nvSpPr>
            <p:spPr bwMode="auto">
              <a:xfrm>
                <a:off x="5596191" y="5675903"/>
                <a:ext cx="25400" cy="30163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23" name="işḷíḓè"/>
              <p:cNvSpPr/>
              <p:nvPr/>
            </p:nvSpPr>
            <p:spPr bwMode="auto">
              <a:xfrm>
                <a:off x="5596191" y="5733053"/>
                <a:ext cx="25400" cy="149225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24" name="ïSḷîḋé"/>
              <p:cNvSpPr/>
              <p:nvPr/>
            </p:nvSpPr>
            <p:spPr bwMode="auto">
              <a:xfrm>
                <a:off x="5645403" y="5733053"/>
                <a:ext cx="136525" cy="149225"/>
              </a:xfrm>
              <a:custGeom>
                <a:avLst/>
                <a:gdLst>
                  <a:gd name="T0" fmla="*/ 42 w 74"/>
                  <a:gd name="T1" fmla="*/ 50 h 81"/>
                  <a:gd name="T2" fmla="*/ 37 w 74"/>
                  <a:gd name="T3" fmla="*/ 65 h 81"/>
                  <a:gd name="T4" fmla="*/ 32 w 74"/>
                  <a:gd name="T5" fmla="*/ 49 h 81"/>
                  <a:gd name="T6" fmla="*/ 14 w 74"/>
                  <a:gd name="T7" fmla="*/ 0 h 81"/>
                  <a:gd name="T8" fmla="*/ 0 w 74"/>
                  <a:gd name="T9" fmla="*/ 0 h 81"/>
                  <a:gd name="T10" fmla="*/ 31 w 74"/>
                  <a:gd name="T11" fmla="*/ 81 h 81"/>
                  <a:gd name="T12" fmla="*/ 44 w 74"/>
                  <a:gd name="T13" fmla="*/ 81 h 81"/>
                  <a:gd name="T14" fmla="*/ 74 w 74"/>
                  <a:gd name="T15" fmla="*/ 0 h 81"/>
                  <a:gd name="T16" fmla="*/ 60 w 74"/>
                  <a:gd name="T17" fmla="*/ 0 h 81"/>
                  <a:gd name="T18" fmla="*/ 42 w 74"/>
                  <a:gd name="T19" fmla="*/ 50 h 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74" h="81">
                    <a:moveTo>
                      <a:pt x="42" y="50"/>
                    </a:moveTo>
                    <a:cubicBezTo>
                      <a:pt x="40" y="56"/>
                      <a:pt x="38" y="61"/>
                      <a:pt x="37" y="65"/>
                    </a:cubicBezTo>
                    <a:cubicBezTo>
                      <a:pt x="35" y="59"/>
                      <a:pt x="34" y="54"/>
                      <a:pt x="32" y="49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31" y="81"/>
                      <a:pt x="31" y="81"/>
                      <a:pt x="31" y="81"/>
                    </a:cubicBezTo>
                    <a:cubicBezTo>
                      <a:pt x="44" y="81"/>
                      <a:pt x="44" y="81"/>
                      <a:pt x="44" y="81"/>
                    </a:cubicBezTo>
                    <a:cubicBezTo>
                      <a:pt x="74" y="0"/>
                      <a:pt x="74" y="0"/>
                      <a:pt x="74" y="0"/>
                    </a:cubicBezTo>
                    <a:cubicBezTo>
                      <a:pt x="60" y="0"/>
                      <a:pt x="60" y="0"/>
                      <a:pt x="60" y="0"/>
                    </a:cubicBezTo>
                    <a:lnTo>
                      <a:pt x="42" y="5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25" name="išḷiḓé"/>
              <p:cNvSpPr/>
              <p:nvPr/>
            </p:nvSpPr>
            <p:spPr bwMode="auto">
              <a:xfrm>
                <a:off x="5796216" y="5729878"/>
                <a:ext cx="138113" cy="157163"/>
              </a:xfrm>
              <a:custGeom>
                <a:avLst/>
                <a:gdLst>
                  <a:gd name="T0" fmla="*/ 38 w 75"/>
                  <a:gd name="T1" fmla="*/ 0 h 85"/>
                  <a:gd name="T2" fmla="*/ 10 w 75"/>
                  <a:gd name="T3" fmla="*/ 12 h 85"/>
                  <a:gd name="T4" fmla="*/ 0 w 75"/>
                  <a:gd name="T5" fmla="*/ 43 h 85"/>
                  <a:gd name="T6" fmla="*/ 10 w 75"/>
                  <a:gd name="T7" fmla="*/ 74 h 85"/>
                  <a:gd name="T8" fmla="*/ 39 w 75"/>
                  <a:gd name="T9" fmla="*/ 85 h 85"/>
                  <a:gd name="T10" fmla="*/ 62 w 75"/>
                  <a:gd name="T11" fmla="*/ 78 h 85"/>
                  <a:gd name="T12" fmla="*/ 74 w 75"/>
                  <a:gd name="T13" fmla="*/ 59 h 85"/>
                  <a:gd name="T14" fmla="*/ 60 w 75"/>
                  <a:gd name="T15" fmla="*/ 57 h 85"/>
                  <a:gd name="T16" fmla="*/ 52 w 75"/>
                  <a:gd name="T17" fmla="*/ 70 h 85"/>
                  <a:gd name="T18" fmla="*/ 39 w 75"/>
                  <a:gd name="T19" fmla="*/ 74 h 85"/>
                  <a:gd name="T20" fmla="*/ 22 w 75"/>
                  <a:gd name="T21" fmla="*/ 67 h 85"/>
                  <a:gd name="T22" fmla="*/ 14 w 75"/>
                  <a:gd name="T23" fmla="*/ 46 h 85"/>
                  <a:gd name="T24" fmla="*/ 75 w 75"/>
                  <a:gd name="T25" fmla="*/ 46 h 85"/>
                  <a:gd name="T26" fmla="*/ 75 w 75"/>
                  <a:gd name="T27" fmla="*/ 43 h 85"/>
                  <a:gd name="T28" fmla="*/ 64 w 75"/>
                  <a:gd name="T29" fmla="*/ 11 h 85"/>
                  <a:gd name="T30" fmla="*/ 38 w 75"/>
                  <a:gd name="T31" fmla="*/ 0 h 85"/>
                  <a:gd name="T32" fmla="*/ 15 w 75"/>
                  <a:gd name="T33" fmla="*/ 35 h 85"/>
                  <a:gd name="T34" fmla="*/ 22 w 75"/>
                  <a:gd name="T35" fmla="*/ 18 h 85"/>
                  <a:gd name="T36" fmla="*/ 38 w 75"/>
                  <a:gd name="T37" fmla="*/ 12 h 85"/>
                  <a:gd name="T38" fmla="*/ 55 w 75"/>
                  <a:gd name="T39" fmla="*/ 20 h 85"/>
                  <a:gd name="T40" fmla="*/ 60 w 75"/>
                  <a:gd name="T41" fmla="*/ 35 h 85"/>
                  <a:gd name="T42" fmla="*/ 15 w 75"/>
                  <a:gd name="T43" fmla="*/ 35 h 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75" h="85">
                    <a:moveTo>
                      <a:pt x="38" y="0"/>
                    </a:moveTo>
                    <a:cubicBezTo>
                      <a:pt x="27" y="0"/>
                      <a:pt x="17" y="4"/>
                      <a:pt x="10" y="12"/>
                    </a:cubicBezTo>
                    <a:cubicBezTo>
                      <a:pt x="3" y="19"/>
                      <a:pt x="0" y="30"/>
                      <a:pt x="0" y="43"/>
                    </a:cubicBezTo>
                    <a:cubicBezTo>
                      <a:pt x="0" y="57"/>
                      <a:pt x="3" y="67"/>
                      <a:pt x="10" y="74"/>
                    </a:cubicBezTo>
                    <a:cubicBezTo>
                      <a:pt x="17" y="81"/>
                      <a:pt x="27" y="85"/>
                      <a:pt x="39" y="85"/>
                    </a:cubicBezTo>
                    <a:cubicBezTo>
                      <a:pt x="48" y="85"/>
                      <a:pt x="56" y="83"/>
                      <a:pt x="62" y="78"/>
                    </a:cubicBezTo>
                    <a:cubicBezTo>
                      <a:pt x="68" y="74"/>
                      <a:pt x="72" y="67"/>
                      <a:pt x="74" y="59"/>
                    </a:cubicBezTo>
                    <a:cubicBezTo>
                      <a:pt x="60" y="57"/>
                      <a:pt x="60" y="57"/>
                      <a:pt x="60" y="57"/>
                    </a:cubicBezTo>
                    <a:cubicBezTo>
                      <a:pt x="58" y="63"/>
                      <a:pt x="55" y="67"/>
                      <a:pt x="52" y="70"/>
                    </a:cubicBezTo>
                    <a:cubicBezTo>
                      <a:pt x="48" y="73"/>
                      <a:pt x="44" y="74"/>
                      <a:pt x="39" y="74"/>
                    </a:cubicBezTo>
                    <a:cubicBezTo>
                      <a:pt x="32" y="74"/>
                      <a:pt x="26" y="71"/>
                      <a:pt x="22" y="67"/>
                    </a:cubicBezTo>
                    <a:cubicBezTo>
                      <a:pt x="17" y="62"/>
                      <a:pt x="15" y="55"/>
                      <a:pt x="14" y="46"/>
                    </a:cubicBezTo>
                    <a:cubicBezTo>
                      <a:pt x="75" y="46"/>
                      <a:pt x="75" y="46"/>
                      <a:pt x="75" y="46"/>
                    </a:cubicBezTo>
                    <a:cubicBezTo>
                      <a:pt x="75" y="45"/>
                      <a:pt x="75" y="43"/>
                      <a:pt x="75" y="43"/>
                    </a:cubicBezTo>
                    <a:cubicBezTo>
                      <a:pt x="75" y="29"/>
                      <a:pt x="71" y="19"/>
                      <a:pt x="64" y="11"/>
                    </a:cubicBezTo>
                    <a:cubicBezTo>
                      <a:pt x="58" y="4"/>
                      <a:pt x="49" y="0"/>
                      <a:pt x="38" y="0"/>
                    </a:cubicBezTo>
                    <a:close/>
                    <a:moveTo>
                      <a:pt x="15" y="35"/>
                    </a:moveTo>
                    <a:cubicBezTo>
                      <a:pt x="15" y="28"/>
                      <a:pt x="18" y="22"/>
                      <a:pt x="22" y="18"/>
                    </a:cubicBezTo>
                    <a:cubicBezTo>
                      <a:pt x="26" y="14"/>
                      <a:pt x="32" y="12"/>
                      <a:pt x="38" y="12"/>
                    </a:cubicBezTo>
                    <a:cubicBezTo>
                      <a:pt x="45" y="12"/>
                      <a:pt x="51" y="14"/>
                      <a:pt x="55" y="20"/>
                    </a:cubicBezTo>
                    <a:cubicBezTo>
                      <a:pt x="58" y="23"/>
                      <a:pt x="60" y="28"/>
                      <a:pt x="60" y="35"/>
                    </a:cubicBezTo>
                    <a:lnTo>
                      <a:pt x="15" y="3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26" name="iṩľidè"/>
              <p:cNvSpPr/>
              <p:nvPr/>
            </p:nvSpPr>
            <p:spPr bwMode="auto">
              <a:xfrm>
                <a:off x="5964491" y="5729878"/>
                <a:ext cx="82550" cy="152400"/>
              </a:xfrm>
              <a:custGeom>
                <a:avLst/>
                <a:gdLst>
                  <a:gd name="T0" fmla="*/ 22 w 45"/>
                  <a:gd name="T1" fmla="*/ 3 h 83"/>
                  <a:gd name="T2" fmla="*/ 13 w 45"/>
                  <a:gd name="T3" fmla="*/ 14 h 83"/>
                  <a:gd name="T4" fmla="*/ 13 w 45"/>
                  <a:gd name="T5" fmla="*/ 2 h 83"/>
                  <a:gd name="T6" fmla="*/ 0 w 45"/>
                  <a:gd name="T7" fmla="*/ 2 h 83"/>
                  <a:gd name="T8" fmla="*/ 0 w 45"/>
                  <a:gd name="T9" fmla="*/ 83 h 83"/>
                  <a:gd name="T10" fmla="*/ 14 w 45"/>
                  <a:gd name="T11" fmla="*/ 83 h 83"/>
                  <a:gd name="T12" fmla="*/ 14 w 45"/>
                  <a:gd name="T13" fmla="*/ 41 h 83"/>
                  <a:gd name="T14" fmla="*/ 17 w 45"/>
                  <a:gd name="T15" fmla="*/ 25 h 83"/>
                  <a:gd name="T16" fmla="*/ 22 w 45"/>
                  <a:gd name="T17" fmla="*/ 17 h 83"/>
                  <a:gd name="T18" fmla="*/ 30 w 45"/>
                  <a:gd name="T19" fmla="*/ 14 h 83"/>
                  <a:gd name="T20" fmla="*/ 40 w 45"/>
                  <a:gd name="T21" fmla="*/ 17 h 83"/>
                  <a:gd name="T22" fmla="*/ 45 w 45"/>
                  <a:gd name="T23" fmla="*/ 5 h 83"/>
                  <a:gd name="T24" fmla="*/ 30 w 45"/>
                  <a:gd name="T25" fmla="*/ 0 h 83"/>
                  <a:gd name="T26" fmla="*/ 22 w 45"/>
                  <a:gd name="T27" fmla="*/ 3 h 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45" h="83">
                    <a:moveTo>
                      <a:pt x="22" y="3"/>
                    </a:moveTo>
                    <a:cubicBezTo>
                      <a:pt x="19" y="5"/>
                      <a:pt x="16" y="9"/>
                      <a:pt x="13" y="14"/>
                    </a:cubicBezTo>
                    <a:cubicBezTo>
                      <a:pt x="13" y="2"/>
                      <a:pt x="13" y="2"/>
                      <a:pt x="13" y="2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83"/>
                      <a:pt x="0" y="83"/>
                      <a:pt x="0" y="83"/>
                    </a:cubicBezTo>
                    <a:cubicBezTo>
                      <a:pt x="14" y="83"/>
                      <a:pt x="14" y="83"/>
                      <a:pt x="14" y="83"/>
                    </a:cubicBezTo>
                    <a:cubicBezTo>
                      <a:pt x="14" y="41"/>
                      <a:pt x="14" y="41"/>
                      <a:pt x="14" y="41"/>
                    </a:cubicBezTo>
                    <a:cubicBezTo>
                      <a:pt x="14" y="35"/>
                      <a:pt x="15" y="30"/>
                      <a:pt x="17" y="25"/>
                    </a:cubicBezTo>
                    <a:cubicBezTo>
                      <a:pt x="18" y="21"/>
                      <a:pt x="19" y="19"/>
                      <a:pt x="22" y="17"/>
                    </a:cubicBezTo>
                    <a:cubicBezTo>
                      <a:pt x="24" y="15"/>
                      <a:pt x="27" y="14"/>
                      <a:pt x="30" y="14"/>
                    </a:cubicBezTo>
                    <a:cubicBezTo>
                      <a:pt x="33" y="14"/>
                      <a:pt x="37" y="15"/>
                      <a:pt x="40" y="17"/>
                    </a:cubicBezTo>
                    <a:cubicBezTo>
                      <a:pt x="45" y="5"/>
                      <a:pt x="45" y="5"/>
                      <a:pt x="45" y="5"/>
                    </a:cubicBezTo>
                    <a:cubicBezTo>
                      <a:pt x="40" y="2"/>
                      <a:pt x="35" y="0"/>
                      <a:pt x="30" y="0"/>
                    </a:cubicBezTo>
                    <a:cubicBezTo>
                      <a:pt x="27" y="0"/>
                      <a:pt x="24" y="1"/>
                      <a:pt x="22" y="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27" name="îṡļiḑe"/>
              <p:cNvSpPr/>
              <p:nvPr/>
            </p:nvSpPr>
            <p:spPr bwMode="auto">
              <a:xfrm>
                <a:off x="6050216" y="5729878"/>
                <a:ext cx="125413" cy="157163"/>
              </a:xfrm>
              <a:custGeom>
                <a:avLst/>
                <a:gdLst>
                  <a:gd name="T0" fmla="*/ 55 w 68"/>
                  <a:gd name="T1" fmla="*/ 40 h 85"/>
                  <a:gd name="T2" fmla="*/ 35 w 68"/>
                  <a:gd name="T3" fmla="*/ 34 h 85"/>
                  <a:gd name="T4" fmla="*/ 23 w 68"/>
                  <a:gd name="T5" fmla="*/ 31 h 85"/>
                  <a:gd name="T6" fmla="*/ 18 w 68"/>
                  <a:gd name="T7" fmla="*/ 27 h 85"/>
                  <a:gd name="T8" fmla="*/ 16 w 68"/>
                  <a:gd name="T9" fmla="*/ 22 h 85"/>
                  <a:gd name="T10" fmla="*/ 20 w 68"/>
                  <a:gd name="T11" fmla="*/ 15 h 85"/>
                  <a:gd name="T12" fmla="*/ 34 w 68"/>
                  <a:gd name="T13" fmla="*/ 12 h 85"/>
                  <a:gd name="T14" fmla="*/ 46 w 68"/>
                  <a:gd name="T15" fmla="*/ 15 h 85"/>
                  <a:gd name="T16" fmla="*/ 51 w 68"/>
                  <a:gd name="T17" fmla="*/ 25 h 85"/>
                  <a:gd name="T18" fmla="*/ 65 w 68"/>
                  <a:gd name="T19" fmla="*/ 23 h 85"/>
                  <a:gd name="T20" fmla="*/ 60 w 68"/>
                  <a:gd name="T21" fmla="*/ 10 h 85"/>
                  <a:gd name="T22" fmla="*/ 49 w 68"/>
                  <a:gd name="T23" fmla="*/ 3 h 85"/>
                  <a:gd name="T24" fmla="*/ 33 w 68"/>
                  <a:gd name="T25" fmla="*/ 0 h 85"/>
                  <a:gd name="T26" fmla="*/ 21 w 68"/>
                  <a:gd name="T27" fmla="*/ 2 h 85"/>
                  <a:gd name="T28" fmla="*/ 12 w 68"/>
                  <a:gd name="T29" fmla="*/ 6 h 85"/>
                  <a:gd name="T30" fmla="*/ 5 w 68"/>
                  <a:gd name="T31" fmla="*/ 14 h 85"/>
                  <a:gd name="T32" fmla="*/ 3 w 68"/>
                  <a:gd name="T33" fmla="*/ 24 h 85"/>
                  <a:gd name="T34" fmla="*/ 6 w 68"/>
                  <a:gd name="T35" fmla="*/ 35 h 85"/>
                  <a:gd name="T36" fmla="*/ 15 w 68"/>
                  <a:gd name="T37" fmla="*/ 42 h 85"/>
                  <a:gd name="T38" fmla="*/ 36 w 68"/>
                  <a:gd name="T39" fmla="*/ 49 h 85"/>
                  <a:gd name="T40" fmla="*/ 50 w 68"/>
                  <a:gd name="T41" fmla="*/ 54 h 85"/>
                  <a:gd name="T42" fmla="*/ 54 w 68"/>
                  <a:gd name="T43" fmla="*/ 61 h 85"/>
                  <a:gd name="T44" fmla="*/ 49 w 68"/>
                  <a:gd name="T45" fmla="*/ 70 h 85"/>
                  <a:gd name="T46" fmla="*/ 35 w 68"/>
                  <a:gd name="T47" fmla="*/ 74 h 85"/>
                  <a:gd name="T48" fmla="*/ 20 w 68"/>
                  <a:gd name="T49" fmla="*/ 69 h 85"/>
                  <a:gd name="T50" fmla="*/ 14 w 68"/>
                  <a:gd name="T51" fmla="*/ 57 h 85"/>
                  <a:gd name="T52" fmla="*/ 0 w 68"/>
                  <a:gd name="T53" fmla="*/ 59 h 85"/>
                  <a:gd name="T54" fmla="*/ 11 w 68"/>
                  <a:gd name="T55" fmla="*/ 79 h 85"/>
                  <a:gd name="T56" fmla="*/ 35 w 68"/>
                  <a:gd name="T57" fmla="*/ 85 h 85"/>
                  <a:gd name="T58" fmla="*/ 52 w 68"/>
                  <a:gd name="T59" fmla="*/ 82 h 85"/>
                  <a:gd name="T60" fmla="*/ 64 w 68"/>
                  <a:gd name="T61" fmla="*/ 72 h 85"/>
                  <a:gd name="T62" fmla="*/ 68 w 68"/>
                  <a:gd name="T63" fmla="*/ 59 h 85"/>
                  <a:gd name="T64" fmla="*/ 65 w 68"/>
                  <a:gd name="T65" fmla="*/ 48 h 85"/>
                  <a:gd name="T66" fmla="*/ 55 w 68"/>
                  <a:gd name="T67" fmla="*/ 40 h 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68" h="85">
                    <a:moveTo>
                      <a:pt x="55" y="40"/>
                    </a:moveTo>
                    <a:cubicBezTo>
                      <a:pt x="52" y="39"/>
                      <a:pt x="45" y="37"/>
                      <a:pt x="35" y="34"/>
                    </a:cubicBezTo>
                    <a:cubicBezTo>
                      <a:pt x="28" y="32"/>
                      <a:pt x="24" y="31"/>
                      <a:pt x="23" y="31"/>
                    </a:cubicBezTo>
                    <a:cubicBezTo>
                      <a:pt x="20" y="30"/>
                      <a:pt x="19" y="28"/>
                      <a:pt x="18" y="27"/>
                    </a:cubicBezTo>
                    <a:cubicBezTo>
                      <a:pt x="16" y="25"/>
                      <a:pt x="16" y="24"/>
                      <a:pt x="16" y="22"/>
                    </a:cubicBezTo>
                    <a:cubicBezTo>
                      <a:pt x="16" y="19"/>
                      <a:pt x="17" y="17"/>
                      <a:pt x="20" y="15"/>
                    </a:cubicBezTo>
                    <a:cubicBezTo>
                      <a:pt x="23" y="13"/>
                      <a:pt x="27" y="12"/>
                      <a:pt x="34" y="12"/>
                    </a:cubicBezTo>
                    <a:cubicBezTo>
                      <a:pt x="39" y="12"/>
                      <a:pt x="43" y="13"/>
                      <a:pt x="46" y="15"/>
                    </a:cubicBezTo>
                    <a:cubicBezTo>
                      <a:pt x="49" y="17"/>
                      <a:pt x="51" y="21"/>
                      <a:pt x="51" y="25"/>
                    </a:cubicBezTo>
                    <a:cubicBezTo>
                      <a:pt x="65" y="23"/>
                      <a:pt x="65" y="23"/>
                      <a:pt x="65" y="23"/>
                    </a:cubicBezTo>
                    <a:cubicBezTo>
                      <a:pt x="64" y="18"/>
                      <a:pt x="62" y="14"/>
                      <a:pt x="60" y="10"/>
                    </a:cubicBezTo>
                    <a:cubicBezTo>
                      <a:pt x="58" y="7"/>
                      <a:pt x="54" y="5"/>
                      <a:pt x="49" y="3"/>
                    </a:cubicBezTo>
                    <a:cubicBezTo>
                      <a:pt x="44" y="1"/>
                      <a:pt x="39" y="0"/>
                      <a:pt x="33" y="0"/>
                    </a:cubicBezTo>
                    <a:cubicBezTo>
                      <a:pt x="28" y="0"/>
                      <a:pt x="24" y="1"/>
                      <a:pt x="21" y="2"/>
                    </a:cubicBezTo>
                    <a:cubicBezTo>
                      <a:pt x="17" y="3"/>
                      <a:pt x="14" y="4"/>
                      <a:pt x="12" y="6"/>
                    </a:cubicBezTo>
                    <a:cubicBezTo>
                      <a:pt x="9" y="8"/>
                      <a:pt x="7" y="10"/>
                      <a:pt x="5" y="14"/>
                    </a:cubicBezTo>
                    <a:cubicBezTo>
                      <a:pt x="3" y="17"/>
                      <a:pt x="3" y="20"/>
                      <a:pt x="3" y="24"/>
                    </a:cubicBezTo>
                    <a:cubicBezTo>
                      <a:pt x="3" y="28"/>
                      <a:pt x="4" y="31"/>
                      <a:pt x="6" y="35"/>
                    </a:cubicBezTo>
                    <a:cubicBezTo>
                      <a:pt x="8" y="38"/>
                      <a:pt x="11" y="40"/>
                      <a:pt x="15" y="42"/>
                    </a:cubicBezTo>
                    <a:cubicBezTo>
                      <a:pt x="18" y="44"/>
                      <a:pt x="25" y="46"/>
                      <a:pt x="36" y="49"/>
                    </a:cubicBezTo>
                    <a:cubicBezTo>
                      <a:pt x="43" y="51"/>
                      <a:pt x="48" y="52"/>
                      <a:pt x="50" y="54"/>
                    </a:cubicBezTo>
                    <a:cubicBezTo>
                      <a:pt x="52" y="55"/>
                      <a:pt x="54" y="58"/>
                      <a:pt x="54" y="61"/>
                    </a:cubicBezTo>
                    <a:cubicBezTo>
                      <a:pt x="54" y="64"/>
                      <a:pt x="52" y="67"/>
                      <a:pt x="49" y="70"/>
                    </a:cubicBezTo>
                    <a:cubicBezTo>
                      <a:pt x="46" y="73"/>
                      <a:pt x="41" y="74"/>
                      <a:pt x="35" y="74"/>
                    </a:cubicBezTo>
                    <a:cubicBezTo>
                      <a:pt x="29" y="74"/>
                      <a:pt x="24" y="72"/>
                      <a:pt x="20" y="69"/>
                    </a:cubicBezTo>
                    <a:cubicBezTo>
                      <a:pt x="17" y="67"/>
                      <a:pt x="15" y="62"/>
                      <a:pt x="14" y="57"/>
                    </a:cubicBezTo>
                    <a:cubicBezTo>
                      <a:pt x="0" y="59"/>
                      <a:pt x="0" y="59"/>
                      <a:pt x="0" y="59"/>
                    </a:cubicBezTo>
                    <a:cubicBezTo>
                      <a:pt x="2" y="68"/>
                      <a:pt x="5" y="74"/>
                      <a:pt x="11" y="79"/>
                    </a:cubicBezTo>
                    <a:cubicBezTo>
                      <a:pt x="16" y="83"/>
                      <a:pt x="24" y="85"/>
                      <a:pt x="35" y="85"/>
                    </a:cubicBezTo>
                    <a:cubicBezTo>
                      <a:pt x="41" y="85"/>
                      <a:pt x="47" y="84"/>
                      <a:pt x="52" y="82"/>
                    </a:cubicBezTo>
                    <a:cubicBezTo>
                      <a:pt x="57" y="80"/>
                      <a:pt x="61" y="76"/>
                      <a:pt x="64" y="72"/>
                    </a:cubicBezTo>
                    <a:cubicBezTo>
                      <a:pt x="66" y="68"/>
                      <a:pt x="68" y="64"/>
                      <a:pt x="68" y="59"/>
                    </a:cubicBezTo>
                    <a:cubicBezTo>
                      <a:pt x="68" y="55"/>
                      <a:pt x="67" y="51"/>
                      <a:pt x="65" y="48"/>
                    </a:cubicBezTo>
                    <a:cubicBezTo>
                      <a:pt x="62" y="45"/>
                      <a:pt x="59" y="42"/>
                      <a:pt x="55" y="4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28" name="ïśļíḓe"/>
              <p:cNvSpPr/>
              <p:nvPr/>
            </p:nvSpPr>
            <p:spPr bwMode="auto">
              <a:xfrm>
                <a:off x="6205791" y="5675903"/>
                <a:ext cx="25400" cy="30163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29" name="îṡľîdè"/>
              <p:cNvSpPr/>
              <p:nvPr/>
            </p:nvSpPr>
            <p:spPr bwMode="auto">
              <a:xfrm>
                <a:off x="6205791" y="5733053"/>
                <a:ext cx="25400" cy="149225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30" name="îś1iḋê"/>
              <p:cNvSpPr/>
              <p:nvPr/>
            </p:nvSpPr>
            <p:spPr bwMode="auto">
              <a:xfrm>
                <a:off x="6255003" y="5680665"/>
                <a:ext cx="74613" cy="203200"/>
              </a:xfrm>
              <a:custGeom>
                <a:avLst/>
                <a:gdLst>
                  <a:gd name="T0" fmla="*/ 32 w 40"/>
                  <a:gd name="T1" fmla="*/ 98 h 110"/>
                  <a:gd name="T2" fmla="*/ 27 w 40"/>
                  <a:gd name="T3" fmla="*/ 97 h 110"/>
                  <a:gd name="T4" fmla="*/ 25 w 40"/>
                  <a:gd name="T5" fmla="*/ 94 h 110"/>
                  <a:gd name="T6" fmla="*/ 24 w 40"/>
                  <a:gd name="T7" fmla="*/ 86 h 110"/>
                  <a:gd name="T8" fmla="*/ 24 w 40"/>
                  <a:gd name="T9" fmla="*/ 39 h 110"/>
                  <a:gd name="T10" fmla="*/ 38 w 40"/>
                  <a:gd name="T11" fmla="*/ 39 h 110"/>
                  <a:gd name="T12" fmla="*/ 38 w 40"/>
                  <a:gd name="T13" fmla="*/ 28 h 110"/>
                  <a:gd name="T14" fmla="*/ 24 w 40"/>
                  <a:gd name="T15" fmla="*/ 28 h 110"/>
                  <a:gd name="T16" fmla="*/ 24 w 40"/>
                  <a:gd name="T17" fmla="*/ 0 h 110"/>
                  <a:gd name="T18" fmla="*/ 11 w 40"/>
                  <a:gd name="T19" fmla="*/ 8 h 110"/>
                  <a:gd name="T20" fmla="*/ 11 w 40"/>
                  <a:gd name="T21" fmla="*/ 28 h 110"/>
                  <a:gd name="T22" fmla="*/ 0 w 40"/>
                  <a:gd name="T23" fmla="*/ 28 h 110"/>
                  <a:gd name="T24" fmla="*/ 0 w 40"/>
                  <a:gd name="T25" fmla="*/ 39 h 110"/>
                  <a:gd name="T26" fmla="*/ 11 w 40"/>
                  <a:gd name="T27" fmla="*/ 39 h 110"/>
                  <a:gd name="T28" fmla="*/ 11 w 40"/>
                  <a:gd name="T29" fmla="*/ 86 h 110"/>
                  <a:gd name="T30" fmla="*/ 12 w 40"/>
                  <a:gd name="T31" fmla="*/ 102 h 110"/>
                  <a:gd name="T32" fmla="*/ 18 w 40"/>
                  <a:gd name="T33" fmla="*/ 108 h 110"/>
                  <a:gd name="T34" fmla="*/ 30 w 40"/>
                  <a:gd name="T35" fmla="*/ 110 h 110"/>
                  <a:gd name="T36" fmla="*/ 40 w 40"/>
                  <a:gd name="T37" fmla="*/ 109 h 110"/>
                  <a:gd name="T38" fmla="*/ 38 w 40"/>
                  <a:gd name="T39" fmla="*/ 97 h 110"/>
                  <a:gd name="T40" fmla="*/ 32 w 40"/>
                  <a:gd name="T41" fmla="*/ 98 h 1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40" h="110">
                    <a:moveTo>
                      <a:pt x="32" y="98"/>
                    </a:moveTo>
                    <a:cubicBezTo>
                      <a:pt x="30" y="98"/>
                      <a:pt x="28" y="97"/>
                      <a:pt x="27" y="97"/>
                    </a:cubicBezTo>
                    <a:cubicBezTo>
                      <a:pt x="26" y="96"/>
                      <a:pt x="25" y="95"/>
                      <a:pt x="25" y="94"/>
                    </a:cubicBezTo>
                    <a:cubicBezTo>
                      <a:pt x="24" y="93"/>
                      <a:pt x="24" y="90"/>
                      <a:pt x="24" y="86"/>
                    </a:cubicBezTo>
                    <a:cubicBezTo>
                      <a:pt x="24" y="39"/>
                      <a:pt x="24" y="39"/>
                      <a:pt x="24" y="39"/>
                    </a:cubicBezTo>
                    <a:cubicBezTo>
                      <a:pt x="38" y="39"/>
                      <a:pt x="38" y="39"/>
                      <a:pt x="38" y="39"/>
                    </a:cubicBezTo>
                    <a:cubicBezTo>
                      <a:pt x="38" y="28"/>
                      <a:pt x="38" y="28"/>
                      <a:pt x="38" y="28"/>
                    </a:cubicBezTo>
                    <a:cubicBezTo>
                      <a:pt x="24" y="28"/>
                      <a:pt x="24" y="28"/>
                      <a:pt x="24" y="28"/>
                    </a:cubicBezTo>
                    <a:cubicBezTo>
                      <a:pt x="24" y="0"/>
                      <a:pt x="24" y="0"/>
                      <a:pt x="24" y="0"/>
                    </a:cubicBezTo>
                    <a:cubicBezTo>
                      <a:pt x="11" y="8"/>
                      <a:pt x="11" y="8"/>
                      <a:pt x="11" y="8"/>
                    </a:cubicBezTo>
                    <a:cubicBezTo>
                      <a:pt x="11" y="28"/>
                      <a:pt x="11" y="28"/>
                      <a:pt x="11" y="28"/>
                    </a:cubicBezTo>
                    <a:cubicBezTo>
                      <a:pt x="0" y="28"/>
                      <a:pt x="0" y="28"/>
                      <a:pt x="0" y="28"/>
                    </a:cubicBezTo>
                    <a:cubicBezTo>
                      <a:pt x="0" y="39"/>
                      <a:pt x="0" y="39"/>
                      <a:pt x="0" y="39"/>
                    </a:cubicBezTo>
                    <a:cubicBezTo>
                      <a:pt x="11" y="39"/>
                      <a:pt x="11" y="39"/>
                      <a:pt x="11" y="39"/>
                    </a:cubicBezTo>
                    <a:cubicBezTo>
                      <a:pt x="11" y="86"/>
                      <a:pt x="11" y="86"/>
                      <a:pt x="11" y="86"/>
                    </a:cubicBezTo>
                    <a:cubicBezTo>
                      <a:pt x="11" y="94"/>
                      <a:pt x="11" y="99"/>
                      <a:pt x="12" y="102"/>
                    </a:cubicBezTo>
                    <a:cubicBezTo>
                      <a:pt x="13" y="104"/>
                      <a:pt x="15" y="106"/>
                      <a:pt x="18" y="108"/>
                    </a:cubicBezTo>
                    <a:cubicBezTo>
                      <a:pt x="21" y="110"/>
                      <a:pt x="25" y="110"/>
                      <a:pt x="30" y="110"/>
                    </a:cubicBezTo>
                    <a:cubicBezTo>
                      <a:pt x="33" y="110"/>
                      <a:pt x="36" y="110"/>
                      <a:pt x="40" y="109"/>
                    </a:cubicBezTo>
                    <a:cubicBezTo>
                      <a:pt x="38" y="97"/>
                      <a:pt x="38" y="97"/>
                      <a:pt x="38" y="97"/>
                    </a:cubicBezTo>
                    <a:cubicBezTo>
                      <a:pt x="36" y="97"/>
                      <a:pt x="34" y="98"/>
                      <a:pt x="32" y="9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31" name="išľîḋê"/>
              <p:cNvSpPr/>
              <p:nvPr/>
            </p:nvSpPr>
            <p:spPr bwMode="auto">
              <a:xfrm>
                <a:off x="6335966" y="5733053"/>
                <a:ext cx="136525" cy="211138"/>
              </a:xfrm>
              <a:custGeom>
                <a:avLst/>
                <a:gdLst>
                  <a:gd name="T0" fmla="*/ 43 w 74"/>
                  <a:gd name="T1" fmla="*/ 47 h 114"/>
                  <a:gd name="T2" fmla="*/ 37 w 74"/>
                  <a:gd name="T3" fmla="*/ 66 h 114"/>
                  <a:gd name="T4" fmla="*/ 32 w 74"/>
                  <a:gd name="T5" fmla="*/ 47 h 114"/>
                  <a:gd name="T6" fmla="*/ 15 w 74"/>
                  <a:gd name="T7" fmla="*/ 0 h 114"/>
                  <a:gd name="T8" fmla="*/ 0 w 74"/>
                  <a:gd name="T9" fmla="*/ 0 h 114"/>
                  <a:gd name="T10" fmla="*/ 31 w 74"/>
                  <a:gd name="T11" fmla="*/ 81 h 114"/>
                  <a:gd name="T12" fmla="*/ 29 w 74"/>
                  <a:gd name="T13" fmla="*/ 85 h 114"/>
                  <a:gd name="T14" fmla="*/ 25 w 74"/>
                  <a:gd name="T15" fmla="*/ 95 h 114"/>
                  <a:gd name="T16" fmla="*/ 21 w 74"/>
                  <a:gd name="T17" fmla="*/ 99 h 114"/>
                  <a:gd name="T18" fmla="*/ 13 w 74"/>
                  <a:gd name="T19" fmla="*/ 101 h 114"/>
                  <a:gd name="T20" fmla="*/ 5 w 74"/>
                  <a:gd name="T21" fmla="*/ 100 h 114"/>
                  <a:gd name="T22" fmla="*/ 7 w 74"/>
                  <a:gd name="T23" fmla="*/ 113 h 114"/>
                  <a:gd name="T24" fmla="*/ 16 w 74"/>
                  <a:gd name="T25" fmla="*/ 114 h 114"/>
                  <a:gd name="T26" fmla="*/ 27 w 74"/>
                  <a:gd name="T27" fmla="*/ 111 h 114"/>
                  <a:gd name="T28" fmla="*/ 36 w 74"/>
                  <a:gd name="T29" fmla="*/ 101 h 114"/>
                  <a:gd name="T30" fmla="*/ 43 w 74"/>
                  <a:gd name="T31" fmla="*/ 83 h 114"/>
                  <a:gd name="T32" fmla="*/ 74 w 74"/>
                  <a:gd name="T33" fmla="*/ 0 h 114"/>
                  <a:gd name="T34" fmla="*/ 60 w 74"/>
                  <a:gd name="T35" fmla="*/ 0 h 114"/>
                  <a:gd name="T36" fmla="*/ 43 w 74"/>
                  <a:gd name="T37" fmla="*/ 47 h 1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74" h="114">
                    <a:moveTo>
                      <a:pt x="43" y="47"/>
                    </a:moveTo>
                    <a:cubicBezTo>
                      <a:pt x="41" y="53"/>
                      <a:pt x="39" y="60"/>
                      <a:pt x="37" y="66"/>
                    </a:cubicBezTo>
                    <a:cubicBezTo>
                      <a:pt x="36" y="59"/>
                      <a:pt x="34" y="53"/>
                      <a:pt x="32" y="47"/>
                    </a:cubicBezTo>
                    <a:cubicBezTo>
                      <a:pt x="15" y="0"/>
                      <a:pt x="15" y="0"/>
                      <a:pt x="15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31" y="81"/>
                      <a:pt x="31" y="81"/>
                      <a:pt x="31" y="81"/>
                    </a:cubicBezTo>
                    <a:cubicBezTo>
                      <a:pt x="30" y="83"/>
                      <a:pt x="30" y="84"/>
                      <a:pt x="29" y="85"/>
                    </a:cubicBezTo>
                    <a:cubicBezTo>
                      <a:pt x="27" y="90"/>
                      <a:pt x="26" y="94"/>
                      <a:pt x="25" y="95"/>
                    </a:cubicBezTo>
                    <a:cubicBezTo>
                      <a:pt x="24" y="97"/>
                      <a:pt x="22" y="98"/>
                      <a:pt x="21" y="99"/>
                    </a:cubicBezTo>
                    <a:cubicBezTo>
                      <a:pt x="19" y="100"/>
                      <a:pt x="16" y="101"/>
                      <a:pt x="13" y="101"/>
                    </a:cubicBezTo>
                    <a:cubicBezTo>
                      <a:pt x="11" y="101"/>
                      <a:pt x="8" y="101"/>
                      <a:pt x="5" y="100"/>
                    </a:cubicBezTo>
                    <a:cubicBezTo>
                      <a:pt x="7" y="113"/>
                      <a:pt x="7" y="113"/>
                      <a:pt x="7" y="113"/>
                    </a:cubicBezTo>
                    <a:cubicBezTo>
                      <a:pt x="10" y="114"/>
                      <a:pt x="13" y="114"/>
                      <a:pt x="16" y="114"/>
                    </a:cubicBezTo>
                    <a:cubicBezTo>
                      <a:pt x="20" y="114"/>
                      <a:pt x="24" y="113"/>
                      <a:pt x="27" y="111"/>
                    </a:cubicBezTo>
                    <a:cubicBezTo>
                      <a:pt x="30" y="109"/>
                      <a:pt x="33" y="106"/>
                      <a:pt x="36" y="101"/>
                    </a:cubicBezTo>
                    <a:cubicBezTo>
                      <a:pt x="37" y="98"/>
                      <a:pt x="40" y="92"/>
                      <a:pt x="43" y="83"/>
                    </a:cubicBezTo>
                    <a:cubicBezTo>
                      <a:pt x="74" y="0"/>
                      <a:pt x="74" y="0"/>
                      <a:pt x="74" y="0"/>
                    </a:cubicBezTo>
                    <a:cubicBezTo>
                      <a:pt x="60" y="0"/>
                      <a:pt x="60" y="0"/>
                      <a:pt x="60" y="0"/>
                    </a:cubicBezTo>
                    <a:lnTo>
                      <a:pt x="43" y="4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32" name="íSḷiḑè"/>
              <p:cNvSpPr/>
              <p:nvPr/>
            </p:nvSpPr>
            <p:spPr bwMode="auto">
              <a:xfrm>
                <a:off x="6564566" y="5729878"/>
                <a:ext cx="142875" cy="157163"/>
              </a:xfrm>
              <a:custGeom>
                <a:avLst/>
                <a:gdLst>
                  <a:gd name="T0" fmla="*/ 38 w 77"/>
                  <a:gd name="T1" fmla="*/ 0 h 85"/>
                  <a:gd name="T2" fmla="*/ 13 w 77"/>
                  <a:gd name="T3" fmla="*/ 9 h 85"/>
                  <a:gd name="T4" fmla="*/ 0 w 77"/>
                  <a:gd name="T5" fmla="*/ 43 h 85"/>
                  <a:gd name="T6" fmla="*/ 11 w 77"/>
                  <a:gd name="T7" fmla="*/ 74 h 85"/>
                  <a:gd name="T8" fmla="*/ 38 w 77"/>
                  <a:gd name="T9" fmla="*/ 85 h 85"/>
                  <a:gd name="T10" fmla="*/ 58 w 77"/>
                  <a:gd name="T11" fmla="*/ 80 h 85"/>
                  <a:gd name="T12" fmla="*/ 72 w 77"/>
                  <a:gd name="T13" fmla="*/ 66 h 85"/>
                  <a:gd name="T14" fmla="*/ 77 w 77"/>
                  <a:gd name="T15" fmla="*/ 42 h 85"/>
                  <a:gd name="T16" fmla="*/ 66 w 77"/>
                  <a:gd name="T17" fmla="*/ 11 h 85"/>
                  <a:gd name="T18" fmla="*/ 38 w 77"/>
                  <a:gd name="T19" fmla="*/ 0 h 85"/>
                  <a:gd name="T20" fmla="*/ 56 w 77"/>
                  <a:gd name="T21" fmla="*/ 66 h 85"/>
                  <a:gd name="T22" fmla="*/ 38 w 77"/>
                  <a:gd name="T23" fmla="*/ 74 h 85"/>
                  <a:gd name="T24" fmla="*/ 21 w 77"/>
                  <a:gd name="T25" fmla="*/ 66 h 85"/>
                  <a:gd name="T26" fmla="*/ 15 w 77"/>
                  <a:gd name="T27" fmla="*/ 43 h 85"/>
                  <a:gd name="T28" fmla="*/ 21 w 77"/>
                  <a:gd name="T29" fmla="*/ 19 h 85"/>
                  <a:gd name="T30" fmla="*/ 38 w 77"/>
                  <a:gd name="T31" fmla="*/ 12 h 85"/>
                  <a:gd name="T32" fmla="*/ 56 w 77"/>
                  <a:gd name="T33" fmla="*/ 19 h 85"/>
                  <a:gd name="T34" fmla="*/ 62 w 77"/>
                  <a:gd name="T35" fmla="*/ 42 h 85"/>
                  <a:gd name="T36" fmla="*/ 56 w 77"/>
                  <a:gd name="T37" fmla="*/ 66 h 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77" h="85">
                    <a:moveTo>
                      <a:pt x="38" y="0"/>
                    </a:moveTo>
                    <a:cubicBezTo>
                      <a:pt x="28" y="0"/>
                      <a:pt x="20" y="3"/>
                      <a:pt x="13" y="9"/>
                    </a:cubicBezTo>
                    <a:cubicBezTo>
                      <a:pt x="5" y="16"/>
                      <a:pt x="0" y="28"/>
                      <a:pt x="0" y="43"/>
                    </a:cubicBezTo>
                    <a:cubicBezTo>
                      <a:pt x="0" y="56"/>
                      <a:pt x="4" y="67"/>
                      <a:pt x="11" y="74"/>
                    </a:cubicBezTo>
                    <a:cubicBezTo>
                      <a:pt x="18" y="82"/>
                      <a:pt x="27" y="85"/>
                      <a:pt x="38" y="85"/>
                    </a:cubicBezTo>
                    <a:cubicBezTo>
                      <a:pt x="46" y="85"/>
                      <a:pt x="52" y="84"/>
                      <a:pt x="58" y="80"/>
                    </a:cubicBezTo>
                    <a:cubicBezTo>
                      <a:pt x="64" y="77"/>
                      <a:pt x="69" y="72"/>
                      <a:pt x="72" y="66"/>
                    </a:cubicBezTo>
                    <a:cubicBezTo>
                      <a:pt x="75" y="60"/>
                      <a:pt x="77" y="52"/>
                      <a:pt x="77" y="42"/>
                    </a:cubicBezTo>
                    <a:cubicBezTo>
                      <a:pt x="77" y="29"/>
                      <a:pt x="73" y="19"/>
                      <a:pt x="66" y="11"/>
                    </a:cubicBezTo>
                    <a:cubicBezTo>
                      <a:pt x="59" y="4"/>
                      <a:pt x="50" y="0"/>
                      <a:pt x="38" y="0"/>
                    </a:cubicBezTo>
                    <a:close/>
                    <a:moveTo>
                      <a:pt x="56" y="66"/>
                    </a:moveTo>
                    <a:cubicBezTo>
                      <a:pt x="51" y="71"/>
                      <a:pt x="45" y="74"/>
                      <a:pt x="38" y="74"/>
                    </a:cubicBezTo>
                    <a:cubicBezTo>
                      <a:pt x="32" y="74"/>
                      <a:pt x="26" y="71"/>
                      <a:pt x="21" y="66"/>
                    </a:cubicBezTo>
                    <a:cubicBezTo>
                      <a:pt x="17" y="61"/>
                      <a:pt x="15" y="53"/>
                      <a:pt x="15" y="43"/>
                    </a:cubicBezTo>
                    <a:cubicBezTo>
                      <a:pt x="15" y="32"/>
                      <a:pt x="17" y="24"/>
                      <a:pt x="21" y="19"/>
                    </a:cubicBezTo>
                    <a:cubicBezTo>
                      <a:pt x="26" y="14"/>
                      <a:pt x="32" y="12"/>
                      <a:pt x="38" y="12"/>
                    </a:cubicBezTo>
                    <a:cubicBezTo>
                      <a:pt x="45" y="12"/>
                      <a:pt x="51" y="14"/>
                      <a:pt x="56" y="19"/>
                    </a:cubicBezTo>
                    <a:cubicBezTo>
                      <a:pt x="60" y="25"/>
                      <a:pt x="62" y="32"/>
                      <a:pt x="62" y="42"/>
                    </a:cubicBezTo>
                    <a:cubicBezTo>
                      <a:pt x="62" y="53"/>
                      <a:pt x="60" y="61"/>
                      <a:pt x="56" y="6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33" name="ïṣľïḑe"/>
              <p:cNvSpPr/>
              <p:nvPr/>
            </p:nvSpPr>
            <p:spPr bwMode="auto">
              <a:xfrm>
                <a:off x="6720141" y="5672728"/>
                <a:ext cx="85725" cy="209550"/>
              </a:xfrm>
              <a:custGeom>
                <a:avLst/>
                <a:gdLst>
                  <a:gd name="T0" fmla="*/ 20 w 47"/>
                  <a:gd name="T1" fmla="*/ 4 h 114"/>
                  <a:gd name="T2" fmla="*/ 13 w 47"/>
                  <a:gd name="T3" fmla="*/ 12 h 114"/>
                  <a:gd name="T4" fmla="*/ 12 w 47"/>
                  <a:gd name="T5" fmla="*/ 24 h 114"/>
                  <a:gd name="T6" fmla="*/ 12 w 47"/>
                  <a:gd name="T7" fmla="*/ 33 h 114"/>
                  <a:gd name="T8" fmla="*/ 0 w 47"/>
                  <a:gd name="T9" fmla="*/ 33 h 114"/>
                  <a:gd name="T10" fmla="*/ 0 w 47"/>
                  <a:gd name="T11" fmla="*/ 44 h 114"/>
                  <a:gd name="T12" fmla="*/ 12 w 47"/>
                  <a:gd name="T13" fmla="*/ 44 h 114"/>
                  <a:gd name="T14" fmla="*/ 12 w 47"/>
                  <a:gd name="T15" fmla="*/ 114 h 114"/>
                  <a:gd name="T16" fmla="*/ 26 w 47"/>
                  <a:gd name="T17" fmla="*/ 114 h 114"/>
                  <a:gd name="T18" fmla="*/ 26 w 47"/>
                  <a:gd name="T19" fmla="*/ 44 h 114"/>
                  <a:gd name="T20" fmla="*/ 41 w 47"/>
                  <a:gd name="T21" fmla="*/ 44 h 114"/>
                  <a:gd name="T22" fmla="*/ 41 w 47"/>
                  <a:gd name="T23" fmla="*/ 33 h 114"/>
                  <a:gd name="T24" fmla="*/ 26 w 47"/>
                  <a:gd name="T25" fmla="*/ 33 h 114"/>
                  <a:gd name="T26" fmla="*/ 26 w 47"/>
                  <a:gd name="T27" fmla="*/ 26 h 114"/>
                  <a:gd name="T28" fmla="*/ 28 w 47"/>
                  <a:gd name="T29" fmla="*/ 16 h 114"/>
                  <a:gd name="T30" fmla="*/ 37 w 47"/>
                  <a:gd name="T31" fmla="*/ 13 h 114"/>
                  <a:gd name="T32" fmla="*/ 45 w 47"/>
                  <a:gd name="T33" fmla="*/ 14 h 114"/>
                  <a:gd name="T34" fmla="*/ 47 w 47"/>
                  <a:gd name="T35" fmla="*/ 2 h 114"/>
                  <a:gd name="T36" fmla="*/ 34 w 47"/>
                  <a:gd name="T37" fmla="*/ 0 h 114"/>
                  <a:gd name="T38" fmla="*/ 20 w 47"/>
                  <a:gd name="T39" fmla="*/ 4 h 1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47" h="114">
                    <a:moveTo>
                      <a:pt x="20" y="4"/>
                    </a:moveTo>
                    <a:cubicBezTo>
                      <a:pt x="17" y="6"/>
                      <a:pt x="15" y="9"/>
                      <a:pt x="13" y="12"/>
                    </a:cubicBezTo>
                    <a:cubicBezTo>
                      <a:pt x="12" y="15"/>
                      <a:pt x="12" y="19"/>
                      <a:pt x="12" y="24"/>
                    </a:cubicBezTo>
                    <a:cubicBezTo>
                      <a:pt x="12" y="33"/>
                      <a:pt x="12" y="33"/>
                      <a:pt x="12" y="33"/>
                    </a:cubicBezTo>
                    <a:cubicBezTo>
                      <a:pt x="0" y="33"/>
                      <a:pt x="0" y="33"/>
                      <a:pt x="0" y="33"/>
                    </a:cubicBezTo>
                    <a:cubicBezTo>
                      <a:pt x="0" y="44"/>
                      <a:pt x="0" y="44"/>
                      <a:pt x="0" y="44"/>
                    </a:cubicBezTo>
                    <a:cubicBezTo>
                      <a:pt x="12" y="44"/>
                      <a:pt x="12" y="44"/>
                      <a:pt x="12" y="44"/>
                    </a:cubicBezTo>
                    <a:cubicBezTo>
                      <a:pt x="12" y="114"/>
                      <a:pt x="12" y="114"/>
                      <a:pt x="12" y="114"/>
                    </a:cubicBezTo>
                    <a:cubicBezTo>
                      <a:pt x="26" y="114"/>
                      <a:pt x="26" y="114"/>
                      <a:pt x="26" y="114"/>
                    </a:cubicBezTo>
                    <a:cubicBezTo>
                      <a:pt x="26" y="44"/>
                      <a:pt x="26" y="44"/>
                      <a:pt x="26" y="44"/>
                    </a:cubicBezTo>
                    <a:cubicBezTo>
                      <a:pt x="41" y="44"/>
                      <a:pt x="41" y="44"/>
                      <a:pt x="41" y="44"/>
                    </a:cubicBezTo>
                    <a:cubicBezTo>
                      <a:pt x="41" y="33"/>
                      <a:pt x="41" y="33"/>
                      <a:pt x="41" y="33"/>
                    </a:cubicBezTo>
                    <a:cubicBezTo>
                      <a:pt x="26" y="33"/>
                      <a:pt x="26" y="33"/>
                      <a:pt x="26" y="33"/>
                    </a:cubicBezTo>
                    <a:cubicBezTo>
                      <a:pt x="26" y="26"/>
                      <a:pt x="26" y="26"/>
                      <a:pt x="26" y="26"/>
                    </a:cubicBezTo>
                    <a:cubicBezTo>
                      <a:pt x="26" y="21"/>
                      <a:pt x="27" y="17"/>
                      <a:pt x="28" y="16"/>
                    </a:cubicBezTo>
                    <a:cubicBezTo>
                      <a:pt x="30" y="14"/>
                      <a:pt x="33" y="13"/>
                      <a:pt x="37" y="13"/>
                    </a:cubicBezTo>
                    <a:cubicBezTo>
                      <a:pt x="40" y="13"/>
                      <a:pt x="42" y="13"/>
                      <a:pt x="45" y="14"/>
                    </a:cubicBezTo>
                    <a:cubicBezTo>
                      <a:pt x="47" y="2"/>
                      <a:pt x="47" y="2"/>
                      <a:pt x="47" y="2"/>
                    </a:cubicBezTo>
                    <a:cubicBezTo>
                      <a:pt x="43" y="1"/>
                      <a:pt x="38" y="0"/>
                      <a:pt x="34" y="0"/>
                    </a:cubicBezTo>
                    <a:cubicBezTo>
                      <a:pt x="28" y="0"/>
                      <a:pt x="24" y="1"/>
                      <a:pt x="20" y="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34" name="ïš1îḍè"/>
              <p:cNvSpPr/>
              <p:nvPr/>
            </p:nvSpPr>
            <p:spPr bwMode="auto">
              <a:xfrm>
                <a:off x="6890003" y="5672728"/>
                <a:ext cx="165100" cy="214313"/>
              </a:xfrm>
              <a:custGeom>
                <a:avLst/>
                <a:gdLst>
                  <a:gd name="T0" fmla="*/ 71 w 90"/>
                  <a:gd name="T1" fmla="*/ 55 h 116"/>
                  <a:gd name="T2" fmla="*/ 46 w 90"/>
                  <a:gd name="T3" fmla="*/ 48 h 116"/>
                  <a:gd name="T4" fmla="*/ 23 w 90"/>
                  <a:gd name="T5" fmla="*/ 40 h 116"/>
                  <a:gd name="T6" fmla="*/ 19 w 90"/>
                  <a:gd name="T7" fmla="*/ 30 h 116"/>
                  <a:gd name="T8" fmla="*/ 25 w 90"/>
                  <a:gd name="T9" fmla="*/ 18 h 116"/>
                  <a:gd name="T10" fmla="*/ 45 w 90"/>
                  <a:gd name="T11" fmla="*/ 13 h 116"/>
                  <a:gd name="T12" fmla="*/ 64 w 90"/>
                  <a:gd name="T13" fmla="*/ 19 h 116"/>
                  <a:gd name="T14" fmla="*/ 72 w 90"/>
                  <a:gd name="T15" fmla="*/ 35 h 116"/>
                  <a:gd name="T16" fmla="*/ 86 w 90"/>
                  <a:gd name="T17" fmla="*/ 34 h 116"/>
                  <a:gd name="T18" fmla="*/ 81 w 90"/>
                  <a:gd name="T19" fmla="*/ 16 h 116"/>
                  <a:gd name="T20" fmla="*/ 66 w 90"/>
                  <a:gd name="T21" fmla="*/ 4 h 116"/>
                  <a:gd name="T22" fmla="*/ 44 w 90"/>
                  <a:gd name="T23" fmla="*/ 0 h 116"/>
                  <a:gd name="T24" fmla="*/ 24 w 90"/>
                  <a:gd name="T25" fmla="*/ 4 h 116"/>
                  <a:gd name="T26" fmla="*/ 10 w 90"/>
                  <a:gd name="T27" fmla="*/ 15 h 116"/>
                  <a:gd name="T28" fmla="*/ 5 w 90"/>
                  <a:gd name="T29" fmla="*/ 31 h 116"/>
                  <a:gd name="T30" fmla="*/ 9 w 90"/>
                  <a:gd name="T31" fmla="*/ 45 h 116"/>
                  <a:gd name="T32" fmla="*/ 21 w 90"/>
                  <a:gd name="T33" fmla="*/ 56 h 116"/>
                  <a:gd name="T34" fmla="*/ 42 w 90"/>
                  <a:gd name="T35" fmla="*/ 63 h 116"/>
                  <a:gd name="T36" fmla="*/ 62 w 90"/>
                  <a:gd name="T37" fmla="*/ 68 h 116"/>
                  <a:gd name="T38" fmla="*/ 72 w 90"/>
                  <a:gd name="T39" fmla="*/ 75 h 116"/>
                  <a:gd name="T40" fmla="*/ 75 w 90"/>
                  <a:gd name="T41" fmla="*/ 84 h 116"/>
                  <a:gd name="T42" fmla="*/ 72 w 90"/>
                  <a:gd name="T43" fmla="*/ 93 h 116"/>
                  <a:gd name="T44" fmla="*/ 63 w 90"/>
                  <a:gd name="T45" fmla="*/ 100 h 116"/>
                  <a:gd name="T46" fmla="*/ 48 w 90"/>
                  <a:gd name="T47" fmla="*/ 103 h 116"/>
                  <a:gd name="T48" fmla="*/ 30 w 90"/>
                  <a:gd name="T49" fmla="*/ 100 h 116"/>
                  <a:gd name="T50" fmla="*/ 19 w 90"/>
                  <a:gd name="T51" fmla="*/ 91 h 116"/>
                  <a:gd name="T52" fmla="*/ 14 w 90"/>
                  <a:gd name="T53" fmla="*/ 77 h 116"/>
                  <a:gd name="T54" fmla="*/ 0 w 90"/>
                  <a:gd name="T55" fmla="*/ 78 h 116"/>
                  <a:gd name="T56" fmla="*/ 7 w 90"/>
                  <a:gd name="T57" fmla="*/ 98 h 116"/>
                  <a:gd name="T58" fmla="*/ 23 w 90"/>
                  <a:gd name="T59" fmla="*/ 112 h 116"/>
                  <a:gd name="T60" fmla="*/ 48 w 90"/>
                  <a:gd name="T61" fmla="*/ 116 h 116"/>
                  <a:gd name="T62" fmla="*/ 70 w 90"/>
                  <a:gd name="T63" fmla="*/ 112 h 116"/>
                  <a:gd name="T64" fmla="*/ 85 w 90"/>
                  <a:gd name="T65" fmla="*/ 100 h 116"/>
                  <a:gd name="T66" fmla="*/ 90 w 90"/>
                  <a:gd name="T67" fmla="*/ 83 h 116"/>
                  <a:gd name="T68" fmla="*/ 85 w 90"/>
                  <a:gd name="T69" fmla="*/ 67 h 116"/>
                  <a:gd name="T70" fmla="*/ 71 w 90"/>
                  <a:gd name="T71" fmla="*/ 55 h 1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90" h="116">
                    <a:moveTo>
                      <a:pt x="71" y="55"/>
                    </a:moveTo>
                    <a:cubicBezTo>
                      <a:pt x="66" y="53"/>
                      <a:pt x="58" y="51"/>
                      <a:pt x="46" y="48"/>
                    </a:cubicBezTo>
                    <a:cubicBezTo>
                      <a:pt x="34" y="45"/>
                      <a:pt x="26" y="43"/>
                      <a:pt x="23" y="40"/>
                    </a:cubicBezTo>
                    <a:cubicBezTo>
                      <a:pt x="21" y="38"/>
                      <a:pt x="19" y="34"/>
                      <a:pt x="19" y="30"/>
                    </a:cubicBezTo>
                    <a:cubicBezTo>
                      <a:pt x="19" y="26"/>
                      <a:pt x="21" y="22"/>
                      <a:pt x="25" y="18"/>
                    </a:cubicBezTo>
                    <a:cubicBezTo>
                      <a:pt x="29" y="15"/>
                      <a:pt x="36" y="13"/>
                      <a:pt x="45" y="13"/>
                    </a:cubicBezTo>
                    <a:cubicBezTo>
                      <a:pt x="53" y="13"/>
                      <a:pt x="60" y="15"/>
                      <a:pt x="64" y="19"/>
                    </a:cubicBezTo>
                    <a:cubicBezTo>
                      <a:pt x="69" y="22"/>
                      <a:pt x="71" y="28"/>
                      <a:pt x="72" y="35"/>
                    </a:cubicBezTo>
                    <a:cubicBezTo>
                      <a:pt x="86" y="34"/>
                      <a:pt x="86" y="34"/>
                      <a:pt x="86" y="34"/>
                    </a:cubicBezTo>
                    <a:cubicBezTo>
                      <a:pt x="86" y="27"/>
                      <a:pt x="84" y="21"/>
                      <a:pt x="81" y="16"/>
                    </a:cubicBezTo>
                    <a:cubicBezTo>
                      <a:pt x="77" y="11"/>
                      <a:pt x="73" y="7"/>
                      <a:pt x="66" y="4"/>
                    </a:cubicBezTo>
                    <a:cubicBezTo>
                      <a:pt x="60" y="2"/>
                      <a:pt x="53" y="0"/>
                      <a:pt x="44" y="0"/>
                    </a:cubicBezTo>
                    <a:cubicBezTo>
                      <a:pt x="37" y="0"/>
                      <a:pt x="30" y="1"/>
                      <a:pt x="24" y="4"/>
                    </a:cubicBezTo>
                    <a:cubicBezTo>
                      <a:pt x="17" y="7"/>
                      <a:pt x="13" y="10"/>
                      <a:pt x="10" y="15"/>
                    </a:cubicBezTo>
                    <a:cubicBezTo>
                      <a:pt x="6" y="20"/>
                      <a:pt x="5" y="25"/>
                      <a:pt x="5" y="31"/>
                    </a:cubicBezTo>
                    <a:cubicBezTo>
                      <a:pt x="5" y="36"/>
                      <a:pt x="6" y="41"/>
                      <a:pt x="9" y="45"/>
                    </a:cubicBezTo>
                    <a:cubicBezTo>
                      <a:pt x="11" y="49"/>
                      <a:pt x="15" y="53"/>
                      <a:pt x="21" y="56"/>
                    </a:cubicBezTo>
                    <a:cubicBezTo>
                      <a:pt x="25" y="58"/>
                      <a:pt x="32" y="60"/>
                      <a:pt x="42" y="63"/>
                    </a:cubicBezTo>
                    <a:cubicBezTo>
                      <a:pt x="53" y="65"/>
                      <a:pt x="59" y="67"/>
                      <a:pt x="62" y="68"/>
                    </a:cubicBezTo>
                    <a:cubicBezTo>
                      <a:pt x="67" y="70"/>
                      <a:pt x="70" y="72"/>
                      <a:pt x="72" y="75"/>
                    </a:cubicBezTo>
                    <a:cubicBezTo>
                      <a:pt x="74" y="77"/>
                      <a:pt x="75" y="80"/>
                      <a:pt x="75" y="84"/>
                    </a:cubicBezTo>
                    <a:cubicBezTo>
                      <a:pt x="75" y="87"/>
                      <a:pt x="74" y="91"/>
                      <a:pt x="72" y="93"/>
                    </a:cubicBezTo>
                    <a:cubicBezTo>
                      <a:pt x="70" y="96"/>
                      <a:pt x="67" y="99"/>
                      <a:pt x="63" y="100"/>
                    </a:cubicBezTo>
                    <a:cubicBezTo>
                      <a:pt x="58" y="102"/>
                      <a:pt x="53" y="103"/>
                      <a:pt x="48" y="103"/>
                    </a:cubicBezTo>
                    <a:cubicBezTo>
                      <a:pt x="41" y="103"/>
                      <a:pt x="35" y="102"/>
                      <a:pt x="30" y="100"/>
                    </a:cubicBezTo>
                    <a:cubicBezTo>
                      <a:pt x="25" y="97"/>
                      <a:pt x="22" y="94"/>
                      <a:pt x="19" y="91"/>
                    </a:cubicBezTo>
                    <a:cubicBezTo>
                      <a:pt x="17" y="87"/>
                      <a:pt x="15" y="83"/>
                      <a:pt x="14" y="77"/>
                    </a:cubicBezTo>
                    <a:cubicBezTo>
                      <a:pt x="0" y="78"/>
                      <a:pt x="0" y="78"/>
                      <a:pt x="0" y="78"/>
                    </a:cubicBezTo>
                    <a:cubicBezTo>
                      <a:pt x="1" y="86"/>
                      <a:pt x="3" y="93"/>
                      <a:pt x="7" y="98"/>
                    </a:cubicBezTo>
                    <a:cubicBezTo>
                      <a:pt x="11" y="104"/>
                      <a:pt x="16" y="109"/>
                      <a:pt x="23" y="112"/>
                    </a:cubicBezTo>
                    <a:cubicBezTo>
                      <a:pt x="30" y="115"/>
                      <a:pt x="38" y="116"/>
                      <a:pt x="48" y="116"/>
                    </a:cubicBezTo>
                    <a:cubicBezTo>
                      <a:pt x="56" y="116"/>
                      <a:pt x="64" y="115"/>
                      <a:pt x="70" y="112"/>
                    </a:cubicBezTo>
                    <a:cubicBezTo>
                      <a:pt x="76" y="109"/>
                      <a:pt x="81" y="105"/>
                      <a:pt x="85" y="100"/>
                    </a:cubicBezTo>
                    <a:cubicBezTo>
                      <a:pt x="88" y="94"/>
                      <a:pt x="90" y="89"/>
                      <a:pt x="90" y="83"/>
                    </a:cubicBezTo>
                    <a:cubicBezTo>
                      <a:pt x="90" y="77"/>
                      <a:pt x="88" y="71"/>
                      <a:pt x="85" y="67"/>
                    </a:cubicBezTo>
                    <a:cubicBezTo>
                      <a:pt x="82" y="62"/>
                      <a:pt x="77" y="58"/>
                      <a:pt x="71" y="5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35" name="iṥľïḍê"/>
              <p:cNvSpPr/>
              <p:nvPr/>
            </p:nvSpPr>
            <p:spPr bwMode="auto">
              <a:xfrm>
                <a:off x="7080503" y="5729878"/>
                <a:ext cx="131763" cy="157163"/>
              </a:xfrm>
              <a:custGeom>
                <a:avLst/>
                <a:gdLst>
                  <a:gd name="T0" fmla="*/ 50 w 71"/>
                  <a:gd name="T1" fmla="*/ 69 h 85"/>
                  <a:gd name="T2" fmla="*/ 37 w 71"/>
                  <a:gd name="T3" fmla="*/ 74 h 85"/>
                  <a:gd name="T4" fmla="*/ 21 w 71"/>
                  <a:gd name="T5" fmla="*/ 66 h 85"/>
                  <a:gd name="T6" fmla="*/ 14 w 71"/>
                  <a:gd name="T7" fmla="*/ 43 h 85"/>
                  <a:gd name="T8" fmla="*/ 21 w 71"/>
                  <a:gd name="T9" fmla="*/ 19 h 85"/>
                  <a:gd name="T10" fmla="*/ 38 w 71"/>
                  <a:gd name="T11" fmla="*/ 12 h 85"/>
                  <a:gd name="T12" fmla="*/ 49 w 71"/>
                  <a:gd name="T13" fmla="*/ 16 h 85"/>
                  <a:gd name="T14" fmla="*/ 56 w 71"/>
                  <a:gd name="T15" fmla="*/ 28 h 85"/>
                  <a:gd name="T16" fmla="*/ 70 w 71"/>
                  <a:gd name="T17" fmla="*/ 26 h 85"/>
                  <a:gd name="T18" fmla="*/ 59 w 71"/>
                  <a:gd name="T19" fmla="*/ 7 h 85"/>
                  <a:gd name="T20" fmla="*/ 37 w 71"/>
                  <a:gd name="T21" fmla="*/ 0 h 85"/>
                  <a:gd name="T22" fmla="*/ 18 w 71"/>
                  <a:gd name="T23" fmla="*/ 5 h 85"/>
                  <a:gd name="T24" fmla="*/ 4 w 71"/>
                  <a:gd name="T25" fmla="*/ 20 h 85"/>
                  <a:gd name="T26" fmla="*/ 0 w 71"/>
                  <a:gd name="T27" fmla="*/ 43 h 85"/>
                  <a:gd name="T28" fmla="*/ 10 w 71"/>
                  <a:gd name="T29" fmla="*/ 74 h 85"/>
                  <a:gd name="T30" fmla="*/ 37 w 71"/>
                  <a:gd name="T31" fmla="*/ 85 h 85"/>
                  <a:gd name="T32" fmla="*/ 60 w 71"/>
                  <a:gd name="T33" fmla="*/ 77 h 85"/>
                  <a:gd name="T34" fmla="*/ 71 w 71"/>
                  <a:gd name="T35" fmla="*/ 55 h 85"/>
                  <a:gd name="T36" fmla="*/ 57 w 71"/>
                  <a:gd name="T37" fmla="*/ 54 h 85"/>
                  <a:gd name="T38" fmla="*/ 50 w 71"/>
                  <a:gd name="T39" fmla="*/ 69 h 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71" h="85">
                    <a:moveTo>
                      <a:pt x="50" y="69"/>
                    </a:moveTo>
                    <a:cubicBezTo>
                      <a:pt x="47" y="72"/>
                      <a:pt x="42" y="74"/>
                      <a:pt x="37" y="74"/>
                    </a:cubicBezTo>
                    <a:cubicBezTo>
                      <a:pt x="30" y="74"/>
                      <a:pt x="25" y="71"/>
                      <a:pt x="21" y="66"/>
                    </a:cubicBezTo>
                    <a:cubicBezTo>
                      <a:pt x="16" y="61"/>
                      <a:pt x="14" y="54"/>
                      <a:pt x="14" y="43"/>
                    </a:cubicBezTo>
                    <a:cubicBezTo>
                      <a:pt x="14" y="32"/>
                      <a:pt x="16" y="24"/>
                      <a:pt x="21" y="19"/>
                    </a:cubicBezTo>
                    <a:cubicBezTo>
                      <a:pt x="25" y="14"/>
                      <a:pt x="31" y="12"/>
                      <a:pt x="38" y="12"/>
                    </a:cubicBezTo>
                    <a:cubicBezTo>
                      <a:pt x="42" y="12"/>
                      <a:pt x="46" y="13"/>
                      <a:pt x="49" y="16"/>
                    </a:cubicBezTo>
                    <a:cubicBezTo>
                      <a:pt x="53" y="18"/>
                      <a:pt x="55" y="23"/>
                      <a:pt x="56" y="28"/>
                    </a:cubicBezTo>
                    <a:cubicBezTo>
                      <a:pt x="70" y="26"/>
                      <a:pt x="70" y="26"/>
                      <a:pt x="70" y="26"/>
                    </a:cubicBezTo>
                    <a:cubicBezTo>
                      <a:pt x="68" y="18"/>
                      <a:pt x="64" y="11"/>
                      <a:pt x="59" y="7"/>
                    </a:cubicBezTo>
                    <a:cubicBezTo>
                      <a:pt x="53" y="2"/>
                      <a:pt x="46" y="0"/>
                      <a:pt x="37" y="0"/>
                    </a:cubicBezTo>
                    <a:cubicBezTo>
                      <a:pt x="30" y="0"/>
                      <a:pt x="24" y="2"/>
                      <a:pt x="18" y="5"/>
                    </a:cubicBezTo>
                    <a:cubicBezTo>
                      <a:pt x="12" y="8"/>
                      <a:pt x="7" y="13"/>
                      <a:pt x="4" y="20"/>
                    </a:cubicBezTo>
                    <a:cubicBezTo>
                      <a:pt x="2" y="27"/>
                      <a:pt x="0" y="34"/>
                      <a:pt x="0" y="43"/>
                    </a:cubicBezTo>
                    <a:cubicBezTo>
                      <a:pt x="0" y="57"/>
                      <a:pt x="3" y="67"/>
                      <a:pt x="10" y="74"/>
                    </a:cubicBezTo>
                    <a:cubicBezTo>
                      <a:pt x="17" y="82"/>
                      <a:pt x="26" y="85"/>
                      <a:pt x="37" y="85"/>
                    </a:cubicBezTo>
                    <a:cubicBezTo>
                      <a:pt x="46" y="85"/>
                      <a:pt x="53" y="83"/>
                      <a:pt x="60" y="77"/>
                    </a:cubicBezTo>
                    <a:cubicBezTo>
                      <a:pt x="66" y="72"/>
                      <a:pt x="69" y="65"/>
                      <a:pt x="71" y="55"/>
                    </a:cubicBezTo>
                    <a:cubicBezTo>
                      <a:pt x="57" y="54"/>
                      <a:pt x="57" y="54"/>
                      <a:pt x="57" y="54"/>
                    </a:cubicBezTo>
                    <a:cubicBezTo>
                      <a:pt x="56" y="60"/>
                      <a:pt x="54" y="66"/>
                      <a:pt x="50" y="6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36" name="íṥ1ïdê"/>
              <p:cNvSpPr/>
              <p:nvPr/>
            </p:nvSpPr>
            <p:spPr bwMode="auto">
              <a:xfrm>
                <a:off x="7234491" y="5675903"/>
                <a:ext cx="25400" cy="30163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37" name="îṡ1îďé"/>
              <p:cNvSpPr/>
              <p:nvPr/>
            </p:nvSpPr>
            <p:spPr bwMode="auto">
              <a:xfrm>
                <a:off x="7234491" y="5733053"/>
                <a:ext cx="25400" cy="149225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38" name="íṩḷïḑé"/>
              <p:cNvSpPr/>
              <p:nvPr/>
            </p:nvSpPr>
            <p:spPr bwMode="auto">
              <a:xfrm>
                <a:off x="7290053" y="5729878"/>
                <a:ext cx="138113" cy="157163"/>
              </a:xfrm>
              <a:custGeom>
                <a:avLst/>
                <a:gdLst>
                  <a:gd name="T0" fmla="*/ 38 w 75"/>
                  <a:gd name="T1" fmla="*/ 0 h 85"/>
                  <a:gd name="T2" fmla="*/ 10 w 75"/>
                  <a:gd name="T3" fmla="*/ 12 h 85"/>
                  <a:gd name="T4" fmla="*/ 0 w 75"/>
                  <a:gd name="T5" fmla="*/ 43 h 85"/>
                  <a:gd name="T6" fmla="*/ 10 w 75"/>
                  <a:gd name="T7" fmla="*/ 74 h 85"/>
                  <a:gd name="T8" fmla="*/ 39 w 75"/>
                  <a:gd name="T9" fmla="*/ 85 h 85"/>
                  <a:gd name="T10" fmla="*/ 62 w 75"/>
                  <a:gd name="T11" fmla="*/ 78 h 85"/>
                  <a:gd name="T12" fmla="*/ 74 w 75"/>
                  <a:gd name="T13" fmla="*/ 59 h 85"/>
                  <a:gd name="T14" fmla="*/ 60 w 75"/>
                  <a:gd name="T15" fmla="*/ 57 h 85"/>
                  <a:gd name="T16" fmla="*/ 52 w 75"/>
                  <a:gd name="T17" fmla="*/ 70 h 85"/>
                  <a:gd name="T18" fmla="*/ 39 w 75"/>
                  <a:gd name="T19" fmla="*/ 74 h 85"/>
                  <a:gd name="T20" fmla="*/ 22 w 75"/>
                  <a:gd name="T21" fmla="*/ 67 h 85"/>
                  <a:gd name="T22" fmla="*/ 14 w 75"/>
                  <a:gd name="T23" fmla="*/ 46 h 85"/>
                  <a:gd name="T24" fmla="*/ 75 w 75"/>
                  <a:gd name="T25" fmla="*/ 46 h 85"/>
                  <a:gd name="T26" fmla="*/ 75 w 75"/>
                  <a:gd name="T27" fmla="*/ 43 h 85"/>
                  <a:gd name="T28" fmla="*/ 65 w 75"/>
                  <a:gd name="T29" fmla="*/ 11 h 85"/>
                  <a:gd name="T30" fmla="*/ 38 w 75"/>
                  <a:gd name="T31" fmla="*/ 0 h 85"/>
                  <a:gd name="T32" fmla="*/ 15 w 75"/>
                  <a:gd name="T33" fmla="*/ 35 h 85"/>
                  <a:gd name="T34" fmla="*/ 22 w 75"/>
                  <a:gd name="T35" fmla="*/ 18 h 85"/>
                  <a:gd name="T36" fmla="*/ 38 w 75"/>
                  <a:gd name="T37" fmla="*/ 12 h 85"/>
                  <a:gd name="T38" fmla="*/ 55 w 75"/>
                  <a:gd name="T39" fmla="*/ 20 h 85"/>
                  <a:gd name="T40" fmla="*/ 60 w 75"/>
                  <a:gd name="T41" fmla="*/ 35 h 85"/>
                  <a:gd name="T42" fmla="*/ 15 w 75"/>
                  <a:gd name="T43" fmla="*/ 35 h 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75" h="85">
                    <a:moveTo>
                      <a:pt x="38" y="0"/>
                    </a:moveTo>
                    <a:cubicBezTo>
                      <a:pt x="27" y="0"/>
                      <a:pt x="18" y="4"/>
                      <a:pt x="10" y="12"/>
                    </a:cubicBezTo>
                    <a:cubicBezTo>
                      <a:pt x="3" y="19"/>
                      <a:pt x="0" y="30"/>
                      <a:pt x="0" y="43"/>
                    </a:cubicBezTo>
                    <a:cubicBezTo>
                      <a:pt x="0" y="57"/>
                      <a:pt x="3" y="67"/>
                      <a:pt x="10" y="74"/>
                    </a:cubicBezTo>
                    <a:cubicBezTo>
                      <a:pt x="17" y="81"/>
                      <a:pt x="27" y="85"/>
                      <a:pt x="39" y="85"/>
                    </a:cubicBezTo>
                    <a:cubicBezTo>
                      <a:pt x="48" y="85"/>
                      <a:pt x="56" y="83"/>
                      <a:pt x="62" y="78"/>
                    </a:cubicBezTo>
                    <a:cubicBezTo>
                      <a:pt x="68" y="74"/>
                      <a:pt x="72" y="67"/>
                      <a:pt x="74" y="59"/>
                    </a:cubicBezTo>
                    <a:cubicBezTo>
                      <a:pt x="60" y="57"/>
                      <a:pt x="60" y="57"/>
                      <a:pt x="60" y="57"/>
                    </a:cubicBezTo>
                    <a:cubicBezTo>
                      <a:pt x="58" y="63"/>
                      <a:pt x="55" y="67"/>
                      <a:pt x="52" y="70"/>
                    </a:cubicBezTo>
                    <a:cubicBezTo>
                      <a:pt x="48" y="73"/>
                      <a:pt x="44" y="74"/>
                      <a:pt x="39" y="74"/>
                    </a:cubicBezTo>
                    <a:cubicBezTo>
                      <a:pt x="32" y="74"/>
                      <a:pt x="26" y="71"/>
                      <a:pt x="22" y="67"/>
                    </a:cubicBezTo>
                    <a:cubicBezTo>
                      <a:pt x="17" y="62"/>
                      <a:pt x="15" y="55"/>
                      <a:pt x="14" y="46"/>
                    </a:cubicBezTo>
                    <a:cubicBezTo>
                      <a:pt x="75" y="46"/>
                      <a:pt x="75" y="46"/>
                      <a:pt x="75" y="46"/>
                    </a:cubicBezTo>
                    <a:cubicBezTo>
                      <a:pt x="75" y="45"/>
                      <a:pt x="75" y="43"/>
                      <a:pt x="75" y="43"/>
                    </a:cubicBezTo>
                    <a:cubicBezTo>
                      <a:pt x="75" y="29"/>
                      <a:pt x="71" y="19"/>
                      <a:pt x="65" y="11"/>
                    </a:cubicBezTo>
                    <a:cubicBezTo>
                      <a:pt x="58" y="4"/>
                      <a:pt x="49" y="0"/>
                      <a:pt x="38" y="0"/>
                    </a:cubicBezTo>
                    <a:close/>
                    <a:moveTo>
                      <a:pt x="15" y="35"/>
                    </a:moveTo>
                    <a:cubicBezTo>
                      <a:pt x="15" y="28"/>
                      <a:pt x="18" y="22"/>
                      <a:pt x="22" y="18"/>
                    </a:cubicBezTo>
                    <a:cubicBezTo>
                      <a:pt x="26" y="14"/>
                      <a:pt x="32" y="12"/>
                      <a:pt x="38" y="12"/>
                    </a:cubicBezTo>
                    <a:cubicBezTo>
                      <a:pt x="45" y="12"/>
                      <a:pt x="51" y="14"/>
                      <a:pt x="55" y="20"/>
                    </a:cubicBezTo>
                    <a:cubicBezTo>
                      <a:pt x="58" y="23"/>
                      <a:pt x="60" y="28"/>
                      <a:pt x="60" y="35"/>
                    </a:cubicBezTo>
                    <a:lnTo>
                      <a:pt x="15" y="3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39" name="ïşḷiḋè"/>
              <p:cNvSpPr/>
              <p:nvPr/>
            </p:nvSpPr>
            <p:spPr bwMode="auto">
              <a:xfrm>
                <a:off x="7458328" y="5729878"/>
                <a:ext cx="122238" cy="152400"/>
              </a:xfrm>
              <a:custGeom>
                <a:avLst/>
                <a:gdLst>
                  <a:gd name="T0" fmla="*/ 61 w 66"/>
                  <a:gd name="T1" fmla="*/ 10 h 83"/>
                  <a:gd name="T2" fmla="*/ 51 w 66"/>
                  <a:gd name="T3" fmla="*/ 3 h 83"/>
                  <a:gd name="T4" fmla="*/ 38 w 66"/>
                  <a:gd name="T5" fmla="*/ 0 h 83"/>
                  <a:gd name="T6" fmla="*/ 12 w 66"/>
                  <a:gd name="T7" fmla="*/ 14 h 83"/>
                  <a:gd name="T8" fmla="*/ 12 w 66"/>
                  <a:gd name="T9" fmla="*/ 2 h 83"/>
                  <a:gd name="T10" fmla="*/ 0 w 66"/>
                  <a:gd name="T11" fmla="*/ 2 h 83"/>
                  <a:gd name="T12" fmla="*/ 0 w 66"/>
                  <a:gd name="T13" fmla="*/ 83 h 83"/>
                  <a:gd name="T14" fmla="*/ 13 w 66"/>
                  <a:gd name="T15" fmla="*/ 83 h 83"/>
                  <a:gd name="T16" fmla="*/ 13 w 66"/>
                  <a:gd name="T17" fmla="*/ 39 h 83"/>
                  <a:gd name="T18" fmla="*/ 20 w 66"/>
                  <a:gd name="T19" fmla="*/ 18 h 83"/>
                  <a:gd name="T20" fmla="*/ 35 w 66"/>
                  <a:gd name="T21" fmla="*/ 12 h 83"/>
                  <a:gd name="T22" fmla="*/ 45 w 66"/>
                  <a:gd name="T23" fmla="*/ 15 h 83"/>
                  <a:gd name="T24" fmla="*/ 50 w 66"/>
                  <a:gd name="T25" fmla="*/ 21 h 83"/>
                  <a:gd name="T26" fmla="*/ 52 w 66"/>
                  <a:gd name="T27" fmla="*/ 34 h 83"/>
                  <a:gd name="T28" fmla="*/ 52 w 66"/>
                  <a:gd name="T29" fmla="*/ 83 h 83"/>
                  <a:gd name="T30" fmla="*/ 66 w 66"/>
                  <a:gd name="T31" fmla="*/ 83 h 83"/>
                  <a:gd name="T32" fmla="*/ 66 w 66"/>
                  <a:gd name="T33" fmla="*/ 33 h 83"/>
                  <a:gd name="T34" fmla="*/ 65 w 66"/>
                  <a:gd name="T35" fmla="*/ 20 h 83"/>
                  <a:gd name="T36" fmla="*/ 61 w 66"/>
                  <a:gd name="T37" fmla="*/ 10 h 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66" h="83">
                    <a:moveTo>
                      <a:pt x="61" y="10"/>
                    </a:moveTo>
                    <a:cubicBezTo>
                      <a:pt x="59" y="7"/>
                      <a:pt x="56" y="5"/>
                      <a:pt x="51" y="3"/>
                    </a:cubicBezTo>
                    <a:cubicBezTo>
                      <a:pt x="47" y="1"/>
                      <a:pt x="43" y="0"/>
                      <a:pt x="38" y="0"/>
                    </a:cubicBezTo>
                    <a:cubicBezTo>
                      <a:pt x="27" y="0"/>
                      <a:pt x="18" y="5"/>
                      <a:pt x="12" y="14"/>
                    </a:cubicBezTo>
                    <a:cubicBezTo>
                      <a:pt x="12" y="2"/>
                      <a:pt x="12" y="2"/>
                      <a:pt x="12" y="2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83"/>
                      <a:pt x="0" y="83"/>
                      <a:pt x="0" y="83"/>
                    </a:cubicBezTo>
                    <a:cubicBezTo>
                      <a:pt x="13" y="83"/>
                      <a:pt x="13" y="83"/>
                      <a:pt x="13" y="83"/>
                    </a:cubicBezTo>
                    <a:cubicBezTo>
                      <a:pt x="13" y="39"/>
                      <a:pt x="13" y="39"/>
                      <a:pt x="13" y="39"/>
                    </a:cubicBezTo>
                    <a:cubicBezTo>
                      <a:pt x="13" y="29"/>
                      <a:pt x="16" y="21"/>
                      <a:pt x="20" y="18"/>
                    </a:cubicBezTo>
                    <a:cubicBezTo>
                      <a:pt x="24" y="14"/>
                      <a:pt x="29" y="12"/>
                      <a:pt x="35" y="12"/>
                    </a:cubicBezTo>
                    <a:cubicBezTo>
                      <a:pt x="39" y="12"/>
                      <a:pt x="42" y="13"/>
                      <a:pt x="45" y="15"/>
                    </a:cubicBezTo>
                    <a:cubicBezTo>
                      <a:pt x="47" y="16"/>
                      <a:pt x="49" y="19"/>
                      <a:pt x="50" y="21"/>
                    </a:cubicBezTo>
                    <a:cubicBezTo>
                      <a:pt x="51" y="24"/>
                      <a:pt x="52" y="28"/>
                      <a:pt x="52" y="34"/>
                    </a:cubicBezTo>
                    <a:cubicBezTo>
                      <a:pt x="52" y="83"/>
                      <a:pt x="52" y="83"/>
                      <a:pt x="52" y="83"/>
                    </a:cubicBezTo>
                    <a:cubicBezTo>
                      <a:pt x="66" y="83"/>
                      <a:pt x="66" y="83"/>
                      <a:pt x="66" y="83"/>
                    </a:cubicBezTo>
                    <a:cubicBezTo>
                      <a:pt x="66" y="33"/>
                      <a:pt x="66" y="33"/>
                      <a:pt x="66" y="33"/>
                    </a:cubicBezTo>
                    <a:cubicBezTo>
                      <a:pt x="66" y="27"/>
                      <a:pt x="65" y="23"/>
                      <a:pt x="65" y="20"/>
                    </a:cubicBezTo>
                    <a:cubicBezTo>
                      <a:pt x="64" y="16"/>
                      <a:pt x="63" y="13"/>
                      <a:pt x="61" y="1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40" name="îṩľiḍé"/>
              <p:cNvSpPr/>
              <p:nvPr/>
            </p:nvSpPr>
            <p:spPr bwMode="auto">
              <a:xfrm>
                <a:off x="7612316" y="5729878"/>
                <a:ext cx="128588" cy="157163"/>
              </a:xfrm>
              <a:custGeom>
                <a:avLst/>
                <a:gdLst>
                  <a:gd name="T0" fmla="*/ 50 w 70"/>
                  <a:gd name="T1" fmla="*/ 69 h 85"/>
                  <a:gd name="T2" fmla="*/ 36 w 70"/>
                  <a:gd name="T3" fmla="*/ 74 h 85"/>
                  <a:gd name="T4" fmla="*/ 20 w 70"/>
                  <a:gd name="T5" fmla="*/ 66 h 85"/>
                  <a:gd name="T6" fmla="*/ 14 w 70"/>
                  <a:gd name="T7" fmla="*/ 43 h 85"/>
                  <a:gd name="T8" fmla="*/ 20 w 70"/>
                  <a:gd name="T9" fmla="*/ 19 h 85"/>
                  <a:gd name="T10" fmla="*/ 37 w 70"/>
                  <a:gd name="T11" fmla="*/ 12 h 85"/>
                  <a:gd name="T12" fmla="*/ 49 w 70"/>
                  <a:gd name="T13" fmla="*/ 16 h 85"/>
                  <a:gd name="T14" fmla="*/ 56 w 70"/>
                  <a:gd name="T15" fmla="*/ 28 h 85"/>
                  <a:gd name="T16" fmla="*/ 69 w 70"/>
                  <a:gd name="T17" fmla="*/ 26 h 85"/>
                  <a:gd name="T18" fmla="*/ 58 w 70"/>
                  <a:gd name="T19" fmla="*/ 7 h 85"/>
                  <a:gd name="T20" fmla="*/ 37 w 70"/>
                  <a:gd name="T21" fmla="*/ 0 h 85"/>
                  <a:gd name="T22" fmla="*/ 17 w 70"/>
                  <a:gd name="T23" fmla="*/ 5 h 85"/>
                  <a:gd name="T24" fmla="*/ 4 w 70"/>
                  <a:gd name="T25" fmla="*/ 20 h 85"/>
                  <a:gd name="T26" fmla="*/ 0 w 70"/>
                  <a:gd name="T27" fmla="*/ 43 h 85"/>
                  <a:gd name="T28" fmla="*/ 10 w 70"/>
                  <a:gd name="T29" fmla="*/ 74 h 85"/>
                  <a:gd name="T30" fmla="*/ 37 w 70"/>
                  <a:gd name="T31" fmla="*/ 85 h 85"/>
                  <a:gd name="T32" fmla="*/ 59 w 70"/>
                  <a:gd name="T33" fmla="*/ 77 h 85"/>
                  <a:gd name="T34" fmla="*/ 70 w 70"/>
                  <a:gd name="T35" fmla="*/ 55 h 85"/>
                  <a:gd name="T36" fmla="*/ 57 w 70"/>
                  <a:gd name="T37" fmla="*/ 54 h 85"/>
                  <a:gd name="T38" fmla="*/ 50 w 70"/>
                  <a:gd name="T39" fmla="*/ 69 h 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70" h="85">
                    <a:moveTo>
                      <a:pt x="50" y="69"/>
                    </a:moveTo>
                    <a:cubicBezTo>
                      <a:pt x="46" y="72"/>
                      <a:pt x="42" y="74"/>
                      <a:pt x="36" y="74"/>
                    </a:cubicBezTo>
                    <a:cubicBezTo>
                      <a:pt x="30" y="74"/>
                      <a:pt x="24" y="71"/>
                      <a:pt x="20" y="66"/>
                    </a:cubicBezTo>
                    <a:cubicBezTo>
                      <a:pt x="16" y="61"/>
                      <a:pt x="14" y="54"/>
                      <a:pt x="14" y="43"/>
                    </a:cubicBezTo>
                    <a:cubicBezTo>
                      <a:pt x="14" y="32"/>
                      <a:pt x="16" y="24"/>
                      <a:pt x="20" y="19"/>
                    </a:cubicBezTo>
                    <a:cubicBezTo>
                      <a:pt x="25" y="14"/>
                      <a:pt x="30" y="12"/>
                      <a:pt x="37" y="12"/>
                    </a:cubicBezTo>
                    <a:cubicBezTo>
                      <a:pt x="42" y="12"/>
                      <a:pt x="46" y="13"/>
                      <a:pt x="49" y="16"/>
                    </a:cubicBezTo>
                    <a:cubicBezTo>
                      <a:pt x="52" y="18"/>
                      <a:pt x="54" y="23"/>
                      <a:pt x="56" y="28"/>
                    </a:cubicBezTo>
                    <a:cubicBezTo>
                      <a:pt x="69" y="26"/>
                      <a:pt x="69" y="26"/>
                      <a:pt x="69" y="26"/>
                    </a:cubicBezTo>
                    <a:cubicBezTo>
                      <a:pt x="68" y="18"/>
                      <a:pt x="64" y="11"/>
                      <a:pt x="58" y="7"/>
                    </a:cubicBezTo>
                    <a:cubicBezTo>
                      <a:pt x="53" y="2"/>
                      <a:pt x="46" y="0"/>
                      <a:pt x="37" y="0"/>
                    </a:cubicBezTo>
                    <a:cubicBezTo>
                      <a:pt x="30" y="0"/>
                      <a:pt x="23" y="2"/>
                      <a:pt x="17" y="5"/>
                    </a:cubicBezTo>
                    <a:cubicBezTo>
                      <a:pt x="11" y="8"/>
                      <a:pt x="7" y="13"/>
                      <a:pt x="4" y="20"/>
                    </a:cubicBezTo>
                    <a:cubicBezTo>
                      <a:pt x="1" y="27"/>
                      <a:pt x="0" y="34"/>
                      <a:pt x="0" y="43"/>
                    </a:cubicBezTo>
                    <a:cubicBezTo>
                      <a:pt x="0" y="57"/>
                      <a:pt x="3" y="67"/>
                      <a:pt x="10" y="74"/>
                    </a:cubicBezTo>
                    <a:cubicBezTo>
                      <a:pt x="17" y="82"/>
                      <a:pt x="26" y="85"/>
                      <a:pt x="37" y="85"/>
                    </a:cubicBezTo>
                    <a:cubicBezTo>
                      <a:pt x="45" y="85"/>
                      <a:pt x="53" y="83"/>
                      <a:pt x="59" y="77"/>
                    </a:cubicBezTo>
                    <a:cubicBezTo>
                      <a:pt x="65" y="72"/>
                      <a:pt x="69" y="65"/>
                      <a:pt x="70" y="55"/>
                    </a:cubicBezTo>
                    <a:cubicBezTo>
                      <a:pt x="57" y="54"/>
                      <a:pt x="57" y="54"/>
                      <a:pt x="57" y="54"/>
                    </a:cubicBezTo>
                    <a:cubicBezTo>
                      <a:pt x="56" y="60"/>
                      <a:pt x="54" y="66"/>
                      <a:pt x="50" y="6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41" name="íṡḷïďe"/>
              <p:cNvSpPr/>
              <p:nvPr/>
            </p:nvSpPr>
            <p:spPr bwMode="auto">
              <a:xfrm>
                <a:off x="7755191" y="5729878"/>
                <a:ext cx="138113" cy="157163"/>
              </a:xfrm>
              <a:custGeom>
                <a:avLst/>
                <a:gdLst>
                  <a:gd name="T0" fmla="*/ 38 w 75"/>
                  <a:gd name="T1" fmla="*/ 0 h 85"/>
                  <a:gd name="T2" fmla="*/ 10 w 75"/>
                  <a:gd name="T3" fmla="*/ 12 h 85"/>
                  <a:gd name="T4" fmla="*/ 0 w 75"/>
                  <a:gd name="T5" fmla="*/ 43 h 85"/>
                  <a:gd name="T6" fmla="*/ 10 w 75"/>
                  <a:gd name="T7" fmla="*/ 74 h 85"/>
                  <a:gd name="T8" fmla="*/ 38 w 75"/>
                  <a:gd name="T9" fmla="*/ 85 h 85"/>
                  <a:gd name="T10" fmla="*/ 62 w 75"/>
                  <a:gd name="T11" fmla="*/ 78 h 85"/>
                  <a:gd name="T12" fmla="*/ 74 w 75"/>
                  <a:gd name="T13" fmla="*/ 59 h 85"/>
                  <a:gd name="T14" fmla="*/ 60 w 75"/>
                  <a:gd name="T15" fmla="*/ 57 h 85"/>
                  <a:gd name="T16" fmla="*/ 51 w 75"/>
                  <a:gd name="T17" fmla="*/ 70 h 85"/>
                  <a:gd name="T18" fmla="*/ 38 w 75"/>
                  <a:gd name="T19" fmla="*/ 74 h 85"/>
                  <a:gd name="T20" fmla="*/ 21 w 75"/>
                  <a:gd name="T21" fmla="*/ 67 h 85"/>
                  <a:gd name="T22" fmla="*/ 14 w 75"/>
                  <a:gd name="T23" fmla="*/ 46 h 85"/>
                  <a:gd name="T24" fmla="*/ 75 w 75"/>
                  <a:gd name="T25" fmla="*/ 46 h 85"/>
                  <a:gd name="T26" fmla="*/ 75 w 75"/>
                  <a:gd name="T27" fmla="*/ 43 h 85"/>
                  <a:gd name="T28" fmla="*/ 64 w 75"/>
                  <a:gd name="T29" fmla="*/ 11 h 85"/>
                  <a:gd name="T30" fmla="*/ 38 w 75"/>
                  <a:gd name="T31" fmla="*/ 0 h 85"/>
                  <a:gd name="T32" fmla="*/ 15 w 75"/>
                  <a:gd name="T33" fmla="*/ 35 h 85"/>
                  <a:gd name="T34" fmla="*/ 22 w 75"/>
                  <a:gd name="T35" fmla="*/ 18 h 85"/>
                  <a:gd name="T36" fmla="*/ 38 w 75"/>
                  <a:gd name="T37" fmla="*/ 12 h 85"/>
                  <a:gd name="T38" fmla="*/ 55 w 75"/>
                  <a:gd name="T39" fmla="*/ 20 h 85"/>
                  <a:gd name="T40" fmla="*/ 60 w 75"/>
                  <a:gd name="T41" fmla="*/ 35 h 85"/>
                  <a:gd name="T42" fmla="*/ 15 w 75"/>
                  <a:gd name="T43" fmla="*/ 35 h 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75" h="85">
                    <a:moveTo>
                      <a:pt x="38" y="0"/>
                    </a:moveTo>
                    <a:cubicBezTo>
                      <a:pt x="26" y="0"/>
                      <a:pt x="17" y="4"/>
                      <a:pt x="10" y="12"/>
                    </a:cubicBezTo>
                    <a:cubicBezTo>
                      <a:pt x="3" y="19"/>
                      <a:pt x="0" y="30"/>
                      <a:pt x="0" y="43"/>
                    </a:cubicBezTo>
                    <a:cubicBezTo>
                      <a:pt x="0" y="57"/>
                      <a:pt x="3" y="67"/>
                      <a:pt x="10" y="74"/>
                    </a:cubicBezTo>
                    <a:cubicBezTo>
                      <a:pt x="17" y="81"/>
                      <a:pt x="26" y="85"/>
                      <a:pt x="38" y="85"/>
                    </a:cubicBezTo>
                    <a:cubicBezTo>
                      <a:pt x="48" y="85"/>
                      <a:pt x="56" y="83"/>
                      <a:pt x="62" y="78"/>
                    </a:cubicBezTo>
                    <a:cubicBezTo>
                      <a:pt x="68" y="74"/>
                      <a:pt x="72" y="67"/>
                      <a:pt x="74" y="59"/>
                    </a:cubicBezTo>
                    <a:cubicBezTo>
                      <a:pt x="60" y="57"/>
                      <a:pt x="60" y="57"/>
                      <a:pt x="60" y="57"/>
                    </a:cubicBezTo>
                    <a:cubicBezTo>
                      <a:pt x="58" y="63"/>
                      <a:pt x="55" y="67"/>
                      <a:pt x="51" y="70"/>
                    </a:cubicBezTo>
                    <a:cubicBezTo>
                      <a:pt x="48" y="73"/>
                      <a:pt x="43" y="74"/>
                      <a:pt x="38" y="74"/>
                    </a:cubicBezTo>
                    <a:cubicBezTo>
                      <a:pt x="32" y="74"/>
                      <a:pt x="26" y="71"/>
                      <a:pt x="21" y="67"/>
                    </a:cubicBezTo>
                    <a:cubicBezTo>
                      <a:pt x="17" y="62"/>
                      <a:pt x="14" y="55"/>
                      <a:pt x="14" y="46"/>
                    </a:cubicBezTo>
                    <a:cubicBezTo>
                      <a:pt x="75" y="46"/>
                      <a:pt x="75" y="46"/>
                      <a:pt x="75" y="46"/>
                    </a:cubicBezTo>
                    <a:cubicBezTo>
                      <a:pt x="75" y="45"/>
                      <a:pt x="75" y="43"/>
                      <a:pt x="75" y="43"/>
                    </a:cubicBezTo>
                    <a:cubicBezTo>
                      <a:pt x="75" y="29"/>
                      <a:pt x="71" y="19"/>
                      <a:pt x="64" y="11"/>
                    </a:cubicBezTo>
                    <a:cubicBezTo>
                      <a:pt x="57" y="4"/>
                      <a:pt x="48" y="0"/>
                      <a:pt x="38" y="0"/>
                    </a:cubicBezTo>
                    <a:close/>
                    <a:moveTo>
                      <a:pt x="15" y="35"/>
                    </a:moveTo>
                    <a:cubicBezTo>
                      <a:pt x="15" y="28"/>
                      <a:pt x="17" y="22"/>
                      <a:pt x="22" y="18"/>
                    </a:cubicBezTo>
                    <a:cubicBezTo>
                      <a:pt x="26" y="14"/>
                      <a:pt x="31" y="12"/>
                      <a:pt x="38" y="12"/>
                    </a:cubicBezTo>
                    <a:cubicBezTo>
                      <a:pt x="45" y="12"/>
                      <a:pt x="50" y="14"/>
                      <a:pt x="55" y="20"/>
                    </a:cubicBezTo>
                    <a:cubicBezTo>
                      <a:pt x="58" y="23"/>
                      <a:pt x="59" y="28"/>
                      <a:pt x="60" y="35"/>
                    </a:cubicBezTo>
                    <a:lnTo>
                      <a:pt x="15" y="3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42" name="í$ľîde"/>
              <p:cNvSpPr/>
              <p:nvPr/>
            </p:nvSpPr>
            <p:spPr bwMode="auto">
              <a:xfrm>
                <a:off x="7994903" y="5729878"/>
                <a:ext cx="138113" cy="157163"/>
              </a:xfrm>
              <a:custGeom>
                <a:avLst/>
                <a:gdLst>
                  <a:gd name="T0" fmla="*/ 71 w 75"/>
                  <a:gd name="T1" fmla="*/ 49 h 85"/>
                  <a:gd name="T2" fmla="*/ 71 w 75"/>
                  <a:gd name="T3" fmla="*/ 31 h 85"/>
                  <a:gd name="T4" fmla="*/ 70 w 75"/>
                  <a:gd name="T5" fmla="*/ 18 h 85"/>
                  <a:gd name="T6" fmla="*/ 66 w 75"/>
                  <a:gd name="T7" fmla="*/ 9 h 85"/>
                  <a:gd name="T8" fmla="*/ 56 w 75"/>
                  <a:gd name="T9" fmla="*/ 3 h 85"/>
                  <a:gd name="T10" fmla="*/ 39 w 75"/>
                  <a:gd name="T11" fmla="*/ 0 h 85"/>
                  <a:gd name="T12" fmla="*/ 21 w 75"/>
                  <a:gd name="T13" fmla="*/ 3 h 85"/>
                  <a:gd name="T14" fmla="*/ 9 w 75"/>
                  <a:gd name="T15" fmla="*/ 11 h 85"/>
                  <a:gd name="T16" fmla="*/ 3 w 75"/>
                  <a:gd name="T17" fmla="*/ 25 h 85"/>
                  <a:gd name="T18" fmla="*/ 16 w 75"/>
                  <a:gd name="T19" fmla="*/ 27 h 85"/>
                  <a:gd name="T20" fmla="*/ 23 w 75"/>
                  <a:gd name="T21" fmla="*/ 15 h 85"/>
                  <a:gd name="T22" fmla="*/ 37 w 75"/>
                  <a:gd name="T23" fmla="*/ 12 h 85"/>
                  <a:gd name="T24" fmla="*/ 53 w 75"/>
                  <a:gd name="T25" fmla="*/ 16 h 85"/>
                  <a:gd name="T26" fmla="*/ 57 w 75"/>
                  <a:gd name="T27" fmla="*/ 28 h 85"/>
                  <a:gd name="T28" fmla="*/ 57 w 75"/>
                  <a:gd name="T29" fmla="*/ 32 h 85"/>
                  <a:gd name="T30" fmla="*/ 32 w 75"/>
                  <a:gd name="T31" fmla="*/ 36 h 85"/>
                  <a:gd name="T32" fmla="*/ 20 w 75"/>
                  <a:gd name="T33" fmla="*/ 39 h 85"/>
                  <a:gd name="T34" fmla="*/ 10 w 75"/>
                  <a:gd name="T35" fmla="*/ 43 h 85"/>
                  <a:gd name="T36" fmla="*/ 3 w 75"/>
                  <a:gd name="T37" fmla="*/ 51 h 85"/>
                  <a:gd name="T38" fmla="*/ 0 w 75"/>
                  <a:gd name="T39" fmla="*/ 62 h 85"/>
                  <a:gd name="T40" fmla="*/ 7 w 75"/>
                  <a:gd name="T41" fmla="*/ 79 h 85"/>
                  <a:gd name="T42" fmla="*/ 28 w 75"/>
                  <a:gd name="T43" fmla="*/ 85 h 85"/>
                  <a:gd name="T44" fmla="*/ 43 w 75"/>
                  <a:gd name="T45" fmla="*/ 82 h 85"/>
                  <a:gd name="T46" fmla="*/ 58 w 75"/>
                  <a:gd name="T47" fmla="*/ 73 h 85"/>
                  <a:gd name="T48" fmla="*/ 61 w 75"/>
                  <a:gd name="T49" fmla="*/ 83 h 85"/>
                  <a:gd name="T50" fmla="*/ 75 w 75"/>
                  <a:gd name="T51" fmla="*/ 83 h 85"/>
                  <a:gd name="T52" fmla="*/ 72 w 75"/>
                  <a:gd name="T53" fmla="*/ 74 h 85"/>
                  <a:gd name="T54" fmla="*/ 71 w 75"/>
                  <a:gd name="T55" fmla="*/ 49 h 85"/>
                  <a:gd name="T56" fmla="*/ 57 w 75"/>
                  <a:gd name="T57" fmla="*/ 48 h 85"/>
                  <a:gd name="T58" fmla="*/ 55 w 75"/>
                  <a:gd name="T59" fmla="*/ 61 h 85"/>
                  <a:gd name="T60" fmla="*/ 46 w 75"/>
                  <a:gd name="T61" fmla="*/ 71 h 85"/>
                  <a:gd name="T62" fmla="*/ 31 w 75"/>
                  <a:gd name="T63" fmla="*/ 74 h 85"/>
                  <a:gd name="T64" fmla="*/ 19 w 75"/>
                  <a:gd name="T65" fmla="*/ 71 h 85"/>
                  <a:gd name="T66" fmla="*/ 15 w 75"/>
                  <a:gd name="T67" fmla="*/ 62 h 85"/>
                  <a:gd name="T68" fmla="*/ 17 w 75"/>
                  <a:gd name="T69" fmla="*/ 55 h 85"/>
                  <a:gd name="T70" fmla="*/ 22 w 75"/>
                  <a:gd name="T71" fmla="*/ 50 h 85"/>
                  <a:gd name="T72" fmla="*/ 34 w 75"/>
                  <a:gd name="T73" fmla="*/ 48 h 85"/>
                  <a:gd name="T74" fmla="*/ 57 w 75"/>
                  <a:gd name="T75" fmla="*/ 43 h 85"/>
                  <a:gd name="T76" fmla="*/ 57 w 75"/>
                  <a:gd name="T77" fmla="*/ 48 h 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75" h="85">
                    <a:moveTo>
                      <a:pt x="71" y="49"/>
                    </a:moveTo>
                    <a:cubicBezTo>
                      <a:pt x="71" y="31"/>
                      <a:pt x="71" y="31"/>
                      <a:pt x="71" y="31"/>
                    </a:cubicBezTo>
                    <a:cubicBezTo>
                      <a:pt x="71" y="25"/>
                      <a:pt x="71" y="21"/>
                      <a:pt x="70" y="18"/>
                    </a:cubicBezTo>
                    <a:cubicBezTo>
                      <a:pt x="69" y="14"/>
                      <a:pt x="68" y="11"/>
                      <a:pt x="66" y="9"/>
                    </a:cubicBezTo>
                    <a:cubicBezTo>
                      <a:pt x="64" y="6"/>
                      <a:pt x="61" y="4"/>
                      <a:pt x="56" y="3"/>
                    </a:cubicBezTo>
                    <a:cubicBezTo>
                      <a:pt x="52" y="1"/>
                      <a:pt x="46" y="0"/>
                      <a:pt x="39" y="0"/>
                    </a:cubicBezTo>
                    <a:cubicBezTo>
                      <a:pt x="32" y="0"/>
                      <a:pt x="26" y="1"/>
                      <a:pt x="21" y="3"/>
                    </a:cubicBezTo>
                    <a:cubicBezTo>
                      <a:pt x="16" y="5"/>
                      <a:pt x="12" y="8"/>
                      <a:pt x="9" y="11"/>
                    </a:cubicBezTo>
                    <a:cubicBezTo>
                      <a:pt x="6" y="15"/>
                      <a:pt x="4" y="19"/>
                      <a:pt x="3" y="25"/>
                    </a:cubicBezTo>
                    <a:cubicBezTo>
                      <a:pt x="16" y="27"/>
                      <a:pt x="16" y="27"/>
                      <a:pt x="16" y="27"/>
                    </a:cubicBezTo>
                    <a:cubicBezTo>
                      <a:pt x="18" y="21"/>
                      <a:pt x="20" y="17"/>
                      <a:pt x="23" y="15"/>
                    </a:cubicBezTo>
                    <a:cubicBezTo>
                      <a:pt x="26" y="13"/>
                      <a:pt x="31" y="12"/>
                      <a:pt x="37" y="12"/>
                    </a:cubicBezTo>
                    <a:cubicBezTo>
                      <a:pt x="44" y="12"/>
                      <a:pt x="50" y="13"/>
                      <a:pt x="53" y="16"/>
                    </a:cubicBezTo>
                    <a:cubicBezTo>
                      <a:pt x="56" y="19"/>
                      <a:pt x="57" y="23"/>
                      <a:pt x="57" y="28"/>
                    </a:cubicBezTo>
                    <a:cubicBezTo>
                      <a:pt x="57" y="29"/>
                      <a:pt x="57" y="30"/>
                      <a:pt x="57" y="32"/>
                    </a:cubicBezTo>
                    <a:cubicBezTo>
                      <a:pt x="52" y="34"/>
                      <a:pt x="43" y="35"/>
                      <a:pt x="32" y="36"/>
                    </a:cubicBezTo>
                    <a:cubicBezTo>
                      <a:pt x="27" y="37"/>
                      <a:pt x="23" y="38"/>
                      <a:pt x="20" y="39"/>
                    </a:cubicBezTo>
                    <a:cubicBezTo>
                      <a:pt x="16" y="40"/>
                      <a:pt x="13" y="41"/>
                      <a:pt x="10" y="43"/>
                    </a:cubicBezTo>
                    <a:cubicBezTo>
                      <a:pt x="7" y="45"/>
                      <a:pt x="5" y="48"/>
                      <a:pt x="3" y="51"/>
                    </a:cubicBezTo>
                    <a:cubicBezTo>
                      <a:pt x="1" y="54"/>
                      <a:pt x="0" y="58"/>
                      <a:pt x="0" y="62"/>
                    </a:cubicBezTo>
                    <a:cubicBezTo>
                      <a:pt x="0" y="69"/>
                      <a:pt x="3" y="74"/>
                      <a:pt x="7" y="79"/>
                    </a:cubicBezTo>
                    <a:cubicBezTo>
                      <a:pt x="12" y="83"/>
                      <a:pt x="19" y="85"/>
                      <a:pt x="28" y="85"/>
                    </a:cubicBezTo>
                    <a:cubicBezTo>
                      <a:pt x="33" y="85"/>
                      <a:pt x="39" y="84"/>
                      <a:pt x="43" y="82"/>
                    </a:cubicBezTo>
                    <a:cubicBezTo>
                      <a:pt x="48" y="81"/>
                      <a:pt x="53" y="78"/>
                      <a:pt x="58" y="73"/>
                    </a:cubicBezTo>
                    <a:cubicBezTo>
                      <a:pt x="58" y="77"/>
                      <a:pt x="59" y="80"/>
                      <a:pt x="61" y="83"/>
                    </a:cubicBezTo>
                    <a:cubicBezTo>
                      <a:pt x="75" y="83"/>
                      <a:pt x="75" y="83"/>
                      <a:pt x="75" y="83"/>
                    </a:cubicBezTo>
                    <a:cubicBezTo>
                      <a:pt x="73" y="80"/>
                      <a:pt x="72" y="77"/>
                      <a:pt x="72" y="74"/>
                    </a:cubicBezTo>
                    <a:cubicBezTo>
                      <a:pt x="71" y="70"/>
                      <a:pt x="71" y="62"/>
                      <a:pt x="71" y="49"/>
                    </a:cubicBezTo>
                    <a:close/>
                    <a:moveTo>
                      <a:pt x="57" y="48"/>
                    </a:moveTo>
                    <a:cubicBezTo>
                      <a:pt x="57" y="54"/>
                      <a:pt x="56" y="58"/>
                      <a:pt x="55" y="61"/>
                    </a:cubicBezTo>
                    <a:cubicBezTo>
                      <a:pt x="53" y="65"/>
                      <a:pt x="50" y="69"/>
                      <a:pt x="46" y="71"/>
                    </a:cubicBezTo>
                    <a:cubicBezTo>
                      <a:pt x="41" y="73"/>
                      <a:pt x="37" y="74"/>
                      <a:pt x="31" y="74"/>
                    </a:cubicBezTo>
                    <a:cubicBezTo>
                      <a:pt x="26" y="74"/>
                      <a:pt x="22" y="73"/>
                      <a:pt x="19" y="71"/>
                    </a:cubicBezTo>
                    <a:cubicBezTo>
                      <a:pt x="16" y="68"/>
                      <a:pt x="15" y="65"/>
                      <a:pt x="15" y="62"/>
                    </a:cubicBezTo>
                    <a:cubicBezTo>
                      <a:pt x="15" y="59"/>
                      <a:pt x="16" y="57"/>
                      <a:pt x="17" y="55"/>
                    </a:cubicBezTo>
                    <a:cubicBezTo>
                      <a:pt x="18" y="53"/>
                      <a:pt x="20" y="52"/>
                      <a:pt x="22" y="50"/>
                    </a:cubicBezTo>
                    <a:cubicBezTo>
                      <a:pt x="25" y="49"/>
                      <a:pt x="29" y="49"/>
                      <a:pt x="34" y="48"/>
                    </a:cubicBezTo>
                    <a:cubicBezTo>
                      <a:pt x="44" y="46"/>
                      <a:pt x="52" y="45"/>
                      <a:pt x="57" y="43"/>
                    </a:cubicBezTo>
                    <a:lnTo>
                      <a:pt x="57" y="4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43" name="ï$ḻíḋê"/>
              <p:cNvSpPr/>
              <p:nvPr/>
            </p:nvSpPr>
            <p:spPr bwMode="auto">
              <a:xfrm>
                <a:off x="8164766" y="5729878"/>
                <a:ext cx="122238" cy="152400"/>
              </a:xfrm>
              <a:custGeom>
                <a:avLst/>
                <a:gdLst>
                  <a:gd name="T0" fmla="*/ 61 w 66"/>
                  <a:gd name="T1" fmla="*/ 10 h 83"/>
                  <a:gd name="T2" fmla="*/ 52 w 66"/>
                  <a:gd name="T3" fmla="*/ 3 h 83"/>
                  <a:gd name="T4" fmla="*/ 38 w 66"/>
                  <a:gd name="T5" fmla="*/ 0 h 83"/>
                  <a:gd name="T6" fmla="*/ 13 w 66"/>
                  <a:gd name="T7" fmla="*/ 14 h 83"/>
                  <a:gd name="T8" fmla="*/ 13 w 66"/>
                  <a:gd name="T9" fmla="*/ 2 h 83"/>
                  <a:gd name="T10" fmla="*/ 0 w 66"/>
                  <a:gd name="T11" fmla="*/ 2 h 83"/>
                  <a:gd name="T12" fmla="*/ 0 w 66"/>
                  <a:gd name="T13" fmla="*/ 83 h 83"/>
                  <a:gd name="T14" fmla="*/ 14 w 66"/>
                  <a:gd name="T15" fmla="*/ 83 h 83"/>
                  <a:gd name="T16" fmla="*/ 14 w 66"/>
                  <a:gd name="T17" fmla="*/ 39 h 83"/>
                  <a:gd name="T18" fmla="*/ 20 w 66"/>
                  <a:gd name="T19" fmla="*/ 18 h 83"/>
                  <a:gd name="T20" fmla="*/ 36 w 66"/>
                  <a:gd name="T21" fmla="*/ 12 h 83"/>
                  <a:gd name="T22" fmla="*/ 45 w 66"/>
                  <a:gd name="T23" fmla="*/ 15 h 83"/>
                  <a:gd name="T24" fmla="*/ 51 w 66"/>
                  <a:gd name="T25" fmla="*/ 21 h 83"/>
                  <a:gd name="T26" fmla="*/ 52 w 66"/>
                  <a:gd name="T27" fmla="*/ 34 h 83"/>
                  <a:gd name="T28" fmla="*/ 52 w 66"/>
                  <a:gd name="T29" fmla="*/ 83 h 83"/>
                  <a:gd name="T30" fmla="*/ 66 w 66"/>
                  <a:gd name="T31" fmla="*/ 83 h 83"/>
                  <a:gd name="T32" fmla="*/ 66 w 66"/>
                  <a:gd name="T33" fmla="*/ 33 h 83"/>
                  <a:gd name="T34" fmla="*/ 65 w 66"/>
                  <a:gd name="T35" fmla="*/ 20 h 83"/>
                  <a:gd name="T36" fmla="*/ 61 w 66"/>
                  <a:gd name="T37" fmla="*/ 10 h 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66" h="83">
                    <a:moveTo>
                      <a:pt x="61" y="10"/>
                    </a:moveTo>
                    <a:cubicBezTo>
                      <a:pt x="59" y="7"/>
                      <a:pt x="56" y="5"/>
                      <a:pt x="52" y="3"/>
                    </a:cubicBezTo>
                    <a:cubicBezTo>
                      <a:pt x="48" y="1"/>
                      <a:pt x="43" y="0"/>
                      <a:pt x="38" y="0"/>
                    </a:cubicBezTo>
                    <a:cubicBezTo>
                      <a:pt x="27" y="0"/>
                      <a:pt x="19" y="5"/>
                      <a:pt x="13" y="14"/>
                    </a:cubicBezTo>
                    <a:cubicBezTo>
                      <a:pt x="13" y="2"/>
                      <a:pt x="13" y="2"/>
                      <a:pt x="13" y="2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83"/>
                      <a:pt x="0" y="83"/>
                      <a:pt x="0" y="83"/>
                    </a:cubicBezTo>
                    <a:cubicBezTo>
                      <a:pt x="14" y="83"/>
                      <a:pt x="14" y="83"/>
                      <a:pt x="14" y="83"/>
                    </a:cubicBezTo>
                    <a:cubicBezTo>
                      <a:pt x="14" y="39"/>
                      <a:pt x="14" y="39"/>
                      <a:pt x="14" y="39"/>
                    </a:cubicBezTo>
                    <a:cubicBezTo>
                      <a:pt x="14" y="29"/>
                      <a:pt x="16" y="21"/>
                      <a:pt x="20" y="18"/>
                    </a:cubicBezTo>
                    <a:cubicBezTo>
                      <a:pt x="25" y="14"/>
                      <a:pt x="30" y="12"/>
                      <a:pt x="36" y="12"/>
                    </a:cubicBezTo>
                    <a:cubicBezTo>
                      <a:pt x="39" y="12"/>
                      <a:pt x="42" y="13"/>
                      <a:pt x="45" y="15"/>
                    </a:cubicBezTo>
                    <a:cubicBezTo>
                      <a:pt x="48" y="16"/>
                      <a:pt x="50" y="19"/>
                      <a:pt x="51" y="21"/>
                    </a:cubicBezTo>
                    <a:cubicBezTo>
                      <a:pt x="52" y="24"/>
                      <a:pt x="52" y="28"/>
                      <a:pt x="52" y="34"/>
                    </a:cubicBezTo>
                    <a:cubicBezTo>
                      <a:pt x="52" y="83"/>
                      <a:pt x="52" y="83"/>
                      <a:pt x="52" y="83"/>
                    </a:cubicBezTo>
                    <a:cubicBezTo>
                      <a:pt x="66" y="83"/>
                      <a:pt x="66" y="83"/>
                      <a:pt x="66" y="83"/>
                    </a:cubicBezTo>
                    <a:cubicBezTo>
                      <a:pt x="66" y="33"/>
                      <a:pt x="66" y="33"/>
                      <a:pt x="66" y="33"/>
                    </a:cubicBezTo>
                    <a:cubicBezTo>
                      <a:pt x="66" y="27"/>
                      <a:pt x="66" y="23"/>
                      <a:pt x="65" y="20"/>
                    </a:cubicBezTo>
                    <a:cubicBezTo>
                      <a:pt x="65" y="16"/>
                      <a:pt x="63" y="13"/>
                      <a:pt x="61" y="1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44" name="îśḻïďè"/>
              <p:cNvSpPr/>
              <p:nvPr/>
            </p:nvSpPr>
            <p:spPr bwMode="auto">
              <a:xfrm>
                <a:off x="8315578" y="5675903"/>
                <a:ext cx="131763" cy="211138"/>
              </a:xfrm>
              <a:custGeom>
                <a:avLst/>
                <a:gdLst>
                  <a:gd name="T0" fmla="*/ 57 w 71"/>
                  <a:gd name="T1" fmla="*/ 40 h 114"/>
                  <a:gd name="T2" fmla="*/ 48 w 71"/>
                  <a:gd name="T3" fmla="*/ 32 h 114"/>
                  <a:gd name="T4" fmla="*/ 35 w 71"/>
                  <a:gd name="T5" fmla="*/ 29 h 114"/>
                  <a:gd name="T6" fmla="*/ 17 w 71"/>
                  <a:gd name="T7" fmla="*/ 35 h 114"/>
                  <a:gd name="T8" fmla="*/ 4 w 71"/>
                  <a:gd name="T9" fmla="*/ 50 h 114"/>
                  <a:gd name="T10" fmla="*/ 0 w 71"/>
                  <a:gd name="T11" fmla="*/ 72 h 114"/>
                  <a:gd name="T12" fmla="*/ 5 w 71"/>
                  <a:gd name="T13" fmla="*/ 94 h 114"/>
                  <a:gd name="T14" fmla="*/ 17 w 71"/>
                  <a:gd name="T15" fmla="*/ 109 h 114"/>
                  <a:gd name="T16" fmla="*/ 35 w 71"/>
                  <a:gd name="T17" fmla="*/ 114 h 114"/>
                  <a:gd name="T18" fmla="*/ 58 w 71"/>
                  <a:gd name="T19" fmla="*/ 102 h 114"/>
                  <a:gd name="T20" fmla="*/ 58 w 71"/>
                  <a:gd name="T21" fmla="*/ 112 h 114"/>
                  <a:gd name="T22" fmla="*/ 71 w 71"/>
                  <a:gd name="T23" fmla="*/ 112 h 114"/>
                  <a:gd name="T24" fmla="*/ 71 w 71"/>
                  <a:gd name="T25" fmla="*/ 0 h 114"/>
                  <a:gd name="T26" fmla="*/ 57 w 71"/>
                  <a:gd name="T27" fmla="*/ 0 h 114"/>
                  <a:gd name="T28" fmla="*/ 57 w 71"/>
                  <a:gd name="T29" fmla="*/ 40 h 114"/>
                  <a:gd name="T30" fmla="*/ 52 w 71"/>
                  <a:gd name="T31" fmla="*/ 95 h 114"/>
                  <a:gd name="T32" fmla="*/ 37 w 71"/>
                  <a:gd name="T33" fmla="*/ 103 h 114"/>
                  <a:gd name="T34" fmla="*/ 21 w 71"/>
                  <a:gd name="T35" fmla="*/ 95 h 114"/>
                  <a:gd name="T36" fmla="*/ 15 w 71"/>
                  <a:gd name="T37" fmla="*/ 72 h 114"/>
                  <a:gd name="T38" fmla="*/ 21 w 71"/>
                  <a:gd name="T39" fmla="*/ 48 h 114"/>
                  <a:gd name="T40" fmla="*/ 36 w 71"/>
                  <a:gd name="T41" fmla="*/ 41 h 114"/>
                  <a:gd name="T42" fmla="*/ 52 w 71"/>
                  <a:gd name="T43" fmla="*/ 48 h 114"/>
                  <a:gd name="T44" fmla="*/ 58 w 71"/>
                  <a:gd name="T45" fmla="*/ 73 h 114"/>
                  <a:gd name="T46" fmla="*/ 52 w 71"/>
                  <a:gd name="T47" fmla="*/ 95 h 1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71" h="114">
                    <a:moveTo>
                      <a:pt x="57" y="40"/>
                    </a:moveTo>
                    <a:cubicBezTo>
                      <a:pt x="55" y="37"/>
                      <a:pt x="52" y="34"/>
                      <a:pt x="48" y="32"/>
                    </a:cubicBezTo>
                    <a:cubicBezTo>
                      <a:pt x="44" y="30"/>
                      <a:pt x="40" y="29"/>
                      <a:pt x="35" y="29"/>
                    </a:cubicBezTo>
                    <a:cubicBezTo>
                      <a:pt x="28" y="29"/>
                      <a:pt x="22" y="31"/>
                      <a:pt x="17" y="35"/>
                    </a:cubicBezTo>
                    <a:cubicBezTo>
                      <a:pt x="11" y="38"/>
                      <a:pt x="7" y="43"/>
                      <a:pt x="4" y="50"/>
                    </a:cubicBezTo>
                    <a:cubicBezTo>
                      <a:pt x="2" y="56"/>
                      <a:pt x="0" y="64"/>
                      <a:pt x="0" y="72"/>
                    </a:cubicBezTo>
                    <a:cubicBezTo>
                      <a:pt x="0" y="80"/>
                      <a:pt x="2" y="87"/>
                      <a:pt x="5" y="94"/>
                    </a:cubicBezTo>
                    <a:cubicBezTo>
                      <a:pt x="8" y="100"/>
                      <a:pt x="12" y="105"/>
                      <a:pt x="17" y="109"/>
                    </a:cubicBezTo>
                    <a:cubicBezTo>
                      <a:pt x="23" y="112"/>
                      <a:pt x="29" y="114"/>
                      <a:pt x="35" y="114"/>
                    </a:cubicBezTo>
                    <a:cubicBezTo>
                      <a:pt x="45" y="114"/>
                      <a:pt x="53" y="110"/>
                      <a:pt x="58" y="102"/>
                    </a:cubicBezTo>
                    <a:cubicBezTo>
                      <a:pt x="58" y="112"/>
                      <a:pt x="58" y="112"/>
                      <a:pt x="58" y="112"/>
                    </a:cubicBezTo>
                    <a:cubicBezTo>
                      <a:pt x="71" y="112"/>
                      <a:pt x="71" y="112"/>
                      <a:pt x="71" y="112"/>
                    </a:cubicBezTo>
                    <a:cubicBezTo>
                      <a:pt x="71" y="0"/>
                      <a:pt x="71" y="0"/>
                      <a:pt x="71" y="0"/>
                    </a:cubicBezTo>
                    <a:cubicBezTo>
                      <a:pt x="57" y="0"/>
                      <a:pt x="57" y="0"/>
                      <a:pt x="57" y="0"/>
                    </a:cubicBezTo>
                    <a:lnTo>
                      <a:pt x="57" y="40"/>
                    </a:lnTo>
                    <a:close/>
                    <a:moveTo>
                      <a:pt x="52" y="95"/>
                    </a:moveTo>
                    <a:cubicBezTo>
                      <a:pt x="48" y="100"/>
                      <a:pt x="43" y="103"/>
                      <a:pt x="37" y="103"/>
                    </a:cubicBezTo>
                    <a:cubicBezTo>
                      <a:pt x="31" y="103"/>
                      <a:pt x="25" y="100"/>
                      <a:pt x="21" y="95"/>
                    </a:cubicBezTo>
                    <a:cubicBezTo>
                      <a:pt x="17" y="90"/>
                      <a:pt x="15" y="82"/>
                      <a:pt x="15" y="72"/>
                    </a:cubicBezTo>
                    <a:cubicBezTo>
                      <a:pt x="15" y="61"/>
                      <a:pt x="17" y="53"/>
                      <a:pt x="21" y="48"/>
                    </a:cubicBezTo>
                    <a:cubicBezTo>
                      <a:pt x="25" y="43"/>
                      <a:pt x="30" y="41"/>
                      <a:pt x="36" y="41"/>
                    </a:cubicBezTo>
                    <a:cubicBezTo>
                      <a:pt x="42" y="41"/>
                      <a:pt x="48" y="43"/>
                      <a:pt x="52" y="48"/>
                    </a:cubicBezTo>
                    <a:cubicBezTo>
                      <a:pt x="56" y="54"/>
                      <a:pt x="58" y="62"/>
                      <a:pt x="58" y="73"/>
                    </a:cubicBezTo>
                    <a:cubicBezTo>
                      <a:pt x="58" y="83"/>
                      <a:pt x="56" y="91"/>
                      <a:pt x="52" y="9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45" name="iṡľîdé"/>
              <p:cNvSpPr/>
              <p:nvPr/>
            </p:nvSpPr>
            <p:spPr bwMode="auto">
              <a:xfrm>
                <a:off x="8550528" y="5675903"/>
                <a:ext cx="163513" cy="206375"/>
              </a:xfrm>
              <a:custGeom>
                <a:avLst/>
                <a:gdLst>
                  <a:gd name="T0" fmla="*/ 103 w 103"/>
                  <a:gd name="T1" fmla="*/ 0 h 130"/>
                  <a:gd name="T2" fmla="*/ 0 w 103"/>
                  <a:gd name="T3" fmla="*/ 0 h 130"/>
                  <a:gd name="T4" fmla="*/ 0 w 103"/>
                  <a:gd name="T5" fmla="*/ 15 h 130"/>
                  <a:gd name="T6" fmla="*/ 43 w 103"/>
                  <a:gd name="T7" fmla="*/ 15 h 130"/>
                  <a:gd name="T8" fmla="*/ 43 w 103"/>
                  <a:gd name="T9" fmla="*/ 130 h 130"/>
                  <a:gd name="T10" fmla="*/ 59 w 103"/>
                  <a:gd name="T11" fmla="*/ 130 h 130"/>
                  <a:gd name="T12" fmla="*/ 59 w 103"/>
                  <a:gd name="T13" fmla="*/ 15 h 130"/>
                  <a:gd name="T14" fmla="*/ 103 w 103"/>
                  <a:gd name="T15" fmla="*/ 15 h 130"/>
                  <a:gd name="T16" fmla="*/ 103 w 103"/>
                  <a:gd name="T17" fmla="*/ 0 h 1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03" h="130">
                    <a:moveTo>
                      <a:pt x="103" y="0"/>
                    </a:moveTo>
                    <a:lnTo>
                      <a:pt x="0" y="0"/>
                    </a:lnTo>
                    <a:lnTo>
                      <a:pt x="0" y="15"/>
                    </a:lnTo>
                    <a:lnTo>
                      <a:pt x="43" y="15"/>
                    </a:lnTo>
                    <a:lnTo>
                      <a:pt x="43" y="130"/>
                    </a:lnTo>
                    <a:lnTo>
                      <a:pt x="59" y="130"/>
                    </a:lnTo>
                    <a:lnTo>
                      <a:pt x="59" y="15"/>
                    </a:lnTo>
                    <a:lnTo>
                      <a:pt x="103" y="15"/>
                    </a:lnTo>
                    <a:lnTo>
                      <a:pt x="103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46" name="íṥḻíḋé"/>
              <p:cNvSpPr/>
              <p:nvPr/>
            </p:nvSpPr>
            <p:spPr bwMode="auto">
              <a:xfrm>
                <a:off x="8698166" y="5729878"/>
                <a:ext cx="138113" cy="157163"/>
              </a:xfrm>
              <a:custGeom>
                <a:avLst/>
                <a:gdLst>
                  <a:gd name="T0" fmla="*/ 38 w 75"/>
                  <a:gd name="T1" fmla="*/ 0 h 85"/>
                  <a:gd name="T2" fmla="*/ 11 w 75"/>
                  <a:gd name="T3" fmla="*/ 12 h 85"/>
                  <a:gd name="T4" fmla="*/ 0 w 75"/>
                  <a:gd name="T5" fmla="*/ 43 h 85"/>
                  <a:gd name="T6" fmla="*/ 10 w 75"/>
                  <a:gd name="T7" fmla="*/ 74 h 85"/>
                  <a:gd name="T8" fmla="*/ 39 w 75"/>
                  <a:gd name="T9" fmla="*/ 85 h 85"/>
                  <a:gd name="T10" fmla="*/ 62 w 75"/>
                  <a:gd name="T11" fmla="*/ 78 h 85"/>
                  <a:gd name="T12" fmla="*/ 74 w 75"/>
                  <a:gd name="T13" fmla="*/ 59 h 85"/>
                  <a:gd name="T14" fmla="*/ 60 w 75"/>
                  <a:gd name="T15" fmla="*/ 57 h 85"/>
                  <a:gd name="T16" fmla="*/ 52 w 75"/>
                  <a:gd name="T17" fmla="*/ 70 h 85"/>
                  <a:gd name="T18" fmla="*/ 39 w 75"/>
                  <a:gd name="T19" fmla="*/ 74 h 85"/>
                  <a:gd name="T20" fmla="*/ 22 w 75"/>
                  <a:gd name="T21" fmla="*/ 67 h 85"/>
                  <a:gd name="T22" fmla="*/ 14 w 75"/>
                  <a:gd name="T23" fmla="*/ 46 h 85"/>
                  <a:gd name="T24" fmla="*/ 75 w 75"/>
                  <a:gd name="T25" fmla="*/ 46 h 85"/>
                  <a:gd name="T26" fmla="*/ 75 w 75"/>
                  <a:gd name="T27" fmla="*/ 43 h 85"/>
                  <a:gd name="T28" fmla="*/ 65 w 75"/>
                  <a:gd name="T29" fmla="*/ 11 h 85"/>
                  <a:gd name="T30" fmla="*/ 38 w 75"/>
                  <a:gd name="T31" fmla="*/ 0 h 85"/>
                  <a:gd name="T32" fmla="*/ 15 w 75"/>
                  <a:gd name="T33" fmla="*/ 35 h 85"/>
                  <a:gd name="T34" fmla="*/ 22 w 75"/>
                  <a:gd name="T35" fmla="*/ 18 h 85"/>
                  <a:gd name="T36" fmla="*/ 38 w 75"/>
                  <a:gd name="T37" fmla="*/ 12 h 85"/>
                  <a:gd name="T38" fmla="*/ 55 w 75"/>
                  <a:gd name="T39" fmla="*/ 20 h 85"/>
                  <a:gd name="T40" fmla="*/ 60 w 75"/>
                  <a:gd name="T41" fmla="*/ 35 h 85"/>
                  <a:gd name="T42" fmla="*/ 15 w 75"/>
                  <a:gd name="T43" fmla="*/ 35 h 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75" h="85">
                    <a:moveTo>
                      <a:pt x="38" y="0"/>
                    </a:moveTo>
                    <a:cubicBezTo>
                      <a:pt x="27" y="0"/>
                      <a:pt x="18" y="4"/>
                      <a:pt x="11" y="12"/>
                    </a:cubicBezTo>
                    <a:cubicBezTo>
                      <a:pt x="4" y="19"/>
                      <a:pt x="0" y="30"/>
                      <a:pt x="0" y="43"/>
                    </a:cubicBezTo>
                    <a:cubicBezTo>
                      <a:pt x="0" y="57"/>
                      <a:pt x="3" y="67"/>
                      <a:pt x="10" y="74"/>
                    </a:cubicBezTo>
                    <a:cubicBezTo>
                      <a:pt x="17" y="81"/>
                      <a:pt x="27" y="85"/>
                      <a:pt x="39" y="85"/>
                    </a:cubicBezTo>
                    <a:cubicBezTo>
                      <a:pt x="48" y="85"/>
                      <a:pt x="56" y="83"/>
                      <a:pt x="62" y="78"/>
                    </a:cubicBezTo>
                    <a:cubicBezTo>
                      <a:pt x="68" y="74"/>
                      <a:pt x="72" y="67"/>
                      <a:pt x="74" y="59"/>
                    </a:cubicBezTo>
                    <a:cubicBezTo>
                      <a:pt x="60" y="57"/>
                      <a:pt x="60" y="57"/>
                      <a:pt x="60" y="57"/>
                    </a:cubicBezTo>
                    <a:cubicBezTo>
                      <a:pt x="58" y="63"/>
                      <a:pt x="55" y="67"/>
                      <a:pt x="52" y="70"/>
                    </a:cubicBezTo>
                    <a:cubicBezTo>
                      <a:pt x="48" y="73"/>
                      <a:pt x="44" y="74"/>
                      <a:pt x="39" y="74"/>
                    </a:cubicBezTo>
                    <a:cubicBezTo>
                      <a:pt x="32" y="74"/>
                      <a:pt x="26" y="71"/>
                      <a:pt x="22" y="67"/>
                    </a:cubicBezTo>
                    <a:cubicBezTo>
                      <a:pt x="17" y="62"/>
                      <a:pt x="15" y="55"/>
                      <a:pt x="14" y="46"/>
                    </a:cubicBezTo>
                    <a:cubicBezTo>
                      <a:pt x="75" y="46"/>
                      <a:pt x="75" y="46"/>
                      <a:pt x="75" y="46"/>
                    </a:cubicBezTo>
                    <a:cubicBezTo>
                      <a:pt x="75" y="45"/>
                      <a:pt x="75" y="43"/>
                      <a:pt x="75" y="43"/>
                    </a:cubicBezTo>
                    <a:cubicBezTo>
                      <a:pt x="75" y="29"/>
                      <a:pt x="72" y="19"/>
                      <a:pt x="65" y="11"/>
                    </a:cubicBezTo>
                    <a:cubicBezTo>
                      <a:pt x="58" y="4"/>
                      <a:pt x="49" y="0"/>
                      <a:pt x="38" y="0"/>
                    </a:cubicBezTo>
                    <a:close/>
                    <a:moveTo>
                      <a:pt x="15" y="35"/>
                    </a:moveTo>
                    <a:cubicBezTo>
                      <a:pt x="15" y="28"/>
                      <a:pt x="18" y="22"/>
                      <a:pt x="22" y="18"/>
                    </a:cubicBezTo>
                    <a:cubicBezTo>
                      <a:pt x="26" y="14"/>
                      <a:pt x="32" y="12"/>
                      <a:pt x="38" y="12"/>
                    </a:cubicBezTo>
                    <a:cubicBezTo>
                      <a:pt x="45" y="12"/>
                      <a:pt x="51" y="14"/>
                      <a:pt x="55" y="20"/>
                    </a:cubicBezTo>
                    <a:cubicBezTo>
                      <a:pt x="58" y="23"/>
                      <a:pt x="60" y="28"/>
                      <a:pt x="60" y="35"/>
                    </a:cubicBezTo>
                    <a:lnTo>
                      <a:pt x="15" y="3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47" name="ïṡļïḍè"/>
              <p:cNvSpPr/>
              <p:nvPr/>
            </p:nvSpPr>
            <p:spPr bwMode="auto">
              <a:xfrm>
                <a:off x="8860091" y="5729878"/>
                <a:ext cx="128588" cy="157163"/>
              </a:xfrm>
              <a:custGeom>
                <a:avLst/>
                <a:gdLst>
                  <a:gd name="T0" fmla="*/ 50 w 70"/>
                  <a:gd name="T1" fmla="*/ 69 h 85"/>
                  <a:gd name="T2" fmla="*/ 36 w 70"/>
                  <a:gd name="T3" fmla="*/ 74 h 85"/>
                  <a:gd name="T4" fmla="*/ 20 w 70"/>
                  <a:gd name="T5" fmla="*/ 66 h 85"/>
                  <a:gd name="T6" fmla="*/ 14 w 70"/>
                  <a:gd name="T7" fmla="*/ 43 h 85"/>
                  <a:gd name="T8" fmla="*/ 20 w 70"/>
                  <a:gd name="T9" fmla="*/ 19 h 85"/>
                  <a:gd name="T10" fmla="*/ 37 w 70"/>
                  <a:gd name="T11" fmla="*/ 12 h 85"/>
                  <a:gd name="T12" fmla="*/ 49 w 70"/>
                  <a:gd name="T13" fmla="*/ 16 h 85"/>
                  <a:gd name="T14" fmla="*/ 56 w 70"/>
                  <a:gd name="T15" fmla="*/ 28 h 85"/>
                  <a:gd name="T16" fmla="*/ 69 w 70"/>
                  <a:gd name="T17" fmla="*/ 26 h 85"/>
                  <a:gd name="T18" fmla="*/ 58 w 70"/>
                  <a:gd name="T19" fmla="*/ 7 h 85"/>
                  <a:gd name="T20" fmla="*/ 37 w 70"/>
                  <a:gd name="T21" fmla="*/ 0 h 85"/>
                  <a:gd name="T22" fmla="*/ 17 w 70"/>
                  <a:gd name="T23" fmla="*/ 5 h 85"/>
                  <a:gd name="T24" fmla="*/ 4 w 70"/>
                  <a:gd name="T25" fmla="*/ 20 h 85"/>
                  <a:gd name="T26" fmla="*/ 0 w 70"/>
                  <a:gd name="T27" fmla="*/ 43 h 85"/>
                  <a:gd name="T28" fmla="*/ 10 w 70"/>
                  <a:gd name="T29" fmla="*/ 74 h 85"/>
                  <a:gd name="T30" fmla="*/ 37 w 70"/>
                  <a:gd name="T31" fmla="*/ 85 h 85"/>
                  <a:gd name="T32" fmla="*/ 59 w 70"/>
                  <a:gd name="T33" fmla="*/ 77 h 85"/>
                  <a:gd name="T34" fmla="*/ 70 w 70"/>
                  <a:gd name="T35" fmla="*/ 55 h 85"/>
                  <a:gd name="T36" fmla="*/ 57 w 70"/>
                  <a:gd name="T37" fmla="*/ 54 h 85"/>
                  <a:gd name="T38" fmla="*/ 50 w 70"/>
                  <a:gd name="T39" fmla="*/ 69 h 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70" h="85">
                    <a:moveTo>
                      <a:pt x="50" y="69"/>
                    </a:moveTo>
                    <a:cubicBezTo>
                      <a:pt x="46" y="72"/>
                      <a:pt x="42" y="74"/>
                      <a:pt x="36" y="74"/>
                    </a:cubicBezTo>
                    <a:cubicBezTo>
                      <a:pt x="30" y="74"/>
                      <a:pt x="24" y="71"/>
                      <a:pt x="20" y="66"/>
                    </a:cubicBezTo>
                    <a:cubicBezTo>
                      <a:pt x="16" y="61"/>
                      <a:pt x="14" y="54"/>
                      <a:pt x="14" y="43"/>
                    </a:cubicBezTo>
                    <a:cubicBezTo>
                      <a:pt x="14" y="32"/>
                      <a:pt x="16" y="24"/>
                      <a:pt x="20" y="19"/>
                    </a:cubicBezTo>
                    <a:cubicBezTo>
                      <a:pt x="25" y="14"/>
                      <a:pt x="30" y="12"/>
                      <a:pt x="37" y="12"/>
                    </a:cubicBezTo>
                    <a:cubicBezTo>
                      <a:pt x="42" y="12"/>
                      <a:pt x="46" y="13"/>
                      <a:pt x="49" y="16"/>
                    </a:cubicBezTo>
                    <a:cubicBezTo>
                      <a:pt x="52" y="18"/>
                      <a:pt x="54" y="23"/>
                      <a:pt x="56" y="28"/>
                    </a:cubicBezTo>
                    <a:cubicBezTo>
                      <a:pt x="69" y="26"/>
                      <a:pt x="69" y="26"/>
                      <a:pt x="69" y="26"/>
                    </a:cubicBezTo>
                    <a:cubicBezTo>
                      <a:pt x="67" y="18"/>
                      <a:pt x="64" y="11"/>
                      <a:pt x="58" y="7"/>
                    </a:cubicBezTo>
                    <a:cubicBezTo>
                      <a:pt x="53" y="2"/>
                      <a:pt x="45" y="0"/>
                      <a:pt x="37" y="0"/>
                    </a:cubicBezTo>
                    <a:cubicBezTo>
                      <a:pt x="30" y="0"/>
                      <a:pt x="23" y="2"/>
                      <a:pt x="17" y="5"/>
                    </a:cubicBezTo>
                    <a:cubicBezTo>
                      <a:pt x="11" y="8"/>
                      <a:pt x="7" y="13"/>
                      <a:pt x="4" y="20"/>
                    </a:cubicBezTo>
                    <a:cubicBezTo>
                      <a:pt x="1" y="27"/>
                      <a:pt x="0" y="34"/>
                      <a:pt x="0" y="43"/>
                    </a:cubicBezTo>
                    <a:cubicBezTo>
                      <a:pt x="0" y="57"/>
                      <a:pt x="3" y="67"/>
                      <a:pt x="10" y="74"/>
                    </a:cubicBezTo>
                    <a:cubicBezTo>
                      <a:pt x="16" y="82"/>
                      <a:pt x="25" y="85"/>
                      <a:pt x="37" y="85"/>
                    </a:cubicBezTo>
                    <a:cubicBezTo>
                      <a:pt x="45" y="85"/>
                      <a:pt x="53" y="83"/>
                      <a:pt x="59" y="77"/>
                    </a:cubicBezTo>
                    <a:cubicBezTo>
                      <a:pt x="65" y="72"/>
                      <a:pt x="69" y="65"/>
                      <a:pt x="70" y="55"/>
                    </a:cubicBezTo>
                    <a:cubicBezTo>
                      <a:pt x="57" y="54"/>
                      <a:pt x="57" y="54"/>
                      <a:pt x="57" y="54"/>
                    </a:cubicBezTo>
                    <a:cubicBezTo>
                      <a:pt x="56" y="60"/>
                      <a:pt x="54" y="66"/>
                      <a:pt x="50" y="6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48" name="iṩḷídê"/>
              <p:cNvSpPr/>
              <p:nvPr/>
            </p:nvSpPr>
            <p:spPr bwMode="auto">
              <a:xfrm>
                <a:off x="9010903" y="5675903"/>
                <a:ext cx="122238" cy="206375"/>
              </a:xfrm>
              <a:custGeom>
                <a:avLst/>
                <a:gdLst>
                  <a:gd name="T0" fmla="*/ 54 w 66"/>
                  <a:gd name="T1" fmla="*/ 33 h 112"/>
                  <a:gd name="T2" fmla="*/ 38 w 66"/>
                  <a:gd name="T3" fmla="*/ 29 h 112"/>
                  <a:gd name="T4" fmla="*/ 14 w 66"/>
                  <a:gd name="T5" fmla="*/ 40 h 112"/>
                  <a:gd name="T6" fmla="*/ 14 w 66"/>
                  <a:gd name="T7" fmla="*/ 0 h 112"/>
                  <a:gd name="T8" fmla="*/ 0 w 66"/>
                  <a:gd name="T9" fmla="*/ 0 h 112"/>
                  <a:gd name="T10" fmla="*/ 0 w 66"/>
                  <a:gd name="T11" fmla="*/ 112 h 112"/>
                  <a:gd name="T12" fmla="*/ 14 w 66"/>
                  <a:gd name="T13" fmla="*/ 112 h 112"/>
                  <a:gd name="T14" fmla="*/ 14 w 66"/>
                  <a:gd name="T15" fmla="*/ 68 h 112"/>
                  <a:gd name="T16" fmla="*/ 16 w 66"/>
                  <a:gd name="T17" fmla="*/ 53 h 112"/>
                  <a:gd name="T18" fmla="*/ 24 w 66"/>
                  <a:gd name="T19" fmla="*/ 44 h 112"/>
                  <a:gd name="T20" fmla="*/ 35 w 66"/>
                  <a:gd name="T21" fmla="*/ 41 h 112"/>
                  <a:gd name="T22" fmla="*/ 48 w 66"/>
                  <a:gd name="T23" fmla="*/ 46 h 112"/>
                  <a:gd name="T24" fmla="*/ 53 w 66"/>
                  <a:gd name="T25" fmla="*/ 61 h 112"/>
                  <a:gd name="T26" fmla="*/ 53 w 66"/>
                  <a:gd name="T27" fmla="*/ 112 h 112"/>
                  <a:gd name="T28" fmla="*/ 66 w 66"/>
                  <a:gd name="T29" fmla="*/ 112 h 112"/>
                  <a:gd name="T30" fmla="*/ 66 w 66"/>
                  <a:gd name="T31" fmla="*/ 61 h 112"/>
                  <a:gd name="T32" fmla="*/ 63 w 66"/>
                  <a:gd name="T33" fmla="*/ 43 h 112"/>
                  <a:gd name="T34" fmla="*/ 54 w 66"/>
                  <a:gd name="T35" fmla="*/ 33 h 1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66" h="112">
                    <a:moveTo>
                      <a:pt x="54" y="33"/>
                    </a:moveTo>
                    <a:cubicBezTo>
                      <a:pt x="50" y="30"/>
                      <a:pt x="44" y="29"/>
                      <a:pt x="38" y="29"/>
                    </a:cubicBezTo>
                    <a:cubicBezTo>
                      <a:pt x="28" y="29"/>
                      <a:pt x="20" y="33"/>
                      <a:pt x="14" y="4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112"/>
                      <a:pt x="0" y="112"/>
                      <a:pt x="0" y="112"/>
                    </a:cubicBezTo>
                    <a:cubicBezTo>
                      <a:pt x="14" y="112"/>
                      <a:pt x="14" y="112"/>
                      <a:pt x="14" y="112"/>
                    </a:cubicBezTo>
                    <a:cubicBezTo>
                      <a:pt x="14" y="68"/>
                      <a:pt x="14" y="68"/>
                      <a:pt x="14" y="68"/>
                    </a:cubicBezTo>
                    <a:cubicBezTo>
                      <a:pt x="14" y="61"/>
                      <a:pt x="15" y="56"/>
                      <a:pt x="16" y="53"/>
                    </a:cubicBezTo>
                    <a:cubicBezTo>
                      <a:pt x="18" y="49"/>
                      <a:pt x="20" y="46"/>
                      <a:pt x="24" y="44"/>
                    </a:cubicBezTo>
                    <a:cubicBezTo>
                      <a:pt x="28" y="42"/>
                      <a:pt x="31" y="41"/>
                      <a:pt x="35" y="41"/>
                    </a:cubicBezTo>
                    <a:cubicBezTo>
                      <a:pt x="41" y="41"/>
                      <a:pt x="45" y="43"/>
                      <a:pt x="48" y="46"/>
                    </a:cubicBezTo>
                    <a:cubicBezTo>
                      <a:pt x="51" y="49"/>
                      <a:pt x="53" y="54"/>
                      <a:pt x="53" y="61"/>
                    </a:cubicBezTo>
                    <a:cubicBezTo>
                      <a:pt x="53" y="112"/>
                      <a:pt x="53" y="112"/>
                      <a:pt x="53" y="112"/>
                    </a:cubicBezTo>
                    <a:cubicBezTo>
                      <a:pt x="66" y="112"/>
                      <a:pt x="66" y="112"/>
                      <a:pt x="66" y="112"/>
                    </a:cubicBezTo>
                    <a:cubicBezTo>
                      <a:pt x="66" y="61"/>
                      <a:pt x="66" y="61"/>
                      <a:pt x="66" y="61"/>
                    </a:cubicBezTo>
                    <a:cubicBezTo>
                      <a:pt x="66" y="53"/>
                      <a:pt x="65" y="47"/>
                      <a:pt x="63" y="43"/>
                    </a:cubicBezTo>
                    <a:cubicBezTo>
                      <a:pt x="62" y="38"/>
                      <a:pt x="58" y="35"/>
                      <a:pt x="54" y="3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49" name="íslîḍe"/>
              <p:cNvSpPr/>
              <p:nvPr/>
            </p:nvSpPr>
            <p:spPr bwMode="auto">
              <a:xfrm>
                <a:off x="9171241" y="5729878"/>
                <a:ext cx="122238" cy="152400"/>
              </a:xfrm>
              <a:custGeom>
                <a:avLst/>
                <a:gdLst>
                  <a:gd name="T0" fmla="*/ 61 w 66"/>
                  <a:gd name="T1" fmla="*/ 10 h 83"/>
                  <a:gd name="T2" fmla="*/ 52 w 66"/>
                  <a:gd name="T3" fmla="*/ 3 h 83"/>
                  <a:gd name="T4" fmla="*/ 39 w 66"/>
                  <a:gd name="T5" fmla="*/ 0 h 83"/>
                  <a:gd name="T6" fmla="*/ 13 w 66"/>
                  <a:gd name="T7" fmla="*/ 14 h 83"/>
                  <a:gd name="T8" fmla="*/ 13 w 66"/>
                  <a:gd name="T9" fmla="*/ 2 h 83"/>
                  <a:gd name="T10" fmla="*/ 0 w 66"/>
                  <a:gd name="T11" fmla="*/ 2 h 83"/>
                  <a:gd name="T12" fmla="*/ 0 w 66"/>
                  <a:gd name="T13" fmla="*/ 83 h 83"/>
                  <a:gd name="T14" fmla="*/ 14 w 66"/>
                  <a:gd name="T15" fmla="*/ 83 h 83"/>
                  <a:gd name="T16" fmla="*/ 14 w 66"/>
                  <a:gd name="T17" fmla="*/ 39 h 83"/>
                  <a:gd name="T18" fmla="*/ 20 w 66"/>
                  <a:gd name="T19" fmla="*/ 18 h 83"/>
                  <a:gd name="T20" fmla="*/ 36 w 66"/>
                  <a:gd name="T21" fmla="*/ 12 h 83"/>
                  <a:gd name="T22" fmla="*/ 45 w 66"/>
                  <a:gd name="T23" fmla="*/ 15 h 83"/>
                  <a:gd name="T24" fmla="*/ 51 w 66"/>
                  <a:gd name="T25" fmla="*/ 21 h 83"/>
                  <a:gd name="T26" fmla="*/ 53 w 66"/>
                  <a:gd name="T27" fmla="*/ 34 h 83"/>
                  <a:gd name="T28" fmla="*/ 53 w 66"/>
                  <a:gd name="T29" fmla="*/ 83 h 83"/>
                  <a:gd name="T30" fmla="*/ 66 w 66"/>
                  <a:gd name="T31" fmla="*/ 83 h 83"/>
                  <a:gd name="T32" fmla="*/ 66 w 66"/>
                  <a:gd name="T33" fmla="*/ 33 h 83"/>
                  <a:gd name="T34" fmla="*/ 66 w 66"/>
                  <a:gd name="T35" fmla="*/ 20 h 83"/>
                  <a:gd name="T36" fmla="*/ 61 w 66"/>
                  <a:gd name="T37" fmla="*/ 10 h 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66" h="83">
                    <a:moveTo>
                      <a:pt x="61" y="10"/>
                    </a:moveTo>
                    <a:cubicBezTo>
                      <a:pt x="59" y="7"/>
                      <a:pt x="56" y="5"/>
                      <a:pt x="52" y="3"/>
                    </a:cubicBezTo>
                    <a:cubicBezTo>
                      <a:pt x="48" y="1"/>
                      <a:pt x="43" y="0"/>
                      <a:pt x="39" y="0"/>
                    </a:cubicBezTo>
                    <a:cubicBezTo>
                      <a:pt x="27" y="0"/>
                      <a:pt x="19" y="5"/>
                      <a:pt x="13" y="14"/>
                    </a:cubicBezTo>
                    <a:cubicBezTo>
                      <a:pt x="13" y="2"/>
                      <a:pt x="13" y="2"/>
                      <a:pt x="13" y="2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83"/>
                      <a:pt x="0" y="83"/>
                      <a:pt x="0" y="83"/>
                    </a:cubicBezTo>
                    <a:cubicBezTo>
                      <a:pt x="14" y="83"/>
                      <a:pt x="14" y="83"/>
                      <a:pt x="14" y="83"/>
                    </a:cubicBezTo>
                    <a:cubicBezTo>
                      <a:pt x="14" y="39"/>
                      <a:pt x="14" y="39"/>
                      <a:pt x="14" y="39"/>
                    </a:cubicBezTo>
                    <a:cubicBezTo>
                      <a:pt x="14" y="29"/>
                      <a:pt x="16" y="21"/>
                      <a:pt x="20" y="18"/>
                    </a:cubicBezTo>
                    <a:cubicBezTo>
                      <a:pt x="25" y="14"/>
                      <a:pt x="30" y="12"/>
                      <a:pt x="36" y="12"/>
                    </a:cubicBezTo>
                    <a:cubicBezTo>
                      <a:pt x="39" y="12"/>
                      <a:pt x="43" y="13"/>
                      <a:pt x="45" y="15"/>
                    </a:cubicBezTo>
                    <a:cubicBezTo>
                      <a:pt x="48" y="16"/>
                      <a:pt x="50" y="19"/>
                      <a:pt x="51" y="21"/>
                    </a:cubicBezTo>
                    <a:cubicBezTo>
                      <a:pt x="52" y="24"/>
                      <a:pt x="53" y="28"/>
                      <a:pt x="53" y="34"/>
                    </a:cubicBezTo>
                    <a:cubicBezTo>
                      <a:pt x="53" y="83"/>
                      <a:pt x="53" y="83"/>
                      <a:pt x="53" y="83"/>
                    </a:cubicBezTo>
                    <a:cubicBezTo>
                      <a:pt x="66" y="83"/>
                      <a:pt x="66" y="83"/>
                      <a:pt x="66" y="83"/>
                    </a:cubicBezTo>
                    <a:cubicBezTo>
                      <a:pt x="66" y="33"/>
                      <a:pt x="66" y="33"/>
                      <a:pt x="66" y="33"/>
                    </a:cubicBezTo>
                    <a:cubicBezTo>
                      <a:pt x="66" y="27"/>
                      <a:pt x="66" y="23"/>
                      <a:pt x="66" y="20"/>
                    </a:cubicBezTo>
                    <a:cubicBezTo>
                      <a:pt x="65" y="16"/>
                      <a:pt x="63" y="13"/>
                      <a:pt x="61" y="1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50" name="ïṣľíḓè"/>
              <p:cNvSpPr/>
              <p:nvPr/>
            </p:nvSpPr>
            <p:spPr bwMode="auto">
              <a:xfrm>
                <a:off x="9322053" y="5729878"/>
                <a:ext cx="142875" cy="157163"/>
              </a:xfrm>
              <a:custGeom>
                <a:avLst/>
                <a:gdLst>
                  <a:gd name="T0" fmla="*/ 38 w 77"/>
                  <a:gd name="T1" fmla="*/ 0 h 85"/>
                  <a:gd name="T2" fmla="*/ 13 w 77"/>
                  <a:gd name="T3" fmla="*/ 9 h 85"/>
                  <a:gd name="T4" fmla="*/ 0 w 77"/>
                  <a:gd name="T5" fmla="*/ 43 h 85"/>
                  <a:gd name="T6" fmla="*/ 11 w 77"/>
                  <a:gd name="T7" fmla="*/ 74 h 85"/>
                  <a:gd name="T8" fmla="*/ 38 w 77"/>
                  <a:gd name="T9" fmla="*/ 85 h 85"/>
                  <a:gd name="T10" fmla="*/ 58 w 77"/>
                  <a:gd name="T11" fmla="*/ 80 h 85"/>
                  <a:gd name="T12" fmla="*/ 72 w 77"/>
                  <a:gd name="T13" fmla="*/ 66 h 85"/>
                  <a:gd name="T14" fmla="*/ 77 w 77"/>
                  <a:gd name="T15" fmla="*/ 42 h 85"/>
                  <a:gd name="T16" fmla="*/ 66 w 77"/>
                  <a:gd name="T17" fmla="*/ 11 h 85"/>
                  <a:gd name="T18" fmla="*/ 38 w 77"/>
                  <a:gd name="T19" fmla="*/ 0 h 85"/>
                  <a:gd name="T20" fmla="*/ 56 w 77"/>
                  <a:gd name="T21" fmla="*/ 66 h 85"/>
                  <a:gd name="T22" fmla="*/ 38 w 77"/>
                  <a:gd name="T23" fmla="*/ 74 h 85"/>
                  <a:gd name="T24" fmla="*/ 21 w 77"/>
                  <a:gd name="T25" fmla="*/ 66 h 85"/>
                  <a:gd name="T26" fmla="*/ 15 w 77"/>
                  <a:gd name="T27" fmla="*/ 43 h 85"/>
                  <a:gd name="T28" fmla="*/ 21 w 77"/>
                  <a:gd name="T29" fmla="*/ 19 h 85"/>
                  <a:gd name="T30" fmla="*/ 38 w 77"/>
                  <a:gd name="T31" fmla="*/ 12 h 85"/>
                  <a:gd name="T32" fmla="*/ 56 w 77"/>
                  <a:gd name="T33" fmla="*/ 19 h 85"/>
                  <a:gd name="T34" fmla="*/ 62 w 77"/>
                  <a:gd name="T35" fmla="*/ 42 h 85"/>
                  <a:gd name="T36" fmla="*/ 56 w 77"/>
                  <a:gd name="T37" fmla="*/ 66 h 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77" h="85">
                    <a:moveTo>
                      <a:pt x="38" y="0"/>
                    </a:moveTo>
                    <a:cubicBezTo>
                      <a:pt x="28" y="0"/>
                      <a:pt x="20" y="3"/>
                      <a:pt x="13" y="9"/>
                    </a:cubicBezTo>
                    <a:cubicBezTo>
                      <a:pt x="5" y="16"/>
                      <a:pt x="0" y="28"/>
                      <a:pt x="0" y="43"/>
                    </a:cubicBezTo>
                    <a:cubicBezTo>
                      <a:pt x="0" y="56"/>
                      <a:pt x="4" y="67"/>
                      <a:pt x="11" y="74"/>
                    </a:cubicBezTo>
                    <a:cubicBezTo>
                      <a:pt x="18" y="82"/>
                      <a:pt x="27" y="85"/>
                      <a:pt x="38" y="85"/>
                    </a:cubicBezTo>
                    <a:cubicBezTo>
                      <a:pt x="46" y="85"/>
                      <a:pt x="52" y="84"/>
                      <a:pt x="58" y="80"/>
                    </a:cubicBezTo>
                    <a:cubicBezTo>
                      <a:pt x="64" y="77"/>
                      <a:pt x="69" y="72"/>
                      <a:pt x="72" y="66"/>
                    </a:cubicBezTo>
                    <a:cubicBezTo>
                      <a:pt x="75" y="60"/>
                      <a:pt x="77" y="52"/>
                      <a:pt x="77" y="42"/>
                    </a:cubicBezTo>
                    <a:cubicBezTo>
                      <a:pt x="77" y="29"/>
                      <a:pt x="73" y="19"/>
                      <a:pt x="66" y="11"/>
                    </a:cubicBezTo>
                    <a:cubicBezTo>
                      <a:pt x="59" y="4"/>
                      <a:pt x="50" y="0"/>
                      <a:pt x="38" y="0"/>
                    </a:cubicBezTo>
                    <a:close/>
                    <a:moveTo>
                      <a:pt x="56" y="66"/>
                    </a:moveTo>
                    <a:cubicBezTo>
                      <a:pt x="51" y="71"/>
                      <a:pt x="45" y="74"/>
                      <a:pt x="38" y="74"/>
                    </a:cubicBezTo>
                    <a:cubicBezTo>
                      <a:pt x="32" y="74"/>
                      <a:pt x="26" y="71"/>
                      <a:pt x="21" y="66"/>
                    </a:cubicBezTo>
                    <a:cubicBezTo>
                      <a:pt x="17" y="61"/>
                      <a:pt x="15" y="53"/>
                      <a:pt x="15" y="43"/>
                    </a:cubicBezTo>
                    <a:cubicBezTo>
                      <a:pt x="15" y="32"/>
                      <a:pt x="17" y="24"/>
                      <a:pt x="21" y="19"/>
                    </a:cubicBezTo>
                    <a:cubicBezTo>
                      <a:pt x="26" y="14"/>
                      <a:pt x="32" y="12"/>
                      <a:pt x="38" y="12"/>
                    </a:cubicBezTo>
                    <a:cubicBezTo>
                      <a:pt x="45" y="12"/>
                      <a:pt x="51" y="14"/>
                      <a:pt x="56" y="19"/>
                    </a:cubicBezTo>
                    <a:cubicBezTo>
                      <a:pt x="60" y="25"/>
                      <a:pt x="62" y="32"/>
                      <a:pt x="62" y="42"/>
                    </a:cubicBezTo>
                    <a:cubicBezTo>
                      <a:pt x="62" y="53"/>
                      <a:pt x="60" y="61"/>
                      <a:pt x="56" y="6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51" name="îš1ïḋé"/>
              <p:cNvSpPr/>
              <p:nvPr/>
            </p:nvSpPr>
            <p:spPr bwMode="auto">
              <a:xfrm>
                <a:off x="9491916" y="5675903"/>
                <a:ext cx="25400" cy="206375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52" name="íŝḻíḍê"/>
              <p:cNvSpPr/>
              <p:nvPr/>
            </p:nvSpPr>
            <p:spPr bwMode="auto">
              <a:xfrm>
                <a:off x="9547478" y="5729878"/>
                <a:ext cx="141288" cy="157163"/>
              </a:xfrm>
              <a:custGeom>
                <a:avLst/>
                <a:gdLst>
                  <a:gd name="T0" fmla="*/ 38 w 77"/>
                  <a:gd name="T1" fmla="*/ 0 h 85"/>
                  <a:gd name="T2" fmla="*/ 13 w 77"/>
                  <a:gd name="T3" fmla="*/ 9 h 85"/>
                  <a:gd name="T4" fmla="*/ 0 w 77"/>
                  <a:gd name="T5" fmla="*/ 43 h 85"/>
                  <a:gd name="T6" fmla="*/ 11 w 77"/>
                  <a:gd name="T7" fmla="*/ 74 h 85"/>
                  <a:gd name="T8" fmla="*/ 38 w 77"/>
                  <a:gd name="T9" fmla="*/ 85 h 85"/>
                  <a:gd name="T10" fmla="*/ 58 w 77"/>
                  <a:gd name="T11" fmla="*/ 80 h 85"/>
                  <a:gd name="T12" fmla="*/ 72 w 77"/>
                  <a:gd name="T13" fmla="*/ 66 h 85"/>
                  <a:gd name="T14" fmla="*/ 77 w 77"/>
                  <a:gd name="T15" fmla="*/ 42 h 85"/>
                  <a:gd name="T16" fmla="*/ 66 w 77"/>
                  <a:gd name="T17" fmla="*/ 11 h 85"/>
                  <a:gd name="T18" fmla="*/ 38 w 77"/>
                  <a:gd name="T19" fmla="*/ 0 h 85"/>
                  <a:gd name="T20" fmla="*/ 56 w 77"/>
                  <a:gd name="T21" fmla="*/ 66 h 85"/>
                  <a:gd name="T22" fmla="*/ 38 w 77"/>
                  <a:gd name="T23" fmla="*/ 74 h 85"/>
                  <a:gd name="T24" fmla="*/ 21 w 77"/>
                  <a:gd name="T25" fmla="*/ 66 h 85"/>
                  <a:gd name="T26" fmla="*/ 15 w 77"/>
                  <a:gd name="T27" fmla="*/ 43 h 85"/>
                  <a:gd name="T28" fmla="*/ 21 w 77"/>
                  <a:gd name="T29" fmla="*/ 19 h 85"/>
                  <a:gd name="T30" fmla="*/ 38 w 77"/>
                  <a:gd name="T31" fmla="*/ 12 h 85"/>
                  <a:gd name="T32" fmla="*/ 56 w 77"/>
                  <a:gd name="T33" fmla="*/ 19 h 85"/>
                  <a:gd name="T34" fmla="*/ 62 w 77"/>
                  <a:gd name="T35" fmla="*/ 42 h 85"/>
                  <a:gd name="T36" fmla="*/ 56 w 77"/>
                  <a:gd name="T37" fmla="*/ 66 h 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77" h="85">
                    <a:moveTo>
                      <a:pt x="38" y="0"/>
                    </a:moveTo>
                    <a:cubicBezTo>
                      <a:pt x="28" y="0"/>
                      <a:pt x="20" y="3"/>
                      <a:pt x="13" y="9"/>
                    </a:cubicBezTo>
                    <a:cubicBezTo>
                      <a:pt x="5" y="16"/>
                      <a:pt x="0" y="28"/>
                      <a:pt x="0" y="43"/>
                    </a:cubicBezTo>
                    <a:cubicBezTo>
                      <a:pt x="0" y="56"/>
                      <a:pt x="4" y="67"/>
                      <a:pt x="11" y="74"/>
                    </a:cubicBezTo>
                    <a:cubicBezTo>
                      <a:pt x="18" y="82"/>
                      <a:pt x="27" y="85"/>
                      <a:pt x="38" y="85"/>
                    </a:cubicBezTo>
                    <a:cubicBezTo>
                      <a:pt x="46" y="85"/>
                      <a:pt x="52" y="84"/>
                      <a:pt x="58" y="80"/>
                    </a:cubicBezTo>
                    <a:cubicBezTo>
                      <a:pt x="64" y="77"/>
                      <a:pt x="69" y="72"/>
                      <a:pt x="72" y="66"/>
                    </a:cubicBezTo>
                    <a:cubicBezTo>
                      <a:pt x="75" y="60"/>
                      <a:pt x="77" y="52"/>
                      <a:pt x="77" y="42"/>
                    </a:cubicBezTo>
                    <a:cubicBezTo>
                      <a:pt x="77" y="29"/>
                      <a:pt x="73" y="19"/>
                      <a:pt x="66" y="11"/>
                    </a:cubicBezTo>
                    <a:cubicBezTo>
                      <a:pt x="59" y="4"/>
                      <a:pt x="50" y="0"/>
                      <a:pt x="38" y="0"/>
                    </a:cubicBezTo>
                    <a:close/>
                    <a:moveTo>
                      <a:pt x="56" y="66"/>
                    </a:moveTo>
                    <a:cubicBezTo>
                      <a:pt x="51" y="71"/>
                      <a:pt x="45" y="74"/>
                      <a:pt x="38" y="74"/>
                    </a:cubicBezTo>
                    <a:cubicBezTo>
                      <a:pt x="32" y="74"/>
                      <a:pt x="26" y="71"/>
                      <a:pt x="21" y="66"/>
                    </a:cubicBezTo>
                    <a:cubicBezTo>
                      <a:pt x="17" y="61"/>
                      <a:pt x="15" y="53"/>
                      <a:pt x="15" y="43"/>
                    </a:cubicBezTo>
                    <a:cubicBezTo>
                      <a:pt x="15" y="32"/>
                      <a:pt x="17" y="24"/>
                      <a:pt x="21" y="19"/>
                    </a:cubicBezTo>
                    <a:cubicBezTo>
                      <a:pt x="26" y="14"/>
                      <a:pt x="32" y="12"/>
                      <a:pt x="38" y="12"/>
                    </a:cubicBezTo>
                    <a:cubicBezTo>
                      <a:pt x="45" y="12"/>
                      <a:pt x="51" y="14"/>
                      <a:pt x="56" y="19"/>
                    </a:cubicBezTo>
                    <a:cubicBezTo>
                      <a:pt x="60" y="25"/>
                      <a:pt x="62" y="32"/>
                      <a:pt x="62" y="42"/>
                    </a:cubicBezTo>
                    <a:cubicBezTo>
                      <a:pt x="62" y="53"/>
                      <a:pt x="60" y="61"/>
                      <a:pt x="56" y="6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53" name="íṧḷíḓé"/>
              <p:cNvSpPr/>
              <p:nvPr/>
            </p:nvSpPr>
            <p:spPr bwMode="auto">
              <a:xfrm>
                <a:off x="9707816" y="5729878"/>
                <a:ext cx="131763" cy="214313"/>
              </a:xfrm>
              <a:custGeom>
                <a:avLst/>
                <a:gdLst>
                  <a:gd name="T0" fmla="*/ 59 w 72"/>
                  <a:gd name="T1" fmla="*/ 12 h 116"/>
                  <a:gd name="T2" fmla="*/ 36 w 72"/>
                  <a:gd name="T3" fmla="*/ 0 h 116"/>
                  <a:gd name="T4" fmla="*/ 17 w 72"/>
                  <a:gd name="T5" fmla="*/ 6 h 116"/>
                  <a:gd name="T6" fmla="*/ 5 w 72"/>
                  <a:gd name="T7" fmla="*/ 21 h 116"/>
                  <a:gd name="T8" fmla="*/ 0 w 72"/>
                  <a:gd name="T9" fmla="*/ 42 h 116"/>
                  <a:gd name="T10" fmla="*/ 10 w 72"/>
                  <a:gd name="T11" fmla="*/ 71 h 116"/>
                  <a:gd name="T12" fmla="*/ 36 w 72"/>
                  <a:gd name="T13" fmla="*/ 83 h 116"/>
                  <a:gd name="T14" fmla="*/ 58 w 72"/>
                  <a:gd name="T15" fmla="*/ 73 h 116"/>
                  <a:gd name="T16" fmla="*/ 57 w 72"/>
                  <a:gd name="T17" fmla="*/ 90 h 116"/>
                  <a:gd name="T18" fmla="*/ 50 w 72"/>
                  <a:gd name="T19" fmla="*/ 101 h 116"/>
                  <a:gd name="T20" fmla="*/ 35 w 72"/>
                  <a:gd name="T21" fmla="*/ 105 h 116"/>
                  <a:gd name="T22" fmla="*/ 21 w 72"/>
                  <a:gd name="T23" fmla="*/ 101 h 116"/>
                  <a:gd name="T24" fmla="*/ 17 w 72"/>
                  <a:gd name="T25" fmla="*/ 92 h 116"/>
                  <a:gd name="T26" fmla="*/ 3 w 72"/>
                  <a:gd name="T27" fmla="*/ 90 h 116"/>
                  <a:gd name="T28" fmla="*/ 12 w 72"/>
                  <a:gd name="T29" fmla="*/ 110 h 116"/>
                  <a:gd name="T30" fmla="*/ 35 w 72"/>
                  <a:gd name="T31" fmla="*/ 116 h 116"/>
                  <a:gd name="T32" fmla="*/ 56 w 72"/>
                  <a:gd name="T33" fmla="*/ 112 h 116"/>
                  <a:gd name="T34" fmla="*/ 68 w 72"/>
                  <a:gd name="T35" fmla="*/ 99 h 116"/>
                  <a:gd name="T36" fmla="*/ 72 w 72"/>
                  <a:gd name="T37" fmla="*/ 72 h 116"/>
                  <a:gd name="T38" fmla="*/ 72 w 72"/>
                  <a:gd name="T39" fmla="*/ 2 h 116"/>
                  <a:gd name="T40" fmla="*/ 59 w 72"/>
                  <a:gd name="T41" fmla="*/ 2 h 116"/>
                  <a:gd name="T42" fmla="*/ 59 w 72"/>
                  <a:gd name="T43" fmla="*/ 12 h 116"/>
                  <a:gd name="T44" fmla="*/ 53 w 72"/>
                  <a:gd name="T45" fmla="*/ 65 h 116"/>
                  <a:gd name="T46" fmla="*/ 37 w 72"/>
                  <a:gd name="T47" fmla="*/ 72 h 116"/>
                  <a:gd name="T48" fmla="*/ 21 w 72"/>
                  <a:gd name="T49" fmla="*/ 65 h 116"/>
                  <a:gd name="T50" fmla="*/ 15 w 72"/>
                  <a:gd name="T51" fmla="*/ 41 h 116"/>
                  <a:gd name="T52" fmla="*/ 21 w 72"/>
                  <a:gd name="T53" fmla="*/ 19 h 116"/>
                  <a:gd name="T54" fmla="*/ 37 w 72"/>
                  <a:gd name="T55" fmla="*/ 12 h 116"/>
                  <a:gd name="T56" fmla="*/ 53 w 72"/>
                  <a:gd name="T57" fmla="*/ 19 h 116"/>
                  <a:gd name="T58" fmla="*/ 59 w 72"/>
                  <a:gd name="T59" fmla="*/ 42 h 116"/>
                  <a:gd name="T60" fmla="*/ 53 w 72"/>
                  <a:gd name="T61" fmla="*/ 65 h 1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72" h="116">
                    <a:moveTo>
                      <a:pt x="59" y="12"/>
                    </a:moveTo>
                    <a:cubicBezTo>
                      <a:pt x="53" y="4"/>
                      <a:pt x="45" y="0"/>
                      <a:pt x="36" y="0"/>
                    </a:cubicBezTo>
                    <a:cubicBezTo>
                      <a:pt x="28" y="0"/>
                      <a:pt x="22" y="2"/>
                      <a:pt x="17" y="6"/>
                    </a:cubicBezTo>
                    <a:cubicBezTo>
                      <a:pt x="11" y="9"/>
                      <a:pt x="7" y="14"/>
                      <a:pt x="5" y="21"/>
                    </a:cubicBezTo>
                    <a:cubicBezTo>
                      <a:pt x="2" y="27"/>
                      <a:pt x="0" y="34"/>
                      <a:pt x="0" y="42"/>
                    </a:cubicBezTo>
                    <a:cubicBezTo>
                      <a:pt x="0" y="53"/>
                      <a:pt x="3" y="63"/>
                      <a:pt x="10" y="71"/>
                    </a:cubicBezTo>
                    <a:cubicBezTo>
                      <a:pt x="16" y="79"/>
                      <a:pt x="24" y="83"/>
                      <a:pt x="36" y="83"/>
                    </a:cubicBezTo>
                    <a:cubicBezTo>
                      <a:pt x="45" y="83"/>
                      <a:pt x="52" y="80"/>
                      <a:pt x="58" y="73"/>
                    </a:cubicBezTo>
                    <a:cubicBezTo>
                      <a:pt x="58" y="82"/>
                      <a:pt x="58" y="88"/>
                      <a:pt x="57" y="90"/>
                    </a:cubicBezTo>
                    <a:cubicBezTo>
                      <a:pt x="56" y="95"/>
                      <a:pt x="53" y="99"/>
                      <a:pt x="50" y="101"/>
                    </a:cubicBezTo>
                    <a:cubicBezTo>
                      <a:pt x="47" y="104"/>
                      <a:pt x="42" y="105"/>
                      <a:pt x="35" y="105"/>
                    </a:cubicBezTo>
                    <a:cubicBezTo>
                      <a:pt x="29" y="105"/>
                      <a:pt x="25" y="104"/>
                      <a:pt x="21" y="101"/>
                    </a:cubicBezTo>
                    <a:cubicBezTo>
                      <a:pt x="19" y="99"/>
                      <a:pt x="17" y="96"/>
                      <a:pt x="17" y="92"/>
                    </a:cubicBezTo>
                    <a:cubicBezTo>
                      <a:pt x="3" y="90"/>
                      <a:pt x="3" y="90"/>
                      <a:pt x="3" y="90"/>
                    </a:cubicBezTo>
                    <a:cubicBezTo>
                      <a:pt x="3" y="99"/>
                      <a:pt x="6" y="105"/>
                      <a:pt x="12" y="110"/>
                    </a:cubicBezTo>
                    <a:cubicBezTo>
                      <a:pt x="18" y="114"/>
                      <a:pt x="26" y="116"/>
                      <a:pt x="35" y="116"/>
                    </a:cubicBezTo>
                    <a:cubicBezTo>
                      <a:pt x="43" y="116"/>
                      <a:pt x="50" y="115"/>
                      <a:pt x="56" y="112"/>
                    </a:cubicBezTo>
                    <a:cubicBezTo>
                      <a:pt x="62" y="109"/>
                      <a:pt x="66" y="104"/>
                      <a:pt x="68" y="99"/>
                    </a:cubicBezTo>
                    <a:cubicBezTo>
                      <a:pt x="71" y="94"/>
                      <a:pt x="72" y="85"/>
                      <a:pt x="72" y="72"/>
                    </a:cubicBezTo>
                    <a:cubicBezTo>
                      <a:pt x="72" y="2"/>
                      <a:pt x="72" y="2"/>
                      <a:pt x="72" y="2"/>
                    </a:cubicBezTo>
                    <a:cubicBezTo>
                      <a:pt x="59" y="2"/>
                      <a:pt x="59" y="2"/>
                      <a:pt x="59" y="2"/>
                    </a:cubicBezTo>
                    <a:lnTo>
                      <a:pt x="59" y="12"/>
                    </a:lnTo>
                    <a:close/>
                    <a:moveTo>
                      <a:pt x="53" y="65"/>
                    </a:moveTo>
                    <a:cubicBezTo>
                      <a:pt x="48" y="69"/>
                      <a:pt x="43" y="72"/>
                      <a:pt x="37" y="72"/>
                    </a:cubicBezTo>
                    <a:cubicBezTo>
                      <a:pt x="30" y="72"/>
                      <a:pt x="25" y="69"/>
                      <a:pt x="21" y="65"/>
                    </a:cubicBezTo>
                    <a:cubicBezTo>
                      <a:pt x="17" y="60"/>
                      <a:pt x="15" y="52"/>
                      <a:pt x="15" y="41"/>
                    </a:cubicBezTo>
                    <a:cubicBezTo>
                      <a:pt x="15" y="31"/>
                      <a:pt x="17" y="24"/>
                      <a:pt x="21" y="19"/>
                    </a:cubicBezTo>
                    <a:cubicBezTo>
                      <a:pt x="25" y="14"/>
                      <a:pt x="30" y="12"/>
                      <a:pt x="37" y="12"/>
                    </a:cubicBezTo>
                    <a:cubicBezTo>
                      <a:pt x="43" y="12"/>
                      <a:pt x="48" y="14"/>
                      <a:pt x="53" y="19"/>
                    </a:cubicBezTo>
                    <a:cubicBezTo>
                      <a:pt x="57" y="24"/>
                      <a:pt x="59" y="32"/>
                      <a:pt x="59" y="42"/>
                    </a:cubicBezTo>
                    <a:cubicBezTo>
                      <a:pt x="59" y="52"/>
                      <a:pt x="57" y="60"/>
                      <a:pt x="53" y="6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54" name="îŝlíde"/>
              <p:cNvSpPr/>
              <p:nvPr/>
            </p:nvSpPr>
            <p:spPr bwMode="auto">
              <a:xfrm>
                <a:off x="9864978" y="5733053"/>
                <a:ext cx="138113" cy="211138"/>
              </a:xfrm>
              <a:custGeom>
                <a:avLst/>
                <a:gdLst>
                  <a:gd name="T0" fmla="*/ 43 w 75"/>
                  <a:gd name="T1" fmla="*/ 47 h 114"/>
                  <a:gd name="T2" fmla="*/ 38 w 75"/>
                  <a:gd name="T3" fmla="*/ 66 h 114"/>
                  <a:gd name="T4" fmla="*/ 32 w 75"/>
                  <a:gd name="T5" fmla="*/ 47 h 114"/>
                  <a:gd name="T6" fmla="*/ 15 w 75"/>
                  <a:gd name="T7" fmla="*/ 0 h 114"/>
                  <a:gd name="T8" fmla="*/ 0 w 75"/>
                  <a:gd name="T9" fmla="*/ 0 h 114"/>
                  <a:gd name="T10" fmla="*/ 31 w 75"/>
                  <a:gd name="T11" fmla="*/ 81 h 114"/>
                  <a:gd name="T12" fmla="*/ 30 w 75"/>
                  <a:gd name="T13" fmla="*/ 85 h 114"/>
                  <a:gd name="T14" fmla="*/ 25 w 75"/>
                  <a:gd name="T15" fmla="*/ 95 h 114"/>
                  <a:gd name="T16" fmla="*/ 21 w 75"/>
                  <a:gd name="T17" fmla="*/ 99 h 114"/>
                  <a:gd name="T18" fmla="*/ 14 w 75"/>
                  <a:gd name="T19" fmla="*/ 101 h 114"/>
                  <a:gd name="T20" fmla="*/ 6 w 75"/>
                  <a:gd name="T21" fmla="*/ 100 h 114"/>
                  <a:gd name="T22" fmla="*/ 7 w 75"/>
                  <a:gd name="T23" fmla="*/ 113 h 114"/>
                  <a:gd name="T24" fmla="*/ 16 w 75"/>
                  <a:gd name="T25" fmla="*/ 114 h 114"/>
                  <a:gd name="T26" fmla="*/ 27 w 75"/>
                  <a:gd name="T27" fmla="*/ 111 h 114"/>
                  <a:gd name="T28" fmla="*/ 36 w 75"/>
                  <a:gd name="T29" fmla="*/ 101 h 114"/>
                  <a:gd name="T30" fmla="*/ 44 w 75"/>
                  <a:gd name="T31" fmla="*/ 83 h 114"/>
                  <a:gd name="T32" fmla="*/ 75 w 75"/>
                  <a:gd name="T33" fmla="*/ 0 h 114"/>
                  <a:gd name="T34" fmla="*/ 61 w 75"/>
                  <a:gd name="T35" fmla="*/ 0 h 114"/>
                  <a:gd name="T36" fmla="*/ 43 w 75"/>
                  <a:gd name="T37" fmla="*/ 47 h 1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75" h="114">
                    <a:moveTo>
                      <a:pt x="43" y="47"/>
                    </a:moveTo>
                    <a:cubicBezTo>
                      <a:pt x="41" y="53"/>
                      <a:pt x="39" y="60"/>
                      <a:pt x="38" y="66"/>
                    </a:cubicBezTo>
                    <a:cubicBezTo>
                      <a:pt x="36" y="59"/>
                      <a:pt x="34" y="53"/>
                      <a:pt x="32" y="47"/>
                    </a:cubicBezTo>
                    <a:cubicBezTo>
                      <a:pt x="15" y="0"/>
                      <a:pt x="15" y="0"/>
                      <a:pt x="15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31" y="81"/>
                      <a:pt x="31" y="81"/>
                      <a:pt x="31" y="81"/>
                    </a:cubicBezTo>
                    <a:cubicBezTo>
                      <a:pt x="30" y="83"/>
                      <a:pt x="30" y="84"/>
                      <a:pt x="30" y="85"/>
                    </a:cubicBezTo>
                    <a:cubicBezTo>
                      <a:pt x="28" y="90"/>
                      <a:pt x="26" y="94"/>
                      <a:pt x="25" y="95"/>
                    </a:cubicBezTo>
                    <a:cubicBezTo>
                      <a:pt x="24" y="97"/>
                      <a:pt x="23" y="98"/>
                      <a:pt x="21" y="99"/>
                    </a:cubicBezTo>
                    <a:cubicBezTo>
                      <a:pt x="19" y="100"/>
                      <a:pt x="17" y="101"/>
                      <a:pt x="14" y="101"/>
                    </a:cubicBezTo>
                    <a:cubicBezTo>
                      <a:pt x="11" y="101"/>
                      <a:pt x="9" y="101"/>
                      <a:pt x="6" y="100"/>
                    </a:cubicBezTo>
                    <a:cubicBezTo>
                      <a:pt x="7" y="113"/>
                      <a:pt x="7" y="113"/>
                      <a:pt x="7" y="113"/>
                    </a:cubicBezTo>
                    <a:cubicBezTo>
                      <a:pt x="11" y="114"/>
                      <a:pt x="13" y="114"/>
                      <a:pt x="16" y="114"/>
                    </a:cubicBezTo>
                    <a:cubicBezTo>
                      <a:pt x="21" y="114"/>
                      <a:pt x="24" y="113"/>
                      <a:pt x="27" y="111"/>
                    </a:cubicBezTo>
                    <a:cubicBezTo>
                      <a:pt x="31" y="109"/>
                      <a:pt x="33" y="106"/>
                      <a:pt x="36" y="101"/>
                    </a:cubicBezTo>
                    <a:cubicBezTo>
                      <a:pt x="38" y="98"/>
                      <a:pt x="40" y="92"/>
                      <a:pt x="44" y="83"/>
                    </a:cubicBezTo>
                    <a:cubicBezTo>
                      <a:pt x="75" y="0"/>
                      <a:pt x="75" y="0"/>
                      <a:pt x="75" y="0"/>
                    </a:cubicBezTo>
                    <a:cubicBezTo>
                      <a:pt x="61" y="0"/>
                      <a:pt x="61" y="0"/>
                      <a:pt x="61" y="0"/>
                    </a:cubicBezTo>
                    <a:lnTo>
                      <a:pt x="43" y="4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55" name="íṧ1ïḍé"/>
              <p:cNvSpPr/>
              <p:nvPr/>
            </p:nvSpPr>
            <p:spPr bwMode="auto">
              <a:xfrm>
                <a:off x="10106278" y="5675903"/>
                <a:ext cx="155575" cy="206375"/>
              </a:xfrm>
              <a:custGeom>
                <a:avLst/>
                <a:gdLst>
                  <a:gd name="T0" fmla="*/ 64 w 85"/>
                  <a:gd name="T1" fmla="*/ 53 h 112"/>
                  <a:gd name="T2" fmla="*/ 75 w 85"/>
                  <a:gd name="T3" fmla="*/ 42 h 112"/>
                  <a:gd name="T4" fmla="*/ 79 w 85"/>
                  <a:gd name="T5" fmla="*/ 29 h 112"/>
                  <a:gd name="T6" fmla="*/ 75 w 85"/>
                  <a:gd name="T7" fmla="*/ 14 h 112"/>
                  <a:gd name="T8" fmla="*/ 63 w 85"/>
                  <a:gd name="T9" fmla="*/ 4 h 112"/>
                  <a:gd name="T10" fmla="*/ 42 w 85"/>
                  <a:gd name="T11" fmla="*/ 0 h 112"/>
                  <a:gd name="T12" fmla="*/ 0 w 85"/>
                  <a:gd name="T13" fmla="*/ 0 h 112"/>
                  <a:gd name="T14" fmla="*/ 0 w 85"/>
                  <a:gd name="T15" fmla="*/ 112 h 112"/>
                  <a:gd name="T16" fmla="*/ 43 w 85"/>
                  <a:gd name="T17" fmla="*/ 112 h 112"/>
                  <a:gd name="T18" fmla="*/ 61 w 85"/>
                  <a:gd name="T19" fmla="*/ 110 h 112"/>
                  <a:gd name="T20" fmla="*/ 73 w 85"/>
                  <a:gd name="T21" fmla="*/ 105 h 112"/>
                  <a:gd name="T22" fmla="*/ 81 w 85"/>
                  <a:gd name="T23" fmla="*/ 94 h 112"/>
                  <a:gd name="T24" fmla="*/ 85 w 85"/>
                  <a:gd name="T25" fmla="*/ 80 h 112"/>
                  <a:gd name="T26" fmla="*/ 79 w 85"/>
                  <a:gd name="T27" fmla="*/ 63 h 112"/>
                  <a:gd name="T28" fmla="*/ 64 w 85"/>
                  <a:gd name="T29" fmla="*/ 53 h 112"/>
                  <a:gd name="T30" fmla="*/ 15 w 85"/>
                  <a:gd name="T31" fmla="*/ 13 h 112"/>
                  <a:gd name="T32" fmla="*/ 37 w 85"/>
                  <a:gd name="T33" fmla="*/ 13 h 112"/>
                  <a:gd name="T34" fmla="*/ 54 w 85"/>
                  <a:gd name="T35" fmla="*/ 15 h 112"/>
                  <a:gd name="T36" fmla="*/ 62 w 85"/>
                  <a:gd name="T37" fmla="*/ 21 h 112"/>
                  <a:gd name="T38" fmla="*/ 65 w 85"/>
                  <a:gd name="T39" fmla="*/ 31 h 112"/>
                  <a:gd name="T40" fmla="*/ 62 w 85"/>
                  <a:gd name="T41" fmla="*/ 40 h 112"/>
                  <a:gd name="T42" fmla="*/ 53 w 85"/>
                  <a:gd name="T43" fmla="*/ 46 h 112"/>
                  <a:gd name="T44" fmla="*/ 39 w 85"/>
                  <a:gd name="T45" fmla="*/ 47 h 112"/>
                  <a:gd name="T46" fmla="*/ 15 w 85"/>
                  <a:gd name="T47" fmla="*/ 47 h 112"/>
                  <a:gd name="T48" fmla="*/ 15 w 85"/>
                  <a:gd name="T49" fmla="*/ 13 h 112"/>
                  <a:gd name="T50" fmla="*/ 67 w 85"/>
                  <a:gd name="T51" fmla="*/ 89 h 112"/>
                  <a:gd name="T52" fmla="*/ 61 w 85"/>
                  <a:gd name="T53" fmla="*/ 95 h 112"/>
                  <a:gd name="T54" fmla="*/ 53 w 85"/>
                  <a:gd name="T55" fmla="*/ 99 h 112"/>
                  <a:gd name="T56" fmla="*/ 43 w 85"/>
                  <a:gd name="T57" fmla="*/ 99 h 112"/>
                  <a:gd name="T58" fmla="*/ 15 w 85"/>
                  <a:gd name="T59" fmla="*/ 99 h 112"/>
                  <a:gd name="T60" fmla="*/ 15 w 85"/>
                  <a:gd name="T61" fmla="*/ 61 h 112"/>
                  <a:gd name="T62" fmla="*/ 41 w 85"/>
                  <a:gd name="T63" fmla="*/ 61 h 112"/>
                  <a:gd name="T64" fmla="*/ 57 w 85"/>
                  <a:gd name="T65" fmla="*/ 62 h 112"/>
                  <a:gd name="T66" fmla="*/ 66 w 85"/>
                  <a:gd name="T67" fmla="*/ 69 h 112"/>
                  <a:gd name="T68" fmla="*/ 69 w 85"/>
                  <a:gd name="T69" fmla="*/ 80 h 112"/>
                  <a:gd name="T70" fmla="*/ 67 w 85"/>
                  <a:gd name="T71" fmla="*/ 89 h 1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85" h="112">
                    <a:moveTo>
                      <a:pt x="64" y="53"/>
                    </a:moveTo>
                    <a:cubicBezTo>
                      <a:pt x="69" y="50"/>
                      <a:pt x="73" y="47"/>
                      <a:pt x="75" y="42"/>
                    </a:cubicBezTo>
                    <a:cubicBezTo>
                      <a:pt x="78" y="38"/>
                      <a:pt x="79" y="34"/>
                      <a:pt x="79" y="29"/>
                    </a:cubicBezTo>
                    <a:cubicBezTo>
                      <a:pt x="79" y="24"/>
                      <a:pt x="78" y="19"/>
                      <a:pt x="75" y="14"/>
                    </a:cubicBezTo>
                    <a:cubicBezTo>
                      <a:pt x="72" y="9"/>
                      <a:pt x="68" y="6"/>
                      <a:pt x="63" y="4"/>
                    </a:cubicBezTo>
                    <a:cubicBezTo>
                      <a:pt x="57" y="1"/>
                      <a:pt x="51" y="0"/>
                      <a:pt x="42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112"/>
                      <a:pt x="0" y="112"/>
                      <a:pt x="0" y="112"/>
                    </a:cubicBezTo>
                    <a:cubicBezTo>
                      <a:pt x="43" y="112"/>
                      <a:pt x="43" y="112"/>
                      <a:pt x="43" y="112"/>
                    </a:cubicBezTo>
                    <a:cubicBezTo>
                      <a:pt x="50" y="112"/>
                      <a:pt x="56" y="112"/>
                      <a:pt x="61" y="110"/>
                    </a:cubicBezTo>
                    <a:cubicBezTo>
                      <a:pt x="66" y="109"/>
                      <a:pt x="70" y="107"/>
                      <a:pt x="73" y="105"/>
                    </a:cubicBezTo>
                    <a:cubicBezTo>
                      <a:pt x="76" y="102"/>
                      <a:pt x="79" y="99"/>
                      <a:pt x="81" y="94"/>
                    </a:cubicBezTo>
                    <a:cubicBezTo>
                      <a:pt x="84" y="90"/>
                      <a:pt x="85" y="85"/>
                      <a:pt x="85" y="80"/>
                    </a:cubicBezTo>
                    <a:cubicBezTo>
                      <a:pt x="85" y="73"/>
                      <a:pt x="83" y="68"/>
                      <a:pt x="79" y="63"/>
                    </a:cubicBezTo>
                    <a:cubicBezTo>
                      <a:pt x="76" y="58"/>
                      <a:pt x="70" y="55"/>
                      <a:pt x="64" y="53"/>
                    </a:cubicBezTo>
                    <a:close/>
                    <a:moveTo>
                      <a:pt x="15" y="13"/>
                    </a:moveTo>
                    <a:cubicBezTo>
                      <a:pt x="37" y="13"/>
                      <a:pt x="37" y="13"/>
                      <a:pt x="37" y="13"/>
                    </a:cubicBezTo>
                    <a:cubicBezTo>
                      <a:pt x="45" y="13"/>
                      <a:pt x="51" y="14"/>
                      <a:pt x="54" y="15"/>
                    </a:cubicBezTo>
                    <a:cubicBezTo>
                      <a:pt x="58" y="16"/>
                      <a:pt x="60" y="18"/>
                      <a:pt x="62" y="21"/>
                    </a:cubicBezTo>
                    <a:cubicBezTo>
                      <a:pt x="64" y="24"/>
                      <a:pt x="65" y="27"/>
                      <a:pt x="65" y="31"/>
                    </a:cubicBezTo>
                    <a:cubicBezTo>
                      <a:pt x="65" y="35"/>
                      <a:pt x="64" y="38"/>
                      <a:pt x="62" y="40"/>
                    </a:cubicBezTo>
                    <a:cubicBezTo>
                      <a:pt x="60" y="43"/>
                      <a:pt x="57" y="45"/>
                      <a:pt x="53" y="46"/>
                    </a:cubicBezTo>
                    <a:cubicBezTo>
                      <a:pt x="50" y="47"/>
                      <a:pt x="46" y="47"/>
                      <a:pt x="39" y="47"/>
                    </a:cubicBezTo>
                    <a:cubicBezTo>
                      <a:pt x="15" y="47"/>
                      <a:pt x="15" y="47"/>
                      <a:pt x="15" y="47"/>
                    </a:cubicBezTo>
                    <a:lnTo>
                      <a:pt x="15" y="13"/>
                    </a:lnTo>
                    <a:close/>
                    <a:moveTo>
                      <a:pt x="67" y="89"/>
                    </a:moveTo>
                    <a:cubicBezTo>
                      <a:pt x="66" y="92"/>
                      <a:pt x="64" y="94"/>
                      <a:pt x="61" y="95"/>
                    </a:cubicBezTo>
                    <a:cubicBezTo>
                      <a:pt x="59" y="97"/>
                      <a:pt x="56" y="98"/>
                      <a:pt x="53" y="99"/>
                    </a:cubicBezTo>
                    <a:cubicBezTo>
                      <a:pt x="51" y="99"/>
                      <a:pt x="48" y="99"/>
                      <a:pt x="43" y="99"/>
                    </a:cubicBezTo>
                    <a:cubicBezTo>
                      <a:pt x="15" y="99"/>
                      <a:pt x="15" y="99"/>
                      <a:pt x="15" y="99"/>
                    </a:cubicBezTo>
                    <a:cubicBezTo>
                      <a:pt x="15" y="61"/>
                      <a:pt x="15" y="61"/>
                      <a:pt x="15" y="61"/>
                    </a:cubicBezTo>
                    <a:cubicBezTo>
                      <a:pt x="41" y="61"/>
                      <a:pt x="41" y="61"/>
                      <a:pt x="41" y="61"/>
                    </a:cubicBezTo>
                    <a:cubicBezTo>
                      <a:pt x="48" y="61"/>
                      <a:pt x="53" y="61"/>
                      <a:pt x="57" y="62"/>
                    </a:cubicBezTo>
                    <a:cubicBezTo>
                      <a:pt x="61" y="64"/>
                      <a:pt x="64" y="66"/>
                      <a:pt x="66" y="69"/>
                    </a:cubicBezTo>
                    <a:cubicBezTo>
                      <a:pt x="68" y="72"/>
                      <a:pt x="69" y="76"/>
                      <a:pt x="69" y="80"/>
                    </a:cubicBezTo>
                    <a:cubicBezTo>
                      <a:pt x="69" y="83"/>
                      <a:pt x="69" y="87"/>
                      <a:pt x="67" y="8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56" name="iŝļidé"/>
              <p:cNvSpPr/>
              <p:nvPr/>
            </p:nvSpPr>
            <p:spPr bwMode="auto">
              <a:xfrm>
                <a:off x="10288841" y="5729878"/>
                <a:ext cx="138113" cy="157163"/>
              </a:xfrm>
              <a:custGeom>
                <a:avLst/>
                <a:gdLst>
                  <a:gd name="T0" fmla="*/ 38 w 75"/>
                  <a:gd name="T1" fmla="*/ 0 h 85"/>
                  <a:gd name="T2" fmla="*/ 10 w 75"/>
                  <a:gd name="T3" fmla="*/ 12 h 85"/>
                  <a:gd name="T4" fmla="*/ 0 w 75"/>
                  <a:gd name="T5" fmla="*/ 43 h 85"/>
                  <a:gd name="T6" fmla="*/ 10 w 75"/>
                  <a:gd name="T7" fmla="*/ 74 h 85"/>
                  <a:gd name="T8" fmla="*/ 38 w 75"/>
                  <a:gd name="T9" fmla="*/ 85 h 85"/>
                  <a:gd name="T10" fmla="*/ 62 w 75"/>
                  <a:gd name="T11" fmla="*/ 78 h 85"/>
                  <a:gd name="T12" fmla="*/ 74 w 75"/>
                  <a:gd name="T13" fmla="*/ 59 h 85"/>
                  <a:gd name="T14" fmla="*/ 60 w 75"/>
                  <a:gd name="T15" fmla="*/ 57 h 85"/>
                  <a:gd name="T16" fmla="*/ 51 w 75"/>
                  <a:gd name="T17" fmla="*/ 70 h 85"/>
                  <a:gd name="T18" fmla="*/ 39 w 75"/>
                  <a:gd name="T19" fmla="*/ 74 h 85"/>
                  <a:gd name="T20" fmla="*/ 22 w 75"/>
                  <a:gd name="T21" fmla="*/ 67 h 85"/>
                  <a:gd name="T22" fmla="*/ 14 w 75"/>
                  <a:gd name="T23" fmla="*/ 46 h 85"/>
                  <a:gd name="T24" fmla="*/ 75 w 75"/>
                  <a:gd name="T25" fmla="*/ 46 h 85"/>
                  <a:gd name="T26" fmla="*/ 75 w 75"/>
                  <a:gd name="T27" fmla="*/ 43 h 85"/>
                  <a:gd name="T28" fmla="*/ 64 w 75"/>
                  <a:gd name="T29" fmla="*/ 11 h 85"/>
                  <a:gd name="T30" fmla="*/ 38 w 75"/>
                  <a:gd name="T31" fmla="*/ 0 h 85"/>
                  <a:gd name="T32" fmla="*/ 15 w 75"/>
                  <a:gd name="T33" fmla="*/ 35 h 85"/>
                  <a:gd name="T34" fmla="*/ 22 w 75"/>
                  <a:gd name="T35" fmla="*/ 18 h 85"/>
                  <a:gd name="T36" fmla="*/ 38 w 75"/>
                  <a:gd name="T37" fmla="*/ 12 h 85"/>
                  <a:gd name="T38" fmla="*/ 55 w 75"/>
                  <a:gd name="T39" fmla="*/ 20 h 85"/>
                  <a:gd name="T40" fmla="*/ 60 w 75"/>
                  <a:gd name="T41" fmla="*/ 35 h 85"/>
                  <a:gd name="T42" fmla="*/ 15 w 75"/>
                  <a:gd name="T43" fmla="*/ 35 h 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75" h="85">
                    <a:moveTo>
                      <a:pt x="38" y="0"/>
                    </a:moveTo>
                    <a:cubicBezTo>
                      <a:pt x="26" y="0"/>
                      <a:pt x="17" y="4"/>
                      <a:pt x="10" y="12"/>
                    </a:cubicBezTo>
                    <a:cubicBezTo>
                      <a:pt x="3" y="19"/>
                      <a:pt x="0" y="30"/>
                      <a:pt x="0" y="43"/>
                    </a:cubicBezTo>
                    <a:cubicBezTo>
                      <a:pt x="0" y="57"/>
                      <a:pt x="3" y="67"/>
                      <a:pt x="10" y="74"/>
                    </a:cubicBezTo>
                    <a:cubicBezTo>
                      <a:pt x="17" y="81"/>
                      <a:pt x="27" y="85"/>
                      <a:pt x="38" y="85"/>
                    </a:cubicBezTo>
                    <a:cubicBezTo>
                      <a:pt x="48" y="85"/>
                      <a:pt x="56" y="83"/>
                      <a:pt x="62" y="78"/>
                    </a:cubicBezTo>
                    <a:cubicBezTo>
                      <a:pt x="68" y="74"/>
                      <a:pt x="72" y="67"/>
                      <a:pt x="74" y="59"/>
                    </a:cubicBezTo>
                    <a:cubicBezTo>
                      <a:pt x="60" y="57"/>
                      <a:pt x="60" y="57"/>
                      <a:pt x="60" y="57"/>
                    </a:cubicBezTo>
                    <a:cubicBezTo>
                      <a:pt x="58" y="63"/>
                      <a:pt x="55" y="67"/>
                      <a:pt x="51" y="70"/>
                    </a:cubicBezTo>
                    <a:cubicBezTo>
                      <a:pt x="48" y="73"/>
                      <a:pt x="44" y="74"/>
                      <a:pt x="39" y="74"/>
                    </a:cubicBezTo>
                    <a:cubicBezTo>
                      <a:pt x="32" y="74"/>
                      <a:pt x="26" y="71"/>
                      <a:pt x="22" y="67"/>
                    </a:cubicBezTo>
                    <a:cubicBezTo>
                      <a:pt x="17" y="62"/>
                      <a:pt x="14" y="55"/>
                      <a:pt x="14" y="46"/>
                    </a:cubicBezTo>
                    <a:cubicBezTo>
                      <a:pt x="75" y="46"/>
                      <a:pt x="75" y="46"/>
                      <a:pt x="75" y="46"/>
                    </a:cubicBezTo>
                    <a:cubicBezTo>
                      <a:pt x="75" y="45"/>
                      <a:pt x="75" y="43"/>
                      <a:pt x="75" y="43"/>
                    </a:cubicBezTo>
                    <a:cubicBezTo>
                      <a:pt x="75" y="29"/>
                      <a:pt x="71" y="19"/>
                      <a:pt x="64" y="11"/>
                    </a:cubicBezTo>
                    <a:cubicBezTo>
                      <a:pt x="57" y="4"/>
                      <a:pt x="49" y="0"/>
                      <a:pt x="38" y="0"/>
                    </a:cubicBezTo>
                    <a:close/>
                    <a:moveTo>
                      <a:pt x="15" y="35"/>
                    </a:moveTo>
                    <a:cubicBezTo>
                      <a:pt x="15" y="28"/>
                      <a:pt x="18" y="22"/>
                      <a:pt x="22" y="18"/>
                    </a:cubicBezTo>
                    <a:cubicBezTo>
                      <a:pt x="26" y="14"/>
                      <a:pt x="32" y="12"/>
                      <a:pt x="38" y="12"/>
                    </a:cubicBezTo>
                    <a:cubicBezTo>
                      <a:pt x="45" y="12"/>
                      <a:pt x="51" y="14"/>
                      <a:pt x="55" y="20"/>
                    </a:cubicBezTo>
                    <a:cubicBezTo>
                      <a:pt x="58" y="23"/>
                      <a:pt x="60" y="28"/>
                      <a:pt x="60" y="35"/>
                    </a:cubicBezTo>
                    <a:lnTo>
                      <a:pt x="15" y="3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57" name="í$lidè"/>
              <p:cNvSpPr/>
              <p:nvPr/>
            </p:nvSpPr>
            <p:spPr bwMode="auto">
              <a:xfrm>
                <a:off x="10457116" y="5675903"/>
                <a:ext cx="25400" cy="30163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58" name="iSļiḋé"/>
              <p:cNvSpPr/>
              <p:nvPr/>
            </p:nvSpPr>
            <p:spPr bwMode="auto">
              <a:xfrm>
                <a:off x="10457116" y="5733053"/>
                <a:ext cx="25400" cy="149225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59" name="íṩḷïḑe"/>
              <p:cNvSpPr/>
              <p:nvPr/>
            </p:nvSpPr>
            <p:spPr bwMode="auto">
              <a:xfrm>
                <a:off x="10520616" y="5675903"/>
                <a:ext cx="25400" cy="30163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60" name="i$ḷïḍè"/>
              <p:cNvSpPr/>
              <p:nvPr/>
            </p:nvSpPr>
            <p:spPr bwMode="auto">
              <a:xfrm>
                <a:off x="10488866" y="5733053"/>
                <a:ext cx="57150" cy="211138"/>
              </a:xfrm>
              <a:custGeom>
                <a:avLst/>
                <a:gdLst>
                  <a:gd name="T0" fmla="*/ 17 w 31"/>
                  <a:gd name="T1" fmla="*/ 85 h 114"/>
                  <a:gd name="T2" fmla="*/ 15 w 31"/>
                  <a:gd name="T3" fmla="*/ 99 h 114"/>
                  <a:gd name="T4" fmla="*/ 9 w 31"/>
                  <a:gd name="T5" fmla="*/ 102 h 114"/>
                  <a:gd name="T6" fmla="*/ 2 w 31"/>
                  <a:gd name="T7" fmla="*/ 101 h 114"/>
                  <a:gd name="T8" fmla="*/ 0 w 31"/>
                  <a:gd name="T9" fmla="*/ 113 h 114"/>
                  <a:gd name="T10" fmla="*/ 11 w 31"/>
                  <a:gd name="T11" fmla="*/ 114 h 114"/>
                  <a:gd name="T12" fmla="*/ 27 w 31"/>
                  <a:gd name="T13" fmla="*/ 107 h 114"/>
                  <a:gd name="T14" fmla="*/ 31 w 31"/>
                  <a:gd name="T15" fmla="*/ 86 h 114"/>
                  <a:gd name="T16" fmla="*/ 31 w 31"/>
                  <a:gd name="T17" fmla="*/ 0 h 114"/>
                  <a:gd name="T18" fmla="*/ 17 w 31"/>
                  <a:gd name="T19" fmla="*/ 0 h 114"/>
                  <a:gd name="T20" fmla="*/ 17 w 31"/>
                  <a:gd name="T21" fmla="*/ 85 h 1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31" h="114">
                    <a:moveTo>
                      <a:pt x="17" y="85"/>
                    </a:moveTo>
                    <a:cubicBezTo>
                      <a:pt x="17" y="93"/>
                      <a:pt x="17" y="98"/>
                      <a:pt x="15" y="99"/>
                    </a:cubicBezTo>
                    <a:cubicBezTo>
                      <a:pt x="14" y="101"/>
                      <a:pt x="12" y="102"/>
                      <a:pt x="9" y="102"/>
                    </a:cubicBezTo>
                    <a:cubicBezTo>
                      <a:pt x="7" y="102"/>
                      <a:pt x="5" y="102"/>
                      <a:pt x="2" y="101"/>
                    </a:cubicBezTo>
                    <a:cubicBezTo>
                      <a:pt x="0" y="113"/>
                      <a:pt x="0" y="113"/>
                      <a:pt x="0" y="113"/>
                    </a:cubicBezTo>
                    <a:cubicBezTo>
                      <a:pt x="3" y="114"/>
                      <a:pt x="7" y="114"/>
                      <a:pt x="11" y="114"/>
                    </a:cubicBezTo>
                    <a:cubicBezTo>
                      <a:pt x="18" y="114"/>
                      <a:pt x="24" y="112"/>
                      <a:pt x="27" y="107"/>
                    </a:cubicBezTo>
                    <a:cubicBezTo>
                      <a:pt x="30" y="103"/>
                      <a:pt x="31" y="96"/>
                      <a:pt x="31" y="86"/>
                    </a:cubicBezTo>
                    <a:cubicBezTo>
                      <a:pt x="31" y="0"/>
                      <a:pt x="31" y="0"/>
                      <a:pt x="31" y="0"/>
                    </a:cubicBezTo>
                    <a:cubicBezTo>
                      <a:pt x="17" y="0"/>
                      <a:pt x="17" y="0"/>
                      <a:pt x="17" y="0"/>
                    </a:cubicBezTo>
                    <a:lnTo>
                      <a:pt x="17" y="8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61" name="íṩliḋé"/>
              <p:cNvSpPr/>
              <p:nvPr/>
            </p:nvSpPr>
            <p:spPr bwMode="auto">
              <a:xfrm>
                <a:off x="10585703" y="5675903"/>
                <a:ext cx="25400" cy="30163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62" name="ísḷiďé"/>
              <p:cNvSpPr/>
              <p:nvPr/>
            </p:nvSpPr>
            <p:spPr bwMode="auto">
              <a:xfrm>
                <a:off x="10585703" y="5733053"/>
                <a:ext cx="25400" cy="149225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63" name="íṩļïḍe"/>
              <p:cNvSpPr/>
              <p:nvPr/>
            </p:nvSpPr>
            <p:spPr bwMode="auto">
              <a:xfrm>
                <a:off x="10649203" y="5729878"/>
                <a:ext cx="122238" cy="152400"/>
              </a:xfrm>
              <a:custGeom>
                <a:avLst/>
                <a:gdLst>
                  <a:gd name="T0" fmla="*/ 65 w 66"/>
                  <a:gd name="T1" fmla="*/ 20 h 83"/>
                  <a:gd name="T2" fmla="*/ 61 w 66"/>
                  <a:gd name="T3" fmla="*/ 10 h 83"/>
                  <a:gd name="T4" fmla="*/ 52 w 66"/>
                  <a:gd name="T5" fmla="*/ 3 h 83"/>
                  <a:gd name="T6" fmla="*/ 38 w 66"/>
                  <a:gd name="T7" fmla="*/ 0 h 83"/>
                  <a:gd name="T8" fmla="*/ 12 w 66"/>
                  <a:gd name="T9" fmla="*/ 14 h 83"/>
                  <a:gd name="T10" fmla="*/ 12 w 66"/>
                  <a:gd name="T11" fmla="*/ 2 h 83"/>
                  <a:gd name="T12" fmla="*/ 0 w 66"/>
                  <a:gd name="T13" fmla="*/ 2 h 83"/>
                  <a:gd name="T14" fmla="*/ 0 w 66"/>
                  <a:gd name="T15" fmla="*/ 83 h 83"/>
                  <a:gd name="T16" fmla="*/ 14 w 66"/>
                  <a:gd name="T17" fmla="*/ 83 h 83"/>
                  <a:gd name="T18" fmla="*/ 14 w 66"/>
                  <a:gd name="T19" fmla="*/ 39 h 83"/>
                  <a:gd name="T20" fmla="*/ 20 w 66"/>
                  <a:gd name="T21" fmla="*/ 18 h 83"/>
                  <a:gd name="T22" fmla="*/ 35 w 66"/>
                  <a:gd name="T23" fmla="*/ 12 h 83"/>
                  <a:gd name="T24" fmla="*/ 45 w 66"/>
                  <a:gd name="T25" fmla="*/ 15 h 83"/>
                  <a:gd name="T26" fmla="*/ 51 w 66"/>
                  <a:gd name="T27" fmla="*/ 21 h 83"/>
                  <a:gd name="T28" fmla="*/ 52 w 66"/>
                  <a:gd name="T29" fmla="*/ 34 h 83"/>
                  <a:gd name="T30" fmla="*/ 52 w 66"/>
                  <a:gd name="T31" fmla="*/ 83 h 83"/>
                  <a:gd name="T32" fmla="*/ 66 w 66"/>
                  <a:gd name="T33" fmla="*/ 83 h 83"/>
                  <a:gd name="T34" fmla="*/ 66 w 66"/>
                  <a:gd name="T35" fmla="*/ 33 h 83"/>
                  <a:gd name="T36" fmla="*/ 65 w 66"/>
                  <a:gd name="T37" fmla="*/ 20 h 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66" h="83">
                    <a:moveTo>
                      <a:pt x="65" y="20"/>
                    </a:moveTo>
                    <a:cubicBezTo>
                      <a:pt x="64" y="16"/>
                      <a:pt x="63" y="13"/>
                      <a:pt x="61" y="10"/>
                    </a:cubicBezTo>
                    <a:cubicBezTo>
                      <a:pt x="59" y="7"/>
                      <a:pt x="56" y="5"/>
                      <a:pt x="52" y="3"/>
                    </a:cubicBezTo>
                    <a:cubicBezTo>
                      <a:pt x="48" y="1"/>
                      <a:pt x="43" y="0"/>
                      <a:pt x="38" y="0"/>
                    </a:cubicBezTo>
                    <a:cubicBezTo>
                      <a:pt x="27" y="0"/>
                      <a:pt x="18" y="5"/>
                      <a:pt x="12" y="14"/>
                    </a:cubicBezTo>
                    <a:cubicBezTo>
                      <a:pt x="12" y="2"/>
                      <a:pt x="12" y="2"/>
                      <a:pt x="12" y="2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83"/>
                      <a:pt x="0" y="83"/>
                      <a:pt x="0" y="83"/>
                    </a:cubicBezTo>
                    <a:cubicBezTo>
                      <a:pt x="14" y="83"/>
                      <a:pt x="14" y="83"/>
                      <a:pt x="14" y="83"/>
                    </a:cubicBezTo>
                    <a:cubicBezTo>
                      <a:pt x="14" y="39"/>
                      <a:pt x="14" y="39"/>
                      <a:pt x="14" y="39"/>
                    </a:cubicBezTo>
                    <a:cubicBezTo>
                      <a:pt x="14" y="29"/>
                      <a:pt x="16" y="21"/>
                      <a:pt x="20" y="18"/>
                    </a:cubicBezTo>
                    <a:cubicBezTo>
                      <a:pt x="24" y="14"/>
                      <a:pt x="29" y="12"/>
                      <a:pt x="35" y="12"/>
                    </a:cubicBezTo>
                    <a:cubicBezTo>
                      <a:pt x="39" y="12"/>
                      <a:pt x="42" y="13"/>
                      <a:pt x="45" y="15"/>
                    </a:cubicBezTo>
                    <a:cubicBezTo>
                      <a:pt x="48" y="16"/>
                      <a:pt x="50" y="19"/>
                      <a:pt x="51" y="21"/>
                    </a:cubicBezTo>
                    <a:cubicBezTo>
                      <a:pt x="52" y="24"/>
                      <a:pt x="52" y="28"/>
                      <a:pt x="52" y="34"/>
                    </a:cubicBezTo>
                    <a:cubicBezTo>
                      <a:pt x="52" y="83"/>
                      <a:pt x="52" y="83"/>
                      <a:pt x="52" y="83"/>
                    </a:cubicBezTo>
                    <a:cubicBezTo>
                      <a:pt x="66" y="83"/>
                      <a:pt x="66" y="83"/>
                      <a:pt x="66" y="83"/>
                    </a:cubicBezTo>
                    <a:cubicBezTo>
                      <a:pt x="66" y="33"/>
                      <a:pt x="66" y="33"/>
                      <a:pt x="66" y="33"/>
                    </a:cubicBezTo>
                    <a:cubicBezTo>
                      <a:pt x="66" y="27"/>
                      <a:pt x="66" y="23"/>
                      <a:pt x="65" y="2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64" name="í$ľíḍê"/>
              <p:cNvSpPr/>
              <p:nvPr/>
            </p:nvSpPr>
            <p:spPr bwMode="auto">
              <a:xfrm>
                <a:off x="10800016" y="5729878"/>
                <a:ext cx="133350" cy="214313"/>
              </a:xfrm>
              <a:custGeom>
                <a:avLst/>
                <a:gdLst>
                  <a:gd name="T0" fmla="*/ 59 w 72"/>
                  <a:gd name="T1" fmla="*/ 2 h 116"/>
                  <a:gd name="T2" fmla="*/ 59 w 72"/>
                  <a:gd name="T3" fmla="*/ 12 h 116"/>
                  <a:gd name="T4" fmla="*/ 35 w 72"/>
                  <a:gd name="T5" fmla="*/ 0 h 116"/>
                  <a:gd name="T6" fmla="*/ 16 w 72"/>
                  <a:gd name="T7" fmla="*/ 6 h 116"/>
                  <a:gd name="T8" fmla="*/ 4 w 72"/>
                  <a:gd name="T9" fmla="*/ 21 h 116"/>
                  <a:gd name="T10" fmla="*/ 0 w 72"/>
                  <a:gd name="T11" fmla="*/ 42 h 116"/>
                  <a:gd name="T12" fmla="*/ 9 w 72"/>
                  <a:gd name="T13" fmla="*/ 71 h 116"/>
                  <a:gd name="T14" fmla="*/ 35 w 72"/>
                  <a:gd name="T15" fmla="*/ 83 h 116"/>
                  <a:gd name="T16" fmla="*/ 58 w 72"/>
                  <a:gd name="T17" fmla="*/ 73 h 116"/>
                  <a:gd name="T18" fmla="*/ 57 w 72"/>
                  <a:gd name="T19" fmla="*/ 90 h 116"/>
                  <a:gd name="T20" fmla="*/ 49 w 72"/>
                  <a:gd name="T21" fmla="*/ 101 h 116"/>
                  <a:gd name="T22" fmla="*/ 35 w 72"/>
                  <a:gd name="T23" fmla="*/ 105 h 116"/>
                  <a:gd name="T24" fmla="*/ 21 w 72"/>
                  <a:gd name="T25" fmla="*/ 101 h 116"/>
                  <a:gd name="T26" fmla="*/ 16 w 72"/>
                  <a:gd name="T27" fmla="*/ 92 h 116"/>
                  <a:gd name="T28" fmla="*/ 3 w 72"/>
                  <a:gd name="T29" fmla="*/ 90 h 116"/>
                  <a:gd name="T30" fmla="*/ 11 w 72"/>
                  <a:gd name="T31" fmla="*/ 110 h 116"/>
                  <a:gd name="T32" fmla="*/ 35 w 72"/>
                  <a:gd name="T33" fmla="*/ 116 h 116"/>
                  <a:gd name="T34" fmla="*/ 55 w 72"/>
                  <a:gd name="T35" fmla="*/ 112 h 116"/>
                  <a:gd name="T36" fmla="*/ 68 w 72"/>
                  <a:gd name="T37" fmla="*/ 99 h 116"/>
                  <a:gd name="T38" fmla="*/ 72 w 72"/>
                  <a:gd name="T39" fmla="*/ 72 h 116"/>
                  <a:gd name="T40" fmla="*/ 72 w 72"/>
                  <a:gd name="T41" fmla="*/ 2 h 116"/>
                  <a:gd name="T42" fmla="*/ 59 w 72"/>
                  <a:gd name="T43" fmla="*/ 2 h 116"/>
                  <a:gd name="T44" fmla="*/ 52 w 72"/>
                  <a:gd name="T45" fmla="*/ 65 h 116"/>
                  <a:gd name="T46" fmla="*/ 36 w 72"/>
                  <a:gd name="T47" fmla="*/ 72 h 116"/>
                  <a:gd name="T48" fmla="*/ 20 w 72"/>
                  <a:gd name="T49" fmla="*/ 65 h 116"/>
                  <a:gd name="T50" fmla="*/ 14 w 72"/>
                  <a:gd name="T51" fmla="*/ 41 h 116"/>
                  <a:gd name="T52" fmla="*/ 20 w 72"/>
                  <a:gd name="T53" fmla="*/ 19 h 116"/>
                  <a:gd name="T54" fmla="*/ 36 w 72"/>
                  <a:gd name="T55" fmla="*/ 12 h 116"/>
                  <a:gd name="T56" fmla="*/ 52 w 72"/>
                  <a:gd name="T57" fmla="*/ 19 h 116"/>
                  <a:gd name="T58" fmla="*/ 59 w 72"/>
                  <a:gd name="T59" fmla="*/ 42 h 116"/>
                  <a:gd name="T60" fmla="*/ 52 w 72"/>
                  <a:gd name="T61" fmla="*/ 65 h 1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72" h="116">
                    <a:moveTo>
                      <a:pt x="59" y="2"/>
                    </a:moveTo>
                    <a:cubicBezTo>
                      <a:pt x="59" y="12"/>
                      <a:pt x="59" y="12"/>
                      <a:pt x="59" y="12"/>
                    </a:cubicBezTo>
                    <a:cubicBezTo>
                      <a:pt x="53" y="4"/>
                      <a:pt x="45" y="0"/>
                      <a:pt x="35" y="0"/>
                    </a:cubicBezTo>
                    <a:cubicBezTo>
                      <a:pt x="28" y="0"/>
                      <a:pt x="22" y="2"/>
                      <a:pt x="16" y="6"/>
                    </a:cubicBezTo>
                    <a:cubicBezTo>
                      <a:pt x="11" y="9"/>
                      <a:pt x="7" y="14"/>
                      <a:pt x="4" y="21"/>
                    </a:cubicBezTo>
                    <a:cubicBezTo>
                      <a:pt x="1" y="27"/>
                      <a:pt x="0" y="34"/>
                      <a:pt x="0" y="42"/>
                    </a:cubicBezTo>
                    <a:cubicBezTo>
                      <a:pt x="0" y="53"/>
                      <a:pt x="3" y="63"/>
                      <a:pt x="9" y="71"/>
                    </a:cubicBezTo>
                    <a:cubicBezTo>
                      <a:pt x="15" y="79"/>
                      <a:pt x="24" y="83"/>
                      <a:pt x="35" y="83"/>
                    </a:cubicBezTo>
                    <a:cubicBezTo>
                      <a:pt x="44" y="83"/>
                      <a:pt x="51" y="80"/>
                      <a:pt x="58" y="73"/>
                    </a:cubicBezTo>
                    <a:cubicBezTo>
                      <a:pt x="58" y="82"/>
                      <a:pt x="57" y="88"/>
                      <a:pt x="57" y="90"/>
                    </a:cubicBezTo>
                    <a:cubicBezTo>
                      <a:pt x="55" y="95"/>
                      <a:pt x="53" y="99"/>
                      <a:pt x="49" y="101"/>
                    </a:cubicBezTo>
                    <a:cubicBezTo>
                      <a:pt x="46" y="104"/>
                      <a:pt x="41" y="105"/>
                      <a:pt x="35" y="105"/>
                    </a:cubicBezTo>
                    <a:cubicBezTo>
                      <a:pt x="29" y="105"/>
                      <a:pt x="24" y="104"/>
                      <a:pt x="21" y="101"/>
                    </a:cubicBezTo>
                    <a:cubicBezTo>
                      <a:pt x="18" y="99"/>
                      <a:pt x="17" y="96"/>
                      <a:pt x="16" y="92"/>
                    </a:cubicBezTo>
                    <a:cubicBezTo>
                      <a:pt x="3" y="90"/>
                      <a:pt x="3" y="90"/>
                      <a:pt x="3" y="90"/>
                    </a:cubicBezTo>
                    <a:cubicBezTo>
                      <a:pt x="2" y="99"/>
                      <a:pt x="5" y="105"/>
                      <a:pt x="11" y="110"/>
                    </a:cubicBezTo>
                    <a:cubicBezTo>
                      <a:pt x="17" y="114"/>
                      <a:pt x="25" y="116"/>
                      <a:pt x="35" y="116"/>
                    </a:cubicBezTo>
                    <a:cubicBezTo>
                      <a:pt x="43" y="116"/>
                      <a:pt x="50" y="115"/>
                      <a:pt x="55" y="112"/>
                    </a:cubicBezTo>
                    <a:cubicBezTo>
                      <a:pt x="61" y="109"/>
                      <a:pt x="65" y="104"/>
                      <a:pt x="68" y="99"/>
                    </a:cubicBezTo>
                    <a:cubicBezTo>
                      <a:pt x="70" y="94"/>
                      <a:pt x="72" y="85"/>
                      <a:pt x="72" y="72"/>
                    </a:cubicBezTo>
                    <a:cubicBezTo>
                      <a:pt x="72" y="2"/>
                      <a:pt x="72" y="2"/>
                      <a:pt x="72" y="2"/>
                    </a:cubicBezTo>
                    <a:lnTo>
                      <a:pt x="59" y="2"/>
                    </a:lnTo>
                    <a:close/>
                    <a:moveTo>
                      <a:pt x="52" y="65"/>
                    </a:moveTo>
                    <a:cubicBezTo>
                      <a:pt x="48" y="69"/>
                      <a:pt x="43" y="72"/>
                      <a:pt x="36" y="72"/>
                    </a:cubicBezTo>
                    <a:cubicBezTo>
                      <a:pt x="30" y="72"/>
                      <a:pt x="25" y="69"/>
                      <a:pt x="20" y="65"/>
                    </a:cubicBezTo>
                    <a:cubicBezTo>
                      <a:pt x="16" y="60"/>
                      <a:pt x="14" y="52"/>
                      <a:pt x="14" y="41"/>
                    </a:cubicBezTo>
                    <a:cubicBezTo>
                      <a:pt x="14" y="31"/>
                      <a:pt x="16" y="24"/>
                      <a:pt x="20" y="19"/>
                    </a:cubicBezTo>
                    <a:cubicBezTo>
                      <a:pt x="25" y="14"/>
                      <a:pt x="30" y="12"/>
                      <a:pt x="36" y="12"/>
                    </a:cubicBezTo>
                    <a:cubicBezTo>
                      <a:pt x="42" y="12"/>
                      <a:pt x="48" y="14"/>
                      <a:pt x="52" y="19"/>
                    </a:cubicBezTo>
                    <a:cubicBezTo>
                      <a:pt x="56" y="24"/>
                      <a:pt x="59" y="32"/>
                      <a:pt x="59" y="42"/>
                    </a:cubicBezTo>
                    <a:cubicBezTo>
                      <a:pt x="59" y="52"/>
                      <a:pt x="57" y="60"/>
                      <a:pt x="52" y="6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65" name="î$1ïḍè"/>
              <p:cNvSpPr/>
              <p:nvPr/>
            </p:nvSpPr>
            <p:spPr bwMode="auto">
              <a:xfrm>
                <a:off x="5231066" y="5675903"/>
                <a:ext cx="161925" cy="211138"/>
              </a:xfrm>
              <a:custGeom>
                <a:avLst/>
                <a:gdLst>
                  <a:gd name="T0" fmla="*/ 73 w 88"/>
                  <a:gd name="T1" fmla="*/ 65 h 114"/>
                  <a:gd name="T2" fmla="*/ 66 w 88"/>
                  <a:gd name="T3" fmla="*/ 93 h 114"/>
                  <a:gd name="T4" fmla="*/ 43 w 88"/>
                  <a:gd name="T5" fmla="*/ 101 h 114"/>
                  <a:gd name="T6" fmla="*/ 27 w 88"/>
                  <a:gd name="T7" fmla="*/ 97 h 114"/>
                  <a:gd name="T8" fmla="*/ 17 w 88"/>
                  <a:gd name="T9" fmla="*/ 86 h 114"/>
                  <a:gd name="T10" fmla="*/ 15 w 88"/>
                  <a:gd name="T11" fmla="*/ 65 h 114"/>
                  <a:gd name="T12" fmla="*/ 15 w 88"/>
                  <a:gd name="T13" fmla="*/ 0 h 114"/>
                  <a:gd name="T14" fmla="*/ 0 w 88"/>
                  <a:gd name="T15" fmla="*/ 0 h 114"/>
                  <a:gd name="T16" fmla="*/ 0 w 88"/>
                  <a:gd name="T17" fmla="*/ 65 h 114"/>
                  <a:gd name="T18" fmla="*/ 4 w 88"/>
                  <a:gd name="T19" fmla="*/ 93 h 114"/>
                  <a:gd name="T20" fmla="*/ 18 w 88"/>
                  <a:gd name="T21" fmla="*/ 109 h 114"/>
                  <a:gd name="T22" fmla="*/ 44 w 88"/>
                  <a:gd name="T23" fmla="*/ 114 h 114"/>
                  <a:gd name="T24" fmla="*/ 70 w 88"/>
                  <a:gd name="T25" fmla="*/ 108 h 114"/>
                  <a:gd name="T26" fmla="*/ 84 w 88"/>
                  <a:gd name="T27" fmla="*/ 92 h 114"/>
                  <a:gd name="T28" fmla="*/ 88 w 88"/>
                  <a:gd name="T29" fmla="*/ 65 h 114"/>
                  <a:gd name="T30" fmla="*/ 88 w 88"/>
                  <a:gd name="T31" fmla="*/ 0 h 114"/>
                  <a:gd name="T32" fmla="*/ 73 w 88"/>
                  <a:gd name="T33" fmla="*/ 0 h 114"/>
                  <a:gd name="T34" fmla="*/ 73 w 88"/>
                  <a:gd name="T35" fmla="*/ 65 h 1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88" h="114">
                    <a:moveTo>
                      <a:pt x="73" y="65"/>
                    </a:moveTo>
                    <a:cubicBezTo>
                      <a:pt x="73" y="79"/>
                      <a:pt x="71" y="88"/>
                      <a:pt x="66" y="93"/>
                    </a:cubicBezTo>
                    <a:cubicBezTo>
                      <a:pt x="62" y="98"/>
                      <a:pt x="54" y="101"/>
                      <a:pt x="43" y="101"/>
                    </a:cubicBezTo>
                    <a:cubicBezTo>
                      <a:pt x="37" y="101"/>
                      <a:pt x="31" y="100"/>
                      <a:pt x="27" y="97"/>
                    </a:cubicBezTo>
                    <a:cubicBezTo>
                      <a:pt x="22" y="95"/>
                      <a:pt x="19" y="91"/>
                      <a:pt x="17" y="86"/>
                    </a:cubicBezTo>
                    <a:cubicBezTo>
                      <a:pt x="16" y="82"/>
                      <a:pt x="15" y="75"/>
                      <a:pt x="15" y="65"/>
                    </a:cubicBezTo>
                    <a:cubicBezTo>
                      <a:pt x="15" y="0"/>
                      <a:pt x="15" y="0"/>
                      <a:pt x="15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65"/>
                      <a:pt x="0" y="65"/>
                      <a:pt x="0" y="65"/>
                    </a:cubicBezTo>
                    <a:cubicBezTo>
                      <a:pt x="0" y="77"/>
                      <a:pt x="1" y="86"/>
                      <a:pt x="4" y="93"/>
                    </a:cubicBezTo>
                    <a:cubicBezTo>
                      <a:pt x="7" y="100"/>
                      <a:pt x="12" y="105"/>
                      <a:pt x="18" y="109"/>
                    </a:cubicBezTo>
                    <a:cubicBezTo>
                      <a:pt x="25" y="112"/>
                      <a:pt x="34" y="114"/>
                      <a:pt x="44" y="114"/>
                    </a:cubicBezTo>
                    <a:cubicBezTo>
                      <a:pt x="55" y="114"/>
                      <a:pt x="64" y="112"/>
                      <a:pt x="70" y="108"/>
                    </a:cubicBezTo>
                    <a:cubicBezTo>
                      <a:pt x="77" y="104"/>
                      <a:pt x="82" y="98"/>
                      <a:pt x="84" y="92"/>
                    </a:cubicBezTo>
                    <a:cubicBezTo>
                      <a:pt x="87" y="85"/>
                      <a:pt x="88" y="76"/>
                      <a:pt x="88" y="65"/>
                    </a:cubicBezTo>
                    <a:cubicBezTo>
                      <a:pt x="88" y="0"/>
                      <a:pt x="88" y="0"/>
                      <a:pt x="88" y="0"/>
                    </a:cubicBezTo>
                    <a:cubicBezTo>
                      <a:pt x="73" y="0"/>
                      <a:pt x="73" y="0"/>
                      <a:pt x="73" y="0"/>
                    </a:cubicBezTo>
                    <a:lnTo>
                      <a:pt x="73" y="6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66" name="ïṡļîḑê"/>
              <p:cNvSpPr/>
              <p:nvPr/>
            </p:nvSpPr>
            <p:spPr bwMode="auto">
              <a:xfrm>
                <a:off x="5435853" y="5729878"/>
                <a:ext cx="120650" cy="152400"/>
              </a:xfrm>
              <a:custGeom>
                <a:avLst/>
                <a:gdLst>
                  <a:gd name="T0" fmla="*/ 61 w 66"/>
                  <a:gd name="T1" fmla="*/ 10 h 83"/>
                  <a:gd name="T2" fmla="*/ 52 w 66"/>
                  <a:gd name="T3" fmla="*/ 3 h 83"/>
                  <a:gd name="T4" fmla="*/ 38 w 66"/>
                  <a:gd name="T5" fmla="*/ 0 h 83"/>
                  <a:gd name="T6" fmla="*/ 12 w 66"/>
                  <a:gd name="T7" fmla="*/ 14 h 83"/>
                  <a:gd name="T8" fmla="*/ 12 w 66"/>
                  <a:gd name="T9" fmla="*/ 2 h 83"/>
                  <a:gd name="T10" fmla="*/ 0 w 66"/>
                  <a:gd name="T11" fmla="*/ 2 h 83"/>
                  <a:gd name="T12" fmla="*/ 0 w 66"/>
                  <a:gd name="T13" fmla="*/ 83 h 83"/>
                  <a:gd name="T14" fmla="*/ 14 w 66"/>
                  <a:gd name="T15" fmla="*/ 83 h 83"/>
                  <a:gd name="T16" fmla="*/ 14 w 66"/>
                  <a:gd name="T17" fmla="*/ 39 h 83"/>
                  <a:gd name="T18" fmla="*/ 20 w 66"/>
                  <a:gd name="T19" fmla="*/ 18 h 83"/>
                  <a:gd name="T20" fmla="*/ 35 w 66"/>
                  <a:gd name="T21" fmla="*/ 12 h 83"/>
                  <a:gd name="T22" fmla="*/ 45 w 66"/>
                  <a:gd name="T23" fmla="*/ 15 h 83"/>
                  <a:gd name="T24" fmla="*/ 51 w 66"/>
                  <a:gd name="T25" fmla="*/ 21 h 83"/>
                  <a:gd name="T26" fmla="*/ 52 w 66"/>
                  <a:gd name="T27" fmla="*/ 34 h 83"/>
                  <a:gd name="T28" fmla="*/ 52 w 66"/>
                  <a:gd name="T29" fmla="*/ 83 h 83"/>
                  <a:gd name="T30" fmla="*/ 66 w 66"/>
                  <a:gd name="T31" fmla="*/ 83 h 83"/>
                  <a:gd name="T32" fmla="*/ 66 w 66"/>
                  <a:gd name="T33" fmla="*/ 33 h 83"/>
                  <a:gd name="T34" fmla="*/ 65 w 66"/>
                  <a:gd name="T35" fmla="*/ 20 h 83"/>
                  <a:gd name="T36" fmla="*/ 61 w 66"/>
                  <a:gd name="T37" fmla="*/ 10 h 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66" h="83">
                    <a:moveTo>
                      <a:pt x="61" y="10"/>
                    </a:moveTo>
                    <a:cubicBezTo>
                      <a:pt x="59" y="7"/>
                      <a:pt x="56" y="5"/>
                      <a:pt x="52" y="3"/>
                    </a:cubicBezTo>
                    <a:cubicBezTo>
                      <a:pt x="48" y="1"/>
                      <a:pt x="43" y="0"/>
                      <a:pt x="38" y="0"/>
                    </a:cubicBezTo>
                    <a:cubicBezTo>
                      <a:pt x="27" y="0"/>
                      <a:pt x="18" y="5"/>
                      <a:pt x="12" y="14"/>
                    </a:cubicBezTo>
                    <a:cubicBezTo>
                      <a:pt x="12" y="2"/>
                      <a:pt x="12" y="2"/>
                      <a:pt x="12" y="2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83"/>
                      <a:pt x="0" y="83"/>
                      <a:pt x="0" y="83"/>
                    </a:cubicBezTo>
                    <a:cubicBezTo>
                      <a:pt x="14" y="83"/>
                      <a:pt x="14" y="83"/>
                      <a:pt x="14" y="83"/>
                    </a:cubicBezTo>
                    <a:cubicBezTo>
                      <a:pt x="14" y="39"/>
                      <a:pt x="14" y="39"/>
                      <a:pt x="14" y="39"/>
                    </a:cubicBezTo>
                    <a:cubicBezTo>
                      <a:pt x="14" y="29"/>
                      <a:pt x="16" y="21"/>
                      <a:pt x="20" y="18"/>
                    </a:cubicBezTo>
                    <a:cubicBezTo>
                      <a:pt x="25" y="14"/>
                      <a:pt x="30" y="12"/>
                      <a:pt x="35" y="12"/>
                    </a:cubicBezTo>
                    <a:cubicBezTo>
                      <a:pt x="39" y="12"/>
                      <a:pt x="42" y="13"/>
                      <a:pt x="45" y="15"/>
                    </a:cubicBezTo>
                    <a:cubicBezTo>
                      <a:pt x="48" y="16"/>
                      <a:pt x="50" y="19"/>
                      <a:pt x="51" y="21"/>
                    </a:cubicBezTo>
                    <a:cubicBezTo>
                      <a:pt x="52" y="24"/>
                      <a:pt x="52" y="28"/>
                      <a:pt x="52" y="34"/>
                    </a:cubicBezTo>
                    <a:cubicBezTo>
                      <a:pt x="52" y="83"/>
                      <a:pt x="52" y="83"/>
                      <a:pt x="52" y="83"/>
                    </a:cubicBezTo>
                    <a:cubicBezTo>
                      <a:pt x="66" y="83"/>
                      <a:pt x="66" y="83"/>
                      <a:pt x="66" y="83"/>
                    </a:cubicBezTo>
                    <a:cubicBezTo>
                      <a:pt x="66" y="33"/>
                      <a:pt x="66" y="33"/>
                      <a:pt x="66" y="33"/>
                    </a:cubicBezTo>
                    <a:cubicBezTo>
                      <a:pt x="66" y="27"/>
                      <a:pt x="66" y="23"/>
                      <a:pt x="65" y="20"/>
                    </a:cubicBezTo>
                    <a:cubicBezTo>
                      <a:pt x="65" y="16"/>
                      <a:pt x="63" y="13"/>
                      <a:pt x="61" y="1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</p:grpSp>
      </p:grpSp>
      <p:grpSp>
        <p:nvGrpSpPr>
          <p:cNvPr id="129" name="组合 128"/>
          <p:cNvGrpSpPr/>
          <p:nvPr userDrawn="1"/>
        </p:nvGrpSpPr>
        <p:grpSpPr>
          <a:xfrm>
            <a:off x="488124" y="-46297"/>
            <a:ext cx="533439" cy="937548"/>
            <a:chOff x="313666" y="-185194"/>
            <a:chExt cx="921996" cy="1215342"/>
          </a:xfrm>
        </p:grpSpPr>
        <p:pic>
          <p:nvPicPr>
            <p:cNvPr id="130" name="图片 129"/>
            <p:cNvPicPr>
              <a:picLocks noChangeAspect="1"/>
            </p:cNvPicPr>
            <p:nvPr userDrawn="1"/>
          </p:nvPicPr>
          <p:blipFill rotWithShape="1">
            <a:blip r:embed="rId1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4698" r="24746"/>
            <a:stretch>
              <a:fillRect/>
            </a:stretch>
          </p:blipFill>
          <p:spPr>
            <a:xfrm>
              <a:off x="313666" y="-185194"/>
              <a:ext cx="921996" cy="1215342"/>
            </a:xfrm>
            <a:prstGeom prst="rect">
              <a:avLst/>
            </a:prstGeom>
          </p:spPr>
        </p:pic>
        <p:sp>
          <p:nvSpPr>
            <p:cNvPr id="131" name="矩形: 圆角 130"/>
            <p:cNvSpPr/>
            <p:nvPr userDrawn="1"/>
          </p:nvSpPr>
          <p:spPr>
            <a:xfrm>
              <a:off x="313666" y="-185194"/>
              <a:ext cx="921996" cy="1215342"/>
            </a:xfrm>
            <a:prstGeom prst="roundRect">
              <a:avLst>
                <a:gd name="adj" fmla="val 0"/>
              </a:avLst>
            </a:prstGeom>
            <a:gradFill flip="none" rotWithShape="1">
              <a:gsLst>
                <a:gs pos="0">
                  <a:srgbClr val="A22B17">
                    <a:lumMod val="94000"/>
                    <a:lumOff val="6000"/>
                  </a:srgbClr>
                </a:gs>
                <a:gs pos="100000">
                  <a:srgbClr val="A22B17">
                    <a:alpha val="72000"/>
                    <a:lumMod val="85000"/>
                    <a:lumOff val="15000"/>
                  </a:srgb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zh-CN" altLang="en-US" sz="1350" dirty="0"/>
            </a:p>
          </p:txBody>
        </p:sp>
      </p:grp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92" r:id="rId1"/>
    <p:sldLayoutId id="2147483693" r:id="rId2"/>
    <p:sldLayoutId id="2147483694" r:id="rId3"/>
    <p:sldLayoutId id="2147483695" r:id="rId4"/>
    <p:sldLayoutId id="2147483696" r:id="rId5"/>
    <p:sldLayoutId id="2147483697" r:id="rId6"/>
    <p:sldLayoutId id="2147483698" r:id="rId7"/>
    <p:sldLayoutId id="2147483699" r:id="rId8"/>
    <p:sldLayoutId id="2147483700" r:id="rId9"/>
    <p:sldLayoutId id="2147483701" r:id="rId10"/>
    <p:sldLayoutId id="2147483702" r:id="rId11"/>
    <p:sldLayoutId id="2147483703" r:id="rId12"/>
    <p:sldLayoutId id="2147483704" r:id="rId13"/>
    <p:sldLayoutId id="2147483705" r:id="rId14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gradFill rotWithShape="0">
          <a:gsLst>
            <a:gs pos="53000">
              <a:schemeClr val="accent2">
                <a:lumMod val="20000"/>
                <a:lumOff val="80000"/>
              </a:schemeClr>
            </a:gs>
            <a:gs pos="100000">
              <a:schemeClr val="accent1">
                <a:lumMod val="30000"/>
                <a:lumOff val="70000"/>
              </a:schemeClr>
            </a:gs>
          </a:gsLst>
          <a:lin ang="162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/>
          <p:nvPr>
            <p:ph type="title"/>
          </p:nvPr>
        </p:nvSpPr>
        <p:spPr>
          <a:xfrm>
            <a:off x="457200" y="0"/>
            <a:ext cx="8229600" cy="16002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/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Text Placeholder 2"/>
          <p:cNvSpPr/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en-US" dirty="0"/>
          </a:p>
        </p:txBody>
      </p:sp>
      <p:sp>
        <p:nvSpPr>
          <p:cNvPr id="4" name="Date Placeholder 3"/>
          <p:cNvSpPr/>
          <p:nvPr>
            <p:ph type="dt" sz="half" idx="2"/>
          </p:nvPr>
        </p:nvSpPr>
        <p:spPr>
          <a:xfrm>
            <a:off x="6363347" y="6356350"/>
            <a:ext cx="2085975" cy="365125"/>
          </a:xfrm>
          <a:prstGeom prst="rect">
            <a:avLst/>
          </a:prstGeom>
        </p:spPr>
        <p:txBody>
          <a:bodyPr vert="horz" lIns="91440" tIns="45720" rIns="45720" bIns="45720" rtlCol="0" anchor="ctr"/>
          <a:lstStyle>
            <a:lvl1pPr algn="r">
              <a:defRPr sz="120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endParaRPr lang="zh-CN" altLang="en-US"/>
          </a:p>
        </p:txBody>
      </p:sp>
      <p:sp>
        <p:nvSpPr>
          <p:cNvPr id="5" name="Footer Placeholder 4"/>
          <p:cNvSpPr/>
          <p:nvPr>
            <p:ph type="ftr" sz="quarter" idx="3"/>
          </p:nvPr>
        </p:nvSpPr>
        <p:spPr>
          <a:xfrm>
            <a:off x="659165" y="6356350"/>
            <a:ext cx="2847975" cy="365125"/>
          </a:xfrm>
          <a:prstGeom prst="rect">
            <a:avLst/>
          </a:prstGeom>
        </p:spPr>
        <p:txBody>
          <a:bodyPr vert="horz" lIns="45720" tIns="45720" rIns="91440" bIns="45720" rtlCol="0" anchor="ctr"/>
          <a:lstStyle>
            <a:lvl1pPr algn="l">
              <a:defRPr sz="120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endParaRPr lang="zh-CN" altLang="en-US"/>
          </a:p>
        </p:txBody>
      </p:sp>
      <p:sp>
        <p:nvSpPr>
          <p:cNvPr id="6" name="Slide Number Placeholder 5"/>
          <p:cNvSpPr/>
          <p:nvPr>
            <p:ph type="sldNum" sz="quarter" idx="4"/>
          </p:nvPr>
        </p:nvSpPr>
        <p:spPr>
          <a:xfrm>
            <a:off x="8543278" y="6356350"/>
            <a:ext cx="561975" cy="365125"/>
          </a:xfrm>
          <a:prstGeom prst="rect">
            <a:avLst/>
          </a:prstGeom>
        </p:spPr>
        <p:txBody>
          <a:bodyPr vert="horz" lIns="27432" tIns="45720" rIns="45720" bIns="45720" rtlCol="0" anchor="ctr"/>
          <a:lstStyle>
            <a:lvl1pPr algn="l">
              <a:defRPr sz="120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fld id="{1613A0D8-FAE1-4E13-A973-896C4E55743D}" type="slidenum">
              <a:rPr lang="en-US" altLang="zh-CN" smtClean="0"/>
            </a:fld>
            <a:endParaRPr lang="en-US" altLang="zh-CN"/>
          </a:p>
        </p:txBody>
      </p:sp>
      <p:sp>
        <p:nvSpPr>
          <p:cNvPr id="7" name="Oval 6"/>
          <p:cNvSpPr/>
          <p:nvPr/>
        </p:nvSpPr>
        <p:spPr>
          <a:xfrm>
            <a:off x="8457760" y="6499384"/>
            <a:ext cx="84772" cy="84772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algn="ctr" defTabSz="914400" rtl="0" eaLnBrk="1" latinLnBrk="0" hangingPunct="1"/>
            <a:endParaRPr lang="en-US" sz="1800" kern="120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8" name="Oval 7"/>
          <p:cNvSpPr/>
          <p:nvPr/>
        </p:nvSpPr>
        <p:spPr>
          <a:xfrm>
            <a:off x="569119" y="6499384"/>
            <a:ext cx="84772" cy="84772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标题占位符 1"/>
          <p:cNvSpPr txBox="1"/>
          <p:nvPr userDrawn="1"/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2500"/>
          </a:bodyPr>
          <a:lstStyle>
            <a:lvl1pPr algn="ctr" defTabSz="914400" rtl="0" eaLnBrk="1" latinLnBrk="0" hangingPunct="1">
              <a:lnSpc>
                <a:spcPts val="5800"/>
              </a:lnSpc>
              <a:spcBef>
                <a:spcPct val="0"/>
              </a:spcBef>
              <a:buNone/>
              <a:defRPr sz="5400" kern="1200">
                <a:solidFill>
                  <a:schemeClr val="tx2"/>
                </a:solidFill>
                <a:effectLst>
                  <a:outerShdw blurRad="63500" dist="38100" dir="5400000" algn="t" rotWithShape="0">
                    <a:prstClr val="black">
                      <a:alpha val="25000"/>
                    </a:prstClr>
                  </a:outerShdw>
                </a:effectLst>
                <a:latin typeface="+mn-lt"/>
                <a:ea typeface="+mj-ea"/>
                <a:cs typeface="+mj-cs"/>
              </a:defRPr>
            </a:lvl1pPr>
          </a:lstStyle>
          <a:p>
            <a:pPr fontAlgn="auto">
              <a:spcAft>
                <a:spcPts val="0"/>
              </a:spcAft>
            </a:pPr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13" name="文本占位符 2"/>
          <p:cNvSpPr txBox="1"/>
          <p:nvPr userDrawn="1"/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600" kern="120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600" kern="120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600" kern="120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600" kern="120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+mn-cs"/>
              </a:defRPr>
            </a:lvl9pPr>
          </a:lstStyle>
          <a:p>
            <a:pPr fontAlgn="auto">
              <a:spcAft>
                <a:spcPts val="0"/>
              </a:spcAft>
            </a:pPr>
            <a:r>
              <a:rPr lang="zh-CN" altLang="en-US"/>
              <a:t>单击此处编辑母版文本样式</a:t>
            </a:r>
            <a:endParaRPr lang="zh-CN" altLang="en-US"/>
          </a:p>
          <a:p>
            <a:pPr lvl="1" fontAlgn="auto">
              <a:spcAft>
                <a:spcPts val="0"/>
              </a:spcAft>
            </a:pPr>
            <a:r>
              <a:rPr lang="zh-CN" altLang="en-US"/>
              <a:t>第二级</a:t>
            </a:r>
            <a:endParaRPr lang="zh-CN" altLang="en-US"/>
          </a:p>
          <a:p>
            <a:pPr lvl="2" fontAlgn="auto">
              <a:spcAft>
                <a:spcPts val="0"/>
              </a:spcAft>
            </a:pPr>
            <a:r>
              <a:rPr lang="zh-CN" altLang="en-US"/>
              <a:t>第三级</a:t>
            </a:r>
            <a:endParaRPr lang="zh-CN" altLang="en-US"/>
          </a:p>
          <a:p>
            <a:pPr lvl="3" fontAlgn="auto">
              <a:spcAft>
                <a:spcPts val="0"/>
              </a:spcAft>
            </a:pPr>
            <a:r>
              <a:rPr lang="zh-CN" altLang="en-US"/>
              <a:t>第四级</a:t>
            </a:r>
            <a:endParaRPr lang="zh-CN" altLang="en-US"/>
          </a:p>
          <a:p>
            <a:pPr lvl="4" fontAlgn="auto">
              <a:spcAft>
                <a:spcPts val="0"/>
              </a:spcAft>
            </a:pPr>
            <a:r>
              <a:rPr lang="zh-CN" altLang="en-US"/>
              <a:t>第五级</a:t>
            </a:r>
            <a:endParaRPr lang="zh-CN" altLang="en-US"/>
          </a:p>
        </p:txBody>
      </p:sp>
      <p:sp>
        <p:nvSpPr>
          <p:cNvPr id="14" name="灯片编号占位符 5"/>
          <p:cNvSpPr txBox="1"/>
          <p:nvPr userDrawn="1"/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algn="r" rtl="0" eaLnBrk="0" fontAlgn="base" hangingPunct="0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9pPr>
          </a:lstStyle>
          <a:p>
            <a:fld id="{1613A0D8-FAE1-4E13-A973-896C4E55743D}" type="slidenum">
              <a:rPr lang="en-US" altLang="zh-CN" smtClean="0"/>
            </a:fld>
            <a:endParaRPr lang="en-US" altLang="zh-CN"/>
          </a:p>
        </p:txBody>
      </p:sp>
      <p:pic>
        <p:nvPicPr>
          <p:cNvPr id="15" name="图片 14"/>
          <p:cNvPicPr>
            <a:picLocks noChangeAspect="1"/>
          </p:cNvPicPr>
          <p:nvPr userDrawn="1"/>
        </p:nvPicPr>
        <p:blipFill rotWithShape="1"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796" b="7796"/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16" name="矩形 15"/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bg1">
              <a:alpha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350"/>
          </a:p>
        </p:txBody>
      </p:sp>
      <p:sp>
        <p:nvSpPr>
          <p:cNvPr id="17" name="矩形 16"/>
          <p:cNvSpPr/>
          <p:nvPr userDrawn="1"/>
        </p:nvSpPr>
        <p:spPr>
          <a:xfrm>
            <a:off x="9064520" y="319741"/>
            <a:ext cx="89822" cy="274912"/>
          </a:xfrm>
          <a:prstGeom prst="rect">
            <a:avLst/>
          </a:prstGeom>
          <a:gradFill flip="none" rotWithShape="1">
            <a:gsLst>
              <a:gs pos="0">
                <a:srgbClr val="A22B17">
                  <a:lumMod val="94000"/>
                  <a:lumOff val="6000"/>
                </a:srgbClr>
              </a:gs>
              <a:gs pos="100000">
                <a:srgbClr val="A22B17">
                  <a:alpha val="72000"/>
                  <a:lumMod val="85000"/>
                  <a:lumOff val="15000"/>
                </a:srgb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zh-CN" altLang="en-US" sz="1350"/>
          </a:p>
        </p:txBody>
      </p:sp>
      <p:grpSp>
        <p:nvGrpSpPr>
          <p:cNvPr id="18" name="组合 17"/>
          <p:cNvGrpSpPr/>
          <p:nvPr userDrawn="1"/>
        </p:nvGrpSpPr>
        <p:grpSpPr>
          <a:xfrm>
            <a:off x="6906260" y="225425"/>
            <a:ext cx="2011680" cy="453390"/>
            <a:chOff x="9721458" y="225521"/>
            <a:chExt cx="2169381" cy="453584"/>
          </a:xfrm>
        </p:grpSpPr>
        <p:sp>
          <p:nvSpPr>
            <p:cNvPr id="19" name="îS1îḋé"/>
            <p:cNvSpPr/>
            <p:nvPr/>
          </p:nvSpPr>
          <p:spPr bwMode="auto">
            <a:xfrm>
              <a:off x="9721458" y="225521"/>
              <a:ext cx="453179" cy="453584"/>
            </a:xfrm>
            <a:prstGeom prst="ellipse">
              <a:avLst/>
            </a:prstGeom>
            <a:noFill/>
            <a:ln w="15875" cap="flat">
              <a:solidFill>
                <a:srgbClr val="CA351C"/>
              </a:solidFill>
              <a:prstDash val="solid"/>
              <a:miter lim="800000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anchor="ctr"/>
            <a:lstStyle/>
            <a:p>
              <a:pPr algn="r"/>
              <a:endParaRPr sz="1350"/>
            </a:p>
          </p:txBody>
        </p:sp>
        <p:sp>
          <p:nvSpPr>
            <p:cNvPr id="20" name="îṣḷïďé"/>
            <p:cNvSpPr/>
            <p:nvPr/>
          </p:nvSpPr>
          <p:spPr bwMode="auto">
            <a:xfrm>
              <a:off x="9777346" y="281409"/>
              <a:ext cx="340998" cy="341403"/>
            </a:xfrm>
            <a:prstGeom prst="ellipse">
              <a:avLst/>
            </a:prstGeom>
            <a:noFill/>
            <a:ln w="9525" cap="flat">
              <a:solidFill>
                <a:srgbClr val="B8311A"/>
              </a:solidFill>
              <a:prstDash val="solid"/>
              <a:miter lim="800000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anchor="ctr"/>
            <a:lstStyle/>
            <a:p>
              <a:pPr algn="r"/>
              <a:endParaRPr sz="1350"/>
            </a:p>
          </p:txBody>
        </p:sp>
        <p:grpSp>
          <p:nvGrpSpPr>
            <p:cNvPr id="21" name="组合 20"/>
            <p:cNvGrpSpPr/>
            <p:nvPr userDrawn="1"/>
          </p:nvGrpSpPr>
          <p:grpSpPr>
            <a:xfrm>
              <a:off x="9742315" y="240303"/>
              <a:ext cx="411466" cy="424020"/>
              <a:chOff x="1641372" y="4491628"/>
              <a:chExt cx="1612900" cy="1662113"/>
            </a:xfrm>
            <a:solidFill>
              <a:srgbClr val="CA351C"/>
            </a:solidFill>
          </p:grpSpPr>
          <p:sp>
            <p:nvSpPr>
              <p:cNvPr id="74" name="ïś1íďê"/>
              <p:cNvSpPr/>
              <p:nvPr/>
            </p:nvSpPr>
            <p:spPr bwMode="auto">
              <a:xfrm>
                <a:off x="2889147" y="4701178"/>
                <a:ext cx="153988" cy="138113"/>
              </a:xfrm>
              <a:custGeom>
                <a:avLst/>
                <a:gdLst>
                  <a:gd name="T0" fmla="*/ 62 w 83"/>
                  <a:gd name="T1" fmla="*/ 8 h 75"/>
                  <a:gd name="T2" fmla="*/ 53 w 83"/>
                  <a:gd name="T3" fmla="*/ 10 h 75"/>
                  <a:gd name="T4" fmla="*/ 57 w 83"/>
                  <a:gd name="T5" fmla="*/ 0 h 75"/>
                  <a:gd name="T6" fmla="*/ 44 w 83"/>
                  <a:gd name="T7" fmla="*/ 21 h 75"/>
                  <a:gd name="T8" fmla="*/ 58 w 83"/>
                  <a:gd name="T9" fmla="*/ 11 h 75"/>
                  <a:gd name="T10" fmla="*/ 54 w 83"/>
                  <a:gd name="T11" fmla="*/ 18 h 75"/>
                  <a:gd name="T12" fmla="*/ 28 w 83"/>
                  <a:gd name="T13" fmla="*/ 18 h 75"/>
                  <a:gd name="T14" fmla="*/ 19 w 83"/>
                  <a:gd name="T15" fmla="*/ 17 h 75"/>
                  <a:gd name="T16" fmla="*/ 25 w 83"/>
                  <a:gd name="T17" fmla="*/ 12 h 75"/>
                  <a:gd name="T18" fmla="*/ 1 w 83"/>
                  <a:gd name="T19" fmla="*/ 30 h 75"/>
                  <a:gd name="T20" fmla="*/ 13 w 83"/>
                  <a:gd name="T21" fmla="*/ 24 h 75"/>
                  <a:gd name="T22" fmla="*/ 36 w 83"/>
                  <a:gd name="T23" fmla="*/ 28 h 75"/>
                  <a:gd name="T24" fmla="*/ 22 w 83"/>
                  <a:gd name="T25" fmla="*/ 35 h 75"/>
                  <a:gd name="T26" fmla="*/ 45 w 83"/>
                  <a:gd name="T27" fmla="*/ 41 h 75"/>
                  <a:gd name="T28" fmla="*/ 42 w 83"/>
                  <a:gd name="T29" fmla="*/ 41 h 75"/>
                  <a:gd name="T30" fmla="*/ 35 w 83"/>
                  <a:gd name="T31" fmla="*/ 40 h 75"/>
                  <a:gd name="T32" fmla="*/ 37 w 83"/>
                  <a:gd name="T33" fmla="*/ 45 h 75"/>
                  <a:gd name="T34" fmla="*/ 12 w 83"/>
                  <a:gd name="T35" fmla="*/ 34 h 75"/>
                  <a:gd name="T36" fmla="*/ 9 w 83"/>
                  <a:gd name="T37" fmla="*/ 35 h 75"/>
                  <a:gd name="T38" fmla="*/ 20 w 83"/>
                  <a:gd name="T39" fmla="*/ 64 h 75"/>
                  <a:gd name="T40" fmla="*/ 0 w 83"/>
                  <a:gd name="T41" fmla="*/ 57 h 75"/>
                  <a:gd name="T42" fmla="*/ 35 w 83"/>
                  <a:gd name="T43" fmla="*/ 58 h 75"/>
                  <a:gd name="T44" fmla="*/ 46 w 83"/>
                  <a:gd name="T45" fmla="*/ 57 h 75"/>
                  <a:gd name="T46" fmla="*/ 42 w 83"/>
                  <a:gd name="T47" fmla="*/ 48 h 75"/>
                  <a:gd name="T48" fmla="*/ 62 w 83"/>
                  <a:gd name="T49" fmla="*/ 57 h 75"/>
                  <a:gd name="T50" fmla="*/ 61 w 83"/>
                  <a:gd name="T51" fmla="*/ 35 h 75"/>
                  <a:gd name="T52" fmla="*/ 62 w 83"/>
                  <a:gd name="T53" fmla="*/ 34 h 75"/>
                  <a:gd name="T54" fmla="*/ 66 w 83"/>
                  <a:gd name="T55" fmla="*/ 16 h 75"/>
                  <a:gd name="T56" fmla="*/ 63 w 83"/>
                  <a:gd name="T57" fmla="*/ 44 h 75"/>
                  <a:gd name="T58" fmla="*/ 54 w 83"/>
                  <a:gd name="T59" fmla="*/ 32 h 75"/>
                  <a:gd name="T60" fmla="*/ 60 w 83"/>
                  <a:gd name="T61" fmla="*/ 27 h 75"/>
                  <a:gd name="T62" fmla="*/ 67 w 83"/>
                  <a:gd name="T63" fmla="*/ 18 h 75"/>
                  <a:gd name="T64" fmla="*/ 77 w 83"/>
                  <a:gd name="T65" fmla="*/ 23 h 75"/>
                  <a:gd name="T66" fmla="*/ 60 w 83"/>
                  <a:gd name="T67" fmla="*/ 27 h 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83" h="75">
                    <a:moveTo>
                      <a:pt x="66" y="16"/>
                    </a:moveTo>
                    <a:cubicBezTo>
                      <a:pt x="65" y="13"/>
                      <a:pt x="63" y="11"/>
                      <a:pt x="62" y="8"/>
                    </a:cubicBezTo>
                    <a:cubicBezTo>
                      <a:pt x="59" y="9"/>
                      <a:pt x="57" y="9"/>
                      <a:pt x="54" y="10"/>
                    </a:cubicBezTo>
                    <a:cubicBezTo>
                      <a:pt x="54" y="10"/>
                      <a:pt x="53" y="10"/>
                      <a:pt x="53" y="10"/>
                    </a:cubicBezTo>
                    <a:cubicBezTo>
                      <a:pt x="54" y="7"/>
                      <a:pt x="57" y="6"/>
                      <a:pt x="59" y="3"/>
                    </a:cubicBezTo>
                    <a:cubicBezTo>
                      <a:pt x="58" y="2"/>
                      <a:pt x="58" y="1"/>
                      <a:pt x="57" y="0"/>
                    </a:cubicBezTo>
                    <a:cubicBezTo>
                      <a:pt x="48" y="1"/>
                      <a:pt x="37" y="9"/>
                      <a:pt x="42" y="19"/>
                    </a:cubicBezTo>
                    <a:cubicBezTo>
                      <a:pt x="42" y="19"/>
                      <a:pt x="43" y="20"/>
                      <a:pt x="44" y="21"/>
                    </a:cubicBezTo>
                    <a:cubicBezTo>
                      <a:pt x="47" y="19"/>
                      <a:pt x="48" y="15"/>
                      <a:pt x="51" y="14"/>
                    </a:cubicBezTo>
                    <a:cubicBezTo>
                      <a:pt x="53" y="13"/>
                      <a:pt x="55" y="13"/>
                      <a:pt x="58" y="11"/>
                    </a:cubicBezTo>
                    <a:cubicBezTo>
                      <a:pt x="58" y="11"/>
                      <a:pt x="59" y="11"/>
                      <a:pt x="59" y="11"/>
                    </a:cubicBezTo>
                    <a:cubicBezTo>
                      <a:pt x="57" y="14"/>
                      <a:pt x="56" y="16"/>
                      <a:pt x="54" y="18"/>
                    </a:cubicBezTo>
                    <a:cubicBezTo>
                      <a:pt x="54" y="21"/>
                      <a:pt x="55" y="24"/>
                      <a:pt x="54" y="27"/>
                    </a:cubicBezTo>
                    <a:cubicBezTo>
                      <a:pt x="54" y="27"/>
                      <a:pt x="30" y="18"/>
                      <a:pt x="28" y="18"/>
                    </a:cubicBezTo>
                    <a:cubicBezTo>
                      <a:pt x="25" y="17"/>
                      <a:pt x="22" y="17"/>
                      <a:pt x="20" y="17"/>
                    </a:cubicBezTo>
                    <a:cubicBezTo>
                      <a:pt x="19" y="17"/>
                      <a:pt x="19" y="17"/>
                      <a:pt x="19" y="17"/>
                    </a:cubicBezTo>
                    <a:cubicBezTo>
                      <a:pt x="22" y="15"/>
                      <a:pt x="23" y="15"/>
                      <a:pt x="25" y="13"/>
                    </a:cubicBezTo>
                    <a:cubicBezTo>
                      <a:pt x="25" y="12"/>
                      <a:pt x="25" y="12"/>
                      <a:pt x="25" y="12"/>
                    </a:cubicBezTo>
                    <a:cubicBezTo>
                      <a:pt x="18" y="12"/>
                      <a:pt x="11" y="16"/>
                      <a:pt x="4" y="18"/>
                    </a:cubicBezTo>
                    <a:cubicBezTo>
                      <a:pt x="0" y="22"/>
                      <a:pt x="0" y="25"/>
                      <a:pt x="1" y="30"/>
                    </a:cubicBezTo>
                    <a:cubicBezTo>
                      <a:pt x="3" y="31"/>
                      <a:pt x="3" y="31"/>
                      <a:pt x="3" y="31"/>
                    </a:cubicBezTo>
                    <a:cubicBezTo>
                      <a:pt x="6" y="29"/>
                      <a:pt x="9" y="26"/>
                      <a:pt x="13" y="24"/>
                    </a:cubicBezTo>
                    <a:cubicBezTo>
                      <a:pt x="19" y="20"/>
                      <a:pt x="30" y="22"/>
                      <a:pt x="37" y="27"/>
                    </a:cubicBezTo>
                    <a:cubicBezTo>
                      <a:pt x="37" y="28"/>
                      <a:pt x="36" y="28"/>
                      <a:pt x="36" y="28"/>
                    </a:cubicBezTo>
                    <a:cubicBezTo>
                      <a:pt x="31" y="29"/>
                      <a:pt x="28" y="28"/>
                      <a:pt x="22" y="32"/>
                    </a:cubicBezTo>
                    <a:cubicBezTo>
                      <a:pt x="22" y="33"/>
                      <a:pt x="22" y="34"/>
                      <a:pt x="22" y="35"/>
                    </a:cubicBezTo>
                    <a:cubicBezTo>
                      <a:pt x="22" y="37"/>
                      <a:pt x="22" y="37"/>
                      <a:pt x="24" y="39"/>
                    </a:cubicBezTo>
                    <a:cubicBezTo>
                      <a:pt x="31" y="37"/>
                      <a:pt x="37" y="36"/>
                      <a:pt x="45" y="41"/>
                    </a:cubicBezTo>
                    <a:cubicBezTo>
                      <a:pt x="44" y="41"/>
                      <a:pt x="44" y="41"/>
                      <a:pt x="44" y="41"/>
                    </a:cubicBezTo>
                    <a:cubicBezTo>
                      <a:pt x="43" y="41"/>
                      <a:pt x="42" y="41"/>
                      <a:pt x="42" y="41"/>
                    </a:cubicBezTo>
                    <a:cubicBezTo>
                      <a:pt x="41" y="40"/>
                      <a:pt x="40" y="39"/>
                      <a:pt x="39" y="39"/>
                    </a:cubicBezTo>
                    <a:cubicBezTo>
                      <a:pt x="37" y="41"/>
                      <a:pt x="37" y="41"/>
                      <a:pt x="35" y="40"/>
                    </a:cubicBezTo>
                    <a:cubicBezTo>
                      <a:pt x="35" y="40"/>
                      <a:pt x="34" y="41"/>
                      <a:pt x="34" y="41"/>
                    </a:cubicBezTo>
                    <a:cubicBezTo>
                      <a:pt x="35" y="43"/>
                      <a:pt x="35" y="43"/>
                      <a:pt x="37" y="45"/>
                    </a:cubicBezTo>
                    <a:cubicBezTo>
                      <a:pt x="36" y="46"/>
                      <a:pt x="36" y="47"/>
                      <a:pt x="35" y="48"/>
                    </a:cubicBezTo>
                    <a:cubicBezTo>
                      <a:pt x="27" y="44"/>
                      <a:pt x="20" y="40"/>
                      <a:pt x="12" y="34"/>
                    </a:cubicBezTo>
                    <a:cubicBezTo>
                      <a:pt x="11" y="34"/>
                      <a:pt x="11" y="34"/>
                      <a:pt x="10" y="34"/>
                    </a:cubicBezTo>
                    <a:cubicBezTo>
                      <a:pt x="9" y="34"/>
                      <a:pt x="9" y="35"/>
                      <a:pt x="9" y="35"/>
                    </a:cubicBezTo>
                    <a:cubicBezTo>
                      <a:pt x="11" y="55"/>
                      <a:pt x="20" y="44"/>
                      <a:pt x="31" y="54"/>
                    </a:cubicBezTo>
                    <a:cubicBezTo>
                      <a:pt x="27" y="58"/>
                      <a:pt x="23" y="61"/>
                      <a:pt x="20" y="64"/>
                    </a:cubicBezTo>
                    <a:cubicBezTo>
                      <a:pt x="15" y="63"/>
                      <a:pt x="6" y="55"/>
                      <a:pt x="1" y="56"/>
                    </a:cubicBezTo>
                    <a:cubicBezTo>
                      <a:pt x="1" y="56"/>
                      <a:pt x="1" y="56"/>
                      <a:pt x="0" y="57"/>
                    </a:cubicBezTo>
                    <a:cubicBezTo>
                      <a:pt x="2" y="62"/>
                      <a:pt x="7" y="67"/>
                      <a:pt x="9" y="72"/>
                    </a:cubicBezTo>
                    <a:cubicBezTo>
                      <a:pt x="17" y="75"/>
                      <a:pt x="26" y="66"/>
                      <a:pt x="35" y="58"/>
                    </a:cubicBezTo>
                    <a:cubicBezTo>
                      <a:pt x="37" y="60"/>
                      <a:pt x="39" y="63"/>
                      <a:pt x="42" y="65"/>
                    </a:cubicBezTo>
                    <a:cubicBezTo>
                      <a:pt x="46" y="63"/>
                      <a:pt x="46" y="60"/>
                      <a:pt x="46" y="57"/>
                    </a:cubicBezTo>
                    <a:cubicBezTo>
                      <a:pt x="45" y="54"/>
                      <a:pt x="43" y="53"/>
                      <a:pt x="40" y="50"/>
                    </a:cubicBezTo>
                    <a:cubicBezTo>
                      <a:pt x="41" y="49"/>
                      <a:pt x="42" y="48"/>
                      <a:pt x="42" y="48"/>
                    </a:cubicBezTo>
                    <a:cubicBezTo>
                      <a:pt x="46" y="48"/>
                      <a:pt x="49" y="48"/>
                      <a:pt x="53" y="46"/>
                    </a:cubicBezTo>
                    <a:cubicBezTo>
                      <a:pt x="56" y="49"/>
                      <a:pt x="59" y="53"/>
                      <a:pt x="62" y="57"/>
                    </a:cubicBezTo>
                    <a:cubicBezTo>
                      <a:pt x="65" y="56"/>
                      <a:pt x="68" y="55"/>
                      <a:pt x="70" y="52"/>
                    </a:cubicBezTo>
                    <a:cubicBezTo>
                      <a:pt x="72" y="47"/>
                      <a:pt x="66" y="40"/>
                      <a:pt x="61" y="35"/>
                    </a:cubicBezTo>
                    <a:cubicBezTo>
                      <a:pt x="61" y="35"/>
                      <a:pt x="61" y="35"/>
                      <a:pt x="61" y="35"/>
                    </a:cubicBezTo>
                    <a:cubicBezTo>
                      <a:pt x="62" y="34"/>
                      <a:pt x="62" y="34"/>
                      <a:pt x="62" y="34"/>
                    </a:cubicBezTo>
                    <a:cubicBezTo>
                      <a:pt x="69" y="34"/>
                      <a:pt x="72" y="37"/>
                      <a:pt x="79" y="32"/>
                    </a:cubicBezTo>
                    <a:cubicBezTo>
                      <a:pt x="83" y="17"/>
                      <a:pt x="74" y="21"/>
                      <a:pt x="66" y="16"/>
                    </a:cubicBezTo>
                    <a:close/>
                    <a:moveTo>
                      <a:pt x="63" y="44"/>
                    </a:moveTo>
                    <a:cubicBezTo>
                      <a:pt x="63" y="44"/>
                      <a:pt x="63" y="44"/>
                      <a:pt x="63" y="44"/>
                    </a:cubicBezTo>
                    <a:cubicBezTo>
                      <a:pt x="55" y="42"/>
                      <a:pt x="46" y="34"/>
                      <a:pt x="38" y="32"/>
                    </a:cubicBezTo>
                    <a:cubicBezTo>
                      <a:pt x="43" y="28"/>
                      <a:pt x="48" y="31"/>
                      <a:pt x="54" y="32"/>
                    </a:cubicBezTo>
                    <a:cubicBezTo>
                      <a:pt x="57" y="36"/>
                      <a:pt x="60" y="40"/>
                      <a:pt x="63" y="44"/>
                    </a:cubicBezTo>
                    <a:close/>
                    <a:moveTo>
                      <a:pt x="60" y="27"/>
                    </a:moveTo>
                    <a:cubicBezTo>
                      <a:pt x="60" y="27"/>
                      <a:pt x="60" y="26"/>
                      <a:pt x="59" y="26"/>
                    </a:cubicBezTo>
                    <a:cubicBezTo>
                      <a:pt x="61" y="23"/>
                      <a:pt x="63" y="20"/>
                      <a:pt x="67" y="18"/>
                    </a:cubicBezTo>
                    <a:cubicBezTo>
                      <a:pt x="69" y="19"/>
                      <a:pt x="71" y="19"/>
                      <a:pt x="74" y="20"/>
                    </a:cubicBezTo>
                    <a:cubicBezTo>
                      <a:pt x="75" y="21"/>
                      <a:pt x="76" y="22"/>
                      <a:pt x="77" y="23"/>
                    </a:cubicBezTo>
                    <a:cubicBezTo>
                      <a:pt x="77" y="24"/>
                      <a:pt x="77" y="24"/>
                      <a:pt x="77" y="25"/>
                    </a:cubicBezTo>
                    <a:cubicBezTo>
                      <a:pt x="72" y="29"/>
                      <a:pt x="66" y="27"/>
                      <a:pt x="60" y="2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75" name="ïṩḻîḓé"/>
              <p:cNvSpPr/>
              <p:nvPr/>
            </p:nvSpPr>
            <p:spPr bwMode="auto">
              <a:xfrm>
                <a:off x="2728809" y="4582115"/>
                <a:ext cx="101600" cy="147638"/>
              </a:xfrm>
              <a:custGeom>
                <a:avLst/>
                <a:gdLst>
                  <a:gd name="T0" fmla="*/ 47 w 55"/>
                  <a:gd name="T1" fmla="*/ 0 h 80"/>
                  <a:gd name="T2" fmla="*/ 49 w 55"/>
                  <a:gd name="T3" fmla="*/ 20 h 80"/>
                  <a:gd name="T4" fmla="*/ 51 w 55"/>
                  <a:gd name="T5" fmla="*/ 34 h 80"/>
                  <a:gd name="T6" fmla="*/ 28 w 55"/>
                  <a:gd name="T7" fmla="*/ 38 h 80"/>
                  <a:gd name="T8" fmla="*/ 41 w 55"/>
                  <a:gd name="T9" fmla="*/ 68 h 80"/>
                  <a:gd name="T10" fmla="*/ 25 w 55"/>
                  <a:gd name="T11" fmla="*/ 74 h 80"/>
                  <a:gd name="T12" fmla="*/ 26 w 55"/>
                  <a:gd name="T13" fmla="*/ 39 h 80"/>
                  <a:gd name="T14" fmla="*/ 23 w 55"/>
                  <a:gd name="T15" fmla="*/ 40 h 80"/>
                  <a:gd name="T16" fmla="*/ 7 w 55"/>
                  <a:gd name="T17" fmla="*/ 54 h 80"/>
                  <a:gd name="T18" fmla="*/ 0 w 55"/>
                  <a:gd name="T19" fmla="*/ 43 h 80"/>
                  <a:gd name="T20" fmla="*/ 14 w 55"/>
                  <a:gd name="T21" fmla="*/ 28 h 80"/>
                  <a:gd name="T22" fmla="*/ 6 w 55"/>
                  <a:gd name="T23" fmla="*/ 15 h 80"/>
                  <a:gd name="T24" fmla="*/ 7 w 55"/>
                  <a:gd name="T25" fmla="*/ 15 h 80"/>
                  <a:gd name="T26" fmla="*/ 26 w 55"/>
                  <a:gd name="T27" fmla="*/ 18 h 80"/>
                  <a:gd name="T28" fmla="*/ 47 w 55"/>
                  <a:gd name="T29" fmla="*/ 0 h 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55" h="80">
                    <a:moveTo>
                      <a:pt x="47" y="0"/>
                    </a:moveTo>
                    <a:cubicBezTo>
                      <a:pt x="55" y="7"/>
                      <a:pt x="49" y="11"/>
                      <a:pt x="49" y="20"/>
                    </a:cubicBezTo>
                    <a:cubicBezTo>
                      <a:pt x="49" y="25"/>
                      <a:pt x="55" y="25"/>
                      <a:pt x="51" y="34"/>
                    </a:cubicBezTo>
                    <a:cubicBezTo>
                      <a:pt x="44" y="37"/>
                      <a:pt x="34" y="32"/>
                      <a:pt x="28" y="38"/>
                    </a:cubicBezTo>
                    <a:cubicBezTo>
                      <a:pt x="38" y="44"/>
                      <a:pt x="45" y="59"/>
                      <a:pt x="41" y="68"/>
                    </a:cubicBezTo>
                    <a:cubicBezTo>
                      <a:pt x="39" y="74"/>
                      <a:pt x="28" y="80"/>
                      <a:pt x="25" y="74"/>
                    </a:cubicBezTo>
                    <a:cubicBezTo>
                      <a:pt x="19" y="62"/>
                      <a:pt x="39" y="55"/>
                      <a:pt x="26" y="39"/>
                    </a:cubicBezTo>
                    <a:cubicBezTo>
                      <a:pt x="25" y="39"/>
                      <a:pt x="25" y="39"/>
                      <a:pt x="23" y="40"/>
                    </a:cubicBezTo>
                    <a:cubicBezTo>
                      <a:pt x="17" y="44"/>
                      <a:pt x="14" y="52"/>
                      <a:pt x="7" y="54"/>
                    </a:cubicBezTo>
                    <a:cubicBezTo>
                      <a:pt x="2" y="51"/>
                      <a:pt x="2" y="48"/>
                      <a:pt x="0" y="43"/>
                    </a:cubicBezTo>
                    <a:cubicBezTo>
                      <a:pt x="3" y="39"/>
                      <a:pt x="14" y="30"/>
                      <a:pt x="14" y="28"/>
                    </a:cubicBezTo>
                    <a:cubicBezTo>
                      <a:pt x="14" y="25"/>
                      <a:pt x="7" y="19"/>
                      <a:pt x="6" y="15"/>
                    </a:cubicBezTo>
                    <a:cubicBezTo>
                      <a:pt x="6" y="15"/>
                      <a:pt x="7" y="15"/>
                      <a:pt x="7" y="15"/>
                    </a:cubicBezTo>
                    <a:cubicBezTo>
                      <a:pt x="13" y="15"/>
                      <a:pt x="20" y="18"/>
                      <a:pt x="26" y="18"/>
                    </a:cubicBezTo>
                    <a:cubicBezTo>
                      <a:pt x="34" y="17"/>
                      <a:pt x="41" y="5"/>
                      <a:pt x="47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76" name="išḷïḓe"/>
              <p:cNvSpPr/>
              <p:nvPr/>
            </p:nvSpPr>
            <p:spPr bwMode="auto">
              <a:xfrm>
                <a:off x="2490684" y="4510678"/>
                <a:ext cx="144463" cy="160338"/>
              </a:xfrm>
              <a:custGeom>
                <a:avLst/>
                <a:gdLst>
                  <a:gd name="T0" fmla="*/ 55 w 78"/>
                  <a:gd name="T1" fmla="*/ 64 h 87"/>
                  <a:gd name="T2" fmla="*/ 62 w 78"/>
                  <a:gd name="T3" fmla="*/ 50 h 87"/>
                  <a:gd name="T4" fmla="*/ 54 w 78"/>
                  <a:gd name="T5" fmla="*/ 43 h 87"/>
                  <a:gd name="T6" fmla="*/ 69 w 78"/>
                  <a:gd name="T7" fmla="*/ 29 h 87"/>
                  <a:gd name="T8" fmla="*/ 67 w 78"/>
                  <a:gd name="T9" fmla="*/ 21 h 87"/>
                  <a:gd name="T10" fmla="*/ 70 w 78"/>
                  <a:gd name="T11" fmla="*/ 11 h 87"/>
                  <a:gd name="T12" fmla="*/ 69 w 78"/>
                  <a:gd name="T13" fmla="*/ 3 h 87"/>
                  <a:gd name="T14" fmla="*/ 64 w 78"/>
                  <a:gd name="T15" fmla="*/ 0 h 87"/>
                  <a:gd name="T16" fmla="*/ 63 w 78"/>
                  <a:gd name="T17" fmla="*/ 0 h 87"/>
                  <a:gd name="T18" fmla="*/ 63 w 78"/>
                  <a:gd name="T19" fmla="*/ 12 h 87"/>
                  <a:gd name="T20" fmla="*/ 42 w 78"/>
                  <a:gd name="T21" fmla="*/ 25 h 87"/>
                  <a:gd name="T22" fmla="*/ 42 w 78"/>
                  <a:gd name="T23" fmla="*/ 33 h 87"/>
                  <a:gd name="T24" fmla="*/ 33 w 78"/>
                  <a:gd name="T25" fmla="*/ 36 h 87"/>
                  <a:gd name="T26" fmla="*/ 39 w 78"/>
                  <a:gd name="T27" fmla="*/ 33 h 87"/>
                  <a:gd name="T28" fmla="*/ 39 w 78"/>
                  <a:gd name="T29" fmla="*/ 23 h 87"/>
                  <a:gd name="T30" fmla="*/ 36 w 78"/>
                  <a:gd name="T31" fmla="*/ 0 h 87"/>
                  <a:gd name="T32" fmla="*/ 36 w 78"/>
                  <a:gd name="T33" fmla="*/ 0 h 87"/>
                  <a:gd name="T34" fmla="*/ 36 w 78"/>
                  <a:gd name="T35" fmla="*/ 8 h 87"/>
                  <a:gd name="T36" fmla="*/ 30 w 78"/>
                  <a:gd name="T37" fmla="*/ 24 h 87"/>
                  <a:gd name="T38" fmla="*/ 1 w 78"/>
                  <a:gd name="T39" fmla="*/ 29 h 87"/>
                  <a:gd name="T40" fmla="*/ 0 w 78"/>
                  <a:gd name="T41" fmla="*/ 31 h 87"/>
                  <a:gd name="T42" fmla="*/ 18 w 78"/>
                  <a:gd name="T43" fmla="*/ 39 h 87"/>
                  <a:gd name="T44" fmla="*/ 25 w 78"/>
                  <a:gd name="T45" fmla="*/ 36 h 87"/>
                  <a:gd name="T46" fmla="*/ 25 w 78"/>
                  <a:gd name="T47" fmla="*/ 36 h 87"/>
                  <a:gd name="T48" fmla="*/ 3 w 78"/>
                  <a:gd name="T49" fmla="*/ 62 h 87"/>
                  <a:gd name="T50" fmla="*/ 5 w 78"/>
                  <a:gd name="T51" fmla="*/ 67 h 87"/>
                  <a:gd name="T52" fmla="*/ 12 w 78"/>
                  <a:gd name="T53" fmla="*/ 66 h 87"/>
                  <a:gd name="T54" fmla="*/ 22 w 78"/>
                  <a:gd name="T55" fmla="*/ 74 h 87"/>
                  <a:gd name="T56" fmla="*/ 25 w 78"/>
                  <a:gd name="T57" fmla="*/ 61 h 87"/>
                  <a:gd name="T58" fmla="*/ 30 w 78"/>
                  <a:gd name="T59" fmla="*/ 49 h 87"/>
                  <a:gd name="T60" fmla="*/ 48 w 78"/>
                  <a:gd name="T61" fmla="*/ 63 h 87"/>
                  <a:gd name="T62" fmla="*/ 24 w 78"/>
                  <a:gd name="T63" fmla="*/ 71 h 87"/>
                  <a:gd name="T64" fmla="*/ 48 w 78"/>
                  <a:gd name="T65" fmla="*/ 71 h 87"/>
                  <a:gd name="T66" fmla="*/ 51 w 78"/>
                  <a:gd name="T67" fmla="*/ 69 h 87"/>
                  <a:gd name="T68" fmla="*/ 77 w 78"/>
                  <a:gd name="T69" fmla="*/ 87 h 87"/>
                  <a:gd name="T70" fmla="*/ 78 w 78"/>
                  <a:gd name="T71" fmla="*/ 86 h 87"/>
                  <a:gd name="T72" fmla="*/ 55 w 78"/>
                  <a:gd name="T73" fmla="*/ 64 h 87"/>
                  <a:gd name="T74" fmla="*/ 15 w 78"/>
                  <a:gd name="T75" fmla="*/ 64 h 87"/>
                  <a:gd name="T76" fmla="*/ 15 w 78"/>
                  <a:gd name="T77" fmla="*/ 65 h 87"/>
                  <a:gd name="T78" fmla="*/ 11 w 78"/>
                  <a:gd name="T79" fmla="*/ 63 h 87"/>
                  <a:gd name="T80" fmla="*/ 12 w 78"/>
                  <a:gd name="T81" fmla="*/ 60 h 87"/>
                  <a:gd name="T82" fmla="*/ 15 w 78"/>
                  <a:gd name="T83" fmla="*/ 57 h 87"/>
                  <a:gd name="T84" fmla="*/ 17 w 78"/>
                  <a:gd name="T85" fmla="*/ 58 h 87"/>
                  <a:gd name="T86" fmla="*/ 15 w 78"/>
                  <a:gd name="T87" fmla="*/ 64 h 87"/>
                  <a:gd name="T88" fmla="*/ 32 w 78"/>
                  <a:gd name="T89" fmla="*/ 46 h 87"/>
                  <a:gd name="T90" fmla="*/ 44 w 78"/>
                  <a:gd name="T91" fmla="*/ 34 h 87"/>
                  <a:gd name="T92" fmla="*/ 52 w 78"/>
                  <a:gd name="T93" fmla="*/ 35 h 87"/>
                  <a:gd name="T94" fmla="*/ 46 w 78"/>
                  <a:gd name="T95" fmla="*/ 50 h 87"/>
                  <a:gd name="T96" fmla="*/ 48 w 78"/>
                  <a:gd name="T97" fmla="*/ 52 h 87"/>
                  <a:gd name="T98" fmla="*/ 56 w 78"/>
                  <a:gd name="T99" fmla="*/ 50 h 87"/>
                  <a:gd name="T100" fmla="*/ 52 w 78"/>
                  <a:gd name="T101" fmla="*/ 61 h 87"/>
                  <a:gd name="T102" fmla="*/ 32 w 78"/>
                  <a:gd name="T103" fmla="*/ 46 h 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78" h="87">
                    <a:moveTo>
                      <a:pt x="55" y="64"/>
                    </a:moveTo>
                    <a:cubicBezTo>
                      <a:pt x="58" y="60"/>
                      <a:pt x="60" y="55"/>
                      <a:pt x="62" y="50"/>
                    </a:cubicBezTo>
                    <a:cubicBezTo>
                      <a:pt x="61" y="47"/>
                      <a:pt x="58" y="44"/>
                      <a:pt x="54" y="43"/>
                    </a:cubicBezTo>
                    <a:cubicBezTo>
                      <a:pt x="57" y="36"/>
                      <a:pt x="64" y="33"/>
                      <a:pt x="69" y="29"/>
                    </a:cubicBezTo>
                    <a:cubicBezTo>
                      <a:pt x="69" y="25"/>
                      <a:pt x="67" y="24"/>
                      <a:pt x="67" y="21"/>
                    </a:cubicBezTo>
                    <a:cubicBezTo>
                      <a:pt x="68" y="18"/>
                      <a:pt x="69" y="15"/>
                      <a:pt x="70" y="11"/>
                    </a:cubicBezTo>
                    <a:cubicBezTo>
                      <a:pt x="70" y="9"/>
                      <a:pt x="69" y="6"/>
                      <a:pt x="69" y="3"/>
                    </a:cubicBezTo>
                    <a:cubicBezTo>
                      <a:pt x="68" y="2"/>
                      <a:pt x="67" y="1"/>
                      <a:pt x="64" y="0"/>
                    </a:cubicBezTo>
                    <a:cubicBezTo>
                      <a:pt x="64" y="0"/>
                      <a:pt x="63" y="0"/>
                      <a:pt x="63" y="0"/>
                    </a:cubicBezTo>
                    <a:cubicBezTo>
                      <a:pt x="61" y="5"/>
                      <a:pt x="63" y="8"/>
                      <a:pt x="63" y="12"/>
                    </a:cubicBezTo>
                    <a:cubicBezTo>
                      <a:pt x="63" y="24"/>
                      <a:pt x="52" y="26"/>
                      <a:pt x="42" y="25"/>
                    </a:cubicBezTo>
                    <a:cubicBezTo>
                      <a:pt x="41" y="28"/>
                      <a:pt x="41" y="31"/>
                      <a:pt x="42" y="33"/>
                    </a:cubicBezTo>
                    <a:cubicBezTo>
                      <a:pt x="39" y="34"/>
                      <a:pt x="36" y="35"/>
                      <a:pt x="33" y="36"/>
                    </a:cubicBezTo>
                    <a:cubicBezTo>
                      <a:pt x="34" y="32"/>
                      <a:pt x="36" y="32"/>
                      <a:pt x="39" y="33"/>
                    </a:cubicBezTo>
                    <a:cubicBezTo>
                      <a:pt x="41" y="29"/>
                      <a:pt x="38" y="27"/>
                      <a:pt x="39" y="23"/>
                    </a:cubicBezTo>
                    <a:cubicBezTo>
                      <a:pt x="39" y="14"/>
                      <a:pt x="53" y="6"/>
                      <a:pt x="36" y="0"/>
                    </a:cubicBezTo>
                    <a:cubicBezTo>
                      <a:pt x="36" y="0"/>
                      <a:pt x="36" y="0"/>
                      <a:pt x="36" y="0"/>
                    </a:cubicBezTo>
                    <a:cubicBezTo>
                      <a:pt x="35" y="3"/>
                      <a:pt x="36" y="5"/>
                      <a:pt x="36" y="8"/>
                    </a:cubicBezTo>
                    <a:cubicBezTo>
                      <a:pt x="34" y="14"/>
                      <a:pt x="32" y="19"/>
                      <a:pt x="30" y="24"/>
                    </a:cubicBezTo>
                    <a:cubicBezTo>
                      <a:pt x="22" y="26"/>
                      <a:pt x="9" y="26"/>
                      <a:pt x="1" y="29"/>
                    </a:cubicBezTo>
                    <a:cubicBezTo>
                      <a:pt x="1" y="30"/>
                      <a:pt x="1" y="30"/>
                      <a:pt x="0" y="31"/>
                    </a:cubicBezTo>
                    <a:cubicBezTo>
                      <a:pt x="1" y="35"/>
                      <a:pt x="12" y="39"/>
                      <a:pt x="18" y="39"/>
                    </a:cubicBezTo>
                    <a:cubicBezTo>
                      <a:pt x="20" y="38"/>
                      <a:pt x="22" y="37"/>
                      <a:pt x="25" y="36"/>
                    </a:cubicBezTo>
                    <a:cubicBezTo>
                      <a:pt x="25" y="36"/>
                      <a:pt x="25" y="36"/>
                      <a:pt x="25" y="36"/>
                    </a:cubicBezTo>
                    <a:cubicBezTo>
                      <a:pt x="21" y="52"/>
                      <a:pt x="9" y="50"/>
                      <a:pt x="3" y="62"/>
                    </a:cubicBezTo>
                    <a:cubicBezTo>
                      <a:pt x="4" y="63"/>
                      <a:pt x="4" y="65"/>
                      <a:pt x="5" y="67"/>
                    </a:cubicBezTo>
                    <a:cubicBezTo>
                      <a:pt x="7" y="67"/>
                      <a:pt x="10" y="67"/>
                      <a:pt x="12" y="66"/>
                    </a:cubicBezTo>
                    <a:cubicBezTo>
                      <a:pt x="17" y="68"/>
                      <a:pt x="17" y="72"/>
                      <a:pt x="22" y="74"/>
                    </a:cubicBezTo>
                    <a:cubicBezTo>
                      <a:pt x="25" y="71"/>
                      <a:pt x="24" y="66"/>
                      <a:pt x="25" y="61"/>
                    </a:cubicBezTo>
                    <a:cubicBezTo>
                      <a:pt x="25" y="56"/>
                      <a:pt x="28" y="52"/>
                      <a:pt x="30" y="49"/>
                    </a:cubicBezTo>
                    <a:cubicBezTo>
                      <a:pt x="40" y="53"/>
                      <a:pt x="42" y="58"/>
                      <a:pt x="48" y="63"/>
                    </a:cubicBezTo>
                    <a:cubicBezTo>
                      <a:pt x="44" y="74"/>
                      <a:pt x="29" y="63"/>
                      <a:pt x="24" y="71"/>
                    </a:cubicBezTo>
                    <a:cubicBezTo>
                      <a:pt x="39" y="78"/>
                      <a:pt x="36" y="74"/>
                      <a:pt x="48" y="71"/>
                    </a:cubicBezTo>
                    <a:cubicBezTo>
                      <a:pt x="49" y="70"/>
                      <a:pt x="50" y="70"/>
                      <a:pt x="51" y="69"/>
                    </a:cubicBezTo>
                    <a:cubicBezTo>
                      <a:pt x="58" y="79"/>
                      <a:pt x="58" y="87"/>
                      <a:pt x="77" y="87"/>
                    </a:cubicBezTo>
                    <a:cubicBezTo>
                      <a:pt x="77" y="87"/>
                      <a:pt x="78" y="86"/>
                      <a:pt x="78" y="86"/>
                    </a:cubicBezTo>
                    <a:cubicBezTo>
                      <a:pt x="74" y="76"/>
                      <a:pt x="60" y="73"/>
                      <a:pt x="55" y="64"/>
                    </a:cubicBezTo>
                    <a:close/>
                    <a:moveTo>
                      <a:pt x="15" y="64"/>
                    </a:moveTo>
                    <a:cubicBezTo>
                      <a:pt x="15" y="65"/>
                      <a:pt x="15" y="65"/>
                      <a:pt x="15" y="65"/>
                    </a:cubicBezTo>
                    <a:cubicBezTo>
                      <a:pt x="14" y="64"/>
                      <a:pt x="13" y="64"/>
                      <a:pt x="11" y="63"/>
                    </a:cubicBezTo>
                    <a:cubicBezTo>
                      <a:pt x="11" y="62"/>
                      <a:pt x="12" y="61"/>
                      <a:pt x="12" y="60"/>
                    </a:cubicBezTo>
                    <a:cubicBezTo>
                      <a:pt x="13" y="59"/>
                      <a:pt x="14" y="58"/>
                      <a:pt x="15" y="57"/>
                    </a:cubicBezTo>
                    <a:cubicBezTo>
                      <a:pt x="16" y="57"/>
                      <a:pt x="16" y="58"/>
                      <a:pt x="17" y="58"/>
                    </a:cubicBezTo>
                    <a:cubicBezTo>
                      <a:pt x="16" y="60"/>
                      <a:pt x="16" y="62"/>
                      <a:pt x="15" y="64"/>
                    </a:cubicBezTo>
                    <a:close/>
                    <a:moveTo>
                      <a:pt x="32" y="46"/>
                    </a:moveTo>
                    <a:cubicBezTo>
                      <a:pt x="35" y="43"/>
                      <a:pt x="44" y="37"/>
                      <a:pt x="44" y="34"/>
                    </a:cubicBezTo>
                    <a:cubicBezTo>
                      <a:pt x="47" y="34"/>
                      <a:pt x="49" y="35"/>
                      <a:pt x="52" y="35"/>
                    </a:cubicBezTo>
                    <a:cubicBezTo>
                      <a:pt x="50" y="40"/>
                      <a:pt x="45" y="44"/>
                      <a:pt x="46" y="50"/>
                    </a:cubicBezTo>
                    <a:cubicBezTo>
                      <a:pt x="46" y="51"/>
                      <a:pt x="47" y="51"/>
                      <a:pt x="48" y="52"/>
                    </a:cubicBezTo>
                    <a:cubicBezTo>
                      <a:pt x="50" y="51"/>
                      <a:pt x="53" y="49"/>
                      <a:pt x="56" y="50"/>
                    </a:cubicBezTo>
                    <a:cubicBezTo>
                      <a:pt x="55" y="54"/>
                      <a:pt x="53" y="57"/>
                      <a:pt x="52" y="61"/>
                    </a:cubicBezTo>
                    <a:cubicBezTo>
                      <a:pt x="45" y="56"/>
                      <a:pt x="44" y="49"/>
                      <a:pt x="32" y="4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77" name="ï$ľíḍe"/>
              <p:cNvSpPr/>
              <p:nvPr/>
            </p:nvSpPr>
            <p:spPr bwMode="auto">
              <a:xfrm>
                <a:off x="2255734" y="4491628"/>
                <a:ext cx="136525" cy="174625"/>
              </a:xfrm>
              <a:custGeom>
                <a:avLst/>
                <a:gdLst>
                  <a:gd name="T0" fmla="*/ 74 w 74"/>
                  <a:gd name="T1" fmla="*/ 41 h 94"/>
                  <a:gd name="T2" fmla="*/ 64 w 74"/>
                  <a:gd name="T3" fmla="*/ 35 h 94"/>
                  <a:gd name="T4" fmla="*/ 51 w 74"/>
                  <a:gd name="T5" fmla="*/ 5 h 94"/>
                  <a:gd name="T6" fmla="*/ 58 w 74"/>
                  <a:gd name="T7" fmla="*/ 39 h 94"/>
                  <a:gd name="T8" fmla="*/ 47 w 74"/>
                  <a:gd name="T9" fmla="*/ 47 h 94"/>
                  <a:gd name="T10" fmla="*/ 55 w 74"/>
                  <a:gd name="T11" fmla="*/ 34 h 94"/>
                  <a:gd name="T12" fmla="*/ 47 w 74"/>
                  <a:gd name="T13" fmla="*/ 29 h 94"/>
                  <a:gd name="T14" fmla="*/ 54 w 74"/>
                  <a:gd name="T15" fmla="*/ 22 h 94"/>
                  <a:gd name="T16" fmla="*/ 54 w 74"/>
                  <a:gd name="T17" fmla="*/ 20 h 94"/>
                  <a:gd name="T18" fmla="*/ 54 w 74"/>
                  <a:gd name="T19" fmla="*/ 19 h 94"/>
                  <a:gd name="T20" fmla="*/ 41 w 74"/>
                  <a:gd name="T21" fmla="*/ 19 h 94"/>
                  <a:gd name="T22" fmla="*/ 44 w 74"/>
                  <a:gd name="T23" fmla="*/ 22 h 94"/>
                  <a:gd name="T24" fmla="*/ 44 w 74"/>
                  <a:gd name="T25" fmla="*/ 32 h 94"/>
                  <a:gd name="T26" fmla="*/ 48 w 74"/>
                  <a:gd name="T27" fmla="*/ 37 h 94"/>
                  <a:gd name="T28" fmla="*/ 40 w 74"/>
                  <a:gd name="T29" fmla="*/ 58 h 94"/>
                  <a:gd name="T30" fmla="*/ 44 w 74"/>
                  <a:gd name="T31" fmla="*/ 61 h 94"/>
                  <a:gd name="T32" fmla="*/ 59 w 74"/>
                  <a:gd name="T33" fmla="*/ 46 h 94"/>
                  <a:gd name="T34" fmla="*/ 59 w 74"/>
                  <a:gd name="T35" fmla="*/ 46 h 94"/>
                  <a:gd name="T36" fmla="*/ 66 w 74"/>
                  <a:gd name="T37" fmla="*/ 93 h 94"/>
                  <a:gd name="T38" fmla="*/ 68 w 74"/>
                  <a:gd name="T39" fmla="*/ 93 h 94"/>
                  <a:gd name="T40" fmla="*/ 65 w 74"/>
                  <a:gd name="T41" fmla="*/ 42 h 94"/>
                  <a:gd name="T42" fmla="*/ 73 w 74"/>
                  <a:gd name="T43" fmla="*/ 41 h 94"/>
                  <a:gd name="T44" fmla="*/ 74 w 74"/>
                  <a:gd name="T45" fmla="*/ 41 h 94"/>
                  <a:gd name="T46" fmla="*/ 43 w 74"/>
                  <a:gd name="T47" fmla="*/ 42 h 94"/>
                  <a:gd name="T48" fmla="*/ 35 w 74"/>
                  <a:gd name="T49" fmla="*/ 48 h 94"/>
                  <a:gd name="T50" fmla="*/ 39 w 74"/>
                  <a:gd name="T51" fmla="*/ 38 h 94"/>
                  <a:gd name="T52" fmla="*/ 37 w 74"/>
                  <a:gd name="T53" fmla="*/ 29 h 94"/>
                  <a:gd name="T54" fmla="*/ 40 w 74"/>
                  <a:gd name="T55" fmla="*/ 27 h 94"/>
                  <a:gd name="T56" fmla="*/ 34 w 74"/>
                  <a:gd name="T57" fmla="*/ 16 h 94"/>
                  <a:gd name="T58" fmla="*/ 32 w 74"/>
                  <a:gd name="T59" fmla="*/ 15 h 94"/>
                  <a:gd name="T60" fmla="*/ 4 w 74"/>
                  <a:gd name="T61" fmla="*/ 46 h 94"/>
                  <a:gd name="T62" fmla="*/ 30 w 74"/>
                  <a:gd name="T63" fmla="*/ 29 h 94"/>
                  <a:gd name="T64" fmla="*/ 8 w 74"/>
                  <a:gd name="T65" fmla="*/ 52 h 94"/>
                  <a:gd name="T66" fmla="*/ 0 w 74"/>
                  <a:gd name="T67" fmla="*/ 56 h 94"/>
                  <a:gd name="T68" fmla="*/ 3 w 74"/>
                  <a:gd name="T69" fmla="*/ 61 h 94"/>
                  <a:gd name="T70" fmla="*/ 23 w 74"/>
                  <a:gd name="T71" fmla="*/ 54 h 94"/>
                  <a:gd name="T72" fmla="*/ 25 w 74"/>
                  <a:gd name="T73" fmla="*/ 53 h 94"/>
                  <a:gd name="T74" fmla="*/ 25 w 74"/>
                  <a:gd name="T75" fmla="*/ 53 h 94"/>
                  <a:gd name="T76" fmla="*/ 20 w 74"/>
                  <a:gd name="T77" fmla="*/ 72 h 94"/>
                  <a:gd name="T78" fmla="*/ 25 w 74"/>
                  <a:gd name="T79" fmla="*/ 76 h 94"/>
                  <a:gd name="T80" fmla="*/ 26 w 74"/>
                  <a:gd name="T81" fmla="*/ 76 h 94"/>
                  <a:gd name="T82" fmla="*/ 30 w 74"/>
                  <a:gd name="T83" fmla="*/ 67 h 94"/>
                  <a:gd name="T84" fmla="*/ 31 w 74"/>
                  <a:gd name="T85" fmla="*/ 66 h 94"/>
                  <a:gd name="T86" fmla="*/ 32 w 74"/>
                  <a:gd name="T87" fmla="*/ 75 h 94"/>
                  <a:gd name="T88" fmla="*/ 35 w 74"/>
                  <a:gd name="T89" fmla="*/ 76 h 94"/>
                  <a:gd name="T90" fmla="*/ 38 w 74"/>
                  <a:gd name="T91" fmla="*/ 76 h 94"/>
                  <a:gd name="T92" fmla="*/ 35 w 74"/>
                  <a:gd name="T93" fmla="*/ 61 h 94"/>
                  <a:gd name="T94" fmla="*/ 43 w 74"/>
                  <a:gd name="T95" fmla="*/ 42 h 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74" h="94">
                    <a:moveTo>
                      <a:pt x="74" y="41"/>
                    </a:moveTo>
                    <a:cubicBezTo>
                      <a:pt x="73" y="36"/>
                      <a:pt x="70" y="34"/>
                      <a:pt x="64" y="35"/>
                    </a:cubicBezTo>
                    <a:cubicBezTo>
                      <a:pt x="63" y="24"/>
                      <a:pt x="67" y="0"/>
                      <a:pt x="51" y="5"/>
                    </a:cubicBezTo>
                    <a:cubicBezTo>
                      <a:pt x="50" y="9"/>
                      <a:pt x="61" y="31"/>
                      <a:pt x="58" y="39"/>
                    </a:cubicBezTo>
                    <a:cubicBezTo>
                      <a:pt x="58" y="39"/>
                      <a:pt x="47" y="47"/>
                      <a:pt x="47" y="47"/>
                    </a:cubicBezTo>
                    <a:cubicBezTo>
                      <a:pt x="48" y="41"/>
                      <a:pt x="53" y="39"/>
                      <a:pt x="55" y="34"/>
                    </a:cubicBezTo>
                    <a:cubicBezTo>
                      <a:pt x="56" y="30"/>
                      <a:pt x="49" y="31"/>
                      <a:pt x="47" y="29"/>
                    </a:cubicBezTo>
                    <a:cubicBezTo>
                      <a:pt x="48" y="26"/>
                      <a:pt x="51" y="23"/>
                      <a:pt x="54" y="22"/>
                    </a:cubicBezTo>
                    <a:cubicBezTo>
                      <a:pt x="54" y="21"/>
                      <a:pt x="54" y="21"/>
                      <a:pt x="54" y="20"/>
                    </a:cubicBezTo>
                    <a:cubicBezTo>
                      <a:pt x="54" y="20"/>
                      <a:pt x="54" y="19"/>
                      <a:pt x="54" y="19"/>
                    </a:cubicBezTo>
                    <a:cubicBezTo>
                      <a:pt x="50" y="17"/>
                      <a:pt x="45" y="17"/>
                      <a:pt x="41" y="19"/>
                    </a:cubicBezTo>
                    <a:cubicBezTo>
                      <a:pt x="41" y="22"/>
                      <a:pt x="42" y="22"/>
                      <a:pt x="44" y="22"/>
                    </a:cubicBezTo>
                    <a:cubicBezTo>
                      <a:pt x="44" y="26"/>
                      <a:pt x="44" y="29"/>
                      <a:pt x="44" y="32"/>
                    </a:cubicBezTo>
                    <a:cubicBezTo>
                      <a:pt x="45" y="34"/>
                      <a:pt x="47" y="35"/>
                      <a:pt x="48" y="37"/>
                    </a:cubicBezTo>
                    <a:cubicBezTo>
                      <a:pt x="46" y="41"/>
                      <a:pt x="35" y="51"/>
                      <a:pt x="40" y="58"/>
                    </a:cubicBezTo>
                    <a:cubicBezTo>
                      <a:pt x="41" y="60"/>
                      <a:pt x="42" y="60"/>
                      <a:pt x="44" y="61"/>
                    </a:cubicBezTo>
                    <a:cubicBezTo>
                      <a:pt x="49" y="55"/>
                      <a:pt x="51" y="50"/>
                      <a:pt x="59" y="46"/>
                    </a:cubicBezTo>
                    <a:cubicBezTo>
                      <a:pt x="59" y="46"/>
                      <a:pt x="59" y="46"/>
                      <a:pt x="59" y="46"/>
                    </a:cubicBezTo>
                    <a:cubicBezTo>
                      <a:pt x="61" y="60"/>
                      <a:pt x="59" y="83"/>
                      <a:pt x="66" y="93"/>
                    </a:cubicBezTo>
                    <a:cubicBezTo>
                      <a:pt x="67" y="94"/>
                      <a:pt x="67" y="93"/>
                      <a:pt x="68" y="93"/>
                    </a:cubicBezTo>
                    <a:cubicBezTo>
                      <a:pt x="68" y="78"/>
                      <a:pt x="67" y="60"/>
                      <a:pt x="65" y="42"/>
                    </a:cubicBezTo>
                    <a:cubicBezTo>
                      <a:pt x="68" y="42"/>
                      <a:pt x="72" y="42"/>
                      <a:pt x="73" y="41"/>
                    </a:cubicBezTo>
                    <a:cubicBezTo>
                      <a:pt x="74" y="41"/>
                      <a:pt x="74" y="41"/>
                      <a:pt x="74" y="41"/>
                    </a:cubicBezTo>
                    <a:close/>
                    <a:moveTo>
                      <a:pt x="43" y="42"/>
                    </a:moveTo>
                    <a:cubicBezTo>
                      <a:pt x="39" y="44"/>
                      <a:pt x="38" y="46"/>
                      <a:pt x="35" y="48"/>
                    </a:cubicBezTo>
                    <a:cubicBezTo>
                      <a:pt x="35" y="42"/>
                      <a:pt x="39" y="42"/>
                      <a:pt x="39" y="38"/>
                    </a:cubicBezTo>
                    <a:cubicBezTo>
                      <a:pt x="40" y="35"/>
                      <a:pt x="37" y="33"/>
                      <a:pt x="37" y="29"/>
                    </a:cubicBezTo>
                    <a:cubicBezTo>
                      <a:pt x="38" y="28"/>
                      <a:pt x="39" y="28"/>
                      <a:pt x="40" y="27"/>
                    </a:cubicBezTo>
                    <a:cubicBezTo>
                      <a:pt x="41" y="24"/>
                      <a:pt x="36" y="16"/>
                      <a:pt x="34" y="16"/>
                    </a:cubicBezTo>
                    <a:cubicBezTo>
                      <a:pt x="33" y="16"/>
                      <a:pt x="32" y="15"/>
                      <a:pt x="32" y="15"/>
                    </a:cubicBezTo>
                    <a:cubicBezTo>
                      <a:pt x="22" y="28"/>
                      <a:pt x="10" y="30"/>
                      <a:pt x="4" y="46"/>
                    </a:cubicBezTo>
                    <a:cubicBezTo>
                      <a:pt x="13" y="41"/>
                      <a:pt x="17" y="31"/>
                      <a:pt x="30" y="29"/>
                    </a:cubicBezTo>
                    <a:cubicBezTo>
                      <a:pt x="29" y="39"/>
                      <a:pt x="16" y="48"/>
                      <a:pt x="8" y="52"/>
                    </a:cubicBezTo>
                    <a:cubicBezTo>
                      <a:pt x="4" y="54"/>
                      <a:pt x="2" y="52"/>
                      <a:pt x="0" y="56"/>
                    </a:cubicBezTo>
                    <a:cubicBezTo>
                      <a:pt x="0" y="59"/>
                      <a:pt x="1" y="60"/>
                      <a:pt x="3" y="61"/>
                    </a:cubicBezTo>
                    <a:cubicBezTo>
                      <a:pt x="10" y="63"/>
                      <a:pt x="22" y="58"/>
                      <a:pt x="23" y="54"/>
                    </a:cubicBezTo>
                    <a:cubicBezTo>
                      <a:pt x="24" y="54"/>
                      <a:pt x="24" y="53"/>
                      <a:pt x="25" y="53"/>
                    </a:cubicBezTo>
                    <a:cubicBezTo>
                      <a:pt x="25" y="53"/>
                      <a:pt x="25" y="53"/>
                      <a:pt x="25" y="53"/>
                    </a:cubicBezTo>
                    <a:cubicBezTo>
                      <a:pt x="23" y="59"/>
                      <a:pt x="22" y="66"/>
                      <a:pt x="20" y="72"/>
                    </a:cubicBezTo>
                    <a:cubicBezTo>
                      <a:pt x="21" y="74"/>
                      <a:pt x="23" y="75"/>
                      <a:pt x="25" y="76"/>
                    </a:cubicBezTo>
                    <a:cubicBezTo>
                      <a:pt x="25" y="76"/>
                      <a:pt x="26" y="76"/>
                      <a:pt x="26" y="76"/>
                    </a:cubicBezTo>
                    <a:cubicBezTo>
                      <a:pt x="28" y="73"/>
                      <a:pt x="29" y="70"/>
                      <a:pt x="30" y="67"/>
                    </a:cubicBezTo>
                    <a:cubicBezTo>
                      <a:pt x="31" y="67"/>
                      <a:pt x="31" y="67"/>
                      <a:pt x="31" y="66"/>
                    </a:cubicBezTo>
                    <a:cubicBezTo>
                      <a:pt x="32" y="69"/>
                      <a:pt x="32" y="72"/>
                      <a:pt x="32" y="75"/>
                    </a:cubicBezTo>
                    <a:cubicBezTo>
                      <a:pt x="33" y="75"/>
                      <a:pt x="34" y="76"/>
                      <a:pt x="35" y="76"/>
                    </a:cubicBezTo>
                    <a:cubicBezTo>
                      <a:pt x="36" y="76"/>
                      <a:pt x="37" y="76"/>
                      <a:pt x="38" y="76"/>
                    </a:cubicBezTo>
                    <a:cubicBezTo>
                      <a:pt x="37" y="71"/>
                      <a:pt x="36" y="66"/>
                      <a:pt x="35" y="61"/>
                    </a:cubicBezTo>
                    <a:cubicBezTo>
                      <a:pt x="38" y="54"/>
                      <a:pt x="40" y="48"/>
                      <a:pt x="43" y="4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78" name="î$ḻîḑe"/>
              <p:cNvSpPr/>
              <p:nvPr/>
            </p:nvSpPr>
            <p:spPr bwMode="auto">
              <a:xfrm>
                <a:off x="2055709" y="4566240"/>
                <a:ext cx="136525" cy="150813"/>
              </a:xfrm>
              <a:custGeom>
                <a:avLst/>
                <a:gdLst>
                  <a:gd name="T0" fmla="*/ 55 w 74"/>
                  <a:gd name="T1" fmla="*/ 53 h 82"/>
                  <a:gd name="T2" fmla="*/ 54 w 74"/>
                  <a:gd name="T3" fmla="*/ 51 h 82"/>
                  <a:gd name="T4" fmla="*/ 57 w 74"/>
                  <a:gd name="T5" fmla="*/ 49 h 82"/>
                  <a:gd name="T6" fmla="*/ 56 w 74"/>
                  <a:gd name="T7" fmla="*/ 45 h 82"/>
                  <a:gd name="T8" fmla="*/ 52 w 74"/>
                  <a:gd name="T9" fmla="*/ 45 h 82"/>
                  <a:gd name="T10" fmla="*/ 51 w 74"/>
                  <a:gd name="T11" fmla="*/ 44 h 82"/>
                  <a:gd name="T12" fmla="*/ 60 w 74"/>
                  <a:gd name="T13" fmla="*/ 32 h 82"/>
                  <a:gd name="T14" fmla="*/ 60 w 74"/>
                  <a:gd name="T15" fmla="*/ 30 h 82"/>
                  <a:gd name="T16" fmla="*/ 34 w 74"/>
                  <a:gd name="T17" fmla="*/ 38 h 82"/>
                  <a:gd name="T18" fmla="*/ 33 w 74"/>
                  <a:gd name="T19" fmla="*/ 38 h 82"/>
                  <a:gd name="T20" fmla="*/ 60 w 74"/>
                  <a:gd name="T21" fmla="*/ 16 h 82"/>
                  <a:gd name="T22" fmla="*/ 61 w 74"/>
                  <a:gd name="T23" fmla="*/ 10 h 82"/>
                  <a:gd name="T24" fmla="*/ 42 w 74"/>
                  <a:gd name="T25" fmla="*/ 11 h 82"/>
                  <a:gd name="T26" fmla="*/ 27 w 74"/>
                  <a:gd name="T27" fmla="*/ 0 h 82"/>
                  <a:gd name="T28" fmla="*/ 24 w 74"/>
                  <a:gd name="T29" fmla="*/ 0 h 82"/>
                  <a:gd name="T30" fmla="*/ 29 w 74"/>
                  <a:gd name="T31" fmla="*/ 21 h 82"/>
                  <a:gd name="T32" fmla="*/ 11 w 74"/>
                  <a:gd name="T33" fmla="*/ 39 h 82"/>
                  <a:gd name="T34" fmla="*/ 1 w 74"/>
                  <a:gd name="T35" fmla="*/ 44 h 82"/>
                  <a:gd name="T36" fmla="*/ 0 w 74"/>
                  <a:gd name="T37" fmla="*/ 47 h 82"/>
                  <a:gd name="T38" fmla="*/ 35 w 74"/>
                  <a:gd name="T39" fmla="*/ 26 h 82"/>
                  <a:gd name="T40" fmla="*/ 35 w 74"/>
                  <a:gd name="T41" fmla="*/ 26 h 82"/>
                  <a:gd name="T42" fmla="*/ 30 w 74"/>
                  <a:gd name="T43" fmla="*/ 48 h 82"/>
                  <a:gd name="T44" fmla="*/ 40 w 74"/>
                  <a:gd name="T45" fmla="*/ 57 h 82"/>
                  <a:gd name="T46" fmla="*/ 35 w 74"/>
                  <a:gd name="T47" fmla="*/ 78 h 82"/>
                  <a:gd name="T48" fmla="*/ 45 w 74"/>
                  <a:gd name="T49" fmla="*/ 82 h 82"/>
                  <a:gd name="T50" fmla="*/ 47 w 74"/>
                  <a:gd name="T51" fmla="*/ 80 h 82"/>
                  <a:gd name="T52" fmla="*/ 46 w 74"/>
                  <a:gd name="T53" fmla="*/ 67 h 82"/>
                  <a:gd name="T54" fmla="*/ 47 w 74"/>
                  <a:gd name="T55" fmla="*/ 66 h 82"/>
                  <a:gd name="T56" fmla="*/ 50 w 74"/>
                  <a:gd name="T57" fmla="*/ 73 h 82"/>
                  <a:gd name="T58" fmla="*/ 58 w 74"/>
                  <a:gd name="T59" fmla="*/ 79 h 82"/>
                  <a:gd name="T60" fmla="*/ 59 w 74"/>
                  <a:gd name="T61" fmla="*/ 79 h 82"/>
                  <a:gd name="T62" fmla="*/ 53 w 74"/>
                  <a:gd name="T63" fmla="*/ 57 h 82"/>
                  <a:gd name="T64" fmla="*/ 56 w 74"/>
                  <a:gd name="T65" fmla="*/ 55 h 82"/>
                  <a:gd name="T66" fmla="*/ 56 w 74"/>
                  <a:gd name="T67" fmla="*/ 55 h 82"/>
                  <a:gd name="T68" fmla="*/ 69 w 74"/>
                  <a:gd name="T69" fmla="*/ 69 h 82"/>
                  <a:gd name="T70" fmla="*/ 74 w 74"/>
                  <a:gd name="T71" fmla="*/ 64 h 82"/>
                  <a:gd name="T72" fmla="*/ 55 w 74"/>
                  <a:gd name="T73" fmla="*/ 53 h 82"/>
                  <a:gd name="T74" fmla="*/ 40 w 74"/>
                  <a:gd name="T75" fmla="*/ 46 h 82"/>
                  <a:gd name="T76" fmla="*/ 39 w 74"/>
                  <a:gd name="T77" fmla="*/ 46 h 82"/>
                  <a:gd name="T78" fmla="*/ 38 w 74"/>
                  <a:gd name="T79" fmla="*/ 46 h 82"/>
                  <a:gd name="T80" fmla="*/ 37 w 74"/>
                  <a:gd name="T81" fmla="*/ 44 h 82"/>
                  <a:gd name="T82" fmla="*/ 44 w 74"/>
                  <a:gd name="T83" fmla="*/ 36 h 82"/>
                  <a:gd name="T84" fmla="*/ 46 w 74"/>
                  <a:gd name="T85" fmla="*/ 35 h 82"/>
                  <a:gd name="T86" fmla="*/ 46 w 74"/>
                  <a:gd name="T87" fmla="*/ 35 h 82"/>
                  <a:gd name="T88" fmla="*/ 40 w 74"/>
                  <a:gd name="T89" fmla="*/ 46 h 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74" h="82">
                    <a:moveTo>
                      <a:pt x="55" y="53"/>
                    </a:moveTo>
                    <a:cubicBezTo>
                      <a:pt x="55" y="53"/>
                      <a:pt x="54" y="52"/>
                      <a:pt x="54" y="51"/>
                    </a:cubicBezTo>
                    <a:cubicBezTo>
                      <a:pt x="55" y="51"/>
                      <a:pt x="56" y="50"/>
                      <a:pt x="57" y="49"/>
                    </a:cubicBezTo>
                    <a:cubicBezTo>
                      <a:pt x="57" y="48"/>
                      <a:pt x="56" y="47"/>
                      <a:pt x="56" y="45"/>
                    </a:cubicBezTo>
                    <a:cubicBezTo>
                      <a:pt x="54" y="45"/>
                      <a:pt x="53" y="45"/>
                      <a:pt x="52" y="45"/>
                    </a:cubicBezTo>
                    <a:cubicBezTo>
                      <a:pt x="51" y="45"/>
                      <a:pt x="51" y="44"/>
                      <a:pt x="51" y="44"/>
                    </a:cubicBezTo>
                    <a:cubicBezTo>
                      <a:pt x="53" y="40"/>
                      <a:pt x="59" y="36"/>
                      <a:pt x="60" y="32"/>
                    </a:cubicBezTo>
                    <a:cubicBezTo>
                      <a:pt x="60" y="31"/>
                      <a:pt x="60" y="31"/>
                      <a:pt x="60" y="30"/>
                    </a:cubicBezTo>
                    <a:cubicBezTo>
                      <a:pt x="50" y="21"/>
                      <a:pt x="41" y="31"/>
                      <a:pt x="34" y="38"/>
                    </a:cubicBezTo>
                    <a:cubicBezTo>
                      <a:pt x="33" y="38"/>
                      <a:pt x="33" y="38"/>
                      <a:pt x="33" y="38"/>
                    </a:cubicBezTo>
                    <a:cubicBezTo>
                      <a:pt x="34" y="30"/>
                      <a:pt x="48" y="16"/>
                      <a:pt x="60" y="16"/>
                    </a:cubicBezTo>
                    <a:cubicBezTo>
                      <a:pt x="61" y="14"/>
                      <a:pt x="61" y="12"/>
                      <a:pt x="61" y="10"/>
                    </a:cubicBezTo>
                    <a:cubicBezTo>
                      <a:pt x="50" y="3"/>
                      <a:pt x="52" y="11"/>
                      <a:pt x="42" y="11"/>
                    </a:cubicBezTo>
                    <a:cubicBezTo>
                      <a:pt x="38" y="10"/>
                      <a:pt x="32" y="1"/>
                      <a:pt x="27" y="0"/>
                    </a:cubicBezTo>
                    <a:cubicBezTo>
                      <a:pt x="26" y="0"/>
                      <a:pt x="25" y="0"/>
                      <a:pt x="24" y="0"/>
                    </a:cubicBezTo>
                    <a:cubicBezTo>
                      <a:pt x="21" y="5"/>
                      <a:pt x="30" y="14"/>
                      <a:pt x="29" y="21"/>
                    </a:cubicBezTo>
                    <a:cubicBezTo>
                      <a:pt x="19" y="27"/>
                      <a:pt x="17" y="33"/>
                      <a:pt x="11" y="39"/>
                    </a:cubicBezTo>
                    <a:cubicBezTo>
                      <a:pt x="8" y="42"/>
                      <a:pt x="4" y="42"/>
                      <a:pt x="1" y="44"/>
                    </a:cubicBezTo>
                    <a:cubicBezTo>
                      <a:pt x="1" y="45"/>
                      <a:pt x="0" y="46"/>
                      <a:pt x="0" y="47"/>
                    </a:cubicBezTo>
                    <a:cubicBezTo>
                      <a:pt x="11" y="69"/>
                      <a:pt x="23" y="30"/>
                      <a:pt x="35" y="26"/>
                    </a:cubicBezTo>
                    <a:cubicBezTo>
                      <a:pt x="35" y="26"/>
                      <a:pt x="35" y="26"/>
                      <a:pt x="35" y="26"/>
                    </a:cubicBezTo>
                    <a:cubicBezTo>
                      <a:pt x="33" y="33"/>
                      <a:pt x="28" y="39"/>
                      <a:pt x="30" y="48"/>
                    </a:cubicBezTo>
                    <a:cubicBezTo>
                      <a:pt x="30" y="51"/>
                      <a:pt x="37" y="56"/>
                      <a:pt x="40" y="57"/>
                    </a:cubicBezTo>
                    <a:cubicBezTo>
                      <a:pt x="37" y="64"/>
                      <a:pt x="32" y="69"/>
                      <a:pt x="35" y="78"/>
                    </a:cubicBezTo>
                    <a:cubicBezTo>
                      <a:pt x="39" y="79"/>
                      <a:pt x="42" y="80"/>
                      <a:pt x="45" y="82"/>
                    </a:cubicBezTo>
                    <a:cubicBezTo>
                      <a:pt x="46" y="81"/>
                      <a:pt x="46" y="81"/>
                      <a:pt x="47" y="80"/>
                    </a:cubicBezTo>
                    <a:cubicBezTo>
                      <a:pt x="49" y="77"/>
                      <a:pt x="45" y="70"/>
                      <a:pt x="46" y="67"/>
                    </a:cubicBezTo>
                    <a:cubicBezTo>
                      <a:pt x="46" y="66"/>
                      <a:pt x="46" y="66"/>
                      <a:pt x="47" y="66"/>
                    </a:cubicBezTo>
                    <a:cubicBezTo>
                      <a:pt x="48" y="67"/>
                      <a:pt x="49" y="71"/>
                      <a:pt x="50" y="73"/>
                    </a:cubicBezTo>
                    <a:cubicBezTo>
                      <a:pt x="52" y="76"/>
                      <a:pt x="55" y="77"/>
                      <a:pt x="58" y="79"/>
                    </a:cubicBezTo>
                    <a:cubicBezTo>
                      <a:pt x="58" y="79"/>
                      <a:pt x="58" y="79"/>
                      <a:pt x="59" y="79"/>
                    </a:cubicBezTo>
                    <a:cubicBezTo>
                      <a:pt x="60" y="72"/>
                      <a:pt x="53" y="64"/>
                      <a:pt x="53" y="57"/>
                    </a:cubicBezTo>
                    <a:cubicBezTo>
                      <a:pt x="54" y="56"/>
                      <a:pt x="55" y="56"/>
                      <a:pt x="56" y="55"/>
                    </a:cubicBezTo>
                    <a:cubicBezTo>
                      <a:pt x="56" y="55"/>
                      <a:pt x="56" y="55"/>
                      <a:pt x="56" y="55"/>
                    </a:cubicBezTo>
                    <a:cubicBezTo>
                      <a:pt x="63" y="60"/>
                      <a:pt x="59" y="67"/>
                      <a:pt x="69" y="69"/>
                    </a:cubicBezTo>
                    <a:cubicBezTo>
                      <a:pt x="71" y="67"/>
                      <a:pt x="72" y="66"/>
                      <a:pt x="74" y="64"/>
                    </a:cubicBezTo>
                    <a:cubicBezTo>
                      <a:pt x="71" y="56"/>
                      <a:pt x="63" y="51"/>
                      <a:pt x="55" y="53"/>
                    </a:cubicBezTo>
                    <a:close/>
                    <a:moveTo>
                      <a:pt x="40" y="46"/>
                    </a:moveTo>
                    <a:cubicBezTo>
                      <a:pt x="40" y="46"/>
                      <a:pt x="39" y="46"/>
                      <a:pt x="39" y="46"/>
                    </a:cubicBezTo>
                    <a:cubicBezTo>
                      <a:pt x="38" y="46"/>
                      <a:pt x="38" y="46"/>
                      <a:pt x="38" y="46"/>
                    </a:cubicBezTo>
                    <a:cubicBezTo>
                      <a:pt x="38" y="45"/>
                      <a:pt x="37" y="45"/>
                      <a:pt x="37" y="44"/>
                    </a:cubicBezTo>
                    <a:cubicBezTo>
                      <a:pt x="39" y="41"/>
                      <a:pt x="42" y="39"/>
                      <a:pt x="44" y="36"/>
                    </a:cubicBezTo>
                    <a:cubicBezTo>
                      <a:pt x="45" y="36"/>
                      <a:pt x="45" y="35"/>
                      <a:pt x="46" y="35"/>
                    </a:cubicBezTo>
                    <a:cubicBezTo>
                      <a:pt x="46" y="35"/>
                      <a:pt x="46" y="35"/>
                      <a:pt x="46" y="35"/>
                    </a:cubicBezTo>
                    <a:cubicBezTo>
                      <a:pt x="44" y="39"/>
                      <a:pt x="42" y="42"/>
                      <a:pt x="40" y="4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79" name="ïşḻíḍe"/>
              <p:cNvSpPr/>
              <p:nvPr/>
            </p:nvSpPr>
            <p:spPr bwMode="auto">
              <a:xfrm>
                <a:off x="1882672" y="4669428"/>
                <a:ext cx="160338" cy="169863"/>
              </a:xfrm>
              <a:custGeom>
                <a:avLst/>
                <a:gdLst>
                  <a:gd name="T0" fmla="*/ 29 w 87"/>
                  <a:gd name="T1" fmla="*/ 8 h 92"/>
                  <a:gd name="T2" fmla="*/ 52 w 87"/>
                  <a:gd name="T3" fmla="*/ 17 h 92"/>
                  <a:gd name="T4" fmla="*/ 61 w 87"/>
                  <a:gd name="T5" fmla="*/ 16 h 92"/>
                  <a:gd name="T6" fmla="*/ 62 w 87"/>
                  <a:gd name="T7" fmla="*/ 17 h 92"/>
                  <a:gd name="T8" fmla="*/ 69 w 87"/>
                  <a:gd name="T9" fmla="*/ 42 h 92"/>
                  <a:gd name="T10" fmla="*/ 86 w 87"/>
                  <a:gd name="T11" fmla="*/ 35 h 92"/>
                  <a:gd name="T12" fmla="*/ 87 w 87"/>
                  <a:gd name="T13" fmla="*/ 39 h 92"/>
                  <a:gd name="T14" fmla="*/ 76 w 87"/>
                  <a:gd name="T15" fmla="*/ 55 h 92"/>
                  <a:gd name="T16" fmla="*/ 67 w 87"/>
                  <a:gd name="T17" fmla="*/ 76 h 92"/>
                  <a:gd name="T18" fmla="*/ 65 w 87"/>
                  <a:gd name="T19" fmla="*/ 74 h 92"/>
                  <a:gd name="T20" fmla="*/ 69 w 87"/>
                  <a:gd name="T21" fmla="*/ 53 h 92"/>
                  <a:gd name="T22" fmla="*/ 55 w 87"/>
                  <a:gd name="T23" fmla="*/ 40 h 92"/>
                  <a:gd name="T24" fmla="*/ 45 w 87"/>
                  <a:gd name="T25" fmla="*/ 44 h 92"/>
                  <a:gd name="T26" fmla="*/ 46 w 87"/>
                  <a:gd name="T27" fmla="*/ 89 h 92"/>
                  <a:gd name="T28" fmla="*/ 38 w 87"/>
                  <a:gd name="T29" fmla="*/ 92 h 92"/>
                  <a:gd name="T30" fmla="*/ 27 w 87"/>
                  <a:gd name="T31" fmla="*/ 68 h 92"/>
                  <a:gd name="T32" fmla="*/ 14 w 87"/>
                  <a:gd name="T33" fmla="*/ 70 h 92"/>
                  <a:gd name="T34" fmla="*/ 12 w 87"/>
                  <a:gd name="T35" fmla="*/ 65 h 92"/>
                  <a:gd name="T36" fmla="*/ 18 w 87"/>
                  <a:gd name="T37" fmla="*/ 58 h 92"/>
                  <a:gd name="T38" fmla="*/ 0 w 87"/>
                  <a:gd name="T39" fmla="*/ 42 h 92"/>
                  <a:gd name="T40" fmla="*/ 0 w 87"/>
                  <a:gd name="T41" fmla="*/ 42 h 92"/>
                  <a:gd name="T42" fmla="*/ 21 w 87"/>
                  <a:gd name="T43" fmla="*/ 39 h 92"/>
                  <a:gd name="T44" fmla="*/ 27 w 87"/>
                  <a:gd name="T45" fmla="*/ 48 h 92"/>
                  <a:gd name="T46" fmla="*/ 34 w 87"/>
                  <a:gd name="T47" fmla="*/ 52 h 92"/>
                  <a:gd name="T48" fmla="*/ 36 w 87"/>
                  <a:gd name="T49" fmla="*/ 62 h 92"/>
                  <a:gd name="T50" fmla="*/ 39 w 87"/>
                  <a:gd name="T51" fmla="*/ 44 h 92"/>
                  <a:gd name="T52" fmla="*/ 46 w 87"/>
                  <a:gd name="T53" fmla="*/ 28 h 92"/>
                  <a:gd name="T54" fmla="*/ 29 w 87"/>
                  <a:gd name="T55" fmla="*/ 8 h 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87" h="92">
                    <a:moveTo>
                      <a:pt x="29" y="8"/>
                    </a:moveTo>
                    <a:cubicBezTo>
                      <a:pt x="42" y="0"/>
                      <a:pt x="43" y="12"/>
                      <a:pt x="52" y="17"/>
                    </a:cubicBezTo>
                    <a:cubicBezTo>
                      <a:pt x="55" y="15"/>
                      <a:pt x="58" y="15"/>
                      <a:pt x="61" y="16"/>
                    </a:cubicBezTo>
                    <a:cubicBezTo>
                      <a:pt x="61" y="16"/>
                      <a:pt x="62" y="17"/>
                      <a:pt x="62" y="17"/>
                    </a:cubicBezTo>
                    <a:cubicBezTo>
                      <a:pt x="62" y="26"/>
                      <a:pt x="58" y="33"/>
                      <a:pt x="69" y="42"/>
                    </a:cubicBezTo>
                    <a:cubicBezTo>
                      <a:pt x="75" y="35"/>
                      <a:pt x="80" y="33"/>
                      <a:pt x="86" y="35"/>
                    </a:cubicBezTo>
                    <a:cubicBezTo>
                      <a:pt x="87" y="36"/>
                      <a:pt x="87" y="38"/>
                      <a:pt x="87" y="39"/>
                    </a:cubicBezTo>
                    <a:cubicBezTo>
                      <a:pt x="83" y="45"/>
                      <a:pt x="80" y="50"/>
                      <a:pt x="76" y="55"/>
                    </a:cubicBezTo>
                    <a:cubicBezTo>
                      <a:pt x="71" y="62"/>
                      <a:pt x="71" y="70"/>
                      <a:pt x="67" y="76"/>
                    </a:cubicBezTo>
                    <a:cubicBezTo>
                      <a:pt x="66" y="75"/>
                      <a:pt x="66" y="75"/>
                      <a:pt x="65" y="74"/>
                    </a:cubicBezTo>
                    <a:cubicBezTo>
                      <a:pt x="63" y="66"/>
                      <a:pt x="67" y="60"/>
                      <a:pt x="69" y="53"/>
                    </a:cubicBezTo>
                    <a:cubicBezTo>
                      <a:pt x="64" y="51"/>
                      <a:pt x="60" y="46"/>
                      <a:pt x="55" y="40"/>
                    </a:cubicBezTo>
                    <a:cubicBezTo>
                      <a:pt x="52" y="42"/>
                      <a:pt x="49" y="41"/>
                      <a:pt x="45" y="44"/>
                    </a:cubicBezTo>
                    <a:cubicBezTo>
                      <a:pt x="40" y="59"/>
                      <a:pt x="48" y="75"/>
                      <a:pt x="46" y="89"/>
                    </a:cubicBezTo>
                    <a:cubicBezTo>
                      <a:pt x="43" y="92"/>
                      <a:pt x="41" y="91"/>
                      <a:pt x="38" y="92"/>
                    </a:cubicBezTo>
                    <a:cubicBezTo>
                      <a:pt x="31" y="83"/>
                      <a:pt x="33" y="76"/>
                      <a:pt x="27" y="68"/>
                    </a:cubicBezTo>
                    <a:cubicBezTo>
                      <a:pt x="23" y="71"/>
                      <a:pt x="18" y="71"/>
                      <a:pt x="14" y="70"/>
                    </a:cubicBezTo>
                    <a:cubicBezTo>
                      <a:pt x="12" y="68"/>
                      <a:pt x="12" y="67"/>
                      <a:pt x="12" y="65"/>
                    </a:cubicBezTo>
                    <a:cubicBezTo>
                      <a:pt x="14" y="63"/>
                      <a:pt x="16" y="60"/>
                      <a:pt x="18" y="58"/>
                    </a:cubicBezTo>
                    <a:cubicBezTo>
                      <a:pt x="13" y="49"/>
                      <a:pt x="3" y="48"/>
                      <a:pt x="0" y="42"/>
                    </a:cubicBezTo>
                    <a:cubicBezTo>
                      <a:pt x="0" y="42"/>
                      <a:pt x="0" y="42"/>
                      <a:pt x="0" y="42"/>
                    </a:cubicBezTo>
                    <a:cubicBezTo>
                      <a:pt x="6" y="39"/>
                      <a:pt x="15" y="35"/>
                      <a:pt x="21" y="39"/>
                    </a:cubicBezTo>
                    <a:cubicBezTo>
                      <a:pt x="23" y="42"/>
                      <a:pt x="25" y="45"/>
                      <a:pt x="27" y="48"/>
                    </a:cubicBezTo>
                    <a:cubicBezTo>
                      <a:pt x="29" y="50"/>
                      <a:pt x="31" y="51"/>
                      <a:pt x="34" y="52"/>
                    </a:cubicBezTo>
                    <a:cubicBezTo>
                      <a:pt x="34" y="55"/>
                      <a:pt x="35" y="58"/>
                      <a:pt x="36" y="62"/>
                    </a:cubicBezTo>
                    <a:cubicBezTo>
                      <a:pt x="39" y="56"/>
                      <a:pt x="38" y="50"/>
                      <a:pt x="39" y="44"/>
                    </a:cubicBezTo>
                    <a:cubicBezTo>
                      <a:pt x="42" y="39"/>
                      <a:pt x="44" y="34"/>
                      <a:pt x="46" y="28"/>
                    </a:cubicBezTo>
                    <a:cubicBezTo>
                      <a:pt x="42" y="22"/>
                      <a:pt x="31" y="15"/>
                      <a:pt x="29" y="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80" name="íṩľíḑè"/>
              <p:cNvSpPr/>
              <p:nvPr/>
            </p:nvSpPr>
            <p:spPr bwMode="auto">
              <a:xfrm>
                <a:off x="2243034" y="6066428"/>
                <a:ext cx="22225" cy="25400"/>
              </a:xfrm>
              <a:custGeom>
                <a:avLst/>
                <a:gdLst>
                  <a:gd name="T0" fmla="*/ 0 w 14"/>
                  <a:gd name="T1" fmla="*/ 12 h 16"/>
                  <a:gd name="T2" fmla="*/ 2 w 14"/>
                  <a:gd name="T3" fmla="*/ 0 h 16"/>
                  <a:gd name="T4" fmla="*/ 14 w 14"/>
                  <a:gd name="T5" fmla="*/ 4 h 16"/>
                  <a:gd name="T6" fmla="*/ 11 w 14"/>
                  <a:gd name="T7" fmla="*/ 16 h 16"/>
                  <a:gd name="T8" fmla="*/ 0 w 14"/>
                  <a:gd name="T9" fmla="*/ 12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4" h="16">
                    <a:moveTo>
                      <a:pt x="0" y="12"/>
                    </a:moveTo>
                    <a:lnTo>
                      <a:pt x="2" y="0"/>
                    </a:lnTo>
                    <a:lnTo>
                      <a:pt x="14" y="4"/>
                    </a:lnTo>
                    <a:lnTo>
                      <a:pt x="11" y="16"/>
                    </a:lnTo>
                    <a:lnTo>
                      <a:pt x="0" y="1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81" name="îṣḷïḓê"/>
              <p:cNvSpPr/>
              <p:nvPr/>
            </p:nvSpPr>
            <p:spPr bwMode="auto">
              <a:xfrm>
                <a:off x="2292247" y="6042615"/>
                <a:ext cx="49213" cy="100013"/>
              </a:xfrm>
              <a:custGeom>
                <a:avLst/>
                <a:gdLst>
                  <a:gd name="T0" fmla="*/ 17 w 27"/>
                  <a:gd name="T1" fmla="*/ 54 h 54"/>
                  <a:gd name="T2" fmla="*/ 7 w 27"/>
                  <a:gd name="T3" fmla="*/ 52 h 54"/>
                  <a:gd name="T4" fmla="*/ 14 w 27"/>
                  <a:gd name="T5" fmla="*/ 15 h 54"/>
                  <a:gd name="T6" fmla="*/ 0 w 27"/>
                  <a:gd name="T7" fmla="*/ 20 h 54"/>
                  <a:gd name="T8" fmla="*/ 1 w 27"/>
                  <a:gd name="T9" fmla="*/ 11 h 54"/>
                  <a:gd name="T10" fmla="*/ 11 w 27"/>
                  <a:gd name="T11" fmla="*/ 7 h 54"/>
                  <a:gd name="T12" fmla="*/ 18 w 27"/>
                  <a:gd name="T13" fmla="*/ 0 h 54"/>
                  <a:gd name="T14" fmla="*/ 27 w 27"/>
                  <a:gd name="T15" fmla="*/ 2 h 54"/>
                  <a:gd name="T16" fmla="*/ 17 w 27"/>
                  <a:gd name="T17" fmla="*/ 54 h 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7" h="54">
                    <a:moveTo>
                      <a:pt x="17" y="54"/>
                    </a:moveTo>
                    <a:cubicBezTo>
                      <a:pt x="7" y="52"/>
                      <a:pt x="7" y="52"/>
                      <a:pt x="7" y="52"/>
                    </a:cubicBezTo>
                    <a:cubicBezTo>
                      <a:pt x="14" y="15"/>
                      <a:pt x="14" y="15"/>
                      <a:pt x="14" y="15"/>
                    </a:cubicBezTo>
                    <a:cubicBezTo>
                      <a:pt x="10" y="17"/>
                      <a:pt x="5" y="19"/>
                      <a:pt x="0" y="20"/>
                    </a:cubicBezTo>
                    <a:cubicBezTo>
                      <a:pt x="1" y="11"/>
                      <a:pt x="1" y="11"/>
                      <a:pt x="1" y="11"/>
                    </a:cubicBezTo>
                    <a:cubicBezTo>
                      <a:pt x="4" y="10"/>
                      <a:pt x="7" y="9"/>
                      <a:pt x="11" y="7"/>
                    </a:cubicBezTo>
                    <a:cubicBezTo>
                      <a:pt x="14" y="6"/>
                      <a:pt x="17" y="3"/>
                      <a:pt x="18" y="0"/>
                    </a:cubicBezTo>
                    <a:cubicBezTo>
                      <a:pt x="27" y="2"/>
                      <a:pt x="27" y="2"/>
                      <a:pt x="27" y="2"/>
                    </a:cubicBezTo>
                    <a:lnTo>
                      <a:pt x="17" y="5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82" name="i$ḻîḓé"/>
              <p:cNvSpPr/>
              <p:nvPr/>
            </p:nvSpPr>
            <p:spPr bwMode="auto">
              <a:xfrm>
                <a:off x="2363684" y="6052140"/>
                <a:ext cx="66675" cy="100013"/>
              </a:xfrm>
              <a:custGeom>
                <a:avLst/>
                <a:gdLst>
                  <a:gd name="T0" fmla="*/ 0 w 36"/>
                  <a:gd name="T1" fmla="*/ 40 h 54"/>
                  <a:gd name="T2" fmla="*/ 10 w 36"/>
                  <a:gd name="T3" fmla="*/ 39 h 54"/>
                  <a:gd name="T4" fmla="*/ 11 w 36"/>
                  <a:gd name="T5" fmla="*/ 44 h 54"/>
                  <a:gd name="T6" fmla="*/ 15 w 36"/>
                  <a:gd name="T7" fmla="*/ 46 h 54"/>
                  <a:gd name="T8" fmla="*/ 21 w 36"/>
                  <a:gd name="T9" fmla="*/ 43 h 54"/>
                  <a:gd name="T10" fmla="*/ 24 w 36"/>
                  <a:gd name="T11" fmla="*/ 31 h 54"/>
                  <a:gd name="T12" fmla="*/ 15 w 36"/>
                  <a:gd name="T13" fmla="*/ 35 h 54"/>
                  <a:gd name="T14" fmla="*/ 4 w 36"/>
                  <a:gd name="T15" fmla="*/ 30 h 54"/>
                  <a:gd name="T16" fmla="*/ 0 w 36"/>
                  <a:gd name="T17" fmla="*/ 17 h 54"/>
                  <a:gd name="T18" fmla="*/ 6 w 36"/>
                  <a:gd name="T19" fmla="*/ 4 h 54"/>
                  <a:gd name="T20" fmla="*/ 19 w 36"/>
                  <a:gd name="T21" fmla="*/ 0 h 54"/>
                  <a:gd name="T22" fmla="*/ 31 w 36"/>
                  <a:gd name="T23" fmla="*/ 7 h 54"/>
                  <a:gd name="T24" fmla="*/ 35 w 36"/>
                  <a:gd name="T25" fmla="*/ 28 h 54"/>
                  <a:gd name="T26" fmla="*/ 28 w 36"/>
                  <a:gd name="T27" fmla="*/ 49 h 54"/>
                  <a:gd name="T28" fmla="*/ 14 w 36"/>
                  <a:gd name="T29" fmla="*/ 54 h 54"/>
                  <a:gd name="T30" fmla="*/ 4 w 36"/>
                  <a:gd name="T31" fmla="*/ 50 h 54"/>
                  <a:gd name="T32" fmla="*/ 0 w 36"/>
                  <a:gd name="T33" fmla="*/ 40 h 54"/>
                  <a:gd name="T34" fmla="*/ 24 w 36"/>
                  <a:gd name="T35" fmla="*/ 19 h 54"/>
                  <a:gd name="T36" fmla="*/ 23 w 36"/>
                  <a:gd name="T37" fmla="*/ 11 h 54"/>
                  <a:gd name="T38" fmla="*/ 18 w 36"/>
                  <a:gd name="T39" fmla="*/ 8 h 54"/>
                  <a:gd name="T40" fmla="*/ 13 w 36"/>
                  <a:gd name="T41" fmla="*/ 10 h 54"/>
                  <a:gd name="T42" fmla="*/ 10 w 36"/>
                  <a:gd name="T43" fmla="*/ 17 h 54"/>
                  <a:gd name="T44" fmla="*/ 12 w 36"/>
                  <a:gd name="T45" fmla="*/ 25 h 54"/>
                  <a:gd name="T46" fmla="*/ 17 w 36"/>
                  <a:gd name="T47" fmla="*/ 28 h 54"/>
                  <a:gd name="T48" fmla="*/ 22 w 36"/>
                  <a:gd name="T49" fmla="*/ 26 h 54"/>
                  <a:gd name="T50" fmla="*/ 24 w 36"/>
                  <a:gd name="T51" fmla="*/ 19 h 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6" h="54">
                    <a:moveTo>
                      <a:pt x="0" y="40"/>
                    </a:moveTo>
                    <a:cubicBezTo>
                      <a:pt x="10" y="39"/>
                      <a:pt x="10" y="39"/>
                      <a:pt x="10" y="39"/>
                    </a:cubicBezTo>
                    <a:cubicBezTo>
                      <a:pt x="10" y="41"/>
                      <a:pt x="10" y="43"/>
                      <a:pt x="11" y="44"/>
                    </a:cubicBezTo>
                    <a:cubicBezTo>
                      <a:pt x="12" y="45"/>
                      <a:pt x="14" y="46"/>
                      <a:pt x="15" y="46"/>
                    </a:cubicBezTo>
                    <a:cubicBezTo>
                      <a:pt x="17" y="46"/>
                      <a:pt x="19" y="45"/>
                      <a:pt x="21" y="43"/>
                    </a:cubicBezTo>
                    <a:cubicBezTo>
                      <a:pt x="22" y="41"/>
                      <a:pt x="24" y="37"/>
                      <a:pt x="24" y="31"/>
                    </a:cubicBezTo>
                    <a:cubicBezTo>
                      <a:pt x="22" y="34"/>
                      <a:pt x="18" y="35"/>
                      <a:pt x="15" y="35"/>
                    </a:cubicBezTo>
                    <a:cubicBezTo>
                      <a:pt x="10" y="35"/>
                      <a:pt x="7" y="33"/>
                      <a:pt x="4" y="30"/>
                    </a:cubicBezTo>
                    <a:cubicBezTo>
                      <a:pt x="1" y="26"/>
                      <a:pt x="0" y="22"/>
                      <a:pt x="0" y="17"/>
                    </a:cubicBezTo>
                    <a:cubicBezTo>
                      <a:pt x="1" y="11"/>
                      <a:pt x="3" y="7"/>
                      <a:pt x="6" y="4"/>
                    </a:cubicBezTo>
                    <a:cubicBezTo>
                      <a:pt x="10" y="1"/>
                      <a:pt x="14" y="0"/>
                      <a:pt x="19" y="0"/>
                    </a:cubicBezTo>
                    <a:cubicBezTo>
                      <a:pt x="24" y="0"/>
                      <a:pt x="28" y="3"/>
                      <a:pt x="31" y="7"/>
                    </a:cubicBezTo>
                    <a:cubicBezTo>
                      <a:pt x="35" y="12"/>
                      <a:pt x="36" y="19"/>
                      <a:pt x="35" y="28"/>
                    </a:cubicBezTo>
                    <a:cubicBezTo>
                      <a:pt x="34" y="38"/>
                      <a:pt x="32" y="44"/>
                      <a:pt x="28" y="49"/>
                    </a:cubicBezTo>
                    <a:cubicBezTo>
                      <a:pt x="24" y="53"/>
                      <a:pt x="20" y="54"/>
                      <a:pt x="14" y="54"/>
                    </a:cubicBezTo>
                    <a:cubicBezTo>
                      <a:pt x="10" y="54"/>
                      <a:pt x="7" y="52"/>
                      <a:pt x="4" y="50"/>
                    </a:cubicBezTo>
                    <a:cubicBezTo>
                      <a:pt x="2" y="48"/>
                      <a:pt x="0" y="44"/>
                      <a:pt x="0" y="40"/>
                    </a:cubicBezTo>
                    <a:close/>
                    <a:moveTo>
                      <a:pt x="24" y="19"/>
                    </a:moveTo>
                    <a:cubicBezTo>
                      <a:pt x="25" y="16"/>
                      <a:pt x="24" y="13"/>
                      <a:pt x="23" y="11"/>
                    </a:cubicBezTo>
                    <a:cubicBezTo>
                      <a:pt x="21" y="10"/>
                      <a:pt x="20" y="9"/>
                      <a:pt x="18" y="8"/>
                    </a:cubicBezTo>
                    <a:cubicBezTo>
                      <a:pt x="16" y="8"/>
                      <a:pt x="14" y="9"/>
                      <a:pt x="13" y="10"/>
                    </a:cubicBezTo>
                    <a:cubicBezTo>
                      <a:pt x="11" y="12"/>
                      <a:pt x="11" y="14"/>
                      <a:pt x="10" y="17"/>
                    </a:cubicBezTo>
                    <a:cubicBezTo>
                      <a:pt x="10" y="21"/>
                      <a:pt x="11" y="23"/>
                      <a:pt x="12" y="25"/>
                    </a:cubicBezTo>
                    <a:cubicBezTo>
                      <a:pt x="13" y="27"/>
                      <a:pt x="15" y="28"/>
                      <a:pt x="17" y="28"/>
                    </a:cubicBezTo>
                    <a:cubicBezTo>
                      <a:pt x="19" y="28"/>
                      <a:pt x="20" y="27"/>
                      <a:pt x="22" y="26"/>
                    </a:cubicBezTo>
                    <a:cubicBezTo>
                      <a:pt x="23" y="24"/>
                      <a:pt x="24" y="22"/>
                      <a:pt x="24" y="1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83" name="îṧľîḋé"/>
              <p:cNvSpPr/>
              <p:nvPr/>
            </p:nvSpPr>
            <p:spPr bwMode="auto">
              <a:xfrm>
                <a:off x="2446234" y="6053728"/>
                <a:ext cx="66675" cy="100013"/>
              </a:xfrm>
              <a:custGeom>
                <a:avLst/>
                <a:gdLst>
                  <a:gd name="T0" fmla="*/ 0 w 36"/>
                  <a:gd name="T1" fmla="*/ 40 h 54"/>
                  <a:gd name="T2" fmla="*/ 10 w 36"/>
                  <a:gd name="T3" fmla="*/ 39 h 54"/>
                  <a:gd name="T4" fmla="*/ 13 w 36"/>
                  <a:gd name="T5" fmla="*/ 44 h 54"/>
                  <a:gd name="T6" fmla="*/ 18 w 36"/>
                  <a:gd name="T7" fmla="*/ 46 h 54"/>
                  <a:gd name="T8" fmla="*/ 23 w 36"/>
                  <a:gd name="T9" fmla="*/ 43 h 54"/>
                  <a:gd name="T10" fmla="*/ 25 w 36"/>
                  <a:gd name="T11" fmla="*/ 35 h 54"/>
                  <a:gd name="T12" fmla="*/ 23 w 36"/>
                  <a:gd name="T13" fmla="*/ 28 h 54"/>
                  <a:gd name="T14" fmla="*/ 17 w 36"/>
                  <a:gd name="T15" fmla="*/ 26 h 54"/>
                  <a:gd name="T16" fmla="*/ 9 w 36"/>
                  <a:gd name="T17" fmla="*/ 30 h 54"/>
                  <a:gd name="T18" fmla="*/ 1 w 36"/>
                  <a:gd name="T19" fmla="*/ 29 h 54"/>
                  <a:gd name="T20" fmla="*/ 5 w 36"/>
                  <a:gd name="T21" fmla="*/ 1 h 54"/>
                  <a:gd name="T22" fmla="*/ 32 w 36"/>
                  <a:gd name="T23" fmla="*/ 0 h 54"/>
                  <a:gd name="T24" fmla="*/ 32 w 36"/>
                  <a:gd name="T25" fmla="*/ 10 h 54"/>
                  <a:gd name="T26" fmla="*/ 13 w 36"/>
                  <a:gd name="T27" fmla="*/ 10 h 54"/>
                  <a:gd name="T28" fmla="*/ 12 w 36"/>
                  <a:gd name="T29" fmla="*/ 19 h 54"/>
                  <a:gd name="T30" fmla="*/ 19 w 36"/>
                  <a:gd name="T31" fmla="*/ 17 h 54"/>
                  <a:gd name="T32" fmla="*/ 30 w 36"/>
                  <a:gd name="T33" fmla="*/ 22 h 54"/>
                  <a:gd name="T34" fmla="*/ 36 w 36"/>
                  <a:gd name="T35" fmla="*/ 34 h 54"/>
                  <a:gd name="T36" fmla="*/ 32 w 36"/>
                  <a:gd name="T37" fmla="*/ 46 h 54"/>
                  <a:gd name="T38" fmla="*/ 18 w 36"/>
                  <a:gd name="T39" fmla="*/ 54 h 54"/>
                  <a:gd name="T40" fmla="*/ 6 w 36"/>
                  <a:gd name="T41" fmla="*/ 50 h 54"/>
                  <a:gd name="T42" fmla="*/ 0 w 36"/>
                  <a:gd name="T43" fmla="*/ 40 h 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36" h="54">
                    <a:moveTo>
                      <a:pt x="0" y="40"/>
                    </a:moveTo>
                    <a:cubicBezTo>
                      <a:pt x="10" y="39"/>
                      <a:pt x="10" y="39"/>
                      <a:pt x="10" y="39"/>
                    </a:cubicBezTo>
                    <a:cubicBezTo>
                      <a:pt x="11" y="41"/>
                      <a:pt x="11" y="43"/>
                      <a:pt x="13" y="44"/>
                    </a:cubicBezTo>
                    <a:cubicBezTo>
                      <a:pt x="14" y="45"/>
                      <a:pt x="16" y="46"/>
                      <a:pt x="18" y="46"/>
                    </a:cubicBezTo>
                    <a:cubicBezTo>
                      <a:pt x="20" y="46"/>
                      <a:pt x="22" y="45"/>
                      <a:pt x="23" y="43"/>
                    </a:cubicBezTo>
                    <a:cubicBezTo>
                      <a:pt x="25" y="41"/>
                      <a:pt x="25" y="38"/>
                      <a:pt x="25" y="35"/>
                    </a:cubicBezTo>
                    <a:cubicBezTo>
                      <a:pt x="25" y="32"/>
                      <a:pt x="24" y="29"/>
                      <a:pt x="23" y="28"/>
                    </a:cubicBezTo>
                    <a:cubicBezTo>
                      <a:pt x="21" y="26"/>
                      <a:pt x="19" y="25"/>
                      <a:pt x="17" y="26"/>
                    </a:cubicBezTo>
                    <a:cubicBezTo>
                      <a:pt x="14" y="26"/>
                      <a:pt x="11" y="27"/>
                      <a:pt x="9" y="30"/>
                    </a:cubicBezTo>
                    <a:cubicBezTo>
                      <a:pt x="1" y="29"/>
                      <a:pt x="1" y="29"/>
                      <a:pt x="1" y="29"/>
                    </a:cubicBezTo>
                    <a:cubicBezTo>
                      <a:pt x="5" y="1"/>
                      <a:pt x="5" y="1"/>
                      <a:pt x="5" y="1"/>
                    </a:cubicBezTo>
                    <a:cubicBezTo>
                      <a:pt x="32" y="0"/>
                      <a:pt x="32" y="0"/>
                      <a:pt x="32" y="0"/>
                    </a:cubicBezTo>
                    <a:cubicBezTo>
                      <a:pt x="32" y="10"/>
                      <a:pt x="32" y="10"/>
                      <a:pt x="32" y="10"/>
                    </a:cubicBezTo>
                    <a:cubicBezTo>
                      <a:pt x="13" y="10"/>
                      <a:pt x="13" y="10"/>
                      <a:pt x="13" y="10"/>
                    </a:cubicBezTo>
                    <a:cubicBezTo>
                      <a:pt x="12" y="19"/>
                      <a:pt x="12" y="19"/>
                      <a:pt x="12" y="19"/>
                    </a:cubicBezTo>
                    <a:cubicBezTo>
                      <a:pt x="14" y="18"/>
                      <a:pt x="16" y="17"/>
                      <a:pt x="19" y="17"/>
                    </a:cubicBezTo>
                    <a:cubicBezTo>
                      <a:pt x="23" y="17"/>
                      <a:pt x="27" y="19"/>
                      <a:pt x="30" y="22"/>
                    </a:cubicBezTo>
                    <a:cubicBezTo>
                      <a:pt x="34" y="25"/>
                      <a:pt x="35" y="29"/>
                      <a:pt x="36" y="34"/>
                    </a:cubicBezTo>
                    <a:cubicBezTo>
                      <a:pt x="36" y="39"/>
                      <a:pt x="35" y="43"/>
                      <a:pt x="32" y="46"/>
                    </a:cubicBezTo>
                    <a:cubicBezTo>
                      <a:pt x="29" y="51"/>
                      <a:pt x="24" y="54"/>
                      <a:pt x="18" y="54"/>
                    </a:cubicBezTo>
                    <a:cubicBezTo>
                      <a:pt x="13" y="54"/>
                      <a:pt x="9" y="53"/>
                      <a:pt x="6" y="50"/>
                    </a:cubicBezTo>
                    <a:cubicBezTo>
                      <a:pt x="3" y="48"/>
                      <a:pt x="1" y="44"/>
                      <a:pt x="0" y="4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84" name="i$ḻïḑê"/>
              <p:cNvSpPr/>
              <p:nvPr/>
            </p:nvSpPr>
            <p:spPr bwMode="auto">
              <a:xfrm>
                <a:off x="2522434" y="6045790"/>
                <a:ext cx="74613" cy="103188"/>
              </a:xfrm>
              <a:custGeom>
                <a:avLst/>
                <a:gdLst>
                  <a:gd name="T0" fmla="*/ 39 w 40"/>
                  <a:gd name="T1" fmla="*/ 42 h 56"/>
                  <a:gd name="T2" fmla="*/ 40 w 40"/>
                  <a:gd name="T3" fmla="*/ 51 h 56"/>
                  <a:gd name="T4" fmla="*/ 5 w 40"/>
                  <a:gd name="T5" fmla="*/ 56 h 56"/>
                  <a:gd name="T6" fmla="*/ 7 w 40"/>
                  <a:gd name="T7" fmla="*/ 46 h 56"/>
                  <a:gd name="T8" fmla="*/ 16 w 40"/>
                  <a:gd name="T9" fmla="*/ 32 h 56"/>
                  <a:gd name="T10" fmla="*/ 23 w 40"/>
                  <a:gd name="T11" fmla="*/ 22 h 56"/>
                  <a:gd name="T12" fmla="*/ 24 w 40"/>
                  <a:gd name="T13" fmla="*/ 15 h 56"/>
                  <a:gd name="T14" fmla="*/ 22 w 40"/>
                  <a:gd name="T15" fmla="*/ 10 h 56"/>
                  <a:gd name="T16" fmla="*/ 17 w 40"/>
                  <a:gd name="T17" fmla="*/ 9 h 56"/>
                  <a:gd name="T18" fmla="*/ 12 w 40"/>
                  <a:gd name="T19" fmla="*/ 12 h 56"/>
                  <a:gd name="T20" fmla="*/ 11 w 40"/>
                  <a:gd name="T21" fmla="*/ 19 h 56"/>
                  <a:gd name="T22" fmla="*/ 1 w 40"/>
                  <a:gd name="T23" fmla="*/ 19 h 56"/>
                  <a:gd name="T24" fmla="*/ 4 w 40"/>
                  <a:gd name="T25" fmla="*/ 6 h 56"/>
                  <a:gd name="T26" fmla="*/ 16 w 40"/>
                  <a:gd name="T27" fmla="*/ 1 h 56"/>
                  <a:gd name="T28" fmla="*/ 28 w 40"/>
                  <a:gd name="T29" fmla="*/ 3 h 56"/>
                  <a:gd name="T30" fmla="*/ 34 w 40"/>
                  <a:gd name="T31" fmla="*/ 13 h 56"/>
                  <a:gd name="T32" fmla="*/ 34 w 40"/>
                  <a:gd name="T33" fmla="*/ 20 h 56"/>
                  <a:gd name="T34" fmla="*/ 31 w 40"/>
                  <a:gd name="T35" fmla="*/ 27 h 56"/>
                  <a:gd name="T36" fmla="*/ 26 w 40"/>
                  <a:gd name="T37" fmla="*/ 35 h 56"/>
                  <a:gd name="T38" fmla="*/ 20 w 40"/>
                  <a:gd name="T39" fmla="*/ 42 h 56"/>
                  <a:gd name="T40" fmla="*/ 19 w 40"/>
                  <a:gd name="T41" fmla="*/ 45 h 56"/>
                  <a:gd name="T42" fmla="*/ 39 w 40"/>
                  <a:gd name="T43" fmla="*/ 42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40" h="56">
                    <a:moveTo>
                      <a:pt x="39" y="42"/>
                    </a:moveTo>
                    <a:cubicBezTo>
                      <a:pt x="40" y="51"/>
                      <a:pt x="40" y="51"/>
                      <a:pt x="40" y="51"/>
                    </a:cubicBezTo>
                    <a:cubicBezTo>
                      <a:pt x="5" y="56"/>
                      <a:pt x="5" y="56"/>
                      <a:pt x="5" y="56"/>
                    </a:cubicBezTo>
                    <a:cubicBezTo>
                      <a:pt x="5" y="53"/>
                      <a:pt x="5" y="49"/>
                      <a:pt x="7" y="46"/>
                    </a:cubicBezTo>
                    <a:cubicBezTo>
                      <a:pt x="8" y="42"/>
                      <a:pt x="11" y="38"/>
                      <a:pt x="16" y="32"/>
                    </a:cubicBezTo>
                    <a:cubicBezTo>
                      <a:pt x="20" y="27"/>
                      <a:pt x="22" y="23"/>
                      <a:pt x="23" y="22"/>
                    </a:cubicBezTo>
                    <a:cubicBezTo>
                      <a:pt x="24" y="19"/>
                      <a:pt x="25" y="17"/>
                      <a:pt x="24" y="15"/>
                    </a:cubicBezTo>
                    <a:cubicBezTo>
                      <a:pt x="24" y="13"/>
                      <a:pt x="23" y="11"/>
                      <a:pt x="22" y="10"/>
                    </a:cubicBezTo>
                    <a:cubicBezTo>
                      <a:pt x="21" y="9"/>
                      <a:pt x="19" y="9"/>
                      <a:pt x="17" y="9"/>
                    </a:cubicBezTo>
                    <a:cubicBezTo>
                      <a:pt x="15" y="10"/>
                      <a:pt x="13" y="11"/>
                      <a:pt x="12" y="12"/>
                    </a:cubicBezTo>
                    <a:cubicBezTo>
                      <a:pt x="11" y="13"/>
                      <a:pt x="10" y="16"/>
                      <a:pt x="11" y="19"/>
                    </a:cubicBezTo>
                    <a:cubicBezTo>
                      <a:pt x="1" y="19"/>
                      <a:pt x="1" y="19"/>
                      <a:pt x="1" y="19"/>
                    </a:cubicBezTo>
                    <a:cubicBezTo>
                      <a:pt x="0" y="13"/>
                      <a:pt x="2" y="9"/>
                      <a:pt x="4" y="6"/>
                    </a:cubicBezTo>
                    <a:cubicBezTo>
                      <a:pt x="7" y="3"/>
                      <a:pt x="11" y="2"/>
                      <a:pt x="16" y="1"/>
                    </a:cubicBezTo>
                    <a:cubicBezTo>
                      <a:pt x="21" y="0"/>
                      <a:pt x="25" y="1"/>
                      <a:pt x="28" y="3"/>
                    </a:cubicBezTo>
                    <a:cubicBezTo>
                      <a:pt x="32" y="6"/>
                      <a:pt x="34" y="9"/>
                      <a:pt x="34" y="13"/>
                    </a:cubicBezTo>
                    <a:cubicBezTo>
                      <a:pt x="35" y="15"/>
                      <a:pt x="35" y="18"/>
                      <a:pt x="34" y="20"/>
                    </a:cubicBezTo>
                    <a:cubicBezTo>
                      <a:pt x="34" y="22"/>
                      <a:pt x="33" y="25"/>
                      <a:pt x="31" y="27"/>
                    </a:cubicBezTo>
                    <a:cubicBezTo>
                      <a:pt x="30" y="29"/>
                      <a:pt x="28" y="32"/>
                      <a:pt x="26" y="35"/>
                    </a:cubicBezTo>
                    <a:cubicBezTo>
                      <a:pt x="23" y="38"/>
                      <a:pt x="21" y="41"/>
                      <a:pt x="20" y="42"/>
                    </a:cubicBezTo>
                    <a:cubicBezTo>
                      <a:pt x="20" y="43"/>
                      <a:pt x="19" y="44"/>
                      <a:pt x="19" y="45"/>
                    </a:cubicBezTo>
                    <a:lnTo>
                      <a:pt x="39" y="4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85" name="íṧlíḍe"/>
              <p:cNvSpPr/>
              <p:nvPr/>
            </p:nvSpPr>
            <p:spPr bwMode="auto">
              <a:xfrm>
                <a:off x="2611334" y="6072778"/>
                <a:ext cx="22225" cy="23813"/>
              </a:xfrm>
              <a:custGeom>
                <a:avLst/>
                <a:gdLst>
                  <a:gd name="T0" fmla="*/ 3 w 14"/>
                  <a:gd name="T1" fmla="*/ 15 h 15"/>
                  <a:gd name="T2" fmla="*/ 0 w 14"/>
                  <a:gd name="T3" fmla="*/ 3 h 15"/>
                  <a:gd name="T4" fmla="*/ 11 w 14"/>
                  <a:gd name="T5" fmla="*/ 0 h 15"/>
                  <a:gd name="T6" fmla="*/ 14 w 14"/>
                  <a:gd name="T7" fmla="*/ 12 h 15"/>
                  <a:gd name="T8" fmla="*/ 3 w 14"/>
                  <a:gd name="T9" fmla="*/ 15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4" h="15">
                    <a:moveTo>
                      <a:pt x="3" y="15"/>
                    </a:moveTo>
                    <a:lnTo>
                      <a:pt x="0" y="3"/>
                    </a:lnTo>
                    <a:lnTo>
                      <a:pt x="11" y="0"/>
                    </a:lnTo>
                    <a:lnTo>
                      <a:pt x="14" y="12"/>
                    </a:lnTo>
                    <a:lnTo>
                      <a:pt x="3" y="1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86" name="îŝľîḓê"/>
              <p:cNvSpPr/>
              <p:nvPr/>
            </p:nvSpPr>
            <p:spPr bwMode="auto">
              <a:xfrm>
                <a:off x="2108097" y="5261565"/>
                <a:ext cx="141288" cy="257175"/>
              </a:xfrm>
              <a:custGeom>
                <a:avLst/>
                <a:gdLst>
                  <a:gd name="T0" fmla="*/ 12 w 77"/>
                  <a:gd name="T1" fmla="*/ 25 h 139"/>
                  <a:gd name="T2" fmla="*/ 9 w 77"/>
                  <a:gd name="T3" fmla="*/ 21 h 139"/>
                  <a:gd name="T4" fmla="*/ 12 w 77"/>
                  <a:gd name="T5" fmla="*/ 17 h 139"/>
                  <a:gd name="T6" fmla="*/ 39 w 77"/>
                  <a:gd name="T7" fmla="*/ 21 h 139"/>
                  <a:gd name="T8" fmla="*/ 46 w 77"/>
                  <a:gd name="T9" fmla="*/ 36 h 139"/>
                  <a:gd name="T10" fmla="*/ 46 w 77"/>
                  <a:gd name="T11" fmla="*/ 39 h 139"/>
                  <a:gd name="T12" fmla="*/ 61 w 77"/>
                  <a:gd name="T13" fmla="*/ 33 h 139"/>
                  <a:gd name="T14" fmla="*/ 57 w 77"/>
                  <a:gd name="T15" fmla="*/ 16 h 139"/>
                  <a:gd name="T16" fmla="*/ 35 w 77"/>
                  <a:gd name="T17" fmla="*/ 9 h 139"/>
                  <a:gd name="T18" fmla="*/ 27 w 77"/>
                  <a:gd name="T19" fmla="*/ 3 h 139"/>
                  <a:gd name="T20" fmla="*/ 32 w 77"/>
                  <a:gd name="T21" fmla="*/ 0 h 139"/>
                  <a:gd name="T22" fmla="*/ 61 w 77"/>
                  <a:gd name="T23" fmla="*/ 9 h 139"/>
                  <a:gd name="T24" fmla="*/ 72 w 77"/>
                  <a:gd name="T25" fmla="*/ 30 h 139"/>
                  <a:gd name="T26" fmla="*/ 48 w 77"/>
                  <a:gd name="T27" fmla="*/ 45 h 139"/>
                  <a:gd name="T28" fmla="*/ 45 w 77"/>
                  <a:gd name="T29" fmla="*/ 46 h 139"/>
                  <a:gd name="T30" fmla="*/ 45 w 77"/>
                  <a:gd name="T31" fmla="*/ 54 h 139"/>
                  <a:gd name="T32" fmla="*/ 59 w 77"/>
                  <a:gd name="T33" fmla="*/ 61 h 139"/>
                  <a:gd name="T34" fmla="*/ 77 w 77"/>
                  <a:gd name="T35" fmla="*/ 80 h 139"/>
                  <a:gd name="T36" fmla="*/ 75 w 77"/>
                  <a:gd name="T37" fmla="*/ 84 h 139"/>
                  <a:gd name="T38" fmla="*/ 71 w 77"/>
                  <a:gd name="T39" fmla="*/ 83 h 139"/>
                  <a:gd name="T40" fmla="*/ 59 w 77"/>
                  <a:gd name="T41" fmla="*/ 70 h 139"/>
                  <a:gd name="T42" fmla="*/ 45 w 77"/>
                  <a:gd name="T43" fmla="*/ 63 h 139"/>
                  <a:gd name="T44" fmla="*/ 45 w 77"/>
                  <a:gd name="T45" fmla="*/ 77 h 139"/>
                  <a:gd name="T46" fmla="*/ 53 w 77"/>
                  <a:gd name="T47" fmla="*/ 83 h 139"/>
                  <a:gd name="T48" fmla="*/ 66 w 77"/>
                  <a:gd name="T49" fmla="*/ 102 h 139"/>
                  <a:gd name="T50" fmla="*/ 72 w 77"/>
                  <a:gd name="T51" fmla="*/ 121 h 139"/>
                  <a:gd name="T52" fmla="*/ 70 w 77"/>
                  <a:gd name="T53" fmla="*/ 124 h 139"/>
                  <a:gd name="T54" fmla="*/ 67 w 77"/>
                  <a:gd name="T55" fmla="*/ 122 h 139"/>
                  <a:gd name="T56" fmla="*/ 64 w 77"/>
                  <a:gd name="T57" fmla="*/ 115 h 139"/>
                  <a:gd name="T58" fmla="*/ 55 w 77"/>
                  <a:gd name="T59" fmla="*/ 97 h 139"/>
                  <a:gd name="T60" fmla="*/ 45 w 77"/>
                  <a:gd name="T61" fmla="*/ 87 h 139"/>
                  <a:gd name="T62" fmla="*/ 45 w 77"/>
                  <a:gd name="T63" fmla="*/ 102 h 139"/>
                  <a:gd name="T64" fmla="*/ 44 w 77"/>
                  <a:gd name="T65" fmla="*/ 136 h 139"/>
                  <a:gd name="T66" fmla="*/ 41 w 77"/>
                  <a:gd name="T67" fmla="*/ 139 h 139"/>
                  <a:gd name="T68" fmla="*/ 38 w 77"/>
                  <a:gd name="T69" fmla="*/ 137 h 139"/>
                  <a:gd name="T70" fmla="*/ 37 w 77"/>
                  <a:gd name="T71" fmla="*/ 103 h 139"/>
                  <a:gd name="T72" fmla="*/ 37 w 77"/>
                  <a:gd name="T73" fmla="*/ 86 h 139"/>
                  <a:gd name="T74" fmla="*/ 28 w 77"/>
                  <a:gd name="T75" fmla="*/ 92 h 139"/>
                  <a:gd name="T76" fmla="*/ 19 w 77"/>
                  <a:gd name="T77" fmla="*/ 109 h 139"/>
                  <a:gd name="T78" fmla="*/ 12 w 77"/>
                  <a:gd name="T79" fmla="*/ 121 h 139"/>
                  <a:gd name="T80" fmla="*/ 8 w 77"/>
                  <a:gd name="T81" fmla="*/ 122 h 139"/>
                  <a:gd name="T82" fmla="*/ 7 w 77"/>
                  <a:gd name="T83" fmla="*/ 120 h 139"/>
                  <a:gd name="T84" fmla="*/ 8 w 77"/>
                  <a:gd name="T85" fmla="*/ 117 h 139"/>
                  <a:gd name="T86" fmla="*/ 11 w 77"/>
                  <a:gd name="T87" fmla="*/ 106 h 139"/>
                  <a:gd name="T88" fmla="*/ 22 w 77"/>
                  <a:gd name="T89" fmla="*/ 86 h 139"/>
                  <a:gd name="T90" fmla="*/ 37 w 77"/>
                  <a:gd name="T91" fmla="*/ 76 h 139"/>
                  <a:gd name="T92" fmla="*/ 37 w 77"/>
                  <a:gd name="T93" fmla="*/ 68 h 139"/>
                  <a:gd name="T94" fmla="*/ 37 w 77"/>
                  <a:gd name="T95" fmla="*/ 63 h 139"/>
                  <a:gd name="T96" fmla="*/ 24 w 77"/>
                  <a:gd name="T97" fmla="*/ 69 h 139"/>
                  <a:gd name="T98" fmla="*/ 16 w 77"/>
                  <a:gd name="T99" fmla="*/ 77 h 139"/>
                  <a:gd name="T100" fmla="*/ 9 w 77"/>
                  <a:gd name="T101" fmla="*/ 85 h 139"/>
                  <a:gd name="T102" fmla="*/ 6 w 77"/>
                  <a:gd name="T103" fmla="*/ 86 h 139"/>
                  <a:gd name="T104" fmla="*/ 5 w 77"/>
                  <a:gd name="T105" fmla="*/ 82 h 139"/>
                  <a:gd name="T106" fmla="*/ 22 w 77"/>
                  <a:gd name="T107" fmla="*/ 60 h 139"/>
                  <a:gd name="T108" fmla="*/ 37 w 77"/>
                  <a:gd name="T109" fmla="*/ 54 h 139"/>
                  <a:gd name="T110" fmla="*/ 37 w 77"/>
                  <a:gd name="T111" fmla="*/ 47 h 139"/>
                  <a:gd name="T112" fmla="*/ 3 w 77"/>
                  <a:gd name="T113" fmla="*/ 45 h 139"/>
                  <a:gd name="T114" fmla="*/ 0 w 77"/>
                  <a:gd name="T115" fmla="*/ 40 h 139"/>
                  <a:gd name="T116" fmla="*/ 5 w 77"/>
                  <a:gd name="T117" fmla="*/ 38 h 139"/>
                  <a:gd name="T118" fmla="*/ 37 w 77"/>
                  <a:gd name="T119" fmla="*/ 39 h 139"/>
                  <a:gd name="T120" fmla="*/ 37 w 77"/>
                  <a:gd name="T121" fmla="*/ 39 h 139"/>
                  <a:gd name="T122" fmla="*/ 33 w 77"/>
                  <a:gd name="T123" fmla="*/ 28 h 139"/>
                  <a:gd name="T124" fmla="*/ 12 w 77"/>
                  <a:gd name="T125" fmla="*/ 25 h 1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77" h="139">
                    <a:moveTo>
                      <a:pt x="12" y="25"/>
                    </a:moveTo>
                    <a:cubicBezTo>
                      <a:pt x="10" y="25"/>
                      <a:pt x="9" y="24"/>
                      <a:pt x="9" y="21"/>
                    </a:cubicBezTo>
                    <a:cubicBezTo>
                      <a:pt x="9" y="18"/>
                      <a:pt x="10" y="17"/>
                      <a:pt x="12" y="17"/>
                    </a:cubicBezTo>
                    <a:cubicBezTo>
                      <a:pt x="24" y="17"/>
                      <a:pt x="33" y="18"/>
                      <a:pt x="39" y="21"/>
                    </a:cubicBezTo>
                    <a:cubicBezTo>
                      <a:pt x="45" y="24"/>
                      <a:pt x="47" y="28"/>
                      <a:pt x="46" y="36"/>
                    </a:cubicBezTo>
                    <a:cubicBezTo>
                      <a:pt x="46" y="37"/>
                      <a:pt x="46" y="38"/>
                      <a:pt x="46" y="39"/>
                    </a:cubicBezTo>
                    <a:cubicBezTo>
                      <a:pt x="53" y="38"/>
                      <a:pt x="58" y="35"/>
                      <a:pt x="61" y="33"/>
                    </a:cubicBezTo>
                    <a:cubicBezTo>
                      <a:pt x="65" y="27"/>
                      <a:pt x="64" y="22"/>
                      <a:pt x="57" y="16"/>
                    </a:cubicBezTo>
                    <a:cubicBezTo>
                      <a:pt x="52" y="12"/>
                      <a:pt x="44" y="9"/>
                      <a:pt x="35" y="9"/>
                    </a:cubicBezTo>
                    <a:cubicBezTo>
                      <a:pt x="30" y="8"/>
                      <a:pt x="28" y="6"/>
                      <a:pt x="27" y="3"/>
                    </a:cubicBezTo>
                    <a:cubicBezTo>
                      <a:pt x="27" y="1"/>
                      <a:pt x="29" y="0"/>
                      <a:pt x="32" y="0"/>
                    </a:cubicBezTo>
                    <a:cubicBezTo>
                      <a:pt x="44" y="0"/>
                      <a:pt x="53" y="3"/>
                      <a:pt x="61" y="9"/>
                    </a:cubicBezTo>
                    <a:cubicBezTo>
                      <a:pt x="69" y="16"/>
                      <a:pt x="73" y="23"/>
                      <a:pt x="72" y="30"/>
                    </a:cubicBezTo>
                    <a:cubicBezTo>
                      <a:pt x="68" y="37"/>
                      <a:pt x="60" y="43"/>
                      <a:pt x="48" y="45"/>
                    </a:cubicBezTo>
                    <a:cubicBezTo>
                      <a:pt x="47" y="46"/>
                      <a:pt x="46" y="46"/>
                      <a:pt x="45" y="46"/>
                    </a:cubicBezTo>
                    <a:cubicBezTo>
                      <a:pt x="45" y="48"/>
                      <a:pt x="45" y="51"/>
                      <a:pt x="45" y="54"/>
                    </a:cubicBezTo>
                    <a:cubicBezTo>
                      <a:pt x="49" y="54"/>
                      <a:pt x="54" y="57"/>
                      <a:pt x="59" y="61"/>
                    </a:cubicBezTo>
                    <a:cubicBezTo>
                      <a:pt x="66" y="66"/>
                      <a:pt x="72" y="72"/>
                      <a:pt x="77" y="80"/>
                    </a:cubicBezTo>
                    <a:cubicBezTo>
                      <a:pt x="77" y="82"/>
                      <a:pt x="77" y="83"/>
                      <a:pt x="75" y="84"/>
                    </a:cubicBezTo>
                    <a:cubicBezTo>
                      <a:pt x="74" y="85"/>
                      <a:pt x="72" y="85"/>
                      <a:pt x="71" y="83"/>
                    </a:cubicBezTo>
                    <a:cubicBezTo>
                      <a:pt x="69" y="80"/>
                      <a:pt x="65" y="76"/>
                      <a:pt x="59" y="70"/>
                    </a:cubicBezTo>
                    <a:cubicBezTo>
                      <a:pt x="54" y="66"/>
                      <a:pt x="49" y="64"/>
                      <a:pt x="45" y="63"/>
                    </a:cubicBezTo>
                    <a:cubicBezTo>
                      <a:pt x="45" y="77"/>
                      <a:pt x="45" y="77"/>
                      <a:pt x="45" y="77"/>
                    </a:cubicBezTo>
                    <a:cubicBezTo>
                      <a:pt x="48" y="78"/>
                      <a:pt x="51" y="80"/>
                      <a:pt x="53" y="83"/>
                    </a:cubicBezTo>
                    <a:cubicBezTo>
                      <a:pt x="59" y="88"/>
                      <a:pt x="63" y="94"/>
                      <a:pt x="66" y="102"/>
                    </a:cubicBezTo>
                    <a:cubicBezTo>
                      <a:pt x="71" y="109"/>
                      <a:pt x="73" y="116"/>
                      <a:pt x="72" y="121"/>
                    </a:cubicBezTo>
                    <a:cubicBezTo>
                      <a:pt x="72" y="122"/>
                      <a:pt x="72" y="123"/>
                      <a:pt x="70" y="124"/>
                    </a:cubicBezTo>
                    <a:cubicBezTo>
                      <a:pt x="69" y="124"/>
                      <a:pt x="68" y="124"/>
                      <a:pt x="67" y="122"/>
                    </a:cubicBezTo>
                    <a:cubicBezTo>
                      <a:pt x="67" y="121"/>
                      <a:pt x="66" y="118"/>
                      <a:pt x="64" y="115"/>
                    </a:cubicBezTo>
                    <a:cubicBezTo>
                      <a:pt x="60" y="107"/>
                      <a:pt x="57" y="102"/>
                      <a:pt x="55" y="97"/>
                    </a:cubicBezTo>
                    <a:cubicBezTo>
                      <a:pt x="51" y="91"/>
                      <a:pt x="48" y="88"/>
                      <a:pt x="45" y="87"/>
                    </a:cubicBezTo>
                    <a:cubicBezTo>
                      <a:pt x="45" y="102"/>
                      <a:pt x="45" y="102"/>
                      <a:pt x="45" y="102"/>
                    </a:cubicBezTo>
                    <a:cubicBezTo>
                      <a:pt x="45" y="117"/>
                      <a:pt x="45" y="128"/>
                      <a:pt x="44" y="136"/>
                    </a:cubicBezTo>
                    <a:cubicBezTo>
                      <a:pt x="43" y="137"/>
                      <a:pt x="42" y="138"/>
                      <a:pt x="41" y="139"/>
                    </a:cubicBezTo>
                    <a:cubicBezTo>
                      <a:pt x="40" y="139"/>
                      <a:pt x="39" y="139"/>
                      <a:pt x="38" y="137"/>
                    </a:cubicBezTo>
                    <a:cubicBezTo>
                      <a:pt x="37" y="135"/>
                      <a:pt x="37" y="123"/>
                      <a:pt x="37" y="103"/>
                    </a:cubicBezTo>
                    <a:cubicBezTo>
                      <a:pt x="37" y="97"/>
                      <a:pt x="37" y="92"/>
                      <a:pt x="37" y="86"/>
                    </a:cubicBezTo>
                    <a:cubicBezTo>
                      <a:pt x="34" y="87"/>
                      <a:pt x="31" y="89"/>
                      <a:pt x="28" y="92"/>
                    </a:cubicBezTo>
                    <a:cubicBezTo>
                      <a:pt x="24" y="98"/>
                      <a:pt x="21" y="103"/>
                      <a:pt x="19" y="109"/>
                    </a:cubicBezTo>
                    <a:cubicBezTo>
                      <a:pt x="17" y="113"/>
                      <a:pt x="15" y="117"/>
                      <a:pt x="12" y="121"/>
                    </a:cubicBezTo>
                    <a:cubicBezTo>
                      <a:pt x="11" y="122"/>
                      <a:pt x="9" y="122"/>
                      <a:pt x="8" y="122"/>
                    </a:cubicBezTo>
                    <a:cubicBezTo>
                      <a:pt x="7" y="122"/>
                      <a:pt x="7" y="121"/>
                      <a:pt x="7" y="120"/>
                    </a:cubicBezTo>
                    <a:cubicBezTo>
                      <a:pt x="7" y="119"/>
                      <a:pt x="7" y="118"/>
                      <a:pt x="8" y="117"/>
                    </a:cubicBezTo>
                    <a:cubicBezTo>
                      <a:pt x="9" y="112"/>
                      <a:pt x="10" y="108"/>
                      <a:pt x="11" y="106"/>
                    </a:cubicBezTo>
                    <a:cubicBezTo>
                      <a:pt x="13" y="101"/>
                      <a:pt x="17" y="94"/>
                      <a:pt x="22" y="86"/>
                    </a:cubicBezTo>
                    <a:cubicBezTo>
                      <a:pt x="27" y="80"/>
                      <a:pt x="32" y="77"/>
                      <a:pt x="37" y="76"/>
                    </a:cubicBezTo>
                    <a:cubicBezTo>
                      <a:pt x="37" y="68"/>
                      <a:pt x="37" y="68"/>
                      <a:pt x="37" y="68"/>
                    </a:cubicBezTo>
                    <a:cubicBezTo>
                      <a:pt x="37" y="63"/>
                      <a:pt x="37" y="63"/>
                      <a:pt x="37" y="63"/>
                    </a:cubicBezTo>
                    <a:cubicBezTo>
                      <a:pt x="33" y="64"/>
                      <a:pt x="29" y="66"/>
                      <a:pt x="24" y="69"/>
                    </a:cubicBezTo>
                    <a:cubicBezTo>
                      <a:pt x="23" y="70"/>
                      <a:pt x="20" y="72"/>
                      <a:pt x="16" y="77"/>
                    </a:cubicBezTo>
                    <a:cubicBezTo>
                      <a:pt x="13" y="81"/>
                      <a:pt x="11" y="83"/>
                      <a:pt x="9" y="85"/>
                    </a:cubicBezTo>
                    <a:cubicBezTo>
                      <a:pt x="8" y="86"/>
                      <a:pt x="7" y="87"/>
                      <a:pt x="6" y="86"/>
                    </a:cubicBezTo>
                    <a:cubicBezTo>
                      <a:pt x="5" y="86"/>
                      <a:pt x="5" y="84"/>
                      <a:pt x="5" y="82"/>
                    </a:cubicBezTo>
                    <a:cubicBezTo>
                      <a:pt x="10" y="73"/>
                      <a:pt x="15" y="65"/>
                      <a:pt x="22" y="60"/>
                    </a:cubicBezTo>
                    <a:cubicBezTo>
                      <a:pt x="27" y="56"/>
                      <a:pt x="32" y="54"/>
                      <a:pt x="37" y="54"/>
                    </a:cubicBezTo>
                    <a:cubicBezTo>
                      <a:pt x="37" y="47"/>
                      <a:pt x="37" y="47"/>
                      <a:pt x="37" y="47"/>
                    </a:cubicBezTo>
                    <a:cubicBezTo>
                      <a:pt x="22" y="49"/>
                      <a:pt x="10" y="48"/>
                      <a:pt x="3" y="45"/>
                    </a:cubicBezTo>
                    <a:cubicBezTo>
                      <a:pt x="1" y="44"/>
                      <a:pt x="0" y="42"/>
                      <a:pt x="0" y="40"/>
                    </a:cubicBezTo>
                    <a:cubicBezTo>
                      <a:pt x="1" y="38"/>
                      <a:pt x="3" y="38"/>
                      <a:pt x="5" y="38"/>
                    </a:cubicBezTo>
                    <a:cubicBezTo>
                      <a:pt x="12" y="40"/>
                      <a:pt x="22" y="40"/>
                      <a:pt x="37" y="39"/>
                    </a:cubicBezTo>
                    <a:cubicBezTo>
                      <a:pt x="37" y="39"/>
                      <a:pt x="37" y="39"/>
                      <a:pt x="37" y="39"/>
                    </a:cubicBezTo>
                    <a:cubicBezTo>
                      <a:pt x="38" y="32"/>
                      <a:pt x="36" y="29"/>
                      <a:pt x="33" y="28"/>
                    </a:cubicBezTo>
                    <a:cubicBezTo>
                      <a:pt x="26" y="25"/>
                      <a:pt x="19" y="24"/>
                      <a:pt x="12" y="2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87" name="íṣlíḑe"/>
              <p:cNvSpPr/>
              <p:nvPr/>
            </p:nvSpPr>
            <p:spPr bwMode="auto">
              <a:xfrm>
                <a:off x="2273197" y="5255215"/>
                <a:ext cx="163513" cy="263525"/>
              </a:xfrm>
              <a:custGeom>
                <a:avLst/>
                <a:gdLst>
                  <a:gd name="T0" fmla="*/ 47 w 88"/>
                  <a:gd name="T1" fmla="*/ 8 h 143"/>
                  <a:gd name="T2" fmla="*/ 74 w 88"/>
                  <a:gd name="T3" fmla="*/ 14 h 143"/>
                  <a:gd name="T4" fmla="*/ 82 w 88"/>
                  <a:gd name="T5" fmla="*/ 26 h 143"/>
                  <a:gd name="T6" fmla="*/ 79 w 88"/>
                  <a:gd name="T7" fmla="*/ 75 h 143"/>
                  <a:gd name="T8" fmla="*/ 86 w 88"/>
                  <a:gd name="T9" fmla="*/ 136 h 143"/>
                  <a:gd name="T10" fmla="*/ 73 w 88"/>
                  <a:gd name="T11" fmla="*/ 45 h 143"/>
                  <a:gd name="T12" fmla="*/ 67 w 88"/>
                  <a:gd name="T13" fmla="*/ 44 h 143"/>
                  <a:gd name="T14" fmla="*/ 54 w 88"/>
                  <a:gd name="T15" fmla="*/ 58 h 143"/>
                  <a:gd name="T16" fmla="*/ 22 w 88"/>
                  <a:gd name="T17" fmla="*/ 54 h 143"/>
                  <a:gd name="T18" fmla="*/ 15 w 88"/>
                  <a:gd name="T19" fmla="*/ 45 h 143"/>
                  <a:gd name="T20" fmla="*/ 11 w 88"/>
                  <a:gd name="T21" fmla="*/ 91 h 143"/>
                  <a:gd name="T22" fmla="*/ 9 w 88"/>
                  <a:gd name="T23" fmla="*/ 118 h 143"/>
                  <a:gd name="T24" fmla="*/ 2 w 88"/>
                  <a:gd name="T25" fmla="*/ 139 h 143"/>
                  <a:gd name="T26" fmla="*/ 6 w 88"/>
                  <a:gd name="T27" fmla="*/ 80 h 143"/>
                  <a:gd name="T28" fmla="*/ 2 w 88"/>
                  <a:gd name="T29" fmla="*/ 26 h 143"/>
                  <a:gd name="T30" fmla="*/ 32 w 88"/>
                  <a:gd name="T31" fmla="*/ 10 h 143"/>
                  <a:gd name="T32" fmla="*/ 39 w 88"/>
                  <a:gd name="T33" fmla="*/ 0 h 143"/>
                  <a:gd name="T34" fmla="*/ 24 w 88"/>
                  <a:gd name="T35" fmla="*/ 23 h 143"/>
                  <a:gd name="T36" fmla="*/ 66 w 88"/>
                  <a:gd name="T37" fmla="*/ 29 h 143"/>
                  <a:gd name="T38" fmla="*/ 67 w 88"/>
                  <a:gd name="T39" fmla="*/ 37 h 143"/>
                  <a:gd name="T40" fmla="*/ 73 w 88"/>
                  <a:gd name="T41" fmla="*/ 34 h 143"/>
                  <a:gd name="T42" fmla="*/ 66 w 88"/>
                  <a:gd name="T43" fmla="*/ 20 h 143"/>
                  <a:gd name="T44" fmla="*/ 13 w 88"/>
                  <a:gd name="T45" fmla="*/ 21 h 143"/>
                  <a:gd name="T46" fmla="*/ 12 w 88"/>
                  <a:gd name="T47" fmla="*/ 32 h 143"/>
                  <a:gd name="T48" fmla="*/ 17 w 88"/>
                  <a:gd name="T49" fmla="*/ 38 h 143"/>
                  <a:gd name="T50" fmla="*/ 24 w 88"/>
                  <a:gd name="T51" fmla="*/ 23 h 143"/>
                  <a:gd name="T52" fmla="*/ 61 w 88"/>
                  <a:gd name="T53" fmla="*/ 64 h 143"/>
                  <a:gd name="T54" fmla="*/ 66 w 88"/>
                  <a:gd name="T55" fmla="*/ 96 h 143"/>
                  <a:gd name="T56" fmla="*/ 61 w 88"/>
                  <a:gd name="T57" fmla="*/ 136 h 143"/>
                  <a:gd name="T58" fmla="*/ 59 w 88"/>
                  <a:gd name="T59" fmla="*/ 143 h 143"/>
                  <a:gd name="T60" fmla="*/ 46 w 88"/>
                  <a:gd name="T61" fmla="*/ 105 h 143"/>
                  <a:gd name="T62" fmla="*/ 30 w 88"/>
                  <a:gd name="T63" fmla="*/ 140 h 143"/>
                  <a:gd name="T64" fmla="*/ 26 w 88"/>
                  <a:gd name="T65" fmla="*/ 137 h 143"/>
                  <a:gd name="T66" fmla="*/ 32 w 88"/>
                  <a:gd name="T67" fmla="*/ 121 h 143"/>
                  <a:gd name="T68" fmla="*/ 35 w 88"/>
                  <a:gd name="T69" fmla="*/ 105 h 143"/>
                  <a:gd name="T70" fmla="*/ 18 w 88"/>
                  <a:gd name="T71" fmla="*/ 75 h 143"/>
                  <a:gd name="T72" fmla="*/ 24 w 88"/>
                  <a:gd name="T73" fmla="*/ 35 h 143"/>
                  <a:gd name="T74" fmla="*/ 39 w 88"/>
                  <a:gd name="T75" fmla="*/ 37 h 143"/>
                  <a:gd name="T76" fmla="*/ 34 w 88"/>
                  <a:gd name="T77" fmla="*/ 29 h 143"/>
                  <a:gd name="T78" fmla="*/ 24 w 88"/>
                  <a:gd name="T79" fmla="*/ 35 h 143"/>
                  <a:gd name="T80" fmla="*/ 62 w 88"/>
                  <a:gd name="T81" fmla="*/ 84 h 143"/>
                  <a:gd name="T82" fmla="*/ 43 w 88"/>
                  <a:gd name="T83" fmla="*/ 81 h 143"/>
                  <a:gd name="T84" fmla="*/ 25 w 88"/>
                  <a:gd name="T85" fmla="*/ 87 h 143"/>
                  <a:gd name="T86" fmla="*/ 26 w 88"/>
                  <a:gd name="T87" fmla="*/ 48 h 143"/>
                  <a:gd name="T88" fmla="*/ 38 w 88"/>
                  <a:gd name="T89" fmla="*/ 52 h 143"/>
                  <a:gd name="T90" fmla="*/ 25 w 88"/>
                  <a:gd name="T91" fmla="*/ 44 h 143"/>
                  <a:gd name="T92" fmla="*/ 32 w 88"/>
                  <a:gd name="T93" fmla="*/ 69 h 143"/>
                  <a:gd name="T94" fmla="*/ 41 w 88"/>
                  <a:gd name="T95" fmla="*/ 75 h 143"/>
                  <a:gd name="T96" fmla="*/ 57 w 88"/>
                  <a:gd name="T97" fmla="*/ 70 h 143"/>
                  <a:gd name="T98" fmla="*/ 56 w 88"/>
                  <a:gd name="T99" fmla="*/ 98 h 143"/>
                  <a:gd name="T100" fmla="*/ 54 w 88"/>
                  <a:gd name="T101" fmla="*/ 93 h 143"/>
                  <a:gd name="T102" fmla="*/ 36 w 88"/>
                  <a:gd name="T103" fmla="*/ 93 h 143"/>
                  <a:gd name="T104" fmla="*/ 32 w 88"/>
                  <a:gd name="T105" fmla="*/ 98 h 143"/>
                  <a:gd name="T106" fmla="*/ 56 w 88"/>
                  <a:gd name="T107" fmla="*/ 29 h 143"/>
                  <a:gd name="T108" fmla="*/ 46 w 88"/>
                  <a:gd name="T109" fmla="*/ 29 h 143"/>
                  <a:gd name="T110" fmla="*/ 60 w 88"/>
                  <a:gd name="T111" fmla="*/ 37 h 143"/>
                  <a:gd name="T112" fmla="*/ 56 w 88"/>
                  <a:gd name="T113" fmla="*/ 29 h 143"/>
                  <a:gd name="T114" fmla="*/ 60 w 88"/>
                  <a:gd name="T115" fmla="*/ 43 h 143"/>
                  <a:gd name="T116" fmla="*/ 46 w 88"/>
                  <a:gd name="T117" fmla="*/ 52 h 143"/>
                  <a:gd name="T118" fmla="*/ 59 w 88"/>
                  <a:gd name="T119" fmla="*/ 48 h 1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88" h="143">
                    <a:moveTo>
                      <a:pt x="43" y="2"/>
                    </a:moveTo>
                    <a:cubicBezTo>
                      <a:pt x="45" y="3"/>
                      <a:pt x="47" y="6"/>
                      <a:pt x="47" y="8"/>
                    </a:cubicBezTo>
                    <a:cubicBezTo>
                      <a:pt x="47" y="9"/>
                      <a:pt x="48" y="10"/>
                      <a:pt x="49" y="10"/>
                    </a:cubicBezTo>
                    <a:cubicBezTo>
                      <a:pt x="57" y="10"/>
                      <a:pt x="66" y="12"/>
                      <a:pt x="74" y="14"/>
                    </a:cubicBezTo>
                    <a:cubicBezTo>
                      <a:pt x="78" y="16"/>
                      <a:pt x="81" y="18"/>
                      <a:pt x="81" y="19"/>
                    </a:cubicBezTo>
                    <a:cubicBezTo>
                      <a:pt x="82" y="21"/>
                      <a:pt x="82" y="24"/>
                      <a:pt x="82" y="26"/>
                    </a:cubicBezTo>
                    <a:cubicBezTo>
                      <a:pt x="82" y="27"/>
                      <a:pt x="82" y="27"/>
                      <a:pt x="82" y="28"/>
                    </a:cubicBezTo>
                    <a:cubicBezTo>
                      <a:pt x="79" y="39"/>
                      <a:pt x="78" y="55"/>
                      <a:pt x="79" y="75"/>
                    </a:cubicBezTo>
                    <a:cubicBezTo>
                      <a:pt x="80" y="87"/>
                      <a:pt x="83" y="106"/>
                      <a:pt x="87" y="131"/>
                    </a:cubicBezTo>
                    <a:cubicBezTo>
                      <a:pt x="88" y="134"/>
                      <a:pt x="87" y="135"/>
                      <a:pt x="86" y="136"/>
                    </a:cubicBezTo>
                    <a:cubicBezTo>
                      <a:pt x="84" y="137"/>
                      <a:pt x="82" y="136"/>
                      <a:pt x="82" y="133"/>
                    </a:cubicBezTo>
                    <a:cubicBezTo>
                      <a:pt x="74" y="106"/>
                      <a:pt x="71" y="76"/>
                      <a:pt x="73" y="45"/>
                    </a:cubicBezTo>
                    <a:cubicBezTo>
                      <a:pt x="72" y="45"/>
                      <a:pt x="71" y="44"/>
                      <a:pt x="70" y="44"/>
                    </a:cubicBezTo>
                    <a:cubicBezTo>
                      <a:pt x="69" y="44"/>
                      <a:pt x="68" y="44"/>
                      <a:pt x="67" y="44"/>
                    </a:cubicBezTo>
                    <a:cubicBezTo>
                      <a:pt x="67" y="48"/>
                      <a:pt x="66" y="51"/>
                      <a:pt x="64" y="54"/>
                    </a:cubicBezTo>
                    <a:cubicBezTo>
                      <a:pt x="62" y="57"/>
                      <a:pt x="59" y="59"/>
                      <a:pt x="54" y="58"/>
                    </a:cubicBezTo>
                    <a:cubicBezTo>
                      <a:pt x="47" y="58"/>
                      <a:pt x="39" y="58"/>
                      <a:pt x="32" y="58"/>
                    </a:cubicBezTo>
                    <a:cubicBezTo>
                      <a:pt x="28" y="59"/>
                      <a:pt x="25" y="58"/>
                      <a:pt x="22" y="54"/>
                    </a:cubicBezTo>
                    <a:cubicBezTo>
                      <a:pt x="20" y="51"/>
                      <a:pt x="19" y="48"/>
                      <a:pt x="18" y="45"/>
                    </a:cubicBezTo>
                    <a:cubicBezTo>
                      <a:pt x="17" y="45"/>
                      <a:pt x="16" y="45"/>
                      <a:pt x="15" y="45"/>
                    </a:cubicBezTo>
                    <a:cubicBezTo>
                      <a:pt x="14" y="45"/>
                      <a:pt x="13" y="45"/>
                      <a:pt x="13" y="45"/>
                    </a:cubicBezTo>
                    <a:cubicBezTo>
                      <a:pt x="13" y="60"/>
                      <a:pt x="13" y="75"/>
                      <a:pt x="11" y="91"/>
                    </a:cubicBezTo>
                    <a:cubicBezTo>
                      <a:pt x="11" y="95"/>
                      <a:pt x="11" y="102"/>
                      <a:pt x="10" y="111"/>
                    </a:cubicBezTo>
                    <a:cubicBezTo>
                      <a:pt x="10" y="108"/>
                      <a:pt x="10" y="111"/>
                      <a:pt x="9" y="118"/>
                    </a:cubicBezTo>
                    <a:cubicBezTo>
                      <a:pt x="9" y="124"/>
                      <a:pt x="8" y="130"/>
                      <a:pt x="6" y="134"/>
                    </a:cubicBezTo>
                    <a:cubicBezTo>
                      <a:pt x="5" y="138"/>
                      <a:pt x="3" y="139"/>
                      <a:pt x="2" y="139"/>
                    </a:cubicBezTo>
                    <a:cubicBezTo>
                      <a:pt x="0" y="139"/>
                      <a:pt x="0" y="137"/>
                      <a:pt x="0" y="133"/>
                    </a:cubicBezTo>
                    <a:cubicBezTo>
                      <a:pt x="3" y="112"/>
                      <a:pt x="5" y="94"/>
                      <a:pt x="6" y="80"/>
                    </a:cubicBezTo>
                    <a:cubicBezTo>
                      <a:pt x="8" y="64"/>
                      <a:pt x="7" y="51"/>
                      <a:pt x="6" y="38"/>
                    </a:cubicBezTo>
                    <a:cubicBezTo>
                      <a:pt x="5" y="34"/>
                      <a:pt x="4" y="30"/>
                      <a:pt x="2" y="26"/>
                    </a:cubicBezTo>
                    <a:cubicBezTo>
                      <a:pt x="0" y="21"/>
                      <a:pt x="1" y="17"/>
                      <a:pt x="6" y="16"/>
                    </a:cubicBezTo>
                    <a:cubicBezTo>
                      <a:pt x="14" y="12"/>
                      <a:pt x="23" y="11"/>
                      <a:pt x="32" y="10"/>
                    </a:cubicBezTo>
                    <a:cubicBezTo>
                      <a:pt x="36" y="9"/>
                      <a:pt x="38" y="7"/>
                      <a:pt x="38" y="4"/>
                    </a:cubicBezTo>
                    <a:cubicBezTo>
                      <a:pt x="38" y="2"/>
                      <a:pt x="38" y="1"/>
                      <a:pt x="39" y="0"/>
                    </a:cubicBezTo>
                    <a:cubicBezTo>
                      <a:pt x="41" y="0"/>
                      <a:pt x="42" y="0"/>
                      <a:pt x="43" y="2"/>
                    </a:cubicBezTo>
                    <a:close/>
                    <a:moveTo>
                      <a:pt x="24" y="23"/>
                    </a:moveTo>
                    <a:cubicBezTo>
                      <a:pt x="33" y="22"/>
                      <a:pt x="44" y="22"/>
                      <a:pt x="58" y="23"/>
                    </a:cubicBezTo>
                    <a:cubicBezTo>
                      <a:pt x="63" y="24"/>
                      <a:pt x="66" y="26"/>
                      <a:pt x="66" y="29"/>
                    </a:cubicBezTo>
                    <a:cubicBezTo>
                      <a:pt x="66" y="30"/>
                      <a:pt x="66" y="30"/>
                      <a:pt x="67" y="31"/>
                    </a:cubicBezTo>
                    <a:cubicBezTo>
                      <a:pt x="67" y="33"/>
                      <a:pt x="67" y="35"/>
                      <a:pt x="67" y="37"/>
                    </a:cubicBezTo>
                    <a:cubicBezTo>
                      <a:pt x="69" y="38"/>
                      <a:pt x="71" y="38"/>
                      <a:pt x="73" y="38"/>
                    </a:cubicBezTo>
                    <a:cubicBezTo>
                      <a:pt x="73" y="37"/>
                      <a:pt x="73" y="36"/>
                      <a:pt x="73" y="34"/>
                    </a:cubicBezTo>
                    <a:cubicBezTo>
                      <a:pt x="73" y="32"/>
                      <a:pt x="73" y="30"/>
                      <a:pt x="74" y="29"/>
                    </a:cubicBezTo>
                    <a:cubicBezTo>
                      <a:pt x="75" y="25"/>
                      <a:pt x="72" y="21"/>
                      <a:pt x="66" y="20"/>
                    </a:cubicBezTo>
                    <a:cubicBezTo>
                      <a:pt x="58" y="17"/>
                      <a:pt x="50" y="16"/>
                      <a:pt x="40" y="16"/>
                    </a:cubicBezTo>
                    <a:cubicBezTo>
                      <a:pt x="29" y="16"/>
                      <a:pt x="20" y="18"/>
                      <a:pt x="13" y="21"/>
                    </a:cubicBezTo>
                    <a:cubicBezTo>
                      <a:pt x="11" y="22"/>
                      <a:pt x="11" y="24"/>
                      <a:pt x="11" y="26"/>
                    </a:cubicBezTo>
                    <a:cubicBezTo>
                      <a:pt x="11" y="28"/>
                      <a:pt x="12" y="30"/>
                      <a:pt x="12" y="32"/>
                    </a:cubicBezTo>
                    <a:cubicBezTo>
                      <a:pt x="12" y="35"/>
                      <a:pt x="12" y="37"/>
                      <a:pt x="12" y="38"/>
                    </a:cubicBezTo>
                    <a:cubicBezTo>
                      <a:pt x="14" y="38"/>
                      <a:pt x="15" y="38"/>
                      <a:pt x="17" y="38"/>
                    </a:cubicBezTo>
                    <a:cubicBezTo>
                      <a:pt x="17" y="35"/>
                      <a:pt x="17" y="32"/>
                      <a:pt x="17" y="30"/>
                    </a:cubicBezTo>
                    <a:cubicBezTo>
                      <a:pt x="18" y="26"/>
                      <a:pt x="20" y="24"/>
                      <a:pt x="24" y="23"/>
                    </a:cubicBezTo>
                    <a:close/>
                    <a:moveTo>
                      <a:pt x="28" y="64"/>
                    </a:moveTo>
                    <a:cubicBezTo>
                      <a:pt x="39" y="62"/>
                      <a:pt x="50" y="62"/>
                      <a:pt x="61" y="64"/>
                    </a:cubicBezTo>
                    <a:cubicBezTo>
                      <a:pt x="65" y="65"/>
                      <a:pt x="67" y="67"/>
                      <a:pt x="67" y="71"/>
                    </a:cubicBezTo>
                    <a:cubicBezTo>
                      <a:pt x="69" y="79"/>
                      <a:pt x="68" y="88"/>
                      <a:pt x="66" y="96"/>
                    </a:cubicBezTo>
                    <a:cubicBezTo>
                      <a:pt x="65" y="102"/>
                      <a:pt x="61" y="105"/>
                      <a:pt x="54" y="105"/>
                    </a:cubicBezTo>
                    <a:cubicBezTo>
                      <a:pt x="55" y="115"/>
                      <a:pt x="57" y="125"/>
                      <a:pt x="61" y="136"/>
                    </a:cubicBezTo>
                    <a:cubicBezTo>
                      <a:pt x="63" y="138"/>
                      <a:pt x="63" y="140"/>
                      <a:pt x="61" y="142"/>
                    </a:cubicBezTo>
                    <a:cubicBezTo>
                      <a:pt x="60" y="142"/>
                      <a:pt x="59" y="143"/>
                      <a:pt x="59" y="143"/>
                    </a:cubicBezTo>
                    <a:cubicBezTo>
                      <a:pt x="58" y="143"/>
                      <a:pt x="57" y="142"/>
                      <a:pt x="57" y="141"/>
                    </a:cubicBezTo>
                    <a:cubicBezTo>
                      <a:pt x="52" y="131"/>
                      <a:pt x="48" y="120"/>
                      <a:pt x="46" y="105"/>
                    </a:cubicBezTo>
                    <a:cubicBezTo>
                      <a:pt x="41" y="105"/>
                      <a:pt x="41" y="105"/>
                      <a:pt x="41" y="105"/>
                    </a:cubicBezTo>
                    <a:cubicBezTo>
                      <a:pt x="40" y="120"/>
                      <a:pt x="37" y="131"/>
                      <a:pt x="30" y="140"/>
                    </a:cubicBezTo>
                    <a:cubicBezTo>
                      <a:pt x="29" y="141"/>
                      <a:pt x="27" y="142"/>
                      <a:pt x="26" y="142"/>
                    </a:cubicBezTo>
                    <a:cubicBezTo>
                      <a:pt x="25" y="141"/>
                      <a:pt x="25" y="139"/>
                      <a:pt x="26" y="137"/>
                    </a:cubicBezTo>
                    <a:cubicBezTo>
                      <a:pt x="26" y="137"/>
                      <a:pt x="26" y="135"/>
                      <a:pt x="28" y="132"/>
                    </a:cubicBezTo>
                    <a:cubicBezTo>
                      <a:pt x="30" y="127"/>
                      <a:pt x="32" y="123"/>
                      <a:pt x="32" y="121"/>
                    </a:cubicBezTo>
                    <a:cubicBezTo>
                      <a:pt x="33" y="118"/>
                      <a:pt x="34" y="113"/>
                      <a:pt x="35" y="107"/>
                    </a:cubicBezTo>
                    <a:cubicBezTo>
                      <a:pt x="35" y="106"/>
                      <a:pt x="35" y="106"/>
                      <a:pt x="35" y="105"/>
                    </a:cubicBezTo>
                    <a:cubicBezTo>
                      <a:pt x="29" y="105"/>
                      <a:pt x="25" y="103"/>
                      <a:pt x="22" y="98"/>
                    </a:cubicBezTo>
                    <a:cubicBezTo>
                      <a:pt x="19" y="93"/>
                      <a:pt x="17" y="85"/>
                      <a:pt x="18" y="75"/>
                    </a:cubicBezTo>
                    <a:cubicBezTo>
                      <a:pt x="19" y="68"/>
                      <a:pt x="22" y="65"/>
                      <a:pt x="28" y="64"/>
                    </a:cubicBezTo>
                    <a:close/>
                    <a:moveTo>
                      <a:pt x="24" y="35"/>
                    </a:moveTo>
                    <a:cubicBezTo>
                      <a:pt x="24" y="36"/>
                      <a:pt x="24" y="36"/>
                      <a:pt x="24" y="37"/>
                    </a:cubicBezTo>
                    <a:cubicBezTo>
                      <a:pt x="29" y="37"/>
                      <a:pt x="34" y="37"/>
                      <a:pt x="39" y="37"/>
                    </a:cubicBezTo>
                    <a:cubicBezTo>
                      <a:pt x="39" y="34"/>
                      <a:pt x="38" y="31"/>
                      <a:pt x="38" y="29"/>
                    </a:cubicBezTo>
                    <a:cubicBezTo>
                      <a:pt x="37" y="29"/>
                      <a:pt x="36" y="29"/>
                      <a:pt x="34" y="29"/>
                    </a:cubicBezTo>
                    <a:cubicBezTo>
                      <a:pt x="31" y="29"/>
                      <a:pt x="30" y="29"/>
                      <a:pt x="28" y="29"/>
                    </a:cubicBezTo>
                    <a:cubicBezTo>
                      <a:pt x="25" y="31"/>
                      <a:pt x="24" y="32"/>
                      <a:pt x="24" y="35"/>
                    </a:cubicBezTo>
                    <a:close/>
                    <a:moveTo>
                      <a:pt x="61" y="87"/>
                    </a:moveTo>
                    <a:cubicBezTo>
                      <a:pt x="61" y="86"/>
                      <a:pt x="62" y="85"/>
                      <a:pt x="62" y="84"/>
                    </a:cubicBezTo>
                    <a:cubicBezTo>
                      <a:pt x="62" y="83"/>
                      <a:pt x="62" y="82"/>
                      <a:pt x="62" y="82"/>
                    </a:cubicBezTo>
                    <a:cubicBezTo>
                      <a:pt x="56" y="81"/>
                      <a:pt x="50" y="80"/>
                      <a:pt x="43" y="81"/>
                    </a:cubicBezTo>
                    <a:cubicBezTo>
                      <a:pt x="37" y="81"/>
                      <a:pt x="31" y="82"/>
                      <a:pt x="24" y="83"/>
                    </a:cubicBezTo>
                    <a:cubicBezTo>
                      <a:pt x="25" y="87"/>
                      <a:pt x="25" y="87"/>
                      <a:pt x="25" y="87"/>
                    </a:cubicBezTo>
                    <a:cubicBezTo>
                      <a:pt x="35" y="86"/>
                      <a:pt x="48" y="86"/>
                      <a:pt x="61" y="87"/>
                    </a:cubicBezTo>
                    <a:close/>
                    <a:moveTo>
                      <a:pt x="26" y="48"/>
                    </a:moveTo>
                    <a:cubicBezTo>
                      <a:pt x="28" y="51"/>
                      <a:pt x="30" y="52"/>
                      <a:pt x="35" y="52"/>
                    </a:cubicBezTo>
                    <a:cubicBezTo>
                      <a:pt x="38" y="52"/>
                      <a:pt x="38" y="52"/>
                      <a:pt x="38" y="52"/>
                    </a:cubicBezTo>
                    <a:cubicBezTo>
                      <a:pt x="38" y="49"/>
                      <a:pt x="39" y="46"/>
                      <a:pt x="39" y="44"/>
                    </a:cubicBezTo>
                    <a:cubicBezTo>
                      <a:pt x="34" y="44"/>
                      <a:pt x="30" y="44"/>
                      <a:pt x="25" y="44"/>
                    </a:cubicBezTo>
                    <a:cubicBezTo>
                      <a:pt x="25" y="46"/>
                      <a:pt x="25" y="47"/>
                      <a:pt x="26" y="48"/>
                    </a:cubicBezTo>
                    <a:close/>
                    <a:moveTo>
                      <a:pt x="32" y="69"/>
                    </a:moveTo>
                    <a:cubicBezTo>
                      <a:pt x="28" y="70"/>
                      <a:pt x="25" y="72"/>
                      <a:pt x="25" y="76"/>
                    </a:cubicBezTo>
                    <a:cubicBezTo>
                      <a:pt x="30" y="75"/>
                      <a:pt x="35" y="75"/>
                      <a:pt x="41" y="75"/>
                    </a:cubicBezTo>
                    <a:cubicBezTo>
                      <a:pt x="46" y="74"/>
                      <a:pt x="53" y="74"/>
                      <a:pt x="61" y="75"/>
                    </a:cubicBezTo>
                    <a:cubicBezTo>
                      <a:pt x="61" y="72"/>
                      <a:pt x="59" y="71"/>
                      <a:pt x="57" y="70"/>
                    </a:cubicBezTo>
                    <a:cubicBezTo>
                      <a:pt x="49" y="68"/>
                      <a:pt x="40" y="68"/>
                      <a:pt x="32" y="69"/>
                    </a:cubicBezTo>
                    <a:close/>
                    <a:moveTo>
                      <a:pt x="56" y="98"/>
                    </a:moveTo>
                    <a:cubicBezTo>
                      <a:pt x="59" y="97"/>
                      <a:pt x="60" y="96"/>
                      <a:pt x="61" y="93"/>
                    </a:cubicBezTo>
                    <a:cubicBezTo>
                      <a:pt x="60" y="93"/>
                      <a:pt x="57" y="93"/>
                      <a:pt x="54" y="93"/>
                    </a:cubicBezTo>
                    <a:cubicBezTo>
                      <a:pt x="48" y="92"/>
                      <a:pt x="44" y="92"/>
                      <a:pt x="41" y="92"/>
                    </a:cubicBezTo>
                    <a:cubicBezTo>
                      <a:pt x="40" y="92"/>
                      <a:pt x="38" y="92"/>
                      <a:pt x="36" y="93"/>
                    </a:cubicBezTo>
                    <a:cubicBezTo>
                      <a:pt x="31" y="93"/>
                      <a:pt x="28" y="94"/>
                      <a:pt x="26" y="94"/>
                    </a:cubicBezTo>
                    <a:cubicBezTo>
                      <a:pt x="27" y="96"/>
                      <a:pt x="29" y="98"/>
                      <a:pt x="32" y="98"/>
                    </a:cubicBezTo>
                    <a:cubicBezTo>
                      <a:pt x="39" y="99"/>
                      <a:pt x="47" y="99"/>
                      <a:pt x="56" y="98"/>
                    </a:cubicBezTo>
                    <a:close/>
                    <a:moveTo>
                      <a:pt x="56" y="29"/>
                    </a:moveTo>
                    <a:cubicBezTo>
                      <a:pt x="55" y="29"/>
                      <a:pt x="53" y="29"/>
                      <a:pt x="51" y="29"/>
                    </a:cubicBezTo>
                    <a:cubicBezTo>
                      <a:pt x="49" y="29"/>
                      <a:pt x="47" y="29"/>
                      <a:pt x="46" y="29"/>
                    </a:cubicBezTo>
                    <a:cubicBezTo>
                      <a:pt x="46" y="31"/>
                      <a:pt x="46" y="34"/>
                      <a:pt x="46" y="37"/>
                    </a:cubicBezTo>
                    <a:cubicBezTo>
                      <a:pt x="50" y="37"/>
                      <a:pt x="55" y="37"/>
                      <a:pt x="60" y="37"/>
                    </a:cubicBezTo>
                    <a:cubicBezTo>
                      <a:pt x="60" y="35"/>
                      <a:pt x="60" y="35"/>
                      <a:pt x="60" y="35"/>
                    </a:cubicBezTo>
                    <a:cubicBezTo>
                      <a:pt x="60" y="32"/>
                      <a:pt x="58" y="30"/>
                      <a:pt x="56" y="29"/>
                    </a:cubicBezTo>
                    <a:close/>
                    <a:moveTo>
                      <a:pt x="59" y="48"/>
                    </a:moveTo>
                    <a:cubicBezTo>
                      <a:pt x="59" y="47"/>
                      <a:pt x="59" y="45"/>
                      <a:pt x="60" y="43"/>
                    </a:cubicBezTo>
                    <a:cubicBezTo>
                      <a:pt x="55" y="43"/>
                      <a:pt x="51" y="43"/>
                      <a:pt x="46" y="43"/>
                    </a:cubicBezTo>
                    <a:cubicBezTo>
                      <a:pt x="46" y="52"/>
                      <a:pt x="46" y="52"/>
                      <a:pt x="46" y="52"/>
                    </a:cubicBezTo>
                    <a:cubicBezTo>
                      <a:pt x="48" y="52"/>
                      <a:pt x="51" y="52"/>
                      <a:pt x="54" y="52"/>
                    </a:cubicBezTo>
                    <a:cubicBezTo>
                      <a:pt x="57" y="51"/>
                      <a:pt x="59" y="49"/>
                      <a:pt x="59" y="4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88" name="îSḻide"/>
              <p:cNvSpPr/>
              <p:nvPr/>
            </p:nvSpPr>
            <p:spPr bwMode="auto">
              <a:xfrm>
                <a:off x="2449409" y="5256803"/>
                <a:ext cx="139700" cy="265113"/>
              </a:xfrm>
              <a:custGeom>
                <a:avLst/>
                <a:gdLst>
                  <a:gd name="T0" fmla="*/ 56 w 76"/>
                  <a:gd name="T1" fmla="*/ 3 h 144"/>
                  <a:gd name="T2" fmla="*/ 61 w 76"/>
                  <a:gd name="T3" fmla="*/ 45 h 144"/>
                  <a:gd name="T4" fmla="*/ 50 w 76"/>
                  <a:gd name="T5" fmla="*/ 74 h 144"/>
                  <a:gd name="T6" fmla="*/ 68 w 76"/>
                  <a:gd name="T7" fmla="*/ 65 h 144"/>
                  <a:gd name="T8" fmla="*/ 70 w 76"/>
                  <a:gd name="T9" fmla="*/ 31 h 144"/>
                  <a:gd name="T10" fmla="*/ 74 w 76"/>
                  <a:gd name="T11" fmla="*/ 31 h 144"/>
                  <a:gd name="T12" fmla="*/ 74 w 76"/>
                  <a:gd name="T13" fmla="*/ 64 h 144"/>
                  <a:gd name="T14" fmla="*/ 50 w 76"/>
                  <a:gd name="T15" fmla="*/ 81 h 144"/>
                  <a:gd name="T16" fmla="*/ 69 w 76"/>
                  <a:gd name="T17" fmla="*/ 103 h 144"/>
                  <a:gd name="T18" fmla="*/ 74 w 76"/>
                  <a:gd name="T19" fmla="*/ 140 h 144"/>
                  <a:gd name="T20" fmla="*/ 63 w 76"/>
                  <a:gd name="T21" fmla="*/ 105 h 144"/>
                  <a:gd name="T22" fmla="*/ 52 w 76"/>
                  <a:gd name="T23" fmla="*/ 138 h 144"/>
                  <a:gd name="T24" fmla="*/ 46 w 76"/>
                  <a:gd name="T25" fmla="*/ 139 h 144"/>
                  <a:gd name="T26" fmla="*/ 42 w 76"/>
                  <a:gd name="T27" fmla="*/ 57 h 144"/>
                  <a:gd name="T28" fmla="*/ 35 w 76"/>
                  <a:gd name="T29" fmla="*/ 132 h 144"/>
                  <a:gd name="T30" fmla="*/ 27 w 76"/>
                  <a:gd name="T31" fmla="*/ 136 h 144"/>
                  <a:gd name="T32" fmla="*/ 29 w 76"/>
                  <a:gd name="T33" fmla="*/ 95 h 144"/>
                  <a:gd name="T34" fmla="*/ 5 w 76"/>
                  <a:gd name="T35" fmla="*/ 135 h 144"/>
                  <a:gd name="T36" fmla="*/ 0 w 76"/>
                  <a:gd name="T37" fmla="*/ 135 h 144"/>
                  <a:gd name="T38" fmla="*/ 30 w 76"/>
                  <a:gd name="T39" fmla="*/ 86 h 144"/>
                  <a:gd name="T40" fmla="*/ 26 w 76"/>
                  <a:gd name="T41" fmla="*/ 80 h 144"/>
                  <a:gd name="T42" fmla="*/ 5 w 76"/>
                  <a:gd name="T43" fmla="*/ 66 h 144"/>
                  <a:gd name="T44" fmla="*/ 3 w 76"/>
                  <a:gd name="T45" fmla="*/ 29 h 144"/>
                  <a:gd name="T46" fmla="*/ 9 w 76"/>
                  <a:gd name="T47" fmla="*/ 59 h 144"/>
                  <a:gd name="T48" fmla="*/ 31 w 76"/>
                  <a:gd name="T49" fmla="*/ 74 h 144"/>
                  <a:gd name="T50" fmla="*/ 32 w 76"/>
                  <a:gd name="T51" fmla="*/ 57 h 144"/>
                  <a:gd name="T52" fmla="*/ 16 w 76"/>
                  <a:gd name="T53" fmla="*/ 14 h 144"/>
                  <a:gd name="T54" fmla="*/ 22 w 76"/>
                  <a:gd name="T55" fmla="*/ 19 h 144"/>
                  <a:gd name="T56" fmla="*/ 57 w 76"/>
                  <a:gd name="T57" fmla="*/ 19 h 144"/>
                  <a:gd name="T58" fmla="*/ 50 w 76"/>
                  <a:gd name="T59" fmla="*/ 9 h 144"/>
                  <a:gd name="T60" fmla="*/ 22 w 76"/>
                  <a:gd name="T61" fmla="*/ 19 h 144"/>
                  <a:gd name="T62" fmla="*/ 23 w 76"/>
                  <a:gd name="T63" fmla="*/ 31 h 144"/>
                  <a:gd name="T64" fmla="*/ 57 w 76"/>
                  <a:gd name="T65" fmla="*/ 34 h 144"/>
                  <a:gd name="T66" fmla="*/ 22 w 76"/>
                  <a:gd name="T67" fmla="*/ 27 h 144"/>
                  <a:gd name="T68" fmla="*/ 48 w 76"/>
                  <a:gd name="T69" fmla="*/ 50 h 144"/>
                  <a:gd name="T70" fmla="*/ 57 w 76"/>
                  <a:gd name="T71" fmla="*/ 41 h 144"/>
                  <a:gd name="T72" fmla="*/ 25 w 76"/>
                  <a:gd name="T73" fmla="*/ 44 h 1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76" h="144">
                    <a:moveTo>
                      <a:pt x="27" y="2"/>
                    </a:moveTo>
                    <a:cubicBezTo>
                      <a:pt x="37" y="0"/>
                      <a:pt x="47" y="0"/>
                      <a:pt x="56" y="3"/>
                    </a:cubicBezTo>
                    <a:cubicBezTo>
                      <a:pt x="60" y="3"/>
                      <a:pt x="62" y="7"/>
                      <a:pt x="63" y="15"/>
                    </a:cubicBezTo>
                    <a:cubicBezTo>
                      <a:pt x="65" y="25"/>
                      <a:pt x="64" y="35"/>
                      <a:pt x="61" y="45"/>
                    </a:cubicBezTo>
                    <a:cubicBezTo>
                      <a:pt x="60" y="53"/>
                      <a:pt x="55" y="56"/>
                      <a:pt x="49" y="57"/>
                    </a:cubicBezTo>
                    <a:cubicBezTo>
                      <a:pt x="49" y="62"/>
                      <a:pt x="50" y="68"/>
                      <a:pt x="50" y="74"/>
                    </a:cubicBezTo>
                    <a:cubicBezTo>
                      <a:pt x="53" y="74"/>
                      <a:pt x="56" y="74"/>
                      <a:pt x="58" y="74"/>
                    </a:cubicBezTo>
                    <a:cubicBezTo>
                      <a:pt x="62" y="75"/>
                      <a:pt x="66" y="72"/>
                      <a:pt x="68" y="65"/>
                    </a:cubicBezTo>
                    <a:cubicBezTo>
                      <a:pt x="69" y="62"/>
                      <a:pt x="70" y="53"/>
                      <a:pt x="70" y="39"/>
                    </a:cubicBezTo>
                    <a:cubicBezTo>
                      <a:pt x="70" y="35"/>
                      <a:pt x="70" y="32"/>
                      <a:pt x="70" y="31"/>
                    </a:cubicBezTo>
                    <a:cubicBezTo>
                      <a:pt x="71" y="31"/>
                      <a:pt x="71" y="30"/>
                      <a:pt x="72" y="30"/>
                    </a:cubicBezTo>
                    <a:cubicBezTo>
                      <a:pt x="73" y="30"/>
                      <a:pt x="74" y="30"/>
                      <a:pt x="74" y="31"/>
                    </a:cubicBezTo>
                    <a:cubicBezTo>
                      <a:pt x="75" y="33"/>
                      <a:pt x="76" y="36"/>
                      <a:pt x="76" y="41"/>
                    </a:cubicBezTo>
                    <a:cubicBezTo>
                      <a:pt x="76" y="49"/>
                      <a:pt x="75" y="56"/>
                      <a:pt x="74" y="64"/>
                    </a:cubicBezTo>
                    <a:cubicBezTo>
                      <a:pt x="72" y="75"/>
                      <a:pt x="67" y="81"/>
                      <a:pt x="58" y="81"/>
                    </a:cubicBezTo>
                    <a:cubicBezTo>
                      <a:pt x="50" y="81"/>
                      <a:pt x="50" y="81"/>
                      <a:pt x="50" y="81"/>
                    </a:cubicBezTo>
                    <a:cubicBezTo>
                      <a:pt x="50" y="87"/>
                      <a:pt x="50" y="87"/>
                      <a:pt x="50" y="87"/>
                    </a:cubicBezTo>
                    <a:cubicBezTo>
                      <a:pt x="60" y="87"/>
                      <a:pt x="66" y="92"/>
                      <a:pt x="69" y="103"/>
                    </a:cubicBezTo>
                    <a:cubicBezTo>
                      <a:pt x="72" y="112"/>
                      <a:pt x="74" y="122"/>
                      <a:pt x="76" y="134"/>
                    </a:cubicBezTo>
                    <a:cubicBezTo>
                      <a:pt x="76" y="138"/>
                      <a:pt x="75" y="140"/>
                      <a:pt x="74" y="140"/>
                    </a:cubicBezTo>
                    <a:cubicBezTo>
                      <a:pt x="72" y="141"/>
                      <a:pt x="71" y="139"/>
                      <a:pt x="70" y="136"/>
                    </a:cubicBezTo>
                    <a:cubicBezTo>
                      <a:pt x="68" y="126"/>
                      <a:pt x="66" y="116"/>
                      <a:pt x="63" y="105"/>
                    </a:cubicBezTo>
                    <a:cubicBezTo>
                      <a:pt x="61" y="98"/>
                      <a:pt x="57" y="95"/>
                      <a:pt x="50" y="95"/>
                    </a:cubicBezTo>
                    <a:cubicBezTo>
                      <a:pt x="50" y="109"/>
                      <a:pt x="51" y="123"/>
                      <a:pt x="52" y="138"/>
                    </a:cubicBezTo>
                    <a:cubicBezTo>
                      <a:pt x="52" y="141"/>
                      <a:pt x="51" y="143"/>
                      <a:pt x="49" y="144"/>
                    </a:cubicBezTo>
                    <a:cubicBezTo>
                      <a:pt x="47" y="144"/>
                      <a:pt x="46" y="142"/>
                      <a:pt x="46" y="139"/>
                    </a:cubicBezTo>
                    <a:cubicBezTo>
                      <a:pt x="44" y="134"/>
                      <a:pt x="43" y="118"/>
                      <a:pt x="43" y="92"/>
                    </a:cubicBezTo>
                    <a:cubicBezTo>
                      <a:pt x="43" y="76"/>
                      <a:pt x="43" y="64"/>
                      <a:pt x="42" y="57"/>
                    </a:cubicBezTo>
                    <a:cubicBezTo>
                      <a:pt x="38" y="57"/>
                      <a:pt x="38" y="57"/>
                      <a:pt x="38" y="57"/>
                    </a:cubicBezTo>
                    <a:cubicBezTo>
                      <a:pt x="36" y="88"/>
                      <a:pt x="35" y="113"/>
                      <a:pt x="35" y="132"/>
                    </a:cubicBezTo>
                    <a:cubicBezTo>
                      <a:pt x="35" y="138"/>
                      <a:pt x="33" y="142"/>
                      <a:pt x="31" y="142"/>
                    </a:cubicBezTo>
                    <a:cubicBezTo>
                      <a:pt x="29" y="142"/>
                      <a:pt x="27" y="140"/>
                      <a:pt x="27" y="136"/>
                    </a:cubicBezTo>
                    <a:cubicBezTo>
                      <a:pt x="27" y="136"/>
                      <a:pt x="27" y="134"/>
                      <a:pt x="27" y="132"/>
                    </a:cubicBezTo>
                    <a:cubicBezTo>
                      <a:pt x="28" y="118"/>
                      <a:pt x="29" y="105"/>
                      <a:pt x="29" y="95"/>
                    </a:cubicBezTo>
                    <a:cubicBezTo>
                      <a:pt x="19" y="95"/>
                      <a:pt x="14" y="98"/>
                      <a:pt x="13" y="105"/>
                    </a:cubicBezTo>
                    <a:cubicBezTo>
                      <a:pt x="10" y="114"/>
                      <a:pt x="7" y="124"/>
                      <a:pt x="5" y="135"/>
                    </a:cubicBezTo>
                    <a:cubicBezTo>
                      <a:pt x="4" y="137"/>
                      <a:pt x="3" y="139"/>
                      <a:pt x="2" y="139"/>
                    </a:cubicBezTo>
                    <a:cubicBezTo>
                      <a:pt x="1" y="140"/>
                      <a:pt x="0" y="138"/>
                      <a:pt x="0" y="135"/>
                    </a:cubicBezTo>
                    <a:cubicBezTo>
                      <a:pt x="0" y="125"/>
                      <a:pt x="2" y="115"/>
                      <a:pt x="7" y="104"/>
                    </a:cubicBezTo>
                    <a:cubicBezTo>
                      <a:pt x="11" y="92"/>
                      <a:pt x="18" y="86"/>
                      <a:pt x="30" y="86"/>
                    </a:cubicBezTo>
                    <a:cubicBezTo>
                      <a:pt x="30" y="85"/>
                      <a:pt x="30" y="83"/>
                      <a:pt x="31" y="80"/>
                    </a:cubicBezTo>
                    <a:cubicBezTo>
                      <a:pt x="29" y="81"/>
                      <a:pt x="28" y="81"/>
                      <a:pt x="26" y="80"/>
                    </a:cubicBezTo>
                    <a:cubicBezTo>
                      <a:pt x="24" y="80"/>
                      <a:pt x="23" y="80"/>
                      <a:pt x="22" y="80"/>
                    </a:cubicBezTo>
                    <a:cubicBezTo>
                      <a:pt x="14" y="81"/>
                      <a:pt x="8" y="76"/>
                      <a:pt x="5" y="66"/>
                    </a:cubicBezTo>
                    <a:cubicBezTo>
                      <a:pt x="2" y="59"/>
                      <a:pt x="0" y="49"/>
                      <a:pt x="0" y="37"/>
                    </a:cubicBezTo>
                    <a:cubicBezTo>
                      <a:pt x="0" y="32"/>
                      <a:pt x="1" y="29"/>
                      <a:pt x="3" y="29"/>
                    </a:cubicBezTo>
                    <a:cubicBezTo>
                      <a:pt x="6" y="31"/>
                      <a:pt x="8" y="35"/>
                      <a:pt x="8" y="39"/>
                    </a:cubicBezTo>
                    <a:cubicBezTo>
                      <a:pt x="7" y="45"/>
                      <a:pt x="7" y="52"/>
                      <a:pt x="9" y="59"/>
                    </a:cubicBezTo>
                    <a:cubicBezTo>
                      <a:pt x="10" y="68"/>
                      <a:pt x="16" y="73"/>
                      <a:pt x="24" y="74"/>
                    </a:cubicBezTo>
                    <a:cubicBezTo>
                      <a:pt x="26" y="74"/>
                      <a:pt x="29" y="74"/>
                      <a:pt x="31" y="74"/>
                    </a:cubicBezTo>
                    <a:cubicBezTo>
                      <a:pt x="31" y="72"/>
                      <a:pt x="31" y="69"/>
                      <a:pt x="31" y="65"/>
                    </a:cubicBezTo>
                    <a:cubicBezTo>
                      <a:pt x="31" y="61"/>
                      <a:pt x="32" y="58"/>
                      <a:pt x="32" y="57"/>
                    </a:cubicBezTo>
                    <a:cubicBezTo>
                      <a:pt x="25" y="56"/>
                      <a:pt x="20" y="53"/>
                      <a:pt x="19" y="48"/>
                    </a:cubicBezTo>
                    <a:cubicBezTo>
                      <a:pt x="15" y="36"/>
                      <a:pt x="14" y="25"/>
                      <a:pt x="16" y="14"/>
                    </a:cubicBezTo>
                    <a:cubicBezTo>
                      <a:pt x="17" y="6"/>
                      <a:pt x="21" y="2"/>
                      <a:pt x="27" y="2"/>
                    </a:cubicBezTo>
                    <a:close/>
                    <a:moveTo>
                      <a:pt x="22" y="19"/>
                    </a:moveTo>
                    <a:cubicBezTo>
                      <a:pt x="22" y="20"/>
                      <a:pt x="22" y="20"/>
                      <a:pt x="22" y="20"/>
                    </a:cubicBezTo>
                    <a:cubicBezTo>
                      <a:pt x="30" y="20"/>
                      <a:pt x="42" y="19"/>
                      <a:pt x="57" y="19"/>
                    </a:cubicBezTo>
                    <a:cubicBezTo>
                      <a:pt x="57" y="18"/>
                      <a:pt x="57" y="17"/>
                      <a:pt x="57" y="16"/>
                    </a:cubicBezTo>
                    <a:cubicBezTo>
                      <a:pt x="56" y="13"/>
                      <a:pt x="54" y="10"/>
                      <a:pt x="50" y="9"/>
                    </a:cubicBezTo>
                    <a:cubicBezTo>
                      <a:pt x="44" y="8"/>
                      <a:pt x="37" y="7"/>
                      <a:pt x="31" y="9"/>
                    </a:cubicBezTo>
                    <a:cubicBezTo>
                      <a:pt x="25" y="11"/>
                      <a:pt x="22" y="14"/>
                      <a:pt x="22" y="19"/>
                    </a:cubicBezTo>
                    <a:close/>
                    <a:moveTo>
                      <a:pt x="22" y="27"/>
                    </a:moveTo>
                    <a:cubicBezTo>
                      <a:pt x="22" y="28"/>
                      <a:pt x="22" y="29"/>
                      <a:pt x="23" y="31"/>
                    </a:cubicBezTo>
                    <a:cubicBezTo>
                      <a:pt x="23" y="32"/>
                      <a:pt x="23" y="33"/>
                      <a:pt x="23" y="34"/>
                    </a:cubicBezTo>
                    <a:cubicBezTo>
                      <a:pt x="57" y="34"/>
                      <a:pt x="57" y="34"/>
                      <a:pt x="57" y="34"/>
                    </a:cubicBezTo>
                    <a:cubicBezTo>
                      <a:pt x="57" y="27"/>
                      <a:pt x="57" y="27"/>
                      <a:pt x="57" y="27"/>
                    </a:cubicBezTo>
                    <a:cubicBezTo>
                      <a:pt x="45" y="26"/>
                      <a:pt x="33" y="26"/>
                      <a:pt x="22" y="27"/>
                    </a:cubicBezTo>
                    <a:close/>
                    <a:moveTo>
                      <a:pt x="35" y="50"/>
                    </a:moveTo>
                    <a:cubicBezTo>
                      <a:pt x="48" y="50"/>
                      <a:pt x="48" y="50"/>
                      <a:pt x="48" y="50"/>
                    </a:cubicBezTo>
                    <a:cubicBezTo>
                      <a:pt x="53" y="50"/>
                      <a:pt x="55" y="47"/>
                      <a:pt x="57" y="42"/>
                    </a:cubicBezTo>
                    <a:cubicBezTo>
                      <a:pt x="57" y="41"/>
                      <a:pt x="57" y="41"/>
                      <a:pt x="57" y="41"/>
                    </a:cubicBezTo>
                    <a:cubicBezTo>
                      <a:pt x="43" y="41"/>
                      <a:pt x="32" y="41"/>
                      <a:pt x="24" y="42"/>
                    </a:cubicBezTo>
                    <a:cubicBezTo>
                      <a:pt x="24" y="43"/>
                      <a:pt x="24" y="43"/>
                      <a:pt x="25" y="44"/>
                    </a:cubicBezTo>
                    <a:cubicBezTo>
                      <a:pt x="27" y="48"/>
                      <a:pt x="30" y="50"/>
                      <a:pt x="35" y="5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89" name="iṣlîḋè"/>
              <p:cNvSpPr/>
              <p:nvPr/>
            </p:nvSpPr>
            <p:spPr bwMode="auto">
              <a:xfrm>
                <a:off x="2604984" y="5259978"/>
                <a:ext cx="177800" cy="255588"/>
              </a:xfrm>
              <a:custGeom>
                <a:avLst/>
                <a:gdLst>
                  <a:gd name="T0" fmla="*/ 5 w 96"/>
                  <a:gd name="T1" fmla="*/ 37 h 138"/>
                  <a:gd name="T2" fmla="*/ 24 w 96"/>
                  <a:gd name="T3" fmla="*/ 49 h 138"/>
                  <a:gd name="T4" fmla="*/ 7 w 96"/>
                  <a:gd name="T5" fmla="*/ 26 h 138"/>
                  <a:gd name="T6" fmla="*/ 0 w 96"/>
                  <a:gd name="T7" fmla="*/ 22 h 138"/>
                  <a:gd name="T8" fmla="*/ 44 w 96"/>
                  <a:gd name="T9" fmla="*/ 19 h 138"/>
                  <a:gd name="T10" fmla="*/ 40 w 96"/>
                  <a:gd name="T11" fmla="*/ 26 h 138"/>
                  <a:gd name="T12" fmla="*/ 29 w 96"/>
                  <a:gd name="T13" fmla="*/ 49 h 138"/>
                  <a:gd name="T14" fmla="*/ 42 w 96"/>
                  <a:gd name="T15" fmla="*/ 39 h 138"/>
                  <a:gd name="T16" fmla="*/ 36 w 96"/>
                  <a:gd name="T17" fmla="*/ 64 h 138"/>
                  <a:gd name="T18" fmla="*/ 44 w 96"/>
                  <a:gd name="T19" fmla="*/ 70 h 138"/>
                  <a:gd name="T20" fmla="*/ 30 w 96"/>
                  <a:gd name="T21" fmla="*/ 78 h 138"/>
                  <a:gd name="T22" fmla="*/ 48 w 96"/>
                  <a:gd name="T23" fmla="*/ 111 h 138"/>
                  <a:gd name="T24" fmla="*/ 42 w 96"/>
                  <a:gd name="T25" fmla="*/ 124 h 138"/>
                  <a:gd name="T26" fmla="*/ 33 w 96"/>
                  <a:gd name="T27" fmla="*/ 93 h 138"/>
                  <a:gd name="T28" fmla="*/ 30 w 96"/>
                  <a:gd name="T29" fmla="*/ 116 h 138"/>
                  <a:gd name="T30" fmla="*/ 24 w 96"/>
                  <a:gd name="T31" fmla="*/ 133 h 138"/>
                  <a:gd name="T32" fmla="*/ 20 w 96"/>
                  <a:gd name="T33" fmla="*/ 93 h 138"/>
                  <a:gd name="T34" fmla="*/ 11 w 96"/>
                  <a:gd name="T35" fmla="*/ 122 h 138"/>
                  <a:gd name="T36" fmla="*/ 8 w 96"/>
                  <a:gd name="T37" fmla="*/ 102 h 138"/>
                  <a:gd name="T38" fmla="*/ 24 w 96"/>
                  <a:gd name="T39" fmla="*/ 81 h 138"/>
                  <a:gd name="T40" fmla="*/ 3 w 96"/>
                  <a:gd name="T41" fmla="*/ 77 h 138"/>
                  <a:gd name="T42" fmla="*/ 14 w 96"/>
                  <a:gd name="T43" fmla="*/ 70 h 138"/>
                  <a:gd name="T44" fmla="*/ 20 w 96"/>
                  <a:gd name="T45" fmla="*/ 65 h 138"/>
                  <a:gd name="T46" fmla="*/ 2 w 96"/>
                  <a:gd name="T47" fmla="*/ 37 h 138"/>
                  <a:gd name="T48" fmla="*/ 40 w 96"/>
                  <a:gd name="T49" fmla="*/ 3 h 138"/>
                  <a:gd name="T50" fmla="*/ 14 w 96"/>
                  <a:gd name="T51" fmla="*/ 11 h 138"/>
                  <a:gd name="T52" fmla="*/ 5 w 96"/>
                  <a:gd name="T53" fmla="*/ 6 h 138"/>
                  <a:gd name="T54" fmla="*/ 33 w 96"/>
                  <a:gd name="T55" fmla="*/ 26 h 138"/>
                  <a:gd name="T56" fmla="*/ 27 w 96"/>
                  <a:gd name="T57" fmla="*/ 45 h 138"/>
                  <a:gd name="T58" fmla="*/ 54 w 96"/>
                  <a:gd name="T59" fmla="*/ 2 h 138"/>
                  <a:gd name="T60" fmla="*/ 58 w 96"/>
                  <a:gd name="T61" fmla="*/ 10 h 138"/>
                  <a:gd name="T62" fmla="*/ 88 w 96"/>
                  <a:gd name="T63" fmla="*/ 22 h 138"/>
                  <a:gd name="T64" fmla="*/ 74 w 96"/>
                  <a:gd name="T65" fmla="*/ 37 h 138"/>
                  <a:gd name="T66" fmla="*/ 62 w 96"/>
                  <a:gd name="T67" fmla="*/ 66 h 138"/>
                  <a:gd name="T68" fmla="*/ 53 w 96"/>
                  <a:gd name="T69" fmla="*/ 136 h 138"/>
                  <a:gd name="T70" fmla="*/ 48 w 96"/>
                  <a:gd name="T71" fmla="*/ 130 h 138"/>
                  <a:gd name="T72" fmla="*/ 55 w 96"/>
                  <a:gd name="T73" fmla="*/ 48 h 138"/>
                  <a:gd name="T74" fmla="*/ 76 w 96"/>
                  <a:gd name="T75" fmla="*/ 31 h 138"/>
                  <a:gd name="T76" fmla="*/ 65 w 96"/>
                  <a:gd name="T77" fmla="*/ 18 h 138"/>
                  <a:gd name="T78" fmla="*/ 52 w 96"/>
                  <a:gd name="T79" fmla="*/ 13 h 138"/>
                  <a:gd name="T80" fmla="*/ 94 w 96"/>
                  <a:gd name="T81" fmla="*/ 74 h 138"/>
                  <a:gd name="T82" fmla="*/ 76 w 96"/>
                  <a:gd name="T83" fmla="*/ 54 h 138"/>
                  <a:gd name="T84" fmla="*/ 83 w 96"/>
                  <a:gd name="T85" fmla="*/ 119 h 138"/>
                  <a:gd name="T86" fmla="*/ 88 w 96"/>
                  <a:gd name="T87" fmla="*/ 133 h 138"/>
                  <a:gd name="T88" fmla="*/ 70 w 96"/>
                  <a:gd name="T89" fmla="*/ 93 h 138"/>
                  <a:gd name="T90" fmla="*/ 70 w 96"/>
                  <a:gd name="T91" fmla="*/ 42 h 138"/>
                  <a:gd name="T92" fmla="*/ 95 w 96"/>
                  <a:gd name="T93" fmla="*/ 70 h 1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96" h="138">
                    <a:moveTo>
                      <a:pt x="2" y="37"/>
                    </a:moveTo>
                    <a:cubicBezTo>
                      <a:pt x="2" y="36"/>
                      <a:pt x="2" y="35"/>
                      <a:pt x="3" y="35"/>
                    </a:cubicBezTo>
                    <a:cubicBezTo>
                      <a:pt x="4" y="35"/>
                      <a:pt x="5" y="36"/>
                      <a:pt x="5" y="37"/>
                    </a:cubicBezTo>
                    <a:cubicBezTo>
                      <a:pt x="9" y="49"/>
                      <a:pt x="14" y="56"/>
                      <a:pt x="21" y="59"/>
                    </a:cubicBezTo>
                    <a:cubicBezTo>
                      <a:pt x="21" y="59"/>
                      <a:pt x="22" y="60"/>
                      <a:pt x="24" y="60"/>
                    </a:cubicBezTo>
                    <a:cubicBezTo>
                      <a:pt x="24" y="56"/>
                      <a:pt x="24" y="53"/>
                      <a:pt x="24" y="49"/>
                    </a:cubicBezTo>
                    <a:cubicBezTo>
                      <a:pt x="21" y="48"/>
                      <a:pt x="18" y="46"/>
                      <a:pt x="16" y="42"/>
                    </a:cubicBezTo>
                    <a:cubicBezTo>
                      <a:pt x="13" y="38"/>
                      <a:pt x="12" y="33"/>
                      <a:pt x="12" y="26"/>
                    </a:cubicBezTo>
                    <a:cubicBezTo>
                      <a:pt x="9" y="26"/>
                      <a:pt x="8" y="26"/>
                      <a:pt x="7" y="26"/>
                    </a:cubicBezTo>
                    <a:cubicBezTo>
                      <a:pt x="4" y="27"/>
                      <a:pt x="2" y="27"/>
                      <a:pt x="1" y="25"/>
                    </a:cubicBezTo>
                    <a:cubicBezTo>
                      <a:pt x="0" y="24"/>
                      <a:pt x="0" y="23"/>
                      <a:pt x="0" y="22"/>
                    </a:cubicBezTo>
                    <a:cubicBezTo>
                      <a:pt x="0" y="22"/>
                      <a:pt x="0" y="22"/>
                      <a:pt x="0" y="22"/>
                    </a:cubicBezTo>
                    <a:cubicBezTo>
                      <a:pt x="1" y="19"/>
                      <a:pt x="2" y="18"/>
                      <a:pt x="4" y="19"/>
                    </a:cubicBezTo>
                    <a:cubicBezTo>
                      <a:pt x="6" y="19"/>
                      <a:pt x="8" y="19"/>
                      <a:pt x="11" y="19"/>
                    </a:cubicBezTo>
                    <a:cubicBezTo>
                      <a:pt x="44" y="19"/>
                      <a:pt x="44" y="19"/>
                      <a:pt x="44" y="19"/>
                    </a:cubicBezTo>
                    <a:cubicBezTo>
                      <a:pt x="46" y="19"/>
                      <a:pt x="48" y="20"/>
                      <a:pt x="48" y="23"/>
                    </a:cubicBezTo>
                    <a:cubicBezTo>
                      <a:pt x="47" y="25"/>
                      <a:pt x="45" y="26"/>
                      <a:pt x="42" y="26"/>
                    </a:cubicBezTo>
                    <a:cubicBezTo>
                      <a:pt x="42" y="26"/>
                      <a:pt x="41" y="26"/>
                      <a:pt x="40" y="26"/>
                    </a:cubicBezTo>
                    <a:cubicBezTo>
                      <a:pt x="40" y="26"/>
                      <a:pt x="40" y="26"/>
                      <a:pt x="40" y="26"/>
                    </a:cubicBezTo>
                    <a:cubicBezTo>
                      <a:pt x="39" y="34"/>
                      <a:pt x="38" y="39"/>
                      <a:pt x="37" y="42"/>
                    </a:cubicBezTo>
                    <a:cubicBezTo>
                      <a:pt x="34" y="46"/>
                      <a:pt x="32" y="49"/>
                      <a:pt x="29" y="49"/>
                    </a:cubicBezTo>
                    <a:cubicBezTo>
                      <a:pt x="30" y="53"/>
                      <a:pt x="30" y="56"/>
                      <a:pt x="30" y="60"/>
                    </a:cubicBezTo>
                    <a:cubicBezTo>
                      <a:pt x="31" y="60"/>
                      <a:pt x="32" y="59"/>
                      <a:pt x="33" y="58"/>
                    </a:cubicBezTo>
                    <a:cubicBezTo>
                      <a:pt x="39" y="56"/>
                      <a:pt x="42" y="49"/>
                      <a:pt x="42" y="39"/>
                    </a:cubicBezTo>
                    <a:cubicBezTo>
                      <a:pt x="43" y="37"/>
                      <a:pt x="44" y="36"/>
                      <a:pt x="46" y="36"/>
                    </a:cubicBezTo>
                    <a:cubicBezTo>
                      <a:pt x="47" y="36"/>
                      <a:pt x="48" y="37"/>
                      <a:pt x="48" y="39"/>
                    </a:cubicBezTo>
                    <a:cubicBezTo>
                      <a:pt x="49" y="49"/>
                      <a:pt x="45" y="57"/>
                      <a:pt x="36" y="64"/>
                    </a:cubicBezTo>
                    <a:cubicBezTo>
                      <a:pt x="34" y="65"/>
                      <a:pt x="32" y="66"/>
                      <a:pt x="30" y="66"/>
                    </a:cubicBezTo>
                    <a:cubicBezTo>
                      <a:pt x="30" y="70"/>
                      <a:pt x="30" y="70"/>
                      <a:pt x="30" y="70"/>
                    </a:cubicBezTo>
                    <a:cubicBezTo>
                      <a:pt x="44" y="70"/>
                      <a:pt x="44" y="70"/>
                      <a:pt x="44" y="70"/>
                    </a:cubicBezTo>
                    <a:cubicBezTo>
                      <a:pt x="47" y="70"/>
                      <a:pt x="49" y="71"/>
                      <a:pt x="49" y="73"/>
                    </a:cubicBezTo>
                    <a:cubicBezTo>
                      <a:pt x="49" y="76"/>
                      <a:pt x="47" y="77"/>
                      <a:pt x="43" y="77"/>
                    </a:cubicBezTo>
                    <a:cubicBezTo>
                      <a:pt x="37" y="77"/>
                      <a:pt x="33" y="77"/>
                      <a:pt x="30" y="78"/>
                    </a:cubicBezTo>
                    <a:cubicBezTo>
                      <a:pt x="30" y="80"/>
                      <a:pt x="30" y="82"/>
                      <a:pt x="30" y="84"/>
                    </a:cubicBezTo>
                    <a:cubicBezTo>
                      <a:pt x="34" y="84"/>
                      <a:pt x="37" y="87"/>
                      <a:pt x="40" y="91"/>
                    </a:cubicBezTo>
                    <a:cubicBezTo>
                      <a:pt x="44" y="96"/>
                      <a:pt x="46" y="103"/>
                      <a:pt x="48" y="111"/>
                    </a:cubicBezTo>
                    <a:cubicBezTo>
                      <a:pt x="49" y="116"/>
                      <a:pt x="49" y="120"/>
                      <a:pt x="48" y="124"/>
                    </a:cubicBezTo>
                    <a:cubicBezTo>
                      <a:pt x="47" y="125"/>
                      <a:pt x="46" y="125"/>
                      <a:pt x="45" y="125"/>
                    </a:cubicBezTo>
                    <a:cubicBezTo>
                      <a:pt x="44" y="125"/>
                      <a:pt x="43" y="125"/>
                      <a:pt x="42" y="124"/>
                    </a:cubicBezTo>
                    <a:cubicBezTo>
                      <a:pt x="42" y="123"/>
                      <a:pt x="42" y="121"/>
                      <a:pt x="42" y="118"/>
                    </a:cubicBezTo>
                    <a:cubicBezTo>
                      <a:pt x="41" y="116"/>
                      <a:pt x="41" y="114"/>
                      <a:pt x="41" y="113"/>
                    </a:cubicBezTo>
                    <a:cubicBezTo>
                      <a:pt x="40" y="104"/>
                      <a:pt x="37" y="97"/>
                      <a:pt x="33" y="93"/>
                    </a:cubicBezTo>
                    <a:cubicBezTo>
                      <a:pt x="33" y="92"/>
                      <a:pt x="32" y="91"/>
                      <a:pt x="30" y="91"/>
                    </a:cubicBezTo>
                    <a:cubicBezTo>
                      <a:pt x="31" y="97"/>
                      <a:pt x="31" y="101"/>
                      <a:pt x="31" y="105"/>
                    </a:cubicBezTo>
                    <a:cubicBezTo>
                      <a:pt x="31" y="107"/>
                      <a:pt x="31" y="111"/>
                      <a:pt x="30" y="116"/>
                    </a:cubicBezTo>
                    <a:cubicBezTo>
                      <a:pt x="30" y="124"/>
                      <a:pt x="30" y="129"/>
                      <a:pt x="29" y="133"/>
                    </a:cubicBezTo>
                    <a:cubicBezTo>
                      <a:pt x="29" y="136"/>
                      <a:pt x="28" y="137"/>
                      <a:pt x="27" y="137"/>
                    </a:cubicBezTo>
                    <a:cubicBezTo>
                      <a:pt x="26" y="137"/>
                      <a:pt x="25" y="136"/>
                      <a:pt x="24" y="133"/>
                    </a:cubicBezTo>
                    <a:cubicBezTo>
                      <a:pt x="24" y="120"/>
                      <a:pt x="24" y="111"/>
                      <a:pt x="24" y="105"/>
                    </a:cubicBezTo>
                    <a:cubicBezTo>
                      <a:pt x="24" y="100"/>
                      <a:pt x="24" y="95"/>
                      <a:pt x="24" y="90"/>
                    </a:cubicBezTo>
                    <a:cubicBezTo>
                      <a:pt x="22" y="91"/>
                      <a:pt x="21" y="92"/>
                      <a:pt x="20" y="93"/>
                    </a:cubicBezTo>
                    <a:cubicBezTo>
                      <a:pt x="18" y="94"/>
                      <a:pt x="16" y="98"/>
                      <a:pt x="14" y="102"/>
                    </a:cubicBezTo>
                    <a:cubicBezTo>
                      <a:pt x="13" y="104"/>
                      <a:pt x="13" y="104"/>
                      <a:pt x="13" y="104"/>
                    </a:cubicBezTo>
                    <a:cubicBezTo>
                      <a:pt x="12" y="108"/>
                      <a:pt x="11" y="114"/>
                      <a:pt x="11" y="122"/>
                    </a:cubicBezTo>
                    <a:cubicBezTo>
                      <a:pt x="10" y="124"/>
                      <a:pt x="9" y="125"/>
                      <a:pt x="7" y="125"/>
                    </a:cubicBezTo>
                    <a:cubicBezTo>
                      <a:pt x="6" y="125"/>
                      <a:pt x="5" y="124"/>
                      <a:pt x="5" y="122"/>
                    </a:cubicBezTo>
                    <a:cubicBezTo>
                      <a:pt x="6" y="115"/>
                      <a:pt x="7" y="108"/>
                      <a:pt x="8" y="102"/>
                    </a:cubicBezTo>
                    <a:cubicBezTo>
                      <a:pt x="9" y="97"/>
                      <a:pt x="11" y="92"/>
                      <a:pt x="14" y="89"/>
                    </a:cubicBezTo>
                    <a:cubicBezTo>
                      <a:pt x="17" y="86"/>
                      <a:pt x="20" y="84"/>
                      <a:pt x="24" y="84"/>
                    </a:cubicBezTo>
                    <a:cubicBezTo>
                      <a:pt x="24" y="81"/>
                      <a:pt x="24" y="81"/>
                      <a:pt x="24" y="81"/>
                    </a:cubicBezTo>
                    <a:cubicBezTo>
                      <a:pt x="24" y="80"/>
                      <a:pt x="24" y="79"/>
                      <a:pt x="24" y="78"/>
                    </a:cubicBezTo>
                    <a:cubicBezTo>
                      <a:pt x="14" y="78"/>
                      <a:pt x="9" y="78"/>
                      <a:pt x="9" y="78"/>
                    </a:cubicBezTo>
                    <a:cubicBezTo>
                      <a:pt x="6" y="79"/>
                      <a:pt x="4" y="79"/>
                      <a:pt x="3" y="77"/>
                    </a:cubicBezTo>
                    <a:cubicBezTo>
                      <a:pt x="2" y="76"/>
                      <a:pt x="2" y="74"/>
                      <a:pt x="3" y="72"/>
                    </a:cubicBezTo>
                    <a:cubicBezTo>
                      <a:pt x="3" y="70"/>
                      <a:pt x="4" y="70"/>
                      <a:pt x="7" y="70"/>
                    </a:cubicBezTo>
                    <a:cubicBezTo>
                      <a:pt x="8" y="70"/>
                      <a:pt x="10" y="70"/>
                      <a:pt x="14" y="70"/>
                    </a:cubicBezTo>
                    <a:cubicBezTo>
                      <a:pt x="24" y="70"/>
                      <a:pt x="24" y="70"/>
                      <a:pt x="24" y="70"/>
                    </a:cubicBezTo>
                    <a:cubicBezTo>
                      <a:pt x="24" y="66"/>
                      <a:pt x="24" y="66"/>
                      <a:pt x="24" y="66"/>
                    </a:cubicBezTo>
                    <a:cubicBezTo>
                      <a:pt x="22" y="66"/>
                      <a:pt x="21" y="66"/>
                      <a:pt x="20" y="65"/>
                    </a:cubicBezTo>
                    <a:cubicBezTo>
                      <a:pt x="12" y="62"/>
                      <a:pt x="6" y="56"/>
                      <a:pt x="2" y="46"/>
                    </a:cubicBezTo>
                    <a:cubicBezTo>
                      <a:pt x="2" y="46"/>
                      <a:pt x="2" y="43"/>
                      <a:pt x="2" y="40"/>
                    </a:cubicBezTo>
                    <a:cubicBezTo>
                      <a:pt x="2" y="39"/>
                      <a:pt x="2" y="38"/>
                      <a:pt x="2" y="37"/>
                    </a:cubicBezTo>
                    <a:close/>
                    <a:moveTo>
                      <a:pt x="9" y="3"/>
                    </a:moveTo>
                    <a:cubicBezTo>
                      <a:pt x="11" y="3"/>
                      <a:pt x="15" y="3"/>
                      <a:pt x="19" y="3"/>
                    </a:cubicBezTo>
                    <a:cubicBezTo>
                      <a:pt x="40" y="3"/>
                      <a:pt x="40" y="3"/>
                      <a:pt x="40" y="3"/>
                    </a:cubicBezTo>
                    <a:cubicBezTo>
                      <a:pt x="43" y="3"/>
                      <a:pt x="44" y="5"/>
                      <a:pt x="44" y="7"/>
                    </a:cubicBezTo>
                    <a:cubicBezTo>
                      <a:pt x="44" y="9"/>
                      <a:pt x="42" y="10"/>
                      <a:pt x="39" y="10"/>
                    </a:cubicBezTo>
                    <a:cubicBezTo>
                      <a:pt x="34" y="10"/>
                      <a:pt x="25" y="10"/>
                      <a:pt x="14" y="11"/>
                    </a:cubicBezTo>
                    <a:cubicBezTo>
                      <a:pt x="13" y="11"/>
                      <a:pt x="12" y="11"/>
                      <a:pt x="11" y="11"/>
                    </a:cubicBezTo>
                    <a:cubicBezTo>
                      <a:pt x="7" y="11"/>
                      <a:pt x="5" y="11"/>
                      <a:pt x="5" y="9"/>
                    </a:cubicBezTo>
                    <a:cubicBezTo>
                      <a:pt x="5" y="9"/>
                      <a:pt x="4" y="8"/>
                      <a:pt x="5" y="6"/>
                    </a:cubicBezTo>
                    <a:cubicBezTo>
                      <a:pt x="5" y="5"/>
                      <a:pt x="5" y="5"/>
                      <a:pt x="5" y="5"/>
                    </a:cubicBezTo>
                    <a:cubicBezTo>
                      <a:pt x="5" y="3"/>
                      <a:pt x="6" y="3"/>
                      <a:pt x="9" y="3"/>
                    </a:cubicBezTo>
                    <a:close/>
                    <a:moveTo>
                      <a:pt x="33" y="26"/>
                    </a:moveTo>
                    <a:cubicBezTo>
                      <a:pt x="28" y="26"/>
                      <a:pt x="23" y="26"/>
                      <a:pt x="17" y="26"/>
                    </a:cubicBezTo>
                    <a:cubicBezTo>
                      <a:pt x="18" y="32"/>
                      <a:pt x="20" y="38"/>
                      <a:pt x="24" y="42"/>
                    </a:cubicBezTo>
                    <a:cubicBezTo>
                      <a:pt x="25" y="44"/>
                      <a:pt x="26" y="45"/>
                      <a:pt x="27" y="45"/>
                    </a:cubicBezTo>
                    <a:cubicBezTo>
                      <a:pt x="28" y="45"/>
                      <a:pt x="29" y="44"/>
                      <a:pt x="29" y="42"/>
                    </a:cubicBezTo>
                    <a:cubicBezTo>
                      <a:pt x="32" y="38"/>
                      <a:pt x="33" y="33"/>
                      <a:pt x="33" y="26"/>
                    </a:cubicBezTo>
                    <a:close/>
                    <a:moveTo>
                      <a:pt x="54" y="2"/>
                    </a:moveTo>
                    <a:cubicBezTo>
                      <a:pt x="55" y="0"/>
                      <a:pt x="57" y="0"/>
                      <a:pt x="58" y="1"/>
                    </a:cubicBezTo>
                    <a:cubicBezTo>
                      <a:pt x="59" y="2"/>
                      <a:pt x="60" y="4"/>
                      <a:pt x="59" y="6"/>
                    </a:cubicBezTo>
                    <a:cubicBezTo>
                      <a:pt x="57" y="8"/>
                      <a:pt x="57" y="9"/>
                      <a:pt x="58" y="10"/>
                    </a:cubicBezTo>
                    <a:cubicBezTo>
                      <a:pt x="59" y="11"/>
                      <a:pt x="61" y="12"/>
                      <a:pt x="63" y="11"/>
                    </a:cubicBezTo>
                    <a:cubicBezTo>
                      <a:pt x="67" y="9"/>
                      <a:pt x="73" y="9"/>
                      <a:pt x="80" y="11"/>
                    </a:cubicBezTo>
                    <a:cubicBezTo>
                      <a:pt x="84" y="13"/>
                      <a:pt x="87" y="16"/>
                      <a:pt x="88" y="22"/>
                    </a:cubicBezTo>
                    <a:cubicBezTo>
                      <a:pt x="89" y="27"/>
                      <a:pt x="88" y="32"/>
                      <a:pt x="85" y="35"/>
                    </a:cubicBezTo>
                    <a:cubicBezTo>
                      <a:pt x="84" y="38"/>
                      <a:pt x="81" y="39"/>
                      <a:pt x="75" y="37"/>
                    </a:cubicBezTo>
                    <a:cubicBezTo>
                      <a:pt x="75" y="37"/>
                      <a:pt x="74" y="37"/>
                      <a:pt x="74" y="37"/>
                    </a:cubicBezTo>
                    <a:cubicBezTo>
                      <a:pt x="69" y="37"/>
                      <a:pt x="66" y="37"/>
                      <a:pt x="63" y="38"/>
                    </a:cubicBezTo>
                    <a:cubicBezTo>
                      <a:pt x="62" y="38"/>
                      <a:pt x="61" y="40"/>
                      <a:pt x="61" y="43"/>
                    </a:cubicBezTo>
                    <a:cubicBezTo>
                      <a:pt x="62" y="48"/>
                      <a:pt x="62" y="56"/>
                      <a:pt x="62" y="66"/>
                    </a:cubicBezTo>
                    <a:cubicBezTo>
                      <a:pt x="62" y="70"/>
                      <a:pt x="61" y="76"/>
                      <a:pt x="61" y="84"/>
                    </a:cubicBezTo>
                    <a:cubicBezTo>
                      <a:pt x="59" y="99"/>
                      <a:pt x="58" y="110"/>
                      <a:pt x="57" y="116"/>
                    </a:cubicBezTo>
                    <a:cubicBezTo>
                      <a:pt x="57" y="122"/>
                      <a:pt x="55" y="128"/>
                      <a:pt x="53" y="136"/>
                    </a:cubicBezTo>
                    <a:cubicBezTo>
                      <a:pt x="52" y="137"/>
                      <a:pt x="51" y="138"/>
                      <a:pt x="50" y="138"/>
                    </a:cubicBezTo>
                    <a:cubicBezTo>
                      <a:pt x="48" y="138"/>
                      <a:pt x="48" y="137"/>
                      <a:pt x="48" y="136"/>
                    </a:cubicBezTo>
                    <a:cubicBezTo>
                      <a:pt x="48" y="135"/>
                      <a:pt x="48" y="133"/>
                      <a:pt x="48" y="130"/>
                    </a:cubicBezTo>
                    <a:cubicBezTo>
                      <a:pt x="49" y="127"/>
                      <a:pt x="49" y="126"/>
                      <a:pt x="49" y="125"/>
                    </a:cubicBezTo>
                    <a:cubicBezTo>
                      <a:pt x="53" y="104"/>
                      <a:pt x="55" y="85"/>
                      <a:pt x="55" y="68"/>
                    </a:cubicBezTo>
                    <a:cubicBezTo>
                      <a:pt x="56" y="60"/>
                      <a:pt x="56" y="54"/>
                      <a:pt x="55" y="48"/>
                    </a:cubicBezTo>
                    <a:cubicBezTo>
                      <a:pt x="54" y="45"/>
                      <a:pt x="53" y="42"/>
                      <a:pt x="52" y="40"/>
                    </a:cubicBezTo>
                    <a:cubicBezTo>
                      <a:pt x="50" y="38"/>
                      <a:pt x="51" y="36"/>
                      <a:pt x="54" y="34"/>
                    </a:cubicBezTo>
                    <a:cubicBezTo>
                      <a:pt x="58" y="30"/>
                      <a:pt x="66" y="29"/>
                      <a:pt x="76" y="31"/>
                    </a:cubicBezTo>
                    <a:cubicBezTo>
                      <a:pt x="81" y="32"/>
                      <a:pt x="83" y="30"/>
                      <a:pt x="83" y="25"/>
                    </a:cubicBezTo>
                    <a:cubicBezTo>
                      <a:pt x="83" y="21"/>
                      <a:pt x="81" y="18"/>
                      <a:pt x="77" y="18"/>
                    </a:cubicBezTo>
                    <a:cubicBezTo>
                      <a:pt x="70" y="17"/>
                      <a:pt x="66" y="17"/>
                      <a:pt x="65" y="18"/>
                    </a:cubicBezTo>
                    <a:cubicBezTo>
                      <a:pt x="63" y="19"/>
                      <a:pt x="60" y="19"/>
                      <a:pt x="57" y="19"/>
                    </a:cubicBezTo>
                    <a:cubicBezTo>
                      <a:pt x="57" y="18"/>
                      <a:pt x="55" y="17"/>
                      <a:pt x="53" y="15"/>
                    </a:cubicBezTo>
                    <a:cubicBezTo>
                      <a:pt x="53" y="14"/>
                      <a:pt x="52" y="14"/>
                      <a:pt x="52" y="13"/>
                    </a:cubicBezTo>
                    <a:cubicBezTo>
                      <a:pt x="50" y="10"/>
                      <a:pt x="51" y="6"/>
                      <a:pt x="54" y="2"/>
                    </a:cubicBezTo>
                    <a:close/>
                    <a:moveTo>
                      <a:pt x="95" y="70"/>
                    </a:moveTo>
                    <a:cubicBezTo>
                      <a:pt x="96" y="72"/>
                      <a:pt x="95" y="73"/>
                      <a:pt x="94" y="74"/>
                    </a:cubicBezTo>
                    <a:cubicBezTo>
                      <a:pt x="92" y="74"/>
                      <a:pt x="91" y="74"/>
                      <a:pt x="90" y="72"/>
                    </a:cubicBezTo>
                    <a:cubicBezTo>
                      <a:pt x="88" y="67"/>
                      <a:pt x="84" y="62"/>
                      <a:pt x="78" y="56"/>
                    </a:cubicBezTo>
                    <a:cubicBezTo>
                      <a:pt x="77" y="55"/>
                      <a:pt x="76" y="54"/>
                      <a:pt x="76" y="54"/>
                    </a:cubicBezTo>
                    <a:cubicBezTo>
                      <a:pt x="75" y="56"/>
                      <a:pt x="75" y="56"/>
                      <a:pt x="75" y="56"/>
                    </a:cubicBezTo>
                    <a:cubicBezTo>
                      <a:pt x="75" y="61"/>
                      <a:pt x="75" y="73"/>
                      <a:pt x="77" y="93"/>
                    </a:cubicBezTo>
                    <a:cubicBezTo>
                      <a:pt x="78" y="99"/>
                      <a:pt x="80" y="107"/>
                      <a:pt x="83" y="119"/>
                    </a:cubicBezTo>
                    <a:cubicBezTo>
                      <a:pt x="84" y="122"/>
                      <a:pt x="85" y="124"/>
                      <a:pt x="85" y="124"/>
                    </a:cubicBezTo>
                    <a:cubicBezTo>
                      <a:pt x="86" y="126"/>
                      <a:pt x="86" y="128"/>
                      <a:pt x="87" y="131"/>
                    </a:cubicBezTo>
                    <a:cubicBezTo>
                      <a:pt x="88" y="132"/>
                      <a:pt x="88" y="133"/>
                      <a:pt x="88" y="133"/>
                    </a:cubicBezTo>
                    <a:cubicBezTo>
                      <a:pt x="88" y="135"/>
                      <a:pt x="88" y="136"/>
                      <a:pt x="86" y="136"/>
                    </a:cubicBezTo>
                    <a:cubicBezTo>
                      <a:pt x="84" y="136"/>
                      <a:pt x="83" y="135"/>
                      <a:pt x="82" y="133"/>
                    </a:cubicBezTo>
                    <a:cubicBezTo>
                      <a:pt x="77" y="123"/>
                      <a:pt x="73" y="110"/>
                      <a:pt x="70" y="93"/>
                    </a:cubicBezTo>
                    <a:cubicBezTo>
                      <a:pt x="69" y="79"/>
                      <a:pt x="68" y="68"/>
                      <a:pt x="68" y="58"/>
                    </a:cubicBezTo>
                    <a:cubicBezTo>
                      <a:pt x="68" y="51"/>
                      <a:pt x="68" y="46"/>
                      <a:pt x="68" y="44"/>
                    </a:cubicBezTo>
                    <a:cubicBezTo>
                      <a:pt x="68" y="43"/>
                      <a:pt x="69" y="42"/>
                      <a:pt x="70" y="42"/>
                    </a:cubicBezTo>
                    <a:cubicBezTo>
                      <a:pt x="71" y="41"/>
                      <a:pt x="71" y="41"/>
                      <a:pt x="72" y="42"/>
                    </a:cubicBezTo>
                    <a:cubicBezTo>
                      <a:pt x="76" y="45"/>
                      <a:pt x="78" y="48"/>
                      <a:pt x="80" y="49"/>
                    </a:cubicBezTo>
                    <a:cubicBezTo>
                      <a:pt x="86" y="54"/>
                      <a:pt x="91" y="61"/>
                      <a:pt x="95" y="7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90" name="íṣ1ïḑe"/>
              <p:cNvSpPr/>
              <p:nvPr/>
            </p:nvSpPr>
            <p:spPr bwMode="auto">
              <a:xfrm>
                <a:off x="1750909" y="4905965"/>
                <a:ext cx="93663" cy="87313"/>
              </a:xfrm>
              <a:custGeom>
                <a:avLst/>
                <a:gdLst>
                  <a:gd name="T0" fmla="*/ 51 w 51"/>
                  <a:gd name="T1" fmla="*/ 17 h 47"/>
                  <a:gd name="T2" fmla="*/ 46 w 51"/>
                  <a:gd name="T3" fmla="*/ 25 h 47"/>
                  <a:gd name="T4" fmla="*/ 26 w 51"/>
                  <a:gd name="T5" fmla="*/ 13 h 47"/>
                  <a:gd name="T6" fmla="*/ 20 w 51"/>
                  <a:gd name="T7" fmla="*/ 9 h 47"/>
                  <a:gd name="T8" fmla="*/ 14 w 51"/>
                  <a:gd name="T9" fmla="*/ 9 h 47"/>
                  <a:gd name="T10" fmla="*/ 10 w 51"/>
                  <a:gd name="T11" fmla="*/ 13 h 47"/>
                  <a:gd name="T12" fmla="*/ 8 w 51"/>
                  <a:gd name="T13" fmla="*/ 19 h 47"/>
                  <a:gd name="T14" fmla="*/ 10 w 51"/>
                  <a:gd name="T15" fmla="*/ 23 h 47"/>
                  <a:gd name="T16" fmla="*/ 17 w 51"/>
                  <a:gd name="T17" fmla="*/ 27 h 47"/>
                  <a:gd name="T18" fmla="*/ 37 w 51"/>
                  <a:gd name="T19" fmla="*/ 40 h 47"/>
                  <a:gd name="T20" fmla="*/ 33 w 51"/>
                  <a:gd name="T21" fmla="*/ 47 h 47"/>
                  <a:gd name="T22" fmla="*/ 13 w 51"/>
                  <a:gd name="T23" fmla="*/ 35 h 47"/>
                  <a:gd name="T24" fmla="*/ 4 w 51"/>
                  <a:gd name="T25" fmla="*/ 29 h 47"/>
                  <a:gd name="T26" fmla="*/ 1 w 51"/>
                  <a:gd name="T27" fmla="*/ 24 h 47"/>
                  <a:gd name="T28" fmla="*/ 0 w 51"/>
                  <a:gd name="T29" fmla="*/ 18 h 47"/>
                  <a:gd name="T30" fmla="*/ 3 w 51"/>
                  <a:gd name="T31" fmla="*/ 10 h 47"/>
                  <a:gd name="T32" fmla="*/ 10 w 51"/>
                  <a:gd name="T33" fmla="*/ 2 h 47"/>
                  <a:gd name="T34" fmla="*/ 15 w 51"/>
                  <a:gd name="T35" fmla="*/ 0 h 47"/>
                  <a:gd name="T36" fmla="*/ 21 w 51"/>
                  <a:gd name="T37" fmla="*/ 0 h 47"/>
                  <a:gd name="T38" fmla="*/ 31 w 51"/>
                  <a:gd name="T39" fmla="*/ 5 h 47"/>
                  <a:gd name="T40" fmla="*/ 51 w 51"/>
                  <a:gd name="T41" fmla="*/ 17 h 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51" h="47">
                    <a:moveTo>
                      <a:pt x="51" y="17"/>
                    </a:moveTo>
                    <a:cubicBezTo>
                      <a:pt x="46" y="25"/>
                      <a:pt x="46" y="25"/>
                      <a:pt x="46" y="25"/>
                    </a:cubicBezTo>
                    <a:cubicBezTo>
                      <a:pt x="26" y="13"/>
                      <a:pt x="26" y="13"/>
                      <a:pt x="26" y="13"/>
                    </a:cubicBezTo>
                    <a:cubicBezTo>
                      <a:pt x="23" y="11"/>
                      <a:pt x="21" y="10"/>
                      <a:pt x="20" y="9"/>
                    </a:cubicBezTo>
                    <a:cubicBezTo>
                      <a:pt x="18" y="9"/>
                      <a:pt x="16" y="9"/>
                      <a:pt x="14" y="9"/>
                    </a:cubicBezTo>
                    <a:cubicBezTo>
                      <a:pt x="13" y="10"/>
                      <a:pt x="11" y="11"/>
                      <a:pt x="10" y="13"/>
                    </a:cubicBezTo>
                    <a:cubicBezTo>
                      <a:pt x="9" y="16"/>
                      <a:pt x="8" y="17"/>
                      <a:pt x="8" y="19"/>
                    </a:cubicBezTo>
                    <a:cubicBezTo>
                      <a:pt x="9" y="21"/>
                      <a:pt x="9" y="22"/>
                      <a:pt x="10" y="23"/>
                    </a:cubicBezTo>
                    <a:cubicBezTo>
                      <a:pt x="12" y="24"/>
                      <a:pt x="14" y="25"/>
                      <a:pt x="17" y="27"/>
                    </a:cubicBezTo>
                    <a:cubicBezTo>
                      <a:pt x="37" y="40"/>
                      <a:pt x="37" y="40"/>
                      <a:pt x="37" y="40"/>
                    </a:cubicBezTo>
                    <a:cubicBezTo>
                      <a:pt x="33" y="47"/>
                      <a:pt x="33" y="47"/>
                      <a:pt x="33" y="47"/>
                    </a:cubicBezTo>
                    <a:cubicBezTo>
                      <a:pt x="13" y="35"/>
                      <a:pt x="13" y="35"/>
                      <a:pt x="13" y="35"/>
                    </a:cubicBezTo>
                    <a:cubicBezTo>
                      <a:pt x="9" y="33"/>
                      <a:pt x="6" y="31"/>
                      <a:pt x="4" y="29"/>
                    </a:cubicBezTo>
                    <a:cubicBezTo>
                      <a:pt x="2" y="28"/>
                      <a:pt x="1" y="26"/>
                      <a:pt x="1" y="24"/>
                    </a:cubicBezTo>
                    <a:cubicBezTo>
                      <a:pt x="0" y="22"/>
                      <a:pt x="0" y="20"/>
                      <a:pt x="0" y="18"/>
                    </a:cubicBezTo>
                    <a:cubicBezTo>
                      <a:pt x="0" y="15"/>
                      <a:pt x="2" y="13"/>
                      <a:pt x="3" y="10"/>
                    </a:cubicBezTo>
                    <a:cubicBezTo>
                      <a:pt x="6" y="6"/>
                      <a:pt x="8" y="4"/>
                      <a:pt x="10" y="2"/>
                    </a:cubicBezTo>
                    <a:cubicBezTo>
                      <a:pt x="11" y="1"/>
                      <a:pt x="13" y="0"/>
                      <a:pt x="15" y="0"/>
                    </a:cubicBezTo>
                    <a:cubicBezTo>
                      <a:pt x="17" y="0"/>
                      <a:pt x="19" y="0"/>
                      <a:pt x="21" y="0"/>
                    </a:cubicBezTo>
                    <a:cubicBezTo>
                      <a:pt x="23" y="1"/>
                      <a:pt x="27" y="3"/>
                      <a:pt x="31" y="5"/>
                    </a:cubicBezTo>
                    <a:lnTo>
                      <a:pt x="51" y="1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91" name="íṧḷîde"/>
              <p:cNvSpPr/>
              <p:nvPr/>
            </p:nvSpPr>
            <p:spPr bwMode="auto">
              <a:xfrm>
                <a:off x="1704872" y="4971053"/>
                <a:ext cx="100013" cy="92075"/>
              </a:xfrm>
              <a:custGeom>
                <a:avLst/>
                <a:gdLst>
                  <a:gd name="T0" fmla="*/ 17 w 63"/>
                  <a:gd name="T1" fmla="*/ 0 h 58"/>
                  <a:gd name="T2" fmla="*/ 63 w 63"/>
                  <a:gd name="T3" fmla="*/ 21 h 58"/>
                  <a:gd name="T4" fmla="*/ 59 w 63"/>
                  <a:gd name="T5" fmla="*/ 30 h 58"/>
                  <a:gd name="T6" fmla="*/ 19 w 63"/>
                  <a:gd name="T7" fmla="*/ 35 h 58"/>
                  <a:gd name="T8" fmla="*/ 50 w 63"/>
                  <a:gd name="T9" fmla="*/ 50 h 58"/>
                  <a:gd name="T10" fmla="*/ 46 w 63"/>
                  <a:gd name="T11" fmla="*/ 58 h 58"/>
                  <a:gd name="T12" fmla="*/ 0 w 63"/>
                  <a:gd name="T13" fmla="*/ 37 h 58"/>
                  <a:gd name="T14" fmla="*/ 4 w 63"/>
                  <a:gd name="T15" fmla="*/ 26 h 58"/>
                  <a:gd name="T16" fmla="*/ 43 w 63"/>
                  <a:gd name="T17" fmla="*/ 22 h 58"/>
                  <a:gd name="T18" fmla="*/ 12 w 63"/>
                  <a:gd name="T19" fmla="*/ 8 h 58"/>
                  <a:gd name="T20" fmla="*/ 17 w 63"/>
                  <a:gd name="T21" fmla="*/ 0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63" h="58">
                    <a:moveTo>
                      <a:pt x="17" y="0"/>
                    </a:moveTo>
                    <a:lnTo>
                      <a:pt x="63" y="21"/>
                    </a:lnTo>
                    <a:lnTo>
                      <a:pt x="59" y="30"/>
                    </a:lnTo>
                    <a:lnTo>
                      <a:pt x="19" y="35"/>
                    </a:lnTo>
                    <a:lnTo>
                      <a:pt x="50" y="50"/>
                    </a:lnTo>
                    <a:lnTo>
                      <a:pt x="46" y="58"/>
                    </a:lnTo>
                    <a:lnTo>
                      <a:pt x="0" y="37"/>
                    </a:lnTo>
                    <a:lnTo>
                      <a:pt x="4" y="26"/>
                    </a:lnTo>
                    <a:lnTo>
                      <a:pt x="43" y="22"/>
                    </a:lnTo>
                    <a:lnTo>
                      <a:pt x="12" y="8"/>
                    </a:lnTo>
                    <a:lnTo>
                      <a:pt x="17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92" name="íS1îḍé"/>
              <p:cNvSpPr/>
              <p:nvPr/>
            </p:nvSpPr>
            <p:spPr bwMode="auto">
              <a:xfrm>
                <a:off x="1690584" y="5045665"/>
                <a:ext cx="84138" cy="44450"/>
              </a:xfrm>
              <a:custGeom>
                <a:avLst/>
                <a:gdLst>
                  <a:gd name="T0" fmla="*/ 5 w 53"/>
                  <a:gd name="T1" fmla="*/ 0 h 28"/>
                  <a:gd name="T2" fmla="*/ 53 w 53"/>
                  <a:gd name="T3" fmla="*/ 19 h 28"/>
                  <a:gd name="T4" fmla="*/ 49 w 53"/>
                  <a:gd name="T5" fmla="*/ 28 h 28"/>
                  <a:gd name="T6" fmla="*/ 0 w 53"/>
                  <a:gd name="T7" fmla="*/ 10 h 28"/>
                  <a:gd name="T8" fmla="*/ 5 w 53"/>
                  <a:gd name="T9" fmla="*/ 0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3" h="28">
                    <a:moveTo>
                      <a:pt x="5" y="0"/>
                    </a:moveTo>
                    <a:lnTo>
                      <a:pt x="53" y="19"/>
                    </a:lnTo>
                    <a:lnTo>
                      <a:pt x="49" y="28"/>
                    </a:lnTo>
                    <a:lnTo>
                      <a:pt x="0" y="10"/>
                    </a:lnTo>
                    <a:lnTo>
                      <a:pt x="5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93" name="íṧļïḋè"/>
              <p:cNvSpPr/>
              <p:nvPr/>
            </p:nvSpPr>
            <p:spPr bwMode="auto">
              <a:xfrm>
                <a:off x="1674709" y="5091703"/>
                <a:ext cx="92075" cy="73025"/>
              </a:xfrm>
              <a:custGeom>
                <a:avLst/>
                <a:gdLst>
                  <a:gd name="T0" fmla="*/ 4 w 58"/>
                  <a:gd name="T1" fmla="*/ 3 h 46"/>
                  <a:gd name="T2" fmla="*/ 58 w 58"/>
                  <a:gd name="T3" fmla="*/ 0 h 46"/>
                  <a:gd name="T4" fmla="*/ 55 w 58"/>
                  <a:gd name="T5" fmla="*/ 11 h 46"/>
                  <a:gd name="T6" fmla="*/ 14 w 58"/>
                  <a:gd name="T7" fmla="*/ 13 h 46"/>
                  <a:gd name="T8" fmla="*/ 46 w 58"/>
                  <a:gd name="T9" fmla="*/ 35 h 46"/>
                  <a:gd name="T10" fmla="*/ 44 w 58"/>
                  <a:gd name="T11" fmla="*/ 46 h 46"/>
                  <a:gd name="T12" fmla="*/ 0 w 58"/>
                  <a:gd name="T13" fmla="*/ 14 h 46"/>
                  <a:gd name="T14" fmla="*/ 4 w 58"/>
                  <a:gd name="T15" fmla="*/ 3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58" h="46">
                    <a:moveTo>
                      <a:pt x="4" y="3"/>
                    </a:moveTo>
                    <a:lnTo>
                      <a:pt x="58" y="0"/>
                    </a:lnTo>
                    <a:lnTo>
                      <a:pt x="55" y="11"/>
                    </a:lnTo>
                    <a:lnTo>
                      <a:pt x="14" y="13"/>
                    </a:lnTo>
                    <a:lnTo>
                      <a:pt x="46" y="35"/>
                    </a:lnTo>
                    <a:lnTo>
                      <a:pt x="44" y="46"/>
                    </a:lnTo>
                    <a:lnTo>
                      <a:pt x="0" y="14"/>
                    </a:lnTo>
                    <a:lnTo>
                      <a:pt x="4" y="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94" name="ïṡḷiḋé"/>
              <p:cNvSpPr/>
              <p:nvPr/>
            </p:nvSpPr>
            <p:spPr bwMode="auto">
              <a:xfrm>
                <a:off x="1652484" y="5153615"/>
                <a:ext cx="90488" cy="73025"/>
              </a:xfrm>
              <a:custGeom>
                <a:avLst/>
                <a:gdLst>
                  <a:gd name="T0" fmla="*/ 7 w 57"/>
                  <a:gd name="T1" fmla="*/ 0 h 46"/>
                  <a:gd name="T2" fmla="*/ 57 w 57"/>
                  <a:gd name="T3" fmla="*/ 10 h 46"/>
                  <a:gd name="T4" fmla="*/ 50 w 57"/>
                  <a:gd name="T5" fmla="*/ 46 h 46"/>
                  <a:gd name="T6" fmla="*/ 42 w 57"/>
                  <a:gd name="T7" fmla="*/ 45 h 46"/>
                  <a:gd name="T8" fmla="*/ 47 w 57"/>
                  <a:gd name="T9" fmla="*/ 18 h 46"/>
                  <a:gd name="T10" fmla="*/ 36 w 57"/>
                  <a:gd name="T11" fmla="*/ 16 h 46"/>
                  <a:gd name="T12" fmla="*/ 30 w 57"/>
                  <a:gd name="T13" fmla="*/ 40 h 46"/>
                  <a:gd name="T14" fmla="*/ 22 w 57"/>
                  <a:gd name="T15" fmla="*/ 39 h 46"/>
                  <a:gd name="T16" fmla="*/ 27 w 57"/>
                  <a:gd name="T17" fmla="*/ 14 h 46"/>
                  <a:gd name="T18" fmla="*/ 14 w 57"/>
                  <a:gd name="T19" fmla="*/ 11 h 46"/>
                  <a:gd name="T20" fmla="*/ 8 w 57"/>
                  <a:gd name="T21" fmla="*/ 39 h 46"/>
                  <a:gd name="T22" fmla="*/ 0 w 57"/>
                  <a:gd name="T23" fmla="*/ 38 h 46"/>
                  <a:gd name="T24" fmla="*/ 7 w 57"/>
                  <a:gd name="T25" fmla="*/ 0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57" h="46">
                    <a:moveTo>
                      <a:pt x="7" y="0"/>
                    </a:moveTo>
                    <a:lnTo>
                      <a:pt x="57" y="10"/>
                    </a:lnTo>
                    <a:lnTo>
                      <a:pt x="50" y="46"/>
                    </a:lnTo>
                    <a:lnTo>
                      <a:pt x="42" y="45"/>
                    </a:lnTo>
                    <a:lnTo>
                      <a:pt x="47" y="18"/>
                    </a:lnTo>
                    <a:lnTo>
                      <a:pt x="36" y="16"/>
                    </a:lnTo>
                    <a:lnTo>
                      <a:pt x="30" y="40"/>
                    </a:lnTo>
                    <a:lnTo>
                      <a:pt x="22" y="39"/>
                    </a:lnTo>
                    <a:lnTo>
                      <a:pt x="27" y="14"/>
                    </a:lnTo>
                    <a:lnTo>
                      <a:pt x="14" y="11"/>
                    </a:lnTo>
                    <a:lnTo>
                      <a:pt x="8" y="39"/>
                    </a:lnTo>
                    <a:lnTo>
                      <a:pt x="0" y="38"/>
                    </a:lnTo>
                    <a:lnTo>
                      <a:pt x="7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95" name="ïşļiḋe"/>
              <p:cNvSpPr/>
              <p:nvPr/>
            </p:nvSpPr>
            <p:spPr bwMode="auto">
              <a:xfrm>
                <a:off x="1641372" y="5231403"/>
                <a:ext cx="88900" cy="71438"/>
              </a:xfrm>
              <a:custGeom>
                <a:avLst/>
                <a:gdLst>
                  <a:gd name="T0" fmla="*/ 4 w 48"/>
                  <a:gd name="T1" fmla="*/ 0 h 39"/>
                  <a:gd name="T2" fmla="*/ 48 w 48"/>
                  <a:gd name="T3" fmla="*/ 4 h 39"/>
                  <a:gd name="T4" fmla="*/ 46 w 48"/>
                  <a:gd name="T5" fmla="*/ 23 h 39"/>
                  <a:gd name="T6" fmla="*/ 44 w 48"/>
                  <a:gd name="T7" fmla="*/ 33 h 39"/>
                  <a:gd name="T8" fmla="*/ 39 w 48"/>
                  <a:gd name="T9" fmla="*/ 38 h 39"/>
                  <a:gd name="T10" fmla="*/ 32 w 48"/>
                  <a:gd name="T11" fmla="*/ 39 h 39"/>
                  <a:gd name="T12" fmla="*/ 24 w 48"/>
                  <a:gd name="T13" fmla="*/ 35 h 39"/>
                  <a:gd name="T14" fmla="*/ 21 w 48"/>
                  <a:gd name="T15" fmla="*/ 26 h 39"/>
                  <a:gd name="T16" fmla="*/ 17 w 48"/>
                  <a:gd name="T17" fmla="*/ 30 h 39"/>
                  <a:gd name="T18" fmla="*/ 9 w 48"/>
                  <a:gd name="T19" fmla="*/ 35 h 39"/>
                  <a:gd name="T20" fmla="*/ 0 w 48"/>
                  <a:gd name="T21" fmla="*/ 39 h 39"/>
                  <a:gd name="T22" fmla="*/ 1 w 48"/>
                  <a:gd name="T23" fmla="*/ 29 h 39"/>
                  <a:gd name="T24" fmla="*/ 12 w 48"/>
                  <a:gd name="T25" fmla="*/ 23 h 39"/>
                  <a:gd name="T26" fmla="*/ 18 w 48"/>
                  <a:gd name="T27" fmla="*/ 19 h 39"/>
                  <a:gd name="T28" fmla="*/ 20 w 48"/>
                  <a:gd name="T29" fmla="*/ 17 h 39"/>
                  <a:gd name="T30" fmla="*/ 21 w 48"/>
                  <a:gd name="T31" fmla="*/ 12 h 39"/>
                  <a:gd name="T32" fmla="*/ 22 w 48"/>
                  <a:gd name="T33" fmla="*/ 11 h 39"/>
                  <a:gd name="T34" fmla="*/ 3 w 48"/>
                  <a:gd name="T35" fmla="*/ 9 h 39"/>
                  <a:gd name="T36" fmla="*/ 4 w 48"/>
                  <a:gd name="T37" fmla="*/ 0 h 39"/>
                  <a:gd name="T38" fmla="*/ 29 w 48"/>
                  <a:gd name="T39" fmla="*/ 11 h 39"/>
                  <a:gd name="T40" fmla="*/ 28 w 48"/>
                  <a:gd name="T41" fmla="*/ 18 h 39"/>
                  <a:gd name="T42" fmla="*/ 28 w 48"/>
                  <a:gd name="T43" fmla="*/ 26 h 39"/>
                  <a:gd name="T44" fmla="*/ 29 w 48"/>
                  <a:gd name="T45" fmla="*/ 28 h 39"/>
                  <a:gd name="T46" fmla="*/ 32 w 48"/>
                  <a:gd name="T47" fmla="*/ 30 h 39"/>
                  <a:gd name="T48" fmla="*/ 36 w 48"/>
                  <a:gd name="T49" fmla="*/ 29 h 39"/>
                  <a:gd name="T50" fmla="*/ 38 w 48"/>
                  <a:gd name="T51" fmla="*/ 26 h 39"/>
                  <a:gd name="T52" fmla="*/ 39 w 48"/>
                  <a:gd name="T53" fmla="*/ 19 h 39"/>
                  <a:gd name="T54" fmla="*/ 40 w 48"/>
                  <a:gd name="T55" fmla="*/ 12 h 39"/>
                  <a:gd name="T56" fmla="*/ 29 w 48"/>
                  <a:gd name="T57" fmla="*/ 11 h 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48" h="39">
                    <a:moveTo>
                      <a:pt x="4" y="0"/>
                    </a:moveTo>
                    <a:cubicBezTo>
                      <a:pt x="48" y="4"/>
                      <a:pt x="48" y="4"/>
                      <a:pt x="48" y="4"/>
                    </a:cubicBezTo>
                    <a:cubicBezTo>
                      <a:pt x="46" y="23"/>
                      <a:pt x="46" y="23"/>
                      <a:pt x="46" y="23"/>
                    </a:cubicBezTo>
                    <a:cubicBezTo>
                      <a:pt x="46" y="27"/>
                      <a:pt x="45" y="31"/>
                      <a:pt x="44" y="33"/>
                    </a:cubicBezTo>
                    <a:cubicBezTo>
                      <a:pt x="43" y="35"/>
                      <a:pt x="41" y="36"/>
                      <a:pt x="39" y="38"/>
                    </a:cubicBezTo>
                    <a:cubicBezTo>
                      <a:pt x="37" y="39"/>
                      <a:pt x="35" y="39"/>
                      <a:pt x="32" y="39"/>
                    </a:cubicBezTo>
                    <a:cubicBezTo>
                      <a:pt x="29" y="38"/>
                      <a:pt x="26" y="37"/>
                      <a:pt x="24" y="35"/>
                    </a:cubicBezTo>
                    <a:cubicBezTo>
                      <a:pt x="22" y="33"/>
                      <a:pt x="21" y="30"/>
                      <a:pt x="21" y="26"/>
                    </a:cubicBezTo>
                    <a:cubicBezTo>
                      <a:pt x="20" y="28"/>
                      <a:pt x="18" y="29"/>
                      <a:pt x="17" y="30"/>
                    </a:cubicBezTo>
                    <a:cubicBezTo>
                      <a:pt x="16" y="32"/>
                      <a:pt x="13" y="33"/>
                      <a:pt x="9" y="35"/>
                    </a:cubicBezTo>
                    <a:cubicBezTo>
                      <a:pt x="0" y="39"/>
                      <a:pt x="0" y="39"/>
                      <a:pt x="0" y="39"/>
                    </a:cubicBezTo>
                    <a:cubicBezTo>
                      <a:pt x="1" y="29"/>
                      <a:pt x="1" y="29"/>
                      <a:pt x="1" y="29"/>
                    </a:cubicBezTo>
                    <a:cubicBezTo>
                      <a:pt x="12" y="23"/>
                      <a:pt x="12" y="23"/>
                      <a:pt x="12" y="23"/>
                    </a:cubicBezTo>
                    <a:cubicBezTo>
                      <a:pt x="15" y="21"/>
                      <a:pt x="17" y="20"/>
                      <a:pt x="18" y="19"/>
                    </a:cubicBezTo>
                    <a:cubicBezTo>
                      <a:pt x="19" y="18"/>
                      <a:pt x="20" y="18"/>
                      <a:pt x="20" y="17"/>
                    </a:cubicBezTo>
                    <a:cubicBezTo>
                      <a:pt x="21" y="16"/>
                      <a:pt x="21" y="14"/>
                      <a:pt x="21" y="12"/>
                    </a:cubicBezTo>
                    <a:cubicBezTo>
                      <a:pt x="22" y="11"/>
                      <a:pt x="22" y="11"/>
                      <a:pt x="22" y="11"/>
                    </a:cubicBezTo>
                    <a:cubicBezTo>
                      <a:pt x="3" y="9"/>
                      <a:pt x="3" y="9"/>
                      <a:pt x="3" y="9"/>
                    </a:cubicBezTo>
                    <a:lnTo>
                      <a:pt x="4" y="0"/>
                    </a:lnTo>
                    <a:close/>
                    <a:moveTo>
                      <a:pt x="29" y="11"/>
                    </a:moveTo>
                    <a:cubicBezTo>
                      <a:pt x="28" y="18"/>
                      <a:pt x="28" y="18"/>
                      <a:pt x="28" y="18"/>
                    </a:cubicBezTo>
                    <a:cubicBezTo>
                      <a:pt x="28" y="22"/>
                      <a:pt x="27" y="25"/>
                      <a:pt x="28" y="26"/>
                    </a:cubicBezTo>
                    <a:cubicBezTo>
                      <a:pt x="28" y="27"/>
                      <a:pt x="28" y="28"/>
                      <a:pt x="29" y="28"/>
                    </a:cubicBezTo>
                    <a:cubicBezTo>
                      <a:pt x="30" y="29"/>
                      <a:pt x="31" y="30"/>
                      <a:pt x="32" y="30"/>
                    </a:cubicBezTo>
                    <a:cubicBezTo>
                      <a:pt x="34" y="30"/>
                      <a:pt x="35" y="30"/>
                      <a:pt x="36" y="29"/>
                    </a:cubicBezTo>
                    <a:cubicBezTo>
                      <a:pt x="37" y="28"/>
                      <a:pt x="38" y="27"/>
                      <a:pt x="38" y="26"/>
                    </a:cubicBezTo>
                    <a:cubicBezTo>
                      <a:pt x="38" y="25"/>
                      <a:pt x="39" y="23"/>
                      <a:pt x="39" y="19"/>
                    </a:cubicBezTo>
                    <a:cubicBezTo>
                      <a:pt x="40" y="12"/>
                      <a:pt x="40" y="12"/>
                      <a:pt x="40" y="12"/>
                    </a:cubicBezTo>
                    <a:lnTo>
                      <a:pt x="29" y="1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96" name="îś1iḓê"/>
              <p:cNvSpPr/>
              <p:nvPr/>
            </p:nvSpPr>
            <p:spPr bwMode="auto">
              <a:xfrm>
                <a:off x="1641372" y="5312365"/>
                <a:ext cx="82550" cy="66675"/>
              </a:xfrm>
              <a:custGeom>
                <a:avLst/>
                <a:gdLst>
                  <a:gd name="T0" fmla="*/ 15 w 45"/>
                  <a:gd name="T1" fmla="*/ 0 h 36"/>
                  <a:gd name="T2" fmla="*/ 16 w 45"/>
                  <a:gd name="T3" fmla="*/ 8 h 36"/>
                  <a:gd name="T4" fmla="*/ 9 w 45"/>
                  <a:gd name="T5" fmla="*/ 12 h 36"/>
                  <a:gd name="T6" fmla="*/ 7 w 45"/>
                  <a:gd name="T7" fmla="*/ 18 h 36"/>
                  <a:gd name="T8" fmla="*/ 9 w 45"/>
                  <a:gd name="T9" fmla="*/ 25 h 36"/>
                  <a:gd name="T10" fmla="*/ 13 w 45"/>
                  <a:gd name="T11" fmla="*/ 27 h 36"/>
                  <a:gd name="T12" fmla="*/ 16 w 45"/>
                  <a:gd name="T13" fmla="*/ 26 h 36"/>
                  <a:gd name="T14" fmla="*/ 18 w 45"/>
                  <a:gd name="T15" fmla="*/ 23 h 36"/>
                  <a:gd name="T16" fmla="*/ 20 w 45"/>
                  <a:gd name="T17" fmla="*/ 15 h 36"/>
                  <a:gd name="T18" fmla="*/ 24 w 45"/>
                  <a:gd name="T19" fmla="*/ 5 h 36"/>
                  <a:gd name="T20" fmla="*/ 33 w 45"/>
                  <a:gd name="T21" fmla="*/ 1 h 36"/>
                  <a:gd name="T22" fmla="*/ 39 w 45"/>
                  <a:gd name="T23" fmla="*/ 3 h 36"/>
                  <a:gd name="T24" fmla="*/ 44 w 45"/>
                  <a:gd name="T25" fmla="*/ 9 h 36"/>
                  <a:gd name="T26" fmla="*/ 45 w 45"/>
                  <a:gd name="T27" fmla="*/ 17 h 36"/>
                  <a:gd name="T28" fmla="*/ 42 w 45"/>
                  <a:gd name="T29" fmla="*/ 30 h 36"/>
                  <a:gd name="T30" fmla="*/ 32 w 45"/>
                  <a:gd name="T31" fmla="*/ 34 h 36"/>
                  <a:gd name="T32" fmla="*/ 31 w 45"/>
                  <a:gd name="T33" fmla="*/ 25 h 36"/>
                  <a:gd name="T34" fmla="*/ 36 w 45"/>
                  <a:gd name="T35" fmla="*/ 23 h 36"/>
                  <a:gd name="T36" fmla="*/ 38 w 45"/>
                  <a:gd name="T37" fmla="*/ 17 h 36"/>
                  <a:gd name="T38" fmla="*/ 36 w 45"/>
                  <a:gd name="T39" fmla="*/ 11 h 36"/>
                  <a:gd name="T40" fmla="*/ 33 w 45"/>
                  <a:gd name="T41" fmla="*/ 10 h 36"/>
                  <a:gd name="T42" fmla="*/ 31 w 45"/>
                  <a:gd name="T43" fmla="*/ 11 h 36"/>
                  <a:gd name="T44" fmla="*/ 28 w 45"/>
                  <a:gd name="T45" fmla="*/ 19 h 36"/>
                  <a:gd name="T46" fmla="*/ 25 w 45"/>
                  <a:gd name="T47" fmla="*/ 29 h 36"/>
                  <a:gd name="T48" fmla="*/ 20 w 45"/>
                  <a:gd name="T49" fmla="*/ 34 h 36"/>
                  <a:gd name="T50" fmla="*/ 13 w 45"/>
                  <a:gd name="T51" fmla="*/ 36 h 36"/>
                  <a:gd name="T52" fmla="*/ 6 w 45"/>
                  <a:gd name="T53" fmla="*/ 33 h 36"/>
                  <a:gd name="T54" fmla="*/ 1 w 45"/>
                  <a:gd name="T55" fmla="*/ 28 h 36"/>
                  <a:gd name="T56" fmla="*/ 0 w 45"/>
                  <a:gd name="T57" fmla="*/ 18 h 36"/>
                  <a:gd name="T58" fmla="*/ 3 w 45"/>
                  <a:gd name="T59" fmla="*/ 5 h 36"/>
                  <a:gd name="T60" fmla="*/ 15 w 45"/>
                  <a:gd name="T61" fmla="*/ 0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45" h="36">
                    <a:moveTo>
                      <a:pt x="15" y="0"/>
                    </a:moveTo>
                    <a:cubicBezTo>
                      <a:pt x="16" y="8"/>
                      <a:pt x="16" y="8"/>
                      <a:pt x="16" y="8"/>
                    </a:cubicBezTo>
                    <a:cubicBezTo>
                      <a:pt x="13" y="9"/>
                      <a:pt x="10" y="10"/>
                      <a:pt x="9" y="12"/>
                    </a:cubicBezTo>
                    <a:cubicBezTo>
                      <a:pt x="8" y="13"/>
                      <a:pt x="7" y="15"/>
                      <a:pt x="7" y="18"/>
                    </a:cubicBezTo>
                    <a:cubicBezTo>
                      <a:pt x="7" y="21"/>
                      <a:pt x="8" y="23"/>
                      <a:pt x="9" y="25"/>
                    </a:cubicBezTo>
                    <a:cubicBezTo>
                      <a:pt x="10" y="26"/>
                      <a:pt x="12" y="27"/>
                      <a:pt x="13" y="27"/>
                    </a:cubicBezTo>
                    <a:cubicBezTo>
                      <a:pt x="14" y="27"/>
                      <a:pt x="15" y="26"/>
                      <a:pt x="16" y="26"/>
                    </a:cubicBezTo>
                    <a:cubicBezTo>
                      <a:pt x="17" y="25"/>
                      <a:pt x="17" y="24"/>
                      <a:pt x="18" y="23"/>
                    </a:cubicBezTo>
                    <a:cubicBezTo>
                      <a:pt x="18" y="22"/>
                      <a:pt x="19" y="19"/>
                      <a:pt x="20" y="15"/>
                    </a:cubicBezTo>
                    <a:cubicBezTo>
                      <a:pt x="21" y="11"/>
                      <a:pt x="22" y="7"/>
                      <a:pt x="24" y="5"/>
                    </a:cubicBezTo>
                    <a:cubicBezTo>
                      <a:pt x="26" y="3"/>
                      <a:pt x="29" y="1"/>
                      <a:pt x="33" y="1"/>
                    </a:cubicBezTo>
                    <a:cubicBezTo>
                      <a:pt x="35" y="1"/>
                      <a:pt x="37" y="2"/>
                      <a:pt x="39" y="3"/>
                    </a:cubicBezTo>
                    <a:cubicBezTo>
                      <a:pt x="41" y="4"/>
                      <a:pt x="43" y="6"/>
                      <a:pt x="44" y="9"/>
                    </a:cubicBezTo>
                    <a:cubicBezTo>
                      <a:pt x="45" y="11"/>
                      <a:pt x="45" y="14"/>
                      <a:pt x="45" y="17"/>
                    </a:cubicBezTo>
                    <a:cubicBezTo>
                      <a:pt x="45" y="23"/>
                      <a:pt x="44" y="27"/>
                      <a:pt x="42" y="30"/>
                    </a:cubicBezTo>
                    <a:cubicBezTo>
                      <a:pt x="39" y="33"/>
                      <a:pt x="36" y="34"/>
                      <a:pt x="32" y="34"/>
                    </a:cubicBezTo>
                    <a:cubicBezTo>
                      <a:pt x="31" y="25"/>
                      <a:pt x="31" y="25"/>
                      <a:pt x="31" y="25"/>
                    </a:cubicBezTo>
                    <a:cubicBezTo>
                      <a:pt x="34" y="25"/>
                      <a:pt x="35" y="24"/>
                      <a:pt x="36" y="23"/>
                    </a:cubicBezTo>
                    <a:cubicBezTo>
                      <a:pt x="37" y="22"/>
                      <a:pt x="38" y="20"/>
                      <a:pt x="38" y="17"/>
                    </a:cubicBezTo>
                    <a:cubicBezTo>
                      <a:pt x="38" y="15"/>
                      <a:pt x="37" y="13"/>
                      <a:pt x="36" y="11"/>
                    </a:cubicBezTo>
                    <a:cubicBezTo>
                      <a:pt x="35" y="10"/>
                      <a:pt x="35" y="10"/>
                      <a:pt x="33" y="10"/>
                    </a:cubicBezTo>
                    <a:cubicBezTo>
                      <a:pt x="32" y="10"/>
                      <a:pt x="31" y="10"/>
                      <a:pt x="31" y="11"/>
                    </a:cubicBezTo>
                    <a:cubicBezTo>
                      <a:pt x="30" y="12"/>
                      <a:pt x="29" y="15"/>
                      <a:pt x="28" y="19"/>
                    </a:cubicBezTo>
                    <a:cubicBezTo>
                      <a:pt x="27" y="24"/>
                      <a:pt x="26" y="27"/>
                      <a:pt x="25" y="29"/>
                    </a:cubicBezTo>
                    <a:cubicBezTo>
                      <a:pt x="24" y="31"/>
                      <a:pt x="22" y="33"/>
                      <a:pt x="20" y="34"/>
                    </a:cubicBezTo>
                    <a:cubicBezTo>
                      <a:pt x="18" y="35"/>
                      <a:pt x="16" y="36"/>
                      <a:pt x="13" y="36"/>
                    </a:cubicBezTo>
                    <a:cubicBezTo>
                      <a:pt x="11" y="36"/>
                      <a:pt x="8" y="35"/>
                      <a:pt x="6" y="33"/>
                    </a:cubicBezTo>
                    <a:cubicBezTo>
                      <a:pt x="4" y="32"/>
                      <a:pt x="2" y="30"/>
                      <a:pt x="1" y="28"/>
                    </a:cubicBezTo>
                    <a:cubicBezTo>
                      <a:pt x="0" y="25"/>
                      <a:pt x="0" y="22"/>
                      <a:pt x="0" y="18"/>
                    </a:cubicBezTo>
                    <a:cubicBezTo>
                      <a:pt x="0" y="12"/>
                      <a:pt x="1" y="8"/>
                      <a:pt x="3" y="5"/>
                    </a:cubicBezTo>
                    <a:cubicBezTo>
                      <a:pt x="6" y="2"/>
                      <a:pt x="10" y="0"/>
                      <a:pt x="15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97" name="íş1ïḓe"/>
              <p:cNvSpPr/>
              <p:nvPr/>
            </p:nvSpPr>
            <p:spPr bwMode="auto">
              <a:xfrm>
                <a:off x="1642959" y="5385390"/>
                <a:ext cx="84138" cy="22225"/>
              </a:xfrm>
              <a:custGeom>
                <a:avLst/>
                <a:gdLst>
                  <a:gd name="T0" fmla="*/ 0 w 53"/>
                  <a:gd name="T1" fmla="*/ 5 h 14"/>
                  <a:gd name="T2" fmla="*/ 51 w 53"/>
                  <a:gd name="T3" fmla="*/ 0 h 14"/>
                  <a:gd name="T4" fmla="*/ 53 w 53"/>
                  <a:gd name="T5" fmla="*/ 11 h 14"/>
                  <a:gd name="T6" fmla="*/ 1 w 53"/>
                  <a:gd name="T7" fmla="*/ 14 h 14"/>
                  <a:gd name="T8" fmla="*/ 0 w 53"/>
                  <a:gd name="T9" fmla="*/ 5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3" h="14">
                    <a:moveTo>
                      <a:pt x="0" y="5"/>
                    </a:moveTo>
                    <a:lnTo>
                      <a:pt x="51" y="0"/>
                    </a:lnTo>
                    <a:lnTo>
                      <a:pt x="53" y="11"/>
                    </a:lnTo>
                    <a:lnTo>
                      <a:pt x="1" y="14"/>
                    </a:lnTo>
                    <a:lnTo>
                      <a:pt x="0" y="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98" name="ïṩlîḋè"/>
              <p:cNvSpPr/>
              <p:nvPr/>
            </p:nvSpPr>
            <p:spPr bwMode="auto">
              <a:xfrm>
                <a:off x="1649309" y="5407615"/>
                <a:ext cx="84138" cy="66675"/>
              </a:xfrm>
              <a:custGeom>
                <a:avLst/>
                <a:gdLst>
                  <a:gd name="T0" fmla="*/ 0 w 53"/>
                  <a:gd name="T1" fmla="*/ 22 h 42"/>
                  <a:gd name="T2" fmla="*/ 42 w 53"/>
                  <a:gd name="T3" fmla="*/ 17 h 42"/>
                  <a:gd name="T4" fmla="*/ 39 w 53"/>
                  <a:gd name="T5" fmla="*/ 1 h 42"/>
                  <a:gd name="T6" fmla="*/ 49 w 53"/>
                  <a:gd name="T7" fmla="*/ 0 h 42"/>
                  <a:gd name="T8" fmla="*/ 53 w 53"/>
                  <a:gd name="T9" fmla="*/ 41 h 42"/>
                  <a:gd name="T10" fmla="*/ 45 w 53"/>
                  <a:gd name="T11" fmla="*/ 42 h 42"/>
                  <a:gd name="T12" fmla="*/ 43 w 53"/>
                  <a:gd name="T13" fmla="*/ 27 h 42"/>
                  <a:gd name="T14" fmla="*/ 1 w 53"/>
                  <a:gd name="T15" fmla="*/ 33 h 42"/>
                  <a:gd name="T16" fmla="*/ 0 w 53"/>
                  <a:gd name="T17" fmla="*/ 22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3" h="42">
                    <a:moveTo>
                      <a:pt x="0" y="22"/>
                    </a:moveTo>
                    <a:lnTo>
                      <a:pt x="42" y="17"/>
                    </a:lnTo>
                    <a:lnTo>
                      <a:pt x="39" y="1"/>
                    </a:lnTo>
                    <a:lnTo>
                      <a:pt x="49" y="0"/>
                    </a:lnTo>
                    <a:lnTo>
                      <a:pt x="53" y="41"/>
                    </a:lnTo>
                    <a:lnTo>
                      <a:pt x="45" y="42"/>
                    </a:lnTo>
                    <a:lnTo>
                      <a:pt x="43" y="27"/>
                    </a:lnTo>
                    <a:lnTo>
                      <a:pt x="1" y="33"/>
                    </a:lnTo>
                    <a:lnTo>
                      <a:pt x="0" y="2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99" name="ïṣľîďe"/>
              <p:cNvSpPr/>
              <p:nvPr/>
            </p:nvSpPr>
            <p:spPr bwMode="auto">
              <a:xfrm>
                <a:off x="1662009" y="5471115"/>
                <a:ext cx="90488" cy="73025"/>
              </a:xfrm>
              <a:custGeom>
                <a:avLst/>
                <a:gdLst>
                  <a:gd name="T0" fmla="*/ 0 w 57"/>
                  <a:gd name="T1" fmla="*/ 29 h 46"/>
                  <a:gd name="T2" fmla="*/ 21 w 57"/>
                  <a:gd name="T3" fmla="*/ 24 h 46"/>
                  <a:gd name="T4" fmla="*/ 45 w 57"/>
                  <a:gd name="T5" fmla="*/ 0 h 46"/>
                  <a:gd name="T6" fmla="*/ 49 w 57"/>
                  <a:gd name="T7" fmla="*/ 11 h 46"/>
                  <a:gd name="T8" fmla="*/ 31 w 57"/>
                  <a:gd name="T9" fmla="*/ 28 h 46"/>
                  <a:gd name="T10" fmla="*/ 53 w 57"/>
                  <a:gd name="T11" fmla="*/ 35 h 46"/>
                  <a:gd name="T12" fmla="*/ 57 w 57"/>
                  <a:gd name="T13" fmla="*/ 46 h 46"/>
                  <a:gd name="T14" fmla="*/ 23 w 57"/>
                  <a:gd name="T15" fmla="*/ 35 h 46"/>
                  <a:gd name="T16" fmla="*/ 2 w 57"/>
                  <a:gd name="T17" fmla="*/ 39 h 46"/>
                  <a:gd name="T18" fmla="*/ 0 w 57"/>
                  <a:gd name="T19" fmla="*/ 29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57" h="46">
                    <a:moveTo>
                      <a:pt x="0" y="29"/>
                    </a:moveTo>
                    <a:lnTo>
                      <a:pt x="21" y="24"/>
                    </a:lnTo>
                    <a:lnTo>
                      <a:pt x="45" y="0"/>
                    </a:lnTo>
                    <a:lnTo>
                      <a:pt x="49" y="11"/>
                    </a:lnTo>
                    <a:lnTo>
                      <a:pt x="31" y="28"/>
                    </a:lnTo>
                    <a:lnTo>
                      <a:pt x="53" y="35"/>
                    </a:lnTo>
                    <a:lnTo>
                      <a:pt x="57" y="46"/>
                    </a:lnTo>
                    <a:lnTo>
                      <a:pt x="23" y="35"/>
                    </a:lnTo>
                    <a:lnTo>
                      <a:pt x="2" y="39"/>
                    </a:lnTo>
                    <a:lnTo>
                      <a:pt x="0" y="2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100" name="íśļiḓe"/>
              <p:cNvSpPr/>
              <p:nvPr/>
            </p:nvSpPr>
            <p:spPr bwMode="auto">
              <a:xfrm>
                <a:off x="1704872" y="5609228"/>
                <a:ext cx="85725" cy="80963"/>
              </a:xfrm>
              <a:custGeom>
                <a:avLst/>
                <a:gdLst>
                  <a:gd name="T0" fmla="*/ 15 w 47"/>
                  <a:gd name="T1" fmla="*/ 2 h 44"/>
                  <a:gd name="T2" fmla="*/ 26 w 47"/>
                  <a:gd name="T3" fmla="*/ 0 h 44"/>
                  <a:gd name="T4" fmla="*/ 33 w 47"/>
                  <a:gd name="T5" fmla="*/ 1 h 44"/>
                  <a:gd name="T6" fmla="*/ 39 w 47"/>
                  <a:gd name="T7" fmla="*/ 4 h 44"/>
                  <a:gd name="T8" fmla="*/ 44 w 47"/>
                  <a:gd name="T9" fmla="*/ 12 h 44"/>
                  <a:gd name="T10" fmla="*/ 45 w 47"/>
                  <a:gd name="T11" fmla="*/ 29 h 44"/>
                  <a:gd name="T12" fmla="*/ 32 w 47"/>
                  <a:gd name="T13" fmla="*/ 41 h 44"/>
                  <a:gd name="T14" fmla="*/ 15 w 47"/>
                  <a:gd name="T15" fmla="*/ 43 h 44"/>
                  <a:gd name="T16" fmla="*/ 3 w 47"/>
                  <a:gd name="T17" fmla="*/ 31 h 44"/>
                  <a:gd name="T18" fmla="*/ 2 w 47"/>
                  <a:gd name="T19" fmla="*/ 14 h 44"/>
                  <a:gd name="T20" fmla="*/ 15 w 47"/>
                  <a:gd name="T21" fmla="*/ 2 h 44"/>
                  <a:gd name="T22" fmla="*/ 19 w 47"/>
                  <a:gd name="T23" fmla="*/ 10 h 44"/>
                  <a:gd name="T24" fmla="*/ 10 w 47"/>
                  <a:gd name="T25" fmla="*/ 18 h 44"/>
                  <a:gd name="T26" fmla="*/ 10 w 47"/>
                  <a:gd name="T27" fmla="*/ 28 h 44"/>
                  <a:gd name="T28" fmla="*/ 17 w 47"/>
                  <a:gd name="T29" fmla="*/ 34 h 44"/>
                  <a:gd name="T30" fmla="*/ 29 w 47"/>
                  <a:gd name="T31" fmla="*/ 33 h 44"/>
                  <a:gd name="T32" fmla="*/ 38 w 47"/>
                  <a:gd name="T33" fmla="*/ 25 h 44"/>
                  <a:gd name="T34" fmla="*/ 37 w 47"/>
                  <a:gd name="T35" fmla="*/ 16 h 44"/>
                  <a:gd name="T36" fmla="*/ 30 w 47"/>
                  <a:gd name="T37" fmla="*/ 9 h 44"/>
                  <a:gd name="T38" fmla="*/ 19 w 47"/>
                  <a:gd name="T39" fmla="*/ 10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47" h="44">
                    <a:moveTo>
                      <a:pt x="15" y="2"/>
                    </a:moveTo>
                    <a:cubicBezTo>
                      <a:pt x="19" y="0"/>
                      <a:pt x="23" y="0"/>
                      <a:pt x="26" y="0"/>
                    </a:cubicBezTo>
                    <a:cubicBezTo>
                      <a:pt x="28" y="0"/>
                      <a:pt x="31" y="0"/>
                      <a:pt x="33" y="1"/>
                    </a:cubicBezTo>
                    <a:cubicBezTo>
                      <a:pt x="35" y="2"/>
                      <a:pt x="37" y="3"/>
                      <a:pt x="39" y="4"/>
                    </a:cubicBezTo>
                    <a:cubicBezTo>
                      <a:pt x="41" y="6"/>
                      <a:pt x="43" y="9"/>
                      <a:pt x="44" y="12"/>
                    </a:cubicBezTo>
                    <a:cubicBezTo>
                      <a:pt x="47" y="18"/>
                      <a:pt x="47" y="24"/>
                      <a:pt x="45" y="29"/>
                    </a:cubicBezTo>
                    <a:cubicBezTo>
                      <a:pt x="43" y="34"/>
                      <a:pt x="39" y="38"/>
                      <a:pt x="32" y="41"/>
                    </a:cubicBezTo>
                    <a:cubicBezTo>
                      <a:pt x="26" y="44"/>
                      <a:pt x="20" y="44"/>
                      <a:pt x="15" y="43"/>
                    </a:cubicBezTo>
                    <a:cubicBezTo>
                      <a:pt x="9" y="41"/>
                      <a:pt x="5" y="37"/>
                      <a:pt x="3" y="31"/>
                    </a:cubicBezTo>
                    <a:cubicBezTo>
                      <a:pt x="0" y="25"/>
                      <a:pt x="0" y="19"/>
                      <a:pt x="2" y="14"/>
                    </a:cubicBezTo>
                    <a:cubicBezTo>
                      <a:pt x="4" y="9"/>
                      <a:pt x="8" y="5"/>
                      <a:pt x="15" y="2"/>
                    </a:cubicBezTo>
                    <a:close/>
                    <a:moveTo>
                      <a:pt x="19" y="10"/>
                    </a:moveTo>
                    <a:cubicBezTo>
                      <a:pt x="14" y="12"/>
                      <a:pt x="11" y="15"/>
                      <a:pt x="10" y="18"/>
                    </a:cubicBezTo>
                    <a:cubicBezTo>
                      <a:pt x="8" y="21"/>
                      <a:pt x="8" y="24"/>
                      <a:pt x="10" y="28"/>
                    </a:cubicBezTo>
                    <a:cubicBezTo>
                      <a:pt x="11" y="31"/>
                      <a:pt x="13" y="33"/>
                      <a:pt x="17" y="34"/>
                    </a:cubicBezTo>
                    <a:cubicBezTo>
                      <a:pt x="20" y="35"/>
                      <a:pt x="24" y="35"/>
                      <a:pt x="29" y="33"/>
                    </a:cubicBezTo>
                    <a:cubicBezTo>
                      <a:pt x="33" y="31"/>
                      <a:pt x="36" y="28"/>
                      <a:pt x="38" y="25"/>
                    </a:cubicBezTo>
                    <a:cubicBezTo>
                      <a:pt x="39" y="22"/>
                      <a:pt x="39" y="19"/>
                      <a:pt x="37" y="16"/>
                    </a:cubicBezTo>
                    <a:cubicBezTo>
                      <a:pt x="36" y="12"/>
                      <a:pt x="34" y="10"/>
                      <a:pt x="30" y="9"/>
                    </a:cubicBezTo>
                    <a:cubicBezTo>
                      <a:pt x="27" y="8"/>
                      <a:pt x="23" y="8"/>
                      <a:pt x="19" y="1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101" name="î$ḷïďe"/>
              <p:cNvSpPr/>
              <p:nvPr/>
            </p:nvSpPr>
            <p:spPr bwMode="auto">
              <a:xfrm>
                <a:off x="1733447" y="5675903"/>
                <a:ext cx="98425" cy="66675"/>
              </a:xfrm>
              <a:custGeom>
                <a:avLst/>
                <a:gdLst>
                  <a:gd name="T0" fmla="*/ 0 w 62"/>
                  <a:gd name="T1" fmla="*/ 26 h 42"/>
                  <a:gd name="T2" fmla="*/ 45 w 62"/>
                  <a:gd name="T3" fmla="*/ 0 h 42"/>
                  <a:gd name="T4" fmla="*/ 62 w 62"/>
                  <a:gd name="T5" fmla="*/ 30 h 42"/>
                  <a:gd name="T6" fmla="*/ 55 w 62"/>
                  <a:gd name="T7" fmla="*/ 35 h 42"/>
                  <a:gd name="T8" fmla="*/ 43 w 62"/>
                  <a:gd name="T9" fmla="*/ 14 h 42"/>
                  <a:gd name="T10" fmla="*/ 32 w 62"/>
                  <a:gd name="T11" fmla="*/ 20 h 42"/>
                  <a:gd name="T12" fmla="*/ 43 w 62"/>
                  <a:gd name="T13" fmla="*/ 38 h 42"/>
                  <a:gd name="T14" fmla="*/ 35 w 62"/>
                  <a:gd name="T15" fmla="*/ 42 h 42"/>
                  <a:gd name="T16" fmla="*/ 25 w 62"/>
                  <a:gd name="T17" fmla="*/ 23 h 42"/>
                  <a:gd name="T18" fmla="*/ 6 w 62"/>
                  <a:gd name="T19" fmla="*/ 35 h 42"/>
                  <a:gd name="T20" fmla="*/ 0 w 62"/>
                  <a:gd name="T21" fmla="*/ 26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62" h="42">
                    <a:moveTo>
                      <a:pt x="0" y="26"/>
                    </a:moveTo>
                    <a:lnTo>
                      <a:pt x="45" y="0"/>
                    </a:lnTo>
                    <a:lnTo>
                      <a:pt x="62" y="30"/>
                    </a:lnTo>
                    <a:lnTo>
                      <a:pt x="55" y="35"/>
                    </a:lnTo>
                    <a:lnTo>
                      <a:pt x="43" y="14"/>
                    </a:lnTo>
                    <a:lnTo>
                      <a:pt x="32" y="20"/>
                    </a:lnTo>
                    <a:lnTo>
                      <a:pt x="43" y="38"/>
                    </a:lnTo>
                    <a:lnTo>
                      <a:pt x="35" y="42"/>
                    </a:lnTo>
                    <a:lnTo>
                      <a:pt x="25" y="23"/>
                    </a:lnTo>
                    <a:lnTo>
                      <a:pt x="6" y="35"/>
                    </a:lnTo>
                    <a:lnTo>
                      <a:pt x="0" y="26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102" name="îśḻîḍe"/>
              <p:cNvSpPr/>
              <p:nvPr/>
            </p:nvSpPr>
            <p:spPr bwMode="auto">
              <a:xfrm>
                <a:off x="1812822" y="5785440"/>
                <a:ext cx="85725" cy="82550"/>
              </a:xfrm>
              <a:custGeom>
                <a:avLst/>
                <a:gdLst>
                  <a:gd name="T0" fmla="*/ 6 w 46"/>
                  <a:gd name="T1" fmla="*/ 13 h 45"/>
                  <a:gd name="T2" fmla="*/ 12 w 46"/>
                  <a:gd name="T3" fmla="*/ 19 h 45"/>
                  <a:gd name="T4" fmla="*/ 9 w 46"/>
                  <a:gd name="T5" fmla="*/ 26 h 45"/>
                  <a:gd name="T6" fmla="*/ 11 w 46"/>
                  <a:gd name="T7" fmla="*/ 32 h 45"/>
                  <a:gd name="T8" fmla="*/ 17 w 46"/>
                  <a:gd name="T9" fmla="*/ 36 h 45"/>
                  <a:gd name="T10" fmla="*/ 22 w 46"/>
                  <a:gd name="T11" fmla="*/ 35 h 45"/>
                  <a:gd name="T12" fmla="*/ 23 w 46"/>
                  <a:gd name="T13" fmla="*/ 32 h 45"/>
                  <a:gd name="T14" fmla="*/ 22 w 46"/>
                  <a:gd name="T15" fmla="*/ 29 h 45"/>
                  <a:gd name="T16" fmla="*/ 19 w 46"/>
                  <a:gd name="T17" fmla="*/ 22 h 45"/>
                  <a:gd name="T18" fmla="*/ 16 w 46"/>
                  <a:gd name="T19" fmla="*/ 12 h 45"/>
                  <a:gd name="T20" fmla="*/ 21 w 46"/>
                  <a:gd name="T21" fmla="*/ 3 h 45"/>
                  <a:gd name="T22" fmla="*/ 27 w 46"/>
                  <a:gd name="T23" fmla="*/ 0 h 45"/>
                  <a:gd name="T24" fmla="*/ 34 w 46"/>
                  <a:gd name="T25" fmla="*/ 2 h 45"/>
                  <a:gd name="T26" fmla="*/ 40 w 46"/>
                  <a:gd name="T27" fmla="*/ 8 h 45"/>
                  <a:gd name="T28" fmla="*/ 45 w 46"/>
                  <a:gd name="T29" fmla="*/ 19 h 45"/>
                  <a:gd name="T30" fmla="*/ 41 w 46"/>
                  <a:gd name="T31" fmla="*/ 29 h 45"/>
                  <a:gd name="T32" fmla="*/ 35 w 46"/>
                  <a:gd name="T33" fmla="*/ 22 h 45"/>
                  <a:gd name="T34" fmla="*/ 37 w 46"/>
                  <a:gd name="T35" fmla="*/ 17 h 45"/>
                  <a:gd name="T36" fmla="*/ 35 w 46"/>
                  <a:gd name="T37" fmla="*/ 12 h 45"/>
                  <a:gd name="T38" fmla="*/ 30 w 46"/>
                  <a:gd name="T39" fmla="*/ 8 h 45"/>
                  <a:gd name="T40" fmla="*/ 27 w 46"/>
                  <a:gd name="T41" fmla="*/ 9 h 45"/>
                  <a:gd name="T42" fmla="*/ 25 w 46"/>
                  <a:gd name="T43" fmla="*/ 12 h 45"/>
                  <a:gd name="T44" fmla="*/ 28 w 46"/>
                  <a:gd name="T45" fmla="*/ 20 h 45"/>
                  <a:gd name="T46" fmla="*/ 32 w 46"/>
                  <a:gd name="T47" fmla="*/ 29 h 45"/>
                  <a:gd name="T48" fmla="*/ 31 w 46"/>
                  <a:gd name="T49" fmla="*/ 36 h 45"/>
                  <a:gd name="T50" fmla="*/ 27 w 46"/>
                  <a:gd name="T51" fmla="*/ 42 h 45"/>
                  <a:gd name="T52" fmla="*/ 20 w 46"/>
                  <a:gd name="T53" fmla="*/ 45 h 45"/>
                  <a:gd name="T54" fmla="*/ 13 w 46"/>
                  <a:gd name="T55" fmla="*/ 43 h 45"/>
                  <a:gd name="T56" fmla="*/ 6 w 46"/>
                  <a:gd name="T57" fmla="*/ 37 h 45"/>
                  <a:gd name="T58" fmla="*/ 0 w 46"/>
                  <a:gd name="T59" fmla="*/ 24 h 45"/>
                  <a:gd name="T60" fmla="*/ 6 w 46"/>
                  <a:gd name="T61" fmla="*/ 13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46" h="45">
                    <a:moveTo>
                      <a:pt x="6" y="13"/>
                    </a:moveTo>
                    <a:cubicBezTo>
                      <a:pt x="12" y="19"/>
                      <a:pt x="12" y="19"/>
                      <a:pt x="12" y="19"/>
                    </a:cubicBezTo>
                    <a:cubicBezTo>
                      <a:pt x="10" y="21"/>
                      <a:pt x="9" y="24"/>
                      <a:pt x="9" y="26"/>
                    </a:cubicBezTo>
                    <a:cubicBezTo>
                      <a:pt x="9" y="28"/>
                      <a:pt x="10" y="30"/>
                      <a:pt x="11" y="32"/>
                    </a:cubicBezTo>
                    <a:cubicBezTo>
                      <a:pt x="13" y="34"/>
                      <a:pt x="15" y="35"/>
                      <a:pt x="17" y="36"/>
                    </a:cubicBezTo>
                    <a:cubicBezTo>
                      <a:pt x="19" y="36"/>
                      <a:pt x="20" y="36"/>
                      <a:pt x="22" y="35"/>
                    </a:cubicBezTo>
                    <a:cubicBezTo>
                      <a:pt x="22" y="34"/>
                      <a:pt x="23" y="33"/>
                      <a:pt x="23" y="32"/>
                    </a:cubicBezTo>
                    <a:cubicBezTo>
                      <a:pt x="23" y="32"/>
                      <a:pt x="23" y="30"/>
                      <a:pt x="22" y="29"/>
                    </a:cubicBezTo>
                    <a:cubicBezTo>
                      <a:pt x="22" y="28"/>
                      <a:pt x="21" y="26"/>
                      <a:pt x="19" y="22"/>
                    </a:cubicBezTo>
                    <a:cubicBezTo>
                      <a:pt x="17" y="18"/>
                      <a:pt x="16" y="14"/>
                      <a:pt x="16" y="12"/>
                    </a:cubicBezTo>
                    <a:cubicBezTo>
                      <a:pt x="17" y="8"/>
                      <a:pt x="18" y="5"/>
                      <a:pt x="21" y="3"/>
                    </a:cubicBezTo>
                    <a:cubicBezTo>
                      <a:pt x="23" y="1"/>
                      <a:pt x="25" y="1"/>
                      <a:pt x="27" y="0"/>
                    </a:cubicBezTo>
                    <a:cubicBezTo>
                      <a:pt x="29" y="0"/>
                      <a:pt x="31" y="1"/>
                      <a:pt x="34" y="2"/>
                    </a:cubicBezTo>
                    <a:cubicBezTo>
                      <a:pt x="36" y="3"/>
                      <a:pt x="38" y="5"/>
                      <a:pt x="40" y="8"/>
                    </a:cubicBezTo>
                    <a:cubicBezTo>
                      <a:pt x="44" y="12"/>
                      <a:pt x="46" y="16"/>
                      <a:pt x="45" y="19"/>
                    </a:cubicBezTo>
                    <a:cubicBezTo>
                      <a:pt x="45" y="23"/>
                      <a:pt x="44" y="26"/>
                      <a:pt x="41" y="29"/>
                    </a:cubicBezTo>
                    <a:cubicBezTo>
                      <a:pt x="35" y="22"/>
                      <a:pt x="35" y="22"/>
                      <a:pt x="35" y="22"/>
                    </a:cubicBezTo>
                    <a:cubicBezTo>
                      <a:pt x="36" y="21"/>
                      <a:pt x="37" y="19"/>
                      <a:pt x="37" y="17"/>
                    </a:cubicBezTo>
                    <a:cubicBezTo>
                      <a:pt x="37" y="16"/>
                      <a:pt x="36" y="14"/>
                      <a:pt x="35" y="12"/>
                    </a:cubicBezTo>
                    <a:cubicBezTo>
                      <a:pt x="33" y="10"/>
                      <a:pt x="31" y="9"/>
                      <a:pt x="30" y="8"/>
                    </a:cubicBezTo>
                    <a:cubicBezTo>
                      <a:pt x="28" y="8"/>
                      <a:pt x="27" y="8"/>
                      <a:pt x="27" y="9"/>
                    </a:cubicBezTo>
                    <a:cubicBezTo>
                      <a:pt x="26" y="10"/>
                      <a:pt x="25" y="11"/>
                      <a:pt x="25" y="12"/>
                    </a:cubicBezTo>
                    <a:cubicBezTo>
                      <a:pt x="25" y="13"/>
                      <a:pt x="26" y="16"/>
                      <a:pt x="28" y="20"/>
                    </a:cubicBezTo>
                    <a:cubicBezTo>
                      <a:pt x="30" y="24"/>
                      <a:pt x="31" y="27"/>
                      <a:pt x="32" y="29"/>
                    </a:cubicBezTo>
                    <a:cubicBezTo>
                      <a:pt x="32" y="32"/>
                      <a:pt x="32" y="34"/>
                      <a:pt x="31" y="36"/>
                    </a:cubicBezTo>
                    <a:cubicBezTo>
                      <a:pt x="31" y="38"/>
                      <a:pt x="29" y="40"/>
                      <a:pt x="27" y="42"/>
                    </a:cubicBezTo>
                    <a:cubicBezTo>
                      <a:pt x="25" y="43"/>
                      <a:pt x="23" y="44"/>
                      <a:pt x="20" y="45"/>
                    </a:cubicBezTo>
                    <a:cubicBezTo>
                      <a:pt x="18" y="45"/>
                      <a:pt x="15" y="44"/>
                      <a:pt x="13" y="43"/>
                    </a:cubicBezTo>
                    <a:cubicBezTo>
                      <a:pt x="10" y="42"/>
                      <a:pt x="8" y="40"/>
                      <a:pt x="6" y="37"/>
                    </a:cubicBezTo>
                    <a:cubicBezTo>
                      <a:pt x="2" y="32"/>
                      <a:pt x="0" y="28"/>
                      <a:pt x="0" y="24"/>
                    </a:cubicBezTo>
                    <a:cubicBezTo>
                      <a:pt x="1" y="20"/>
                      <a:pt x="2" y="17"/>
                      <a:pt x="6" y="1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103" name="í$ļîḋê"/>
              <p:cNvSpPr/>
              <p:nvPr/>
            </p:nvSpPr>
            <p:spPr bwMode="auto">
              <a:xfrm>
                <a:off x="1868384" y="5844178"/>
                <a:ext cx="82550" cy="82550"/>
              </a:xfrm>
              <a:custGeom>
                <a:avLst/>
                <a:gdLst>
                  <a:gd name="T0" fmla="*/ 25 w 45"/>
                  <a:gd name="T1" fmla="*/ 33 h 45"/>
                  <a:gd name="T2" fmla="*/ 29 w 45"/>
                  <a:gd name="T3" fmla="*/ 41 h 45"/>
                  <a:gd name="T4" fmla="*/ 17 w 45"/>
                  <a:gd name="T5" fmla="*/ 44 h 45"/>
                  <a:gd name="T6" fmla="*/ 6 w 45"/>
                  <a:gd name="T7" fmla="*/ 38 h 45"/>
                  <a:gd name="T8" fmla="*/ 0 w 45"/>
                  <a:gd name="T9" fmla="*/ 24 h 45"/>
                  <a:gd name="T10" fmla="*/ 8 w 45"/>
                  <a:gd name="T11" fmla="*/ 8 h 45"/>
                  <a:gd name="T12" fmla="*/ 24 w 45"/>
                  <a:gd name="T13" fmla="*/ 0 h 45"/>
                  <a:gd name="T14" fmla="*/ 39 w 45"/>
                  <a:gd name="T15" fmla="*/ 7 h 45"/>
                  <a:gd name="T16" fmla="*/ 45 w 45"/>
                  <a:gd name="T17" fmla="*/ 19 h 45"/>
                  <a:gd name="T18" fmla="*/ 42 w 45"/>
                  <a:gd name="T19" fmla="*/ 28 h 45"/>
                  <a:gd name="T20" fmla="*/ 34 w 45"/>
                  <a:gd name="T21" fmla="*/ 23 h 45"/>
                  <a:gd name="T22" fmla="*/ 36 w 45"/>
                  <a:gd name="T23" fmla="*/ 17 h 45"/>
                  <a:gd name="T24" fmla="*/ 33 w 45"/>
                  <a:gd name="T25" fmla="*/ 12 h 45"/>
                  <a:gd name="T26" fmla="*/ 25 w 45"/>
                  <a:gd name="T27" fmla="*/ 9 h 45"/>
                  <a:gd name="T28" fmla="*/ 15 w 45"/>
                  <a:gd name="T29" fmla="*/ 14 h 45"/>
                  <a:gd name="T30" fmla="*/ 8 w 45"/>
                  <a:gd name="T31" fmla="*/ 25 h 45"/>
                  <a:gd name="T32" fmla="*/ 11 w 45"/>
                  <a:gd name="T33" fmla="*/ 33 h 45"/>
                  <a:gd name="T34" fmla="*/ 17 w 45"/>
                  <a:gd name="T35" fmla="*/ 36 h 45"/>
                  <a:gd name="T36" fmla="*/ 25 w 45"/>
                  <a:gd name="T37" fmla="*/ 33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45" h="45">
                    <a:moveTo>
                      <a:pt x="25" y="33"/>
                    </a:moveTo>
                    <a:cubicBezTo>
                      <a:pt x="29" y="41"/>
                      <a:pt x="29" y="41"/>
                      <a:pt x="29" y="41"/>
                    </a:cubicBezTo>
                    <a:cubicBezTo>
                      <a:pt x="25" y="44"/>
                      <a:pt x="21" y="45"/>
                      <a:pt x="17" y="44"/>
                    </a:cubicBezTo>
                    <a:cubicBezTo>
                      <a:pt x="13" y="44"/>
                      <a:pt x="9" y="42"/>
                      <a:pt x="6" y="38"/>
                    </a:cubicBezTo>
                    <a:cubicBezTo>
                      <a:pt x="2" y="34"/>
                      <a:pt x="0" y="29"/>
                      <a:pt x="0" y="24"/>
                    </a:cubicBezTo>
                    <a:cubicBezTo>
                      <a:pt x="0" y="19"/>
                      <a:pt x="3" y="13"/>
                      <a:pt x="8" y="8"/>
                    </a:cubicBezTo>
                    <a:cubicBezTo>
                      <a:pt x="13" y="3"/>
                      <a:pt x="18" y="1"/>
                      <a:pt x="24" y="0"/>
                    </a:cubicBezTo>
                    <a:cubicBezTo>
                      <a:pt x="29" y="0"/>
                      <a:pt x="34" y="2"/>
                      <a:pt x="39" y="7"/>
                    </a:cubicBezTo>
                    <a:cubicBezTo>
                      <a:pt x="42" y="10"/>
                      <a:pt x="44" y="15"/>
                      <a:pt x="45" y="19"/>
                    </a:cubicBezTo>
                    <a:cubicBezTo>
                      <a:pt x="45" y="22"/>
                      <a:pt x="44" y="25"/>
                      <a:pt x="42" y="28"/>
                    </a:cubicBezTo>
                    <a:cubicBezTo>
                      <a:pt x="34" y="23"/>
                      <a:pt x="34" y="23"/>
                      <a:pt x="34" y="23"/>
                    </a:cubicBezTo>
                    <a:cubicBezTo>
                      <a:pt x="36" y="21"/>
                      <a:pt x="36" y="19"/>
                      <a:pt x="36" y="17"/>
                    </a:cubicBezTo>
                    <a:cubicBezTo>
                      <a:pt x="36" y="15"/>
                      <a:pt x="35" y="13"/>
                      <a:pt x="33" y="12"/>
                    </a:cubicBezTo>
                    <a:cubicBezTo>
                      <a:pt x="31" y="9"/>
                      <a:pt x="28" y="8"/>
                      <a:pt x="25" y="9"/>
                    </a:cubicBezTo>
                    <a:cubicBezTo>
                      <a:pt x="22" y="9"/>
                      <a:pt x="18" y="11"/>
                      <a:pt x="15" y="14"/>
                    </a:cubicBezTo>
                    <a:cubicBezTo>
                      <a:pt x="11" y="18"/>
                      <a:pt x="9" y="22"/>
                      <a:pt x="8" y="25"/>
                    </a:cubicBezTo>
                    <a:cubicBezTo>
                      <a:pt x="8" y="28"/>
                      <a:pt x="9" y="31"/>
                      <a:pt x="11" y="33"/>
                    </a:cubicBezTo>
                    <a:cubicBezTo>
                      <a:pt x="13" y="35"/>
                      <a:pt x="15" y="36"/>
                      <a:pt x="17" y="36"/>
                    </a:cubicBezTo>
                    <a:cubicBezTo>
                      <a:pt x="20" y="36"/>
                      <a:pt x="22" y="35"/>
                      <a:pt x="25" y="3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104" name="íṩḷiḋé"/>
              <p:cNvSpPr/>
              <p:nvPr/>
            </p:nvSpPr>
            <p:spPr bwMode="auto">
              <a:xfrm>
                <a:off x="1916009" y="5887040"/>
                <a:ext cx="65088" cy="71438"/>
              </a:xfrm>
              <a:custGeom>
                <a:avLst/>
                <a:gdLst>
                  <a:gd name="T0" fmla="*/ 0 w 41"/>
                  <a:gd name="T1" fmla="*/ 38 h 45"/>
                  <a:gd name="T2" fmla="*/ 34 w 41"/>
                  <a:gd name="T3" fmla="*/ 0 h 45"/>
                  <a:gd name="T4" fmla="*/ 41 w 41"/>
                  <a:gd name="T5" fmla="*/ 6 h 45"/>
                  <a:gd name="T6" fmla="*/ 8 w 41"/>
                  <a:gd name="T7" fmla="*/ 45 h 45"/>
                  <a:gd name="T8" fmla="*/ 0 w 41"/>
                  <a:gd name="T9" fmla="*/ 38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1" h="45">
                    <a:moveTo>
                      <a:pt x="0" y="38"/>
                    </a:moveTo>
                    <a:lnTo>
                      <a:pt x="34" y="0"/>
                    </a:lnTo>
                    <a:lnTo>
                      <a:pt x="41" y="6"/>
                    </a:lnTo>
                    <a:lnTo>
                      <a:pt x="8" y="45"/>
                    </a:lnTo>
                    <a:lnTo>
                      <a:pt x="0" y="3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105" name="îsľïďé"/>
              <p:cNvSpPr/>
              <p:nvPr/>
            </p:nvSpPr>
            <p:spPr bwMode="auto">
              <a:xfrm>
                <a:off x="1941409" y="5904503"/>
                <a:ext cx="96838" cy="101600"/>
              </a:xfrm>
              <a:custGeom>
                <a:avLst/>
                <a:gdLst>
                  <a:gd name="T0" fmla="*/ 0 w 61"/>
                  <a:gd name="T1" fmla="*/ 41 h 64"/>
                  <a:gd name="T2" fmla="*/ 31 w 61"/>
                  <a:gd name="T3" fmla="*/ 0 h 64"/>
                  <a:gd name="T4" fmla="*/ 61 w 61"/>
                  <a:gd name="T5" fmla="*/ 22 h 64"/>
                  <a:gd name="T6" fmla="*/ 56 w 61"/>
                  <a:gd name="T7" fmla="*/ 29 h 64"/>
                  <a:gd name="T8" fmla="*/ 34 w 61"/>
                  <a:gd name="T9" fmla="*/ 13 h 64"/>
                  <a:gd name="T10" fmla="*/ 27 w 61"/>
                  <a:gd name="T11" fmla="*/ 22 h 64"/>
                  <a:gd name="T12" fmla="*/ 47 w 61"/>
                  <a:gd name="T13" fmla="*/ 37 h 64"/>
                  <a:gd name="T14" fmla="*/ 42 w 61"/>
                  <a:gd name="T15" fmla="*/ 44 h 64"/>
                  <a:gd name="T16" fmla="*/ 21 w 61"/>
                  <a:gd name="T17" fmla="*/ 29 h 64"/>
                  <a:gd name="T18" fmla="*/ 13 w 61"/>
                  <a:gd name="T19" fmla="*/ 40 h 64"/>
                  <a:gd name="T20" fmla="*/ 36 w 61"/>
                  <a:gd name="T21" fmla="*/ 57 h 64"/>
                  <a:gd name="T22" fmla="*/ 31 w 61"/>
                  <a:gd name="T23" fmla="*/ 64 h 64"/>
                  <a:gd name="T24" fmla="*/ 0 w 61"/>
                  <a:gd name="T25" fmla="*/ 41 h 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1" h="64">
                    <a:moveTo>
                      <a:pt x="0" y="41"/>
                    </a:moveTo>
                    <a:lnTo>
                      <a:pt x="31" y="0"/>
                    </a:lnTo>
                    <a:lnTo>
                      <a:pt x="61" y="22"/>
                    </a:lnTo>
                    <a:lnTo>
                      <a:pt x="56" y="29"/>
                    </a:lnTo>
                    <a:lnTo>
                      <a:pt x="34" y="13"/>
                    </a:lnTo>
                    <a:lnTo>
                      <a:pt x="27" y="22"/>
                    </a:lnTo>
                    <a:lnTo>
                      <a:pt x="47" y="37"/>
                    </a:lnTo>
                    <a:lnTo>
                      <a:pt x="42" y="44"/>
                    </a:lnTo>
                    <a:lnTo>
                      <a:pt x="21" y="29"/>
                    </a:lnTo>
                    <a:lnTo>
                      <a:pt x="13" y="40"/>
                    </a:lnTo>
                    <a:lnTo>
                      <a:pt x="36" y="57"/>
                    </a:lnTo>
                    <a:lnTo>
                      <a:pt x="31" y="64"/>
                    </a:lnTo>
                    <a:lnTo>
                      <a:pt x="0" y="4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106" name="íśliḋé"/>
              <p:cNvSpPr/>
              <p:nvPr/>
            </p:nvSpPr>
            <p:spPr bwMode="auto">
              <a:xfrm>
                <a:off x="2004909" y="5947365"/>
                <a:ext cx="96838" cy="101600"/>
              </a:xfrm>
              <a:custGeom>
                <a:avLst/>
                <a:gdLst>
                  <a:gd name="T0" fmla="*/ 0 w 61"/>
                  <a:gd name="T1" fmla="*/ 43 h 64"/>
                  <a:gd name="T2" fmla="*/ 27 w 61"/>
                  <a:gd name="T3" fmla="*/ 0 h 64"/>
                  <a:gd name="T4" fmla="*/ 35 w 61"/>
                  <a:gd name="T5" fmla="*/ 5 h 64"/>
                  <a:gd name="T6" fmla="*/ 36 w 61"/>
                  <a:gd name="T7" fmla="*/ 45 h 64"/>
                  <a:gd name="T8" fmla="*/ 53 w 61"/>
                  <a:gd name="T9" fmla="*/ 15 h 64"/>
                  <a:gd name="T10" fmla="*/ 61 w 61"/>
                  <a:gd name="T11" fmla="*/ 21 h 64"/>
                  <a:gd name="T12" fmla="*/ 35 w 61"/>
                  <a:gd name="T13" fmla="*/ 64 h 64"/>
                  <a:gd name="T14" fmla="*/ 27 w 61"/>
                  <a:gd name="T15" fmla="*/ 59 h 64"/>
                  <a:gd name="T16" fmla="*/ 25 w 61"/>
                  <a:gd name="T17" fmla="*/ 20 h 64"/>
                  <a:gd name="T18" fmla="*/ 8 w 61"/>
                  <a:gd name="T19" fmla="*/ 49 h 64"/>
                  <a:gd name="T20" fmla="*/ 0 w 61"/>
                  <a:gd name="T21" fmla="*/ 43 h 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61" h="64">
                    <a:moveTo>
                      <a:pt x="0" y="43"/>
                    </a:moveTo>
                    <a:lnTo>
                      <a:pt x="27" y="0"/>
                    </a:lnTo>
                    <a:lnTo>
                      <a:pt x="35" y="5"/>
                    </a:lnTo>
                    <a:lnTo>
                      <a:pt x="36" y="45"/>
                    </a:lnTo>
                    <a:lnTo>
                      <a:pt x="53" y="15"/>
                    </a:lnTo>
                    <a:lnTo>
                      <a:pt x="61" y="21"/>
                    </a:lnTo>
                    <a:lnTo>
                      <a:pt x="35" y="64"/>
                    </a:lnTo>
                    <a:lnTo>
                      <a:pt x="27" y="59"/>
                    </a:lnTo>
                    <a:lnTo>
                      <a:pt x="25" y="20"/>
                    </a:lnTo>
                    <a:lnTo>
                      <a:pt x="8" y="49"/>
                    </a:lnTo>
                    <a:lnTo>
                      <a:pt x="0" y="4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107" name="iSļiďê"/>
              <p:cNvSpPr/>
              <p:nvPr/>
            </p:nvSpPr>
            <p:spPr bwMode="auto">
              <a:xfrm>
                <a:off x="2087459" y="5993403"/>
                <a:ext cx="79375" cy="87313"/>
              </a:xfrm>
              <a:custGeom>
                <a:avLst/>
                <a:gdLst>
                  <a:gd name="T0" fmla="*/ 28 w 43"/>
                  <a:gd name="T1" fmla="*/ 33 h 47"/>
                  <a:gd name="T2" fmla="*/ 34 w 43"/>
                  <a:gd name="T3" fmla="*/ 39 h 47"/>
                  <a:gd name="T4" fmla="*/ 24 w 43"/>
                  <a:gd name="T5" fmla="*/ 46 h 47"/>
                  <a:gd name="T6" fmla="*/ 12 w 43"/>
                  <a:gd name="T7" fmla="*/ 44 h 47"/>
                  <a:gd name="T8" fmla="*/ 1 w 43"/>
                  <a:gd name="T9" fmla="*/ 33 h 47"/>
                  <a:gd name="T10" fmla="*/ 3 w 43"/>
                  <a:gd name="T11" fmla="*/ 15 h 47"/>
                  <a:gd name="T12" fmla="*/ 15 w 43"/>
                  <a:gd name="T13" fmla="*/ 2 h 47"/>
                  <a:gd name="T14" fmla="*/ 32 w 43"/>
                  <a:gd name="T15" fmla="*/ 3 h 47"/>
                  <a:gd name="T16" fmla="*/ 41 w 43"/>
                  <a:gd name="T17" fmla="*/ 13 h 47"/>
                  <a:gd name="T18" fmla="*/ 42 w 43"/>
                  <a:gd name="T19" fmla="*/ 22 h 47"/>
                  <a:gd name="T20" fmla="*/ 33 w 43"/>
                  <a:gd name="T21" fmla="*/ 20 h 47"/>
                  <a:gd name="T22" fmla="*/ 33 w 43"/>
                  <a:gd name="T23" fmla="*/ 14 h 47"/>
                  <a:gd name="T24" fmla="*/ 28 w 43"/>
                  <a:gd name="T25" fmla="*/ 10 h 47"/>
                  <a:gd name="T26" fmla="*/ 19 w 43"/>
                  <a:gd name="T27" fmla="*/ 10 h 47"/>
                  <a:gd name="T28" fmla="*/ 12 w 43"/>
                  <a:gd name="T29" fmla="*/ 19 h 47"/>
                  <a:gd name="T30" fmla="*/ 9 w 43"/>
                  <a:gd name="T31" fmla="*/ 31 h 47"/>
                  <a:gd name="T32" fmla="*/ 15 w 43"/>
                  <a:gd name="T33" fmla="*/ 37 h 47"/>
                  <a:gd name="T34" fmla="*/ 22 w 43"/>
                  <a:gd name="T35" fmla="*/ 38 h 47"/>
                  <a:gd name="T36" fmla="*/ 28 w 43"/>
                  <a:gd name="T37" fmla="*/ 33 h 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43" h="47">
                    <a:moveTo>
                      <a:pt x="28" y="33"/>
                    </a:moveTo>
                    <a:cubicBezTo>
                      <a:pt x="34" y="39"/>
                      <a:pt x="34" y="39"/>
                      <a:pt x="34" y="39"/>
                    </a:cubicBezTo>
                    <a:cubicBezTo>
                      <a:pt x="31" y="43"/>
                      <a:pt x="28" y="45"/>
                      <a:pt x="24" y="46"/>
                    </a:cubicBezTo>
                    <a:cubicBezTo>
                      <a:pt x="20" y="47"/>
                      <a:pt x="16" y="46"/>
                      <a:pt x="12" y="44"/>
                    </a:cubicBezTo>
                    <a:cubicBezTo>
                      <a:pt x="7" y="42"/>
                      <a:pt x="3" y="38"/>
                      <a:pt x="1" y="33"/>
                    </a:cubicBezTo>
                    <a:cubicBezTo>
                      <a:pt x="0" y="27"/>
                      <a:pt x="0" y="22"/>
                      <a:pt x="3" y="15"/>
                    </a:cubicBezTo>
                    <a:cubicBezTo>
                      <a:pt x="6" y="9"/>
                      <a:pt x="10" y="4"/>
                      <a:pt x="15" y="2"/>
                    </a:cubicBezTo>
                    <a:cubicBezTo>
                      <a:pt x="21" y="0"/>
                      <a:pt x="26" y="1"/>
                      <a:pt x="32" y="3"/>
                    </a:cubicBezTo>
                    <a:cubicBezTo>
                      <a:pt x="36" y="5"/>
                      <a:pt x="40" y="9"/>
                      <a:pt x="41" y="13"/>
                    </a:cubicBezTo>
                    <a:cubicBezTo>
                      <a:pt x="42" y="16"/>
                      <a:pt x="43" y="19"/>
                      <a:pt x="42" y="22"/>
                    </a:cubicBezTo>
                    <a:cubicBezTo>
                      <a:pt x="33" y="20"/>
                      <a:pt x="33" y="20"/>
                      <a:pt x="33" y="20"/>
                    </a:cubicBezTo>
                    <a:cubicBezTo>
                      <a:pt x="34" y="18"/>
                      <a:pt x="34" y="16"/>
                      <a:pt x="33" y="14"/>
                    </a:cubicBezTo>
                    <a:cubicBezTo>
                      <a:pt x="32" y="12"/>
                      <a:pt x="30" y="11"/>
                      <a:pt x="28" y="10"/>
                    </a:cubicBezTo>
                    <a:cubicBezTo>
                      <a:pt x="25" y="8"/>
                      <a:pt x="22" y="8"/>
                      <a:pt x="19" y="10"/>
                    </a:cubicBezTo>
                    <a:cubicBezTo>
                      <a:pt x="16" y="11"/>
                      <a:pt x="14" y="14"/>
                      <a:pt x="12" y="19"/>
                    </a:cubicBezTo>
                    <a:cubicBezTo>
                      <a:pt x="9" y="24"/>
                      <a:pt x="9" y="28"/>
                      <a:pt x="9" y="31"/>
                    </a:cubicBezTo>
                    <a:cubicBezTo>
                      <a:pt x="10" y="34"/>
                      <a:pt x="12" y="36"/>
                      <a:pt x="15" y="37"/>
                    </a:cubicBezTo>
                    <a:cubicBezTo>
                      <a:pt x="17" y="38"/>
                      <a:pt x="19" y="38"/>
                      <a:pt x="22" y="38"/>
                    </a:cubicBezTo>
                    <a:cubicBezTo>
                      <a:pt x="24" y="37"/>
                      <a:pt x="26" y="35"/>
                      <a:pt x="28" y="3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108" name="íSliḋé"/>
              <p:cNvSpPr/>
              <p:nvPr/>
            </p:nvSpPr>
            <p:spPr bwMode="auto">
              <a:xfrm>
                <a:off x="2157309" y="6017215"/>
                <a:ext cx="82550" cy="96838"/>
              </a:xfrm>
              <a:custGeom>
                <a:avLst/>
                <a:gdLst>
                  <a:gd name="T0" fmla="*/ 0 w 52"/>
                  <a:gd name="T1" fmla="*/ 49 h 61"/>
                  <a:gd name="T2" fmla="*/ 16 w 52"/>
                  <a:gd name="T3" fmla="*/ 0 h 61"/>
                  <a:gd name="T4" fmla="*/ 52 w 52"/>
                  <a:gd name="T5" fmla="*/ 13 h 61"/>
                  <a:gd name="T6" fmla="*/ 50 w 52"/>
                  <a:gd name="T7" fmla="*/ 21 h 61"/>
                  <a:gd name="T8" fmla="*/ 23 w 52"/>
                  <a:gd name="T9" fmla="*/ 12 h 61"/>
                  <a:gd name="T10" fmla="*/ 20 w 52"/>
                  <a:gd name="T11" fmla="*/ 22 h 61"/>
                  <a:gd name="T12" fmla="*/ 44 w 52"/>
                  <a:gd name="T13" fmla="*/ 30 h 61"/>
                  <a:gd name="T14" fmla="*/ 41 w 52"/>
                  <a:gd name="T15" fmla="*/ 38 h 61"/>
                  <a:gd name="T16" fmla="*/ 18 w 52"/>
                  <a:gd name="T17" fmla="*/ 30 h 61"/>
                  <a:gd name="T18" fmla="*/ 13 w 52"/>
                  <a:gd name="T19" fmla="*/ 43 h 61"/>
                  <a:gd name="T20" fmla="*/ 40 w 52"/>
                  <a:gd name="T21" fmla="*/ 52 h 61"/>
                  <a:gd name="T22" fmla="*/ 36 w 52"/>
                  <a:gd name="T23" fmla="*/ 61 h 61"/>
                  <a:gd name="T24" fmla="*/ 0 w 52"/>
                  <a:gd name="T25" fmla="*/ 49 h 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52" h="61">
                    <a:moveTo>
                      <a:pt x="0" y="49"/>
                    </a:moveTo>
                    <a:lnTo>
                      <a:pt x="16" y="0"/>
                    </a:lnTo>
                    <a:lnTo>
                      <a:pt x="52" y="13"/>
                    </a:lnTo>
                    <a:lnTo>
                      <a:pt x="50" y="21"/>
                    </a:lnTo>
                    <a:lnTo>
                      <a:pt x="23" y="12"/>
                    </a:lnTo>
                    <a:lnTo>
                      <a:pt x="20" y="22"/>
                    </a:lnTo>
                    <a:lnTo>
                      <a:pt x="44" y="30"/>
                    </a:lnTo>
                    <a:lnTo>
                      <a:pt x="41" y="38"/>
                    </a:lnTo>
                    <a:lnTo>
                      <a:pt x="18" y="30"/>
                    </a:lnTo>
                    <a:lnTo>
                      <a:pt x="13" y="43"/>
                    </a:lnTo>
                    <a:lnTo>
                      <a:pt x="40" y="52"/>
                    </a:lnTo>
                    <a:lnTo>
                      <a:pt x="36" y="61"/>
                    </a:lnTo>
                    <a:lnTo>
                      <a:pt x="0" y="4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109" name="îŝ1îḑè"/>
              <p:cNvSpPr/>
              <p:nvPr/>
            </p:nvSpPr>
            <p:spPr bwMode="auto">
              <a:xfrm>
                <a:off x="2663722" y="6026740"/>
                <a:ext cx="77788" cy="92075"/>
              </a:xfrm>
              <a:custGeom>
                <a:avLst/>
                <a:gdLst>
                  <a:gd name="T0" fmla="*/ 49 w 49"/>
                  <a:gd name="T1" fmla="*/ 42 h 58"/>
                  <a:gd name="T2" fmla="*/ 39 w 49"/>
                  <a:gd name="T3" fmla="*/ 45 h 58"/>
                  <a:gd name="T4" fmla="*/ 31 w 49"/>
                  <a:gd name="T5" fmla="*/ 36 h 58"/>
                  <a:gd name="T6" fmla="*/ 11 w 49"/>
                  <a:gd name="T7" fmla="*/ 43 h 58"/>
                  <a:gd name="T8" fmla="*/ 11 w 49"/>
                  <a:gd name="T9" fmla="*/ 55 h 58"/>
                  <a:gd name="T10" fmla="*/ 0 w 49"/>
                  <a:gd name="T11" fmla="*/ 58 h 58"/>
                  <a:gd name="T12" fmla="*/ 3 w 49"/>
                  <a:gd name="T13" fmla="*/ 3 h 58"/>
                  <a:gd name="T14" fmla="*/ 13 w 49"/>
                  <a:gd name="T15" fmla="*/ 0 h 58"/>
                  <a:gd name="T16" fmla="*/ 49 w 49"/>
                  <a:gd name="T17" fmla="*/ 42 h 58"/>
                  <a:gd name="T18" fmla="*/ 25 w 49"/>
                  <a:gd name="T19" fmla="*/ 29 h 58"/>
                  <a:gd name="T20" fmla="*/ 12 w 49"/>
                  <a:gd name="T21" fmla="*/ 14 h 58"/>
                  <a:gd name="T22" fmla="*/ 11 w 49"/>
                  <a:gd name="T23" fmla="*/ 34 h 58"/>
                  <a:gd name="T24" fmla="*/ 25 w 49"/>
                  <a:gd name="T25" fmla="*/ 29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49" h="58">
                    <a:moveTo>
                      <a:pt x="49" y="42"/>
                    </a:moveTo>
                    <a:lnTo>
                      <a:pt x="39" y="45"/>
                    </a:lnTo>
                    <a:lnTo>
                      <a:pt x="31" y="36"/>
                    </a:lnTo>
                    <a:lnTo>
                      <a:pt x="11" y="43"/>
                    </a:lnTo>
                    <a:lnTo>
                      <a:pt x="11" y="55"/>
                    </a:lnTo>
                    <a:lnTo>
                      <a:pt x="0" y="58"/>
                    </a:lnTo>
                    <a:lnTo>
                      <a:pt x="3" y="3"/>
                    </a:lnTo>
                    <a:lnTo>
                      <a:pt x="13" y="0"/>
                    </a:lnTo>
                    <a:lnTo>
                      <a:pt x="49" y="42"/>
                    </a:lnTo>
                    <a:close/>
                    <a:moveTo>
                      <a:pt x="25" y="29"/>
                    </a:moveTo>
                    <a:lnTo>
                      <a:pt x="12" y="14"/>
                    </a:lnTo>
                    <a:lnTo>
                      <a:pt x="11" y="34"/>
                    </a:lnTo>
                    <a:lnTo>
                      <a:pt x="25" y="2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110" name="íṩḻiḋê"/>
              <p:cNvSpPr/>
              <p:nvPr/>
            </p:nvSpPr>
            <p:spPr bwMode="auto">
              <a:xfrm>
                <a:off x="2714522" y="5990228"/>
                <a:ext cx="92075" cy="101600"/>
              </a:xfrm>
              <a:custGeom>
                <a:avLst/>
                <a:gdLst>
                  <a:gd name="T0" fmla="*/ 21 w 58"/>
                  <a:gd name="T1" fmla="*/ 64 h 64"/>
                  <a:gd name="T2" fmla="*/ 0 w 58"/>
                  <a:gd name="T3" fmla="*/ 17 h 64"/>
                  <a:gd name="T4" fmla="*/ 9 w 58"/>
                  <a:gd name="T5" fmla="*/ 12 h 64"/>
                  <a:gd name="T6" fmla="*/ 43 w 58"/>
                  <a:gd name="T7" fmla="*/ 36 h 64"/>
                  <a:gd name="T8" fmla="*/ 29 w 58"/>
                  <a:gd name="T9" fmla="*/ 4 h 64"/>
                  <a:gd name="T10" fmla="*/ 37 w 58"/>
                  <a:gd name="T11" fmla="*/ 0 h 64"/>
                  <a:gd name="T12" fmla="*/ 58 w 58"/>
                  <a:gd name="T13" fmla="*/ 46 h 64"/>
                  <a:gd name="T14" fmla="*/ 49 w 58"/>
                  <a:gd name="T15" fmla="*/ 51 h 64"/>
                  <a:gd name="T16" fmla="*/ 16 w 58"/>
                  <a:gd name="T17" fmla="*/ 29 h 64"/>
                  <a:gd name="T18" fmla="*/ 30 w 58"/>
                  <a:gd name="T19" fmla="*/ 59 h 64"/>
                  <a:gd name="T20" fmla="*/ 21 w 58"/>
                  <a:gd name="T21" fmla="*/ 64 h 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58" h="64">
                    <a:moveTo>
                      <a:pt x="21" y="64"/>
                    </a:moveTo>
                    <a:lnTo>
                      <a:pt x="0" y="17"/>
                    </a:lnTo>
                    <a:lnTo>
                      <a:pt x="9" y="12"/>
                    </a:lnTo>
                    <a:lnTo>
                      <a:pt x="43" y="36"/>
                    </a:lnTo>
                    <a:lnTo>
                      <a:pt x="29" y="4"/>
                    </a:lnTo>
                    <a:lnTo>
                      <a:pt x="37" y="0"/>
                    </a:lnTo>
                    <a:lnTo>
                      <a:pt x="58" y="46"/>
                    </a:lnTo>
                    <a:lnTo>
                      <a:pt x="49" y="51"/>
                    </a:lnTo>
                    <a:lnTo>
                      <a:pt x="16" y="29"/>
                    </a:lnTo>
                    <a:lnTo>
                      <a:pt x="30" y="59"/>
                    </a:lnTo>
                    <a:lnTo>
                      <a:pt x="21" y="6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111" name="îṧľíḍe"/>
              <p:cNvSpPr/>
              <p:nvPr/>
            </p:nvSpPr>
            <p:spPr bwMode="auto">
              <a:xfrm>
                <a:off x="2781197" y="5963240"/>
                <a:ext cx="85725" cy="95250"/>
              </a:xfrm>
              <a:custGeom>
                <a:avLst/>
                <a:gdLst>
                  <a:gd name="T0" fmla="*/ 0 w 47"/>
                  <a:gd name="T1" fmla="*/ 13 h 51"/>
                  <a:gd name="T2" fmla="*/ 14 w 47"/>
                  <a:gd name="T3" fmla="*/ 4 h 51"/>
                  <a:gd name="T4" fmla="*/ 22 w 47"/>
                  <a:gd name="T5" fmla="*/ 1 h 51"/>
                  <a:gd name="T6" fmla="*/ 29 w 47"/>
                  <a:gd name="T7" fmla="*/ 1 h 51"/>
                  <a:gd name="T8" fmla="*/ 37 w 47"/>
                  <a:gd name="T9" fmla="*/ 5 h 51"/>
                  <a:gd name="T10" fmla="*/ 43 w 47"/>
                  <a:gd name="T11" fmla="*/ 14 h 51"/>
                  <a:gd name="T12" fmla="*/ 47 w 47"/>
                  <a:gd name="T13" fmla="*/ 22 h 51"/>
                  <a:gd name="T14" fmla="*/ 46 w 47"/>
                  <a:gd name="T15" fmla="*/ 31 h 51"/>
                  <a:gd name="T16" fmla="*/ 43 w 47"/>
                  <a:gd name="T17" fmla="*/ 38 h 51"/>
                  <a:gd name="T18" fmla="*/ 36 w 47"/>
                  <a:gd name="T19" fmla="*/ 42 h 51"/>
                  <a:gd name="T20" fmla="*/ 22 w 47"/>
                  <a:gd name="T21" fmla="*/ 51 h 51"/>
                  <a:gd name="T22" fmla="*/ 0 w 47"/>
                  <a:gd name="T23" fmla="*/ 13 h 51"/>
                  <a:gd name="T24" fmla="*/ 11 w 47"/>
                  <a:gd name="T25" fmla="*/ 15 h 51"/>
                  <a:gd name="T26" fmla="*/ 26 w 47"/>
                  <a:gd name="T27" fmla="*/ 40 h 51"/>
                  <a:gd name="T28" fmla="*/ 32 w 47"/>
                  <a:gd name="T29" fmla="*/ 37 h 51"/>
                  <a:gd name="T30" fmla="*/ 36 w 47"/>
                  <a:gd name="T31" fmla="*/ 33 h 51"/>
                  <a:gd name="T32" fmla="*/ 38 w 47"/>
                  <a:gd name="T33" fmla="*/ 30 h 51"/>
                  <a:gd name="T34" fmla="*/ 38 w 47"/>
                  <a:gd name="T35" fmla="*/ 25 h 51"/>
                  <a:gd name="T36" fmla="*/ 35 w 47"/>
                  <a:gd name="T37" fmla="*/ 18 h 51"/>
                  <a:gd name="T38" fmla="*/ 30 w 47"/>
                  <a:gd name="T39" fmla="*/ 11 h 51"/>
                  <a:gd name="T40" fmla="*/ 26 w 47"/>
                  <a:gd name="T41" fmla="*/ 9 h 51"/>
                  <a:gd name="T42" fmla="*/ 21 w 47"/>
                  <a:gd name="T43" fmla="*/ 9 h 51"/>
                  <a:gd name="T44" fmla="*/ 15 w 47"/>
                  <a:gd name="T45" fmla="*/ 13 h 51"/>
                  <a:gd name="T46" fmla="*/ 11 w 47"/>
                  <a:gd name="T47" fmla="*/ 15 h 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47" h="51">
                    <a:moveTo>
                      <a:pt x="0" y="13"/>
                    </a:moveTo>
                    <a:cubicBezTo>
                      <a:pt x="14" y="4"/>
                      <a:pt x="14" y="4"/>
                      <a:pt x="14" y="4"/>
                    </a:cubicBezTo>
                    <a:cubicBezTo>
                      <a:pt x="17" y="3"/>
                      <a:pt x="20" y="1"/>
                      <a:pt x="22" y="1"/>
                    </a:cubicBezTo>
                    <a:cubicBezTo>
                      <a:pt x="24" y="0"/>
                      <a:pt x="27" y="0"/>
                      <a:pt x="29" y="1"/>
                    </a:cubicBezTo>
                    <a:cubicBezTo>
                      <a:pt x="32" y="2"/>
                      <a:pt x="34" y="3"/>
                      <a:pt x="37" y="5"/>
                    </a:cubicBezTo>
                    <a:cubicBezTo>
                      <a:pt x="39" y="7"/>
                      <a:pt x="41" y="10"/>
                      <a:pt x="43" y="14"/>
                    </a:cubicBezTo>
                    <a:cubicBezTo>
                      <a:pt x="45" y="17"/>
                      <a:pt x="46" y="20"/>
                      <a:pt x="47" y="22"/>
                    </a:cubicBezTo>
                    <a:cubicBezTo>
                      <a:pt x="47" y="26"/>
                      <a:pt x="47" y="29"/>
                      <a:pt x="46" y="31"/>
                    </a:cubicBezTo>
                    <a:cubicBezTo>
                      <a:pt x="46" y="34"/>
                      <a:pt x="45" y="36"/>
                      <a:pt x="43" y="38"/>
                    </a:cubicBezTo>
                    <a:cubicBezTo>
                      <a:pt x="41" y="39"/>
                      <a:pt x="39" y="41"/>
                      <a:pt x="36" y="42"/>
                    </a:cubicBezTo>
                    <a:cubicBezTo>
                      <a:pt x="22" y="51"/>
                      <a:pt x="22" y="51"/>
                      <a:pt x="22" y="51"/>
                    </a:cubicBezTo>
                    <a:lnTo>
                      <a:pt x="0" y="13"/>
                    </a:lnTo>
                    <a:close/>
                    <a:moveTo>
                      <a:pt x="11" y="15"/>
                    </a:moveTo>
                    <a:cubicBezTo>
                      <a:pt x="26" y="40"/>
                      <a:pt x="26" y="40"/>
                      <a:pt x="26" y="40"/>
                    </a:cubicBezTo>
                    <a:cubicBezTo>
                      <a:pt x="32" y="37"/>
                      <a:pt x="32" y="37"/>
                      <a:pt x="32" y="37"/>
                    </a:cubicBezTo>
                    <a:cubicBezTo>
                      <a:pt x="34" y="35"/>
                      <a:pt x="35" y="34"/>
                      <a:pt x="36" y="33"/>
                    </a:cubicBezTo>
                    <a:cubicBezTo>
                      <a:pt x="37" y="32"/>
                      <a:pt x="38" y="31"/>
                      <a:pt x="38" y="30"/>
                    </a:cubicBezTo>
                    <a:cubicBezTo>
                      <a:pt x="39" y="29"/>
                      <a:pt x="39" y="27"/>
                      <a:pt x="38" y="25"/>
                    </a:cubicBezTo>
                    <a:cubicBezTo>
                      <a:pt x="38" y="23"/>
                      <a:pt x="37" y="21"/>
                      <a:pt x="35" y="18"/>
                    </a:cubicBezTo>
                    <a:cubicBezTo>
                      <a:pt x="33" y="15"/>
                      <a:pt x="32" y="13"/>
                      <a:pt x="30" y="11"/>
                    </a:cubicBezTo>
                    <a:cubicBezTo>
                      <a:pt x="29" y="10"/>
                      <a:pt x="27" y="9"/>
                      <a:pt x="26" y="9"/>
                    </a:cubicBezTo>
                    <a:cubicBezTo>
                      <a:pt x="25" y="9"/>
                      <a:pt x="23" y="9"/>
                      <a:pt x="21" y="9"/>
                    </a:cubicBezTo>
                    <a:cubicBezTo>
                      <a:pt x="20" y="10"/>
                      <a:pt x="18" y="11"/>
                      <a:pt x="15" y="13"/>
                    </a:cubicBezTo>
                    <a:lnTo>
                      <a:pt x="11" y="1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112" name="ïṩḻiḍe"/>
              <p:cNvSpPr/>
              <p:nvPr/>
            </p:nvSpPr>
            <p:spPr bwMode="auto">
              <a:xfrm>
                <a:off x="2876447" y="5888628"/>
                <a:ext cx="80963" cy="88900"/>
              </a:xfrm>
              <a:custGeom>
                <a:avLst/>
                <a:gdLst>
                  <a:gd name="T0" fmla="*/ 43 w 51"/>
                  <a:gd name="T1" fmla="*/ 56 h 56"/>
                  <a:gd name="T2" fmla="*/ 16 w 51"/>
                  <a:gd name="T3" fmla="*/ 22 h 56"/>
                  <a:gd name="T4" fmla="*/ 5 w 51"/>
                  <a:gd name="T5" fmla="*/ 31 h 56"/>
                  <a:gd name="T6" fmla="*/ 0 w 51"/>
                  <a:gd name="T7" fmla="*/ 25 h 56"/>
                  <a:gd name="T8" fmla="*/ 31 w 51"/>
                  <a:gd name="T9" fmla="*/ 0 h 56"/>
                  <a:gd name="T10" fmla="*/ 37 w 51"/>
                  <a:gd name="T11" fmla="*/ 7 h 56"/>
                  <a:gd name="T12" fmla="*/ 24 w 51"/>
                  <a:gd name="T13" fmla="*/ 16 h 56"/>
                  <a:gd name="T14" fmla="*/ 51 w 51"/>
                  <a:gd name="T15" fmla="*/ 49 h 56"/>
                  <a:gd name="T16" fmla="*/ 43 w 51"/>
                  <a:gd name="T17" fmla="*/ 56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1" h="56">
                    <a:moveTo>
                      <a:pt x="43" y="56"/>
                    </a:moveTo>
                    <a:lnTo>
                      <a:pt x="16" y="22"/>
                    </a:lnTo>
                    <a:lnTo>
                      <a:pt x="5" y="31"/>
                    </a:lnTo>
                    <a:lnTo>
                      <a:pt x="0" y="25"/>
                    </a:lnTo>
                    <a:lnTo>
                      <a:pt x="31" y="0"/>
                    </a:lnTo>
                    <a:lnTo>
                      <a:pt x="37" y="7"/>
                    </a:lnTo>
                    <a:lnTo>
                      <a:pt x="24" y="16"/>
                    </a:lnTo>
                    <a:lnTo>
                      <a:pt x="51" y="49"/>
                    </a:lnTo>
                    <a:lnTo>
                      <a:pt x="43" y="56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113" name="íśļïḓè"/>
              <p:cNvSpPr/>
              <p:nvPr/>
            </p:nvSpPr>
            <p:spPr bwMode="auto">
              <a:xfrm>
                <a:off x="2925659" y="5845765"/>
                <a:ext cx="101600" cy="100013"/>
              </a:xfrm>
              <a:custGeom>
                <a:avLst/>
                <a:gdLst>
                  <a:gd name="T0" fmla="*/ 36 w 64"/>
                  <a:gd name="T1" fmla="*/ 63 h 63"/>
                  <a:gd name="T2" fmla="*/ 0 w 64"/>
                  <a:gd name="T3" fmla="*/ 26 h 63"/>
                  <a:gd name="T4" fmla="*/ 28 w 64"/>
                  <a:gd name="T5" fmla="*/ 0 h 63"/>
                  <a:gd name="T6" fmla="*/ 34 w 64"/>
                  <a:gd name="T7" fmla="*/ 6 h 63"/>
                  <a:gd name="T8" fmla="*/ 14 w 64"/>
                  <a:gd name="T9" fmla="*/ 26 h 63"/>
                  <a:gd name="T10" fmla="*/ 22 w 64"/>
                  <a:gd name="T11" fmla="*/ 34 h 63"/>
                  <a:gd name="T12" fmla="*/ 41 w 64"/>
                  <a:gd name="T13" fmla="*/ 16 h 63"/>
                  <a:gd name="T14" fmla="*/ 47 w 64"/>
                  <a:gd name="T15" fmla="*/ 22 h 63"/>
                  <a:gd name="T16" fmla="*/ 28 w 64"/>
                  <a:gd name="T17" fmla="*/ 39 h 63"/>
                  <a:gd name="T18" fmla="*/ 38 w 64"/>
                  <a:gd name="T19" fmla="*/ 50 h 63"/>
                  <a:gd name="T20" fmla="*/ 58 w 64"/>
                  <a:gd name="T21" fmla="*/ 30 h 63"/>
                  <a:gd name="T22" fmla="*/ 64 w 64"/>
                  <a:gd name="T23" fmla="*/ 36 h 63"/>
                  <a:gd name="T24" fmla="*/ 36 w 64"/>
                  <a:gd name="T25" fmla="*/ 63 h 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4" h="63">
                    <a:moveTo>
                      <a:pt x="36" y="63"/>
                    </a:moveTo>
                    <a:lnTo>
                      <a:pt x="0" y="26"/>
                    </a:lnTo>
                    <a:lnTo>
                      <a:pt x="28" y="0"/>
                    </a:lnTo>
                    <a:lnTo>
                      <a:pt x="34" y="6"/>
                    </a:lnTo>
                    <a:lnTo>
                      <a:pt x="14" y="26"/>
                    </a:lnTo>
                    <a:lnTo>
                      <a:pt x="22" y="34"/>
                    </a:lnTo>
                    <a:lnTo>
                      <a:pt x="41" y="16"/>
                    </a:lnTo>
                    <a:lnTo>
                      <a:pt x="47" y="22"/>
                    </a:lnTo>
                    <a:lnTo>
                      <a:pt x="28" y="39"/>
                    </a:lnTo>
                    <a:lnTo>
                      <a:pt x="38" y="50"/>
                    </a:lnTo>
                    <a:lnTo>
                      <a:pt x="58" y="30"/>
                    </a:lnTo>
                    <a:lnTo>
                      <a:pt x="64" y="36"/>
                    </a:lnTo>
                    <a:lnTo>
                      <a:pt x="36" y="6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114" name="íṩḻîde"/>
              <p:cNvSpPr/>
              <p:nvPr/>
            </p:nvSpPr>
            <p:spPr bwMode="auto">
              <a:xfrm>
                <a:off x="2985984" y="5801315"/>
                <a:ext cx="82550" cy="80963"/>
              </a:xfrm>
              <a:custGeom>
                <a:avLst/>
                <a:gdLst>
                  <a:gd name="T0" fmla="*/ 34 w 45"/>
                  <a:gd name="T1" fmla="*/ 19 h 44"/>
                  <a:gd name="T2" fmla="*/ 41 w 45"/>
                  <a:gd name="T3" fmla="*/ 14 h 44"/>
                  <a:gd name="T4" fmla="*/ 45 w 45"/>
                  <a:gd name="T5" fmla="*/ 26 h 44"/>
                  <a:gd name="T6" fmla="*/ 40 w 45"/>
                  <a:gd name="T7" fmla="*/ 37 h 44"/>
                  <a:gd name="T8" fmla="*/ 26 w 45"/>
                  <a:gd name="T9" fmla="*/ 44 h 44"/>
                  <a:gd name="T10" fmla="*/ 10 w 45"/>
                  <a:gd name="T11" fmla="*/ 38 h 44"/>
                  <a:gd name="T12" fmla="*/ 1 w 45"/>
                  <a:gd name="T13" fmla="*/ 22 h 44"/>
                  <a:gd name="T14" fmla="*/ 6 w 45"/>
                  <a:gd name="T15" fmla="*/ 7 h 44"/>
                  <a:gd name="T16" fmla="*/ 18 w 45"/>
                  <a:gd name="T17" fmla="*/ 0 h 44"/>
                  <a:gd name="T18" fmla="*/ 27 w 45"/>
                  <a:gd name="T19" fmla="*/ 2 h 44"/>
                  <a:gd name="T20" fmla="*/ 23 w 45"/>
                  <a:gd name="T21" fmla="*/ 10 h 44"/>
                  <a:gd name="T22" fmla="*/ 17 w 45"/>
                  <a:gd name="T23" fmla="*/ 9 h 44"/>
                  <a:gd name="T24" fmla="*/ 11 w 45"/>
                  <a:gd name="T25" fmla="*/ 12 h 44"/>
                  <a:gd name="T26" fmla="*/ 9 w 45"/>
                  <a:gd name="T27" fmla="*/ 21 h 44"/>
                  <a:gd name="T28" fmla="*/ 15 w 45"/>
                  <a:gd name="T29" fmla="*/ 30 h 44"/>
                  <a:gd name="T30" fmla="*/ 26 w 45"/>
                  <a:gd name="T31" fmla="*/ 36 h 44"/>
                  <a:gd name="T32" fmla="*/ 34 w 45"/>
                  <a:gd name="T33" fmla="*/ 32 h 44"/>
                  <a:gd name="T34" fmla="*/ 36 w 45"/>
                  <a:gd name="T35" fmla="*/ 26 h 44"/>
                  <a:gd name="T36" fmla="*/ 34 w 45"/>
                  <a:gd name="T37" fmla="*/ 19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45" h="44">
                    <a:moveTo>
                      <a:pt x="34" y="19"/>
                    </a:moveTo>
                    <a:cubicBezTo>
                      <a:pt x="41" y="14"/>
                      <a:pt x="41" y="14"/>
                      <a:pt x="41" y="14"/>
                    </a:cubicBezTo>
                    <a:cubicBezTo>
                      <a:pt x="44" y="18"/>
                      <a:pt x="45" y="22"/>
                      <a:pt x="45" y="26"/>
                    </a:cubicBezTo>
                    <a:cubicBezTo>
                      <a:pt x="45" y="30"/>
                      <a:pt x="43" y="34"/>
                      <a:pt x="40" y="37"/>
                    </a:cubicBezTo>
                    <a:cubicBezTo>
                      <a:pt x="36" y="42"/>
                      <a:pt x="31" y="44"/>
                      <a:pt x="26" y="44"/>
                    </a:cubicBezTo>
                    <a:cubicBezTo>
                      <a:pt x="21" y="44"/>
                      <a:pt x="15" y="42"/>
                      <a:pt x="10" y="38"/>
                    </a:cubicBezTo>
                    <a:cubicBezTo>
                      <a:pt x="4" y="33"/>
                      <a:pt x="1" y="28"/>
                      <a:pt x="1" y="22"/>
                    </a:cubicBezTo>
                    <a:cubicBezTo>
                      <a:pt x="0" y="17"/>
                      <a:pt x="2" y="12"/>
                      <a:pt x="6" y="7"/>
                    </a:cubicBezTo>
                    <a:cubicBezTo>
                      <a:pt x="10" y="3"/>
                      <a:pt x="14" y="1"/>
                      <a:pt x="18" y="0"/>
                    </a:cubicBezTo>
                    <a:cubicBezTo>
                      <a:pt x="21" y="0"/>
                      <a:pt x="24" y="1"/>
                      <a:pt x="27" y="2"/>
                    </a:cubicBezTo>
                    <a:cubicBezTo>
                      <a:pt x="23" y="10"/>
                      <a:pt x="23" y="10"/>
                      <a:pt x="23" y="10"/>
                    </a:cubicBezTo>
                    <a:cubicBezTo>
                      <a:pt x="21" y="9"/>
                      <a:pt x="19" y="9"/>
                      <a:pt x="17" y="9"/>
                    </a:cubicBezTo>
                    <a:cubicBezTo>
                      <a:pt x="15" y="9"/>
                      <a:pt x="13" y="11"/>
                      <a:pt x="11" y="12"/>
                    </a:cubicBezTo>
                    <a:cubicBezTo>
                      <a:pt x="9" y="15"/>
                      <a:pt x="8" y="18"/>
                      <a:pt x="9" y="21"/>
                    </a:cubicBezTo>
                    <a:cubicBezTo>
                      <a:pt x="9" y="24"/>
                      <a:pt x="12" y="27"/>
                      <a:pt x="15" y="30"/>
                    </a:cubicBezTo>
                    <a:cubicBezTo>
                      <a:pt x="20" y="34"/>
                      <a:pt x="23" y="36"/>
                      <a:pt x="26" y="36"/>
                    </a:cubicBezTo>
                    <a:cubicBezTo>
                      <a:pt x="29" y="36"/>
                      <a:pt x="32" y="35"/>
                      <a:pt x="34" y="32"/>
                    </a:cubicBezTo>
                    <a:cubicBezTo>
                      <a:pt x="36" y="31"/>
                      <a:pt x="36" y="29"/>
                      <a:pt x="36" y="26"/>
                    </a:cubicBezTo>
                    <a:cubicBezTo>
                      <a:pt x="36" y="24"/>
                      <a:pt x="35" y="22"/>
                      <a:pt x="34" y="1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115" name="îŝḷïḓê"/>
              <p:cNvSpPr/>
              <p:nvPr/>
            </p:nvSpPr>
            <p:spPr bwMode="auto">
              <a:xfrm>
                <a:off x="3022497" y="5733053"/>
                <a:ext cx="103188" cy="101600"/>
              </a:xfrm>
              <a:custGeom>
                <a:avLst/>
                <a:gdLst>
                  <a:gd name="T0" fmla="*/ 42 w 65"/>
                  <a:gd name="T1" fmla="*/ 64 h 64"/>
                  <a:gd name="T2" fmla="*/ 0 w 65"/>
                  <a:gd name="T3" fmla="*/ 34 h 64"/>
                  <a:gd name="T4" fmla="*/ 6 w 65"/>
                  <a:gd name="T5" fmla="*/ 26 h 64"/>
                  <a:gd name="T6" fmla="*/ 22 w 65"/>
                  <a:gd name="T7" fmla="*/ 37 h 64"/>
                  <a:gd name="T8" fmla="*/ 33 w 65"/>
                  <a:gd name="T9" fmla="*/ 21 h 64"/>
                  <a:gd name="T10" fmla="*/ 17 w 65"/>
                  <a:gd name="T11" fmla="*/ 9 h 64"/>
                  <a:gd name="T12" fmla="*/ 23 w 65"/>
                  <a:gd name="T13" fmla="*/ 0 h 64"/>
                  <a:gd name="T14" fmla="*/ 65 w 65"/>
                  <a:gd name="T15" fmla="*/ 30 h 64"/>
                  <a:gd name="T16" fmla="*/ 59 w 65"/>
                  <a:gd name="T17" fmla="*/ 38 h 64"/>
                  <a:gd name="T18" fmla="*/ 40 w 65"/>
                  <a:gd name="T19" fmla="*/ 26 h 64"/>
                  <a:gd name="T20" fmla="*/ 29 w 65"/>
                  <a:gd name="T21" fmla="*/ 42 h 64"/>
                  <a:gd name="T22" fmla="*/ 47 w 65"/>
                  <a:gd name="T23" fmla="*/ 55 h 64"/>
                  <a:gd name="T24" fmla="*/ 42 w 65"/>
                  <a:gd name="T25" fmla="*/ 64 h 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5" h="64">
                    <a:moveTo>
                      <a:pt x="42" y="64"/>
                    </a:moveTo>
                    <a:lnTo>
                      <a:pt x="0" y="34"/>
                    </a:lnTo>
                    <a:lnTo>
                      <a:pt x="6" y="26"/>
                    </a:lnTo>
                    <a:lnTo>
                      <a:pt x="22" y="37"/>
                    </a:lnTo>
                    <a:lnTo>
                      <a:pt x="33" y="21"/>
                    </a:lnTo>
                    <a:lnTo>
                      <a:pt x="17" y="9"/>
                    </a:lnTo>
                    <a:lnTo>
                      <a:pt x="23" y="0"/>
                    </a:lnTo>
                    <a:lnTo>
                      <a:pt x="65" y="30"/>
                    </a:lnTo>
                    <a:lnTo>
                      <a:pt x="59" y="38"/>
                    </a:lnTo>
                    <a:lnTo>
                      <a:pt x="40" y="26"/>
                    </a:lnTo>
                    <a:lnTo>
                      <a:pt x="29" y="42"/>
                    </a:lnTo>
                    <a:lnTo>
                      <a:pt x="47" y="55"/>
                    </a:lnTo>
                    <a:lnTo>
                      <a:pt x="42" y="6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116" name="îşḷîḑe"/>
              <p:cNvSpPr/>
              <p:nvPr/>
            </p:nvSpPr>
            <p:spPr bwMode="auto">
              <a:xfrm>
                <a:off x="3062184" y="5672728"/>
                <a:ext cx="103188" cy="95250"/>
              </a:xfrm>
              <a:custGeom>
                <a:avLst/>
                <a:gdLst>
                  <a:gd name="T0" fmla="*/ 44 w 65"/>
                  <a:gd name="T1" fmla="*/ 60 h 60"/>
                  <a:gd name="T2" fmla="*/ 0 w 65"/>
                  <a:gd name="T3" fmla="*/ 34 h 60"/>
                  <a:gd name="T4" fmla="*/ 5 w 65"/>
                  <a:gd name="T5" fmla="*/ 26 h 60"/>
                  <a:gd name="T6" fmla="*/ 46 w 65"/>
                  <a:gd name="T7" fmla="*/ 24 h 60"/>
                  <a:gd name="T8" fmla="*/ 15 w 65"/>
                  <a:gd name="T9" fmla="*/ 8 h 60"/>
                  <a:gd name="T10" fmla="*/ 20 w 65"/>
                  <a:gd name="T11" fmla="*/ 0 h 60"/>
                  <a:gd name="T12" fmla="*/ 65 w 65"/>
                  <a:gd name="T13" fmla="*/ 24 h 60"/>
                  <a:gd name="T14" fmla="*/ 59 w 65"/>
                  <a:gd name="T15" fmla="*/ 33 h 60"/>
                  <a:gd name="T16" fmla="*/ 20 w 65"/>
                  <a:gd name="T17" fmla="*/ 34 h 60"/>
                  <a:gd name="T18" fmla="*/ 49 w 65"/>
                  <a:gd name="T19" fmla="*/ 52 h 60"/>
                  <a:gd name="T20" fmla="*/ 44 w 65"/>
                  <a:gd name="T21" fmla="*/ 60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65" h="60">
                    <a:moveTo>
                      <a:pt x="44" y="60"/>
                    </a:moveTo>
                    <a:lnTo>
                      <a:pt x="0" y="34"/>
                    </a:lnTo>
                    <a:lnTo>
                      <a:pt x="5" y="26"/>
                    </a:lnTo>
                    <a:lnTo>
                      <a:pt x="46" y="24"/>
                    </a:lnTo>
                    <a:lnTo>
                      <a:pt x="15" y="8"/>
                    </a:lnTo>
                    <a:lnTo>
                      <a:pt x="20" y="0"/>
                    </a:lnTo>
                    <a:lnTo>
                      <a:pt x="65" y="24"/>
                    </a:lnTo>
                    <a:lnTo>
                      <a:pt x="59" y="33"/>
                    </a:lnTo>
                    <a:lnTo>
                      <a:pt x="20" y="34"/>
                    </a:lnTo>
                    <a:lnTo>
                      <a:pt x="49" y="52"/>
                    </a:lnTo>
                    <a:lnTo>
                      <a:pt x="44" y="6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117" name="îşḷïḋê"/>
              <p:cNvSpPr/>
              <p:nvPr/>
            </p:nvSpPr>
            <p:spPr bwMode="auto">
              <a:xfrm>
                <a:off x="3106634" y="5606053"/>
                <a:ext cx="87313" cy="84138"/>
              </a:xfrm>
              <a:custGeom>
                <a:avLst/>
                <a:gdLst>
                  <a:gd name="T0" fmla="*/ 15 w 47"/>
                  <a:gd name="T1" fmla="*/ 43 h 46"/>
                  <a:gd name="T2" fmla="*/ 5 w 47"/>
                  <a:gd name="T3" fmla="*/ 36 h 46"/>
                  <a:gd name="T4" fmla="*/ 2 w 47"/>
                  <a:gd name="T5" fmla="*/ 30 h 46"/>
                  <a:gd name="T6" fmla="*/ 0 w 47"/>
                  <a:gd name="T7" fmla="*/ 23 h 46"/>
                  <a:gd name="T8" fmla="*/ 2 w 47"/>
                  <a:gd name="T9" fmla="*/ 14 h 46"/>
                  <a:gd name="T10" fmla="*/ 14 w 47"/>
                  <a:gd name="T11" fmla="*/ 2 h 46"/>
                  <a:gd name="T12" fmla="*/ 32 w 47"/>
                  <a:gd name="T13" fmla="*/ 3 h 46"/>
                  <a:gd name="T14" fmla="*/ 45 w 47"/>
                  <a:gd name="T15" fmla="*/ 15 h 46"/>
                  <a:gd name="T16" fmla="*/ 44 w 47"/>
                  <a:gd name="T17" fmla="*/ 32 h 46"/>
                  <a:gd name="T18" fmla="*/ 32 w 47"/>
                  <a:gd name="T19" fmla="*/ 44 h 46"/>
                  <a:gd name="T20" fmla="*/ 15 w 47"/>
                  <a:gd name="T21" fmla="*/ 43 h 46"/>
                  <a:gd name="T22" fmla="*/ 18 w 47"/>
                  <a:gd name="T23" fmla="*/ 34 h 46"/>
                  <a:gd name="T24" fmla="*/ 30 w 47"/>
                  <a:gd name="T25" fmla="*/ 35 h 46"/>
                  <a:gd name="T26" fmla="*/ 37 w 47"/>
                  <a:gd name="T27" fmla="*/ 29 h 46"/>
                  <a:gd name="T28" fmla="*/ 37 w 47"/>
                  <a:gd name="T29" fmla="*/ 19 h 46"/>
                  <a:gd name="T30" fmla="*/ 28 w 47"/>
                  <a:gd name="T31" fmla="*/ 12 h 46"/>
                  <a:gd name="T32" fmla="*/ 16 w 47"/>
                  <a:gd name="T33" fmla="*/ 10 h 46"/>
                  <a:gd name="T34" fmla="*/ 9 w 47"/>
                  <a:gd name="T35" fmla="*/ 17 h 46"/>
                  <a:gd name="T36" fmla="*/ 9 w 47"/>
                  <a:gd name="T37" fmla="*/ 27 h 46"/>
                  <a:gd name="T38" fmla="*/ 18 w 47"/>
                  <a:gd name="T39" fmla="*/ 34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47" h="46">
                    <a:moveTo>
                      <a:pt x="15" y="43"/>
                    </a:moveTo>
                    <a:cubicBezTo>
                      <a:pt x="11" y="41"/>
                      <a:pt x="8" y="39"/>
                      <a:pt x="5" y="36"/>
                    </a:cubicBezTo>
                    <a:cubicBezTo>
                      <a:pt x="4" y="34"/>
                      <a:pt x="2" y="32"/>
                      <a:pt x="2" y="30"/>
                    </a:cubicBezTo>
                    <a:cubicBezTo>
                      <a:pt x="1" y="28"/>
                      <a:pt x="0" y="26"/>
                      <a:pt x="0" y="23"/>
                    </a:cubicBezTo>
                    <a:cubicBezTo>
                      <a:pt x="0" y="20"/>
                      <a:pt x="1" y="17"/>
                      <a:pt x="2" y="14"/>
                    </a:cubicBezTo>
                    <a:cubicBezTo>
                      <a:pt x="5" y="8"/>
                      <a:pt x="9" y="4"/>
                      <a:pt x="14" y="2"/>
                    </a:cubicBezTo>
                    <a:cubicBezTo>
                      <a:pt x="19" y="0"/>
                      <a:pt x="25" y="1"/>
                      <a:pt x="32" y="3"/>
                    </a:cubicBezTo>
                    <a:cubicBezTo>
                      <a:pt x="38" y="6"/>
                      <a:pt x="43" y="10"/>
                      <a:pt x="45" y="15"/>
                    </a:cubicBezTo>
                    <a:cubicBezTo>
                      <a:pt x="47" y="21"/>
                      <a:pt x="47" y="26"/>
                      <a:pt x="44" y="32"/>
                    </a:cubicBezTo>
                    <a:cubicBezTo>
                      <a:pt x="41" y="38"/>
                      <a:pt x="38" y="42"/>
                      <a:pt x="32" y="44"/>
                    </a:cubicBezTo>
                    <a:cubicBezTo>
                      <a:pt x="27" y="46"/>
                      <a:pt x="21" y="45"/>
                      <a:pt x="15" y="43"/>
                    </a:cubicBezTo>
                    <a:close/>
                    <a:moveTo>
                      <a:pt x="18" y="34"/>
                    </a:moveTo>
                    <a:cubicBezTo>
                      <a:pt x="23" y="36"/>
                      <a:pt x="27" y="37"/>
                      <a:pt x="30" y="35"/>
                    </a:cubicBezTo>
                    <a:cubicBezTo>
                      <a:pt x="33" y="34"/>
                      <a:pt x="36" y="32"/>
                      <a:pt x="37" y="29"/>
                    </a:cubicBezTo>
                    <a:cubicBezTo>
                      <a:pt x="39" y="26"/>
                      <a:pt x="39" y="23"/>
                      <a:pt x="37" y="19"/>
                    </a:cubicBezTo>
                    <a:cubicBezTo>
                      <a:pt x="36" y="16"/>
                      <a:pt x="33" y="14"/>
                      <a:pt x="28" y="12"/>
                    </a:cubicBezTo>
                    <a:cubicBezTo>
                      <a:pt x="23" y="10"/>
                      <a:pt x="19" y="9"/>
                      <a:pt x="16" y="10"/>
                    </a:cubicBezTo>
                    <a:cubicBezTo>
                      <a:pt x="13" y="11"/>
                      <a:pt x="11" y="14"/>
                      <a:pt x="9" y="17"/>
                    </a:cubicBezTo>
                    <a:cubicBezTo>
                      <a:pt x="8" y="20"/>
                      <a:pt x="8" y="23"/>
                      <a:pt x="9" y="27"/>
                    </a:cubicBezTo>
                    <a:cubicBezTo>
                      <a:pt x="11" y="30"/>
                      <a:pt x="14" y="32"/>
                      <a:pt x="18" y="3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118" name="îṣlïḍè"/>
              <p:cNvSpPr/>
              <p:nvPr/>
            </p:nvSpPr>
            <p:spPr bwMode="auto">
              <a:xfrm>
                <a:off x="3128859" y="5560015"/>
                <a:ext cx="93663" cy="57150"/>
              </a:xfrm>
              <a:custGeom>
                <a:avLst/>
                <a:gdLst>
                  <a:gd name="T0" fmla="*/ 49 w 59"/>
                  <a:gd name="T1" fmla="*/ 36 h 36"/>
                  <a:gd name="T2" fmla="*/ 0 w 59"/>
                  <a:gd name="T3" fmla="*/ 21 h 36"/>
                  <a:gd name="T4" fmla="*/ 4 w 59"/>
                  <a:gd name="T5" fmla="*/ 10 h 36"/>
                  <a:gd name="T6" fmla="*/ 43 w 59"/>
                  <a:gd name="T7" fmla="*/ 24 h 36"/>
                  <a:gd name="T8" fmla="*/ 51 w 59"/>
                  <a:gd name="T9" fmla="*/ 0 h 36"/>
                  <a:gd name="T10" fmla="*/ 59 w 59"/>
                  <a:gd name="T11" fmla="*/ 2 h 36"/>
                  <a:gd name="T12" fmla="*/ 49 w 59"/>
                  <a:gd name="T13" fmla="*/ 36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59" h="36">
                    <a:moveTo>
                      <a:pt x="49" y="36"/>
                    </a:moveTo>
                    <a:lnTo>
                      <a:pt x="0" y="21"/>
                    </a:lnTo>
                    <a:lnTo>
                      <a:pt x="4" y="10"/>
                    </a:lnTo>
                    <a:lnTo>
                      <a:pt x="43" y="24"/>
                    </a:lnTo>
                    <a:lnTo>
                      <a:pt x="51" y="0"/>
                    </a:lnTo>
                    <a:lnTo>
                      <a:pt x="59" y="2"/>
                    </a:lnTo>
                    <a:lnTo>
                      <a:pt x="49" y="36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119" name="ïṩḷîḓê"/>
              <p:cNvSpPr/>
              <p:nvPr/>
            </p:nvSpPr>
            <p:spPr bwMode="auto">
              <a:xfrm>
                <a:off x="3152672" y="5469528"/>
                <a:ext cx="85725" cy="80963"/>
              </a:xfrm>
              <a:custGeom>
                <a:avLst/>
                <a:gdLst>
                  <a:gd name="T0" fmla="*/ 18 w 46"/>
                  <a:gd name="T1" fmla="*/ 43 h 44"/>
                  <a:gd name="T2" fmla="*/ 8 w 46"/>
                  <a:gd name="T3" fmla="*/ 38 h 44"/>
                  <a:gd name="T4" fmla="*/ 3 w 46"/>
                  <a:gd name="T5" fmla="*/ 33 h 44"/>
                  <a:gd name="T6" fmla="*/ 0 w 46"/>
                  <a:gd name="T7" fmla="*/ 27 h 44"/>
                  <a:gd name="T8" fmla="*/ 1 w 46"/>
                  <a:gd name="T9" fmla="*/ 17 h 44"/>
                  <a:gd name="T10" fmla="*/ 10 w 46"/>
                  <a:gd name="T11" fmla="*/ 3 h 44"/>
                  <a:gd name="T12" fmla="*/ 28 w 46"/>
                  <a:gd name="T13" fmla="*/ 1 h 44"/>
                  <a:gd name="T14" fmla="*/ 43 w 46"/>
                  <a:gd name="T15" fmla="*/ 11 h 44"/>
                  <a:gd name="T16" fmla="*/ 45 w 46"/>
                  <a:gd name="T17" fmla="*/ 27 h 44"/>
                  <a:gd name="T18" fmla="*/ 36 w 46"/>
                  <a:gd name="T19" fmla="*/ 41 h 44"/>
                  <a:gd name="T20" fmla="*/ 18 w 46"/>
                  <a:gd name="T21" fmla="*/ 43 h 44"/>
                  <a:gd name="T22" fmla="*/ 20 w 46"/>
                  <a:gd name="T23" fmla="*/ 34 h 44"/>
                  <a:gd name="T24" fmla="*/ 32 w 46"/>
                  <a:gd name="T25" fmla="*/ 33 h 44"/>
                  <a:gd name="T26" fmla="*/ 38 w 46"/>
                  <a:gd name="T27" fmla="*/ 25 h 44"/>
                  <a:gd name="T28" fmla="*/ 36 w 46"/>
                  <a:gd name="T29" fmla="*/ 16 h 44"/>
                  <a:gd name="T30" fmla="*/ 25 w 46"/>
                  <a:gd name="T31" fmla="*/ 10 h 44"/>
                  <a:gd name="T32" fmla="*/ 14 w 46"/>
                  <a:gd name="T33" fmla="*/ 11 h 44"/>
                  <a:gd name="T34" fmla="*/ 8 w 46"/>
                  <a:gd name="T35" fmla="*/ 19 h 44"/>
                  <a:gd name="T36" fmla="*/ 10 w 46"/>
                  <a:gd name="T37" fmla="*/ 28 h 44"/>
                  <a:gd name="T38" fmla="*/ 20 w 46"/>
                  <a:gd name="T39" fmla="*/ 34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46" h="44">
                    <a:moveTo>
                      <a:pt x="18" y="43"/>
                    </a:moveTo>
                    <a:cubicBezTo>
                      <a:pt x="14" y="42"/>
                      <a:pt x="10" y="40"/>
                      <a:pt x="8" y="38"/>
                    </a:cubicBezTo>
                    <a:cubicBezTo>
                      <a:pt x="6" y="37"/>
                      <a:pt x="4" y="35"/>
                      <a:pt x="3" y="33"/>
                    </a:cubicBezTo>
                    <a:cubicBezTo>
                      <a:pt x="1" y="31"/>
                      <a:pt x="1" y="29"/>
                      <a:pt x="0" y="27"/>
                    </a:cubicBezTo>
                    <a:cubicBezTo>
                      <a:pt x="0" y="24"/>
                      <a:pt x="0" y="21"/>
                      <a:pt x="1" y="17"/>
                    </a:cubicBezTo>
                    <a:cubicBezTo>
                      <a:pt x="2" y="11"/>
                      <a:pt x="5" y="6"/>
                      <a:pt x="10" y="3"/>
                    </a:cubicBezTo>
                    <a:cubicBezTo>
                      <a:pt x="15" y="0"/>
                      <a:pt x="21" y="0"/>
                      <a:pt x="28" y="1"/>
                    </a:cubicBezTo>
                    <a:cubicBezTo>
                      <a:pt x="34" y="3"/>
                      <a:pt x="39" y="6"/>
                      <a:pt x="43" y="11"/>
                    </a:cubicBezTo>
                    <a:cubicBezTo>
                      <a:pt x="46" y="15"/>
                      <a:pt x="46" y="21"/>
                      <a:pt x="45" y="27"/>
                    </a:cubicBezTo>
                    <a:cubicBezTo>
                      <a:pt x="44" y="33"/>
                      <a:pt x="40" y="38"/>
                      <a:pt x="36" y="41"/>
                    </a:cubicBezTo>
                    <a:cubicBezTo>
                      <a:pt x="31" y="44"/>
                      <a:pt x="25" y="44"/>
                      <a:pt x="18" y="43"/>
                    </a:cubicBezTo>
                    <a:close/>
                    <a:moveTo>
                      <a:pt x="20" y="34"/>
                    </a:moveTo>
                    <a:cubicBezTo>
                      <a:pt x="25" y="35"/>
                      <a:pt x="29" y="35"/>
                      <a:pt x="32" y="33"/>
                    </a:cubicBezTo>
                    <a:cubicBezTo>
                      <a:pt x="35" y="31"/>
                      <a:pt x="37" y="29"/>
                      <a:pt x="38" y="25"/>
                    </a:cubicBezTo>
                    <a:cubicBezTo>
                      <a:pt x="38" y="22"/>
                      <a:pt x="38" y="19"/>
                      <a:pt x="36" y="16"/>
                    </a:cubicBezTo>
                    <a:cubicBezTo>
                      <a:pt x="34" y="13"/>
                      <a:pt x="30" y="11"/>
                      <a:pt x="25" y="10"/>
                    </a:cubicBezTo>
                    <a:cubicBezTo>
                      <a:pt x="20" y="9"/>
                      <a:pt x="16" y="9"/>
                      <a:pt x="14" y="11"/>
                    </a:cubicBezTo>
                    <a:cubicBezTo>
                      <a:pt x="11" y="13"/>
                      <a:pt x="9" y="15"/>
                      <a:pt x="8" y="19"/>
                    </a:cubicBezTo>
                    <a:cubicBezTo>
                      <a:pt x="7" y="22"/>
                      <a:pt x="8" y="25"/>
                      <a:pt x="10" y="28"/>
                    </a:cubicBezTo>
                    <a:cubicBezTo>
                      <a:pt x="12" y="31"/>
                      <a:pt x="15" y="33"/>
                      <a:pt x="20" y="3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120" name="ïSļiďé"/>
              <p:cNvSpPr/>
              <p:nvPr/>
            </p:nvSpPr>
            <p:spPr bwMode="auto">
              <a:xfrm>
                <a:off x="3165372" y="5390153"/>
                <a:ext cx="85725" cy="77788"/>
              </a:xfrm>
              <a:custGeom>
                <a:avLst/>
                <a:gdLst>
                  <a:gd name="T0" fmla="*/ 29 w 46"/>
                  <a:gd name="T1" fmla="*/ 21 h 42"/>
                  <a:gd name="T2" fmla="*/ 22 w 46"/>
                  <a:gd name="T3" fmla="*/ 20 h 42"/>
                  <a:gd name="T4" fmla="*/ 24 w 46"/>
                  <a:gd name="T5" fmla="*/ 1 h 42"/>
                  <a:gd name="T6" fmla="*/ 41 w 46"/>
                  <a:gd name="T7" fmla="*/ 3 h 42"/>
                  <a:gd name="T8" fmla="*/ 45 w 46"/>
                  <a:gd name="T9" fmla="*/ 11 h 42"/>
                  <a:gd name="T10" fmla="*/ 46 w 46"/>
                  <a:gd name="T11" fmla="*/ 22 h 42"/>
                  <a:gd name="T12" fmla="*/ 42 w 46"/>
                  <a:gd name="T13" fmla="*/ 34 h 42"/>
                  <a:gd name="T14" fmla="*/ 33 w 46"/>
                  <a:gd name="T15" fmla="*/ 41 h 42"/>
                  <a:gd name="T16" fmla="*/ 21 w 46"/>
                  <a:gd name="T17" fmla="*/ 42 h 42"/>
                  <a:gd name="T18" fmla="*/ 9 w 46"/>
                  <a:gd name="T19" fmla="*/ 38 h 42"/>
                  <a:gd name="T20" fmla="*/ 2 w 46"/>
                  <a:gd name="T21" fmla="*/ 28 h 42"/>
                  <a:gd name="T22" fmla="*/ 1 w 46"/>
                  <a:gd name="T23" fmla="*/ 18 h 42"/>
                  <a:gd name="T24" fmla="*/ 6 w 46"/>
                  <a:gd name="T25" fmla="*/ 5 h 42"/>
                  <a:gd name="T26" fmla="*/ 16 w 46"/>
                  <a:gd name="T27" fmla="*/ 0 h 42"/>
                  <a:gd name="T28" fmla="*/ 16 w 46"/>
                  <a:gd name="T29" fmla="*/ 9 h 42"/>
                  <a:gd name="T30" fmla="*/ 11 w 46"/>
                  <a:gd name="T31" fmla="*/ 12 h 42"/>
                  <a:gd name="T32" fmla="*/ 8 w 46"/>
                  <a:gd name="T33" fmla="*/ 18 h 42"/>
                  <a:gd name="T34" fmla="*/ 11 w 46"/>
                  <a:gd name="T35" fmla="*/ 28 h 42"/>
                  <a:gd name="T36" fmla="*/ 21 w 46"/>
                  <a:gd name="T37" fmla="*/ 33 h 42"/>
                  <a:gd name="T38" fmla="*/ 34 w 46"/>
                  <a:gd name="T39" fmla="*/ 31 h 42"/>
                  <a:gd name="T40" fmla="*/ 38 w 46"/>
                  <a:gd name="T41" fmla="*/ 22 h 42"/>
                  <a:gd name="T42" fmla="*/ 38 w 46"/>
                  <a:gd name="T43" fmla="*/ 16 h 42"/>
                  <a:gd name="T44" fmla="*/ 36 w 46"/>
                  <a:gd name="T45" fmla="*/ 11 h 42"/>
                  <a:gd name="T46" fmla="*/ 30 w 46"/>
                  <a:gd name="T47" fmla="*/ 11 h 42"/>
                  <a:gd name="T48" fmla="*/ 29 w 46"/>
                  <a:gd name="T49" fmla="*/ 21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46" h="42">
                    <a:moveTo>
                      <a:pt x="29" y="21"/>
                    </a:moveTo>
                    <a:cubicBezTo>
                      <a:pt x="22" y="20"/>
                      <a:pt x="22" y="20"/>
                      <a:pt x="22" y="20"/>
                    </a:cubicBezTo>
                    <a:cubicBezTo>
                      <a:pt x="24" y="1"/>
                      <a:pt x="24" y="1"/>
                      <a:pt x="24" y="1"/>
                    </a:cubicBezTo>
                    <a:cubicBezTo>
                      <a:pt x="41" y="3"/>
                      <a:pt x="41" y="3"/>
                      <a:pt x="41" y="3"/>
                    </a:cubicBezTo>
                    <a:cubicBezTo>
                      <a:pt x="43" y="5"/>
                      <a:pt x="44" y="8"/>
                      <a:pt x="45" y="11"/>
                    </a:cubicBezTo>
                    <a:cubicBezTo>
                      <a:pt x="46" y="15"/>
                      <a:pt x="46" y="19"/>
                      <a:pt x="46" y="22"/>
                    </a:cubicBezTo>
                    <a:cubicBezTo>
                      <a:pt x="46" y="27"/>
                      <a:pt x="44" y="31"/>
                      <a:pt x="42" y="34"/>
                    </a:cubicBezTo>
                    <a:cubicBezTo>
                      <a:pt x="39" y="37"/>
                      <a:pt x="36" y="39"/>
                      <a:pt x="33" y="41"/>
                    </a:cubicBezTo>
                    <a:cubicBezTo>
                      <a:pt x="29" y="42"/>
                      <a:pt x="25" y="42"/>
                      <a:pt x="21" y="42"/>
                    </a:cubicBezTo>
                    <a:cubicBezTo>
                      <a:pt x="16" y="41"/>
                      <a:pt x="12" y="40"/>
                      <a:pt x="9" y="38"/>
                    </a:cubicBezTo>
                    <a:cubicBezTo>
                      <a:pt x="6" y="35"/>
                      <a:pt x="3" y="32"/>
                      <a:pt x="2" y="28"/>
                    </a:cubicBezTo>
                    <a:cubicBezTo>
                      <a:pt x="1" y="25"/>
                      <a:pt x="0" y="22"/>
                      <a:pt x="1" y="18"/>
                    </a:cubicBezTo>
                    <a:cubicBezTo>
                      <a:pt x="1" y="12"/>
                      <a:pt x="3" y="8"/>
                      <a:pt x="6" y="5"/>
                    </a:cubicBezTo>
                    <a:cubicBezTo>
                      <a:pt x="8" y="2"/>
                      <a:pt x="12" y="1"/>
                      <a:pt x="16" y="0"/>
                    </a:cubicBezTo>
                    <a:cubicBezTo>
                      <a:pt x="16" y="9"/>
                      <a:pt x="16" y="9"/>
                      <a:pt x="16" y="9"/>
                    </a:cubicBezTo>
                    <a:cubicBezTo>
                      <a:pt x="14" y="10"/>
                      <a:pt x="12" y="11"/>
                      <a:pt x="11" y="12"/>
                    </a:cubicBezTo>
                    <a:cubicBezTo>
                      <a:pt x="10" y="14"/>
                      <a:pt x="9" y="16"/>
                      <a:pt x="8" y="18"/>
                    </a:cubicBezTo>
                    <a:cubicBezTo>
                      <a:pt x="8" y="22"/>
                      <a:pt x="9" y="25"/>
                      <a:pt x="11" y="28"/>
                    </a:cubicBezTo>
                    <a:cubicBezTo>
                      <a:pt x="13" y="31"/>
                      <a:pt x="17" y="32"/>
                      <a:pt x="21" y="33"/>
                    </a:cubicBezTo>
                    <a:cubicBezTo>
                      <a:pt x="27" y="33"/>
                      <a:pt x="31" y="33"/>
                      <a:pt x="34" y="31"/>
                    </a:cubicBezTo>
                    <a:cubicBezTo>
                      <a:pt x="36" y="29"/>
                      <a:pt x="38" y="26"/>
                      <a:pt x="38" y="22"/>
                    </a:cubicBezTo>
                    <a:cubicBezTo>
                      <a:pt x="39" y="20"/>
                      <a:pt x="39" y="18"/>
                      <a:pt x="38" y="16"/>
                    </a:cubicBezTo>
                    <a:cubicBezTo>
                      <a:pt x="37" y="14"/>
                      <a:pt x="37" y="13"/>
                      <a:pt x="36" y="11"/>
                    </a:cubicBezTo>
                    <a:cubicBezTo>
                      <a:pt x="30" y="11"/>
                      <a:pt x="30" y="11"/>
                      <a:pt x="30" y="11"/>
                    </a:cubicBezTo>
                    <a:lnTo>
                      <a:pt x="29" y="2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121" name="îSḷiḋè"/>
              <p:cNvSpPr/>
              <p:nvPr/>
            </p:nvSpPr>
            <p:spPr bwMode="auto">
              <a:xfrm>
                <a:off x="3173309" y="5313953"/>
                <a:ext cx="80963" cy="76200"/>
              </a:xfrm>
              <a:custGeom>
                <a:avLst/>
                <a:gdLst>
                  <a:gd name="T0" fmla="*/ 51 w 51"/>
                  <a:gd name="T1" fmla="*/ 30 h 48"/>
                  <a:gd name="T2" fmla="*/ 29 w 51"/>
                  <a:gd name="T3" fmla="*/ 29 h 48"/>
                  <a:gd name="T4" fmla="*/ 0 w 51"/>
                  <a:gd name="T5" fmla="*/ 48 h 48"/>
                  <a:gd name="T6" fmla="*/ 0 w 51"/>
                  <a:gd name="T7" fmla="*/ 36 h 48"/>
                  <a:gd name="T8" fmla="*/ 20 w 51"/>
                  <a:gd name="T9" fmla="*/ 24 h 48"/>
                  <a:gd name="T10" fmla="*/ 0 w 51"/>
                  <a:gd name="T11" fmla="*/ 12 h 48"/>
                  <a:gd name="T12" fmla="*/ 0 w 51"/>
                  <a:gd name="T13" fmla="*/ 0 h 48"/>
                  <a:gd name="T14" fmla="*/ 30 w 51"/>
                  <a:gd name="T15" fmla="*/ 20 h 48"/>
                  <a:gd name="T16" fmla="*/ 51 w 51"/>
                  <a:gd name="T17" fmla="*/ 20 h 48"/>
                  <a:gd name="T18" fmla="*/ 51 w 51"/>
                  <a:gd name="T19" fmla="*/ 30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51" h="48">
                    <a:moveTo>
                      <a:pt x="51" y="30"/>
                    </a:moveTo>
                    <a:lnTo>
                      <a:pt x="29" y="29"/>
                    </a:lnTo>
                    <a:lnTo>
                      <a:pt x="0" y="48"/>
                    </a:lnTo>
                    <a:lnTo>
                      <a:pt x="0" y="36"/>
                    </a:lnTo>
                    <a:lnTo>
                      <a:pt x="20" y="24"/>
                    </a:lnTo>
                    <a:lnTo>
                      <a:pt x="0" y="12"/>
                    </a:lnTo>
                    <a:lnTo>
                      <a:pt x="0" y="0"/>
                    </a:lnTo>
                    <a:lnTo>
                      <a:pt x="30" y="20"/>
                    </a:lnTo>
                    <a:lnTo>
                      <a:pt x="51" y="20"/>
                    </a:lnTo>
                    <a:lnTo>
                      <a:pt x="51" y="3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122" name="îṣḷíḋé"/>
              <p:cNvSpPr/>
              <p:nvPr/>
            </p:nvSpPr>
            <p:spPr bwMode="auto">
              <a:xfrm>
                <a:off x="3163784" y="5193303"/>
                <a:ext cx="87313" cy="76200"/>
              </a:xfrm>
              <a:custGeom>
                <a:avLst/>
                <a:gdLst>
                  <a:gd name="T0" fmla="*/ 4 w 47"/>
                  <a:gd name="T1" fmla="*/ 41 h 41"/>
                  <a:gd name="T2" fmla="*/ 1 w 47"/>
                  <a:gd name="T3" fmla="*/ 24 h 41"/>
                  <a:gd name="T4" fmla="*/ 0 w 47"/>
                  <a:gd name="T5" fmla="*/ 16 h 41"/>
                  <a:gd name="T6" fmla="*/ 2 w 47"/>
                  <a:gd name="T7" fmla="*/ 11 h 41"/>
                  <a:gd name="T8" fmla="*/ 5 w 47"/>
                  <a:gd name="T9" fmla="*/ 7 h 41"/>
                  <a:gd name="T10" fmla="*/ 10 w 47"/>
                  <a:gd name="T11" fmla="*/ 5 h 41"/>
                  <a:gd name="T12" fmla="*/ 16 w 47"/>
                  <a:gd name="T13" fmla="*/ 6 h 41"/>
                  <a:gd name="T14" fmla="*/ 20 w 47"/>
                  <a:gd name="T15" fmla="*/ 10 h 41"/>
                  <a:gd name="T16" fmla="*/ 23 w 47"/>
                  <a:gd name="T17" fmla="*/ 3 h 41"/>
                  <a:gd name="T18" fmla="*/ 29 w 47"/>
                  <a:gd name="T19" fmla="*/ 0 h 41"/>
                  <a:gd name="T20" fmla="*/ 35 w 47"/>
                  <a:gd name="T21" fmla="*/ 1 h 41"/>
                  <a:gd name="T22" fmla="*/ 40 w 47"/>
                  <a:gd name="T23" fmla="*/ 4 h 41"/>
                  <a:gd name="T24" fmla="*/ 43 w 47"/>
                  <a:gd name="T25" fmla="*/ 10 h 41"/>
                  <a:gd name="T26" fmla="*/ 45 w 47"/>
                  <a:gd name="T27" fmla="*/ 20 h 41"/>
                  <a:gd name="T28" fmla="*/ 47 w 47"/>
                  <a:gd name="T29" fmla="*/ 35 h 41"/>
                  <a:gd name="T30" fmla="*/ 4 w 47"/>
                  <a:gd name="T31" fmla="*/ 41 h 41"/>
                  <a:gd name="T32" fmla="*/ 10 w 47"/>
                  <a:gd name="T33" fmla="*/ 31 h 41"/>
                  <a:gd name="T34" fmla="*/ 20 w 47"/>
                  <a:gd name="T35" fmla="*/ 30 h 41"/>
                  <a:gd name="T36" fmla="*/ 19 w 47"/>
                  <a:gd name="T37" fmla="*/ 24 h 41"/>
                  <a:gd name="T38" fmla="*/ 18 w 47"/>
                  <a:gd name="T39" fmla="*/ 18 h 41"/>
                  <a:gd name="T40" fmla="*/ 16 w 47"/>
                  <a:gd name="T41" fmla="*/ 15 h 41"/>
                  <a:gd name="T42" fmla="*/ 12 w 47"/>
                  <a:gd name="T43" fmla="*/ 14 h 41"/>
                  <a:gd name="T44" fmla="*/ 9 w 47"/>
                  <a:gd name="T45" fmla="*/ 15 h 41"/>
                  <a:gd name="T46" fmla="*/ 8 w 47"/>
                  <a:gd name="T47" fmla="*/ 19 h 41"/>
                  <a:gd name="T48" fmla="*/ 9 w 47"/>
                  <a:gd name="T49" fmla="*/ 26 h 41"/>
                  <a:gd name="T50" fmla="*/ 10 w 47"/>
                  <a:gd name="T51" fmla="*/ 31 h 41"/>
                  <a:gd name="T52" fmla="*/ 27 w 47"/>
                  <a:gd name="T53" fmla="*/ 29 h 41"/>
                  <a:gd name="T54" fmla="*/ 39 w 47"/>
                  <a:gd name="T55" fmla="*/ 27 h 41"/>
                  <a:gd name="T56" fmla="*/ 37 w 47"/>
                  <a:gd name="T57" fmla="*/ 19 h 41"/>
                  <a:gd name="T58" fmla="*/ 36 w 47"/>
                  <a:gd name="T59" fmla="*/ 13 h 41"/>
                  <a:gd name="T60" fmla="*/ 34 w 47"/>
                  <a:gd name="T61" fmla="*/ 10 h 41"/>
                  <a:gd name="T62" fmla="*/ 30 w 47"/>
                  <a:gd name="T63" fmla="*/ 10 h 41"/>
                  <a:gd name="T64" fmla="*/ 27 w 47"/>
                  <a:gd name="T65" fmla="*/ 11 h 41"/>
                  <a:gd name="T66" fmla="*/ 25 w 47"/>
                  <a:gd name="T67" fmla="*/ 14 h 41"/>
                  <a:gd name="T68" fmla="*/ 26 w 47"/>
                  <a:gd name="T69" fmla="*/ 22 h 41"/>
                  <a:gd name="T70" fmla="*/ 27 w 47"/>
                  <a:gd name="T71" fmla="*/ 29 h 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47" h="41">
                    <a:moveTo>
                      <a:pt x="4" y="41"/>
                    </a:moveTo>
                    <a:cubicBezTo>
                      <a:pt x="1" y="24"/>
                      <a:pt x="1" y="24"/>
                      <a:pt x="1" y="24"/>
                    </a:cubicBezTo>
                    <a:cubicBezTo>
                      <a:pt x="1" y="20"/>
                      <a:pt x="0" y="18"/>
                      <a:pt x="0" y="16"/>
                    </a:cubicBezTo>
                    <a:cubicBezTo>
                      <a:pt x="1" y="14"/>
                      <a:pt x="1" y="13"/>
                      <a:pt x="2" y="11"/>
                    </a:cubicBezTo>
                    <a:cubicBezTo>
                      <a:pt x="2" y="10"/>
                      <a:pt x="3" y="9"/>
                      <a:pt x="5" y="7"/>
                    </a:cubicBezTo>
                    <a:cubicBezTo>
                      <a:pt x="6" y="6"/>
                      <a:pt x="8" y="6"/>
                      <a:pt x="10" y="5"/>
                    </a:cubicBezTo>
                    <a:cubicBezTo>
                      <a:pt x="12" y="5"/>
                      <a:pt x="14" y="5"/>
                      <a:pt x="16" y="6"/>
                    </a:cubicBezTo>
                    <a:cubicBezTo>
                      <a:pt x="17" y="7"/>
                      <a:pt x="19" y="8"/>
                      <a:pt x="20" y="10"/>
                    </a:cubicBezTo>
                    <a:cubicBezTo>
                      <a:pt x="20" y="7"/>
                      <a:pt x="21" y="5"/>
                      <a:pt x="23" y="3"/>
                    </a:cubicBezTo>
                    <a:cubicBezTo>
                      <a:pt x="25" y="2"/>
                      <a:pt x="27" y="1"/>
                      <a:pt x="29" y="0"/>
                    </a:cubicBezTo>
                    <a:cubicBezTo>
                      <a:pt x="31" y="0"/>
                      <a:pt x="33" y="0"/>
                      <a:pt x="35" y="1"/>
                    </a:cubicBezTo>
                    <a:cubicBezTo>
                      <a:pt x="37" y="2"/>
                      <a:pt x="39" y="3"/>
                      <a:pt x="40" y="4"/>
                    </a:cubicBezTo>
                    <a:cubicBezTo>
                      <a:pt x="42" y="5"/>
                      <a:pt x="43" y="7"/>
                      <a:pt x="43" y="10"/>
                    </a:cubicBezTo>
                    <a:cubicBezTo>
                      <a:pt x="44" y="11"/>
                      <a:pt x="44" y="15"/>
                      <a:pt x="45" y="20"/>
                    </a:cubicBezTo>
                    <a:cubicBezTo>
                      <a:pt x="47" y="35"/>
                      <a:pt x="47" y="35"/>
                      <a:pt x="47" y="35"/>
                    </a:cubicBezTo>
                    <a:lnTo>
                      <a:pt x="4" y="41"/>
                    </a:lnTo>
                    <a:close/>
                    <a:moveTo>
                      <a:pt x="10" y="31"/>
                    </a:moveTo>
                    <a:cubicBezTo>
                      <a:pt x="20" y="30"/>
                      <a:pt x="20" y="30"/>
                      <a:pt x="20" y="30"/>
                    </a:cubicBezTo>
                    <a:cubicBezTo>
                      <a:pt x="19" y="24"/>
                      <a:pt x="19" y="24"/>
                      <a:pt x="19" y="24"/>
                    </a:cubicBezTo>
                    <a:cubicBezTo>
                      <a:pt x="18" y="21"/>
                      <a:pt x="18" y="19"/>
                      <a:pt x="18" y="18"/>
                    </a:cubicBezTo>
                    <a:cubicBezTo>
                      <a:pt x="17" y="16"/>
                      <a:pt x="17" y="15"/>
                      <a:pt x="16" y="15"/>
                    </a:cubicBezTo>
                    <a:cubicBezTo>
                      <a:pt x="15" y="14"/>
                      <a:pt x="14" y="14"/>
                      <a:pt x="12" y="14"/>
                    </a:cubicBezTo>
                    <a:cubicBezTo>
                      <a:pt x="11" y="14"/>
                      <a:pt x="10" y="14"/>
                      <a:pt x="9" y="15"/>
                    </a:cubicBezTo>
                    <a:cubicBezTo>
                      <a:pt x="8" y="16"/>
                      <a:pt x="8" y="17"/>
                      <a:pt x="8" y="19"/>
                    </a:cubicBezTo>
                    <a:cubicBezTo>
                      <a:pt x="8" y="20"/>
                      <a:pt x="8" y="22"/>
                      <a:pt x="9" y="26"/>
                    </a:cubicBezTo>
                    <a:lnTo>
                      <a:pt x="10" y="31"/>
                    </a:lnTo>
                    <a:close/>
                    <a:moveTo>
                      <a:pt x="27" y="29"/>
                    </a:moveTo>
                    <a:cubicBezTo>
                      <a:pt x="39" y="27"/>
                      <a:pt x="39" y="27"/>
                      <a:pt x="39" y="27"/>
                    </a:cubicBezTo>
                    <a:cubicBezTo>
                      <a:pt x="37" y="19"/>
                      <a:pt x="37" y="19"/>
                      <a:pt x="37" y="19"/>
                    </a:cubicBezTo>
                    <a:cubicBezTo>
                      <a:pt x="37" y="16"/>
                      <a:pt x="37" y="14"/>
                      <a:pt x="36" y="13"/>
                    </a:cubicBezTo>
                    <a:cubicBezTo>
                      <a:pt x="36" y="12"/>
                      <a:pt x="35" y="11"/>
                      <a:pt x="34" y="10"/>
                    </a:cubicBezTo>
                    <a:cubicBezTo>
                      <a:pt x="33" y="10"/>
                      <a:pt x="32" y="9"/>
                      <a:pt x="30" y="10"/>
                    </a:cubicBezTo>
                    <a:cubicBezTo>
                      <a:pt x="29" y="10"/>
                      <a:pt x="28" y="10"/>
                      <a:pt x="27" y="11"/>
                    </a:cubicBezTo>
                    <a:cubicBezTo>
                      <a:pt x="26" y="12"/>
                      <a:pt x="26" y="13"/>
                      <a:pt x="25" y="14"/>
                    </a:cubicBezTo>
                    <a:cubicBezTo>
                      <a:pt x="25" y="15"/>
                      <a:pt x="25" y="18"/>
                      <a:pt x="26" y="22"/>
                    </a:cubicBezTo>
                    <a:lnTo>
                      <a:pt x="27" y="2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123" name="îṩliďè"/>
              <p:cNvSpPr/>
              <p:nvPr/>
            </p:nvSpPr>
            <p:spPr bwMode="auto">
              <a:xfrm>
                <a:off x="3146322" y="5120278"/>
                <a:ext cx="93663" cy="79375"/>
              </a:xfrm>
              <a:custGeom>
                <a:avLst/>
                <a:gdLst>
                  <a:gd name="T0" fmla="*/ 59 w 59"/>
                  <a:gd name="T1" fmla="*/ 37 h 50"/>
                  <a:gd name="T2" fmla="*/ 9 w 59"/>
                  <a:gd name="T3" fmla="*/ 50 h 50"/>
                  <a:gd name="T4" fmla="*/ 0 w 59"/>
                  <a:gd name="T5" fmla="*/ 13 h 50"/>
                  <a:gd name="T6" fmla="*/ 8 w 59"/>
                  <a:gd name="T7" fmla="*/ 10 h 50"/>
                  <a:gd name="T8" fmla="*/ 15 w 59"/>
                  <a:gd name="T9" fmla="*/ 37 h 50"/>
                  <a:gd name="T10" fmla="*/ 25 w 59"/>
                  <a:gd name="T11" fmla="*/ 35 h 50"/>
                  <a:gd name="T12" fmla="*/ 19 w 59"/>
                  <a:gd name="T13" fmla="*/ 9 h 50"/>
                  <a:gd name="T14" fmla="*/ 27 w 59"/>
                  <a:gd name="T15" fmla="*/ 8 h 50"/>
                  <a:gd name="T16" fmla="*/ 34 w 59"/>
                  <a:gd name="T17" fmla="*/ 32 h 50"/>
                  <a:gd name="T18" fmla="*/ 47 w 59"/>
                  <a:gd name="T19" fmla="*/ 29 h 50"/>
                  <a:gd name="T20" fmla="*/ 40 w 59"/>
                  <a:gd name="T21" fmla="*/ 1 h 50"/>
                  <a:gd name="T22" fmla="*/ 49 w 59"/>
                  <a:gd name="T23" fmla="*/ 0 h 50"/>
                  <a:gd name="T24" fmla="*/ 59 w 59"/>
                  <a:gd name="T25" fmla="*/ 37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59" h="50">
                    <a:moveTo>
                      <a:pt x="59" y="37"/>
                    </a:moveTo>
                    <a:lnTo>
                      <a:pt x="9" y="50"/>
                    </a:lnTo>
                    <a:lnTo>
                      <a:pt x="0" y="13"/>
                    </a:lnTo>
                    <a:lnTo>
                      <a:pt x="8" y="10"/>
                    </a:lnTo>
                    <a:lnTo>
                      <a:pt x="15" y="37"/>
                    </a:lnTo>
                    <a:lnTo>
                      <a:pt x="25" y="35"/>
                    </a:lnTo>
                    <a:lnTo>
                      <a:pt x="19" y="9"/>
                    </a:lnTo>
                    <a:lnTo>
                      <a:pt x="27" y="8"/>
                    </a:lnTo>
                    <a:lnTo>
                      <a:pt x="34" y="32"/>
                    </a:lnTo>
                    <a:lnTo>
                      <a:pt x="47" y="29"/>
                    </a:lnTo>
                    <a:lnTo>
                      <a:pt x="40" y="1"/>
                    </a:lnTo>
                    <a:lnTo>
                      <a:pt x="49" y="0"/>
                    </a:lnTo>
                    <a:lnTo>
                      <a:pt x="59" y="3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124" name="iṧlíḋè"/>
              <p:cNvSpPr/>
              <p:nvPr/>
            </p:nvSpPr>
            <p:spPr bwMode="auto">
              <a:xfrm>
                <a:off x="3138384" y="5096465"/>
                <a:ext cx="82550" cy="38100"/>
              </a:xfrm>
              <a:custGeom>
                <a:avLst/>
                <a:gdLst>
                  <a:gd name="T0" fmla="*/ 52 w 52"/>
                  <a:gd name="T1" fmla="*/ 9 h 24"/>
                  <a:gd name="T2" fmla="*/ 3 w 52"/>
                  <a:gd name="T3" fmla="*/ 24 h 24"/>
                  <a:gd name="T4" fmla="*/ 0 w 52"/>
                  <a:gd name="T5" fmla="*/ 15 h 24"/>
                  <a:gd name="T6" fmla="*/ 49 w 52"/>
                  <a:gd name="T7" fmla="*/ 0 h 24"/>
                  <a:gd name="T8" fmla="*/ 52 w 52"/>
                  <a:gd name="T9" fmla="*/ 9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2" h="24">
                    <a:moveTo>
                      <a:pt x="52" y="9"/>
                    </a:moveTo>
                    <a:lnTo>
                      <a:pt x="3" y="24"/>
                    </a:lnTo>
                    <a:lnTo>
                      <a:pt x="0" y="15"/>
                    </a:lnTo>
                    <a:lnTo>
                      <a:pt x="49" y="0"/>
                    </a:lnTo>
                    <a:lnTo>
                      <a:pt x="52" y="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125" name="islïḓè"/>
              <p:cNvSpPr/>
              <p:nvPr/>
            </p:nvSpPr>
            <p:spPr bwMode="auto">
              <a:xfrm>
                <a:off x="3120922" y="5047253"/>
                <a:ext cx="88900" cy="52388"/>
              </a:xfrm>
              <a:custGeom>
                <a:avLst/>
                <a:gdLst>
                  <a:gd name="T0" fmla="*/ 3 w 48"/>
                  <a:gd name="T1" fmla="*/ 20 h 28"/>
                  <a:gd name="T2" fmla="*/ 0 w 48"/>
                  <a:gd name="T3" fmla="*/ 12 h 28"/>
                  <a:gd name="T4" fmla="*/ 26 w 48"/>
                  <a:gd name="T5" fmla="*/ 2 h 28"/>
                  <a:gd name="T6" fmla="*/ 34 w 48"/>
                  <a:gd name="T7" fmla="*/ 0 h 28"/>
                  <a:gd name="T8" fmla="*/ 42 w 48"/>
                  <a:gd name="T9" fmla="*/ 3 h 28"/>
                  <a:gd name="T10" fmla="*/ 47 w 48"/>
                  <a:gd name="T11" fmla="*/ 10 h 28"/>
                  <a:gd name="T12" fmla="*/ 47 w 48"/>
                  <a:gd name="T13" fmla="*/ 21 h 28"/>
                  <a:gd name="T14" fmla="*/ 38 w 48"/>
                  <a:gd name="T15" fmla="*/ 28 h 28"/>
                  <a:gd name="T16" fmla="*/ 34 w 48"/>
                  <a:gd name="T17" fmla="*/ 20 h 28"/>
                  <a:gd name="T18" fmla="*/ 39 w 48"/>
                  <a:gd name="T19" fmla="*/ 17 h 28"/>
                  <a:gd name="T20" fmla="*/ 40 w 48"/>
                  <a:gd name="T21" fmla="*/ 13 h 28"/>
                  <a:gd name="T22" fmla="*/ 37 w 48"/>
                  <a:gd name="T23" fmla="*/ 9 h 28"/>
                  <a:gd name="T24" fmla="*/ 30 w 48"/>
                  <a:gd name="T25" fmla="*/ 10 h 28"/>
                  <a:gd name="T26" fmla="*/ 3 w 48"/>
                  <a:gd name="T27" fmla="*/ 20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48" h="28">
                    <a:moveTo>
                      <a:pt x="3" y="20"/>
                    </a:moveTo>
                    <a:cubicBezTo>
                      <a:pt x="0" y="12"/>
                      <a:pt x="0" y="12"/>
                      <a:pt x="0" y="12"/>
                    </a:cubicBezTo>
                    <a:cubicBezTo>
                      <a:pt x="26" y="2"/>
                      <a:pt x="26" y="2"/>
                      <a:pt x="26" y="2"/>
                    </a:cubicBezTo>
                    <a:cubicBezTo>
                      <a:pt x="29" y="1"/>
                      <a:pt x="32" y="0"/>
                      <a:pt x="34" y="0"/>
                    </a:cubicBezTo>
                    <a:cubicBezTo>
                      <a:pt x="37" y="0"/>
                      <a:pt x="39" y="1"/>
                      <a:pt x="42" y="3"/>
                    </a:cubicBezTo>
                    <a:cubicBezTo>
                      <a:pt x="44" y="4"/>
                      <a:pt x="46" y="7"/>
                      <a:pt x="47" y="10"/>
                    </a:cubicBezTo>
                    <a:cubicBezTo>
                      <a:pt x="48" y="14"/>
                      <a:pt x="48" y="18"/>
                      <a:pt x="47" y="21"/>
                    </a:cubicBezTo>
                    <a:cubicBezTo>
                      <a:pt x="45" y="24"/>
                      <a:pt x="42" y="26"/>
                      <a:pt x="38" y="28"/>
                    </a:cubicBezTo>
                    <a:cubicBezTo>
                      <a:pt x="34" y="20"/>
                      <a:pt x="34" y="20"/>
                      <a:pt x="34" y="20"/>
                    </a:cubicBezTo>
                    <a:cubicBezTo>
                      <a:pt x="37" y="19"/>
                      <a:pt x="38" y="18"/>
                      <a:pt x="39" y="17"/>
                    </a:cubicBezTo>
                    <a:cubicBezTo>
                      <a:pt x="40" y="16"/>
                      <a:pt x="40" y="14"/>
                      <a:pt x="40" y="13"/>
                    </a:cubicBezTo>
                    <a:cubicBezTo>
                      <a:pt x="39" y="11"/>
                      <a:pt x="38" y="10"/>
                      <a:pt x="37" y="9"/>
                    </a:cubicBezTo>
                    <a:cubicBezTo>
                      <a:pt x="35" y="9"/>
                      <a:pt x="33" y="9"/>
                      <a:pt x="30" y="10"/>
                    </a:cubicBezTo>
                    <a:lnTo>
                      <a:pt x="3" y="2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126" name="íṥ1iḍe"/>
              <p:cNvSpPr/>
              <p:nvPr/>
            </p:nvSpPr>
            <p:spPr bwMode="auto">
              <a:xfrm>
                <a:off x="3112984" y="5017090"/>
                <a:ext cx="80963" cy="46038"/>
              </a:xfrm>
              <a:custGeom>
                <a:avLst/>
                <a:gdLst>
                  <a:gd name="T0" fmla="*/ 51 w 51"/>
                  <a:gd name="T1" fmla="*/ 9 h 29"/>
                  <a:gd name="T2" fmla="*/ 3 w 51"/>
                  <a:gd name="T3" fmla="*/ 29 h 29"/>
                  <a:gd name="T4" fmla="*/ 0 w 51"/>
                  <a:gd name="T5" fmla="*/ 19 h 29"/>
                  <a:gd name="T6" fmla="*/ 46 w 51"/>
                  <a:gd name="T7" fmla="*/ 0 h 29"/>
                  <a:gd name="T8" fmla="*/ 51 w 51"/>
                  <a:gd name="T9" fmla="*/ 9 h 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1" h="29">
                    <a:moveTo>
                      <a:pt x="51" y="9"/>
                    </a:moveTo>
                    <a:lnTo>
                      <a:pt x="3" y="29"/>
                    </a:lnTo>
                    <a:lnTo>
                      <a:pt x="0" y="19"/>
                    </a:lnTo>
                    <a:lnTo>
                      <a:pt x="46" y="0"/>
                    </a:lnTo>
                    <a:lnTo>
                      <a:pt x="51" y="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127" name="iṥľîḋé"/>
              <p:cNvSpPr/>
              <p:nvPr/>
            </p:nvSpPr>
            <p:spPr bwMode="auto">
              <a:xfrm>
                <a:off x="3081234" y="4948828"/>
                <a:ext cx="101600" cy="93663"/>
              </a:xfrm>
              <a:custGeom>
                <a:avLst/>
                <a:gdLst>
                  <a:gd name="T0" fmla="*/ 64 w 64"/>
                  <a:gd name="T1" fmla="*/ 36 h 59"/>
                  <a:gd name="T2" fmla="*/ 18 w 64"/>
                  <a:gd name="T3" fmla="*/ 59 h 59"/>
                  <a:gd name="T4" fmla="*/ 14 w 64"/>
                  <a:gd name="T5" fmla="*/ 50 h 59"/>
                  <a:gd name="T6" fmla="*/ 35 w 64"/>
                  <a:gd name="T7" fmla="*/ 16 h 59"/>
                  <a:gd name="T8" fmla="*/ 3 w 64"/>
                  <a:gd name="T9" fmla="*/ 31 h 59"/>
                  <a:gd name="T10" fmla="*/ 0 w 64"/>
                  <a:gd name="T11" fmla="*/ 22 h 59"/>
                  <a:gd name="T12" fmla="*/ 45 w 64"/>
                  <a:gd name="T13" fmla="*/ 0 h 59"/>
                  <a:gd name="T14" fmla="*/ 50 w 64"/>
                  <a:gd name="T15" fmla="*/ 8 h 59"/>
                  <a:gd name="T16" fmla="*/ 29 w 64"/>
                  <a:gd name="T17" fmla="*/ 42 h 59"/>
                  <a:gd name="T18" fmla="*/ 59 w 64"/>
                  <a:gd name="T19" fmla="*/ 26 h 59"/>
                  <a:gd name="T20" fmla="*/ 64 w 64"/>
                  <a:gd name="T21" fmla="*/ 36 h 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64" h="59">
                    <a:moveTo>
                      <a:pt x="64" y="36"/>
                    </a:moveTo>
                    <a:lnTo>
                      <a:pt x="18" y="59"/>
                    </a:lnTo>
                    <a:lnTo>
                      <a:pt x="14" y="50"/>
                    </a:lnTo>
                    <a:lnTo>
                      <a:pt x="35" y="16"/>
                    </a:lnTo>
                    <a:lnTo>
                      <a:pt x="3" y="31"/>
                    </a:lnTo>
                    <a:lnTo>
                      <a:pt x="0" y="22"/>
                    </a:lnTo>
                    <a:lnTo>
                      <a:pt x="45" y="0"/>
                    </a:lnTo>
                    <a:lnTo>
                      <a:pt x="50" y="8"/>
                    </a:lnTo>
                    <a:lnTo>
                      <a:pt x="29" y="42"/>
                    </a:lnTo>
                    <a:lnTo>
                      <a:pt x="59" y="26"/>
                    </a:lnTo>
                    <a:lnTo>
                      <a:pt x="64" y="36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128" name="îślidè"/>
              <p:cNvSpPr/>
              <p:nvPr/>
            </p:nvSpPr>
            <p:spPr bwMode="auto">
              <a:xfrm>
                <a:off x="3047897" y="4877390"/>
                <a:ext cx="84138" cy="88900"/>
              </a:xfrm>
              <a:custGeom>
                <a:avLst/>
                <a:gdLst>
                  <a:gd name="T0" fmla="*/ 28 w 46"/>
                  <a:gd name="T1" fmla="*/ 21 h 48"/>
                  <a:gd name="T2" fmla="*/ 22 w 46"/>
                  <a:gd name="T3" fmla="*/ 25 h 48"/>
                  <a:gd name="T4" fmla="*/ 11 w 46"/>
                  <a:gd name="T5" fmla="*/ 9 h 48"/>
                  <a:gd name="T6" fmla="*/ 26 w 46"/>
                  <a:gd name="T7" fmla="*/ 0 h 48"/>
                  <a:gd name="T8" fmla="*/ 35 w 46"/>
                  <a:gd name="T9" fmla="*/ 4 h 48"/>
                  <a:gd name="T10" fmla="*/ 42 w 46"/>
                  <a:gd name="T11" fmla="*/ 12 h 48"/>
                  <a:gd name="T12" fmla="*/ 46 w 46"/>
                  <a:gd name="T13" fmla="*/ 24 h 48"/>
                  <a:gd name="T14" fmla="*/ 43 w 46"/>
                  <a:gd name="T15" fmla="*/ 35 h 48"/>
                  <a:gd name="T16" fmla="*/ 35 w 46"/>
                  <a:gd name="T17" fmla="*/ 43 h 48"/>
                  <a:gd name="T18" fmla="*/ 23 w 46"/>
                  <a:gd name="T19" fmla="*/ 47 h 48"/>
                  <a:gd name="T20" fmla="*/ 12 w 46"/>
                  <a:gd name="T21" fmla="*/ 45 h 48"/>
                  <a:gd name="T22" fmla="*/ 4 w 46"/>
                  <a:gd name="T23" fmla="*/ 37 h 48"/>
                  <a:gd name="T24" fmla="*/ 0 w 46"/>
                  <a:gd name="T25" fmla="*/ 24 h 48"/>
                  <a:gd name="T26" fmla="*/ 5 w 46"/>
                  <a:gd name="T27" fmla="*/ 14 h 48"/>
                  <a:gd name="T28" fmla="*/ 11 w 46"/>
                  <a:gd name="T29" fmla="*/ 21 h 48"/>
                  <a:gd name="T30" fmla="*/ 9 w 46"/>
                  <a:gd name="T31" fmla="*/ 27 h 48"/>
                  <a:gd name="T32" fmla="*/ 11 w 46"/>
                  <a:gd name="T33" fmla="*/ 33 h 48"/>
                  <a:gd name="T34" fmla="*/ 19 w 46"/>
                  <a:gd name="T35" fmla="*/ 39 h 48"/>
                  <a:gd name="T36" fmla="*/ 30 w 46"/>
                  <a:gd name="T37" fmla="*/ 36 h 48"/>
                  <a:gd name="T38" fmla="*/ 38 w 46"/>
                  <a:gd name="T39" fmla="*/ 26 h 48"/>
                  <a:gd name="T40" fmla="*/ 36 w 46"/>
                  <a:gd name="T41" fmla="*/ 17 h 48"/>
                  <a:gd name="T42" fmla="*/ 32 w 46"/>
                  <a:gd name="T43" fmla="*/ 13 h 48"/>
                  <a:gd name="T44" fmla="*/ 27 w 46"/>
                  <a:gd name="T45" fmla="*/ 10 h 48"/>
                  <a:gd name="T46" fmla="*/ 23 w 46"/>
                  <a:gd name="T47" fmla="*/ 13 h 48"/>
                  <a:gd name="T48" fmla="*/ 28 w 46"/>
                  <a:gd name="T49" fmla="*/ 21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46" h="48">
                    <a:moveTo>
                      <a:pt x="28" y="21"/>
                    </a:moveTo>
                    <a:cubicBezTo>
                      <a:pt x="22" y="25"/>
                      <a:pt x="22" y="25"/>
                      <a:pt x="22" y="25"/>
                    </a:cubicBezTo>
                    <a:cubicBezTo>
                      <a:pt x="11" y="9"/>
                      <a:pt x="11" y="9"/>
                      <a:pt x="11" y="9"/>
                    </a:cubicBezTo>
                    <a:cubicBezTo>
                      <a:pt x="26" y="0"/>
                      <a:pt x="26" y="0"/>
                      <a:pt x="26" y="0"/>
                    </a:cubicBezTo>
                    <a:cubicBezTo>
                      <a:pt x="29" y="1"/>
                      <a:pt x="31" y="2"/>
                      <a:pt x="35" y="4"/>
                    </a:cubicBezTo>
                    <a:cubicBezTo>
                      <a:pt x="38" y="6"/>
                      <a:pt x="40" y="9"/>
                      <a:pt x="42" y="12"/>
                    </a:cubicBezTo>
                    <a:cubicBezTo>
                      <a:pt x="45" y="16"/>
                      <a:pt x="46" y="20"/>
                      <a:pt x="46" y="24"/>
                    </a:cubicBezTo>
                    <a:cubicBezTo>
                      <a:pt x="46" y="28"/>
                      <a:pt x="45" y="31"/>
                      <a:pt x="43" y="35"/>
                    </a:cubicBezTo>
                    <a:cubicBezTo>
                      <a:pt x="41" y="38"/>
                      <a:pt x="38" y="41"/>
                      <a:pt x="35" y="43"/>
                    </a:cubicBezTo>
                    <a:cubicBezTo>
                      <a:pt x="31" y="46"/>
                      <a:pt x="27" y="47"/>
                      <a:pt x="23" y="47"/>
                    </a:cubicBezTo>
                    <a:cubicBezTo>
                      <a:pt x="19" y="48"/>
                      <a:pt x="15" y="47"/>
                      <a:pt x="12" y="45"/>
                    </a:cubicBezTo>
                    <a:cubicBezTo>
                      <a:pt x="9" y="43"/>
                      <a:pt x="6" y="41"/>
                      <a:pt x="4" y="37"/>
                    </a:cubicBezTo>
                    <a:cubicBezTo>
                      <a:pt x="1" y="32"/>
                      <a:pt x="0" y="28"/>
                      <a:pt x="0" y="24"/>
                    </a:cubicBezTo>
                    <a:cubicBezTo>
                      <a:pt x="0" y="21"/>
                      <a:pt x="2" y="17"/>
                      <a:pt x="5" y="14"/>
                    </a:cubicBezTo>
                    <a:cubicBezTo>
                      <a:pt x="11" y="21"/>
                      <a:pt x="11" y="21"/>
                      <a:pt x="11" y="21"/>
                    </a:cubicBezTo>
                    <a:cubicBezTo>
                      <a:pt x="10" y="23"/>
                      <a:pt x="9" y="24"/>
                      <a:pt x="9" y="27"/>
                    </a:cubicBezTo>
                    <a:cubicBezTo>
                      <a:pt x="8" y="29"/>
                      <a:pt x="9" y="31"/>
                      <a:pt x="11" y="33"/>
                    </a:cubicBezTo>
                    <a:cubicBezTo>
                      <a:pt x="13" y="36"/>
                      <a:pt x="15" y="38"/>
                      <a:pt x="19" y="39"/>
                    </a:cubicBezTo>
                    <a:cubicBezTo>
                      <a:pt x="22" y="39"/>
                      <a:pt x="26" y="38"/>
                      <a:pt x="30" y="36"/>
                    </a:cubicBezTo>
                    <a:cubicBezTo>
                      <a:pt x="34" y="33"/>
                      <a:pt x="37" y="30"/>
                      <a:pt x="38" y="26"/>
                    </a:cubicBezTo>
                    <a:cubicBezTo>
                      <a:pt x="39" y="23"/>
                      <a:pt x="38" y="20"/>
                      <a:pt x="36" y="17"/>
                    </a:cubicBezTo>
                    <a:cubicBezTo>
                      <a:pt x="35" y="15"/>
                      <a:pt x="34" y="14"/>
                      <a:pt x="32" y="13"/>
                    </a:cubicBezTo>
                    <a:cubicBezTo>
                      <a:pt x="30" y="11"/>
                      <a:pt x="29" y="10"/>
                      <a:pt x="27" y="10"/>
                    </a:cubicBezTo>
                    <a:cubicBezTo>
                      <a:pt x="23" y="13"/>
                      <a:pt x="23" y="13"/>
                      <a:pt x="23" y="13"/>
                    </a:cubicBezTo>
                    <a:lnTo>
                      <a:pt x="28" y="2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129" name="îŝ1ide"/>
              <p:cNvSpPr/>
              <p:nvPr/>
            </p:nvSpPr>
            <p:spPr bwMode="auto">
              <a:xfrm>
                <a:off x="1981097" y="4907553"/>
                <a:ext cx="931863" cy="969963"/>
              </a:xfrm>
              <a:custGeom>
                <a:avLst/>
                <a:gdLst>
                  <a:gd name="T0" fmla="*/ 488 w 506"/>
                  <a:gd name="T1" fmla="*/ 144 h 525"/>
                  <a:gd name="T2" fmla="*/ 449 w 506"/>
                  <a:gd name="T3" fmla="*/ 161 h 525"/>
                  <a:gd name="T4" fmla="*/ 473 w 506"/>
                  <a:gd name="T5" fmla="*/ 361 h 525"/>
                  <a:gd name="T6" fmla="*/ 434 w 506"/>
                  <a:gd name="T7" fmla="*/ 382 h 525"/>
                  <a:gd name="T8" fmla="*/ 463 w 506"/>
                  <a:gd name="T9" fmla="*/ 392 h 525"/>
                  <a:gd name="T10" fmla="*/ 434 w 506"/>
                  <a:gd name="T11" fmla="*/ 455 h 525"/>
                  <a:gd name="T12" fmla="*/ 418 w 506"/>
                  <a:gd name="T13" fmla="*/ 525 h 525"/>
                  <a:gd name="T14" fmla="*/ 328 w 506"/>
                  <a:gd name="T15" fmla="*/ 392 h 525"/>
                  <a:gd name="T16" fmla="*/ 200 w 506"/>
                  <a:gd name="T17" fmla="*/ 376 h 525"/>
                  <a:gd name="T18" fmla="*/ 179 w 506"/>
                  <a:gd name="T19" fmla="*/ 525 h 525"/>
                  <a:gd name="T20" fmla="*/ 72 w 506"/>
                  <a:gd name="T21" fmla="*/ 510 h 525"/>
                  <a:gd name="T22" fmla="*/ 44 w 506"/>
                  <a:gd name="T23" fmla="*/ 439 h 525"/>
                  <a:gd name="T24" fmla="*/ 72 w 506"/>
                  <a:gd name="T25" fmla="*/ 392 h 525"/>
                  <a:gd name="T26" fmla="*/ 57 w 506"/>
                  <a:gd name="T27" fmla="*/ 382 h 525"/>
                  <a:gd name="T28" fmla="*/ 18 w 506"/>
                  <a:gd name="T29" fmla="*/ 161 h 525"/>
                  <a:gd name="T30" fmla="*/ 56 w 506"/>
                  <a:gd name="T31" fmla="*/ 144 h 525"/>
                  <a:gd name="T32" fmla="*/ 0 w 506"/>
                  <a:gd name="T33" fmla="*/ 21 h 525"/>
                  <a:gd name="T34" fmla="*/ 92 w 506"/>
                  <a:gd name="T35" fmla="*/ 21 h 525"/>
                  <a:gd name="T36" fmla="*/ 403 w 506"/>
                  <a:gd name="T37" fmla="*/ 82 h 525"/>
                  <a:gd name="T38" fmla="*/ 457 w 506"/>
                  <a:gd name="T39" fmla="*/ 0 h 525"/>
                  <a:gd name="T40" fmla="*/ 461 w 506"/>
                  <a:gd name="T41" fmla="*/ 82 h 525"/>
                  <a:gd name="T42" fmla="*/ 455 w 506"/>
                  <a:gd name="T43" fmla="*/ 24 h 525"/>
                  <a:gd name="T44" fmla="*/ 435 w 506"/>
                  <a:gd name="T45" fmla="*/ 82 h 525"/>
                  <a:gd name="T46" fmla="*/ 454 w 506"/>
                  <a:gd name="T47" fmla="*/ 127 h 525"/>
                  <a:gd name="T48" fmla="*/ 49 w 506"/>
                  <a:gd name="T49" fmla="*/ 112 h 525"/>
                  <a:gd name="T50" fmla="*/ 78 w 506"/>
                  <a:gd name="T51" fmla="*/ 127 h 525"/>
                  <a:gd name="T52" fmla="*/ 81 w 506"/>
                  <a:gd name="T53" fmla="*/ 161 h 525"/>
                  <a:gd name="T54" fmla="*/ 426 w 506"/>
                  <a:gd name="T55" fmla="*/ 145 h 525"/>
                  <a:gd name="T56" fmla="*/ 454 w 506"/>
                  <a:gd name="T57" fmla="*/ 127 h 525"/>
                  <a:gd name="T58" fmla="*/ 450 w 506"/>
                  <a:gd name="T59" fmla="*/ 178 h 525"/>
                  <a:gd name="T60" fmla="*/ 65 w 506"/>
                  <a:gd name="T61" fmla="*/ 335 h 525"/>
                  <a:gd name="T62" fmla="*/ 421 w 506"/>
                  <a:gd name="T63" fmla="*/ 349 h 525"/>
                  <a:gd name="T64" fmla="*/ 398 w 506"/>
                  <a:gd name="T65" fmla="*/ 490 h 525"/>
                  <a:gd name="T66" fmla="*/ 356 w 506"/>
                  <a:gd name="T67" fmla="*/ 371 h 525"/>
                  <a:gd name="T68" fmla="*/ 389 w 506"/>
                  <a:gd name="T69" fmla="*/ 496 h 525"/>
                  <a:gd name="T70" fmla="*/ 150 w 506"/>
                  <a:gd name="T71" fmla="*/ 496 h 525"/>
                  <a:gd name="T72" fmla="*/ 108 w 506"/>
                  <a:gd name="T73" fmla="*/ 371 h 525"/>
                  <a:gd name="T74" fmla="*/ 117 w 506"/>
                  <a:gd name="T75" fmla="*/ 496 h 525"/>
                  <a:gd name="T76" fmla="*/ 71 w 506"/>
                  <a:gd name="T77" fmla="*/ 82 h 525"/>
                  <a:gd name="T78" fmla="*/ 51 w 506"/>
                  <a:gd name="T79" fmla="*/ 24 h 525"/>
                  <a:gd name="T80" fmla="*/ 45 w 506"/>
                  <a:gd name="T81" fmla="*/ 82 h 5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506" h="525">
                    <a:moveTo>
                      <a:pt x="506" y="21"/>
                    </a:moveTo>
                    <a:cubicBezTo>
                      <a:pt x="488" y="144"/>
                      <a:pt x="488" y="144"/>
                      <a:pt x="488" y="144"/>
                    </a:cubicBezTo>
                    <a:cubicBezTo>
                      <a:pt x="450" y="144"/>
                      <a:pt x="450" y="144"/>
                      <a:pt x="450" y="144"/>
                    </a:cubicBezTo>
                    <a:cubicBezTo>
                      <a:pt x="449" y="161"/>
                      <a:pt x="449" y="161"/>
                      <a:pt x="449" y="161"/>
                    </a:cubicBezTo>
                    <a:cubicBezTo>
                      <a:pt x="488" y="161"/>
                      <a:pt x="488" y="161"/>
                      <a:pt x="488" y="161"/>
                    </a:cubicBezTo>
                    <a:cubicBezTo>
                      <a:pt x="473" y="361"/>
                      <a:pt x="473" y="361"/>
                      <a:pt x="473" y="361"/>
                    </a:cubicBezTo>
                    <a:cubicBezTo>
                      <a:pt x="473" y="372"/>
                      <a:pt x="462" y="382"/>
                      <a:pt x="450" y="382"/>
                    </a:cubicBezTo>
                    <a:cubicBezTo>
                      <a:pt x="434" y="382"/>
                      <a:pt x="434" y="382"/>
                      <a:pt x="434" y="382"/>
                    </a:cubicBezTo>
                    <a:cubicBezTo>
                      <a:pt x="434" y="392"/>
                      <a:pt x="434" y="392"/>
                      <a:pt x="434" y="392"/>
                    </a:cubicBezTo>
                    <a:cubicBezTo>
                      <a:pt x="463" y="392"/>
                      <a:pt x="463" y="392"/>
                      <a:pt x="463" y="392"/>
                    </a:cubicBezTo>
                    <a:cubicBezTo>
                      <a:pt x="463" y="439"/>
                      <a:pt x="463" y="439"/>
                      <a:pt x="463" y="439"/>
                    </a:cubicBezTo>
                    <a:cubicBezTo>
                      <a:pt x="463" y="448"/>
                      <a:pt x="450" y="455"/>
                      <a:pt x="434" y="455"/>
                    </a:cubicBezTo>
                    <a:cubicBezTo>
                      <a:pt x="434" y="510"/>
                      <a:pt x="434" y="510"/>
                      <a:pt x="434" y="510"/>
                    </a:cubicBezTo>
                    <a:cubicBezTo>
                      <a:pt x="434" y="518"/>
                      <a:pt x="427" y="525"/>
                      <a:pt x="418" y="525"/>
                    </a:cubicBezTo>
                    <a:cubicBezTo>
                      <a:pt x="328" y="525"/>
                      <a:pt x="328" y="525"/>
                      <a:pt x="328" y="525"/>
                    </a:cubicBezTo>
                    <a:cubicBezTo>
                      <a:pt x="328" y="392"/>
                      <a:pt x="328" y="392"/>
                      <a:pt x="328" y="392"/>
                    </a:cubicBezTo>
                    <a:cubicBezTo>
                      <a:pt x="328" y="383"/>
                      <a:pt x="318" y="376"/>
                      <a:pt x="307" y="376"/>
                    </a:cubicBezTo>
                    <a:cubicBezTo>
                      <a:pt x="200" y="376"/>
                      <a:pt x="200" y="376"/>
                      <a:pt x="200" y="376"/>
                    </a:cubicBezTo>
                    <a:cubicBezTo>
                      <a:pt x="188" y="376"/>
                      <a:pt x="179" y="383"/>
                      <a:pt x="179" y="392"/>
                    </a:cubicBezTo>
                    <a:cubicBezTo>
                      <a:pt x="179" y="525"/>
                      <a:pt x="179" y="525"/>
                      <a:pt x="179" y="525"/>
                    </a:cubicBezTo>
                    <a:cubicBezTo>
                      <a:pt x="89" y="525"/>
                      <a:pt x="89" y="525"/>
                      <a:pt x="89" y="525"/>
                    </a:cubicBezTo>
                    <a:cubicBezTo>
                      <a:pt x="80" y="525"/>
                      <a:pt x="72" y="518"/>
                      <a:pt x="72" y="510"/>
                    </a:cubicBezTo>
                    <a:cubicBezTo>
                      <a:pt x="72" y="455"/>
                      <a:pt x="72" y="455"/>
                      <a:pt x="72" y="455"/>
                    </a:cubicBezTo>
                    <a:cubicBezTo>
                      <a:pt x="56" y="455"/>
                      <a:pt x="44" y="448"/>
                      <a:pt x="44" y="439"/>
                    </a:cubicBezTo>
                    <a:cubicBezTo>
                      <a:pt x="44" y="392"/>
                      <a:pt x="44" y="392"/>
                      <a:pt x="44" y="392"/>
                    </a:cubicBezTo>
                    <a:cubicBezTo>
                      <a:pt x="72" y="392"/>
                      <a:pt x="72" y="392"/>
                      <a:pt x="72" y="392"/>
                    </a:cubicBezTo>
                    <a:cubicBezTo>
                      <a:pt x="72" y="382"/>
                      <a:pt x="72" y="382"/>
                      <a:pt x="72" y="382"/>
                    </a:cubicBezTo>
                    <a:cubicBezTo>
                      <a:pt x="57" y="382"/>
                      <a:pt x="57" y="382"/>
                      <a:pt x="57" y="382"/>
                    </a:cubicBezTo>
                    <a:cubicBezTo>
                      <a:pt x="44" y="382"/>
                      <a:pt x="34" y="372"/>
                      <a:pt x="34" y="361"/>
                    </a:cubicBezTo>
                    <a:cubicBezTo>
                      <a:pt x="18" y="161"/>
                      <a:pt x="18" y="161"/>
                      <a:pt x="18" y="161"/>
                    </a:cubicBezTo>
                    <a:cubicBezTo>
                      <a:pt x="58" y="161"/>
                      <a:pt x="58" y="161"/>
                      <a:pt x="58" y="161"/>
                    </a:cubicBezTo>
                    <a:cubicBezTo>
                      <a:pt x="56" y="144"/>
                      <a:pt x="56" y="144"/>
                      <a:pt x="56" y="144"/>
                    </a:cubicBezTo>
                    <a:cubicBezTo>
                      <a:pt x="18" y="144"/>
                      <a:pt x="18" y="144"/>
                      <a:pt x="18" y="144"/>
                    </a:cubicBezTo>
                    <a:cubicBezTo>
                      <a:pt x="0" y="21"/>
                      <a:pt x="0" y="21"/>
                      <a:pt x="0" y="21"/>
                    </a:cubicBezTo>
                    <a:cubicBezTo>
                      <a:pt x="2" y="7"/>
                      <a:pt x="31" y="0"/>
                      <a:pt x="49" y="0"/>
                    </a:cubicBezTo>
                    <a:cubicBezTo>
                      <a:pt x="73" y="0"/>
                      <a:pt x="80" y="3"/>
                      <a:pt x="92" y="21"/>
                    </a:cubicBezTo>
                    <a:cubicBezTo>
                      <a:pt x="103" y="82"/>
                      <a:pt x="103" y="82"/>
                      <a:pt x="103" y="82"/>
                    </a:cubicBezTo>
                    <a:cubicBezTo>
                      <a:pt x="403" y="82"/>
                      <a:pt x="403" y="82"/>
                      <a:pt x="403" y="82"/>
                    </a:cubicBezTo>
                    <a:cubicBezTo>
                      <a:pt x="415" y="21"/>
                      <a:pt x="415" y="21"/>
                      <a:pt x="415" y="21"/>
                    </a:cubicBezTo>
                    <a:cubicBezTo>
                      <a:pt x="426" y="3"/>
                      <a:pt x="433" y="0"/>
                      <a:pt x="457" y="0"/>
                    </a:cubicBezTo>
                    <a:cubicBezTo>
                      <a:pt x="475" y="0"/>
                      <a:pt x="504" y="7"/>
                      <a:pt x="506" y="21"/>
                    </a:cubicBezTo>
                    <a:close/>
                    <a:moveTo>
                      <a:pt x="461" y="82"/>
                    </a:moveTo>
                    <a:cubicBezTo>
                      <a:pt x="469" y="32"/>
                      <a:pt x="469" y="32"/>
                      <a:pt x="469" y="32"/>
                    </a:cubicBezTo>
                    <a:cubicBezTo>
                      <a:pt x="469" y="24"/>
                      <a:pt x="463" y="24"/>
                      <a:pt x="455" y="24"/>
                    </a:cubicBezTo>
                    <a:cubicBezTo>
                      <a:pt x="450" y="24"/>
                      <a:pt x="447" y="26"/>
                      <a:pt x="445" y="32"/>
                    </a:cubicBezTo>
                    <a:cubicBezTo>
                      <a:pt x="435" y="82"/>
                      <a:pt x="435" y="82"/>
                      <a:pt x="435" y="82"/>
                    </a:cubicBezTo>
                    <a:lnTo>
                      <a:pt x="461" y="82"/>
                    </a:lnTo>
                    <a:close/>
                    <a:moveTo>
                      <a:pt x="454" y="127"/>
                    </a:moveTo>
                    <a:cubicBezTo>
                      <a:pt x="457" y="112"/>
                      <a:pt x="457" y="112"/>
                      <a:pt x="457" y="112"/>
                    </a:cubicBezTo>
                    <a:cubicBezTo>
                      <a:pt x="49" y="112"/>
                      <a:pt x="49" y="112"/>
                      <a:pt x="49" y="112"/>
                    </a:cubicBezTo>
                    <a:cubicBezTo>
                      <a:pt x="52" y="127"/>
                      <a:pt x="52" y="127"/>
                      <a:pt x="52" y="127"/>
                    </a:cubicBezTo>
                    <a:cubicBezTo>
                      <a:pt x="78" y="127"/>
                      <a:pt x="78" y="127"/>
                      <a:pt x="78" y="127"/>
                    </a:cubicBezTo>
                    <a:cubicBezTo>
                      <a:pt x="80" y="145"/>
                      <a:pt x="80" y="145"/>
                      <a:pt x="80" y="145"/>
                    </a:cubicBezTo>
                    <a:cubicBezTo>
                      <a:pt x="81" y="161"/>
                      <a:pt x="81" y="161"/>
                      <a:pt x="81" y="161"/>
                    </a:cubicBezTo>
                    <a:cubicBezTo>
                      <a:pt x="425" y="161"/>
                      <a:pt x="425" y="161"/>
                      <a:pt x="425" y="161"/>
                    </a:cubicBezTo>
                    <a:cubicBezTo>
                      <a:pt x="426" y="145"/>
                      <a:pt x="426" y="145"/>
                      <a:pt x="426" y="145"/>
                    </a:cubicBezTo>
                    <a:cubicBezTo>
                      <a:pt x="428" y="127"/>
                      <a:pt x="428" y="127"/>
                      <a:pt x="428" y="127"/>
                    </a:cubicBezTo>
                    <a:lnTo>
                      <a:pt x="454" y="127"/>
                    </a:lnTo>
                    <a:close/>
                    <a:moveTo>
                      <a:pt x="441" y="335"/>
                    </a:moveTo>
                    <a:cubicBezTo>
                      <a:pt x="450" y="178"/>
                      <a:pt x="450" y="178"/>
                      <a:pt x="450" y="178"/>
                    </a:cubicBezTo>
                    <a:cubicBezTo>
                      <a:pt x="56" y="178"/>
                      <a:pt x="56" y="178"/>
                      <a:pt x="56" y="178"/>
                    </a:cubicBezTo>
                    <a:cubicBezTo>
                      <a:pt x="65" y="335"/>
                      <a:pt x="65" y="335"/>
                      <a:pt x="65" y="335"/>
                    </a:cubicBezTo>
                    <a:cubicBezTo>
                      <a:pt x="65" y="343"/>
                      <a:pt x="74" y="349"/>
                      <a:pt x="85" y="349"/>
                    </a:cubicBezTo>
                    <a:cubicBezTo>
                      <a:pt x="421" y="349"/>
                      <a:pt x="421" y="349"/>
                      <a:pt x="421" y="349"/>
                    </a:cubicBezTo>
                    <a:cubicBezTo>
                      <a:pt x="432" y="349"/>
                      <a:pt x="441" y="343"/>
                      <a:pt x="441" y="335"/>
                    </a:cubicBezTo>
                    <a:close/>
                    <a:moveTo>
                      <a:pt x="398" y="490"/>
                    </a:moveTo>
                    <a:cubicBezTo>
                      <a:pt x="398" y="371"/>
                      <a:pt x="398" y="371"/>
                      <a:pt x="398" y="371"/>
                    </a:cubicBezTo>
                    <a:cubicBezTo>
                      <a:pt x="356" y="371"/>
                      <a:pt x="356" y="371"/>
                      <a:pt x="356" y="371"/>
                    </a:cubicBezTo>
                    <a:cubicBezTo>
                      <a:pt x="356" y="496"/>
                      <a:pt x="356" y="496"/>
                      <a:pt x="356" y="496"/>
                    </a:cubicBezTo>
                    <a:cubicBezTo>
                      <a:pt x="389" y="496"/>
                      <a:pt x="389" y="496"/>
                      <a:pt x="389" y="496"/>
                    </a:cubicBezTo>
                    <a:cubicBezTo>
                      <a:pt x="394" y="496"/>
                      <a:pt x="398" y="496"/>
                      <a:pt x="398" y="490"/>
                    </a:cubicBezTo>
                    <a:close/>
                    <a:moveTo>
                      <a:pt x="150" y="496"/>
                    </a:moveTo>
                    <a:cubicBezTo>
                      <a:pt x="150" y="371"/>
                      <a:pt x="150" y="371"/>
                      <a:pt x="150" y="371"/>
                    </a:cubicBezTo>
                    <a:cubicBezTo>
                      <a:pt x="108" y="371"/>
                      <a:pt x="108" y="371"/>
                      <a:pt x="108" y="371"/>
                    </a:cubicBezTo>
                    <a:cubicBezTo>
                      <a:pt x="108" y="490"/>
                      <a:pt x="108" y="490"/>
                      <a:pt x="108" y="490"/>
                    </a:cubicBezTo>
                    <a:cubicBezTo>
                      <a:pt x="108" y="496"/>
                      <a:pt x="112" y="496"/>
                      <a:pt x="117" y="496"/>
                    </a:cubicBezTo>
                    <a:lnTo>
                      <a:pt x="150" y="496"/>
                    </a:lnTo>
                    <a:close/>
                    <a:moveTo>
                      <a:pt x="71" y="82"/>
                    </a:moveTo>
                    <a:cubicBezTo>
                      <a:pt x="61" y="32"/>
                      <a:pt x="61" y="32"/>
                      <a:pt x="61" y="32"/>
                    </a:cubicBezTo>
                    <a:cubicBezTo>
                      <a:pt x="60" y="26"/>
                      <a:pt x="57" y="24"/>
                      <a:pt x="51" y="24"/>
                    </a:cubicBezTo>
                    <a:cubicBezTo>
                      <a:pt x="43" y="24"/>
                      <a:pt x="37" y="24"/>
                      <a:pt x="37" y="32"/>
                    </a:cubicBezTo>
                    <a:cubicBezTo>
                      <a:pt x="45" y="82"/>
                      <a:pt x="45" y="82"/>
                      <a:pt x="45" y="82"/>
                    </a:cubicBezTo>
                    <a:lnTo>
                      <a:pt x="71" y="8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130" name="í$ḻíde"/>
              <p:cNvSpPr/>
              <p:nvPr/>
            </p:nvSpPr>
            <p:spPr bwMode="auto">
              <a:xfrm>
                <a:off x="2144609" y="5142503"/>
                <a:ext cx="604838" cy="31750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</p:grpSp>
        <p:grpSp>
          <p:nvGrpSpPr>
            <p:cNvPr id="22" name="组合 21"/>
            <p:cNvGrpSpPr/>
            <p:nvPr userDrawn="1"/>
          </p:nvGrpSpPr>
          <p:grpSpPr>
            <a:xfrm>
              <a:off x="10250573" y="283036"/>
              <a:ext cx="1640266" cy="338554"/>
              <a:chOff x="5180266" y="4756740"/>
              <a:chExt cx="5753100" cy="1187451"/>
            </a:xfrm>
            <a:solidFill>
              <a:srgbClr val="CA351C"/>
            </a:solidFill>
          </p:grpSpPr>
          <p:sp>
            <p:nvSpPr>
              <p:cNvPr id="23" name="ïṩļîḑê"/>
              <p:cNvSpPr/>
              <p:nvPr/>
            </p:nvSpPr>
            <p:spPr bwMode="auto">
              <a:xfrm>
                <a:off x="10319003" y="4805953"/>
                <a:ext cx="600075" cy="771525"/>
              </a:xfrm>
              <a:custGeom>
                <a:avLst/>
                <a:gdLst>
                  <a:gd name="T0" fmla="*/ 210 w 325"/>
                  <a:gd name="T1" fmla="*/ 140 h 418"/>
                  <a:gd name="T2" fmla="*/ 237 w 325"/>
                  <a:gd name="T3" fmla="*/ 155 h 418"/>
                  <a:gd name="T4" fmla="*/ 161 w 325"/>
                  <a:gd name="T5" fmla="*/ 179 h 418"/>
                  <a:gd name="T6" fmla="*/ 187 w 325"/>
                  <a:gd name="T7" fmla="*/ 68 h 418"/>
                  <a:gd name="T8" fmla="*/ 230 w 325"/>
                  <a:gd name="T9" fmla="*/ 40 h 418"/>
                  <a:gd name="T10" fmla="*/ 199 w 325"/>
                  <a:gd name="T11" fmla="*/ 85 h 418"/>
                  <a:gd name="T12" fmla="*/ 99 w 325"/>
                  <a:gd name="T13" fmla="*/ 132 h 418"/>
                  <a:gd name="T14" fmla="*/ 132 w 325"/>
                  <a:gd name="T15" fmla="*/ 83 h 418"/>
                  <a:gd name="T16" fmla="*/ 174 w 325"/>
                  <a:gd name="T17" fmla="*/ 116 h 418"/>
                  <a:gd name="T18" fmla="*/ 59 w 325"/>
                  <a:gd name="T19" fmla="*/ 198 h 418"/>
                  <a:gd name="T20" fmla="*/ 16 w 325"/>
                  <a:gd name="T21" fmla="*/ 224 h 418"/>
                  <a:gd name="T22" fmla="*/ 17 w 325"/>
                  <a:gd name="T23" fmla="*/ 314 h 418"/>
                  <a:gd name="T24" fmla="*/ 55 w 325"/>
                  <a:gd name="T25" fmla="*/ 244 h 418"/>
                  <a:gd name="T26" fmla="*/ 131 w 325"/>
                  <a:gd name="T27" fmla="*/ 194 h 418"/>
                  <a:gd name="T28" fmla="*/ 111 w 325"/>
                  <a:gd name="T29" fmla="*/ 251 h 418"/>
                  <a:gd name="T30" fmla="*/ 148 w 325"/>
                  <a:gd name="T31" fmla="*/ 246 h 418"/>
                  <a:gd name="T32" fmla="*/ 184 w 325"/>
                  <a:gd name="T33" fmla="*/ 243 h 418"/>
                  <a:gd name="T34" fmla="*/ 131 w 325"/>
                  <a:gd name="T35" fmla="*/ 281 h 418"/>
                  <a:gd name="T36" fmla="*/ 76 w 325"/>
                  <a:gd name="T37" fmla="*/ 299 h 418"/>
                  <a:gd name="T38" fmla="*/ 134 w 325"/>
                  <a:gd name="T39" fmla="*/ 334 h 418"/>
                  <a:gd name="T40" fmla="*/ 203 w 325"/>
                  <a:gd name="T41" fmla="*/ 298 h 418"/>
                  <a:gd name="T42" fmla="*/ 206 w 325"/>
                  <a:gd name="T43" fmla="*/ 350 h 418"/>
                  <a:gd name="T44" fmla="*/ 165 w 325"/>
                  <a:gd name="T45" fmla="*/ 378 h 418"/>
                  <a:gd name="T46" fmla="*/ 144 w 325"/>
                  <a:gd name="T47" fmla="*/ 410 h 418"/>
                  <a:gd name="T48" fmla="*/ 228 w 325"/>
                  <a:gd name="T49" fmla="*/ 408 h 418"/>
                  <a:gd name="T50" fmla="*/ 239 w 325"/>
                  <a:gd name="T51" fmla="*/ 307 h 418"/>
                  <a:gd name="T52" fmla="*/ 273 w 325"/>
                  <a:gd name="T53" fmla="*/ 283 h 418"/>
                  <a:gd name="T54" fmla="*/ 271 w 325"/>
                  <a:gd name="T55" fmla="*/ 239 h 418"/>
                  <a:gd name="T56" fmla="*/ 233 w 325"/>
                  <a:gd name="T57" fmla="*/ 226 h 418"/>
                  <a:gd name="T58" fmla="*/ 261 w 325"/>
                  <a:gd name="T59" fmla="*/ 181 h 418"/>
                  <a:gd name="T60" fmla="*/ 316 w 325"/>
                  <a:gd name="T61" fmla="*/ 167 h 418"/>
                  <a:gd name="T62" fmla="*/ 297 w 325"/>
                  <a:gd name="T63" fmla="*/ 119 h 418"/>
                  <a:gd name="T64" fmla="*/ 251 w 325"/>
                  <a:gd name="T65" fmla="*/ 93 h 418"/>
                  <a:gd name="T66" fmla="*/ 276 w 325"/>
                  <a:gd name="T67" fmla="*/ 34 h 418"/>
                  <a:gd name="T68" fmla="*/ 217 w 325"/>
                  <a:gd name="T69" fmla="*/ 11 h 418"/>
                  <a:gd name="T70" fmla="*/ 164 w 325"/>
                  <a:gd name="T71" fmla="*/ 29 h 418"/>
                  <a:gd name="T72" fmla="*/ 136 w 325"/>
                  <a:gd name="T73" fmla="*/ 43 h 418"/>
                  <a:gd name="T74" fmla="*/ 113 w 325"/>
                  <a:gd name="T75" fmla="*/ 21 h 418"/>
                  <a:gd name="T76" fmla="*/ 78 w 325"/>
                  <a:gd name="T77" fmla="*/ 52 h 4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325" h="418">
                    <a:moveTo>
                      <a:pt x="161" y="179"/>
                    </a:moveTo>
                    <a:cubicBezTo>
                      <a:pt x="160" y="178"/>
                      <a:pt x="188" y="143"/>
                      <a:pt x="210" y="140"/>
                    </a:cubicBezTo>
                    <a:cubicBezTo>
                      <a:pt x="232" y="137"/>
                      <a:pt x="226" y="133"/>
                      <a:pt x="238" y="138"/>
                    </a:cubicBezTo>
                    <a:cubicBezTo>
                      <a:pt x="250" y="144"/>
                      <a:pt x="252" y="148"/>
                      <a:pt x="237" y="155"/>
                    </a:cubicBezTo>
                    <a:cubicBezTo>
                      <a:pt x="222" y="162"/>
                      <a:pt x="215" y="168"/>
                      <a:pt x="196" y="171"/>
                    </a:cubicBezTo>
                    <a:cubicBezTo>
                      <a:pt x="177" y="175"/>
                      <a:pt x="163" y="181"/>
                      <a:pt x="161" y="179"/>
                    </a:cubicBezTo>
                    <a:close/>
                    <a:moveTo>
                      <a:pt x="199" y="85"/>
                    </a:moveTo>
                    <a:cubicBezTo>
                      <a:pt x="197" y="87"/>
                      <a:pt x="186" y="79"/>
                      <a:pt x="187" y="68"/>
                    </a:cubicBezTo>
                    <a:cubicBezTo>
                      <a:pt x="188" y="57"/>
                      <a:pt x="197" y="38"/>
                      <a:pt x="211" y="34"/>
                    </a:cubicBezTo>
                    <a:cubicBezTo>
                      <a:pt x="225" y="30"/>
                      <a:pt x="230" y="30"/>
                      <a:pt x="230" y="40"/>
                    </a:cubicBezTo>
                    <a:cubicBezTo>
                      <a:pt x="229" y="51"/>
                      <a:pt x="229" y="62"/>
                      <a:pt x="219" y="71"/>
                    </a:cubicBezTo>
                    <a:cubicBezTo>
                      <a:pt x="210" y="80"/>
                      <a:pt x="201" y="84"/>
                      <a:pt x="199" y="85"/>
                    </a:cubicBezTo>
                    <a:close/>
                    <a:moveTo>
                      <a:pt x="79" y="112"/>
                    </a:moveTo>
                    <a:cubicBezTo>
                      <a:pt x="79" y="113"/>
                      <a:pt x="87" y="125"/>
                      <a:pt x="99" y="132"/>
                    </a:cubicBezTo>
                    <a:cubicBezTo>
                      <a:pt x="112" y="138"/>
                      <a:pt x="119" y="135"/>
                      <a:pt x="129" y="127"/>
                    </a:cubicBezTo>
                    <a:cubicBezTo>
                      <a:pt x="139" y="118"/>
                      <a:pt x="130" y="95"/>
                      <a:pt x="132" y="83"/>
                    </a:cubicBezTo>
                    <a:cubicBezTo>
                      <a:pt x="135" y="70"/>
                      <a:pt x="136" y="73"/>
                      <a:pt x="146" y="75"/>
                    </a:cubicBezTo>
                    <a:cubicBezTo>
                      <a:pt x="156" y="76"/>
                      <a:pt x="173" y="108"/>
                      <a:pt x="174" y="116"/>
                    </a:cubicBezTo>
                    <a:cubicBezTo>
                      <a:pt x="174" y="123"/>
                      <a:pt x="170" y="123"/>
                      <a:pt x="128" y="142"/>
                    </a:cubicBezTo>
                    <a:cubicBezTo>
                      <a:pt x="86" y="161"/>
                      <a:pt x="67" y="195"/>
                      <a:pt x="59" y="198"/>
                    </a:cubicBezTo>
                    <a:cubicBezTo>
                      <a:pt x="52" y="202"/>
                      <a:pt x="55" y="191"/>
                      <a:pt x="40" y="188"/>
                    </a:cubicBezTo>
                    <a:cubicBezTo>
                      <a:pt x="26" y="186"/>
                      <a:pt x="23" y="211"/>
                      <a:pt x="16" y="224"/>
                    </a:cubicBezTo>
                    <a:cubicBezTo>
                      <a:pt x="8" y="238"/>
                      <a:pt x="5" y="266"/>
                      <a:pt x="5" y="277"/>
                    </a:cubicBezTo>
                    <a:cubicBezTo>
                      <a:pt x="5" y="288"/>
                      <a:pt x="0" y="301"/>
                      <a:pt x="17" y="314"/>
                    </a:cubicBezTo>
                    <a:cubicBezTo>
                      <a:pt x="33" y="326"/>
                      <a:pt x="49" y="311"/>
                      <a:pt x="53" y="304"/>
                    </a:cubicBezTo>
                    <a:cubicBezTo>
                      <a:pt x="57" y="298"/>
                      <a:pt x="53" y="269"/>
                      <a:pt x="55" y="244"/>
                    </a:cubicBezTo>
                    <a:cubicBezTo>
                      <a:pt x="57" y="220"/>
                      <a:pt x="89" y="204"/>
                      <a:pt x="100" y="197"/>
                    </a:cubicBezTo>
                    <a:cubicBezTo>
                      <a:pt x="115" y="189"/>
                      <a:pt x="129" y="190"/>
                      <a:pt x="131" y="194"/>
                    </a:cubicBezTo>
                    <a:cubicBezTo>
                      <a:pt x="134" y="197"/>
                      <a:pt x="119" y="214"/>
                      <a:pt x="112" y="219"/>
                    </a:cubicBezTo>
                    <a:cubicBezTo>
                      <a:pt x="105" y="224"/>
                      <a:pt x="110" y="244"/>
                      <a:pt x="111" y="251"/>
                    </a:cubicBezTo>
                    <a:cubicBezTo>
                      <a:pt x="113" y="257"/>
                      <a:pt x="111" y="260"/>
                      <a:pt x="125" y="265"/>
                    </a:cubicBezTo>
                    <a:cubicBezTo>
                      <a:pt x="142" y="271"/>
                      <a:pt x="139" y="257"/>
                      <a:pt x="148" y="246"/>
                    </a:cubicBezTo>
                    <a:cubicBezTo>
                      <a:pt x="157" y="236"/>
                      <a:pt x="163" y="224"/>
                      <a:pt x="170" y="224"/>
                    </a:cubicBezTo>
                    <a:cubicBezTo>
                      <a:pt x="177" y="224"/>
                      <a:pt x="180" y="238"/>
                      <a:pt x="184" y="243"/>
                    </a:cubicBezTo>
                    <a:cubicBezTo>
                      <a:pt x="187" y="248"/>
                      <a:pt x="189" y="257"/>
                      <a:pt x="177" y="263"/>
                    </a:cubicBezTo>
                    <a:cubicBezTo>
                      <a:pt x="165" y="269"/>
                      <a:pt x="131" y="281"/>
                      <a:pt x="131" y="281"/>
                    </a:cubicBezTo>
                    <a:cubicBezTo>
                      <a:pt x="131" y="281"/>
                      <a:pt x="112" y="284"/>
                      <a:pt x="101" y="287"/>
                    </a:cubicBezTo>
                    <a:cubicBezTo>
                      <a:pt x="90" y="289"/>
                      <a:pt x="78" y="285"/>
                      <a:pt x="76" y="299"/>
                    </a:cubicBezTo>
                    <a:cubicBezTo>
                      <a:pt x="73" y="312"/>
                      <a:pt x="78" y="305"/>
                      <a:pt x="86" y="319"/>
                    </a:cubicBezTo>
                    <a:cubicBezTo>
                      <a:pt x="94" y="333"/>
                      <a:pt x="119" y="337"/>
                      <a:pt x="134" y="334"/>
                    </a:cubicBezTo>
                    <a:cubicBezTo>
                      <a:pt x="149" y="332"/>
                      <a:pt x="157" y="324"/>
                      <a:pt x="168" y="316"/>
                    </a:cubicBezTo>
                    <a:cubicBezTo>
                      <a:pt x="178" y="308"/>
                      <a:pt x="194" y="298"/>
                      <a:pt x="203" y="298"/>
                    </a:cubicBezTo>
                    <a:cubicBezTo>
                      <a:pt x="211" y="299"/>
                      <a:pt x="211" y="311"/>
                      <a:pt x="211" y="325"/>
                    </a:cubicBezTo>
                    <a:cubicBezTo>
                      <a:pt x="211" y="339"/>
                      <a:pt x="210" y="337"/>
                      <a:pt x="206" y="350"/>
                    </a:cubicBezTo>
                    <a:cubicBezTo>
                      <a:pt x="202" y="364"/>
                      <a:pt x="199" y="368"/>
                      <a:pt x="194" y="372"/>
                    </a:cubicBezTo>
                    <a:cubicBezTo>
                      <a:pt x="189" y="377"/>
                      <a:pt x="184" y="376"/>
                      <a:pt x="165" y="378"/>
                    </a:cubicBezTo>
                    <a:cubicBezTo>
                      <a:pt x="145" y="380"/>
                      <a:pt x="131" y="393"/>
                      <a:pt x="129" y="400"/>
                    </a:cubicBezTo>
                    <a:cubicBezTo>
                      <a:pt x="128" y="407"/>
                      <a:pt x="135" y="405"/>
                      <a:pt x="144" y="410"/>
                    </a:cubicBezTo>
                    <a:cubicBezTo>
                      <a:pt x="152" y="414"/>
                      <a:pt x="163" y="416"/>
                      <a:pt x="185" y="417"/>
                    </a:cubicBezTo>
                    <a:cubicBezTo>
                      <a:pt x="208" y="418"/>
                      <a:pt x="219" y="417"/>
                      <a:pt x="228" y="408"/>
                    </a:cubicBezTo>
                    <a:cubicBezTo>
                      <a:pt x="238" y="400"/>
                      <a:pt x="240" y="373"/>
                      <a:pt x="241" y="354"/>
                    </a:cubicBezTo>
                    <a:cubicBezTo>
                      <a:pt x="243" y="335"/>
                      <a:pt x="239" y="315"/>
                      <a:pt x="239" y="307"/>
                    </a:cubicBezTo>
                    <a:cubicBezTo>
                      <a:pt x="239" y="299"/>
                      <a:pt x="239" y="297"/>
                      <a:pt x="244" y="288"/>
                    </a:cubicBezTo>
                    <a:cubicBezTo>
                      <a:pt x="249" y="280"/>
                      <a:pt x="257" y="284"/>
                      <a:pt x="273" y="283"/>
                    </a:cubicBezTo>
                    <a:cubicBezTo>
                      <a:pt x="288" y="281"/>
                      <a:pt x="286" y="270"/>
                      <a:pt x="287" y="261"/>
                    </a:cubicBezTo>
                    <a:cubicBezTo>
                      <a:pt x="288" y="251"/>
                      <a:pt x="281" y="247"/>
                      <a:pt x="271" y="239"/>
                    </a:cubicBezTo>
                    <a:cubicBezTo>
                      <a:pt x="260" y="231"/>
                      <a:pt x="250" y="236"/>
                      <a:pt x="240" y="236"/>
                    </a:cubicBezTo>
                    <a:cubicBezTo>
                      <a:pt x="230" y="236"/>
                      <a:pt x="233" y="234"/>
                      <a:pt x="233" y="226"/>
                    </a:cubicBezTo>
                    <a:cubicBezTo>
                      <a:pt x="233" y="219"/>
                      <a:pt x="238" y="215"/>
                      <a:pt x="239" y="207"/>
                    </a:cubicBezTo>
                    <a:cubicBezTo>
                      <a:pt x="241" y="200"/>
                      <a:pt x="251" y="192"/>
                      <a:pt x="261" y="181"/>
                    </a:cubicBezTo>
                    <a:cubicBezTo>
                      <a:pt x="270" y="170"/>
                      <a:pt x="276" y="175"/>
                      <a:pt x="289" y="176"/>
                    </a:cubicBezTo>
                    <a:cubicBezTo>
                      <a:pt x="302" y="176"/>
                      <a:pt x="307" y="176"/>
                      <a:pt x="316" y="167"/>
                    </a:cubicBezTo>
                    <a:cubicBezTo>
                      <a:pt x="325" y="157"/>
                      <a:pt x="318" y="138"/>
                      <a:pt x="316" y="132"/>
                    </a:cubicBezTo>
                    <a:cubicBezTo>
                      <a:pt x="315" y="125"/>
                      <a:pt x="309" y="129"/>
                      <a:pt x="297" y="119"/>
                    </a:cubicBezTo>
                    <a:cubicBezTo>
                      <a:pt x="285" y="108"/>
                      <a:pt x="274" y="111"/>
                      <a:pt x="261" y="111"/>
                    </a:cubicBezTo>
                    <a:cubicBezTo>
                      <a:pt x="248" y="111"/>
                      <a:pt x="244" y="100"/>
                      <a:pt x="251" y="93"/>
                    </a:cubicBezTo>
                    <a:cubicBezTo>
                      <a:pt x="259" y="87"/>
                      <a:pt x="265" y="77"/>
                      <a:pt x="272" y="66"/>
                    </a:cubicBezTo>
                    <a:cubicBezTo>
                      <a:pt x="278" y="55"/>
                      <a:pt x="276" y="45"/>
                      <a:pt x="276" y="34"/>
                    </a:cubicBezTo>
                    <a:cubicBezTo>
                      <a:pt x="275" y="24"/>
                      <a:pt x="264" y="20"/>
                      <a:pt x="252" y="10"/>
                    </a:cubicBezTo>
                    <a:cubicBezTo>
                      <a:pt x="240" y="0"/>
                      <a:pt x="225" y="8"/>
                      <a:pt x="217" y="11"/>
                    </a:cubicBezTo>
                    <a:cubicBezTo>
                      <a:pt x="208" y="14"/>
                      <a:pt x="196" y="20"/>
                      <a:pt x="187" y="25"/>
                    </a:cubicBezTo>
                    <a:cubicBezTo>
                      <a:pt x="178" y="30"/>
                      <a:pt x="172" y="30"/>
                      <a:pt x="164" y="29"/>
                    </a:cubicBezTo>
                    <a:cubicBezTo>
                      <a:pt x="157" y="29"/>
                      <a:pt x="150" y="29"/>
                      <a:pt x="147" y="29"/>
                    </a:cubicBezTo>
                    <a:cubicBezTo>
                      <a:pt x="144" y="29"/>
                      <a:pt x="141" y="35"/>
                      <a:pt x="136" y="43"/>
                    </a:cubicBezTo>
                    <a:cubicBezTo>
                      <a:pt x="131" y="51"/>
                      <a:pt x="126" y="47"/>
                      <a:pt x="124" y="43"/>
                    </a:cubicBezTo>
                    <a:cubicBezTo>
                      <a:pt x="121" y="38"/>
                      <a:pt x="116" y="28"/>
                      <a:pt x="113" y="21"/>
                    </a:cubicBezTo>
                    <a:cubicBezTo>
                      <a:pt x="110" y="15"/>
                      <a:pt x="97" y="18"/>
                      <a:pt x="91" y="21"/>
                    </a:cubicBezTo>
                    <a:cubicBezTo>
                      <a:pt x="84" y="25"/>
                      <a:pt x="80" y="41"/>
                      <a:pt x="78" y="52"/>
                    </a:cubicBezTo>
                    <a:cubicBezTo>
                      <a:pt x="75" y="63"/>
                      <a:pt x="78" y="111"/>
                      <a:pt x="79" y="1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24" name="îşḷïḍe"/>
              <p:cNvSpPr/>
              <p:nvPr/>
            </p:nvSpPr>
            <p:spPr bwMode="auto">
              <a:xfrm>
                <a:off x="9461753" y="4939303"/>
                <a:ext cx="388938" cy="534988"/>
              </a:xfrm>
              <a:custGeom>
                <a:avLst/>
                <a:gdLst>
                  <a:gd name="T0" fmla="*/ 4 w 211"/>
                  <a:gd name="T1" fmla="*/ 137 h 290"/>
                  <a:gd name="T2" fmla="*/ 41 w 211"/>
                  <a:gd name="T3" fmla="*/ 117 h 290"/>
                  <a:gd name="T4" fmla="*/ 75 w 211"/>
                  <a:gd name="T5" fmla="*/ 83 h 290"/>
                  <a:gd name="T6" fmla="*/ 82 w 211"/>
                  <a:gd name="T7" fmla="*/ 29 h 290"/>
                  <a:gd name="T8" fmla="*/ 94 w 211"/>
                  <a:gd name="T9" fmla="*/ 6 h 290"/>
                  <a:gd name="T10" fmla="*/ 126 w 211"/>
                  <a:gd name="T11" fmla="*/ 27 h 290"/>
                  <a:gd name="T12" fmla="*/ 145 w 211"/>
                  <a:gd name="T13" fmla="*/ 65 h 290"/>
                  <a:gd name="T14" fmla="*/ 170 w 211"/>
                  <a:gd name="T15" fmla="*/ 93 h 290"/>
                  <a:gd name="T16" fmla="*/ 164 w 211"/>
                  <a:gd name="T17" fmla="*/ 119 h 290"/>
                  <a:gd name="T18" fmla="*/ 127 w 211"/>
                  <a:gd name="T19" fmla="*/ 151 h 290"/>
                  <a:gd name="T20" fmla="*/ 123 w 211"/>
                  <a:gd name="T21" fmla="*/ 165 h 290"/>
                  <a:gd name="T22" fmla="*/ 181 w 211"/>
                  <a:gd name="T23" fmla="*/ 187 h 290"/>
                  <a:gd name="T24" fmla="*/ 210 w 211"/>
                  <a:gd name="T25" fmla="*/ 231 h 290"/>
                  <a:gd name="T26" fmla="*/ 202 w 211"/>
                  <a:gd name="T27" fmla="*/ 281 h 290"/>
                  <a:gd name="T28" fmla="*/ 185 w 211"/>
                  <a:gd name="T29" fmla="*/ 289 h 290"/>
                  <a:gd name="T30" fmla="*/ 162 w 211"/>
                  <a:gd name="T31" fmla="*/ 267 h 290"/>
                  <a:gd name="T32" fmla="*/ 158 w 211"/>
                  <a:gd name="T33" fmla="*/ 217 h 290"/>
                  <a:gd name="T34" fmla="*/ 134 w 211"/>
                  <a:gd name="T35" fmla="*/ 188 h 290"/>
                  <a:gd name="T36" fmla="*/ 117 w 211"/>
                  <a:gd name="T37" fmla="*/ 183 h 290"/>
                  <a:gd name="T38" fmla="*/ 105 w 211"/>
                  <a:gd name="T39" fmla="*/ 191 h 290"/>
                  <a:gd name="T40" fmla="*/ 95 w 211"/>
                  <a:gd name="T41" fmla="*/ 225 h 290"/>
                  <a:gd name="T42" fmla="*/ 92 w 211"/>
                  <a:gd name="T43" fmla="*/ 251 h 290"/>
                  <a:gd name="T44" fmla="*/ 58 w 211"/>
                  <a:gd name="T45" fmla="*/ 261 h 290"/>
                  <a:gd name="T46" fmla="*/ 37 w 211"/>
                  <a:gd name="T47" fmla="*/ 235 h 290"/>
                  <a:gd name="T48" fmla="*/ 39 w 211"/>
                  <a:gd name="T49" fmla="*/ 205 h 290"/>
                  <a:gd name="T50" fmla="*/ 45 w 211"/>
                  <a:gd name="T51" fmla="*/ 177 h 290"/>
                  <a:gd name="T52" fmla="*/ 18 w 211"/>
                  <a:gd name="T53" fmla="*/ 155 h 290"/>
                  <a:gd name="T54" fmla="*/ 0 w 211"/>
                  <a:gd name="T55" fmla="*/ 147 h 290"/>
                  <a:gd name="T56" fmla="*/ 4 w 211"/>
                  <a:gd name="T57" fmla="*/ 137 h 2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211" h="290">
                    <a:moveTo>
                      <a:pt x="4" y="137"/>
                    </a:moveTo>
                    <a:cubicBezTo>
                      <a:pt x="4" y="137"/>
                      <a:pt x="32" y="120"/>
                      <a:pt x="41" y="117"/>
                    </a:cubicBezTo>
                    <a:cubicBezTo>
                      <a:pt x="50" y="115"/>
                      <a:pt x="69" y="103"/>
                      <a:pt x="75" y="83"/>
                    </a:cubicBezTo>
                    <a:cubicBezTo>
                      <a:pt x="81" y="63"/>
                      <a:pt x="82" y="39"/>
                      <a:pt x="82" y="29"/>
                    </a:cubicBezTo>
                    <a:cubicBezTo>
                      <a:pt x="82" y="19"/>
                      <a:pt x="76" y="0"/>
                      <a:pt x="94" y="6"/>
                    </a:cubicBezTo>
                    <a:cubicBezTo>
                      <a:pt x="112" y="12"/>
                      <a:pt x="124" y="15"/>
                      <a:pt x="126" y="27"/>
                    </a:cubicBezTo>
                    <a:cubicBezTo>
                      <a:pt x="129" y="39"/>
                      <a:pt x="131" y="55"/>
                      <a:pt x="145" y="65"/>
                    </a:cubicBezTo>
                    <a:cubicBezTo>
                      <a:pt x="159" y="75"/>
                      <a:pt x="168" y="83"/>
                      <a:pt x="170" y="93"/>
                    </a:cubicBezTo>
                    <a:cubicBezTo>
                      <a:pt x="172" y="103"/>
                      <a:pt x="172" y="114"/>
                      <a:pt x="164" y="119"/>
                    </a:cubicBezTo>
                    <a:cubicBezTo>
                      <a:pt x="157" y="123"/>
                      <a:pt x="132" y="147"/>
                      <a:pt x="127" y="151"/>
                    </a:cubicBezTo>
                    <a:cubicBezTo>
                      <a:pt x="121" y="154"/>
                      <a:pt x="119" y="165"/>
                      <a:pt x="123" y="165"/>
                    </a:cubicBezTo>
                    <a:cubicBezTo>
                      <a:pt x="127" y="165"/>
                      <a:pt x="163" y="172"/>
                      <a:pt x="181" y="187"/>
                    </a:cubicBezTo>
                    <a:cubicBezTo>
                      <a:pt x="198" y="202"/>
                      <a:pt x="209" y="216"/>
                      <a:pt x="210" y="231"/>
                    </a:cubicBezTo>
                    <a:cubicBezTo>
                      <a:pt x="211" y="247"/>
                      <a:pt x="210" y="273"/>
                      <a:pt x="202" y="281"/>
                    </a:cubicBezTo>
                    <a:cubicBezTo>
                      <a:pt x="194" y="288"/>
                      <a:pt x="192" y="290"/>
                      <a:pt x="185" y="289"/>
                    </a:cubicBezTo>
                    <a:cubicBezTo>
                      <a:pt x="178" y="288"/>
                      <a:pt x="164" y="279"/>
                      <a:pt x="162" y="267"/>
                    </a:cubicBezTo>
                    <a:cubicBezTo>
                      <a:pt x="160" y="255"/>
                      <a:pt x="164" y="239"/>
                      <a:pt x="158" y="217"/>
                    </a:cubicBezTo>
                    <a:cubicBezTo>
                      <a:pt x="153" y="196"/>
                      <a:pt x="139" y="191"/>
                      <a:pt x="134" y="188"/>
                    </a:cubicBezTo>
                    <a:cubicBezTo>
                      <a:pt x="129" y="186"/>
                      <a:pt x="117" y="183"/>
                      <a:pt x="117" y="183"/>
                    </a:cubicBezTo>
                    <a:cubicBezTo>
                      <a:pt x="117" y="183"/>
                      <a:pt x="108" y="182"/>
                      <a:pt x="105" y="191"/>
                    </a:cubicBezTo>
                    <a:cubicBezTo>
                      <a:pt x="102" y="199"/>
                      <a:pt x="96" y="215"/>
                      <a:pt x="95" y="225"/>
                    </a:cubicBezTo>
                    <a:cubicBezTo>
                      <a:pt x="94" y="235"/>
                      <a:pt x="96" y="247"/>
                      <a:pt x="92" y="251"/>
                    </a:cubicBezTo>
                    <a:cubicBezTo>
                      <a:pt x="87" y="256"/>
                      <a:pt x="77" y="267"/>
                      <a:pt x="58" y="261"/>
                    </a:cubicBezTo>
                    <a:cubicBezTo>
                      <a:pt x="39" y="255"/>
                      <a:pt x="41" y="238"/>
                      <a:pt x="37" y="235"/>
                    </a:cubicBezTo>
                    <a:cubicBezTo>
                      <a:pt x="33" y="231"/>
                      <a:pt x="39" y="211"/>
                      <a:pt x="39" y="205"/>
                    </a:cubicBezTo>
                    <a:cubicBezTo>
                      <a:pt x="39" y="200"/>
                      <a:pt x="47" y="182"/>
                      <a:pt x="45" y="177"/>
                    </a:cubicBezTo>
                    <a:cubicBezTo>
                      <a:pt x="44" y="173"/>
                      <a:pt x="25" y="153"/>
                      <a:pt x="18" y="155"/>
                    </a:cubicBezTo>
                    <a:cubicBezTo>
                      <a:pt x="11" y="157"/>
                      <a:pt x="1" y="155"/>
                      <a:pt x="0" y="147"/>
                    </a:cubicBezTo>
                    <a:cubicBezTo>
                      <a:pt x="0" y="140"/>
                      <a:pt x="4" y="137"/>
                      <a:pt x="4" y="13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25" name="îṧļíďe"/>
              <p:cNvSpPr/>
              <p:nvPr/>
            </p:nvSpPr>
            <p:spPr bwMode="auto">
              <a:xfrm>
                <a:off x="8326691" y="4823415"/>
                <a:ext cx="746125" cy="695325"/>
              </a:xfrm>
              <a:custGeom>
                <a:avLst/>
                <a:gdLst>
                  <a:gd name="T0" fmla="*/ 159 w 405"/>
                  <a:gd name="T1" fmla="*/ 229 h 377"/>
                  <a:gd name="T2" fmla="*/ 218 w 405"/>
                  <a:gd name="T3" fmla="*/ 183 h 377"/>
                  <a:gd name="T4" fmla="*/ 234 w 405"/>
                  <a:gd name="T5" fmla="*/ 247 h 377"/>
                  <a:gd name="T6" fmla="*/ 260 w 405"/>
                  <a:gd name="T7" fmla="*/ 269 h 377"/>
                  <a:gd name="T8" fmla="*/ 209 w 405"/>
                  <a:gd name="T9" fmla="*/ 247 h 377"/>
                  <a:gd name="T10" fmla="*/ 108 w 405"/>
                  <a:gd name="T11" fmla="*/ 215 h 377"/>
                  <a:gd name="T12" fmla="*/ 73 w 405"/>
                  <a:gd name="T13" fmla="*/ 283 h 377"/>
                  <a:gd name="T14" fmla="*/ 43 w 405"/>
                  <a:gd name="T15" fmla="*/ 350 h 377"/>
                  <a:gd name="T16" fmla="*/ 91 w 405"/>
                  <a:gd name="T17" fmla="*/ 347 h 377"/>
                  <a:gd name="T18" fmla="*/ 118 w 405"/>
                  <a:gd name="T19" fmla="*/ 372 h 377"/>
                  <a:gd name="T20" fmla="*/ 136 w 405"/>
                  <a:gd name="T21" fmla="*/ 328 h 377"/>
                  <a:gd name="T22" fmla="*/ 147 w 405"/>
                  <a:gd name="T23" fmla="*/ 265 h 377"/>
                  <a:gd name="T24" fmla="*/ 242 w 405"/>
                  <a:gd name="T25" fmla="*/ 306 h 377"/>
                  <a:gd name="T26" fmla="*/ 186 w 405"/>
                  <a:gd name="T27" fmla="*/ 337 h 377"/>
                  <a:gd name="T28" fmla="*/ 172 w 405"/>
                  <a:gd name="T29" fmla="*/ 367 h 377"/>
                  <a:gd name="T30" fmla="*/ 272 w 405"/>
                  <a:gd name="T31" fmla="*/ 328 h 377"/>
                  <a:gd name="T32" fmla="*/ 352 w 405"/>
                  <a:gd name="T33" fmla="*/ 373 h 377"/>
                  <a:gd name="T34" fmla="*/ 389 w 405"/>
                  <a:gd name="T35" fmla="*/ 333 h 377"/>
                  <a:gd name="T36" fmla="*/ 292 w 405"/>
                  <a:gd name="T37" fmla="*/ 299 h 377"/>
                  <a:gd name="T38" fmla="*/ 291 w 405"/>
                  <a:gd name="T39" fmla="*/ 217 h 377"/>
                  <a:gd name="T40" fmla="*/ 261 w 405"/>
                  <a:gd name="T41" fmla="*/ 173 h 377"/>
                  <a:gd name="T42" fmla="*/ 297 w 405"/>
                  <a:gd name="T43" fmla="*/ 107 h 377"/>
                  <a:gd name="T44" fmla="*/ 283 w 405"/>
                  <a:gd name="T45" fmla="*/ 43 h 377"/>
                  <a:gd name="T46" fmla="*/ 241 w 405"/>
                  <a:gd name="T47" fmla="*/ 1 h 377"/>
                  <a:gd name="T48" fmla="*/ 241 w 405"/>
                  <a:gd name="T49" fmla="*/ 35 h 377"/>
                  <a:gd name="T50" fmla="*/ 245 w 405"/>
                  <a:gd name="T51" fmla="*/ 97 h 377"/>
                  <a:gd name="T52" fmla="*/ 194 w 405"/>
                  <a:gd name="T53" fmla="*/ 129 h 377"/>
                  <a:gd name="T54" fmla="*/ 161 w 405"/>
                  <a:gd name="T55" fmla="*/ 121 h 377"/>
                  <a:gd name="T56" fmla="*/ 150 w 405"/>
                  <a:gd name="T57" fmla="*/ 33 h 377"/>
                  <a:gd name="T58" fmla="*/ 122 w 405"/>
                  <a:gd name="T59" fmla="*/ 56 h 377"/>
                  <a:gd name="T60" fmla="*/ 121 w 405"/>
                  <a:gd name="T61" fmla="*/ 133 h 377"/>
                  <a:gd name="T62" fmla="*/ 30 w 405"/>
                  <a:gd name="T63" fmla="*/ 180 h 377"/>
                  <a:gd name="T64" fmla="*/ 22 w 405"/>
                  <a:gd name="T65" fmla="*/ 219 h 3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405" h="377">
                    <a:moveTo>
                      <a:pt x="174" y="243"/>
                    </a:moveTo>
                    <a:cubicBezTo>
                      <a:pt x="172" y="243"/>
                      <a:pt x="154" y="236"/>
                      <a:pt x="159" y="229"/>
                    </a:cubicBezTo>
                    <a:cubicBezTo>
                      <a:pt x="163" y="221"/>
                      <a:pt x="190" y="187"/>
                      <a:pt x="199" y="183"/>
                    </a:cubicBezTo>
                    <a:cubicBezTo>
                      <a:pt x="208" y="178"/>
                      <a:pt x="215" y="172"/>
                      <a:pt x="218" y="183"/>
                    </a:cubicBezTo>
                    <a:cubicBezTo>
                      <a:pt x="221" y="193"/>
                      <a:pt x="215" y="230"/>
                      <a:pt x="220" y="236"/>
                    </a:cubicBezTo>
                    <a:cubicBezTo>
                      <a:pt x="225" y="241"/>
                      <a:pt x="227" y="248"/>
                      <a:pt x="234" y="247"/>
                    </a:cubicBezTo>
                    <a:cubicBezTo>
                      <a:pt x="241" y="246"/>
                      <a:pt x="256" y="238"/>
                      <a:pt x="260" y="245"/>
                    </a:cubicBezTo>
                    <a:cubicBezTo>
                      <a:pt x="263" y="252"/>
                      <a:pt x="268" y="259"/>
                      <a:pt x="260" y="269"/>
                    </a:cubicBezTo>
                    <a:cubicBezTo>
                      <a:pt x="253" y="278"/>
                      <a:pt x="247" y="281"/>
                      <a:pt x="239" y="274"/>
                    </a:cubicBezTo>
                    <a:cubicBezTo>
                      <a:pt x="230" y="267"/>
                      <a:pt x="221" y="250"/>
                      <a:pt x="209" y="247"/>
                    </a:cubicBezTo>
                    <a:cubicBezTo>
                      <a:pt x="198" y="245"/>
                      <a:pt x="176" y="243"/>
                      <a:pt x="174" y="243"/>
                    </a:cubicBezTo>
                    <a:close/>
                    <a:moveTo>
                      <a:pt x="108" y="215"/>
                    </a:moveTo>
                    <a:cubicBezTo>
                      <a:pt x="109" y="216"/>
                      <a:pt x="102" y="238"/>
                      <a:pt x="93" y="254"/>
                    </a:cubicBezTo>
                    <a:cubicBezTo>
                      <a:pt x="84" y="271"/>
                      <a:pt x="81" y="271"/>
                      <a:pt x="73" y="283"/>
                    </a:cubicBezTo>
                    <a:cubicBezTo>
                      <a:pt x="65" y="295"/>
                      <a:pt x="45" y="309"/>
                      <a:pt x="44" y="316"/>
                    </a:cubicBezTo>
                    <a:cubicBezTo>
                      <a:pt x="43" y="323"/>
                      <a:pt x="41" y="343"/>
                      <a:pt x="43" y="350"/>
                    </a:cubicBezTo>
                    <a:cubicBezTo>
                      <a:pt x="44" y="357"/>
                      <a:pt x="61" y="358"/>
                      <a:pt x="69" y="357"/>
                    </a:cubicBezTo>
                    <a:cubicBezTo>
                      <a:pt x="77" y="355"/>
                      <a:pt x="84" y="347"/>
                      <a:pt x="91" y="347"/>
                    </a:cubicBezTo>
                    <a:cubicBezTo>
                      <a:pt x="98" y="347"/>
                      <a:pt x="96" y="355"/>
                      <a:pt x="97" y="361"/>
                    </a:cubicBezTo>
                    <a:cubicBezTo>
                      <a:pt x="97" y="366"/>
                      <a:pt x="101" y="368"/>
                      <a:pt x="118" y="372"/>
                    </a:cubicBezTo>
                    <a:cubicBezTo>
                      <a:pt x="136" y="377"/>
                      <a:pt x="140" y="364"/>
                      <a:pt x="144" y="352"/>
                    </a:cubicBezTo>
                    <a:cubicBezTo>
                      <a:pt x="148" y="339"/>
                      <a:pt x="140" y="339"/>
                      <a:pt x="136" y="328"/>
                    </a:cubicBezTo>
                    <a:cubicBezTo>
                      <a:pt x="133" y="316"/>
                      <a:pt x="136" y="302"/>
                      <a:pt x="136" y="292"/>
                    </a:cubicBezTo>
                    <a:cubicBezTo>
                      <a:pt x="135" y="281"/>
                      <a:pt x="141" y="272"/>
                      <a:pt x="147" y="265"/>
                    </a:cubicBezTo>
                    <a:cubicBezTo>
                      <a:pt x="153" y="258"/>
                      <a:pt x="160" y="248"/>
                      <a:pt x="186" y="258"/>
                    </a:cubicBezTo>
                    <a:cubicBezTo>
                      <a:pt x="212" y="267"/>
                      <a:pt x="239" y="298"/>
                      <a:pt x="242" y="306"/>
                    </a:cubicBezTo>
                    <a:cubicBezTo>
                      <a:pt x="245" y="313"/>
                      <a:pt x="232" y="318"/>
                      <a:pt x="227" y="325"/>
                    </a:cubicBezTo>
                    <a:cubicBezTo>
                      <a:pt x="222" y="332"/>
                      <a:pt x="196" y="338"/>
                      <a:pt x="186" y="337"/>
                    </a:cubicBezTo>
                    <a:cubicBezTo>
                      <a:pt x="175" y="336"/>
                      <a:pt x="172" y="344"/>
                      <a:pt x="167" y="348"/>
                    </a:cubicBezTo>
                    <a:cubicBezTo>
                      <a:pt x="162" y="351"/>
                      <a:pt x="167" y="361"/>
                      <a:pt x="172" y="367"/>
                    </a:cubicBezTo>
                    <a:cubicBezTo>
                      <a:pt x="177" y="373"/>
                      <a:pt x="211" y="373"/>
                      <a:pt x="224" y="364"/>
                    </a:cubicBezTo>
                    <a:cubicBezTo>
                      <a:pt x="237" y="354"/>
                      <a:pt x="272" y="328"/>
                      <a:pt x="272" y="328"/>
                    </a:cubicBezTo>
                    <a:cubicBezTo>
                      <a:pt x="272" y="328"/>
                      <a:pt x="285" y="340"/>
                      <a:pt x="293" y="348"/>
                    </a:cubicBezTo>
                    <a:cubicBezTo>
                      <a:pt x="301" y="357"/>
                      <a:pt x="319" y="369"/>
                      <a:pt x="352" y="373"/>
                    </a:cubicBezTo>
                    <a:cubicBezTo>
                      <a:pt x="385" y="377"/>
                      <a:pt x="398" y="356"/>
                      <a:pt x="401" y="352"/>
                    </a:cubicBezTo>
                    <a:cubicBezTo>
                      <a:pt x="405" y="348"/>
                      <a:pt x="399" y="342"/>
                      <a:pt x="389" y="333"/>
                    </a:cubicBezTo>
                    <a:cubicBezTo>
                      <a:pt x="379" y="323"/>
                      <a:pt x="353" y="312"/>
                      <a:pt x="337" y="313"/>
                    </a:cubicBezTo>
                    <a:cubicBezTo>
                      <a:pt x="321" y="315"/>
                      <a:pt x="303" y="305"/>
                      <a:pt x="292" y="299"/>
                    </a:cubicBezTo>
                    <a:cubicBezTo>
                      <a:pt x="282" y="293"/>
                      <a:pt x="287" y="293"/>
                      <a:pt x="291" y="277"/>
                    </a:cubicBezTo>
                    <a:cubicBezTo>
                      <a:pt x="295" y="261"/>
                      <a:pt x="294" y="231"/>
                      <a:pt x="291" y="217"/>
                    </a:cubicBezTo>
                    <a:cubicBezTo>
                      <a:pt x="287" y="204"/>
                      <a:pt x="269" y="200"/>
                      <a:pt x="264" y="192"/>
                    </a:cubicBezTo>
                    <a:cubicBezTo>
                      <a:pt x="258" y="184"/>
                      <a:pt x="251" y="180"/>
                      <a:pt x="261" y="173"/>
                    </a:cubicBezTo>
                    <a:cubicBezTo>
                      <a:pt x="272" y="166"/>
                      <a:pt x="282" y="146"/>
                      <a:pt x="290" y="135"/>
                    </a:cubicBezTo>
                    <a:cubicBezTo>
                      <a:pt x="298" y="123"/>
                      <a:pt x="305" y="117"/>
                      <a:pt x="297" y="107"/>
                    </a:cubicBezTo>
                    <a:cubicBezTo>
                      <a:pt x="289" y="97"/>
                      <a:pt x="283" y="94"/>
                      <a:pt x="281" y="86"/>
                    </a:cubicBezTo>
                    <a:cubicBezTo>
                      <a:pt x="280" y="79"/>
                      <a:pt x="283" y="57"/>
                      <a:pt x="283" y="43"/>
                    </a:cubicBezTo>
                    <a:cubicBezTo>
                      <a:pt x="283" y="29"/>
                      <a:pt x="285" y="30"/>
                      <a:pt x="272" y="15"/>
                    </a:cubicBezTo>
                    <a:cubicBezTo>
                      <a:pt x="260" y="0"/>
                      <a:pt x="248" y="2"/>
                      <a:pt x="241" y="1"/>
                    </a:cubicBezTo>
                    <a:cubicBezTo>
                      <a:pt x="235" y="0"/>
                      <a:pt x="231" y="21"/>
                      <a:pt x="233" y="26"/>
                    </a:cubicBezTo>
                    <a:cubicBezTo>
                      <a:pt x="235" y="31"/>
                      <a:pt x="239" y="31"/>
                      <a:pt x="241" y="35"/>
                    </a:cubicBezTo>
                    <a:cubicBezTo>
                      <a:pt x="242" y="39"/>
                      <a:pt x="239" y="36"/>
                      <a:pt x="243" y="53"/>
                    </a:cubicBezTo>
                    <a:cubicBezTo>
                      <a:pt x="247" y="70"/>
                      <a:pt x="245" y="91"/>
                      <a:pt x="245" y="97"/>
                    </a:cubicBezTo>
                    <a:cubicBezTo>
                      <a:pt x="245" y="103"/>
                      <a:pt x="240" y="107"/>
                      <a:pt x="234" y="114"/>
                    </a:cubicBezTo>
                    <a:cubicBezTo>
                      <a:pt x="228" y="121"/>
                      <a:pt x="206" y="123"/>
                      <a:pt x="194" y="129"/>
                    </a:cubicBezTo>
                    <a:cubicBezTo>
                      <a:pt x="181" y="135"/>
                      <a:pt x="179" y="146"/>
                      <a:pt x="170" y="149"/>
                    </a:cubicBezTo>
                    <a:cubicBezTo>
                      <a:pt x="161" y="151"/>
                      <a:pt x="157" y="138"/>
                      <a:pt x="161" y="121"/>
                    </a:cubicBezTo>
                    <a:cubicBezTo>
                      <a:pt x="164" y="109"/>
                      <a:pt x="168" y="79"/>
                      <a:pt x="168" y="64"/>
                    </a:cubicBezTo>
                    <a:cubicBezTo>
                      <a:pt x="167" y="54"/>
                      <a:pt x="158" y="40"/>
                      <a:pt x="150" y="33"/>
                    </a:cubicBezTo>
                    <a:cubicBezTo>
                      <a:pt x="142" y="25"/>
                      <a:pt x="136" y="30"/>
                      <a:pt x="131" y="32"/>
                    </a:cubicBezTo>
                    <a:cubicBezTo>
                      <a:pt x="126" y="35"/>
                      <a:pt x="120" y="43"/>
                      <a:pt x="122" y="56"/>
                    </a:cubicBezTo>
                    <a:cubicBezTo>
                      <a:pt x="124" y="70"/>
                      <a:pt x="127" y="72"/>
                      <a:pt x="127" y="82"/>
                    </a:cubicBezTo>
                    <a:cubicBezTo>
                      <a:pt x="128" y="92"/>
                      <a:pt x="124" y="113"/>
                      <a:pt x="121" y="133"/>
                    </a:cubicBezTo>
                    <a:cubicBezTo>
                      <a:pt x="117" y="152"/>
                      <a:pt x="104" y="151"/>
                      <a:pt x="90" y="158"/>
                    </a:cubicBezTo>
                    <a:cubicBezTo>
                      <a:pt x="76" y="165"/>
                      <a:pt x="48" y="175"/>
                      <a:pt x="30" y="180"/>
                    </a:cubicBezTo>
                    <a:cubicBezTo>
                      <a:pt x="13" y="184"/>
                      <a:pt x="0" y="191"/>
                      <a:pt x="0" y="200"/>
                    </a:cubicBezTo>
                    <a:cubicBezTo>
                      <a:pt x="0" y="209"/>
                      <a:pt x="9" y="210"/>
                      <a:pt x="22" y="219"/>
                    </a:cubicBezTo>
                    <a:cubicBezTo>
                      <a:pt x="35" y="228"/>
                      <a:pt x="107" y="215"/>
                      <a:pt x="108" y="21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26" name="íŝļïḓè"/>
              <p:cNvSpPr/>
              <p:nvPr/>
            </p:nvSpPr>
            <p:spPr bwMode="auto">
              <a:xfrm>
                <a:off x="6220078" y="4756740"/>
                <a:ext cx="627063" cy="793750"/>
              </a:xfrm>
              <a:custGeom>
                <a:avLst/>
                <a:gdLst>
                  <a:gd name="T0" fmla="*/ 194 w 340"/>
                  <a:gd name="T1" fmla="*/ 225 h 430"/>
                  <a:gd name="T2" fmla="*/ 189 w 340"/>
                  <a:gd name="T3" fmla="*/ 204 h 430"/>
                  <a:gd name="T4" fmla="*/ 222 w 340"/>
                  <a:gd name="T5" fmla="*/ 196 h 430"/>
                  <a:gd name="T6" fmla="*/ 234 w 340"/>
                  <a:gd name="T7" fmla="*/ 215 h 430"/>
                  <a:gd name="T8" fmla="*/ 217 w 340"/>
                  <a:gd name="T9" fmla="*/ 231 h 430"/>
                  <a:gd name="T10" fmla="*/ 194 w 340"/>
                  <a:gd name="T11" fmla="*/ 225 h 430"/>
                  <a:gd name="T12" fmla="*/ 33 w 340"/>
                  <a:gd name="T13" fmla="*/ 228 h 430"/>
                  <a:gd name="T14" fmla="*/ 67 w 340"/>
                  <a:gd name="T15" fmla="*/ 224 h 430"/>
                  <a:gd name="T16" fmla="*/ 105 w 340"/>
                  <a:gd name="T17" fmla="*/ 194 h 430"/>
                  <a:gd name="T18" fmla="*/ 164 w 340"/>
                  <a:gd name="T19" fmla="*/ 151 h 430"/>
                  <a:gd name="T20" fmla="*/ 170 w 340"/>
                  <a:gd name="T21" fmla="*/ 163 h 430"/>
                  <a:gd name="T22" fmla="*/ 144 w 340"/>
                  <a:gd name="T23" fmla="*/ 203 h 430"/>
                  <a:gd name="T24" fmla="*/ 142 w 340"/>
                  <a:gd name="T25" fmla="*/ 250 h 430"/>
                  <a:gd name="T26" fmla="*/ 166 w 340"/>
                  <a:gd name="T27" fmla="*/ 278 h 430"/>
                  <a:gd name="T28" fmla="*/ 170 w 340"/>
                  <a:gd name="T29" fmla="*/ 300 h 430"/>
                  <a:gd name="T30" fmla="*/ 132 w 340"/>
                  <a:gd name="T31" fmla="*/ 347 h 430"/>
                  <a:gd name="T32" fmla="*/ 133 w 340"/>
                  <a:gd name="T33" fmla="*/ 397 h 430"/>
                  <a:gd name="T34" fmla="*/ 181 w 340"/>
                  <a:gd name="T35" fmla="*/ 410 h 430"/>
                  <a:gd name="T36" fmla="*/ 184 w 340"/>
                  <a:gd name="T37" fmla="*/ 375 h 430"/>
                  <a:gd name="T38" fmla="*/ 198 w 340"/>
                  <a:gd name="T39" fmla="*/ 374 h 430"/>
                  <a:gd name="T40" fmla="*/ 215 w 340"/>
                  <a:gd name="T41" fmla="*/ 416 h 430"/>
                  <a:gd name="T42" fmla="*/ 240 w 340"/>
                  <a:gd name="T43" fmla="*/ 406 h 430"/>
                  <a:gd name="T44" fmla="*/ 230 w 340"/>
                  <a:gd name="T45" fmla="*/ 341 h 430"/>
                  <a:gd name="T46" fmla="*/ 250 w 340"/>
                  <a:gd name="T47" fmla="*/ 322 h 430"/>
                  <a:gd name="T48" fmla="*/ 268 w 340"/>
                  <a:gd name="T49" fmla="*/ 373 h 430"/>
                  <a:gd name="T50" fmla="*/ 316 w 340"/>
                  <a:gd name="T51" fmla="*/ 385 h 430"/>
                  <a:gd name="T52" fmla="*/ 295 w 340"/>
                  <a:gd name="T53" fmla="*/ 310 h 430"/>
                  <a:gd name="T54" fmla="*/ 263 w 340"/>
                  <a:gd name="T55" fmla="*/ 288 h 430"/>
                  <a:gd name="T56" fmla="*/ 264 w 340"/>
                  <a:gd name="T57" fmla="*/ 259 h 430"/>
                  <a:gd name="T58" fmla="*/ 265 w 340"/>
                  <a:gd name="T59" fmla="*/ 233 h 430"/>
                  <a:gd name="T60" fmla="*/ 300 w 340"/>
                  <a:gd name="T61" fmla="*/ 199 h 430"/>
                  <a:gd name="T62" fmla="*/ 275 w 340"/>
                  <a:gd name="T63" fmla="*/ 161 h 430"/>
                  <a:gd name="T64" fmla="*/ 217 w 340"/>
                  <a:gd name="T65" fmla="*/ 159 h 430"/>
                  <a:gd name="T66" fmla="*/ 270 w 340"/>
                  <a:gd name="T67" fmla="*/ 132 h 430"/>
                  <a:gd name="T68" fmla="*/ 316 w 340"/>
                  <a:gd name="T69" fmla="*/ 126 h 430"/>
                  <a:gd name="T70" fmla="*/ 332 w 340"/>
                  <a:gd name="T71" fmla="*/ 110 h 430"/>
                  <a:gd name="T72" fmla="*/ 321 w 340"/>
                  <a:gd name="T73" fmla="*/ 75 h 430"/>
                  <a:gd name="T74" fmla="*/ 256 w 340"/>
                  <a:gd name="T75" fmla="*/ 74 h 430"/>
                  <a:gd name="T76" fmla="*/ 240 w 340"/>
                  <a:gd name="T77" fmla="*/ 51 h 430"/>
                  <a:gd name="T78" fmla="*/ 212 w 340"/>
                  <a:gd name="T79" fmla="*/ 9 h 430"/>
                  <a:gd name="T80" fmla="*/ 190 w 340"/>
                  <a:gd name="T81" fmla="*/ 6 h 430"/>
                  <a:gd name="T82" fmla="*/ 174 w 340"/>
                  <a:gd name="T83" fmla="*/ 34 h 430"/>
                  <a:gd name="T84" fmla="*/ 183 w 340"/>
                  <a:gd name="T85" fmla="*/ 70 h 430"/>
                  <a:gd name="T86" fmla="*/ 172 w 340"/>
                  <a:gd name="T87" fmla="*/ 98 h 430"/>
                  <a:gd name="T88" fmla="*/ 65 w 340"/>
                  <a:gd name="T89" fmla="*/ 161 h 430"/>
                  <a:gd name="T90" fmla="*/ 21 w 340"/>
                  <a:gd name="T91" fmla="*/ 171 h 430"/>
                  <a:gd name="T92" fmla="*/ 10 w 340"/>
                  <a:gd name="T93" fmla="*/ 198 h 430"/>
                  <a:gd name="T94" fmla="*/ 33 w 340"/>
                  <a:gd name="T95" fmla="*/ 228 h 4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340" h="430">
                    <a:moveTo>
                      <a:pt x="194" y="225"/>
                    </a:moveTo>
                    <a:cubicBezTo>
                      <a:pt x="194" y="225"/>
                      <a:pt x="178" y="212"/>
                      <a:pt x="189" y="204"/>
                    </a:cubicBezTo>
                    <a:cubicBezTo>
                      <a:pt x="201" y="196"/>
                      <a:pt x="211" y="188"/>
                      <a:pt x="222" y="196"/>
                    </a:cubicBezTo>
                    <a:cubicBezTo>
                      <a:pt x="234" y="203"/>
                      <a:pt x="238" y="207"/>
                      <a:pt x="234" y="215"/>
                    </a:cubicBezTo>
                    <a:cubicBezTo>
                      <a:pt x="230" y="222"/>
                      <a:pt x="228" y="229"/>
                      <a:pt x="217" y="231"/>
                    </a:cubicBezTo>
                    <a:cubicBezTo>
                      <a:pt x="204" y="230"/>
                      <a:pt x="194" y="225"/>
                      <a:pt x="194" y="225"/>
                    </a:cubicBezTo>
                    <a:close/>
                    <a:moveTo>
                      <a:pt x="33" y="228"/>
                    </a:moveTo>
                    <a:cubicBezTo>
                      <a:pt x="40" y="229"/>
                      <a:pt x="52" y="231"/>
                      <a:pt x="67" y="224"/>
                    </a:cubicBezTo>
                    <a:cubicBezTo>
                      <a:pt x="82" y="216"/>
                      <a:pt x="91" y="208"/>
                      <a:pt x="105" y="194"/>
                    </a:cubicBezTo>
                    <a:cubicBezTo>
                      <a:pt x="119" y="180"/>
                      <a:pt x="153" y="155"/>
                      <a:pt x="164" y="151"/>
                    </a:cubicBezTo>
                    <a:cubicBezTo>
                      <a:pt x="176" y="146"/>
                      <a:pt x="176" y="155"/>
                      <a:pt x="170" y="163"/>
                    </a:cubicBezTo>
                    <a:cubicBezTo>
                      <a:pt x="164" y="171"/>
                      <a:pt x="150" y="188"/>
                      <a:pt x="144" y="203"/>
                    </a:cubicBezTo>
                    <a:cubicBezTo>
                      <a:pt x="139" y="218"/>
                      <a:pt x="134" y="224"/>
                      <a:pt x="142" y="250"/>
                    </a:cubicBezTo>
                    <a:cubicBezTo>
                      <a:pt x="149" y="275"/>
                      <a:pt x="160" y="275"/>
                      <a:pt x="166" y="278"/>
                    </a:cubicBezTo>
                    <a:cubicBezTo>
                      <a:pt x="172" y="281"/>
                      <a:pt x="176" y="301"/>
                      <a:pt x="170" y="300"/>
                    </a:cubicBezTo>
                    <a:cubicBezTo>
                      <a:pt x="164" y="299"/>
                      <a:pt x="136" y="327"/>
                      <a:pt x="132" y="347"/>
                    </a:cubicBezTo>
                    <a:cubicBezTo>
                      <a:pt x="127" y="366"/>
                      <a:pt x="123" y="375"/>
                      <a:pt x="133" y="397"/>
                    </a:cubicBezTo>
                    <a:cubicBezTo>
                      <a:pt x="144" y="419"/>
                      <a:pt x="174" y="413"/>
                      <a:pt x="181" y="410"/>
                    </a:cubicBezTo>
                    <a:cubicBezTo>
                      <a:pt x="189" y="407"/>
                      <a:pt x="185" y="395"/>
                      <a:pt x="184" y="375"/>
                    </a:cubicBezTo>
                    <a:cubicBezTo>
                      <a:pt x="182" y="355"/>
                      <a:pt x="192" y="364"/>
                      <a:pt x="198" y="374"/>
                    </a:cubicBezTo>
                    <a:cubicBezTo>
                      <a:pt x="204" y="384"/>
                      <a:pt x="203" y="402"/>
                      <a:pt x="215" y="416"/>
                    </a:cubicBezTo>
                    <a:cubicBezTo>
                      <a:pt x="226" y="430"/>
                      <a:pt x="235" y="419"/>
                      <a:pt x="240" y="406"/>
                    </a:cubicBezTo>
                    <a:cubicBezTo>
                      <a:pt x="245" y="393"/>
                      <a:pt x="232" y="357"/>
                      <a:pt x="230" y="341"/>
                    </a:cubicBezTo>
                    <a:cubicBezTo>
                      <a:pt x="229" y="326"/>
                      <a:pt x="238" y="322"/>
                      <a:pt x="250" y="322"/>
                    </a:cubicBezTo>
                    <a:cubicBezTo>
                      <a:pt x="262" y="322"/>
                      <a:pt x="248" y="347"/>
                      <a:pt x="268" y="373"/>
                    </a:cubicBezTo>
                    <a:cubicBezTo>
                      <a:pt x="287" y="399"/>
                      <a:pt x="292" y="396"/>
                      <a:pt x="316" y="385"/>
                    </a:cubicBezTo>
                    <a:cubicBezTo>
                      <a:pt x="340" y="375"/>
                      <a:pt x="311" y="327"/>
                      <a:pt x="295" y="310"/>
                    </a:cubicBezTo>
                    <a:cubicBezTo>
                      <a:pt x="279" y="294"/>
                      <a:pt x="263" y="294"/>
                      <a:pt x="263" y="288"/>
                    </a:cubicBezTo>
                    <a:cubicBezTo>
                      <a:pt x="263" y="282"/>
                      <a:pt x="266" y="267"/>
                      <a:pt x="264" y="259"/>
                    </a:cubicBezTo>
                    <a:cubicBezTo>
                      <a:pt x="262" y="251"/>
                      <a:pt x="258" y="239"/>
                      <a:pt x="265" y="233"/>
                    </a:cubicBezTo>
                    <a:cubicBezTo>
                      <a:pt x="273" y="226"/>
                      <a:pt x="301" y="222"/>
                      <a:pt x="300" y="199"/>
                    </a:cubicBezTo>
                    <a:cubicBezTo>
                      <a:pt x="299" y="177"/>
                      <a:pt x="294" y="175"/>
                      <a:pt x="275" y="161"/>
                    </a:cubicBezTo>
                    <a:cubicBezTo>
                      <a:pt x="257" y="148"/>
                      <a:pt x="216" y="168"/>
                      <a:pt x="217" y="159"/>
                    </a:cubicBezTo>
                    <a:cubicBezTo>
                      <a:pt x="218" y="150"/>
                      <a:pt x="250" y="138"/>
                      <a:pt x="270" y="132"/>
                    </a:cubicBezTo>
                    <a:cubicBezTo>
                      <a:pt x="290" y="125"/>
                      <a:pt x="306" y="126"/>
                      <a:pt x="316" y="126"/>
                    </a:cubicBezTo>
                    <a:cubicBezTo>
                      <a:pt x="326" y="126"/>
                      <a:pt x="326" y="118"/>
                      <a:pt x="332" y="110"/>
                    </a:cubicBezTo>
                    <a:cubicBezTo>
                      <a:pt x="337" y="102"/>
                      <a:pt x="334" y="88"/>
                      <a:pt x="321" y="75"/>
                    </a:cubicBezTo>
                    <a:cubicBezTo>
                      <a:pt x="308" y="61"/>
                      <a:pt x="263" y="74"/>
                      <a:pt x="256" y="74"/>
                    </a:cubicBezTo>
                    <a:cubicBezTo>
                      <a:pt x="250" y="74"/>
                      <a:pt x="250" y="63"/>
                      <a:pt x="240" y="51"/>
                    </a:cubicBezTo>
                    <a:cubicBezTo>
                      <a:pt x="229" y="38"/>
                      <a:pt x="220" y="18"/>
                      <a:pt x="212" y="9"/>
                    </a:cubicBezTo>
                    <a:cubicBezTo>
                      <a:pt x="205" y="0"/>
                      <a:pt x="203" y="8"/>
                      <a:pt x="190" y="6"/>
                    </a:cubicBezTo>
                    <a:cubicBezTo>
                      <a:pt x="176" y="3"/>
                      <a:pt x="165" y="15"/>
                      <a:pt x="174" y="34"/>
                    </a:cubicBezTo>
                    <a:cubicBezTo>
                      <a:pt x="183" y="53"/>
                      <a:pt x="183" y="56"/>
                      <a:pt x="183" y="70"/>
                    </a:cubicBezTo>
                    <a:cubicBezTo>
                      <a:pt x="183" y="84"/>
                      <a:pt x="197" y="88"/>
                      <a:pt x="172" y="98"/>
                    </a:cubicBezTo>
                    <a:cubicBezTo>
                      <a:pt x="147" y="108"/>
                      <a:pt x="75" y="152"/>
                      <a:pt x="65" y="161"/>
                    </a:cubicBezTo>
                    <a:cubicBezTo>
                      <a:pt x="55" y="170"/>
                      <a:pt x="26" y="169"/>
                      <a:pt x="21" y="171"/>
                    </a:cubicBezTo>
                    <a:cubicBezTo>
                      <a:pt x="15" y="173"/>
                      <a:pt x="0" y="170"/>
                      <a:pt x="10" y="198"/>
                    </a:cubicBezTo>
                    <a:cubicBezTo>
                      <a:pt x="24" y="238"/>
                      <a:pt x="26" y="227"/>
                      <a:pt x="33" y="22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27" name="ïs1îḋè"/>
              <p:cNvSpPr/>
              <p:nvPr/>
            </p:nvSpPr>
            <p:spPr bwMode="auto">
              <a:xfrm>
                <a:off x="7263066" y="4780553"/>
                <a:ext cx="674688" cy="863600"/>
              </a:xfrm>
              <a:custGeom>
                <a:avLst/>
                <a:gdLst>
                  <a:gd name="T0" fmla="*/ 258 w 366"/>
                  <a:gd name="T1" fmla="*/ 136 h 468"/>
                  <a:gd name="T2" fmla="*/ 270 w 366"/>
                  <a:gd name="T3" fmla="*/ 115 h 468"/>
                  <a:gd name="T4" fmla="*/ 287 w 366"/>
                  <a:gd name="T5" fmla="*/ 153 h 468"/>
                  <a:gd name="T6" fmla="*/ 200 w 366"/>
                  <a:gd name="T7" fmla="*/ 103 h 468"/>
                  <a:gd name="T8" fmla="*/ 227 w 366"/>
                  <a:gd name="T9" fmla="*/ 122 h 468"/>
                  <a:gd name="T10" fmla="*/ 225 w 366"/>
                  <a:gd name="T11" fmla="*/ 167 h 468"/>
                  <a:gd name="T12" fmla="*/ 215 w 366"/>
                  <a:gd name="T13" fmla="*/ 201 h 468"/>
                  <a:gd name="T14" fmla="*/ 197 w 366"/>
                  <a:gd name="T15" fmla="*/ 167 h 468"/>
                  <a:gd name="T16" fmla="*/ 204 w 366"/>
                  <a:gd name="T17" fmla="*/ 133 h 468"/>
                  <a:gd name="T18" fmla="*/ 200 w 366"/>
                  <a:gd name="T19" fmla="*/ 103 h 468"/>
                  <a:gd name="T20" fmla="*/ 271 w 366"/>
                  <a:gd name="T21" fmla="*/ 175 h 468"/>
                  <a:gd name="T22" fmla="*/ 286 w 366"/>
                  <a:gd name="T23" fmla="*/ 190 h 468"/>
                  <a:gd name="T24" fmla="*/ 146 w 366"/>
                  <a:gd name="T25" fmla="*/ 109 h 468"/>
                  <a:gd name="T26" fmla="*/ 87 w 366"/>
                  <a:gd name="T27" fmla="*/ 173 h 468"/>
                  <a:gd name="T28" fmla="*/ 7 w 366"/>
                  <a:gd name="T29" fmla="*/ 236 h 468"/>
                  <a:gd name="T30" fmla="*/ 111 w 366"/>
                  <a:gd name="T31" fmla="*/ 239 h 468"/>
                  <a:gd name="T32" fmla="*/ 108 w 366"/>
                  <a:gd name="T33" fmla="*/ 279 h 468"/>
                  <a:gd name="T34" fmla="*/ 110 w 366"/>
                  <a:gd name="T35" fmla="*/ 332 h 468"/>
                  <a:gd name="T36" fmla="*/ 139 w 366"/>
                  <a:gd name="T37" fmla="*/ 316 h 468"/>
                  <a:gd name="T38" fmla="*/ 159 w 366"/>
                  <a:gd name="T39" fmla="*/ 326 h 468"/>
                  <a:gd name="T40" fmla="*/ 189 w 366"/>
                  <a:gd name="T41" fmla="*/ 330 h 468"/>
                  <a:gd name="T42" fmla="*/ 217 w 366"/>
                  <a:gd name="T43" fmla="*/ 281 h 468"/>
                  <a:gd name="T44" fmla="*/ 284 w 366"/>
                  <a:gd name="T45" fmla="*/ 237 h 468"/>
                  <a:gd name="T46" fmla="*/ 287 w 366"/>
                  <a:gd name="T47" fmla="*/ 396 h 468"/>
                  <a:gd name="T48" fmla="*/ 284 w 366"/>
                  <a:gd name="T49" fmla="*/ 461 h 468"/>
                  <a:gd name="T50" fmla="*/ 319 w 366"/>
                  <a:gd name="T51" fmla="*/ 393 h 468"/>
                  <a:gd name="T52" fmla="*/ 327 w 366"/>
                  <a:gd name="T53" fmla="*/ 227 h 468"/>
                  <a:gd name="T54" fmla="*/ 363 w 366"/>
                  <a:gd name="T55" fmla="*/ 202 h 468"/>
                  <a:gd name="T56" fmla="*/ 324 w 366"/>
                  <a:gd name="T57" fmla="*/ 162 h 468"/>
                  <a:gd name="T58" fmla="*/ 330 w 366"/>
                  <a:gd name="T59" fmla="*/ 85 h 468"/>
                  <a:gd name="T60" fmla="*/ 324 w 366"/>
                  <a:gd name="T61" fmla="*/ 23 h 468"/>
                  <a:gd name="T62" fmla="*/ 275 w 366"/>
                  <a:gd name="T63" fmla="*/ 29 h 468"/>
                  <a:gd name="T64" fmla="*/ 286 w 366"/>
                  <a:gd name="T65" fmla="*/ 69 h 468"/>
                  <a:gd name="T66" fmla="*/ 253 w 366"/>
                  <a:gd name="T67" fmla="*/ 65 h 468"/>
                  <a:gd name="T68" fmla="*/ 212 w 366"/>
                  <a:gd name="T69" fmla="*/ 52 h 468"/>
                  <a:gd name="T70" fmla="*/ 115 w 366"/>
                  <a:gd name="T71" fmla="*/ 68 h 468"/>
                  <a:gd name="T72" fmla="*/ 30 w 366"/>
                  <a:gd name="T73" fmla="*/ 163 h 468"/>
                  <a:gd name="T74" fmla="*/ 96 w 366"/>
                  <a:gd name="T75" fmla="*/ 132 h 4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366" h="468">
                    <a:moveTo>
                      <a:pt x="270" y="152"/>
                    </a:moveTo>
                    <a:cubicBezTo>
                      <a:pt x="270" y="152"/>
                      <a:pt x="273" y="146"/>
                      <a:pt x="258" y="136"/>
                    </a:cubicBezTo>
                    <a:cubicBezTo>
                      <a:pt x="242" y="126"/>
                      <a:pt x="247" y="126"/>
                      <a:pt x="254" y="122"/>
                    </a:cubicBezTo>
                    <a:cubicBezTo>
                      <a:pt x="261" y="119"/>
                      <a:pt x="262" y="114"/>
                      <a:pt x="270" y="115"/>
                    </a:cubicBezTo>
                    <a:cubicBezTo>
                      <a:pt x="279" y="116"/>
                      <a:pt x="285" y="112"/>
                      <a:pt x="287" y="120"/>
                    </a:cubicBezTo>
                    <a:cubicBezTo>
                      <a:pt x="289" y="128"/>
                      <a:pt x="291" y="151"/>
                      <a:pt x="287" y="153"/>
                    </a:cubicBezTo>
                    <a:cubicBezTo>
                      <a:pt x="284" y="155"/>
                      <a:pt x="271" y="153"/>
                      <a:pt x="270" y="152"/>
                    </a:cubicBezTo>
                    <a:close/>
                    <a:moveTo>
                      <a:pt x="200" y="103"/>
                    </a:moveTo>
                    <a:cubicBezTo>
                      <a:pt x="200" y="99"/>
                      <a:pt x="207" y="96"/>
                      <a:pt x="216" y="102"/>
                    </a:cubicBezTo>
                    <a:cubicBezTo>
                      <a:pt x="225" y="108"/>
                      <a:pt x="228" y="113"/>
                      <a:pt x="227" y="122"/>
                    </a:cubicBezTo>
                    <a:cubicBezTo>
                      <a:pt x="225" y="131"/>
                      <a:pt x="222" y="135"/>
                      <a:pt x="223" y="145"/>
                    </a:cubicBezTo>
                    <a:cubicBezTo>
                      <a:pt x="223" y="156"/>
                      <a:pt x="217" y="162"/>
                      <a:pt x="225" y="167"/>
                    </a:cubicBezTo>
                    <a:cubicBezTo>
                      <a:pt x="232" y="173"/>
                      <a:pt x="235" y="171"/>
                      <a:pt x="233" y="185"/>
                    </a:cubicBezTo>
                    <a:cubicBezTo>
                      <a:pt x="231" y="202"/>
                      <a:pt x="214" y="210"/>
                      <a:pt x="215" y="201"/>
                    </a:cubicBezTo>
                    <a:cubicBezTo>
                      <a:pt x="215" y="192"/>
                      <a:pt x="220" y="185"/>
                      <a:pt x="213" y="176"/>
                    </a:cubicBezTo>
                    <a:cubicBezTo>
                      <a:pt x="205" y="167"/>
                      <a:pt x="204" y="178"/>
                      <a:pt x="197" y="167"/>
                    </a:cubicBezTo>
                    <a:cubicBezTo>
                      <a:pt x="191" y="155"/>
                      <a:pt x="195" y="154"/>
                      <a:pt x="199" y="152"/>
                    </a:cubicBezTo>
                    <a:cubicBezTo>
                      <a:pt x="204" y="149"/>
                      <a:pt x="209" y="147"/>
                      <a:pt x="204" y="133"/>
                    </a:cubicBezTo>
                    <a:cubicBezTo>
                      <a:pt x="199" y="119"/>
                      <a:pt x="198" y="127"/>
                      <a:pt x="197" y="119"/>
                    </a:cubicBezTo>
                    <a:cubicBezTo>
                      <a:pt x="196" y="112"/>
                      <a:pt x="200" y="107"/>
                      <a:pt x="200" y="103"/>
                    </a:cubicBezTo>
                    <a:close/>
                    <a:moveTo>
                      <a:pt x="246" y="206"/>
                    </a:moveTo>
                    <a:cubicBezTo>
                      <a:pt x="243" y="205"/>
                      <a:pt x="264" y="181"/>
                      <a:pt x="271" y="175"/>
                    </a:cubicBezTo>
                    <a:cubicBezTo>
                      <a:pt x="277" y="170"/>
                      <a:pt x="289" y="166"/>
                      <a:pt x="288" y="173"/>
                    </a:cubicBezTo>
                    <a:cubicBezTo>
                      <a:pt x="287" y="180"/>
                      <a:pt x="291" y="185"/>
                      <a:pt x="286" y="190"/>
                    </a:cubicBezTo>
                    <a:cubicBezTo>
                      <a:pt x="282" y="195"/>
                      <a:pt x="250" y="207"/>
                      <a:pt x="246" y="206"/>
                    </a:cubicBezTo>
                    <a:close/>
                    <a:moveTo>
                      <a:pt x="146" y="109"/>
                    </a:moveTo>
                    <a:cubicBezTo>
                      <a:pt x="146" y="114"/>
                      <a:pt x="141" y="124"/>
                      <a:pt x="134" y="134"/>
                    </a:cubicBezTo>
                    <a:cubicBezTo>
                      <a:pt x="127" y="144"/>
                      <a:pt x="103" y="162"/>
                      <a:pt x="87" y="173"/>
                    </a:cubicBezTo>
                    <a:cubicBezTo>
                      <a:pt x="70" y="183"/>
                      <a:pt x="23" y="206"/>
                      <a:pt x="16" y="212"/>
                    </a:cubicBezTo>
                    <a:cubicBezTo>
                      <a:pt x="10" y="218"/>
                      <a:pt x="0" y="213"/>
                      <a:pt x="7" y="236"/>
                    </a:cubicBezTo>
                    <a:cubicBezTo>
                      <a:pt x="13" y="258"/>
                      <a:pt x="24" y="253"/>
                      <a:pt x="55" y="252"/>
                    </a:cubicBezTo>
                    <a:cubicBezTo>
                      <a:pt x="85" y="250"/>
                      <a:pt x="106" y="237"/>
                      <a:pt x="111" y="239"/>
                    </a:cubicBezTo>
                    <a:cubicBezTo>
                      <a:pt x="116" y="242"/>
                      <a:pt x="119" y="251"/>
                      <a:pt x="119" y="259"/>
                    </a:cubicBezTo>
                    <a:cubicBezTo>
                      <a:pt x="120" y="266"/>
                      <a:pt x="116" y="270"/>
                      <a:pt x="108" y="279"/>
                    </a:cubicBezTo>
                    <a:cubicBezTo>
                      <a:pt x="100" y="288"/>
                      <a:pt x="100" y="303"/>
                      <a:pt x="100" y="311"/>
                    </a:cubicBezTo>
                    <a:cubicBezTo>
                      <a:pt x="101" y="318"/>
                      <a:pt x="104" y="325"/>
                      <a:pt x="110" y="332"/>
                    </a:cubicBezTo>
                    <a:cubicBezTo>
                      <a:pt x="117" y="338"/>
                      <a:pt x="119" y="333"/>
                      <a:pt x="127" y="333"/>
                    </a:cubicBezTo>
                    <a:cubicBezTo>
                      <a:pt x="134" y="332"/>
                      <a:pt x="138" y="323"/>
                      <a:pt x="139" y="316"/>
                    </a:cubicBezTo>
                    <a:cubicBezTo>
                      <a:pt x="140" y="308"/>
                      <a:pt x="148" y="313"/>
                      <a:pt x="155" y="314"/>
                    </a:cubicBezTo>
                    <a:cubicBezTo>
                      <a:pt x="161" y="316"/>
                      <a:pt x="158" y="318"/>
                      <a:pt x="159" y="326"/>
                    </a:cubicBezTo>
                    <a:cubicBezTo>
                      <a:pt x="159" y="334"/>
                      <a:pt x="159" y="336"/>
                      <a:pt x="168" y="339"/>
                    </a:cubicBezTo>
                    <a:cubicBezTo>
                      <a:pt x="177" y="343"/>
                      <a:pt x="178" y="342"/>
                      <a:pt x="189" y="330"/>
                    </a:cubicBezTo>
                    <a:cubicBezTo>
                      <a:pt x="199" y="319"/>
                      <a:pt x="187" y="291"/>
                      <a:pt x="193" y="292"/>
                    </a:cubicBezTo>
                    <a:cubicBezTo>
                      <a:pt x="198" y="293"/>
                      <a:pt x="209" y="289"/>
                      <a:pt x="217" y="281"/>
                    </a:cubicBezTo>
                    <a:cubicBezTo>
                      <a:pt x="225" y="273"/>
                      <a:pt x="232" y="272"/>
                      <a:pt x="243" y="263"/>
                    </a:cubicBezTo>
                    <a:cubicBezTo>
                      <a:pt x="253" y="254"/>
                      <a:pt x="278" y="233"/>
                      <a:pt x="284" y="237"/>
                    </a:cubicBezTo>
                    <a:cubicBezTo>
                      <a:pt x="290" y="240"/>
                      <a:pt x="285" y="282"/>
                      <a:pt x="286" y="321"/>
                    </a:cubicBezTo>
                    <a:cubicBezTo>
                      <a:pt x="288" y="361"/>
                      <a:pt x="286" y="379"/>
                      <a:pt x="287" y="396"/>
                    </a:cubicBezTo>
                    <a:cubicBezTo>
                      <a:pt x="289" y="413"/>
                      <a:pt x="278" y="425"/>
                      <a:pt x="278" y="434"/>
                    </a:cubicBezTo>
                    <a:cubicBezTo>
                      <a:pt x="277" y="443"/>
                      <a:pt x="278" y="454"/>
                      <a:pt x="284" y="461"/>
                    </a:cubicBezTo>
                    <a:cubicBezTo>
                      <a:pt x="291" y="468"/>
                      <a:pt x="296" y="458"/>
                      <a:pt x="305" y="449"/>
                    </a:cubicBezTo>
                    <a:cubicBezTo>
                      <a:pt x="314" y="440"/>
                      <a:pt x="315" y="424"/>
                      <a:pt x="319" y="393"/>
                    </a:cubicBezTo>
                    <a:cubicBezTo>
                      <a:pt x="323" y="362"/>
                      <a:pt x="318" y="269"/>
                      <a:pt x="320" y="252"/>
                    </a:cubicBezTo>
                    <a:cubicBezTo>
                      <a:pt x="321" y="236"/>
                      <a:pt x="323" y="232"/>
                      <a:pt x="327" y="227"/>
                    </a:cubicBezTo>
                    <a:cubicBezTo>
                      <a:pt x="332" y="222"/>
                      <a:pt x="332" y="212"/>
                      <a:pt x="340" y="211"/>
                    </a:cubicBezTo>
                    <a:cubicBezTo>
                      <a:pt x="349" y="210"/>
                      <a:pt x="360" y="212"/>
                      <a:pt x="363" y="202"/>
                    </a:cubicBezTo>
                    <a:cubicBezTo>
                      <a:pt x="366" y="192"/>
                      <a:pt x="364" y="182"/>
                      <a:pt x="358" y="177"/>
                    </a:cubicBezTo>
                    <a:cubicBezTo>
                      <a:pt x="352" y="172"/>
                      <a:pt x="326" y="167"/>
                      <a:pt x="324" y="162"/>
                    </a:cubicBezTo>
                    <a:cubicBezTo>
                      <a:pt x="322" y="158"/>
                      <a:pt x="323" y="119"/>
                      <a:pt x="322" y="108"/>
                    </a:cubicBezTo>
                    <a:cubicBezTo>
                      <a:pt x="322" y="96"/>
                      <a:pt x="324" y="98"/>
                      <a:pt x="330" y="85"/>
                    </a:cubicBezTo>
                    <a:cubicBezTo>
                      <a:pt x="336" y="73"/>
                      <a:pt x="333" y="65"/>
                      <a:pt x="334" y="48"/>
                    </a:cubicBezTo>
                    <a:cubicBezTo>
                      <a:pt x="334" y="32"/>
                      <a:pt x="334" y="33"/>
                      <a:pt x="324" y="23"/>
                    </a:cubicBezTo>
                    <a:cubicBezTo>
                      <a:pt x="315" y="14"/>
                      <a:pt x="306" y="6"/>
                      <a:pt x="292" y="3"/>
                    </a:cubicBezTo>
                    <a:cubicBezTo>
                      <a:pt x="278" y="0"/>
                      <a:pt x="274" y="12"/>
                      <a:pt x="275" y="29"/>
                    </a:cubicBezTo>
                    <a:cubicBezTo>
                      <a:pt x="275" y="47"/>
                      <a:pt x="278" y="37"/>
                      <a:pt x="282" y="43"/>
                    </a:cubicBezTo>
                    <a:cubicBezTo>
                      <a:pt x="286" y="49"/>
                      <a:pt x="285" y="62"/>
                      <a:pt x="286" y="69"/>
                    </a:cubicBezTo>
                    <a:cubicBezTo>
                      <a:pt x="287" y="76"/>
                      <a:pt x="283" y="77"/>
                      <a:pt x="274" y="77"/>
                    </a:cubicBezTo>
                    <a:cubicBezTo>
                      <a:pt x="265" y="78"/>
                      <a:pt x="268" y="69"/>
                      <a:pt x="253" y="65"/>
                    </a:cubicBezTo>
                    <a:cubicBezTo>
                      <a:pt x="238" y="60"/>
                      <a:pt x="225" y="74"/>
                      <a:pt x="218" y="72"/>
                    </a:cubicBezTo>
                    <a:cubicBezTo>
                      <a:pt x="212" y="71"/>
                      <a:pt x="215" y="68"/>
                      <a:pt x="212" y="52"/>
                    </a:cubicBezTo>
                    <a:cubicBezTo>
                      <a:pt x="209" y="36"/>
                      <a:pt x="191" y="26"/>
                      <a:pt x="177" y="26"/>
                    </a:cubicBezTo>
                    <a:cubicBezTo>
                      <a:pt x="164" y="26"/>
                      <a:pt x="135" y="52"/>
                      <a:pt x="115" y="68"/>
                    </a:cubicBezTo>
                    <a:cubicBezTo>
                      <a:pt x="96" y="84"/>
                      <a:pt x="55" y="129"/>
                      <a:pt x="47" y="139"/>
                    </a:cubicBezTo>
                    <a:cubicBezTo>
                      <a:pt x="39" y="149"/>
                      <a:pt x="30" y="156"/>
                      <a:pt x="30" y="163"/>
                    </a:cubicBezTo>
                    <a:cubicBezTo>
                      <a:pt x="30" y="170"/>
                      <a:pt x="28" y="170"/>
                      <a:pt x="39" y="172"/>
                    </a:cubicBezTo>
                    <a:cubicBezTo>
                      <a:pt x="49" y="174"/>
                      <a:pt x="64" y="154"/>
                      <a:pt x="96" y="132"/>
                    </a:cubicBezTo>
                    <a:cubicBezTo>
                      <a:pt x="128" y="110"/>
                      <a:pt x="147" y="103"/>
                      <a:pt x="146" y="10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28" name="îš1ïdè"/>
              <p:cNvSpPr/>
              <p:nvPr/>
            </p:nvSpPr>
            <p:spPr bwMode="auto">
              <a:xfrm>
                <a:off x="5180266" y="4845640"/>
                <a:ext cx="635000" cy="660400"/>
              </a:xfrm>
              <a:custGeom>
                <a:avLst/>
                <a:gdLst>
                  <a:gd name="T0" fmla="*/ 5 w 344"/>
                  <a:gd name="T1" fmla="*/ 147 h 358"/>
                  <a:gd name="T2" fmla="*/ 38 w 344"/>
                  <a:gd name="T3" fmla="*/ 142 h 358"/>
                  <a:gd name="T4" fmla="*/ 53 w 344"/>
                  <a:gd name="T5" fmla="*/ 125 h 358"/>
                  <a:gd name="T6" fmla="*/ 43 w 344"/>
                  <a:gd name="T7" fmla="*/ 70 h 358"/>
                  <a:gd name="T8" fmla="*/ 48 w 344"/>
                  <a:gd name="T9" fmla="*/ 43 h 358"/>
                  <a:gd name="T10" fmla="*/ 76 w 344"/>
                  <a:gd name="T11" fmla="*/ 45 h 358"/>
                  <a:gd name="T12" fmla="*/ 122 w 344"/>
                  <a:gd name="T13" fmla="*/ 89 h 358"/>
                  <a:gd name="T14" fmla="*/ 122 w 344"/>
                  <a:gd name="T15" fmla="*/ 185 h 358"/>
                  <a:gd name="T16" fmla="*/ 141 w 344"/>
                  <a:gd name="T17" fmla="*/ 192 h 358"/>
                  <a:gd name="T18" fmla="*/ 231 w 344"/>
                  <a:gd name="T19" fmla="*/ 135 h 358"/>
                  <a:gd name="T20" fmla="*/ 241 w 344"/>
                  <a:gd name="T21" fmla="*/ 87 h 358"/>
                  <a:gd name="T22" fmla="*/ 234 w 344"/>
                  <a:gd name="T23" fmla="*/ 48 h 358"/>
                  <a:gd name="T24" fmla="*/ 263 w 344"/>
                  <a:gd name="T25" fmla="*/ 17 h 358"/>
                  <a:gd name="T26" fmla="*/ 298 w 344"/>
                  <a:gd name="T27" fmla="*/ 76 h 358"/>
                  <a:gd name="T28" fmla="*/ 292 w 344"/>
                  <a:gd name="T29" fmla="*/ 111 h 358"/>
                  <a:gd name="T30" fmla="*/ 317 w 344"/>
                  <a:gd name="T31" fmla="*/ 138 h 358"/>
                  <a:gd name="T32" fmla="*/ 292 w 344"/>
                  <a:gd name="T33" fmla="*/ 181 h 358"/>
                  <a:gd name="T34" fmla="*/ 270 w 344"/>
                  <a:gd name="T35" fmla="*/ 217 h 358"/>
                  <a:gd name="T36" fmla="*/ 276 w 344"/>
                  <a:gd name="T37" fmla="*/ 252 h 358"/>
                  <a:gd name="T38" fmla="*/ 334 w 344"/>
                  <a:gd name="T39" fmla="*/ 270 h 358"/>
                  <a:gd name="T40" fmla="*/ 333 w 344"/>
                  <a:gd name="T41" fmla="*/ 304 h 358"/>
                  <a:gd name="T42" fmla="*/ 226 w 344"/>
                  <a:gd name="T43" fmla="*/ 338 h 358"/>
                  <a:gd name="T44" fmla="*/ 166 w 344"/>
                  <a:gd name="T45" fmla="*/ 352 h 358"/>
                  <a:gd name="T46" fmla="*/ 191 w 344"/>
                  <a:gd name="T47" fmla="*/ 319 h 358"/>
                  <a:gd name="T48" fmla="*/ 228 w 344"/>
                  <a:gd name="T49" fmla="*/ 287 h 358"/>
                  <a:gd name="T50" fmla="*/ 231 w 344"/>
                  <a:gd name="T51" fmla="*/ 223 h 358"/>
                  <a:gd name="T52" fmla="*/ 194 w 344"/>
                  <a:gd name="T53" fmla="*/ 194 h 358"/>
                  <a:gd name="T54" fmla="*/ 152 w 344"/>
                  <a:gd name="T55" fmla="*/ 228 h 358"/>
                  <a:gd name="T56" fmla="*/ 55 w 344"/>
                  <a:gd name="T57" fmla="*/ 337 h 358"/>
                  <a:gd name="T58" fmla="*/ 21 w 344"/>
                  <a:gd name="T59" fmla="*/ 316 h 358"/>
                  <a:gd name="T60" fmla="*/ 30 w 344"/>
                  <a:gd name="T61" fmla="*/ 260 h 358"/>
                  <a:gd name="T62" fmla="*/ 53 w 344"/>
                  <a:gd name="T63" fmla="*/ 228 h 358"/>
                  <a:gd name="T64" fmla="*/ 37 w 344"/>
                  <a:gd name="T65" fmla="*/ 201 h 358"/>
                  <a:gd name="T66" fmla="*/ 1 w 344"/>
                  <a:gd name="T67" fmla="*/ 170 h 358"/>
                  <a:gd name="T68" fmla="*/ 5 w 344"/>
                  <a:gd name="T69" fmla="*/ 147 h 3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344" h="358">
                    <a:moveTo>
                      <a:pt x="5" y="147"/>
                    </a:moveTo>
                    <a:cubicBezTo>
                      <a:pt x="6" y="143"/>
                      <a:pt x="22" y="140"/>
                      <a:pt x="38" y="142"/>
                    </a:cubicBezTo>
                    <a:cubicBezTo>
                      <a:pt x="54" y="144"/>
                      <a:pt x="53" y="137"/>
                      <a:pt x="53" y="125"/>
                    </a:cubicBezTo>
                    <a:cubicBezTo>
                      <a:pt x="53" y="112"/>
                      <a:pt x="60" y="89"/>
                      <a:pt x="43" y="70"/>
                    </a:cubicBezTo>
                    <a:cubicBezTo>
                      <a:pt x="25" y="52"/>
                      <a:pt x="48" y="43"/>
                      <a:pt x="48" y="43"/>
                    </a:cubicBezTo>
                    <a:cubicBezTo>
                      <a:pt x="48" y="43"/>
                      <a:pt x="55" y="32"/>
                      <a:pt x="76" y="45"/>
                    </a:cubicBezTo>
                    <a:cubicBezTo>
                      <a:pt x="97" y="58"/>
                      <a:pt x="115" y="74"/>
                      <a:pt x="122" y="89"/>
                    </a:cubicBezTo>
                    <a:cubicBezTo>
                      <a:pt x="129" y="104"/>
                      <a:pt x="118" y="174"/>
                      <a:pt x="122" y="185"/>
                    </a:cubicBezTo>
                    <a:cubicBezTo>
                      <a:pt x="125" y="195"/>
                      <a:pt x="130" y="200"/>
                      <a:pt x="141" y="192"/>
                    </a:cubicBezTo>
                    <a:cubicBezTo>
                      <a:pt x="153" y="183"/>
                      <a:pt x="214" y="138"/>
                      <a:pt x="231" y="135"/>
                    </a:cubicBezTo>
                    <a:cubicBezTo>
                      <a:pt x="249" y="132"/>
                      <a:pt x="241" y="103"/>
                      <a:pt x="241" y="87"/>
                    </a:cubicBezTo>
                    <a:cubicBezTo>
                      <a:pt x="242" y="70"/>
                      <a:pt x="234" y="59"/>
                      <a:pt x="234" y="48"/>
                    </a:cubicBezTo>
                    <a:cubicBezTo>
                      <a:pt x="234" y="36"/>
                      <a:pt x="247" y="0"/>
                      <a:pt x="263" y="17"/>
                    </a:cubicBezTo>
                    <a:cubicBezTo>
                      <a:pt x="279" y="35"/>
                      <a:pt x="303" y="58"/>
                      <a:pt x="298" y="76"/>
                    </a:cubicBezTo>
                    <a:cubicBezTo>
                      <a:pt x="294" y="95"/>
                      <a:pt x="283" y="92"/>
                      <a:pt x="292" y="111"/>
                    </a:cubicBezTo>
                    <a:cubicBezTo>
                      <a:pt x="301" y="129"/>
                      <a:pt x="320" y="117"/>
                      <a:pt x="317" y="138"/>
                    </a:cubicBezTo>
                    <a:cubicBezTo>
                      <a:pt x="315" y="160"/>
                      <a:pt x="321" y="149"/>
                      <a:pt x="292" y="181"/>
                    </a:cubicBezTo>
                    <a:cubicBezTo>
                      <a:pt x="268" y="209"/>
                      <a:pt x="270" y="208"/>
                      <a:pt x="270" y="217"/>
                    </a:cubicBezTo>
                    <a:cubicBezTo>
                      <a:pt x="270" y="226"/>
                      <a:pt x="266" y="249"/>
                      <a:pt x="276" y="252"/>
                    </a:cubicBezTo>
                    <a:cubicBezTo>
                      <a:pt x="287" y="254"/>
                      <a:pt x="325" y="250"/>
                      <a:pt x="334" y="270"/>
                    </a:cubicBezTo>
                    <a:cubicBezTo>
                      <a:pt x="344" y="290"/>
                      <a:pt x="344" y="295"/>
                      <a:pt x="333" y="304"/>
                    </a:cubicBezTo>
                    <a:cubicBezTo>
                      <a:pt x="321" y="312"/>
                      <a:pt x="288" y="320"/>
                      <a:pt x="226" y="338"/>
                    </a:cubicBezTo>
                    <a:cubicBezTo>
                      <a:pt x="180" y="351"/>
                      <a:pt x="168" y="358"/>
                      <a:pt x="166" y="352"/>
                    </a:cubicBezTo>
                    <a:cubicBezTo>
                      <a:pt x="164" y="346"/>
                      <a:pt x="175" y="331"/>
                      <a:pt x="191" y="319"/>
                    </a:cubicBezTo>
                    <a:cubicBezTo>
                      <a:pt x="207" y="307"/>
                      <a:pt x="224" y="304"/>
                      <a:pt x="228" y="287"/>
                    </a:cubicBezTo>
                    <a:cubicBezTo>
                      <a:pt x="232" y="270"/>
                      <a:pt x="235" y="234"/>
                      <a:pt x="231" y="223"/>
                    </a:cubicBezTo>
                    <a:cubicBezTo>
                      <a:pt x="227" y="212"/>
                      <a:pt x="213" y="188"/>
                      <a:pt x="194" y="194"/>
                    </a:cubicBezTo>
                    <a:cubicBezTo>
                      <a:pt x="176" y="200"/>
                      <a:pt x="166" y="210"/>
                      <a:pt x="152" y="228"/>
                    </a:cubicBezTo>
                    <a:cubicBezTo>
                      <a:pt x="138" y="247"/>
                      <a:pt x="66" y="336"/>
                      <a:pt x="55" y="337"/>
                    </a:cubicBezTo>
                    <a:cubicBezTo>
                      <a:pt x="45" y="338"/>
                      <a:pt x="22" y="340"/>
                      <a:pt x="21" y="316"/>
                    </a:cubicBezTo>
                    <a:cubicBezTo>
                      <a:pt x="20" y="292"/>
                      <a:pt x="16" y="285"/>
                      <a:pt x="30" y="260"/>
                    </a:cubicBezTo>
                    <a:cubicBezTo>
                      <a:pt x="44" y="234"/>
                      <a:pt x="53" y="241"/>
                      <a:pt x="53" y="228"/>
                    </a:cubicBezTo>
                    <a:cubicBezTo>
                      <a:pt x="53" y="216"/>
                      <a:pt x="47" y="207"/>
                      <a:pt x="37" y="201"/>
                    </a:cubicBezTo>
                    <a:cubicBezTo>
                      <a:pt x="27" y="195"/>
                      <a:pt x="2" y="182"/>
                      <a:pt x="1" y="170"/>
                    </a:cubicBezTo>
                    <a:cubicBezTo>
                      <a:pt x="0" y="157"/>
                      <a:pt x="4" y="150"/>
                      <a:pt x="5" y="14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29" name="ï$líḋé"/>
              <p:cNvSpPr/>
              <p:nvPr/>
            </p:nvSpPr>
            <p:spPr bwMode="auto">
              <a:xfrm>
                <a:off x="5596191" y="5675903"/>
                <a:ext cx="25400" cy="30163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30" name="işḷíḓè"/>
              <p:cNvSpPr/>
              <p:nvPr/>
            </p:nvSpPr>
            <p:spPr bwMode="auto">
              <a:xfrm>
                <a:off x="5596191" y="5733053"/>
                <a:ext cx="25400" cy="149225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31" name="ïSḷîḋé"/>
              <p:cNvSpPr/>
              <p:nvPr/>
            </p:nvSpPr>
            <p:spPr bwMode="auto">
              <a:xfrm>
                <a:off x="5645403" y="5733053"/>
                <a:ext cx="136525" cy="149225"/>
              </a:xfrm>
              <a:custGeom>
                <a:avLst/>
                <a:gdLst>
                  <a:gd name="T0" fmla="*/ 42 w 74"/>
                  <a:gd name="T1" fmla="*/ 50 h 81"/>
                  <a:gd name="T2" fmla="*/ 37 w 74"/>
                  <a:gd name="T3" fmla="*/ 65 h 81"/>
                  <a:gd name="T4" fmla="*/ 32 w 74"/>
                  <a:gd name="T5" fmla="*/ 49 h 81"/>
                  <a:gd name="T6" fmla="*/ 14 w 74"/>
                  <a:gd name="T7" fmla="*/ 0 h 81"/>
                  <a:gd name="T8" fmla="*/ 0 w 74"/>
                  <a:gd name="T9" fmla="*/ 0 h 81"/>
                  <a:gd name="T10" fmla="*/ 31 w 74"/>
                  <a:gd name="T11" fmla="*/ 81 h 81"/>
                  <a:gd name="T12" fmla="*/ 44 w 74"/>
                  <a:gd name="T13" fmla="*/ 81 h 81"/>
                  <a:gd name="T14" fmla="*/ 74 w 74"/>
                  <a:gd name="T15" fmla="*/ 0 h 81"/>
                  <a:gd name="T16" fmla="*/ 60 w 74"/>
                  <a:gd name="T17" fmla="*/ 0 h 81"/>
                  <a:gd name="T18" fmla="*/ 42 w 74"/>
                  <a:gd name="T19" fmla="*/ 50 h 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74" h="81">
                    <a:moveTo>
                      <a:pt x="42" y="50"/>
                    </a:moveTo>
                    <a:cubicBezTo>
                      <a:pt x="40" y="56"/>
                      <a:pt x="38" y="61"/>
                      <a:pt x="37" y="65"/>
                    </a:cubicBezTo>
                    <a:cubicBezTo>
                      <a:pt x="35" y="59"/>
                      <a:pt x="34" y="54"/>
                      <a:pt x="32" y="49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31" y="81"/>
                      <a:pt x="31" y="81"/>
                      <a:pt x="31" y="81"/>
                    </a:cubicBezTo>
                    <a:cubicBezTo>
                      <a:pt x="44" y="81"/>
                      <a:pt x="44" y="81"/>
                      <a:pt x="44" y="81"/>
                    </a:cubicBezTo>
                    <a:cubicBezTo>
                      <a:pt x="74" y="0"/>
                      <a:pt x="74" y="0"/>
                      <a:pt x="74" y="0"/>
                    </a:cubicBezTo>
                    <a:cubicBezTo>
                      <a:pt x="60" y="0"/>
                      <a:pt x="60" y="0"/>
                      <a:pt x="60" y="0"/>
                    </a:cubicBezTo>
                    <a:lnTo>
                      <a:pt x="42" y="5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32" name="išḷiḓé"/>
              <p:cNvSpPr/>
              <p:nvPr/>
            </p:nvSpPr>
            <p:spPr bwMode="auto">
              <a:xfrm>
                <a:off x="5796216" y="5729878"/>
                <a:ext cx="138113" cy="157163"/>
              </a:xfrm>
              <a:custGeom>
                <a:avLst/>
                <a:gdLst>
                  <a:gd name="T0" fmla="*/ 38 w 75"/>
                  <a:gd name="T1" fmla="*/ 0 h 85"/>
                  <a:gd name="T2" fmla="*/ 10 w 75"/>
                  <a:gd name="T3" fmla="*/ 12 h 85"/>
                  <a:gd name="T4" fmla="*/ 0 w 75"/>
                  <a:gd name="T5" fmla="*/ 43 h 85"/>
                  <a:gd name="T6" fmla="*/ 10 w 75"/>
                  <a:gd name="T7" fmla="*/ 74 h 85"/>
                  <a:gd name="T8" fmla="*/ 39 w 75"/>
                  <a:gd name="T9" fmla="*/ 85 h 85"/>
                  <a:gd name="T10" fmla="*/ 62 w 75"/>
                  <a:gd name="T11" fmla="*/ 78 h 85"/>
                  <a:gd name="T12" fmla="*/ 74 w 75"/>
                  <a:gd name="T13" fmla="*/ 59 h 85"/>
                  <a:gd name="T14" fmla="*/ 60 w 75"/>
                  <a:gd name="T15" fmla="*/ 57 h 85"/>
                  <a:gd name="T16" fmla="*/ 52 w 75"/>
                  <a:gd name="T17" fmla="*/ 70 h 85"/>
                  <a:gd name="T18" fmla="*/ 39 w 75"/>
                  <a:gd name="T19" fmla="*/ 74 h 85"/>
                  <a:gd name="T20" fmla="*/ 22 w 75"/>
                  <a:gd name="T21" fmla="*/ 67 h 85"/>
                  <a:gd name="T22" fmla="*/ 14 w 75"/>
                  <a:gd name="T23" fmla="*/ 46 h 85"/>
                  <a:gd name="T24" fmla="*/ 75 w 75"/>
                  <a:gd name="T25" fmla="*/ 46 h 85"/>
                  <a:gd name="T26" fmla="*/ 75 w 75"/>
                  <a:gd name="T27" fmla="*/ 43 h 85"/>
                  <a:gd name="T28" fmla="*/ 64 w 75"/>
                  <a:gd name="T29" fmla="*/ 11 h 85"/>
                  <a:gd name="T30" fmla="*/ 38 w 75"/>
                  <a:gd name="T31" fmla="*/ 0 h 85"/>
                  <a:gd name="T32" fmla="*/ 15 w 75"/>
                  <a:gd name="T33" fmla="*/ 35 h 85"/>
                  <a:gd name="T34" fmla="*/ 22 w 75"/>
                  <a:gd name="T35" fmla="*/ 18 h 85"/>
                  <a:gd name="T36" fmla="*/ 38 w 75"/>
                  <a:gd name="T37" fmla="*/ 12 h 85"/>
                  <a:gd name="T38" fmla="*/ 55 w 75"/>
                  <a:gd name="T39" fmla="*/ 20 h 85"/>
                  <a:gd name="T40" fmla="*/ 60 w 75"/>
                  <a:gd name="T41" fmla="*/ 35 h 85"/>
                  <a:gd name="T42" fmla="*/ 15 w 75"/>
                  <a:gd name="T43" fmla="*/ 35 h 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75" h="85">
                    <a:moveTo>
                      <a:pt x="38" y="0"/>
                    </a:moveTo>
                    <a:cubicBezTo>
                      <a:pt x="27" y="0"/>
                      <a:pt x="17" y="4"/>
                      <a:pt x="10" y="12"/>
                    </a:cubicBezTo>
                    <a:cubicBezTo>
                      <a:pt x="3" y="19"/>
                      <a:pt x="0" y="30"/>
                      <a:pt x="0" y="43"/>
                    </a:cubicBezTo>
                    <a:cubicBezTo>
                      <a:pt x="0" y="57"/>
                      <a:pt x="3" y="67"/>
                      <a:pt x="10" y="74"/>
                    </a:cubicBezTo>
                    <a:cubicBezTo>
                      <a:pt x="17" y="81"/>
                      <a:pt x="27" y="85"/>
                      <a:pt x="39" y="85"/>
                    </a:cubicBezTo>
                    <a:cubicBezTo>
                      <a:pt x="48" y="85"/>
                      <a:pt x="56" y="83"/>
                      <a:pt x="62" y="78"/>
                    </a:cubicBezTo>
                    <a:cubicBezTo>
                      <a:pt x="68" y="74"/>
                      <a:pt x="72" y="67"/>
                      <a:pt x="74" y="59"/>
                    </a:cubicBezTo>
                    <a:cubicBezTo>
                      <a:pt x="60" y="57"/>
                      <a:pt x="60" y="57"/>
                      <a:pt x="60" y="57"/>
                    </a:cubicBezTo>
                    <a:cubicBezTo>
                      <a:pt x="58" y="63"/>
                      <a:pt x="55" y="67"/>
                      <a:pt x="52" y="70"/>
                    </a:cubicBezTo>
                    <a:cubicBezTo>
                      <a:pt x="48" y="73"/>
                      <a:pt x="44" y="74"/>
                      <a:pt x="39" y="74"/>
                    </a:cubicBezTo>
                    <a:cubicBezTo>
                      <a:pt x="32" y="74"/>
                      <a:pt x="26" y="71"/>
                      <a:pt x="22" y="67"/>
                    </a:cubicBezTo>
                    <a:cubicBezTo>
                      <a:pt x="17" y="62"/>
                      <a:pt x="15" y="55"/>
                      <a:pt x="14" y="46"/>
                    </a:cubicBezTo>
                    <a:cubicBezTo>
                      <a:pt x="75" y="46"/>
                      <a:pt x="75" y="46"/>
                      <a:pt x="75" y="46"/>
                    </a:cubicBezTo>
                    <a:cubicBezTo>
                      <a:pt x="75" y="45"/>
                      <a:pt x="75" y="43"/>
                      <a:pt x="75" y="43"/>
                    </a:cubicBezTo>
                    <a:cubicBezTo>
                      <a:pt x="75" y="29"/>
                      <a:pt x="71" y="19"/>
                      <a:pt x="64" y="11"/>
                    </a:cubicBezTo>
                    <a:cubicBezTo>
                      <a:pt x="58" y="4"/>
                      <a:pt x="49" y="0"/>
                      <a:pt x="38" y="0"/>
                    </a:cubicBezTo>
                    <a:close/>
                    <a:moveTo>
                      <a:pt x="15" y="35"/>
                    </a:moveTo>
                    <a:cubicBezTo>
                      <a:pt x="15" y="28"/>
                      <a:pt x="18" y="22"/>
                      <a:pt x="22" y="18"/>
                    </a:cubicBezTo>
                    <a:cubicBezTo>
                      <a:pt x="26" y="14"/>
                      <a:pt x="32" y="12"/>
                      <a:pt x="38" y="12"/>
                    </a:cubicBezTo>
                    <a:cubicBezTo>
                      <a:pt x="45" y="12"/>
                      <a:pt x="51" y="14"/>
                      <a:pt x="55" y="20"/>
                    </a:cubicBezTo>
                    <a:cubicBezTo>
                      <a:pt x="58" y="23"/>
                      <a:pt x="60" y="28"/>
                      <a:pt x="60" y="35"/>
                    </a:cubicBezTo>
                    <a:lnTo>
                      <a:pt x="15" y="3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33" name="iṩľidè"/>
              <p:cNvSpPr/>
              <p:nvPr/>
            </p:nvSpPr>
            <p:spPr bwMode="auto">
              <a:xfrm>
                <a:off x="5964491" y="5729878"/>
                <a:ext cx="82550" cy="152400"/>
              </a:xfrm>
              <a:custGeom>
                <a:avLst/>
                <a:gdLst>
                  <a:gd name="T0" fmla="*/ 22 w 45"/>
                  <a:gd name="T1" fmla="*/ 3 h 83"/>
                  <a:gd name="T2" fmla="*/ 13 w 45"/>
                  <a:gd name="T3" fmla="*/ 14 h 83"/>
                  <a:gd name="T4" fmla="*/ 13 w 45"/>
                  <a:gd name="T5" fmla="*/ 2 h 83"/>
                  <a:gd name="T6" fmla="*/ 0 w 45"/>
                  <a:gd name="T7" fmla="*/ 2 h 83"/>
                  <a:gd name="T8" fmla="*/ 0 w 45"/>
                  <a:gd name="T9" fmla="*/ 83 h 83"/>
                  <a:gd name="T10" fmla="*/ 14 w 45"/>
                  <a:gd name="T11" fmla="*/ 83 h 83"/>
                  <a:gd name="T12" fmla="*/ 14 w 45"/>
                  <a:gd name="T13" fmla="*/ 41 h 83"/>
                  <a:gd name="T14" fmla="*/ 17 w 45"/>
                  <a:gd name="T15" fmla="*/ 25 h 83"/>
                  <a:gd name="T16" fmla="*/ 22 w 45"/>
                  <a:gd name="T17" fmla="*/ 17 h 83"/>
                  <a:gd name="T18" fmla="*/ 30 w 45"/>
                  <a:gd name="T19" fmla="*/ 14 h 83"/>
                  <a:gd name="T20" fmla="*/ 40 w 45"/>
                  <a:gd name="T21" fmla="*/ 17 h 83"/>
                  <a:gd name="T22" fmla="*/ 45 w 45"/>
                  <a:gd name="T23" fmla="*/ 5 h 83"/>
                  <a:gd name="T24" fmla="*/ 30 w 45"/>
                  <a:gd name="T25" fmla="*/ 0 h 83"/>
                  <a:gd name="T26" fmla="*/ 22 w 45"/>
                  <a:gd name="T27" fmla="*/ 3 h 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45" h="83">
                    <a:moveTo>
                      <a:pt x="22" y="3"/>
                    </a:moveTo>
                    <a:cubicBezTo>
                      <a:pt x="19" y="5"/>
                      <a:pt x="16" y="9"/>
                      <a:pt x="13" y="14"/>
                    </a:cubicBezTo>
                    <a:cubicBezTo>
                      <a:pt x="13" y="2"/>
                      <a:pt x="13" y="2"/>
                      <a:pt x="13" y="2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83"/>
                      <a:pt x="0" y="83"/>
                      <a:pt x="0" y="83"/>
                    </a:cubicBezTo>
                    <a:cubicBezTo>
                      <a:pt x="14" y="83"/>
                      <a:pt x="14" y="83"/>
                      <a:pt x="14" y="83"/>
                    </a:cubicBezTo>
                    <a:cubicBezTo>
                      <a:pt x="14" y="41"/>
                      <a:pt x="14" y="41"/>
                      <a:pt x="14" y="41"/>
                    </a:cubicBezTo>
                    <a:cubicBezTo>
                      <a:pt x="14" y="35"/>
                      <a:pt x="15" y="30"/>
                      <a:pt x="17" y="25"/>
                    </a:cubicBezTo>
                    <a:cubicBezTo>
                      <a:pt x="18" y="21"/>
                      <a:pt x="19" y="19"/>
                      <a:pt x="22" y="17"/>
                    </a:cubicBezTo>
                    <a:cubicBezTo>
                      <a:pt x="24" y="15"/>
                      <a:pt x="27" y="14"/>
                      <a:pt x="30" y="14"/>
                    </a:cubicBezTo>
                    <a:cubicBezTo>
                      <a:pt x="33" y="14"/>
                      <a:pt x="37" y="15"/>
                      <a:pt x="40" y="17"/>
                    </a:cubicBezTo>
                    <a:cubicBezTo>
                      <a:pt x="45" y="5"/>
                      <a:pt x="45" y="5"/>
                      <a:pt x="45" y="5"/>
                    </a:cubicBezTo>
                    <a:cubicBezTo>
                      <a:pt x="40" y="2"/>
                      <a:pt x="35" y="0"/>
                      <a:pt x="30" y="0"/>
                    </a:cubicBezTo>
                    <a:cubicBezTo>
                      <a:pt x="27" y="0"/>
                      <a:pt x="24" y="1"/>
                      <a:pt x="22" y="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34" name="îṡļiḑe"/>
              <p:cNvSpPr/>
              <p:nvPr/>
            </p:nvSpPr>
            <p:spPr bwMode="auto">
              <a:xfrm>
                <a:off x="6050216" y="5729878"/>
                <a:ext cx="125413" cy="157163"/>
              </a:xfrm>
              <a:custGeom>
                <a:avLst/>
                <a:gdLst>
                  <a:gd name="T0" fmla="*/ 55 w 68"/>
                  <a:gd name="T1" fmla="*/ 40 h 85"/>
                  <a:gd name="T2" fmla="*/ 35 w 68"/>
                  <a:gd name="T3" fmla="*/ 34 h 85"/>
                  <a:gd name="T4" fmla="*/ 23 w 68"/>
                  <a:gd name="T5" fmla="*/ 31 h 85"/>
                  <a:gd name="T6" fmla="*/ 18 w 68"/>
                  <a:gd name="T7" fmla="*/ 27 h 85"/>
                  <a:gd name="T8" fmla="*/ 16 w 68"/>
                  <a:gd name="T9" fmla="*/ 22 h 85"/>
                  <a:gd name="T10" fmla="*/ 20 w 68"/>
                  <a:gd name="T11" fmla="*/ 15 h 85"/>
                  <a:gd name="T12" fmla="*/ 34 w 68"/>
                  <a:gd name="T13" fmla="*/ 12 h 85"/>
                  <a:gd name="T14" fmla="*/ 46 w 68"/>
                  <a:gd name="T15" fmla="*/ 15 h 85"/>
                  <a:gd name="T16" fmla="*/ 51 w 68"/>
                  <a:gd name="T17" fmla="*/ 25 h 85"/>
                  <a:gd name="T18" fmla="*/ 65 w 68"/>
                  <a:gd name="T19" fmla="*/ 23 h 85"/>
                  <a:gd name="T20" fmla="*/ 60 w 68"/>
                  <a:gd name="T21" fmla="*/ 10 h 85"/>
                  <a:gd name="T22" fmla="*/ 49 w 68"/>
                  <a:gd name="T23" fmla="*/ 3 h 85"/>
                  <a:gd name="T24" fmla="*/ 33 w 68"/>
                  <a:gd name="T25" fmla="*/ 0 h 85"/>
                  <a:gd name="T26" fmla="*/ 21 w 68"/>
                  <a:gd name="T27" fmla="*/ 2 h 85"/>
                  <a:gd name="T28" fmla="*/ 12 w 68"/>
                  <a:gd name="T29" fmla="*/ 6 h 85"/>
                  <a:gd name="T30" fmla="*/ 5 w 68"/>
                  <a:gd name="T31" fmla="*/ 14 h 85"/>
                  <a:gd name="T32" fmla="*/ 3 w 68"/>
                  <a:gd name="T33" fmla="*/ 24 h 85"/>
                  <a:gd name="T34" fmla="*/ 6 w 68"/>
                  <a:gd name="T35" fmla="*/ 35 h 85"/>
                  <a:gd name="T36" fmla="*/ 15 w 68"/>
                  <a:gd name="T37" fmla="*/ 42 h 85"/>
                  <a:gd name="T38" fmla="*/ 36 w 68"/>
                  <a:gd name="T39" fmla="*/ 49 h 85"/>
                  <a:gd name="T40" fmla="*/ 50 w 68"/>
                  <a:gd name="T41" fmla="*/ 54 h 85"/>
                  <a:gd name="T42" fmla="*/ 54 w 68"/>
                  <a:gd name="T43" fmla="*/ 61 h 85"/>
                  <a:gd name="T44" fmla="*/ 49 w 68"/>
                  <a:gd name="T45" fmla="*/ 70 h 85"/>
                  <a:gd name="T46" fmla="*/ 35 w 68"/>
                  <a:gd name="T47" fmla="*/ 74 h 85"/>
                  <a:gd name="T48" fmla="*/ 20 w 68"/>
                  <a:gd name="T49" fmla="*/ 69 h 85"/>
                  <a:gd name="T50" fmla="*/ 14 w 68"/>
                  <a:gd name="T51" fmla="*/ 57 h 85"/>
                  <a:gd name="T52" fmla="*/ 0 w 68"/>
                  <a:gd name="T53" fmla="*/ 59 h 85"/>
                  <a:gd name="T54" fmla="*/ 11 w 68"/>
                  <a:gd name="T55" fmla="*/ 79 h 85"/>
                  <a:gd name="T56" fmla="*/ 35 w 68"/>
                  <a:gd name="T57" fmla="*/ 85 h 85"/>
                  <a:gd name="T58" fmla="*/ 52 w 68"/>
                  <a:gd name="T59" fmla="*/ 82 h 85"/>
                  <a:gd name="T60" fmla="*/ 64 w 68"/>
                  <a:gd name="T61" fmla="*/ 72 h 85"/>
                  <a:gd name="T62" fmla="*/ 68 w 68"/>
                  <a:gd name="T63" fmla="*/ 59 h 85"/>
                  <a:gd name="T64" fmla="*/ 65 w 68"/>
                  <a:gd name="T65" fmla="*/ 48 h 85"/>
                  <a:gd name="T66" fmla="*/ 55 w 68"/>
                  <a:gd name="T67" fmla="*/ 40 h 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68" h="85">
                    <a:moveTo>
                      <a:pt x="55" y="40"/>
                    </a:moveTo>
                    <a:cubicBezTo>
                      <a:pt x="52" y="39"/>
                      <a:pt x="45" y="37"/>
                      <a:pt x="35" y="34"/>
                    </a:cubicBezTo>
                    <a:cubicBezTo>
                      <a:pt x="28" y="32"/>
                      <a:pt x="24" y="31"/>
                      <a:pt x="23" y="31"/>
                    </a:cubicBezTo>
                    <a:cubicBezTo>
                      <a:pt x="20" y="30"/>
                      <a:pt x="19" y="28"/>
                      <a:pt x="18" y="27"/>
                    </a:cubicBezTo>
                    <a:cubicBezTo>
                      <a:pt x="16" y="25"/>
                      <a:pt x="16" y="24"/>
                      <a:pt x="16" y="22"/>
                    </a:cubicBezTo>
                    <a:cubicBezTo>
                      <a:pt x="16" y="19"/>
                      <a:pt x="17" y="17"/>
                      <a:pt x="20" y="15"/>
                    </a:cubicBezTo>
                    <a:cubicBezTo>
                      <a:pt x="23" y="13"/>
                      <a:pt x="27" y="12"/>
                      <a:pt x="34" y="12"/>
                    </a:cubicBezTo>
                    <a:cubicBezTo>
                      <a:pt x="39" y="12"/>
                      <a:pt x="43" y="13"/>
                      <a:pt x="46" y="15"/>
                    </a:cubicBezTo>
                    <a:cubicBezTo>
                      <a:pt x="49" y="17"/>
                      <a:pt x="51" y="21"/>
                      <a:pt x="51" y="25"/>
                    </a:cubicBezTo>
                    <a:cubicBezTo>
                      <a:pt x="65" y="23"/>
                      <a:pt x="65" y="23"/>
                      <a:pt x="65" y="23"/>
                    </a:cubicBezTo>
                    <a:cubicBezTo>
                      <a:pt x="64" y="18"/>
                      <a:pt x="62" y="14"/>
                      <a:pt x="60" y="10"/>
                    </a:cubicBezTo>
                    <a:cubicBezTo>
                      <a:pt x="58" y="7"/>
                      <a:pt x="54" y="5"/>
                      <a:pt x="49" y="3"/>
                    </a:cubicBezTo>
                    <a:cubicBezTo>
                      <a:pt x="44" y="1"/>
                      <a:pt x="39" y="0"/>
                      <a:pt x="33" y="0"/>
                    </a:cubicBezTo>
                    <a:cubicBezTo>
                      <a:pt x="28" y="0"/>
                      <a:pt x="24" y="1"/>
                      <a:pt x="21" y="2"/>
                    </a:cubicBezTo>
                    <a:cubicBezTo>
                      <a:pt x="17" y="3"/>
                      <a:pt x="14" y="4"/>
                      <a:pt x="12" y="6"/>
                    </a:cubicBezTo>
                    <a:cubicBezTo>
                      <a:pt x="9" y="8"/>
                      <a:pt x="7" y="10"/>
                      <a:pt x="5" y="14"/>
                    </a:cubicBezTo>
                    <a:cubicBezTo>
                      <a:pt x="3" y="17"/>
                      <a:pt x="3" y="20"/>
                      <a:pt x="3" y="24"/>
                    </a:cubicBezTo>
                    <a:cubicBezTo>
                      <a:pt x="3" y="28"/>
                      <a:pt x="4" y="31"/>
                      <a:pt x="6" y="35"/>
                    </a:cubicBezTo>
                    <a:cubicBezTo>
                      <a:pt x="8" y="38"/>
                      <a:pt x="11" y="40"/>
                      <a:pt x="15" y="42"/>
                    </a:cubicBezTo>
                    <a:cubicBezTo>
                      <a:pt x="18" y="44"/>
                      <a:pt x="25" y="46"/>
                      <a:pt x="36" y="49"/>
                    </a:cubicBezTo>
                    <a:cubicBezTo>
                      <a:pt x="43" y="51"/>
                      <a:pt x="48" y="52"/>
                      <a:pt x="50" y="54"/>
                    </a:cubicBezTo>
                    <a:cubicBezTo>
                      <a:pt x="52" y="55"/>
                      <a:pt x="54" y="58"/>
                      <a:pt x="54" y="61"/>
                    </a:cubicBezTo>
                    <a:cubicBezTo>
                      <a:pt x="54" y="64"/>
                      <a:pt x="52" y="67"/>
                      <a:pt x="49" y="70"/>
                    </a:cubicBezTo>
                    <a:cubicBezTo>
                      <a:pt x="46" y="73"/>
                      <a:pt x="41" y="74"/>
                      <a:pt x="35" y="74"/>
                    </a:cubicBezTo>
                    <a:cubicBezTo>
                      <a:pt x="29" y="74"/>
                      <a:pt x="24" y="72"/>
                      <a:pt x="20" y="69"/>
                    </a:cubicBezTo>
                    <a:cubicBezTo>
                      <a:pt x="17" y="67"/>
                      <a:pt x="15" y="62"/>
                      <a:pt x="14" y="57"/>
                    </a:cubicBezTo>
                    <a:cubicBezTo>
                      <a:pt x="0" y="59"/>
                      <a:pt x="0" y="59"/>
                      <a:pt x="0" y="59"/>
                    </a:cubicBezTo>
                    <a:cubicBezTo>
                      <a:pt x="2" y="68"/>
                      <a:pt x="5" y="74"/>
                      <a:pt x="11" y="79"/>
                    </a:cubicBezTo>
                    <a:cubicBezTo>
                      <a:pt x="16" y="83"/>
                      <a:pt x="24" y="85"/>
                      <a:pt x="35" y="85"/>
                    </a:cubicBezTo>
                    <a:cubicBezTo>
                      <a:pt x="41" y="85"/>
                      <a:pt x="47" y="84"/>
                      <a:pt x="52" y="82"/>
                    </a:cubicBezTo>
                    <a:cubicBezTo>
                      <a:pt x="57" y="80"/>
                      <a:pt x="61" y="76"/>
                      <a:pt x="64" y="72"/>
                    </a:cubicBezTo>
                    <a:cubicBezTo>
                      <a:pt x="66" y="68"/>
                      <a:pt x="68" y="64"/>
                      <a:pt x="68" y="59"/>
                    </a:cubicBezTo>
                    <a:cubicBezTo>
                      <a:pt x="68" y="55"/>
                      <a:pt x="67" y="51"/>
                      <a:pt x="65" y="48"/>
                    </a:cubicBezTo>
                    <a:cubicBezTo>
                      <a:pt x="62" y="45"/>
                      <a:pt x="59" y="42"/>
                      <a:pt x="55" y="4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35" name="ïśļíḓe"/>
              <p:cNvSpPr/>
              <p:nvPr/>
            </p:nvSpPr>
            <p:spPr bwMode="auto">
              <a:xfrm>
                <a:off x="6205791" y="5675903"/>
                <a:ext cx="25400" cy="30163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36" name="îṡľîdè"/>
              <p:cNvSpPr/>
              <p:nvPr/>
            </p:nvSpPr>
            <p:spPr bwMode="auto">
              <a:xfrm>
                <a:off x="6205791" y="5733053"/>
                <a:ext cx="25400" cy="149225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37" name="îś1iḋê"/>
              <p:cNvSpPr/>
              <p:nvPr/>
            </p:nvSpPr>
            <p:spPr bwMode="auto">
              <a:xfrm>
                <a:off x="6255003" y="5680665"/>
                <a:ext cx="74613" cy="203200"/>
              </a:xfrm>
              <a:custGeom>
                <a:avLst/>
                <a:gdLst>
                  <a:gd name="T0" fmla="*/ 32 w 40"/>
                  <a:gd name="T1" fmla="*/ 98 h 110"/>
                  <a:gd name="T2" fmla="*/ 27 w 40"/>
                  <a:gd name="T3" fmla="*/ 97 h 110"/>
                  <a:gd name="T4" fmla="*/ 25 w 40"/>
                  <a:gd name="T5" fmla="*/ 94 h 110"/>
                  <a:gd name="T6" fmla="*/ 24 w 40"/>
                  <a:gd name="T7" fmla="*/ 86 h 110"/>
                  <a:gd name="T8" fmla="*/ 24 w 40"/>
                  <a:gd name="T9" fmla="*/ 39 h 110"/>
                  <a:gd name="T10" fmla="*/ 38 w 40"/>
                  <a:gd name="T11" fmla="*/ 39 h 110"/>
                  <a:gd name="T12" fmla="*/ 38 w 40"/>
                  <a:gd name="T13" fmla="*/ 28 h 110"/>
                  <a:gd name="T14" fmla="*/ 24 w 40"/>
                  <a:gd name="T15" fmla="*/ 28 h 110"/>
                  <a:gd name="T16" fmla="*/ 24 w 40"/>
                  <a:gd name="T17" fmla="*/ 0 h 110"/>
                  <a:gd name="T18" fmla="*/ 11 w 40"/>
                  <a:gd name="T19" fmla="*/ 8 h 110"/>
                  <a:gd name="T20" fmla="*/ 11 w 40"/>
                  <a:gd name="T21" fmla="*/ 28 h 110"/>
                  <a:gd name="T22" fmla="*/ 0 w 40"/>
                  <a:gd name="T23" fmla="*/ 28 h 110"/>
                  <a:gd name="T24" fmla="*/ 0 w 40"/>
                  <a:gd name="T25" fmla="*/ 39 h 110"/>
                  <a:gd name="T26" fmla="*/ 11 w 40"/>
                  <a:gd name="T27" fmla="*/ 39 h 110"/>
                  <a:gd name="T28" fmla="*/ 11 w 40"/>
                  <a:gd name="T29" fmla="*/ 86 h 110"/>
                  <a:gd name="T30" fmla="*/ 12 w 40"/>
                  <a:gd name="T31" fmla="*/ 102 h 110"/>
                  <a:gd name="T32" fmla="*/ 18 w 40"/>
                  <a:gd name="T33" fmla="*/ 108 h 110"/>
                  <a:gd name="T34" fmla="*/ 30 w 40"/>
                  <a:gd name="T35" fmla="*/ 110 h 110"/>
                  <a:gd name="T36" fmla="*/ 40 w 40"/>
                  <a:gd name="T37" fmla="*/ 109 h 110"/>
                  <a:gd name="T38" fmla="*/ 38 w 40"/>
                  <a:gd name="T39" fmla="*/ 97 h 110"/>
                  <a:gd name="T40" fmla="*/ 32 w 40"/>
                  <a:gd name="T41" fmla="*/ 98 h 1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40" h="110">
                    <a:moveTo>
                      <a:pt x="32" y="98"/>
                    </a:moveTo>
                    <a:cubicBezTo>
                      <a:pt x="30" y="98"/>
                      <a:pt x="28" y="97"/>
                      <a:pt x="27" y="97"/>
                    </a:cubicBezTo>
                    <a:cubicBezTo>
                      <a:pt x="26" y="96"/>
                      <a:pt x="25" y="95"/>
                      <a:pt x="25" y="94"/>
                    </a:cubicBezTo>
                    <a:cubicBezTo>
                      <a:pt x="24" y="93"/>
                      <a:pt x="24" y="90"/>
                      <a:pt x="24" y="86"/>
                    </a:cubicBezTo>
                    <a:cubicBezTo>
                      <a:pt x="24" y="39"/>
                      <a:pt x="24" y="39"/>
                      <a:pt x="24" y="39"/>
                    </a:cubicBezTo>
                    <a:cubicBezTo>
                      <a:pt x="38" y="39"/>
                      <a:pt x="38" y="39"/>
                      <a:pt x="38" y="39"/>
                    </a:cubicBezTo>
                    <a:cubicBezTo>
                      <a:pt x="38" y="28"/>
                      <a:pt x="38" y="28"/>
                      <a:pt x="38" y="28"/>
                    </a:cubicBezTo>
                    <a:cubicBezTo>
                      <a:pt x="24" y="28"/>
                      <a:pt x="24" y="28"/>
                      <a:pt x="24" y="28"/>
                    </a:cubicBezTo>
                    <a:cubicBezTo>
                      <a:pt x="24" y="0"/>
                      <a:pt x="24" y="0"/>
                      <a:pt x="24" y="0"/>
                    </a:cubicBezTo>
                    <a:cubicBezTo>
                      <a:pt x="11" y="8"/>
                      <a:pt x="11" y="8"/>
                      <a:pt x="11" y="8"/>
                    </a:cubicBezTo>
                    <a:cubicBezTo>
                      <a:pt x="11" y="28"/>
                      <a:pt x="11" y="28"/>
                      <a:pt x="11" y="28"/>
                    </a:cubicBezTo>
                    <a:cubicBezTo>
                      <a:pt x="0" y="28"/>
                      <a:pt x="0" y="28"/>
                      <a:pt x="0" y="28"/>
                    </a:cubicBezTo>
                    <a:cubicBezTo>
                      <a:pt x="0" y="39"/>
                      <a:pt x="0" y="39"/>
                      <a:pt x="0" y="39"/>
                    </a:cubicBezTo>
                    <a:cubicBezTo>
                      <a:pt x="11" y="39"/>
                      <a:pt x="11" y="39"/>
                      <a:pt x="11" y="39"/>
                    </a:cubicBezTo>
                    <a:cubicBezTo>
                      <a:pt x="11" y="86"/>
                      <a:pt x="11" y="86"/>
                      <a:pt x="11" y="86"/>
                    </a:cubicBezTo>
                    <a:cubicBezTo>
                      <a:pt x="11" y="94"/>
                      <a:pt x="11" y="99"/>
                      <a:pt x="12" y="102"/>
                    </a:cubicBezTo>
                    <a:cubicBezTo>
                      <a:pt x="13" y="104"/>
                      <a:pt x="15" y="106"/>
                      <a:pt x="18" y="108"/>
                    </a:cubicBezTo>
                    <a:cubicBezTo>
                      <a:pt x="21" y="110"/>
                      <a:pt x="25" y="110"/>
                      <a:pt x="30" y="110"/>
                    </a:cubicBezTo>
                    <a:cubicBezTo>
                      <a:pt x="33" y="110"/>
                      <a:pt x="36" y="110"/>
                      <a:pt x="40" y="109"/>
                    </a:cubicBezTo>
                    <a:cubicBezTo>
                      <a:pt x="38" y="97"/>
                      <a:pt x="38" y="97"/>
                      <a:pt x="38" y="97"/>
                    </a:cubicBezTo>
                    <a:cubicBezTo>
                      <a:pt x="36" y="97"/>
                      <a:pt x="34" y="98"/>
                      <a:pt x="32" y="9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38" name="išľîḋê"/>
              <p:cNvSpPr/>
              <p:nvPr/>
            </p:nvSpPr>
            <p:spPr bwMode="auto">
              <a:xfrm>
                <a:off x="6335966" y="5733053"/>
                <a:ext cx="136525" cy="211138"/>
              </a:xfrm>
              <a:custGeom>
                <a:avLst/>
                <a:gdLst>
                  <a:gd name="T0" fmla="*/ 43 w 74"/>
                  <a:gd name="T1" fmla="*/ 47 h 114"/>
                  <a:gd name="T2" fmla="*/ 37 w 74"/>
                  <a:gd name="T3" fmla="*/ 66 h 114"/>
                  <a:gd name="T4" fmla="*/ 32 w 74"/>
                  <a:gd name="T5" fmla="*/ 47 h 114"/>
                  <a:gd name="T6" fmla="*/ 15 w 74"/>
                  <a:gd name="T7" fmla="*/ 0 h 114"/>
                  <a:gd name="T8" fmla="*/ 0 w 74"/>
                  <a:gd name="T9" fmla="*/ 0 h 114"/>
                  <a:gd name="T10" fmla="*/ 31 w 74"/>
                  <a:gd name="T11" fmla="*/ 81 h 114"/>
                  <a:gd name="T12" fmla="*/ 29 w 74"/>
                  <a:gd name="T13" fmla="*/ 85 h 114"/>
                  <a:gd name="T14" fmla="*/ 25 w 74"/>
                  <a:gd name="T15" fmla="*/ 95 h 114"/>
                  <a:gd name="T16" fmla="*/ 21 w 74"/>
                  <a:gd name="T17" fmla="*/ 99 h 114"/>
                  <a:gd name="T18" fmla="*/ 13 w 74"/>
                  <a:gd name="T19" fmla="*/ 101 h 114"/>
                  <a:gd name="T20" fmla="*/ 5 w 74"/>
                  <a:gd name="T21" fmla="*/ 100 h 114"/>
                  <a:gd name="T22" fmla="*/ 7 w 74"/>
                  <a:gd name="T23" fmla="*/ 113 h 114"/>
                  <a:gd name="T24" fmla="*/ 16 w 74"/>
                  <a:gd name="T25" fmla="*/ 114 h 114"/>
                  <a:gd name="T26" fmla="*/ 27 w 74"/>
                  <a:gd name="T27" fmla="*/ 111 h 114"/>
                  <a:gd name="T28" fmla="*/ 36 w 74"/>
                  <a:gd name="T29" fmla="*/ 101 h 114"/>
                  <a:gd name="T30" fmla="*/ 43 w 74"/>
                  <a:gd name="T31" fmla="*/ 83 h 114"/>
                  <a:gd name="T32" fmla="*/ 74 w 74"/>
                  <a:gd name="T33" fmla="*/ 0 h 114"/>
                  <a:gd name="T34" fmla="*/ 60 w 74"/>
                  <a:gd name="T35" fmla="*/ 0 h 114"/>
                  <a:gd name="T36" fmla="*/ 43 w 74"/>
                  <a:gd name="T37" fmla="*/ 47 h 1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74" h="114">
                    <a:moveTo>
                      <a:pt x="43" y="47"/>
                    </a:moveTo>
                    <a:cubicBezTo>
                      <a:pt x="41" y="53"/>
                      <a:pt x="39" y="60"/>
                      <a:pt x="37" y="66"/>
                    </a:cubicBezTo>
                    <a:cubicBezTo>
                      <a:pt x="36" y="59"/>
                      <a:pt x="34" y="53"/>
                      <a:pt x="32" y="47"/>
                    </a:cubicBezTo>
                    <a:cubicBezTo>
                      <a:pt x="15" y="0"/>
                      <a:pt x="15" y="0"/>
                      <a:pt x="15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31" y="81"/>
                      <a:pt x="31" y="81"/>
                      <a:pt x="31" y="81"/>
                    </a:cubicBezTo>
                    <a:cubicBezTo>
                      <a:pt x="30" y="83"/>
                      <a:pt x="30" y="84"/>
                      <a:pt x="29" y="85"/>
                    </a:cubicBezTo>
                    <a:cubicBezTo>
                      <a:pt x="27" y="90"/>
                      <a:pt x="26" y="94"/>
                      <a:pt x="25" y="95"/>
                    </a:cubicBezTo>
                    <a:cubicBezTo>
                      <a:pt x="24" y="97"/>
                      <a:pt x="22" y="98"/>
                      <a:pt x="21" y="99"/>
                    </a:cubicBezTo>
                    <a:cubicBezTo>
                      <a:pt x="19" y="100"/>
                      <a:pt x="16" y="101"/>
                      <a:pt x="13" y="101"/>
                    </a:cubicBezTo>
                    <a:cubicBezTo>
                      <a:pt x="11" y="101"/>
                      <a:pt x="8" y="101"/>
                      <a:pt x="5" y="100"/>
                    </a:cubicBezTo>
                    <a:cubicBezTo>
                      <a:pt x="7" y="113"/>
                      <a:pt x="7" y="113"/>
                      <a:pt x="7" y="113"/>
                    </a:cubicBezTo>
                    <a:cubicBezTo>
                      <a:pt x="10" y="114"/>
                      <a:pt x="13" y="114"/>
                      <a:pt x="16" y="114"/>
                    </a:cubicBezTo>
                    <a:cubicBezTo>
                      <a:pt x="20" y="114"/>
                      <a:pt x="24" y="113"/>
                      <a:pt x="27" y="111"/>
                    </a:cubicBezTo>
                    <a:cubicBezTo>
                      <a:pt x="30" y="109"/>
                      <a:pt x="33" y="106"/>
                      <a:pt x="36" y="101"/>
                    </a:cubicBezTo>
                    <a:cubicBezTo>
                      <a:pt x="37" y="98"/>
                      <a:pt x="40" y="92"/>
                      <a:pt x="43" y="83"/>
                    </a:cubicBezTo>
                    <a:cubicBezTo>
                      <a:pt x="74" y="0"/>
                      <a:pt x="74" y="0"/>
                      <a:pt x="74" y="0"/>
                    </a:cubicBezTo>
                    <a:cubicBezTo>
                      <a:pt x="60" y="0"/>
                      <a:pt x="60" y="0"/>
                      <a:pt x="60" y="0"/>
                    </a:cubicBezTo>
                    <a:lnTo>
                      <a:pt x="43" y="4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39" name="íSḷiḑè"/>
              <p:cNvSpPr/>
              <p:nvPr/>
            </p:nvSpPr>
            <p:spPr bwMode="auto">
              <a:xfrm>
                <a:off x="6564566" y="5729878"/>
                <a:ext cx="142875" cy="157163"/>
              </a:xfrm>
              <a:custGeom>
                <a:avLst/>
                <a:gdLst>
                  <a:gd name="T0" fmla="*/ 38 w 77"/>
                  <a:gd name="T1" fmla="*/ 0 h 85"/>
                  <a:gd name="T2" fmla="*/ 13 w 77"/>
                  <a:gd name="T3" fmla="*/ 9 h 85"/>
                  <a:gd name="T4" fmla="*/ 0 w 77"/>
                  <a:gd name="T5" fmla="*/ 43 h 85"/>
                  <a:gd name="T6" fmla="*/ 11 w 77"/>
                  <a:gd name="T7" fmla="*/ 74 h 85"/>
                  <a:gd name="T8" fmla="*/ 38 w 77"/>
                  <a:gd name="T9" fmla="*/ 85 h 85"/>
                  <a:gd name="T10" fmla="*/ 58 w 77"/>
                  <a:gd name="T11" fmla="*/ 80 h 85"/>
                  <a:gd name="T12" fmla="*/ 72 w 77"/>
                  <a:gd name="T13" fmla="*/ 66 h 85"/>
                  <a:gd name="T14" fmla="*/ 77 w 77"/>
                  <a:gd name="T15" fmla="*/ 42 h 85"/>
                  <a:gd name="T16" fmla="*/ 66 w 77"/>
                  <a:gd name="T17" fmla="*/ 11 h 85"/>
                  <a:gd name="T18" fmla="*/ 38 w 77"/>
                  <a:gd name="T19" fmla="*/ 0 h 85"/>
                  <a:gd name="T20" fmla="*/ 56 w 77"/>
                  <a:gd name="T21" fmla="*/ 66 h 85"/>
                  <a:gd name="T22" fmla="*/ 38 w 77"/>
                  <a:gd name="T23" fmla="*/ 74 h 85"/>
                  <a:gd name="T24" fmla="*/ 21 w 77"/>
                  <a:gd name="T25" fmla="*/ 66 h 85"/>
                  <a:gd name="T26" fmla="*/ 15 w 77"/>
                  <a:gd name="T27" fmla="*/ 43 h 85"/>
                  <a:gd name="T28" fmla="*/ 21 w 77"/>
                  <a:gd name="T29" fmla="*/ 19 h 85"/>
                  <a:gd name="T30" fmla="*/ 38 w 77"/>
                  <a:gd name="T31" fmla="*/ 12 h 85"/>
                  <a:gd name="T32" fmla="*/ 56 w 77"/>
                  <a:gd name="T33" fmla="*/ 19 h 85"/>
                  <a:gd name="T34" fmla="*/ 62 w 77"/>
                  <a:gd name="T35" fmla="*/ 42 h 85"/>
                  <a:gd name="T36" fmla="*/ 56 w 77"/>
                  <a:gd name="T37" fmla="*/ 66 h 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77" h="85">
                    <a:moveTo>
                      <a:pt x="38" y="0"/>
                    </a:moveTo>
                    <a:cubicBezTo>
                      <a:pt x="28" y="0"/>
                      <a:pt x="20" y="3"/>
                      <a:pt x="13" y="9"/>
                    </a:cubicBezTo>
                    <a:cubicBezTo>
                      <a:pt x="5" y="16"/>
                      <a:pt x="0" y="28"/>
                      <a:pt x="0" y="43"/>
                    </a:cubicBezTo>
                    <a:cubicBezTo>
                      <a:pt x="0" y="56"/>
                      <a:pt x="4" y="67"/>
                      <a:pt x="11" y="74"/>
                    </a:cubicBezTo>
                    <a:cubicBezTo>
                      <a:pt x="18" y="82"/>
                      <a:pt x="27" y="85"/>
                      <a:pt x="38" y="85"/>
                    </a:cubicBezTo>
                    <a:cubicBezTo>
                      <a:pt x="46" y="85"/>
                      <a:pt x="52" y="84"/>
                      <a:pt x="58" y="80"/>
                    </a:cubicBezTo>
                    <a:cubicBezTo>
                      <a:pt x="64" y="77"/>
                      <a:pt x="69" y="72"/>
                      <a:pt x="72" y="66"/>
                    </a:cubicBezTo>
                    <a:cubicBezTo>
                      <a:pt x="75" y="60"/>
                      <a:pt x="77" y="52"/>
                      <a:pt x="77" y="42"/>
                    </a:cubicBezTo>
                    <a:cubicBezTo>
                      <a:pt x="77" y="29"/>
                      <a:pt x="73" y="19"/>
                      <a:pt x="66" y="11"/>
                    </a:cubicBezTo>
                    <a:cubicBezTo>
                      <a:pt x="59" y="4"/>
                      <a:pt x="50" y="0"/>
                      <a:pt x="38" y="0"/>
                    </a:cubicBezTo>
                    <a:close/>
                    <a:moveTo>
                      <a:pt x="56" y="66"/>
                    </a:moveTo>
                    <a:cubicBezTo>
                      <a:pt x="51" y="71"/>
                      <a:pt x="45" y="74"/>
                      <a:pt x="38" y="74"/>
                    </a:cubicBezTo>
                    <a:cubicBezTo>
                      <a:pt x="32" y="74"/>
                      <a:pt x="26" y="71"/>
                      <a:pt x="21" y="66"/>
                    </a:cubicBezTo>
                    <a:cubicBezTo>
                      <a:pt x="17" y="61"/>
                      <a:pt x="15" y="53"/>
                      <a:pt x="15" y="43"/>
                    </a:cubicBezTo>
                    <a:cubicBezTo>
                      <a:pt x="15" y="32"/>
                      <a:pt x="17" y="24"/>
                      <a:pt x="21" y="19"/>
                    </a:cubicBezTo>
                    <a:cubicBezTo>
                      <a:pt x="26" y="14"/>
                      <a:pt x="32" y="12"/>
                      <a:pt x="38" y="12"/>
                    </a:cubicBezTo>
                    <a:cubicBezTo>
                      <a:pt x="45" y="12"/>
                      <a:pt x="51" y="14"/>
                      <a:pt x="56" y="19"/>
                    </a:cubicBezTo>
                    <a:cubicBezTo>
                      <a:pt x="60" y="25"/>
                      <a:pt x="62" y="32"/>
                      <a:pt x="62" y="42"/>
                    </a:cubicBezTo>
                    <a:cubicBezTo>
                      <a:pt x="62" y="53"/>
                      <a:pt x="60" y="61"/>
                      <a:pt x="56" y="6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40" name="ïṣľïḑe"/>
              <p:cNvSpPr/>
              <p:nvPr/>
            </p:nvSpPr>
            <p:spPr bwMode="auto">
              <a:xfrm>
                <a:off x="6720141" y="5672728"/>
                <a:ext cx="85725" cy="209550"/>
              </a:xfrm>
              <a:custGeom>
                <a:avLst/>
                <a:gdLst>
                  <a:gd name="T0" fmla="*/ 20 w 47"/>
                  <a:gd name="T1" fmla="*/ 4 h 114"/>
                  <a:gd name="T2" fmla="*/ 13 w 47"/>
                  <a:gd name="T3" fmla="*/ 12 h 114"/>
                  <a:gd name="T4" fmla="*/ 12 w 47"/>
                  <a:gd name="T5" fmla="*/ 24 h 114"/>
                  <a:gd name="T6" fmla="*/ 12 w 47"/>
                  <a:gd name="T7" fmla="*/ 33 h 114"/>
                  <a:gd name="T8" fmla="*/ 0 w 47"/>
                  <a:gd name="T9" fmla="*/ 33 h 114"/>
                  <a:gd name="T10" fmla="*/ 0 w 47"/>
                  <a:gd name="T11" fmla="*/ 44 h 114"/>
                  <a:gd name="T12" fmla="*/ 12 w 47"/>
                  <a:gd name="T13" fmla="*/ 44 h 114"/>
                  <a:gd name="T14" fmla="*/ 12 w 47"/>
                  <a:gd name="T15" fmla="*/ 114 h 114"/>
                  <a:gd name="T16" fmla="*/ 26 w 47"/>
                  <a:gd name="T17" fmla="*/ 114 h 114"/>
                  <a:gd name="T18" fmla="*/ 26 w 47"/>
                  <a:gd name="T19" fmla="*/ 44 h 114"/>
                  <a:gd name="T20" fmla="*/ 41 w 47"/>
                  <a:gd name="T21" fmla="*/ 44 h 114"/>
                  <a:gd name="T22" fmla="*/ 41 w 47"/>
                  <a:gd name="T23" fmla="*/ 33 h 114"/>
                  <a:gd name="T24" fmla="*/ 26 w 47"/>
                  <a:gd name="T25" fmla="*/ 33 h 114"/>
                  <a:gd name="T26" fmla="*/ 26 w 47"/>
                  <a:gd name="T27" fmla="*/ 26 h 114"/>
                  <a:gd name="T28" fmla="*/ 28 w 47"/>
                  <a:gd name="T29" fmla="*/ 16 h 114"/>
                  <a:gd name="T30" fmla="*/ 37 w 47"/>
                  <a:gd name="T31" fmla="*/ 13 h 114"/>
                  <a:gd name="T32" fmla="*/ 45 w 47"/>
                  <a:gd name="T33" fmla="*/ 14 h 114"/>
                  <a:gd name="T34" fmla="*/ 47 w 47"/>
                  <a:gd name="T35" fmla="*/ 2 h 114"/>
                  <a:gd name="T36" fmla="*/ 34 w 47"/>
                  <a:gd name="T37" fmla="*/ 0 h 114"/>
                  <a:gd name="T38" fmla="*/ 20 w 47"/>
                  <a:gd name="T39" fmla="*/ 4 h 1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47" h="114">
                    <a:moveTo>
                      <a:pt x="20" y="4"/>
                    </a:moveTo>
                    <a:cubicBezTo>
                      <a:pt x="17" y="6"/>
                      <a:pt x="15" y="9"/>
                      <a:pt x="13" y="12"/>
                    </a:cubicBezTo>
                    <a:cubicBezTo>
                      <a:pt x="12" y="15"/>
                      <a:pt x="12" y="19"/>
                      <a:pt x="12" y="24"/>
                    </a:cubicBezTo>
                    <a:cubicBezTo>
                      <a:pt x="12" y="33"/>
                      <a:pt x="12" y="33"/>
                      <a:pt x="12" y="33"/>
                    </a:cubicBezTo>
                    <a:cubicBezTo>
                      <a:pt x="0" y="33"/>
                      <a:pt x="0" y="33"/>
                      <a:pt x="0" y="33"/>
                    </a:cubicBezTo>
                    <a:cubicBezTo>
                      <a:pt x="0" y="44"/>
                      <a:pt x="0" y="44"/>
                      <a:pt x="0" y="44"/>
                    </a:cubicBezTo>
                    <a:cubicBezTo>
                      <a:pt x="12" y="44"/>
                      <a:pt x="12" y="44"/>
                      <a:pt x="12" y="44"/>
                    </a:cubicBezTo>
                    <a:cubicBezTo>
                      <a:pt x="12" y="114"/>
                      <a:pt x="12" y="114"/>
                      <a:pt x="12" y="114"/>
                    </a:cubicBezTo>
                    <a:cubicBezTo>
                      <a:pt x="26" y="114"/>
                      <a:pt x="26" y="114"/>
                      <a:pt x="26" y="114"/>
                    </a:cubicBezTo>
                    <a:cubicBezTo>
                      <a:pt x="26" y="44"/>
                      <a:pt x="26" y="44"/>
                      <a:pt x="26" y="44"/>
                    </a:cubicBezTo>
                    <a:cubicBezTo>
                      <a:pt x="41" y="44"/>
                      <a:pt x="41" y="44"/>
                      <a:pt x="41" y="44"/>
                    </a:cubicBezTo>
                    <a:cubicBezTo>
                      <a:pt x="41" y="33"/>
                      <a:pt x="41" y="33"/>
                      <a:pt x="41" y="33"/>
                    </a:cubicBezTo>
                    <a:cubicBezTo>
                      <a:pt x="26" y="33"/>
                      <a:pt x="26" y="33"/>
                      <a:pt x="26" y="33"/>
                    </a:cubicBezTo>
                    <a:cubicBezTo>
                      <a:pt x="26" y="26"/>
                      <a:pt x="26" y="26"/>
                      <a:pt x="26" y="26"/>
                    </a:cubicBezTo>
                    <a:cubicBezTo>
                      <a:pt x="26" y="21"/>
                      <a:pt x="27" y="17"/>
                      <a:pt x="28" y="16"/>
                    </a:cubicBezTo>
                    <a:cubicBezTo>
                      <a:pt x="30" y="14"/>
                      <a:pt x="33" y="13"/>
                      <a:pt x="37" y="13"/>
                    </a:cubicBezTo>
                    <a:cubicBezTo>
                      <a:pt x="40" y="13"/>
                      <a:pt x="42" y="13"/>
                      <a:pt x="45" y="14"/>
                    </a:cubicBezTo>
                    <a:cubicBezTo>
                      <a:pt x="47" y="2"/>
                      <a:pt x="47" y="2"/>
                      <a:pt x="47" y="2"/>
                    </a:cubicBezTo>
                    <a:cubicBezTo>
                      <a:pt x="43" y="1"/>
                      <a:pt x="38" y="0"/>
                      <a:pt x="34" y="0"/>
                    </a:cubicBezTo>
                    <a:cubicBezTo>
                      <a:pt x="28" y="0"/>
                      <a:pt x="24" y="1"/>
                      <a:pt x="20" y="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41" name="ïš1îḍè"/>
              <p:cNvSpPr/>
              <p:nvPr/>
            </p:nvSpPr>
            <p:spPr bwMode="auto">
              <a:xfrm>
                <a:off x="6890003" y="5672728"/>
                <a:ext cx="165100" cy="214313"/>
              </a:xfrm>
              <a:custGeom>
                <a:avLst/>
                <a:gdLst>
                  <a:gd name="T0" fmla="*/ 71 w 90"/>
                  <a:gd name="T1" fmla="*/ 55 h 116"/>
                  <a:gd name="T2" fmla="*/ 46 w 90"/>
                  <a:gd name="T3" fmla="*/ 48 h 116"/>
                  <a:gd name="T4" fmla="*/ 23 w 90"/>
                  <a:gd name="T5" fmla="*/ 40 h 116"/>
                  <a:gd name="T6" fmla="*/ 19 w 90"/>
                  <a:gd name="T7" fmla="*/ 30 h 116"/>
                  <a:gd name="T8" fmla="*/ 25 w 90"/>
                  <a:gd name="T9" fmla="*/ 18 h 116"/>
                  <a:gd name="T10" fmla="*/ 45 w 90"/>
                  <a:gd name="T11" fmla="*/ 13 h 116"/>
                  <a:gd name="T12" fmla="*/ 64 w 90"/>
                  <a:gd name="T13" fmla="*/ 19 h 116"/>
                  <a:gd name="T14" fmla="*/ 72 w 90"/>
                  <a:gd name="T15" fmla="*/ 35 h 116"/>
                  <a:gd name="T16" fmla="*/ 86 w 90"/>
                  <a:gd name="T17" fmla="*/ 34 h 116"/>
                  <a:gd name="T18" fmla="*/ 81 w 90"/>
                  <a:gd name="T19" fmla="*/ 16 h 116"/>
                  <a:gd name="T20" fmla="*/ 66 w 90"/>
                  <a:gd name="T21" fmla="*/ 4 h 116"/>
                  <a:gd name="T22" fmla="*/ 44 w 90"/>
                  <a:gd name="T23" fmla="*/ 0 h 116"/>
                  <a:gd name="T24" fmla="*/ 24 w 90"/>
                  <a:gd name="T25" fmla="*/ 4 h 116"/>
                  <a:gd name="T26" fmla="*/ 10 w 90"/>
                  <a:gd name="T27" fmla="*/ 15 h 116"/>
                  <a:gd name="T28" fmla="*/ 5 w 90"/>
                  <a:gd name="T29" fmla="*/ 31 h 116"/>
                  <a:gd name="T30" fmla="*/ 9 w 90"/>
                  <a:gd name="T31" fmla="*/ 45 h 116"/>
                  <a:gd name="T32" fmla="*/ 21 w 90"/>
                  <a:gd name="T33" fmla="*/ 56 h 116"/>
                  <a:gd name="T34" fmla="*/ 42 w 90"/>
                  <a:gd name="T35" fmla="*/ 63 h 116"/>
                  <a:gd name="T36" fmla="*/ 62 w 90"/>
                  <a:gd name="T37" fmla="*/ 68 h 116"/>
                  <a:gd name="T38" fmla="*/ 72 w 90"/>
                  <a:gd name="T39" fmla="*/ 75 h 116"/>
                  <a:gd name="T40" fmla="*/ 75 w 90"/>
                  <a:gd name="T41" fmla="*/ 84 h 116"/>
                  <a:gd name="T42" fmla="*/ 72 w 90"/>
                  <a:gd name="T43" fmla="*/ 93 h 116"/>
                  <a:gd name="T44" fmla="*/ 63 w 90"/>
                  <a:gd name="T45" fmla="*/ 100 h 116"/>
                  <a:gd name="T46" fmla="*/ 48 w 90"/>
                  <a:gd name="T47" fmla="*/ 103 h 116"/>
                  <a:gd name="T48" fmla="*/ 30 w 90"/>
                  <a:gd name="T49" fmla="*/ 100 h 116"/>
                  <a:gd name="T50" fmla="*/ 19 w 90"/>
                  <a:gd name="T51" fmla="*/ 91 h 116"/>
                  <a:gd name="T52" fmla="*/ 14 w 90"/>
                  <a:gd name="T53" fmla="*/ 77 h 116"/>
                  <a:gd name="T54" fmla="*/ 0 w 90"/>
                  <a:gd name="T55" fmla="*/ 78 h 116"/>
                  <a:gd name="T56" fmla="*/ 7 w 90"/>
                  <a:gd name="T57" fmla="*/ 98 h 116"/>
                  <a:gd name="T58" fmla="*/ 23 w 90"/>
                  <a:gd name="T59" fmla="*/ 112 h 116"/>
                  <a:gd name="T60" fmla="*/ 48 w 90"/>
                  <a:gd name="T61" fmla="*/ 116 h 116"/>
                  <a:gd name="T62" fmla="*/ 70 w 90"/>
                  <a:gd name="T63" fmla="*/ 112 h 116"/>
                  <a:gd name="T64" fmla="*/ 85 w 90"/>
                  <a:gd name="T65" fmla="*/ 100 h 116"/>
                  <a:gd name="T66" fmla="*/ 90 w 90"/>
                  <a:gd name="T67" fmla="*/ 83 h 116"/>
                  <a:gd name="T68" fmla="*/ 85 w 90"/>
                  <a:gd name="T69" fmla="*/ 67 h 116"/>
                  <a:gd name="T70" fmla="*/ 71 w 90"/>
                  <a:gd name="T71" fmla="*/ 55 h 1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90" h="116">
                    <a:moveTo>
                      <a:pt x="71" y="55"/>
                    </a:moveTo>
                    <a:cubicBezTo>
                      <a:pt x="66" y="53"/>
                      <a:pt x="58" y="51"/>
                      <a:pt x="46" y="48"/>
                    </a:cubicBezTo>
                    <a:cubicBezTo>
                      <a:pt x="34" y="45"/>
                      <a:pt x="26" y="43"/>
                      <a:pt x="23" y="40"/>
                    </a:cubicBezTo>
                    <a:cubicBezTo>
                      <a:pt x="21" y="38"/>
                      <a:pt x="19" y="34"/>
                      <a:pt x="19" y="30"/>
                    </a:cubicBezTo>
                    <a:cubicBezTo>
                      <a:pt x="19" y="26"/>
                      <a:pt x="21" y="22"/>
                      <a:pt x="25" y="18"/>
                    </a:cubicBezTo>
                    <a:cubicBezTo>
                      <a:pt x="29" y="15"/>
                      <a:pt x="36" y="13"/>
                      <a:pt x="45" y="13"/>
                    </a:cubicBezTo>
                    <a:cubicBezTo>
                      <a:pt x="53" y="13"/>
                      <a:pt x="60" y="15"/>
                      <a:pt x="64" y="19"/>
                    </a:cubicBezTo>
                    <a:cubicBezTo>
                      <a:pt x="69" y="22"/>
                      <a:pt x="71" y="28"/>
                      <a:pt x="72" y="35"/>
                    </a:cubicBezTo>
                    <a:cubicBezTo>
                      <a:pt x="86" y="34"/>
                      <a:pt x="86" y="34"/>
                      <a:pt x="86" y="34"/>
                    </a:cubicBezTo>
                    <a:cubicBezTo>
                      <a:pt x="86" y="27"/>
                      <a:pt x="84" y="21"/>
                      <a:pt x="81" y="16"/>
                    </a:cubicBezTo>
                    <a:cubicBezTo>
                      <a:pt x="77" y="11"/>
                      <a:pt x="73" y="7"/>
                      <a:pt x="66" y="4"/>
                    </a:cubicBezTo>
                    <a:cubicBezTo>
                      <a:pt x="60" y="2"/>
                      <a:pt x="53" y="0"/>
                      <a:pt x="44" y="0"/>
                    </a:cubicBezTo>
                    <a:cubicBezTo>
                      <a:pt x="37" y="0"/>
                      <a:pt x="30" y="1"/>
                      <a:pt x="24" y="4"/>
                    </a:cubicBezTo>
                    <a:cubicBezTo>
                      <a:pt x="17" y="7"/>
                      <a:pt x="13" y="10"/>
                      <a:pt x="10" y="15"/>
                    </a:cubicBezTo>
                    <a:cubicBezTo>
                      <a:pt x="6" y="20"/>
                      <a:pt x="5" y="25"/>
                      <a:pt x="5" y="31"/>
                    </a:cubicBezTo>
                    <a:cubicBezTo>
                      <a:pt x="5" y="36"/>
                      <a:pt x="6" y="41"/>
                      <a:pt x="9" y="45"/>
                    </a:cubicBezTo>
                    <a:cubicBezTo>
                      <a:pt x="11" y="49"/>
                      <a:pt x="15" y="53"/>
                      <a:pt x="21" y="56"/>
                    </a:cubicBezTo>
                    <a:cubicBezTo>
                      <a:pt x="25" y="58"/>
                      <a:pt x="32" y="60"/>
                      <a:pt x="42" y="63"/>
                    </a:cubicBezTo>
                    <a:cubicBezTo>
                      <a:pt x="53" y="65"/>
                      <a:pt x="59" y="67"/>
                      <a:pt x="62" y="68"/>
                    </a:cubicBezTo>
                    <a:cubicBezTo>
                      <a:pt x="67" y="70"/>
                      <a:pt x="70" y="72"/>
                      <a:pt x="72" y="75"/>
                    </a:cubicBezTo>
                    <a:cubicBezTo>
                      <a:pt x="74" y="77"/>
                      <a:pt x="75" y="80"/>
                      <a:pt x="75" y="84"/>
                    </a:cubicBezTo>
                    <a:cubicBezTo>
                      <a:pt x="75" y="87"/>
                      <a:pt x="74" y="91"/>
                      <a:pt x="72" y="93"/>
                    </a:cubicBezTo>
                    <a:cubicBezTo>
                      <a:pt x="70" y="96"/>
                      <a:pt x="67" y="99"/>
                      <a:pt x="63" y="100"/>
                    </a:cubicBezTo>
                    <a:cubicBezTo>
                      <a:pt x="58" y="102"/>
                      <a:pt x="53" y="103"/>
                      <a:pt x="48" y="103"/>
                    </a:cubicBezTo>
                    <a:cubicBezTo>
                      <a:pt x="41" y="103"/>
                      <a:pt x="35" y="102"/>
                      <a:pt x="30" y="100"/>
                    </a:cubicBezTo>
                    <a:cubicBezTo>
                      <a:pt x="25" y="97"/>
                      <a:pt x="22" y="94"/>
                      <a:pt x="19" y="91"/>
                    </a:cubicBezTo>
                    <a:cubicBezTo>
                      <a:pt x="17" y="87"/>
                      <a:pt x="15" y="83"/>
                      <a:pt x="14" y="77"/>
                    </a:cubicBezTo>
                    <a:cubicBezTo>
                      <a:pt x="0" y="78"/>
                      <a:pt x="0" y="78"/>
                      <a:pt x="0" y="78"/>
                    </a:cubicBezTo>
                    <a:cubicBezTo>
                      <a:pt x="1" y="86"/>
                      <a:pt x="3" y="93"/>
                      <a:pt x="7" y="98"/>
                    </a:cubicBezTo>
                    <a:cubicBezTo>
                      <a:pt x="11" y="104"/>
                      <a:pt x="16" y="109"/>
                      <a:pt x="23" y="112"/>
                    </a:cubicBezTo>
                    <a:cubicBezTo>
                      <a:pt x="30" y="115"/>
                      <a:pt x="38" y="116"/>
                      <a:pt x="48" y="116"/>
                    </a:cubicBezTo>
                    <a:cubicBezTo>
                      <a:pt x="56" y="116"/>
                      <a:pt x="64" y="115"/>
                      <a:pt x="70" y="112"/>
                    </a:cubicBezTo>
                    <a:cubicBezTo>
                      <a:pt x="76" y="109"/>
                      <a:pt x="81" y="105"/>
                      <a:pt x="85" y="100"/>
                    </a:cubicBezTo>
                    <a:cubicBezTo>
                      <a:pt x="88" y="94"/>
                      <a:pt x="90" y="89"/>
                      <a:pt x="90" y="83"/>
                    </a:cubicBezTo>
                    <a:cubicBezTo>
                      <a:pt x="90" y="77"/>
                      <a:pt x="88" y="71"/>
                      <a:pt x="85" y="67"/>
                    </a:cubicBezTo>
                    <a:cubicBezTo>
                      <a:pt x="82" y="62"/>
                      <a:pt x="77" y="58"/>
                      <a:pt x="71" y="5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42" name="iṥľïḍê"/>
              <p:cNvSpPr/>
              <p:nvPr/>
            </p:nvSpPr>
            <p:spPr bwMode="auto">
              <a:xfrm>
                <a:off x="7080503" y="5729878"/>
                <a:ext cx="131763" cy="157163"/>
              </a:xfrm>
              <a:custGeom>
                <a:avLst/>
                <a:gdLst>
                  <a:gd name="T0" fmla="*/ 50 w 71"/>
                  <a:gd name="T1" fmla="*/ 69 h 85"/>
                  <a:gd name="T2" fmla="*/ 37 w 71"/>
                  <a:gd name="T3" fmla="*/ 74 h 85"/>
                  <a:gd name="T4" fmla="*/ 21 w 71"/>
                  <a:gd name="T5" fmla="*/ 66 h 85"/>
                  <a:gd name="T6" fmla="*/ 14 w 71"/>
                  <a:gd name="T7" fmla="*/ 43 h 85"/>
                  <a:gd name="T8" fmla="*/ 21 w 71"/>
                  <a:gd name="T9" fmla="*/ 19 h 85"/>
                  <a:gd name="T10" fmla="*/ 38 w 71"/>
                  <a:gd name="T11" fmla="*/ 12 h 85"/>
                  <a:gd name="T12" fmla="*/ 49 w 71"/>
                  <a:gd name="T13" fmla="*/ 16 h 85"/>
                  <a:gd name="T14" fmla="*/ 56 w 71"/>
                  <a:gd name="T15" fmla="*/ 28 h 85"/>
                  <a:gd name="T16" fmla="*/ 70 w 71"/>
                  <a:gd name="T17" fmla="*/ 26 h 85"/>
                  <a:gd name="T18" fmla="*/ 59 w 71"/>
                  <a:gd name="T19" fmla="*/ 7 h 85"/>
                  <a:gd name="T20" fmla="*/ 37 w 71"/>
                  <a:gd name="T21" fmla="*/ 0 h 85"/>
                  <a:gd name="T22" fmla="*/ 18 w 71"/>
                  <a:gd name="T23" fmla="*/ 5 h 85"/>
                  <a:gd name="T24" fmla="*/ 4 w 71"/>
                  <a:gd name="T25" fmla="*/ 20 h 85"/>
                  <a:gd name="T26" fmla="*/ 0 w 71"/>
                  <a:gd name="T27" fmla="*/ 43 h 85"/>
                  <a:gd name="T28" fmla="*/ 10 w 71"/>
                  <a:gd name="T29" fmla="*/ 74 h 85"/>
                  <a:gd name="T30" fmla="*/ 37 w 71"/>
                  <a:gd name="T31" fmla="*/ 85 h 85"/>
                  <a:gd name="T32" fmla="*/ 60 w 71"/>
                  <a:gd name="T33" fmla="*/ 77 h 85"/>
                  <a:gd name="T34" fmla="*/ 71 w 71"/>
                  <a:gd name="T35" fmla="*/ 55 h 85"/>
                  <a:gd name="T36" fmla="*/ 57 w 71"/>
                  <a:gd name="T37" fmla="*/ 54 h 85"/>
                  <a:gd name="T38" fmla="*/ 50 w 71"/>
                  <a:gd name="T39" fmla="*/ 69 h 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71" h="85">
                    <a:moveTo>
                      <a:pt x="50" y="69"/>
                    </a:moveTo>
                    <a:cubicBezTo>
                      <a:pt x="47" y="72"/>
                      <a:pt x="42" y="74"/>
                      <a:pt x="37" y="74"/>
                    </a:cubicBezTo>
                    <a:cubicBezTo>
                      <a:pt x="30" y="74"/>
                      <a:pt x="25" y="71"/>
                      <a:pt x="21" y="66"/>
                    </a:cubicBezTo>
                    <a:cubicBezTo>
                      <a:pt x="16" y="61"/>
                      <a:pt x="14" y="54"/>
                      <a:pt x="14" y="43"/>
                    </a:cubicBezTo>
                    <a:cubicBezTo>
                      <a:pt x="14" y="32"/>
                      <a:pt x="16" y="24"/>
                      <a:pt x="21" y="19"/>
                    </a:cubicBezTo>
                    <a:cubicBezTo>
                      <a:pt x="25" y="14"/>
                      <a:pt x="31" y="12"/>
                      <a:pt x="38" y="12"/>
                    </a:cubicBezTo>
                    <a:cubicBezTo>
                      <a:pt x="42" y="12"/>
                      <a:pt x="46" y="13"/>
                      <a:pt x="49" y="16"/>
                    </a:cubicBezTo>
                    <a:cubicBezTo>
                      <a:pt x="53" y="18"/>
                      <a:pt x="55" y="23"/>
                      <a:pt x="56" y="28"/>
                    </a:cubicBezTo>
                    <a:cubicBezTo>
                      <a:pt x="70" y="26"/>
                      <a:pt x="70" y="26"/>
                      <a:pt x="70" y="26"/>
                    </a:cubicBezTo>
                    <a:cubicBezTo>
                      <a:pt x="68" y="18"/>
                      <a:pt x="64" y="11"/>
                      <a:pt x="59" y="7"/>
                    </a:cubicBezTo>
                    <a:cubicBezTo>
                      <a:pt x="53" y="2"/>
                      <a:pt x="46" y="0"/>
                      <a:pt x="37" y="0"/>
                    </a:cubicBezTo>
                    <a:cubicBezTo>
                      <a:pt x="30" y="0"/>
                      <a:pt x="24" y="2"/>
                      <a:pt x="18" y="5"/>
                    </a:cubicBezTo>
                    <a:cubicBezTo>
                      <a:pt x="12" y="8"/>
                      <a:pt x="7" y="13"/>
                      <a:pt x="4" y="20"/>
                    </a:cubicBezTo>
                    <a:cubicBezTo>
                      <a:pt x="2" y="27"/>
                      <a:pt x="0" y="34"/>
                      <a:pt x="0" y="43"/>
                    </a:cubicBezTo>
                    <a:cubicBezTo>
                      <a:pt x="0" y="57"/>
                      <a:pt x="3" y="67"/>
                      <a:pt x="10" y="74"/>
                    </a:cubicBezTo>
                    <a:cubicBezTo>
                      <a:pt x="17" y="82"/>
                      <a:pt x="26" y="85"/>
                      <a:pt x="37" y="85"/>
                    </a:cubicBezTo>
                    <a:cubicBezTo>
                      <a:pt x="46" y="85"/>
                      <a:pt x="53" y="83"/>
                      <a:pt x="60" y="77"/>
                    </a:cubicBezTo>
                    <a:cubicBezTo>
                      <a:pt x="66" y="72"/>
                      <a:pt x="69" y="65"/>
                      <a:pt x="71" y="55"/>
                    </a:cubicBezTo>
                    <a:cubicBezTo>
                      <a:pt x="57" y="54"/>
                      <a:pt x="57" y="54"/>
                      <a:pt x="57" y="54"/>
                    </a:cubicBezTo>
                    <a:cubicBezTo>
                      <a:pt x="56" y="60"/>
                      <a:pt x="54" y="66"/>
                      <a:pt x="50" y="6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43" name="íṥ1ïdê"/>
              <p:cNvSpPr/>
              <p:nvPr/>
            </p:nvSpPr>
            <p:spPr bwMode="auto">
              <a:xfrm>
                <a:off x="7234491" y="5675903"/>
                <a:ext cx="25400" cy="30163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44" name="îṡ1îďé"/>
              <p:cNvSpPr/>
              <p:nvPr/>
            </p:nvSpPr>
            <p:spPr bwMode="auto">
              <a:xfrm>
                <a:off x="7234491" y="5733053"/>
                <a:ext cx="25400" cy="149225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45" name="íṩḷïḑé"/>
              <p:cNvSpPr/>
              <p:nvPr/>
            </p:nvSpPr>
            <p:spPr bwMode="auto">
              <a:xfrm>
                <a:off x="7290053" y="5729878"/>
                <a:ext cx="138113" cy="157163"/>
              </a:xfrm>
              <a:custGeom>
                <a:avLst/>
                <a:gdLst>
                  <a:gd name="T0" fmla="*/ 38 w 75"/>
                  <a:gd name="T1" fmla="*/ 0 h 85"/>
                  <a:gd name="T2" fmla="*/ 10 w 75"/>
                  <a:gd name="T3" fmla="*/ 12 h 85"/>
                  <a:gd name="T4" fmla="*/ 0 w 75"/>
                  <a:gd name="T5" fmla="*/ 43 h 85"/>
                  <a:gd name="T6" fmla="*/ 10 w 75"/>
                  <a:gd name="T7" fmla="*/ 74 h 85"/>
                  <a:gd name="T8" fmla="*/ 39 w 75"/>
                  <a:gd name="T9" fmla="*/ 85 h 85"/>
                  <a:gd name="T10" fmla="*/ 62 w 75"/>
                  <a:gd name="T11" fmla="*/ 78 h 85"/>
                  <a:gd name="T12" fmla="*/ 74 w 75"/>
                  <a:gd name="T13" fmla="*/ 59 h 85"/>
                  <a:gd name="T14" fmla="*/ 60 w 75"/>
                  <a:gd name="T15" fmla="*/ 57 h 85"/>
                  <a:gd name="T16" fmla="*/ 52 w 75"/>
                  <a:gd name="T17" fmla="*/ 70 h 85"/>
                  <a:gd name="T18" fmla="*/ 39 w 75"/>
                  <a:gd name="T19" fmla="*/ 74 h 85"/>
                  <a:gd name="T20" fmla="*/ 22 w 75"/>
                  <a:gd name="T21" fmla="*/ 67 h 85"/>
                  <a:gd name="T22" fmla="*/ 14 w 75"/>
                  <a:gd name="T23" fmla="*/ 46 h 85"/>
                  <a:gd name="T24" fmla="*/ 75 w 75"/>
                  <a:gd name="T25" fmla="*/ 46 h 85"/>
                  <a:gd name="T26" fmla="*/ 75 w 75"/>
                  <a:gd name="T27" fmla="*/ 43 h 85"/>
                  <a:gd name="T28" fmla="*/ 65 w 75"/>
                  <a:gd name="T29" fmla="*/ 11 h 85"/>
                  <a:gd name="T30" fmla="*/ 38 w 75"/>
                  <a:gd name="T31" fmla="*/ 0 h 85"/>
                  <a:gd name="T32" fmla="*/ 15 w 75"/>
                  <a:gd name="T33" fmla="*/ 35 h 85"/>
                  <a:gd name="T34" fmla="*/ 22 w 75"/>
                  <a:gd name="T35" fmla="*/ 18 h 85"/>
                  <a:gd name="T36" fmla="*/ 38 w 75"/>
                  <a:gd name="T37" fmla="*/ 12 h 85"/>
                  <a:gd name="T38" fmla="*/ 55 w 75"/>
                  <a:gd name="T39" fmla="*/ 20 h 85"/>
                  <a:gd name="T40" fmla="*/ 60 w 75"/>
                  <a:gd name="T41" fmla="*/ 35 h 85"/>
                  <a:gd name="T42" fmla="*/ 15 w 75"/>
                  <a:gd name="T43" fmla="*/ 35 h 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75" h="85">
                    <a:moveTo>
                      <a:pt x="38" y="0"/>
                    </a:moveTo>
                    <a:cubicBezTo>
                      <a:pt x="27" y="0"/>
                      <a:pt x="18" y="4"/>
                      <a:pt x="10" y="12"/>
                    </a:cubicBezTo>
                    <a:cubicBezTo>
                      <a:pt x="3" y="19"/>
                      <a:pt x="0" y="30"/>
                      <a:pt x="0" y="43"/>
                    </a:cubicBezTo>
                    <a:cubicBezTo>
                      <a:pt x="0" y="57"/>
                      <a:pt x="3" y="67"/>
                      <a:pt x="10" y="74"/>
                    </a:cubicBezTo>
                    <a:cubicBezTo>
                      <a:pt x="17" y="81"/>
                      <a:pt x="27" y="85"/>
                      <a:pt x="39" y="85"/>
                    </a:cubicBezTo>
                    <a:cubicBezTo>
                      <a:pt x="48" y="85"/>
                      <a:pt x="56" y="83"/>
                      <a:pt x="62" y="78"/>
                    </a:cubicBezTo>
                    <a:cubicBezTo>
                      <a:pt x="68" y="74"/>
                      <a:pt x="72" y="67"/>
                      <a:pt x="74" y="59"/>
                    </a:cubicBezTo>
                    <a:cubicBezTo>
                      <a:pt x="60" y="57"/>
                      <a:pt x="60" y="57"/>
                      <a:pt x="60" y="57"/>
                    </a:cubicBezTo>
                    <a:cubicBezTo>
                      <a:pt x="58" y="63"/>
                      <a:pt x="55" y="67"/>
                      <a:pt x="52" y="70"/>
                    </a:cubicBezTo>
                    <a:cubicBezTo>
                      <a:pt x="48" y="73"/>
                      <a:pt x="44" y="74"/>
                      <a:pt x="39" y="74"/>
                    </a:cubicBezTo>
                    <a:cubicBezTo>
                      <a:pt x="32" y="74"/>
                      <a:pt x="26" y="71"/>
                      <a:pt x="22" y="67"/>
                    </a:cubicBezTo>
                    <a:cubicBezTo>
                      <a:pt x="17" y="62"/>
                      <a:pt x="15" y="55"/>
                      <a:pt x="14" y="46"/>
                    </a:cubicBezTo>
                    <a:cubicBezTo>
                      <a:pt x="75" y="46"/>
                      <a:pt x="75" y="46"/>
                      <a:pt x="75" y="46"/>
                    </a:cubicBezTo>
                    <a:cubicBezTo>
                      <a:pt x="75" y="45"/>
                      <a:pt x="75" y="43"/>
                      <a:pt x="75" y="43"/>
                    </a:cubicBezTo>
                    <a:cubicBezTo>
                      <a:pt x="75" y="29"/>
                      <a:pt x="71" y="19"/>
                      <a:pt x="65" y="11"/>
                    </a:cubicBezTo>
                    <a:cubicBezTo>
                      <a:pt x="58" y="4"/>
                      <a:pt x="49" y="0"/>
                      <a:pt x="38" y="0"/>
                    </a:cubicBezTo>
                    <a:close/>
                    <a:moveTo>
                      <a:pt x="15" y="35"/>
                    </a:moveTo>
                    <a:cubicBezTo>
                      <a:pt x="15" y="28"/>
                      <a:pt x="18" y="22"/>
                      <a:pt x="22" y="18"/>
                    </a:cubicBezTo>
                    <a:cubicBezTo>
                      <a:pt x="26" y="14"/>
                      <a:pt x="32" y="12"/>
                      <a:pt x="38" y="12"/>
                    </a:cubicBezTo>
                    <a:cubicBezTo>
                      <a:pt x="45" y="12"/>
                      <a:pt x="51" y="14"/>
                      <a:pt x="55" y="20"/>
                    </a:cubicBezTo>
                    <a:cubicBezTo>
                      <a:pt x="58" y="23"/>
                      <a:pt x="60" y="28"/>
                      <a:pt x="60" y="35"/>
                    </a:cubicBezTo>
                    <a:lnTo>
                      <a:pt x="15" y="3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46" name="ïşḷiḋè"/>
              <p:cNvSpPr/>
              <p:nvPr/>
            </p:nvSpPr>
            <p:spPr bwMode="auto">
              <a:xfrm>
                <a:off x="7458328" y="5729878"/>
                <a:ext cx="122238" cy="152400"/>
              </a:xfrm>
              <a:custGeom>
                <a:avLst/>
                <a:gdLst>
                  <a:gd name="T0" fmla="*/ 61 w 66"/>
                  <a:gd name="T1" fmla="*/ 10 h 83"/>
                  <a:gd name="T2" fmla="*/ 51 w 66"/>
                  <a:gd name="T3" fmla="*/ 3 h 83"/>
                  <a:gd name="T4" fmla="*/ 38 w 66"/>
                  <a:gd name="T5" fmla="*/ 0 h 83"/>
                  <a:gd name="T6" fmla="*/ 12 w 66"/>
                  <a:gd name="T7" fmla="*/ 14 h 83"/>
                  <a:gd name="T8" fmla="*/ 12 w 66"/>
                  <a:gd name="T9" fmla="*/ 2 h 83"/>
                  <a:gd name="T10" fmla="*/ 0 w 66"/>
                  <a:gd name="T11" fmla="*/ 2 h 83"/>
                  <a:gd name="T12" fmla="*/ 0 w 66"/>
                  <a:gd name="T13" fmla="*/ 83 h 83"/>
                  <a:gd name="T14" fmla="*/ 13 w 66"/>
                  <a:gd name="T15" fmla="*/ 83 h 83"/>
                  <a:gd name="T16" fmla="*/ 13 w 66"/>
                  <a:gd name="T17" fmla="*/ 39 h 83"/>
                  <a:gd name="T18" fmla="*/ 20 w 66"/>
                  <a:gd name="T19" fmla="*/ 18 h 83"/>
                  <a:gd name="T20" fmla="*/ 35 w 66"/>
                  <a:gd name="T21" fmla="*/ 12 h 83"/>
                  <a:gd name="T22" fmla="*/ 45 w 66"/>
                  <a:gd name="T23" fmla="*/ 15 h 83"/>
                  <a:gd name="T24" fmla="*/ 50 w 66"/>
                  <a:gd name="T25" fmla="*/ 21 h 83"/>
                  <a:gd name="T26" fmla="*/ 52 w 66"/>
                  <a:gd name="T27" fmla="*/ 34 h 83"/>
                  <a:gd name="T28" fmla="*/ 52 w 66"/>
                  <a:gd name="T29" fmla="*/ 83 h 83"/>
                  <a:gd name="T30" fmla="*/ 66 w 66"/>
                  <a:gd name="T31" fmla="*/ 83 h 83"/>
                  <a:gd name="T32" fmla="*/ 66 w 66"/>
                  <a:gd name="T33" fmla="*/ 33 h 83"/>
                  <a:gd name="T34" fmla="*/ 65 w 66"/>
                  <a:gd name="T35" fmla="*/ 20 h 83"/>
                  <a:gd name="T36" fmla="*/ 61 w 66"/>
                  <a:gd name="T37" fmla="*/ 10 h 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66" h="83">
                    <a:moveTo>
                      <a:pt x="61" y="10"/>
                    </a:moveTo>
                    <a:cubicBezTo>
                      <a:pt x="59" y="7"/>
                      <a:pt x="56" y="5"/>
                      <a:pt x="51" y="3"/>
                    </a:cubicBezTo>
                    <a:cubicBezTo>
                      <a:pt x="47" y="1"/>
                      <a:pt x="43" y="0"/>
                      <a:pt x="38" y="0"/>
                    </a:cubicBezTo>
                    <a:cubicBezTo>
                      <a:pt x="27" y="0"/>
                      <a:pt x="18" y="5"/>
                      <a:pt x="12" y="14"/>
                    </a:cubicBezTo>
                    <a:cubicBezTo>
                      <a:pt x="12" y="2"/>
                      <a:pt x="12" y="2"/>
                      <a:pt x="12" y="2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83"/>
                      <a:pt x="0" y="83"/>
                      <a:pt x="0" y="83"/>
                    </a:cubicBezTo>
                    <a:cubicBezTo>
                      <a:pt x="13" y="83"/>
                      <a:pt x="13" y="83"/>
                      <a:pt x="13" y="83"/>
                    </a:cubicBezTo>
                    <a:cubicBezTo>
                      <a:pt x="13" y="39"/>
                      <a:pt x="13" y="39"/>
                      <a:pt x="13" y="39"/>
                    </a:cubicBezTo>
                    <a:cubicBezTo>
                      <a:pt x="13" y="29"/>
                      <a:pt x="16" y="21"/>
                      <a:pt x="20" y="18"/>
                    </a:cubicBezTo>
                    <a:cubicBezTo>
                      <a:pt x="24" y="14"/>
                      <a:pt x="29" y="12"/>
                      <a:pt x="35" y="12"/>
                    </a:cubicBezTo>
                    <a:cubicBezTo>
                      <a:pt x="39" y="12"/>
                      <a:pt x="42" y="13"/>
                      <a:pt x="45" y="15"/>
                    </a:cubicBezTo>
                    <a:cubicBezTo>
                      <a:pt x="47" y="16"/>
                      <a:pt x="49" y="19"/>
                      <a:pt x="50" y="21"/>
                    </a:cubicBezTo>
                    <a:cubicBezTo>
                      <a:pt x="51" y="24"/>
                      <a:pt x="52" y="28"/>
                      <a:pt x="52" y="34"/>
                    </a:cubicBezTo>
                    <a:cubicBezTo>
                      <a:pt x="52" y="83"/>
                      <a:pt x="52" y="83"/>
                      <a:pt x="52" y="83"/>
                    </a:cubicBezTo>
                    <a:cubicBezTo>
                      <a:pt x="66" y="83"/>
                      <a:pt x="66" y="83"/>
                      <a:pt x="66" y="83"/>
                    </a:cubicBezTo>
                    <a:cubicBezTo>
                      <a:pt x="66" y="33"/>
                      <a:pt x="66" y="33"/>
                      <a:pt x="66" y="33"/>
                    </a:cubicBezTo>
                    <a:cubicBezTo>
                      <a:pt x="66" y="27"/>
                      <a:pt x="65" y="23"/>
                      <a:pt x="65" y="20"/>
                    </a:cubicBezTo>
                    <a:cubicBezTo>
                      <a:pt x="64" y="16"/>
                      <a:pt x="63" y="13"/>
                      <a:pt x="61" y="1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47" name="îṩľiḍé"/>
              <p:cNvSpPr/>
              <p:nvPr/>
            </p:nvSpPr>
            <p:spPr bwMode="auto">
              <a:xfrm>
                <a:off x="7612316" y="5729878"/>
                <a:ext cx="128588" cy="157163"/>
              </a:xfrm>
              <a:custGeom>
                <a:avLst/>
                <a:gdLst>
                  <a:gd name="T0" fmla="*/ 50 w 70"/>
                  <a:gd name="T1" fmla="*/ 69 h 85"/>
                  <a:gd name="T2" fmla="*/ 36 w 70"/>
                  <a:gd name="T3" fmla="*/ 74 h 85"/>
                  <a:gd name="T4" fmla="*/ 20 w 70"/>
                  <a:gd name="T5" fmla="*/ 66 h 85"/>
                  <a:gd name="T6" fmla="*/ 14 w 70"/>
                  <a:gd name="T7" fmla="*/ 43 h 85"/>
                  <a:gd name="T8" fmla="*/ 20 w 70"/>
                  <a:gd name="T9" fmla="*/ 19 h 85"/>
                  <a:gd name="T10" fmla="*/ 37 w 70"/>
                  <a:gd name="T11" fmla="*/ 12 h 85"/>
                  <a:gd name="T12" fmla="*/ 49 w 70"/>
                  <a:gd name="T13" fmla="*/ 16 h 85"/>
                  <a:gd name="T14" fmla="*/ 56 w 70"/>
                  <a:gd name="T15" fmla="*/ 28 h 85"/>
                  <a:gd name="T16" fmla="*/ 69 w 70"/>
                  <a:gd name="T17" fmla="*/ 26 h 85"/>
                  <a:gd name="T18" fmla="*/ 58 w 70"/>
                  <a:gd name="T19" fmla="*/ 7 h 85"/>
                  <a:gd name="T20" fmla="*/ 37 w 70"/>
                  <a:gd name="T21" fmla="*/ 0 h 85"/>
                  <a:gd name="T22" fmla="*/ 17 w 70"/>
                  <a:gd name="T23" fmla="*/ 5 h 85"/>
                  <a:gd name="T24" fmla="*/ 4 w 70"/>
                  <a:gd name="T25" fmla="*/ 20 h 85"/>
                  <a:gd name="T26" fmla="*/ 0 w 70"/>
                  <a:gd name="T27" fmla="*/ 43 h 85"/>
                  <a:gd name="T28" fmla="*/ 10 w 70"/>
                  <a:gd name="T29" fmla="*/ 74 h 85"/>
                  <a:gd name="T30" fmla="*/ 37 w 70"/>
                  <a:gd name="T31" fmla="*/ 85 h 85"/>
                  <a:gd name="T32" fmla="*/ 59 w 70"/>
                  <a:gd name="T33" fmla="*/ 77 h 85"/>
                  <a:gd name="T34" fmla="*/ 70 w 70"/>
                  <a:gd name="T35" fmla="*/ 55 h 85"/>
                  <a:gd name="T36" fmla="*/ 57 w 70"/>
                  <a:gd name="T37" fmla="*/ 54 h 85"/>
                  <a:gd name="T38" fmla="*/ 50 w 70"/>
                  <a:gd name="T39" fmla="*/ 69 h 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70" h="85">
                    <a:moveTo>
                      <a:pt x="50" y="69"/>
                    </a:moveTo>
                    <a:cubicBezTo>
                      <a:pt x="46" y="72"/>
                      <a:pt x="42" y="74"/>
                      <a:pt x="36" y="74"/>
                    </a:cubicBezTo>
                    <a:cubicBezTo>
                      <a:pt x="30" y="74"/>
                      <a:pt x="24" y="71"/>
                      <a:pt x="20" y="66"/>
                    </a:cubicBezTo>
                    <a:cubicBezTo>
                      <a:pt x="16" y="61"/>
                      <a:pt x="14" y="54"/>
                      <a:pt x="14" y="43"/>
                    </a:cubicBezTo>
                    <a:cubicBezTo>
                      <a:pt x="14" y="32"/>
                      <a:pt x="16" y="24"/>
                      <a:pt x="20" y="19"/>
                    </a:cubicBezTo>
                    <a:cubicBezTo>
                      <a:pt x="25" y="14"/>
                      <a:pt x="30" y="12"/>
                      <a:pt x="37" y="12"/>
                    </a:cubicBezTo>
                    <a:cubicBezTo>
                      <a:pt x="42" y="12"/>
                      <a:pt x="46" y="13"/>
                      <a:pt x="49" y="16"/>
                    </a:cubicBezTo>
                    <a:cubicBezTo>
                      <a:pt x="52" y="18"/>
                      <a:pt x="54" y="23"/>
                      <a:pt x="56" y="28"/>
                    </a:cubicBezTo>
                    <a:cubicBezTo>
                      <a:pt x="69" y="26"/>
                      <a:pt x="69" y="26"/>
                      <a:pt x="69" y="26"/>
                    </a:cubicBezTo>
                    <a:cubicBezTo>
                      <a:pt x="68" y="18"/>
                      <a:pt x="64" y="11"/>
                      <a:pt x="58" y="7"/>
                    </a:cubicBezTo>
                    <a:cubicBezTo>
                      <a:pt x="53" y="2"/>
                      <a:pt x="46" y="0"/>
                      <a:pt x="37" y="0"/>
                    </a:cubicBezTo>
                    <a:cubicBezTo>
                      <a:pt x="30" y="0"/>
                      <a:pt x="23" y="2"/>
                      <a:pt x="17" y="5"/>
                    </a:cubicBezTo>
                    <a:cubicBezTo>
                      <a:pt x="11" y="8"/>
                      <a:pt x="7" y="13"/>
                      <a:pt x="4" y="20"/>
                    </a:cubicBezTo>
                    <a:cubicBezTo>
                      <a:pt x="1" y="27"/>
                      <a:pt x="0" y="34"/>
                      <a:pt x="0" y="43"/>
                    </a:cubicBezTo>
                    <a:cubicBezTo>
                      <a:pt x="0" y="57"/>
                      <a:pt x="3" y="67"/>
                      <a:pt x="10" y="74"/>
                    </a:cubicBezTo>
                    <a:cubicBezTo>
                      <a:pt x="17" y="82"/>
                      <a:pt x="26" y="85"/>
                      <a:pt x="37" y="85"/>
                    </a:cubicBezTo>
                    <a:cubicBezTo>
                      <a:pt x="45" y="85"/>
                      <a:pt x="53" y="83"/>
                      <a:pt x="59" y="77"/>
                    </a:cubicBezTo>
                    <a:cubicBezTo>
                      <a:pt x="65" y="72"/>
                      <a:pt x="69" y="65"/>
                      <a:pt x="70" y="55"/>
                    </a:cubicBezTo>
                    <a:cubicBezTo>
                      <a:pt x="57" y="54"/>
                      <a:pt x="57" y="54"/>
                      <a:pt x="57" y="54"/>
                    </a:cubicBezTo>
                    <a:cubicBezTo>
                      <a:pt x="56" y="60"/>
                      <a:pt x="54" y="66"/>
                      <a:pt x="50" y="6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48" name="íṡḷïďe"/>
              <p:cNvSpPr/>
              <p:nvPr/>
            </p:nvSpPr>
            <p:spPr bwMode="auto">
              <a:xfrm>
                <a:off x="7755191" y="5729878"/>
                <a:ext cx="138113" cy="157163"/>
              </a:xfrm>
              <a:custGeom>
                <a:avLst/>
                <a:gdLst>
                  <a:gd name="T0" fmla="*/ 38 w 75"/>
                  <a:gd name="T1" fmla="*/ 0 h 85"/>
                  <a:gd name="T2" fmla="*/ 10 w 75"/>
                  <a:gd name="T3" fmla="*/ 12 h 85"/>
                  <a:gd name="T4" fmla="*/ 0 w 75"/>
                  <a:gd name="T5" fmla="*/ 43 h 85"/>
                  <a:gd name="T6" fmla="*/ 10 w 75"/>
                  <a:gd name="T7" fmla="*/ 74 h 85"/>
                  <a:gd name="T8" fmla="*/ 38 w 75"/>
                  <a:gd name="T9" fmla="*/ 85 h 85"/>
                  <a:gd name="T10" fmla="*/ 62 w 75"/>
                  <a:gd name="T11" fmla="*/ 78 h 85"/>
                  <a:gd name="T12" fmla="*/ 74 w 75"/>
                  <a:gd name="T13" fmla="*/ 59 h 85"/>
                  <a:gd name="T14" fmla="*/ 60 w 75"/>
                  <a:gd name="T15" fmla="*/ 57 h 85"/>
                  <a:gd name="T16" fmla="*/ 51 w 75"/>
                  <a:gd name="T17" fmla="*/ 70 h 85"/>
                  <a:gd name="T18" fmla="*/ 38 w 75"/>
                  <a:gd name="T19" fmla="*/ 74 h 85"/>
                  <a:gd name="T20" fmla="*/ 21 w 75"/>
                  <a:gd name="T21" fmla="*/ 67 h 85"/>
                  <a:gd name="T22" fmla="*/ 14 w 75"/>
                  <a:gd name="T23" fmla="*/ 46 h 85"/>
                  <a:gd name="T24" fmla="*/ 75 w 75"/>
                  <a:gd name="T25" fmla="*/ 46 h 85"/>
                  <a:gd name="T26" fmla="*/ 75 w 75"/>
                  <a:gd name="T27" fmla="*/ 43 h 85"/>
                  <a:gd name="T28" fmla="*/ 64 w 75"/>
                  <a:gd name="T29" fmla="*/ 11 h 85"/>
                  <a:gd name="T30" fmla="*/ 38 w 75"/>
                  <a:gd name="T31" fmla="*/ 0 h 85"/>
                  <a:gd name="T32" fmla="*/ 15 w 75"/>
                  <a:gd name="T33" fmla="*/ 35 h 85"/>
                  <a:gd name="T34" fmla="*/ 22 w 75"/>
                  <a:gd name="T35" fmla="*/ 18 h 85"/>
                  <a:gd name="T36" fmla="*/ 38 w 75"/>
                  <a:gd name="T37" fmla="*/ 12 h 85"/>
                  <a:gd name="T38" fmla="*/ 55 w 75"/>
                  <a:gd name="T39" fmla="*/ 20 h 85"/>
                  <a:gd name="T40" fmla="*/ 60 w 75"/>
                  <a:gd name="T41" fmla="*/ 35 h 85"/>
                  <a:gd name="T42" fmla="*/ 15 w 75"/>
                  <a:gd name="T43" fmla="*/ 35 h 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75" h="85">
                    <a:moveTo>
                      <a:pt x="38" y="0"/>
                    </a:moveTo>
                    <a:cubicBezTo>
                      <a:pt x="26" y="0"/>
                      <a:pt x="17" y="4"/>
                      <a:pt x="10" y="12"/>
                    </a:cubicBezTo>
                    <a:cubicBezTo>
                      <a:pt x="3" y="19"/>
                      <a:pt x="0" y="30"/>
                      <a:pt x="0" y="43"/>
                    </a:cubicBezTo>
                    <a:cubicBezTo>
                      <a:pt x="0" y="57"/>
                      <a:pt x="3" y="67"/>
                      <a:pt x="10" y="74"/>
                    </a:cubicBezTo>
                    <a:cubicBezTo>
                      <a:pt x="17" y="81"/>
                      <a:pt x="26" y="85"/>
                      <a:pt x="38" y="85"/>
                    </a:cubicBezTo>
                    <a:cubicBezTo>
                      <a:pt x="48" y="85"/>
                      <a:pt x="56" y="83"/>
                      <a:pt x="62" y="78"/>
                    </a:cubicBezTo>
                    <a:cubicBezTo>
                      <a:pt x="68" y="74"/>
                      <a:pt x="72" y="67"/>
                      <a:pt x="74" y="59"/>
                    </a:cubicBezTo>
                    <a:cubicBezTo>
                      <a:pt x="60" y="57"/>
                      <a:pt x="60" y="57"/>
                      <a:pt x="60" y="57"/>
                    </a:cubicBezTo>
                    <a:cubicBezTo>
                      <a:pt x="58" y="63"/>
                      <a:pt x="55" y="67"/>
                      <a:pt x="51" y="70"/>
                    </a:cubicBezTo>
                    <a:cubicBezTo>
                      <a:pt x="48" y="73"/>
                      <a:pt x="43" y="74"/>
                      <a:pt x="38" y="74"/>
                    </a:cubicBezTo>
                    <a:cubicBezTo>
                      <a:pt x="32" y="74"/>
                      <a:pt x="26" y="71"/>
                      <a:pt x="21" y="67"/>
                    </a:cubicBezTo>
                    <a:cubicBezTo>
                      <a:pt x="17" y="62"/>
                      <a:pt x="14" y="55"/>
                      <a:pt x="14" y="46"/>
                    </a:cubicBezTo>
                    <a:cubicBezTo>
                      <a:pt x="75" y="46"/>
                      <a:pt x="75" y="46"/>
                      <a:pt x="75" y="46"/>
                    </a:cubicBezTo>
                    <a:cubicBezTo>
                      <a:pt x="75" y="45"/>
                      <a:pt x="75" y="43"/>
                      <a:pt x="75" y="43"/>
                    </a:cubicBezTo>
                    <a:cubicBezTo>
                      <a:pt x="75" y="29"/>
                      <a:pt x="71" y="19"/>
                      <a:pt x="64" y="11"/>
                    </a:cubicBezTo>
                    <a:cubicBezTo>
                      <a:pt x="57" y="4"/>
                      <a:pt x="48" y="0"/>
                      <a:pt x="38" y="0"/>
                    </a:cubicBezTo>
                    <a:close/>
                    <a:moveTo>
                      <a:pt x="15" y="35"/>
                    </a:moveTo>
                    <a:cubicBezTo>
                      <a:pt x="15" y="28"/>
                      <a:pt x="17" y="22"/>
                      <a:pt x="22" y="18"/>
                    </a:cubicBezTo>
                    <a:cubicBezTo>
                      <a:pt x="26" y="14"/>
                      <a:pt x="31" y="12"/>
                      <a:pt x="38" y="12"/>
                    </a:cubicBezTo>
                    <a:cubicBezTo>
                      <a:pt x="45" y="12"/>
                      <a:pt x="50" y="14"/>
                      <a:pt x="55" y="20"/>
                    </a:cubicBezTo>
                    <a:cubicBezTo>
                      <a:pt x="58" y="23"/>
                      <a:pt x="59" y="28"/>
                      <a:pt x="60" y="35"/>
                    </a:cubicBezTo>
                    <a:lnTo>
                      <a:pt x="15" y="3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49" name="í$ľîde"/>
              <p:cNvSpPr/>
              <p:nvPr/>
            </p:nvSpPr>
            <p:spPr bwMode="auto">
              <a:xfrm>
                <a:off x="7994903" y="5729878"/>
                <a:ext cx="138113" cy="157163"/>
              </a:xfrm>
              <a:custGeom>
                <a:avLst/>
                <a:gdLst>
                  <a:gd name="T0" fmla="*/ 71 w 75"/>
                  <a:gd name="T1" fmla="*/ 49 h 85"/>
                  <a:gd name="T2" fmla="*/ 71 w 75"/>
                  <a:gd name="T3" fmla="*/ 31 h 85"/>
                  <a:gd name="T4" fmla="*/ 70 w 75"/>
                  <a:gd name="T5" fmla="*/ 18 h 85"/>
                  <a:gd name="T6" fmla="*/ 66 w 75"/>
                  <a:gd name="T7" fmla="*/ 9 h 85"/>
                  <a:gd name="T8" fmla="*/ 56 w 75"/>
                  <a:gd name="T9" fmla="*/ 3 h 85"/>
                  <a:gd name="T10" fmla="*/ 39 w 75"/>
                  <a:gd name="T11" fmla="*/ 0 h 85"/>
                  <a:gd name="T12" fmla="*/ 21 w 75"/>
                  <a:gd name="T13" fmla="*/ 3 h 85"/>
                  <a:gd name="T14" fmla="*/ 9 w 75"/>
                  <a:gd name="T15" fmla="*/ 11 h 85"/>
                  <a:gd name="T16" fmla="*/ 3 w 75"/>
                  <a:gd name="T17" fmla="*/ 25 h 85"/>
                  <a:gd name="T18" fmla="*/ 16 w 75"/>
                  <a:gd name="T19" fmla="*/ 27 h 85"/>
                  <a:gd name="T20" fmla="*/ 23 w 75"/>
                  <a:gd name="T21" fmla="*/ 15 h 85"/>
                  <a:gd name="T22" fmla="*/ 37 w 75"/>
                  <a:gd name="T23" fmla="*/ 12 h 85"/>
                  <a:gd name="T24" fmla="*/ 53 w 75"/>
                  <a:gd name="T25" fmla="*/ 16 h 85"/>
                  <a:gd name="T26" fmla="*/ 57 w 75"/>
                  <a:gd name="T27" fmla="*/ 28 h 85"/>
                  <a:gd name="T28" fmla="*/ 57 w 75"/>
                  <a:gd name="T29" fmla="*/ 32 h 85"/>
                  <a:gd name="T30" fmla="*/ 32 w 75"/>
                  <a:gd name="T31" fmla="*/ 36 h 85"/>
                  <a:gd name="T32" fmla="*/ 20 w 75"/>
                  <a:gd name="T33" fmla="*/ 39 h 85"/>
                  <a:gd name="T34" fmla="*/ 10 w 75"/>
                  <a:gd name="T35" fmla="*/ 43 h 85"/>
                  <a:gd name="T36" fmla="*/ 3 w 75"/>
                  <a:gd name="T37" fmla="*/ 51 h 85"/>
                  <a:gd name="T38" fmla="*/ 0 w 75"/>
                  <a:gd name="T39" fmla="*/ 62 h 85"/>
                  <a:gd name="T40" fmla="*/ 7 w 75"/>
                  <a:gd name="T41" fmla="*/ 79 h 85"/>
                  <a:gd name="T42" fmla="*/ 28 w 75"/>
                  <a:gd name="T43" fmla="*/ 85 h 85"/>
                  <a:gd name="T44" fmla="*/ 43 w 75"/>
                  <a:gd name="T45" fmla="*/ 82 h 85"/>
                  <a:gd name="T46" fmla="*/ 58 w 75"/>
                  <a:gd name="T47" fmla="*/ 73 h 85"/>
                  <a:gd name="T48" fmla="*/ 61 w 75"/>
                  <a:gd name="T49" fmla="*/ 83 h 85"/>
                  <a:gd name="T50" fmla="*/ 75 w 75"/>
                  <a:gd name="T51" fmla="*/ 83 h 85"/>
                  <a:gd name="T52" fmla="*/ 72 w 75"/>
                  <a:gd name="T53" fmla="*/ 74 h 85"/>
                  <a:gd name="T54" fmla="*/ 71 w 75"/>
                  <a:gd name="T55" fmla="*/ 49 h 85"/>
                  <a:gd name="T56" fmla="*/ 57 w 75"/>
                  <a:gd name="T57" fmla="*/ 48 h 85"/>
                  <a:gd name="T58" fmla="*/ 55 w 75"/>
                  <a:gd name="T59" fmla="*/ 61 h 85"/>
                  <a:gd name="T60" fmla="*/ 46 w 75"/>
                  <a:gd name="T61" fmla="*/ 71 h 85"/>
                  <a:gd name="T62" fmla="*/ 31 w 75"/>
                  <a:gd name="T63" fmla="*/ 74 h 85"/>
                  <a:gd name="T64" fmla="*/ 19 w 75"/>
                  <a:gd name="T65" fmla="*/ 71 h 85"/>
                  <a:gd name="T66" fmla="*/ 15 w 75"/>
                  <a:gd name="T67" fmla="*/ 62 h 85"/>
                  <a:gd name="T68" fmla="*/ 17 w 75"/>
                  <a:gd name="T69" fmla="*/ 55 h 85"/>
                  <a:gd name="T70" fmla="*/ 22 w 75"/>
                  <a:gd name="T71" fmla="*/ 50 h 85"/>
                  <a:gd name="T72" fmla="*/ 34 w 75"/>
                  <a:gd name="T73" fmla="*/ 48 h 85"/>
                  <a:gd name="T74" fmla="*/ 57 w 75"/>
                  <a:gd name="T75" fmla="*/ 43 h 85"/>
                  <a:gd name="T76" fmla="*/ 57 w 75"/>
                  <a:gd name="T77" fmla="*/ 48 h 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75" h="85">
                    <a:moveTo>
                      <a:pt x="71" y="49"/>
                    </a:moveTo>
                    <a:cubicBezTo>
                      <a:pt x="71" y="31"/>
                      <a:pt x="71" y="31"/>
                      <a:pt x="71" y="31"/>
                    </a:cubicBezTo>
                    <a:cubicBezTo>
                      <a:pt x="71" y="25"/>
                      <a:pt x="71" y="21"/>
                      <a:pt x="70" y="18"/>
                    </a:cubicBezTo>
                    <a:cubicBezTo>
                      <a:pt x="69" y="14"/>
                      <a:pt x="68" y="11"/>
                      <a:pt x="66" y="9"/>
                    </a:cubicBezTo>
                    <a:cubicBezTo>
                      <a:pt x="64" y="6"/>
                      <a:pt x="61" y="4"/>
                      <a:pt x="56" y="3"/>
                    </a:cubicBezTo>
                    <a:cubicBezTo>
                      <a:pt x="52" y="1"/>
                      <a:pt x="46" y="0"/>
                      <a:pt x="39" y="0"/>
                    </a:cubicBezTo>
                    <a:cubicBezTo>
                      <a:pt x="32" y="0"/>
                      <a:pt x="26" y="1"/>
                      <a:pt x="21" y="3"/>
                    </a:cubicBezTo>
                    <a:cubicBezTo>
                      <a:pt x="16" y="5"/>
                      <a:pt x="12" y="8"/>
                      <a:pt x="9" y="11"/>
                    </a:cubicBezTo>
                    <a:cubicBezTo>
                      <a:pt x="6" y="15"/>
                      <a:pt x="4" y="19"/>
                      <a:pt x="3" y="25"/>
                    </a:cubicBezTo>
                    <a:cubicBezTo>
                      <a:pt x="16" y="27"/>
                      <a:pt x="16" y="27"/>
                      <a:pt x="16" y="27"/>
                    </a:cubicBezTo>
                    <a:cubicBezTo>
                      <a:pt x="18" y="21"/>
                      <a:pt x="20" y="17"/>
                      <a:pt x="23" y="15"/>
                    </a:cubicBezTo>
                    <a:cubicBezTo>
                      <a:pt x="26" y="13"/>
                      <a:pt x="31" y="12"/>
                      <a:pt x="37" y="12"/>
                    </a:cubicBezTo>
                    <a:cubicBezTo>
                      <a:pt x="44" y="12"/>
                      <a:pt x="50" y="13"/>
                      <a:pt x="53" y="16"/>
                    </a:cubicBezTo>
                    <a:cubicBezTo>
                      <a:pt x="56" y="19"/>
                      <a:pt x="57" y="23"/>
                      <a:pt x="57" y="28"/>
                    </a:cubicBezTo>
                    <a:cubicBezTo>
                      <a:pt x="57" y="29"/>
                      <a:pt x="57" y="30"/>
                      <a:pt x="57" y="32"/>
                    </a:cubicBezTo>
                    <a:cubicBezTo>
                      <a:pt x="52" y="34"/>
                      <a:pt x="43" y="35"/>
                      <a:pt x="32" y="36"/>
                    </a:cubicBezTo>
                    <a:cubicBezTo>
                      <a:pt x="27" y="37"/>
                      <a:pt x="23" y="38"/>
                      <a:pt x="20" y="39"/>
                    </a:cubicBezTo>
                    <a:cubicBezTo>
                      <a:pt x="16" y="40"/>
                      <a:pt x="13" y="41"/>
                      <a:pt x="10" y="43"/>
                    </a:cubicBezTo>
                    <a:cubicBezTo>
                      <a:pt x="7" y="45"/>
                      <a:pt x="5" y="48"/>
                      <a:pt x="3" y="51"/>
                    </a:cubicBezTo>
                    <a:cubicBezTo>
                      <a:pt x="1" y="54"/>
                      <a:pt x="0" y="58"/>
                      <a:pt x="0" y="62"/>
                    </a:cubicBezTo>
                    <a:cubicBezTo>
                      <a:pt x="0" y="69"/>
                      <a:pt x="3" y="74"/>
                      <a:pt x="7" y="79"/>
                    </a:cubicBezTo>
                    <a:cubicBezTo>
                      <a:pt x="12" y="83"/>
                      <a:pt x="19" y="85"/>
                      <a:pt x="28" y="85"/>
                    </a:cubicBezTo>
                    <a:cubicBezTo>
                      <a:pt x="33" y="85"/>
                      <a:pt x="39" y="84"/>
                      <a:pt x="43" y="82"/>
                    </a:cubicBezTo>
                    <a:cubicBezTo>
                      <a:pt x="48" y="81"/>
                      <a:pt x="53" y="78"/>
                      <a:pt x="58" y="73"/>
                    </a:cubicBezTo>
                    <a:cubicBezTo>
                      <a:pt x="58" y="77"/>
                      <a:pt x="59" y="80"/>
                      <a:pt x="61" y="83"/>
                    </a:cubicBezTo>
                    <a:cubicBezTo>
                      <a:pt x="75" y="83"/>
                      <a:pt x="75" y="83"/>
                      <a:pt x="75" y="83"/>
                    </a:cubicBezTo>
                    <a:cubicBezTo>
                      <a:pt x="73" y="80"/>
                      <a:pt x="72" y="77"/>
                      <a:pt x="72" y="74"/>
                    </a:cubicBezTo>
                    <a:cubicBezTo>
                      <a:pt x="71" y="70"/>
                      <a:pt x="71" y="62"/>
                      <a:pt x="71" y="49"/>
                    </a:cubicBezTo>
                    <a:close/>
                    <a:moveTo>
                      <a:pt x="57" y="48"/>
                    </a:moveTo>
                    <a:cubicBezTo>
                      <a:pt x="57" y="54"/>
                      <a:pt x="56" y="58"/>
                      <a:pt x="55" y="61"/>
                    </a:cubicBezTo>
                    <a:cubicBezTo>
                      <a:pt x="53" y="65"/>
                      <a:pt x="50" y="69"/>
                      <a:pt x="46" y="71"/>
                    </a:cubicBezTo>
                    <a:cubicBezTo>
                      <a:pt x="41" y="73"/>
                      <a:pt x="37" y="74"/>
                      <a:pt x="31" y="74"/>
                    </a:cubicBezTo>
                    <a:cubicBezTo>
                      <a:pt x="26" y="74"/>
                      <a:pt x="22" y="73"/>
                      <a:pt x="19" y="71"/>
                    </a:cubicBezTo>
                    <a:cubicBezTo>
                      <a:pt x="16" y="68"/>
                      <a:pt x="15" y="65"/>
                      <a:pt x="15" y="62"/>
                    </a:cubicBezTo>
                    <a:cubicBezTo>
                      <a:pt x="15" y="59"/>
                      <a:pt x="16" y="57"/>
                      <a:pt x="17" y="55"/>
                    </a:cubicBezTo>
                    <a:cubicBezTo>
                      <a:pt x="18" y="53"/>
                      <a:pt x="20" y="52"/>
                      <a:pt x="22" y="50"/>
                    </a:cubicBezTo>
                    <a:cubicBezTo>
                      <a:pt x="25" y="49"/>
                      <a:pt x="29" y="49"/>
                      <a:pt x="34" y="48"/>
                    </a:cubicBezTo>
                    <a:cubicBezTo>
                      <a:pt x="44" y="46"/>
                      <a:pt x="52" y="45"/>
                      <a:pt x="57" y="43"/>
                    </a:cubicBezTo>
                    <a:lnTo>
                      <a:pt x="57" y="4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50" name="ï$ḻíḋê"/>
              <p:cNvSpPr/>
              <p:nvPr/>
            </p:nvSpPr>
            <p:spPr bwMode="auto">
              <a:xfrm>
                <a:off x="8164766" y="5729878"/>
                <a:ext cx="122238" cy="152400"/>
              </a:xfrm>
              <a:custGeom>
                <a:avLst/>
                <a:gdLst>
                  <a:gd name="T0" fmla="*/ 61 w 66"/>
                  <a:gd name="T1" fmla="*/ 10 h 83"/>
                  <a:gd name="T2" fmla="*/ 52 w 66"/>
                  <a:gd name="T3" fmla="*/ 3 h 83"/>
                  <a:gd name="T4" fmla="*/ 38 w 66"/>
                  <a:gd name="T5" fmla="*/ 0 h 83"/>
                  <a:gd name="T6" fmla="*/ 13 w 66"/>
                  <a:gd name="T7" fmla="*/ 14 h 83"/>
                  <a:gd name="T8" fmla="*/ 13 w 66"/>
                  <a:gd name="T9" fmla="*/ 2 h 83"/>
                  <a:gd name="T10" fmla="*/ 0 w 66"/>
                  <a:gd name="T11" fmla="*/ 2 h 83"/>
                  <a:gd name="T12" fmla="*/ 0 w 66"/>
                  <a:gd name="T13" fmla="*/ 83 h 83"/>
                  <a:gd name="T14" fmla="*/ 14 w 66"/>
                  <a:gd name="T15" fmla="*/ 83 h 83"/>
                  <a:gd name="T16" fmla="*/ 14 w 66"/>
                  <a:gd name="T17" fmla="*/ 39 h 83"/>
                  <a:gd name="T18" fmla="*/ 20 w 66"/>
                  <a:gd name="T19" fmla="*/ 18 h 83"/>
                  <a:gd name="T20" fmla="*/ 36 w 66"/>
                  <a:gd name="T21" fmla="*/ 12 h 83"/>
                  <a:gd name="T22" fmla="*/ 45 w 66"/>
                  <a:gd name="T23" fmla="*/ 15 h 83"/>
                  <a:gd name="T24" fmla="*/ 51 w 66"/>
                  <a:gd name="T25" fmla="*/ 21 h 83"/>
                  <a:gd name="T26" fmla="*/ 52 w 66"/>
                  <a:gd name="T27" fmla="*/ 34 h 83"/>
                  <a:gd name="T28" fmla="*/ 52 w 66"/>
                  <a:gd name="T29" fmla="*/ 83 h 83"/>
                  <a:gd name="T30" fmla="*/ 66 w 66"/>
                  <a:gd name="T31" fmla="*/ 83 h 83"/>
                  <a:gd name="T32" fmla="*/ 66 w 66"/>
                  <a:gd name="T33" fmla="*/ 33 h 83"/>
                  <a:gd name="T34" fmla="*/ 65 w 66"/>
                  <a:gd name="T35" fmla="*/ 20 h 83"/>
                  <a:gd name="T36" fmla="*/ 61 w 66"/>
                  <a:gd name="T37" fmla="*/ 10 h 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66" h="83">
                    <a:moveTo>
                      <a:pt x="61" y="10"/>
                    </a:moveTo>
                    <a:cubicBezTo>
                      <a:pt x="59" y="7"/>
                      <a:pt x="56" y="5"/>
                      <a:pt x="52" y="3"/>
                    </a:cubicBezTo>
                    <a:cubicBezTo>
                      <a:pt x="48" y="1"/>
                      <a:pt x="43" y="0"/>
                      <a:pt x="38" y="0"/>
                    </a:cubicBezTo>
                    <a:cubicBezTo>
                      <a:pt x="27" y="0"/>
                      <a:pt x="19" y="5"/>
                      <a:pt x="13" y="14"/>
                    </a:cubicBezTo>
                    <a:cubicBezTo>
                      <a:pt x="13" y="2"/>
                      <a:pt x="13" y="2"/>
                      <a:pt x="13" y="2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83"/>
                      <a:pt x="0" y="83"/>
                      <a:pt x="0" y="83"/>
                    </a:cubicBezTo>
                    <a:cubicBezTo>
                      <a:pt x="14" y="83"/>
                      <a:pt x="14" y="83"/>
                      <a:pt x="14" y="83"/>
                    </a:cubicBezTo>
                    <a:cubicBezTo>
                      <a:pt x="14" y="39"/>
                      <a:pt x="14" y="39"/>
                      <a:pt x="14" y="39"/>
                    </a:cubicBezTo>
                    <a:cubicBezTo>
                      <a:pt x="14" y="29"/>
                      <a:pt x="16" y="21"/>
                      <a:pt x="20" y="18"/>
                    </a:cubicBezTo>
                    <a:cubicBezTo>
                      <a:pt x="25" y="14"/>
                      <a:pt x="30" y="12"/>
                      <a:pt x="36" y="12"/>
                    </a:cubicBezTo>
                    <a:cubicBezTo>
                      <a:pt x="39" y="12"/>
                      <a:pt x="42" y="13"/>
                      <a:pt x="45" y="15"/>
                    </a:cubicBezTo>
                    <a:cubicBezTo>
                      <a:pt x="48" y="16"/>
                      <a:pt x="50" y="19"/>
                      <a:pt x="51" y="21"/>
                    </a:cubicBezTo>
                    <a:cubicBezTo>
                      <a:pt x="52" y="24"/>
                      <a:pt x="52" y="28"/>
                      <a:pt x="52" y="34"/>
                    </a:cubicBezTo>
                    <a:cubicBezTo>
                      <a:pt x="52" y="83"/>
                      <a:pt x="52" y="83"/>
                      <a:pt x="52" y="83"/>
                    </a:cubicBezTo>
                    <a:cubicBezTo>
                      <a:pt x="66" y="83"/>
                      <a:pt x="66" y="83"/>
                      <a:pt x="66" y="83"/>
                    </a:cubicBezTo>
                    <a:cubicBezTo>
                      <a:pt x="66" y="33"/>
                      <a:pt x="66" y="33"/>
                      <a:pt x="66" y="33"/>
                    </a:cubicBezTo>
                    <a:cubicBezTo>
                      <a:pt x="66" y="27"/>
                      <a:pt x="66" y="23"/>
                      <a:pt x="65" y="20"/>
                    </a:cubicBezTo>
                    <a:cubicBezTo>
                      <a:pt x="65" y="16"/>
                      <a:pt x="63" y="13"/>
                      <a:pt x="61" y="1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51" name="îśḻïďè"/>
              <p:cNvSpPr/>
              <p:nvPr/>
            </p:nvSpPr>
            <p:spPr bwMode="auto">
              <a:xfrm>
                <a:off x="8315578" y="5675903"/>
                <a:ext cx="131763" cy="211138"/>
              </a:xfrm>
              <a:custGeom>
                <a:avLst/>
                <a:gdLst>
                  <a:gd name="T0" fmla="*/ 57 w 71"/>
                  <a:gd name="T1" fmla="*/ 40 h 114"/>
                  <a:gd name="T2" fmla="*/ 48 w 71"/>
                  <a:gd name="T3" fmla="*/ 32 h 114"/>
                  <a:gd name="T4" fmla="*/ 35 w 71"/>
                  <a:gd name="T5" fmla="*/ 29 h 114"/>
                  <a:gd name="T6" fmla="*/ 17 w 71"/>
                  <a:gd name="T7" fmla="*/ 35 h 114"/>
                  <a:gd name="T8" fmla="*/ 4 w 71"/>
                  <a:gd name="T9" fmla="*/ 50 h 114"/>
                  <a:gd name="T10" fmla="*/ 0 w 71"/>
                  <a:gd name="T11" fmla="*/ 72 h 114"/>
                  <a:gd name="T12" fmla="*/ 5 w 71"/>
                  <a:gd name="T13" fmla="*/ 94 h 114"/>
                  <a:gd name="T14" fmla="*/ 17 w 71"/>
                  <a:gd name="T15" fmla="*/ 109 h 114"/>
                  <a:gd name="T16" fmla="*/ 35 w 71"/>
                  <a:gd name="T17" fmla="*/ 114 h 114"/>
                  <a:gd name="T18" fmla="*/ 58 w 71"/>
                  <a:gd name="T19" fmla="*/ 102 h 114"/>
                  <a:gd name="T20" fmla="*/ 58 w 71"/>
                  <a:gd name="T21" fmla="*/ 112 h 114"/>
                  <a:gd name="T22" fmla="*/ 71 w 71"/>
                  <a:gd name="T23" fmla="*/ 112 h 114"/>
                  <a:gd name="T24" fmla="*/ 71 w 71"/>
                  <a:gd name="T25" fmla="*/ 0 h 114"/>
                  <a:gd name="T26" fmla="*/ 57 w 71"/>
                  <a:gd name="T27" fmla="*/ 0 h 114"/>
                  <a:gd name="T28" fmla="*/ 57 w 71"/>
                  <a:gd name="T29" fmla="*/ 40 h 114"/>
                  <a:gd name="T30" fmla="*/ 52 w 71"/>
                  <a:gd name="T31" fmla="*/ 95 h 114"/>
                  <a:gd name="T32" fmla="*/ 37 w 71"/>
                  <a:gd name="T33" fmla="*/ 103 h 114"/>
                  <a:gd name="T34" fmla="*/ 21 w 71"/>
                  <a:gd name="T35" fmla="*/ 95 h 114"/>
                  <a:gd name="T36" fmla="*/ 15 w 71"/>
                  <a:gd name="T37" fmla="*/ 72 h 114"/>
                  <a:gd name="T38" fmla="*/ 21 w 71"/>
                  <a:gd name="T39" fmla="*/ 48 h 114"/>
                  <a:gd name="T40" fmla="*/ 36 w 71"/>
                  <a:gd name="T41" fmla="*/ 41 h 114"/>
                  <a:gd name="T42" fmla="*/ 52 w 71"/>
                  <a:gd name="T43" fmla="*/ 48 h 114"/>
                  <a:gd name="T44" fmla="*/ 58 w 71"/>
                  <a:gd name="T45" fmla="*/ 73 h 114"/>
                  <a:gd name="T46" fmla="*/ 52 w 71"/>
                  <a:gd name="T47" fmla="*/ 95 h 1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71" h="114">
                    <a:moveTo>
                      <a:pt x="57" y="40"/>
                    </a:moveTo>
                    <a:cubicBezTo>
                      <a:pt x="55" y="37"/>
                      <a:pt x="52" y="34"/>
                      <a:pt x="48" y="32"/>
                    </a:cubicBezTo>
                    <a:cubicBezTo>
                      <a:pt x="44" y="30"/>
                      <a:pt x="40" y="29"/>
                      <a:pt x="35" y="29"/>
                    </a:cubicBezTo>
                    <a:cubicBezTo>
                      <a:pt x="28" y="29"/>
                      <a:pt x="22" y="31"/>
                      <a:pt x="17" y="35"/>
                    </a:cubicBezTo>
                    <a:cubicBezTo>
                      <a:pt x="11" y="38"/>
                      <a:pt x="7" y="43"/>
                      <a:pt x="4" y="50"/>
                    </a:cubicBezTo>
                    <a:cubicBezTo>
                      <a:pt x="2" y="56"/>
                      <a:pt x="0" y="64"/>
                      <a:pt x="0" y="72"/>
                    </a:cubicBezTo>
                    <a:cubicBezTo>
                      <a:pt x="0" y="80"/>
                      <a:pt x="2" y="87"/>
                      <a:pt x="5" y="94"/>
                    </a:cubicBezTo>
                    <a:cubicBezTo>
                      <a:pt x="8" y="100"/>
                      <a:pt x="12" y="105"/>
                      <a:pt x="17" y="109"/>
                    </a:cubicBezTo>
                    <a:cubicBezTo>
                      <a:pt x="23" y="112"/>
                      <a:pt x="29" y="114"/>
                      <a:pt x="35" y="114"/>
                    </a:cubicBezTo>
                    <a:cubicBezTo>
                      <a:pt x="45" y="114"/>
                      <a:pt x="53" y="110"/>
                      <a:pt x="58" y="102"/>
                    </a:cubicBezTo>
                    <a:cubicBezTo>
                      <a:pt x="58" y="112"/>
                      <a:pt x="58" y="112"/>
                      <a:pt x="58" y="112"/>
                    </a:cubicBezTo>
                    <a:cubicBezTo>
                      <a:pt x="71" y="112"/>
                      <a:pt x="71" y="112"/>
                      <a:pt x="71" y="112"/>
                    </a:cubicBezTo>
                    <a:cubicBezTo>
                      <a:pt x="71" y="0"/>
                      <a:pt x="71" y="0"/>
                      <a:pt x="71" y="0"/>
                    </a:cubicBezTo>
                    <a:cubicBezTo>
                      <a:pt x="57" y="0"/>
                      <a:pt x="57" y="0"/>
                      <a:pt x="57" y="0"/>
                    </a:cubicBezTo>
                    <a:lnTo>
                      <a:pt x="57" y="40"/>
                    </a:lnTo>
                    <a:close/>
                    <a:moveTo>
                      <a:pt x="52" y="95"/>
                    </a:moveTo>
                    <a:cubicBezTo>
                      <a:pt x="48" y="100"/>
                      <a:pt x="43" y="103"/>
                      <a:pt x="37" y="103"/>
                    </a:cubicBezTo>
                    <a:cubicBezTo>
                      <a:pt x="31" y="103"/>
                      <a:pt x="25" y="100"/>
                      <a:pt x="21" y="95"/>
                    </a:cubicBezTo>
                    <a:cubicBezTo>
                      <a:pt x="17" y="90"/>
                      <a:pt x="15" y="82"/>
                      <a:pt x="15" y="72"/>
                    </a:cubicBezTo>
                    <a:cubicBezTo>
                      <a:pt x="15" y="61"/>
                      <a:pt x="17" y="53"/>
                      <a:pt x="21" y="48"/>
                    </a:cubicBezTo>
                    <a:cubicBezTo>
                      <a:pt x="25" y="43"/>
                      <a:pt x="30" y="41"/>
                      <a:pt x="36" y="41"/>
                    </a:cubicBezTo>
                    <a:cubicBezTo>
                      <a:pt x="42" y="41"/>
                      <a:pt x="48" y="43"/>
                      <a:pt x="52" y="48"/>
                    </a:cubicBezTo>
                    <a:cubicBezTo>
                      <a:pt x="56" y="54"/>
                      <a:pt x="58" y="62"/>
                      <a:pt x="58" y="73"/>
                    </a:cubicBezTo>
                    <a:cubicBezTo>
                      <a:pt x="58" y="83"/>
                      <a:pt x="56" y="91"/>
                      <a:pt x="52" y="9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52" name="iṡľîdé"/>
              <p:cNvSpPr/>
              <p:nvPr/>
            </p:nvSpPr>
            <p:spPr bwMode="auto">
              <a:xfrm>
                <a:off x="8550528" y="5675903"/>
                <a:ext cx="163513" cy="206375"/>
              </a:xfrm>
              <a:custGeom>
                <a:avLst/>
                <a:gdLst>
                  <a:gd name="T0" fmla="*/ 103 w 103"/>
                  <a:gd name="T1" fmla="*/ 0 h 130"/>
                  <a:gd name="T2" fmla="*/ 0 w 103"/>
                  <a:gd name="T3" fmla="*/ 0 h 130"/>
                  <a:gd name="T4" fmla="*/ 0 w 103"/>
                  <a:gd name="T5" fmla="*/ 15 h 130"/>
                  <a:gd name="T6" fmla="*/ 43 w 103"/>
                  <a:gd name="T7" fmla="*/ 15 h 130"/>
                  <a:gd name="T8" fmla="*/ 43 w 103"/>
                  <a:gd name="T9" fmla="*/ 130 h 130"/>
                  <a:gd name="T10" fmla="*/ 59 w 103"/>
                  <a:gd name="T11" fmla="*/ 130 h 130"/>
                  <a:gd name="T12" fmla="*/ 59 w 103"/>
                  <a:gd name="T13" fmla="*/ 15 h 130"/>
                  <a:gd name="T14" fmla="*/ 103 w 103"/>
                  <a:gd name="T15" fmla="*/ 15 h 130"/>
                  <a:gd name="T16" fmla="*/ 103 w 103"/>
                  <a:gd name="T17" fmla="*/ 0 h 1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03" h="130">
                    <a:moveTo>
                      <a:pt x="103" y="0"/>
                    </a:moveTo>
                    <a:lnTo>
                      <a:pt x="0" y="0"/>
                    </a:lnTo>
                    <a:lnTo>
                      <a:pt x="0" y="15"/>
                    </a:lnTo>
                    <a:lnTo>
                      <a:pt x="43" y="15"/>
                    </a:lnTo>
                    <a:lnTo>
                      <a:pt x="43" y="130"/>
                    </a:lnTo>
                    <a:lnTo>
                      <a:pt x="59" y="130"/>
                    </a:lnTo>
                    <a:lnTo>
                      <a:pt x="59" y="15"/>
                    </a:lnTo>
                    <a:lnTo>
                      <a:pt x="103" y="15"/>
                    </a:lnTo>
                    <a:lnTo>
                      <a:pt x="103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53" name="íṥḻíḋé"/>
              <p:cNvSpPr/>
              <p:nvPr/>
            </p:nvSpPr>
            <p:spPr bwMode="auto">
              <a:xfrm>
                <a:off x="8698166" y="5729878"/>
                <a:ext cx="138113" cy="157163"/>
              </a:xfrm>
              <a:custGeom>
                <a:avLst/>
                <a:gdLst>
                  <a:gd name="T0" fmla="*/ 38 w 75"/>
                  <a:gd name="T1" fmla="*/ 0 h 85"/>
                  <a:gd name="T2" fmla="*/ 11 w 75"/>
                  <a:gd name="T3" fmla="*/ 12 h 85"/>
                  <a:gd name="T4" fmla="*/ 0 w 75"/>
                  <a:gd name="T5" fmla="*/ 43 h 85"/>
                  <a:gd name="T6" fmla="*/ 10 w 75"/>
                  <a:gd name="T7" fmla="*/ 74 h 85"/>
                  <a:gd name="T8" fmla="*/ 39 w 75"/>
                  <a:gd name="T9" fmla="*/ 85 h 85"/>
                  <a:gd name="T10" fmla="*/ 62 w 75"/>
                  <a:gd name="T11" fmla="*/ 78 h 85"/>
                  <a:gd name="T12" fmla="*/ 74 w 75"/>
                  <a:gd name="T13" fmla="*/ 59 h 85"/>
                  <a:gd name="T14" fmla="*/ 60 w 75"/>
                  <a:gd name="T15" fmla="*/ 57 h 85"/>
                  <a:gd name="T16" fmla="*/ 52 w 75"/>
                  <a:gd name="T17" fmla="*/ 70 h 85"/>
                  <a:gd name="T18" fmla="*/ 39 w 75"/>
                  <a:gd name="T19" fmla="*/ 74 h 85"/>
                  <a:gd name="T20" fmla="*/ 22 w 75"/>
                  <a:gd name="T21" fmla="*/ 67 h 85"/>
                  <a:gd name="T22" fmla="*/ 14 w 75"/>
                  <a:gd name="T23" fmla="*/ 46 h 85"/>
                  <a:gd name="T24" fmla="*/ 75 w 75"/>
                  <a:gd name="T25" fmla="*/ 46 h 85"/>
                  <a:gd name="T26" fmla="*/ 75 w 75"/>
                  <a:gd name="T27" fmla="*/ 43 h 85"/>
                  <a:gd name="T28" fmla="*/ 65 w 75"/>
                  <a:gd name="T29" fmla="*/ 11 h 85"/>
                  <a:gd name="T30" fmla="*/ 38 w 75"/>
                  <a:gd name="T31" fmla="*/ 0 h 85"/>
                  <a:gd name="T32" fmla="*/ 15 w 75"/>
                  <a:gd name="T33" fmla="*/ 35 h 85"/>
                  <a:gd name="T34" fmla="*/ 22 w 75"/>
                  <a:gd name="T35" fmla="*/ 18 h 85"/>
                  <a:gd name="T36" fmla="*/ 38 w 75"/>
                  <a:gd name="T37" fmla="*/ 12 h 85"/>
                  <a:gd name="T38" fmla="*/ 55 w 75"/>
                  <a:gd name="T39" fmla="*/ 20 h 85"/>
                  <a:gd name="T40" fmla="*/ 60 w 75"/>
                  <a:gd name="T41" fmla="*/ 35 h 85"/>
                  <a:gd name="T42" fmla="*/ 15 w 75"/>
                  <a:gd name="T43" fmla="*/ 35 h 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75" h="85">
                    <a:moveTo>
                      <a:pt x="38" y="0"/>
                    </a:moveTo>
                    <a:cubicBezTo>
                      <a:pt x="27" y="0"/>
                      <a:pt x="18" y="4"/>
                      <a:pt x="11" y="12"/>
                    </a:cubicBezTo>
                    <a:cubicBezTo>
                      <a:pt x="4" y="19"/>
                      <a:pt x="0" y="30"/>
                      <a:pt x="0" y="43"/>
                    </a:cubicBezTo>
                    <a:cubicBezTo>
                      <a:pt x="0" y="57"/>
                      <a:pt x="3" y="67"/>
                      <a:pt x="10" y="74"/>
                    </a:cubicBezTo>
                    <a:cubicBezTo>
                      <a:pt x="17" y="81"/>
                      <a:pt x="27" y="85"/>
                      <a:pt x="39" y="85"/>
                    </a:cubicBezTo>
                    <a:cubicBezTo>
                      <a:pt x="48" y="85"/>
                      <a:pt x="56" y="83"/>
                      <a:pt x="62" y="78"/>
                    </a:cubicBezTo>
                    <a:cubicBezTo>
                      <a:pt x="68" y="74"/>
                      <a:pt x="72" y="67"/>
                      <a:pt x="74" y="59"/>
                    </a:cubicBezTo>
                    <a:cubicBezTo>
                      <a:pt x="60" y="57"/>
                      <a:pt x="60" y="57"/>
                      <a:pt x="60" y="57"/>
                    </a:cubicBezTo>
                    <a:cubicBezTo>
                      <a:pt x="58" y="63"/>
                      <a:pt x="55" y="67"/>
                      <a:pt x="52" y="70"/>
                    </a:cubicBezTo>
                    <a:cubicBezTo>
                      <a:pt x="48" y="73"/>
                      <a:pt x="44" y="74"/>
                      <a:pt x="39" y="74"/>
                    </a:cubicBezTo>
                    <a:cubicBezTo>
                      <a:pt x="32" y="74"/>
                      <a:pt x="26" y="71"/>
                      <a:pt x="22" y="67"/>
                    </a:cubicBezTo>
                    <a:cubicBezTo>
                      <a:pt x="17" y="62"/>
                      <a:pt x="15" y="55"/>
                      <a:pt x="14" y="46"/>
                    </a:cubicBezTo>
                    <a:cubicBezTo>
                      <a:pt x="75" y="46"/>
                      <a:pt x="75" y="46"/>
                      <a:pt x="75" y="46"/>
                    </a:cubicBezTo>
                    <a:cubicBezTo>
                      <a:pt x="75" y="45"/>
                      <a:pt x="75" y="43"/>
                      <a:pt x="75" y="43"/>
                    </a:cubicBezTo>
                    <a:cubicBezTo>
                      <a:pt x="75" y="29"/>
                      <a:pt x="72" y="19"/>
                      <a:pt x="65" y="11"/>
                    </a:cubicBezTo>
                    <a:cubicBezTo>
                      <a:pt x="58" y="4"/>
                      <a:pt x="49" y="0"/>
                      <a:pt x="38" y="0"/>
                    </a:cubicBezTo>
                    <a:close/>
                    <a:moveTo>
                      <a:pt x="15" y="35"/>
                    </a:moveTo>
                    <a:cubicBezTo>
                      <a:pt x="15" y="28"/>
                      <a:pt x="18" y="22"/>
                      <a:pt x="22" y="18"/>
                    </a:cubicBezTo>
                    <a:cubicBezTo>
                      <a:pt x="26" y="14"/>
                      <a:pt x="32" y="12"/>
                      <a:pt x="38" y="12"/>
                    </a:cubicBezTo>
                    <a:cubicBezTo>
                      <a:pt x="45" y="12"/>
                      <a:pt x="51" y="14"/>
                      <a:pt x="55" y="20"/>
                    </a:cubicBezTo>
                    <a:cubicBezTo>
                      <a:pt x="58" y="23"/>
                      <a:pt x="60" y="28"/>
                      <a:pt x="60" y="35"/>
                    </a:cubicBezTo>
                    <a:lnTo>
                      <a:pt x="15" y="3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54" name="ïṡļïḍè"/>
              <p:cNvSpPr/>
              <p:nvPr/>
            </p:nvSpPr>
            <p:spPr bwMode="auto">
              <a:xfrm>
                <a:off x="8860091" y="5729878"/>
                <a:ext cx="128588" cy="157163"/>
              </a:xfrm>
              <a:custGeom>
                <a:avLst/>
                <a:gdLst>
                  <a:gd name="T0" fmla="*/ 50 w 70"/>
                  <a:gd name="T1" fmla="*/ 69 h 85"/>
                  <a:gd name="T2" fmla="*/ 36 w 70"/>
                  <a:gd name="T3" fmla="*/ 74 h 85"/>
                  <a:gd name="T4" fmla="*/ 20 w 70"/>
                  <a:gd name="T5" fmla="*/ 66 h 85"/>
                  <a:gd name="T6" fmla="*/ 14 w 70"/>
                  <a:gd name="T7" fmla="*/ 43 h 85"/>
                  <a:gd name="T8" fmla="*/ 20 w 70"/>
                  <a:gd name="T9" fmla="*/ 19 h 85"/>
                  <a:gd name="T10" fmla="*/ 37 w 70"/>
                  <a:gd name="T11" fmla="*/ 12 h 85"/>
                  <a:gd name="T12" fmla="*/ 49 w 70"/>
                  <a:gd name="T13" fmla="*/ 16 h 85"/>
                  <a:gd name="T14" fmla="*/ 56 w 70"/>
                  <a:gd name="T15" fmla="*/ 28 h 85"/>
                  <a:gd name="T16" fmla="*/ 69 w 70"/>
                  <a:gd name="T17" fmla="*/ 26 h 85"/>
                  <a:gd name="T18" fmla="*/ 58 w 70"/>
                  <a:gd name="T19" fmla="*/ 7 h 85"/>
                  <a:gd name="T20" fmla="*/ 37 w 70"/>
                  <a:gd name="T21" fmla="*/ 0 h 85"/>
                  <a:gd name="T22" fmla="*/ 17 w 70"/>
                  <a:gd name="T23" fmla="*/ 5 h 85"/>
                  <a:gd name="T24" fmla="*/ 4 w 70"/>
                  <a:gd name="T25" fmla="*/ 20 h 85"/>
                  <a:gd name="T26" fmla="*/ 0 w 70"/>
                  <a:gd name="T27" fmla="*/ 43 h 85"/>
                  <a:gd name="T28" fmla="*/ 10 w 70"/>
                  <a:gd name="T29" fmla="*/ 74 h 85"/>
                  <a:gd name="T30" fmla="*/ 37 w 70"/>
                  <a:gd name="T31" fmla="*/ 85 h 85"/>
                  <a:gd name="T32" fmla="*/ 59 w 70"/>
                  <a:gd name="T33" fmla="*/ 77 h 85"/>
                  <a:gd name="T34" fmla="*/ 70 w 70"/>
                  <a:gd name="T35" fmla="*/ 55 h 85"/>
                  <a:gd name="T36" fmla="*/ 57 w 70"/>
                  <a:gd name="T37" fmla="*/ 54 h 85"/>
                  <a:gd name="T38" fmla="*/ 50 w 70"/>
                  <a:gd name="T39" fmla="*/ 69 h 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70" h="85">
                    <a:moveTo>
                      <a:pt x="50" y="69"/>
                    </a:moveTo>
                    <a:cubicBezTo>
                      <a:pt x="46" y="72"/>
                      <a:pt x="42" y="74"/>
                      <a:pt x="36" y="74"/>
                    </a:cubicBezTo>
                    <a:cubicBezTo>
                      <a:pt x="30" y="74"/>
                      <a:pt x="24" y="71"/>
                      <a:pt x="20" y="66"/>
                    </a:cubicBezTo>
                    <a:cubicBezTo>
                      <a:pt x="16" y="61"/>
                      <a:pt x="14" y="54"/>
                      <a:pt x="14" y="43"/>
                    </a:cubicBezTo>
                    <a:cubicBezTo>
                      <a:pt x="14" y="32"/>
                      <a:pt x="16" y="24"/>
                      <a:pt x="20" y="19"/>
                    </a:cubicBezTo>
                    <a:cubicBezTo>
                      <a:pt x="25" y="14"/>
                      <a:pt x="30" y="12"/>
                      <a:pt x="37" y="12"/>
                    </a:cubicBezTo>
                    <a:cubicBezTo>
                      <a:pt x="42" y="12"/>
                      <a:pt x="46" y="13"/>
                      <a:pt x="49" y="16"/>
                    </a:cubicBezTo>
                    <a:cubicBezTo>
                      <a:pt x="52" y="18"/>
                      <a:pt x="54" y="23"/>
                      <a:pt x="56" y="28"/>
                    </a:cubicBezTo>
                    <a:cubicBezTo>
                      <a:pt x="69" y="26"/>
                      <a:pt x="69" y="26"/>
                      <a:pt x="69" y="26"/>
                    </a:cubicBezTo>
                    <a:cubicBezTo>
                      <a:pt x="67" y="18"/>
                      <a:pt x="64" y="11"/>
                      <a:pt x="58" y="7"/>
                    </a:cubicBezTo>
                    <a:cubicBezTo>
                      <a:pt x="53" y="2"/>
                      <a:pt x="45" y="0"/>
                      <a:pt x="37" y="0"/>
                    </a:cubicBezTo>
                    <a:cubicBezTo>
                      <a:pt x="30" y="0"/>
                      <a:pt x="23" y="2"/>
                      <a:pt x="17" y="5"/>
                    </a:cubicBezTo>
                    <a:cubicBezTo>
                      <a:pt x="11" y="8"/>
                      <a:pt x="7" y="13"/>
                      <a:pt x="4" y="20"/>
                    </a:cubicBezTo>
                    <a:cubicBezTo>
                      <a:pt x="1" y="27"/>
                      <a:pt x="0" y="34"/>
                      <a:pt x="0" y="43"/>
                    </a:cubicBezTo>
                    <a:cubicBezTo>
                      <a:pt x="0" y="57"/>
                      <a:pt x="3" y="67"/>
                      <a:pt x="10" y="74"/>
                    </a:cubicBezTo>
                    <a:cubicBezTo>
                      <a:pt x="16" y="82"/>
                      <a:pt x="25" y="85"/>
                      <a:pt x="37" y="85"/>
                    </a:cubicBezTo>
                    <a:cubicBezTo>
                      <a:pt x="45" y="85"/>
                      <a:pt x="53" y="83"/>
                      <a:pt x="59" y="77"/>
                    </a:cubicBezTo>
                    <a:cubicBezTo>
                      <a:pt x="65" y="72"/>
                      <a:pt x="69" y="65"/>
                      <a:pt x="70" y="55"/>
                    </a:cubicBezTo>
                    <a:cubicBezTo>
                      <a:pt x="57" y="54"/>
                      <a:pt x="57" y="54"/>
                      <a:pt x="57" y="54"/>
                    </a:cubicBezTo>
                    <a:cubicBezTo>
                      <a:pt x="56" y="60"/>
                      <a:pt x="54" y="66"/>
                      <a:pt x="50" y="6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55" name="iṩḷídê"/>
              <p:cNvSpPr/>
              <p:nvPr/>
            </p:nvSpPr>
            <p:spPr bwMode="auto">
              <a:xfrm>
                <a:off x="9010903" y="5675903"/>
                <a:ext cx="122238" cy="206375"/>
              </a:xfrm>
              <a:custGeom>
                <a:avLst/>
                <a:gdLst>
                  <a:gd name="T0" fmla="*/ 54 w 66"/>
                  <a:gd name="T1" fmla="*/ 33 h 112"/>
                  <a:gd name="T2" fmla="*/ 38 w 66"/>
                  <a:gd name="T3" fmla="*/ 29 h 112"/>
                  <a:gd name="T4" fmla="*/ 14 w 66"/>
                  <a:gd name="T5" fmla="*/ 40 h 112"/>
                  <a:gd name="T6" fmla="*/ 14 w 66"/>
                  <a:gd name="T7" fmla="*/ 0 h 112"/>
                  <a:gd name="T8" fmla="*/ 0 w 66"/>
                  <a:gd name="T9" fmla="*/ 0 h 112"/>
                  <a:gd name="T10" fmla="*/ 0 w 66"/>
                  <a:gd name="T11" fmla="*/ 112 h 112"/>
                  <a:gd name="T12" fmla="*/ 14 w 66"/>
                  <a:gd name="T13" fmla="*/ 112 h 112"/>
                  <a:gd name="T14" fmla="*/ 14 w 66"/>
                  <a:gd name="T15" fmla="*/ 68 h 112"/>
                  <a:gd name="T16" fmla="*/ 16 w 66"/>
                  <a:gd name="T17" fmla="*/ 53 h 112"/>
                  <a:gd name="T18" fmla="*/ 24 w 66"/>
                  <a:gd name="T19" fmla="*/ 44 h 112"/>
                  <a:gd name="T20" fmla="*/ 35 w 66"/>
                  <a:gd name="T21" fmla="*/ 41 h 112"/>
                  <a:gd name="T22" fmla="*/ 48 w 66"/>
                  <a:gd name="T23" fmla="*/ 46 h 112"/>
                  <a:gd name="T24" fmla="*/ 53 w 66"/>
                  <a:gd name="T25" fmla="*/ 61 h 112"/>
                  <a:gd name="T26" fmla="*/ 53 w 66"/>
                  <a:gd name="T27" fmla="*/ 112 h 112"/>
                  <a:gd name="T28" fmla="*/ 66 w 66"/>
                  <a:gd name="T29" fmla="*/ 112 h 112"/>
                  <a:gd name="T30" fmla="*/ 66 w 66"/>
                  <a:gd name="T31" fmla="*/ 61 h 112"/>
                  <a:gd name="T32" fmla="*/ 63 w 66"/>
                  <a:gd name="T33" fmla="*/ 43 h 112"/>
                  <a:gd name="T34" fmla="*/ 54 w 66"/>
                  <a:gd name="T35" fmla="*/ 33 h 1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66" h="112">
                    <a:moveTo>
                      <a:pt x="54" y="33"/>
                    </a:moveTo>
                    <a:cubicBezTo>
                      <a:pt x="50" y="30"/>
                      <a:pt x="44" y="29"/>
                      <a:pt x="38" y="29"/>
                    </a:cubicBezTo>
                    <a:cubicBezTo>
                      <a:pt x="28" y="29"/>
                      <a:pt x="20" y="33"/>
                      <a:pt x="14" y="4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112"/>
                      <a:pt x="0" y="112"/>
                      <a:pt x="0" y="112"/>
                    </a:cubicBezTo>
                    <a:cubicBezTo>
                      <a:pt x="14" y="112"/>
                      <a:pt x="14" y="112"/>
                      <a:pt x="14" y="112"/>
                    </a:cubicBezTo>
                    <a:cubicBezTo>
                      <a:pt x="14" y="68"/>
                      <a:pt x="14" y="68"/>
                      <a:pt x="14" y="68"/>
                    </a:cubicBezTo>
                    <a:cubicBezTo>
                      <a:pt x="14" y="61"/>
                      <a:pt x="15" y="56"/>
                      <a:pt x="16" y="53"/>
                    </a:cubicBezTo>
                    <a:cubicBezTo>
                      <a:pt x="18" y="49"/>
                      <a:pt x="20" y="46"/>
                      <a:pt x="24" y="44"/>
                    </a:cubicBezTo>
                    <a:cubicBezTo>
                      <a:pt x="28" y="42"/>
                      <a:pt x="31" y="41"/>
                      <a:pt x="35" y="41"/>
                    </a:cubicBezTo>
                    <a:cubicBezTo>
                      <a:pt x="41" y="41"/>
                      <a:pt x="45" y="43"/>
                      <a:pt x="48" y="46"/>
                    </a:cubicBezTo>
                    <a:cubicBezTo>
                      <a:pt x="51" y="49"/>
                      <a:pt x="53" y="54"/>
                      <a:pt x="53" y="61"/>
                    </a:cubicBezTo>
                    <a:cubicBezTo>
                      <a:pt x="53" y="112"/>
                      <a:pt x="53" y="112"/>
                      <a:pt x="53" y="112"/>
                    </a:cubicBezTo>
                    <a:cubicBezTo>
                      <a:pt x="66" y="112"/>
                      <a:pt x="66" y="112"/>
                      <a:pt x="66" y="112"/>
                    </a:cubicBezTo>
                    <a:cubicBezTo>
                      <a:pt x="66" y="61"/>
                      <a:pt x="66" y="61"/>
                      <a:pt x="66" y="61"/>
                    </a:cubicBezTo>
                    <a:cubicBezTo>
                      <a:pt x="66" y="53"/>
                      <a:pt x="65" y="47"/>
                      <a:pt x="63" y="43"/>
                    </a:cubicBezTo>
                    <a:cubicBezTo>
                      <a:pt x="62" y="38"/>
                      <a:pt x="58" y="35"/>
                      <a:pt x="54" y="3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56" name="íslîḍe"/>
              <p:cNvSpPr/>
              <p:nvPr/>
            </p:nvSpPr>
            <p:spPr bwMode="auto">
              <a:xfrm>
                <a:off x="9171241" y="5729878"/>
                <a:ext cx="122238" cy="152400"/>
              </a:xfrm>
              <a:custGeom>
                <a:avLst/>
                <a:gdLst>
                  <a:gd name="T0" fmla="*/ 61 w 66"/>
                  <a:gd name="T1" fmla="*/ 10 h 83"/>
                  <a:gd name="T2" fmla="*/ 52 w 66"/>
                  <a:gd name="T3" fmla="*/ 3 h 83"/>
                  <a:gd name="T4" fmla="*/ 39 w 66"/>
                  <a:gd name="T5" fmla="*/ 0 h 83"/>
                  <a:gd name="T6" fmla="*/ 13 w 66"/>
                  <a:gd name="T7" fmla="*/ 14 h 83"/>
                  <a:gd name="T8" fmla="*/ 13 w 66"/>
                  <a:gd name="T9" fmla="*/ 2 h 83"/>
                  <a:gd name="T10" fmla="*/ 0 w 66"/>
                  <a:gd name="T11" fmla="*/ 2 h 83"/>
                  <a:gd name="T12" fmla="*/ 0 w 66"/>
                  <a:gd name="T13" fmla="*/ 83 h 83"/>
                  <a:gd name="T14" fmla="*/ 14 w 66"/>
                  <a:gd name="T15" fmla="*/ 83 h 83"/>
                  <a:gd name="T16" fmla="*/ 14 w 66"/>
                  <a:gd name="T17" fmla="*/ 39 h 83"/>
                  <a:gd name="T18" fmla="*/ 20 w 66"/>
                  <a:gd name="T19" fmla="*/ 18 h 83"/>
                  <a:gd name="T20" fmla="*/ 36 w 66"/>
                  <a:gd name="T21" fmla="*/ 12 h 83"/>
                  <a:gd name="T22" fmla="*/ 45 w 66"/>
                  <a:gd name="T23" fmla="*/ 15 h 83"/>
                  <a:gd name="T24" fmla="*/ 51 w 66"/>
                  <a:gd name="T25" fmla="*/ 21 h 83"/>
                  <a:gd name="T26" fmla="*/ 53 w 66"/>
                  <a:gd name="T27" fmla="*/ 34 h 83"/>
                  <a:gd name="T28" fmla="*/ 53 w 66"/>
                  <a:gd name="T29" fmla="*/ 83 h 83"/>
                  <a:gd name="T30" fmla="*/ 66 w 66"/>
                  <a:gd name="T31" fmla="*/ 83 h 83"/>
                  <a:gd name="T32" fmla="*/ 66 w 66"/>
                  <a:gd name="T33" fmla="*/ 33 h 83"/>
                  <a:gd name="T34" fmla="*/ 66 w 66"/>
                  <a:gd name="T35" fmla="*/ 20 h 83"/>
                  <a:gd name="T36" fmla="*/ 61 w 66"/>
                  <a:gd name="T37" fmla="*/ 10 h 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66" h="83">
                    <a:moveTo>
                      <a:pt x="61" y="10"/>
                    </a:moveTo>
                    <a:cubicBezTo>
                      <a:pt x="59" y="7"/>
                      <a:pt x="56" y="5"/>
                      <a:pt x="52" y="3"/>
                    </a:cubicBezTo>
                    <a:cubicBezTo>
                      <a:pt x="48" y="1"/>
                      <a:pt x="43" y="0"/>
                      <a:pt x="39" y="0"/>
                    </a:cubicBezTo>
                    <a:cubicBezTo>
                      <a:pt x="27" y="0"/>
                      <a:pt x="19" y="5"/>
                      <a:pt x="13" y="14"/>
                    </a:cubicBezTo>
                    <a:cubicBezTo>
                      <a:pt x="13" y="2"/>
                      <a:pt x="13" y="2"/>
                      <a:pt x="13" y="2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83"/>
                      <a:pt x="0" y="83"/>
                      <a:pt x="0" y="83"/>
                    </a:cubicBezTo>
                    <a:cubicBezTo>
                      <a:pt x="14" y="83"/>
                      <a:pt x="14" y="83"/>
                      <a:pt x="14" y="83"/>
                    </a:cubicBezTo>
                    <a:cubicBezTo>
                      <a:pt x="14" y="39"/>
                      <a:pt x="14" y="39"/>
                      <a:pt x="14" y="39"/>
                    </a:cubicBezTo>
                    <a:cubicBezTo>
                      <a:pt x="14" y="29"/>
                      <a:pt x="16" y="21"/>
                      <a:pt x="20" y="18"/>
                    </a:cubicBezTo>
                    <a:cubicBezTo>
                      <a:pt x="25" y="14"/>
                      <a:pt x="30" y="12"/>
                      <a:pt x="36" y="12"/>
                    </a:cubicBezTo>
                    <a:cubicBezTo>
                      <a:pt x="39" y="12"/>
                      <a:pt x="43" y="13"/>
                      <a:pt x="45" y="15"/>
                    </a:cubicBezTo>
                    <a:cubicBezTo>
                      <a:pt x="48" y="16"/>
                      <a:pt x="50" y="19"/>
                      <a:pt x="51" y="21"/>
                    </a:cubicBezTo>
                    <a:cubicBezTo>
                      <a:pt x="52" y="24"/>
                      <a:pt x="53" y="28"/>
                      <a:pt x="53" y="34"/>
                    </a:cubicBezTo>
                    <a:cubicBezTo>
                      <a:pt x="53" y="83"/>
                      <a:pt x="53" y="83"/>
                      <a:pt x="53" y="83"/>
                    </a:cubicBezTo>
                    <a:cubicBezTo>
                      <a:pt x="66" y="83"/>
                      <a:pt x="66" y="83"/>
                      <a:pt x="66" y="83"/>
                    </a:cubicBezTo>
                    <a:cubicBezTo>
                      <a:pt x="66" y="33"/>
                      <a:pt x="66" y="33"/>
                      <a:pt x="66" y="33"/>
                    </a:cubicBezTo>
                    <a:cubicBezTo>
                      <a:pt x="66" y="27"/>
                      <a:pt x="66" y="23"/>
                      <a:pt x="66" y="20"/>
                    </a:cubicBezTo>
                    <a:cubicBezTo>
                      <a:pt x="65" y="16"/>
                      <a:pt x="63" y="13"/>
                      <a:pt x="61" y="1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57" name="ïṣľíḓè"/>
              <p:cNvSpPr/>
              <p:nvPr/>
            </p:nvSpPr>
            <p:spPr bwMode="auto">
              <a:xfrm>
                <a:off x="9322053" y="5729878"/>
                <a:ext cx="142875" cy="157163"/>
              </a:xfrm>
              <a:custGeom>
                <a:avLst/>
                <a:gdLst>
                  <a:gd name="T0" fmla="*/ 38 w 77"/>
                  <a:gd name="T1" fmla="*/ 0 h 85"/>
                  <a:gd name="T2" fmla="*/ 13 w 77"/>
                  <a:gd name="T3" fmla="*/ 9 h 85"/>
                  <a:gd name="T4" fmla="*/ 0 w 77"/>
                  <a:gd name="T5" fmla="*/ 43 h 85"/>
                  <a:gd name="T6" fmla="*/ 11 w 77"/>
                  <a:gd name="T7" fmla="*/ 74 h 85"/>
                  <a:gd name="T8" fmla="*/ 38 w 77"/>
                  <a:gd name="T9" fmla="*/ 85 h 85"/>
                  <a:gd name="T10" fmla="*/ 58 w 77"/>
                  <a:gd name="T11" fmla="*/ 80 h 85"/>
                  <a:gd name="T12" fmla="*/ 72 w 77"/>
                  <a:gd name="T13" fmla="*/ 66 h 85"/>
                  <a:gd name="T14" fmla="*/ 77 w 77"/>
                  <a:gd name="T15" fmla="*/ 42 h 85"/>
                  <a:gd name="T16" fmla="*/ 66 w 77"/>
                  <a:gd name="T17" fmla="*/ 11 h 85"/>
                  <a:gd name="T18" fmla="*/ 38 w 77"/>
                  <a:gd name="T19" fmla="*/ 0 h 85"/>
                  <a:gd name="T20" fmla="*/ 56 w 77"/>
                  <a:gd name="T21" fmla="*/ 66 h 85"/>
                  <a:gd name="T22" fmla="*/ 38 w 77"/>
                  <a:gd name="T23" fmla="*/ 74 h 85"/>
                  <a:gd name="T24" fmla="*/ 21 w 77"/>
                  <a:gd name="T25" fmla="*/ 66 h 85"/>
                  <a:gd name="T26" fmla="*/ 15 w 77"/>
                  <a:gd name="T27" fmla="*/ 43 h 85"/>
                  <a:gd name="T28" fmla="*/ 21 w 77"/>
                  <a:gd name="T29" fmla="*/ 19 h 85"/>
                  <a:gd name="T30" fmla="*/ 38 w 77"/>
                  <a:gd name="T31" fmla="*/ 12 h 85"/>
                  <a:gd name="T32" fmla="*/ 56 w 77"/>
                  <a:gd name="T33" fmla="*/ 19 h 85"/>
                  <a:gd name="T34" fmla="*/ 62 w 77"/>
                  <a:gd name="T35" fmla="*/ 42 h 85"/>
                  <a:gd name="T36" fmla="*/ 56 w 77"/>
                  <a:gd name="T37" fmla="*/ 66 h 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77" h="85">
                    <a:moveTo>
                      <a:pt x="38" y="0"/>
                    </a:moveTo>
                    <a:cubicBezTo>
                      <a:pt x="28" y="0"/>
                      <a:pt x="20" y="3"/>
                      <a:pt x="13" y="9"/>
                    </a:cubicBezTo>
                    <a:cubicBezTo>
                      <a:pt x="5" y="16"/>
                      <a:pt x="0" y="28"/>
                      <a:pt x="0" y="43"/>
                    </a:cubicBezTo>
                    <a:cubicBezTo>
                      <a:pt x="0" y="56"/>
                      <a:pt x="4" y="67"/>
                      <a:pt x="11" y="74"/>
                    </a:cubicBezTo>
                    <a:cubicBezTo>
                      <a:pt x="18" y="82"/>
                      <a:pt x="27" y="85"/>
                      <a:pt x="38" y="85"/>
                    </a:cubicBezTo>
                    <a:cubicBezTo>
                      <a:pt x="46" y="85"/>
                      <a:pt x="52" y="84"/>
                      <a:pt x="58" y="80"/>
                    </a:cubicBezTo>
                    <a:cubicBezTo>
                      <a:pt x="64" y="77"/>
                      <a:pt x="69" y="72"/>
                      <a:pt x="72" y="66"/>
                    </a:cubicBezTo>
                    <a:cubicBezTo>
                      <a:pt x="75" y="60"/>
                      <a:pt x="77" y="52"/>
                      <a:pt x="77" y="42"/>
                    </a:cubicBezTo>
                    <a:cubicBezTo>
                      <a:pt x="77" y="29"/>
                      <a:pt x="73" y="19"/>
                      <a:pt x="66" y="11"/>
                    </a:cubicBezTo>
                    <a:cubicBezTo>
                      <a:pt x="59" y="4"/>
                      <a:pt x="50" y="0"/>
                      <a:pt x="38" y="0"/>
                    </a:cubicBezTo>
                    <a:close/>
                    <a:moveTo>
                      <a:pt x="56" y="66"/>
                    </a:moveTo>
                    <a:cubicBezTo>
                      <a:pt x="51" y="71"/>
                      <a:pt x="45" y="74"/>
                      <a:pt x="38" y="74"/>
                    </a:cubicBezTo>
                    <a:cubicBezTo>
                      <a:pt x="32" y="74"/>
                      <a:pt x="26" y="71"/>
                      <a:pt x="21" y="66"/>
                    </a:cubicBezTo>
                    <a:cubicBezTo>
                      <a:pt x="17" y="61"/>
                      <a:pt x="15" y="53"/>
                      <a:pt x="15" y="43"/>
                    </a:cubicBezTo>
                    <a:cubicBezTo>
                      <a:pt x="15" y="32"/>
                      <a:pt x="17" y="24"/>
                      <a:pt x="21" y="19"/>
                    </a:cubicBezTo>
                    <a:cubicBezTo>
                      <a:pt x="26" y="14"/>
                      <a:pt x="32" y="12"/>
                      <a:pt x="38" y="12"/>
                    </a:cubicBezTo>
                    <a:cubicBezTo>
                      <a:pt x="45" y="12"/>
                      <a:pt x="51" y="14"/>
                      <a:pt x="56" y="19"/>
                    </a:cubicBezTo>
                    <a:cubicBezTo>
                      <a:pt x="60" y="25"/>
                      <a:pt x="62" y="32"/>
                      <a:pt x="62" y="42"/>
                    </a:cubicBezTo>
                    <a:cubicBezTo>
                      <a:pt x="62" y="53"/>
                      <a:pt x="60" y="61"/>
                      <a:pt x="56" y="6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58" name="îš1ïḋé"/>
              <p:cNvSpPr/>
              <p:nvPr/>
            </p:nvSpPr>
            <p:spPr bwMode="auto">
              <a:xfrm>
                <a:off x="9491916" y="5675903"/>
                <a:ext cx="25400" cy="206375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59" name="íŝḻíḍê"/>
              <p:cNvSpPr/>
              <p:nvPr/>
            </p:nvSpPr>
            <p:spPr bwMode="auto">
              <a:xfrm>
                <a:off x="9547478" y="5729878"/>
                <a:ext cx="141288" cy="157163"/>
              </a:xfrm>
              <a:custGeom>
                <a:avLst/>
                <a:gdLst>
                  <a:gd name="T0" fmla="*/ 38 w 77"/>
                  <a:gd name="T1" fmla="*/ 0 h 85"/>
                  <a:gd name="T2" fmla="*/ 13 w 77"/>
                  <a:gd name="T3" fmla="*/ 9 h 85"/>
                  <a:gd name="T4" fmla="*/ 0 w 77"/>
                  <a:gd name="T5" fmla="*/ 43 h 85"/>
                  <a:gd name="T6" fmla="*/ 11 w 77"/>
                  <a:gd name="T7" fmla="*/ 74 h 85"/>
                  <a:gd name="T8" fmla="*/ 38 w 77"/>
                  <a:gd name="T9" fmla="*/ 85 h 85"/>
                  <a:gd name="T10" fmla="*/ 58 w 77"/>
                  <a:gd name="T11" fmla="*/ 80 h 85"/>
                  <a:gd name="T12" fmla="*/ 72 w 77"/>
                  <a:gd name="T13" fmla="*/ 66 h 85"/>
                  <a:gd name="T14" fmla="*/ 77 w 77"/>
                  <a:gd name="T15" fmla="*/ 42 h 85"/>
                  <a:gd name="T16" fmla="*/ 66 w 77"/>
                  <a:gd name="T17" fmla="*/ 11 h 85"/>
                  <a:gd name="T18" fmla="*/ 38 w 77"/>
                  <a:gd name="T19" fmla="*/ 0 h 85"/>
                  <a:gd name="T20" fmla="*/ 56 w 77"/>
                  <a:gd name="T21" fmla="*/ 66 h 85"/>
                  <a:gd name="T22" fmla="*/ 38 w 77"/>
                  <a:gd name="T23" fmla="*/ 74 h 85"/>
                  <a:gd name="T24" fmla="*/ 21 w 77"/>
                  <a:gd name="T25" fmla="*/ 66 h 85"/>
                  <a:gd name="T26" fmla="*/ 15 w 77"/>
                  <a:gd name="T27" fmla="*/ 43 h 85"/>
                  <a:gd name="T28" fmla="*/ 21 w 77"/>
                  <a:gd name="T29" fmla="*/ 19 h 85"/>
                  <a:gd name="T30" fmla="*/ 38 w 77"/>
                  <a:gd name="T31" fmla="*/ 12 h 85"/>
                  <a:gd name="T32" fmla="*/ 56 w 77"/>
                  <a:gd name="T33" fmla="*/ 19 h 85"/>
                  <a:gd name="T34" fmla="*/ 62 w 77"/>
                  <a:gd name="T35" fmla="*/ 42 h 85"/>
                  <a:gd name="T36" fmla="*/ 56 w 77"/>
                  <a:gd name="T37" fmla="*/ 66 h 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77" h="85">
                    <a:moveTo>
                      <a:pt x="38" y="0"/>
                    </a:moveTo>
                    <a:cubicBezTo>
                      <a:pt x="28" y="0"/>
                      <a:pt x="20" y="3"/>
                      <a:pt x="13" y="9"/>
                    </a:cubicBezTo>
                    <a:cubicBezTo>
                      <a:pt x="5" y="16"/>
                      <a:pt x="0" y="28"/>
                      <a:pt x="0" y="43"/>
                    </a:cubicBezTo>
                    <a:cubicBezTo>
                      <a:pt x="0" y="56"/>
                      <a:pt x="4" y="67"/>
                      <a:pt x="11" y="74"/>
                    </a:cubicBezTo>
                    <a:cubicBezTo>
                      <a:pt x="18" y="82"/>
                      <a:pt x="27" y="85"/>
                      <a:pt x="38" y="85"/>
                    </a:cubicBezTo>
                    <a:cubicBezTo>
                      <a:pt x="46" y="85"/>
                      <a:pt x="52" y="84"/>
                      <a:pt x="58" y="80"/>
                    </a:cubicBezTo>
                    <a:cubicBezTo>
                      <a:pt x="64" y="77"/>
                      <a:pt x="69" y="72"/>
                      <a:pt x="72" y="66"/>
                    </a:cubicBezTo>
                    <a:cubicBezTo>
                      <a:pt x="75" y="60"/>
                      <a:pt x="77" y="52"/>
                      <a:pt x="77" y="42"/>
                    </a:cubicBezTo>
                    <a:cubicBezTo>
                      <a:pt x="77" y="29"/>
                      <a:pt x="73" y="19"/>
                      <a:pt x="66" y="11"/>
                    </a:cubicBezTo>
                    <a:cubicBezTo>
                      <a:pt x="59" y="4"/>
                      <a:pt x="50" y="0"/>
                      <a:pt x="38" y="0"/>
                    </a:cubicBezTo>
                    <a:close/>
                    <a:moveTo>
                      <a:pt x="56" y="66"/>
                    </a:moveTo>
                    <a:cubicBezTo>
                      <a:pt x="51" y="71"/>
                      <a:pt x="45" y="74"/>
                      <a:pt x="38" y="74"/>
                    </a:cubicBezTo>
                    <a:cubicBezTo>
                      <a:pt x="32" y="74"/>
                      <a:pt x="26" y="71"/>
                      <a:pt x="21" y="66"/>
                    </a:cubicBezTo>
                    <a:cubicBezTo>
                      <a:pt x="17" y="61"/>
                      <a:pt x="15" y="53"/>
                      <a:pt x="15" y="43"/>
                    </a:cubicBezTo>
                    <a:cubicBezTo>
                      <a:pt x="15" y="32"/>
                      <a:pt x="17" y="24"/>
                      <a:pt x="21" y="19"/>
                    </a:cubicBezTo>
                    <a:cubicBezTo>
                      <a:pt x="26" y="14"/>
                      <a:pt x="32" y="12"/>
                      <a:pt x="38" y="12"/>
                    </a:cubicBezTo>
                    <a:cubicBezTo>
                      <a:pt x="45" y="12"/>
                      <a:pt x="51" y="14"/>
                      <a:pt x="56" y="19"/>
                    </a:cubicBezTo>
                    <a:cubicBezTo>
                      <a:pt x="60" y="25"/>
                      <a:pt x="62" y="32"/>
                      <a:pt x="62" y="42"/>
                    </a:cubicBezTo>
                    <a:cubicBezTo>
                      <a:pt x="62" y="53"/>
                      <a:pt x="60" y="61"/>
                      <a:pt x="56" y="6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60" name="íṧḷíḓé"/>
              <p:cNvSpPr/>
              <p:nvPr/>
            </p:nvSpPr>
            <p:spPr bwMode="auto">
              <a:xfrm>
                <a:off x="9707816" y="5729878"/>
                <a:ext cx="131763" cy="214313"/>
              </a:xfrm>
              <a:custGeom>
                <a:avLst/>
                <a:gdLst>
                  <a:gd name="T0" fmla="*/ 59 w 72"/>
                  <a:gd name="T1" fmla="*/ 12 h 116"/>
                  <a:gd name="T2" fmla="*/ 36 w 72"/>
                  <a:gd name="T3" fmla="*/ 0 h 116"/>
                  <a:gd name="T4" fmla="*/ 17 w 72"/>
                  <a:gd name="T5" fmla="*/ 6 h 116"/>
                  <a:gd name="T6" fmla="*/ 5 w 72"/>
                  <a:gd name="T7" fmla="*/ 21 h 116"/>
                  <a:gd name="T8" fmla="*/ 0 w 72"/>
                  <a:gd name="T9" fmla="*/ 42 h 116"/>
                  <a:gd name="T10" fmla="*/ 10 w 72"/>
                  <a:gd name="T11" fmla="*/ 71 h 116"/>
                  <a:gd name="T12" fmla="*/ 36 w 72"/>
                  <a:gd name="T13" fmla="*/ 83 h 116"/>
                  <a:gd name="T14" fmla="*/ 58 w 72"/>
                  <a:gd name="T15" fmla="*/ 73 h 116"/>
                  <a:gd name="T16" fmla="*/ 57 w 72"/>
                  <a:gd name="T17" fmla="*/ 90 h 116"/>
                  <a:gd name="T18" fmla="*/ 50 w 72"/>
                  <a:gd name="T19" fmla="*/ 101 h 116"/>
                  <a:gd name="T20" fmla="*/ 35 w 72"/>
                  <a:gd name="T21" fmla="*/ 105 h 116"/>
                  <a:gd name="T22" fmla="*/ 21 w 72"/>
                  <a:gd name="T23" fmla="*/ 101 h 116"/>
                  <a:gd name="T24" fmla="*/ 17 w 72"/>
                  <a:gd name="T25" fmla="*/ 92 h 116"/>
                  <a:gd name="T26" fmla="*/ 3 w 72"/>
                  <a:gd name="T27" fmla="*/ 90 h 116"/>
                  <a:gd name="T28" fmla="*/ 12 w 72"/>
                  <a:gd name="T29" fmla="*/ 110 h 116"/>
                  <a:gd name="T30" fmla="*/ 35 w 72"/>
                  <a:gd name="T31" fmla="*/ 116 h 116"/>
                  <a:gd name="T32" fmla="*/ 56 w 72"/>
                  <a:gd name="T33" fmla="*/ 112 h 116"/>
                  <a:gd name="T34" fmla="*/ 68 w 72"/>
                  <a:gd name="T35" fmla="*/ 99 h 116"/>
                  <a:gd name="T36" fmla="*/ 72 w 72"/>
                  <a:gd name="T37" fmla="*/ 72 h 116"/>
                  <a:gd name="T38" fmla="*/ 72 w 72"/>
                  <a:gd name="T39" fmla="*/ 2 h 116"/>
                  <a:gd name="T40" fmla="*/ 59 w 72"/>
                  <a:gd name="T41" fmla="*/ 2 h 116"/>
                  <a:gd name="T42" fmla="*/ 59 w 72"/>
                  <a:gd name="T43" fmla="*/ 12 h 116"/>
                  <a:gd name="T44" fmla="*/ 53 w 72"/>
                  <a:gd name="T45" fmla="*/ 65 h 116"/>
                  <a:gd name="T46" fmla="*/ 37 w 72"/>
                  <a:gd name="T47" fmla="*/ 72 h 116"/>
                  <a:gd name="T48" fmla="*/ 21 w 72"/>
                  <a:gd name="T49" fmla="*/ 65 h 116"/>
                  <a:gd name="T50" fmla="*/ 15 w 72"/>
                  <a:gd name="T51" fmla="*/ 41 h 116"/>
                  <a:gd name="T52" fmla="*/ 21 w 72"/>
                  <a:gd name="T53" fmla="*/ 19 h 116"/>
                  <a:gd name="T54" fmla="*/ 37 w 72"/>
                  <a:gd name="T55" fmla="*/ 12 h 116"/>
                  <a:gd name="T56" fmla="*/ 53 w 72"/>
                  <a:gd name="T57" fmla="*/ 19 h 116"/>
                  <a:gd name="T58" fmla="*/ 59 w 72"/>
                  <a:gd name="T59" fmla="*/ 42 h 116"/>
                  <a:gd name="T60" fmla="*/ 53 w 72"/>
                  <a:gd name="T61" fmla="*/ 65 h 1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72" h="116">
                    <a:moveTo>
                      <a:pt x="59" y="12"/>
                    </a:moveTo>
                    <a:cubicBezTo>
                      <a:pt x="53" y="4"/>
                      <a:pt x="45" y="0"/>
                      <a:pt x="36" y="0"/>
                    </a:cubicBezTo>
                    <a:cubicBezTo>
                      <a:pt x="28" y="0"/>
                      <a:pt x="22" y="2"/>
                      <a:pt x="17" y="6"/>
                    </a:cubicBezTo>
                    <a:cubicBezTo>
                      <a:pt x="11" y="9"/>
                      <a:pt x="7" y="14"/>
                      <a:pt x="5" y="21"/>
                    </a:cubicBezTo>
                    <a:cubicBezTo>
                      <a:pt x="2" y="27"/>
                      <a:pt x="0" y="34"/>
                      <a:pt x="0" y="42"/>
                    </a:cubicBezTo>
                    <a:cubicBezTo>
                      <a:pt x="0" y="53"/>
                      <a:pt x="3" y="63"/>
                      <a:pt x="10" y="71"/>
                    </a:cubicBezTo>
                    <a:cubicBezTo>
                      <a:pt x="16" y="79"/>
                      <a:pt x="24" y="83"/>
                      <a:pt x="36" y="83"/>
                    </a:cubicBezTo>
                    <a:cubicBezTo>
                      <a:pt x="45" y="83"/>
                      <a:pt x="52" y="80"/>
                      <a:pt x="58" y="73"/>
                    </a:cubicBezTo>
                    <a:cubicBezTo>
                      <a:pt x="58" y="82"/>
                      <a:pt x="58" y="88"/>
                      <a:pt x="57" y="90"/>
                    </a:cubicBezTo>
                    <a:cubicBezTo>
                      <a:pt x="56" y="95"/>
                      <a:pt x="53" y="99"/>
                      <a:pt x="50" y="101"/>
                    </a:cubicBezTo>
                    <a:cubicBezTo>
                      <a:pt x="47" y="104"/>
                      <a:pt x="42" y="105"/>
                      <a:pt x="35" y="105"/>
                    </a:cubicBezTo>
                    <a:cubicBezTo>
                      <a:pt x="29" y="105"/>
                      <a:pt x="25" y="104"/>
                      <a:pt x="21" y="101"/>
                    </a:cubicBezTo>
                    <a:cubicBezTo>
                      <a:pt x="19" y="99"/>
                      <a:pt x="17" y="96"/>
                      <a:pt x="17" y="92"/>
                    </a:cubicBezTo>
                    <a:cubicBezTo>
                      <a:pt x="3" y="90"/>
                      <a:pt x="3" y="90"/>
                      <a:pt x="3" y="90"/>
                    </a:cubicBezTo>
                    <a:cubicBezTo>
                      <a:pt x="3" y="99"/>
                      <a:pt x="6" y="105"/>
                      <a:pt x="12" y="110"/>
                    </a:cubicBezTo>
                    <a:cubicBezTo>
                      <a:pt x="18" y="114"/>
                      <a:pt x="26" y="116"/>
                      <a:pt x="35" y="116"/>
                    </a:cubicBezTo>
                    <a:cubicBezTo>
                      <a:pt x="43" y="116"/>
                      <a:pt x="50" y="115"/>
                      <a:pt x="56" y="112"/>
                    </a:cubicBezTo>
                    <a:cubicBezTo>
                      <a:pt x="62" y="109"/>
                      <a:pt x="66" y="104"/>
                      <a:pt x="68" y="99"/>
                    </a:cubicBezTo>
                    <a:cubicBezTo>
                      <a:pt x="71" y="94"/>
                      <a:pt x="72" y="85"/>
                      <a:pt x="72" y="72"/>
                    </a:cubicBezTo>
                    <a:cubicBezTo>
                      <a:pt x="72" y="2"/>
                      <a:pt x="72" y="2"/>
                      <a:pt x="72" y="2"/>
                    </a:cubicBezTo>
                    <a:cubicBezTo>
                      <a:pt x="59" y="2"/>
                      <a:pt x="59" y="2"/>
                      <a:pt x="59" y="2"/>
                    </a:cubicBezTo>
                    <a:lnTo>
                      <a:pt x="59" y="12"/>
                    </a:lnTo>
                    <a:close/>
                    <a:moveTo>
                      <a:pt x="53" y="65"/>
                    </a:moveTo>
                    <a:cubicBezTo>
                      <a:pt x="48" y="69"/>
                      <a:pt x="43" y="72"/>
                      <a:pt x="37" y="72"/>
                    </a:cubicBezTo>
                    <a:cubicBezTo>
                      <a:pt x="30" y="72"/>
                      <a:pt x="25" y="69"/>
                      <a:pt x="21" y="65"/>
                    </a:cubicBezTo>
                    <a:cubicBezTo>
                      <a:pt x="17" y="60"/>
                      <a:pt x="15" y="52"/>
                      <a:pt x="15" y="41"/>
                    </a:cubicBezTo>
                    <a:cubicBezTo>
                      <a:pt x="15" y="31"/>
                      <a:pt x="17" y="24"/>
                      <a:pt x="21" y="19"/>
                    </a:cubicBezTo>
                    <a:cubicBezTo>
                      <a:pt x="25" y="14"/>
                      <a:pt x="30" y="12"/>
                      <a:pt x="37" y="12"/>
                    </a:cubicBezTo>
                    <a:cubicBezTo>
                      <a:pt x="43" y="12"/>
                      <a:pt x="48" y="14"/>
                      <a:pt x="53" y="19"/>
                    </a:cubicBezTo>
                    <a:cubicBezTo>
                      <a:pt x="57" y="24"/>
                      <a:pt x="59" y="32"/>
                      <a:pt x="59" y="42"/>
                    </a:cubicBezTo>
                    <a:cubicBezTo>
                      <a:pt x="59" y="52"/>
                      <a:pt x="57" y="60"/>
                      <a:pt x="53" y="6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61" name="îŝlíde"/>
              <p:cNvSpPr/>
              <p:nvPr/>
            </p:nvSpPr>
            <p:spPr bwMode="auto">
              <a:xfrm>
                <a:off x="9864978" y="5733053"/>
                <a:ext cx="138113" cy="211138"/>
              </a:xfrm>
              <a:custGeom>
                <a:avLst/>
                <a:gdLst>
                  <a:gd name="T0" fmla="*/ 43 w 75"/>
                  <a:gd name="T1" fmla="*/ 47 h 114"/>
                  <a:gd name="T2" fmla="*/ 38 w 75"/>
                  <a:gd name="T3" fmla="*/ 66 h 114"/>
                  <a:gd name="T4" fmla="*/ 32 w 75"/>
                  <a:gd name="T5" fmla="*/ 47 h 114"/>
                  <a:gd name="T6" fmla="*/ 15 w 75"/>
                  <a:gd name="T7" fmla="*/ 0 h 114"/>
                  <a:gd name="T8" fmla="*/ 0 w 75"/>
                  <a:gd name="T9" fmla="*/ 0 h 114"/>
                  <a:gd name="T10" fmla="*/ 31 w 75"/>
                  <a:gd name="T11" fmla="*/ 81 h 114"/>
                  <a:gd name="T12" fmla="*/ 30 w 75"/>
                  <a:gd name="T13" fmla="*/ 85 h 114"/>
                  <a:gd name="T14" fmla="*/ 25 w 75"/>
                  <a:gd name="T15" fmla="*/ 95 h 114"/>
                  <a:gd name="T16" fmla="*/ 21 w 75"/>
                  <a:gd name="T17" fmla="*/ 99 h 114"/>
                  <a:gd name="T18" fmla="*/ 14 w 75"/>
                  <a:gd name="T19" fmla="*/ 101 h 114"/>
                  <a:gd name="T20" fmla="*/ 6 w 75"/>
                  <a:gd name="T21" fmla="*/ 100 h 114"/>
                  <a:gd name="T22" fmla="*/ 7 w 75"/>
                  <a:gd name="T23" fmla="*/ 113 h 114"/>
                  <a:gd name="T24" fmla="*/ 16 w 75"/>
                  <a:gd name="T25" fmla="*/ 114 h 114"/>
                  <a:gd name="T26" fmla="*/ 27 w 75"/>
                  <a:gd name="T27" fmla="*/ 111 h 114"/>
                  <a:gd name="T28" fmla="*/ 36 w 75"/>
                  <a:gd name="T29" fmla="*/ 101 h 114"/>
                  <a:gd name="T30" fmla="*/ 44 w 75"/>
                  <a:gd name="T31" fmla="*/ 83 h 114"/>
                  <a:gd name="T32" fmla="*/ 75 w 75"/>
                  <a:gd name="T33" fmla="*/ 0 h 114"/>
                  <a:gd name="T34" fmla="*/ 61 w 75"/>
                  <a:gd name="T35" fmla="*/ 0 h 114"/>
                  <a:gd name="T36" fmla="*/ 43 w 75"/>
                  <a:gd name="T37" fmla="*/ 47 h 1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75" h="114">
                    <a:moveTo>
                      <a:pt x="43" y="47"/>
                    </a:moveTo>
                    <a:cubicBezTo>
                      <a:pt x="41" y="53"/>
                      <a:pt x="39" y="60"/>
                      <a:pt x="38" y="66"/>
                    </a:cubicBezTo>
                    <a:cubicBezTo>
                      <a:pt x="36" y="59"/>
                      <a:pt x="34" y="53"/>
                      <a:pt x="32" y="47"/>
                    </a:cubicBezTo>
                    <a:cubicBezTo>
                      <a:pt x="15" y="0"/>
                      <a:pt x="15" y="0"/>
                      <a:pt x="15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31" y="81"/>
                      <a:pt x="31" y="81"/>
                      <a:pt x="31" y="81"/>
                    </a:cubicBezTo>
                    <a:cubicBezTo>
                      <a:pt x="30" y="83"/>
                      <a:pt x="30" y="84"/>
                      <a:pt x="30" y="85"/>
                    </a:cubicBezTo>
                    <a:cubicBezTo>
                      <a:pt x="28" y="90"/>
                      <a:pt x="26" y="94"/>
                      <a:pt x="25" y="95"/>
                    </a:cubicBezTo>
                    <a:cubicBezTo>
                      <a:pt x="24" y="97"/>
                      <a:pt x="23" y="98"/>
                      <a:pt x="21" y="99"/>
                    </a:cubicBezTo>
                    <a:cubicBezTo>
                      <a:pt x="19" y="100"/>
                      <a:pt x="17" y="101"/>
                      <a:pt x="14" y="101"/>
                    </a:cubicBezTo>
                    <a:cubicBezTo>
                      <a:pt x="11" y="101"/>
                      <a:pt x="9" y="101"/>
                      <a:pt x="6" y="100"/>
                    </a:cubicBezTo>
                    <a:cubicBezTo>
                      <a:pt x="7" y="113"/>
                      <a:pt x="7" y="113"/>
                      <a:pt x="7" y="113"/>
                    </a:cubicBezTo>
                    <a:cubicBezTo>
                      <a:pt x="11" y="114"/>
                      <a:pt x="13" y="114"/>
                      <a:pt x="16" y="114"/>
                    </a:cubicBezTo>
                    <a:cubicBezTo>
                      <a:pt x="21" y="114"/>
                      <a:pt x="24" y="113"/>
                      <a:pt x="27" y="111"/>
                    </a:cubicBezTo>
                    <a:cubicBezTo>
                      <a:pt x="31" y="109"/>
                      <a:pt x="33" y="106"/>
                      <a:pt x="36" y="101"/>
                    </a:cubicBezTo>
                    <a:cubicBezTo>
                      <a:pt x="38" y="98"/>
                      <a:pt x="40" y="92"/>
                      <a:pt x="44" y="83"/>
                    </a:cubicBezTo>
                    <a:cubicBezTo>
                      <a:pt x="75" y="0"/>
                      <a:pt x="75" y="0"/>
                      <a:pt x="75" y="0"/>
                    </a:cubicBezTo>
                    <a:cubicBezTo>
                      <a:pt x="61" y="0"/>
                      <a:pt x="61" y="0"/>
                      <a:pt x="61" y="0"/>
                    </a:cubicBezTo>
                    <a:lnTo>
                      <a:pt x="43" y="4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62" name="íṧ1ïḍé"/>
              <p:cNvSpPr/>
              <p:nvPr/>
            </p:nvSpPr>
            <p:spPr bwMode="auto">
              <a:xfrm>
                <a:off x="10106278" y="5675903"/>
                <a:ext cx="155575" cy="206375"/>
              </a:xfrm>
              <a:custGeom>
                <a:avLst/>
                <a:gdLst>
                  <a:gd name="T0" fmla="*/ 64 w 85"/>
                  <a:gd name="T1" fmla="*/ 53 h 112"/>
                  <a:gd name="T2" fmla="*/ 75 w 85"/>
                  <a:gd name="T3" fmla="*/ 42 h 112"/>
                  <a:gd name="T4" fmla="*/ 79 w 85"/>
                  <a:gd name="T5" fmla="*/ 29 h 112"/>
                  <a:gd name="T6" fmla="*/ 75 w 85"/>
                  <a:gd name="T7" fmla="*/ 14 h 112"/>
                  <a:gd name="T8" fmla="*/ 63 w 85"/>
                  <a:gd name="T9" fmla="*/ 4 h 112"/>
                  <a:gd name="T10" fmla="*/ 42 w 85"/>
                  <a:gd name="T11" fmla="*/ 0 h 112"/>
                  <a:gd name="T12" fmla="*/ 0 w 85"/>
                  <a:gd name="T13" fmla="*/ 0 h 112"/>
                  <a:gd name="T14" fmla="*/ 0 w 85"/>
                  <a:gd name="T15" fmla="*/ 112 h 112"/>
                  <a:gd name="T16" fmla="*/ 43 w 85"/>
                  <a:gd name="T17" fmla="*/ 112 h 112"/>
                  <a:gd name="T18" fmla="*/ 61 w 85"/>
                  <a:gd name="T19" fmla="*/ 110 h 112"/>
                  <a:gd name="T20" fmla="*/ 73 w 85"/>
                  <a:gd name="T21" fmla="*/ 105 h 112"/>
                  <a:gd name="T22" fmla="*/ 81 w 85"/>
                  <a:gd name="T23" fmla="*/ 94 h 112"/>
                  <a:gd name="T24" fmla="*/ 85 w 85"/>
                  <a:gd name="T25" fmla="*/ 80 h 112"/>
                  <a:gd name="T26" fmla="*/ 79 w 85"/>
                  <a:gd name="T27" fmla="*/ 63 h 112"/>
                  <a:gd name="T28" fmla="*/ 64 w 85"/>
                  <a:gd name="T29" fmla="*/ 53 h 112"/>
                  <a:gd name="T30" fmla="*/ 15 w 85"/>
                  <a:gd name="T31" fmla="*/ 13 h 112"/>
                  <a:gd name="T32" fmla="*/ 37 w 85"/>
                  <a:gd name="T33" fmla="*/ 13 h 112"/>
                  <a:gd name="T34" fmla="*/ 54 w 85"/>
                  <a:gd name="T35" fmla="*/ 15 h 112"/>
                  <a:gd name="T36" fmla="*/ 62 w 85"/>
                  <a:gd name="T37" fmla="*/ 21 h 112"/>
                  <a:gd name="T38" fmla="*/ 65 w 85"/>
                  <a:gd name="T39" fmla="*/ 31 h 112"/>
                  <a:gd name="T40" fmla="*/ 62 w 85"/>
                  <a:gd name="T41" fmla="*/ 40 h 112"/>
                  <a:gd name="T42" fmla="*/ 53 w 85"/>
                  <a:gd name="T43" fmla="*/ 46 h 112"/>
                  <a:gd name="T44" fmla="*/ 39 w 85"/>
                  <a:gd name="T45" fmla="*/ 47 h 112"/>
                  <a:gd name="T46" fmla="*/ 15 w 85"/>
                  <a:gd name="T47" fmla="*/ 47 h 112"/>
                  <a:gd name="T48" fmla="*/ 15 w 85"/>
                  <a:gd name="T49" fmla="*/ 13 h 112"/>
                  <a:gd name="T50" fmla="*/ 67 w 85"/>
                  <a:gd name="T51" fmla="*/ 89 h 112"/>
                  <a:gd name="T52" fmla="*/ 61 w 85"/>
                  <a:gd name="T53" fmla="*/ 95 h 112"/>
                  <a:gd name="T54" fmla="*/ 53 w 85"/>
                  <a:gd name="T55" fmla="*/ 99 h 112"/>
                  <a:gd name="T56" fmla="*/ 43 w 85"/>
                  <a:gd name="T57" fmla="*/ 99 h 112"/>
                  <a:gd name="T58" fmla="*/ 15 w 85"/>
                  <a:gd name="T59" fmla="*/ 99 h 112"/>
                  <a:gd name="T60" fmla="*/ 15 w 85"/>
                  <a:gd name="T61" fmla="*/ 61 h 112"/>
                  <a:gd name="T62" fmla="*/ 41 w 85"/>
                  <a:gd name="T63" fmla="*/ 61 h 112"/>
                  <a:gd name="T64" fmla="*/ 57 w 85"/>
                  <a:gd name="T65" fmla="*/ 62 h 112"/>
                  <a:gd name="T66" fmla="*/ 66 w 85"/>
                  <a:gd name="T67" fmla="*/ 69 h 112"/>
                  <a:gd name="T68" fmla="*/ 69 w 85"/>
                  <a:gd name="T69" fmla="*/ 80 h 112"/>
                  <a:gd name="T70" fmla="*/ 67 w 85"/>
                  <a:gd name="T71" fmla="*/ 89 h 1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85" h="112">
                    <a:moveTo>
                      <a:pt x="64" y="53"/>
                    </a:moveTo>
                    <a:cubicBezTo>
                      <a:pt x="69" y="50"/>
                      <a:pt x="73" y="47"/>
                      <a:pt x="75" y="42"/>
                    </a:cubicBezTo>
                    <a:cubicBezTo>
                      <a:pt x="78" y="38"/>
                      <a:pt x="79" y="34"/>
                      <a:pt x="79" y="29"/>
                    </a:cubicBezTo>
                    <a:cubicBezTo>
                      <a:pt x="79" y="24"/>
                      <a:pt x="78" y="19"/>
                      <a:pt x="75" y="14"/>
                    </a:cubicBezTo>
                    <a:cubicBezTo>
                      <a:pt x="72" y="9"/>
                      <a:pt x="68" y="6"/>
                      <a:pt x="63" y="4"/>
                    </a:cubicBezTo>
                    <a:cubicBezTo>
                      <a:pt x="57" y="1"/>
                      <a:pt x="51" y="0"/>
                      <a:pt x="42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112"/>
                      <a:pt x="0" y="112"/>
                      <a:pt x="0" y="112"/>
                    </a:cubicBezTo>
                    <a:cubicBezTo>
                      <a:pt x="43" y="112"/>
                      <a:pt x="43" y="112"/>
                      <a:pt x="43" y="112"/>
                    </a:cubicBezTo>
                    <a:cubicBezTo>
                      <a:pt x="50" y="112"/>
                      <a:pt x="56" y="112"/>
                      <a:pt x="61" y="110"/>
                    </a:cubicBezTo>
                    <a:cubicBezTo>
                      <a:pt x="66" y="109"/>
                      <a:pt x="70" y="107"/>
                      <a:pt x="73" y="105"/>
                    </a:cubicBezTo>
                    <a:cubicBezTo>
                      <a:pt x="76" y="102"/>
                      <a:pt x="79" y="99"/>
                      <a:pt x="81" y="94"/>
                    </a:cubicBezTo>
                    <a:cubicBezTo>
                      <a:pt x="84" y="90"/>
                      <a:pt x="85" y="85"/>
                      <a:pt x="85" y="80"/>
                    </a:cubicBezTo>
                    <a:cubicBezTo>
                      <a:pt x="85" y="73"/>
                      <a:pt x="83" y="68"/>
                      <a:pt x="79" y="63"/>
                    </a:cubicBezTo>
                    <a:cubicBezTo>
                      <a:pt x="76" y="58"/>
                      <a:pt x="70" y="55"/>
                      <a:pt x="64" y="53"/>
                    </a:cubicBezTo>
                    <a:close/>
                    <a:moveTo>
                      <a:pt x="15" y="13"/>
                    </a:moveTo>
                    <a:cubicBezTo>
                      <a:pt x="37" y="13"/>
                      <a:pt x="37" y="13"/>
                      <a:pt x="37" y="13"/>
                    </a:cubicBezTo>
                    <a:cubicBezTo>
                      <a:pt x="45" y="13"/>
                      <a:pt x="51" y="14"/>
                      <a:pt x="54" y="15"/>
                    </a:cubicBezTo>
                    <a:cubicBezTo>
                      <a:pt x="58" y="16"/>
                      <a:pt x="60" y="18"/>
                      <a:pt x="62" y="21"/>
                    </a:cubicBezTo>
                    <a:cubicBezTo>
                      <a:pt x="64" y="24"/>
                      <a:pt x="65" y="27"/>
                      <a:pt x="65" y="31"/>
                    </a:cubicBezTo>
                    <a:cubicBezTo>
                      <a:pt x="65" y="35"/>
                      <a:pt x="64" y="38"/>
                      <a:pt x="62" y="40"/>
                    </a:cubicBezTo>
                    <a:cubicBezTo>
                      <a:pt x="60" y="43"/>
                      <a:pt x="57" y="45"/>
                      <a:pt x="53" y="46"/>
                    </a:cubicBezTo>
                    <a:cubicBezTo>
                      <a:pt x="50" y="47"/>
                      <a:pt x="46" y="47"/>
                      <a:pt x="39" y="47"/>
                    </a:cubicBezTo>
                    <a:cubicBezTo>
                      <a:pt x="15" y="47"/>
                      <a:pt x="15" y="47"/>
                      <a:pt x="15" y="47"/>
                    </a:cubicBezTo>
                    <a:lnTo>
                      <a:pt x="15" y="13"/>
                    </a:lnTo>
                    <a:close/>
                    <a:moveTo>
                      <a:pt x="67" y="89"/>
                    </a:moveTo>
                    <a:cubicBezTo>
                      <a:pt x="66" y="92"/>
                      <a:pt x="64" y="94"/>
                      <a:pt x="61" y="95"/>
                    </a:cubicBezTo>
                    <a:cubicBezTo>
                      <a:pt x="59" y="97"/>
                      <a:pt x="56" y="98"/>
                      <a:pt x="53" y="99"/>
                    </a:cubicBezTo>
                    <a:cubicBezTo>
                      <a:pt x="51" y="99"/>
                      <a:pt x="48" y="99"/>
                      <a:pt x="43" y="99"/>
                    </a:cubicBezTo>
                    <a:cubicBezTo>
                      <a:pt x="15" y="99"/>
                      <a:pt x="15" y="99"/>
                      <a:pt x="15" y="99"/>
                    </a:cubicBezTo>
                    <a:cubicBezTo>
                      <a:pt x="15" y="61"/>
                      <a:pt x="15" y="61"/>
                      <a:pt x="15" y="61"/>
                    </a:cubicBezTo>
                    <a:cubicBezTo>
                      <a:pt x="41" y="61"/>
                      <a:pt x="41" y="61"/>
                      <a:pt x="41" y="61"/>
                    </a:cubicBezTo>
                    <a:cubicBezTo>
                      <a:pt x="48" y="61"/>
                      <a:pt x="53" y="61"/>
                      <a:pt x="57" y="62"/>
                    </a:cubicBezTo>
                    <a:cubicBezTo>
                      <a:pt x="61" y="64"/>
                      <a:pt x="64" y="66"/>
                      <a:pt x="66" y="69"/>
                    </a:cubicBezTo>
                    <a:cubicBezTo>
                      <a:pt x="68" y="72"/>
                      <a:pt x="69" y="76"/>
                      <a:pt x="69" y="80"/>
                    </a:cubicBezTo>
                    <a:cubicBezTo>
                      <a:pt x="69" y="83"/>
                      <a:pt x="69" y="87"/>
                      <a:pt x="67" y="8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63" name="iŝļidé"/>
              <p:cNvSpPr/>
              <p:nvPr/>
            </p:nvSpPr>
            <p:spPr bwMode="auto">
              <a:xfrm>
                <a:off x="10288841" y="5729878"/>
                <a:ext cx="138113" cy="157163"/>
              </a:xfrm>
              <a:custGeom>
                <a:avLst/>
                <a:gdLst>
                  <a:gd name="T0" fmla="*/ 38 w 75"/>
                  <a:gd name="T1" fmla="*/ 0 h 85"/>
                  <a:gd name="T2" fmla="*/ 10 w 75"/>
                  <a:gd name="T3" fmla="*/ 12 h 85"/>
                  <a:gd name="T4" fmla="*/ 0 w 75"/>
                  <a:gd name="T5" fmla="*/ 43 h 85"/>
                  <a:gd name="T6" fmla="*/ 10 w 75"/>
                  <a:gd name="T7" fmla="*/ 74 h 85"/>
                  <a:gd name="T8" fmla="*/ 38 w 75"/>
                  <a:gd name="T9" fmla="*/ 85 h 85"/>
                  <a:gd name="T10" fmla="*/ 62 w 75"/>
                  <a:gd name="T11" fmla="*/ 78 h 85"/>
                  <a:gd name="T12" fmla="*/ 74 w 75"/>
                  <a:gd name="T13" fmla="*/ 59 h 85"/>
                  <a:gd name="T14" fmla="*/ 60 w 75"/>
                  <a:gd name="T15" fmla="*/ 57 h 85"/>
                  <a:gd name="T16" fmla="*/ 51 w 75"/>
                  <a:gd name="T17" fmla="*/ 70 h 85"/>
                  <a:gd name="T18" fmla="*/ 39 w 75"/>
                  <a:gd name="T19" fmla="*/ 74 h 85"/>
                  <a:gd name="T20" fmla="*/ 22 w 75"/>
                  <a:gd name="T21" fmla="*/ 67 h 85"/>
                  <a:gd name="T22" fmla="*/ 14 w 75"/>
                  <a:gd name="T23" fmla="*/ 46 h 85"/>
                  <a:gd name="T24" fmla="*/ 75 w 75"/>
                  <a:gd name="T25" fmla="*/ 46 h 85"/>
                  <a:gd name="T26" fmla="*/ 75 w 75"/>
                  <a:gd name="T27" fmla="*/ 43 h 85"/>
                  <a:gd name="T28" fmla="*/ 64 w 75"/>
                  <a:gd name="T29" fmla="*/ 11 h 85"/>
                  <a:gd name="T30" fmla="*/ 38 w 75"/>
                  <a:gd name="T31" fmla="*/ 0 h 85"/>
                  <a:gd name="T32" fmla="*/ 15 w 75"/>
                  <a:gd name="T33" fmla="*/ 35 h 85"/>
                  <a:gd name="T34" fmla="*/ 22 w 75"/>
                  <a:gd name="T35" fmla="*/ 18 h 85"/>
                  <a:gd name="T36" fmla="*/ 38 w 75"/>
                  <a:gd name="T37" fmla="*/ 12 h 85"/>
                  <a:gd name="T38" fmla="*/ 55 w 75"/>
                  <a:gd name="T39" fmla="*/ 20 h 85"/>
                  <a:gd name="T40" fmla="*/ 60 w 75"/>
                  <a:gd name="T41" fmla="*/ 35 h 85"/>
                  <a:gd name="T42" fmla="*/ 15 w 75"/>
                  <a:gd name="T43" fmla="*/ 35 h 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75" h="85">
                    <a:moveTo>
                      <a:pt x="38" y="0"/>
                    </a:moveTo>
                    <a:cubicBezTo>
                      <a:pt x="26" y="0"/>
                      <a:pt x="17" y="4"/>
                      <a:pt x="10" y="12"/>
                    </a:cubicBezTo>
                    <a:cubicBezTo>
                      <a:pt x="3" y="19"/>
                      <a:pt x="0" y="30"/>
                      <a:pt x="0" y="43"/>
                    </a:cubicBezTo>
                    <a:cubicBezTo>
                      <a:pt x="0" y="57"/>
                      <a:pt x="3" y="67"/>
                      <a:pt x="10" y="74"/>
                    </a:cubicBezTo>
                    <a:cubicBezTo>
                      <a:pt x="17" y="81"/>
                      <a:pt x="27" y="85"/>
                      <a:pt x="38" y="85"/>
                    </a:cubicBezTo>
                    <a:cubicBezTo>
                      <a:pt x="48" y="85"/>
                      <a:pt x="56" y="83"/>
                      <a:pt x="62" y="78"/>
                    </a:cubicBezTo>
                    <a:cubicBezTo>
                      <a:pt x="68" y="74"/>
                      <a:pt x="72" y="67"/>
                      <a:pt x="74" y="59"/>
                    </a:cubicBezTo>
                    <a:cubicBezTo>
                      <a:pt x="60" y="57"/>
                      <a:pt x="60" y="57"/>
                      <a:pt x="60" y="57"/>
                    </a:cubicBezTo>
                    <a:cubicBezTo>
                      <a:pt x="58" y="63"/>
                      <a:pt x="55" y="67"/>
                      <a:pt x="51" y="70"/>
                    </a:cubicBezTo>
                    <a:cubicBezTo>
                      <a:pt x="48" y="73"/>
                      <a:pt x="44" y="74"/>
                      <a:pt x="39" y="74"/>
                    </a:cubicBezTo>
                    <a:cubicBezTo>
                      <a:pt x="32" y="74"/>
                      <a:pt x="26" y="71"/>
                      <a:pt x="22" y="67"/>
                    </a:cubicBezTo>
                    <a:cubicBezTo>
                      <a:pt x="17" y="62"/>
                      <a:pt x="14" y="55"/>
                      <a:pt x="14" y="46"/>
                    </a:cubicBezTo>
                    <a:cubicBezTo>
                      <a:pt x="75" y="46"/>
                      <a:pt x="75" y="46"/>
                      <a:pt x="75" y="46"/>
                    </a:cubicBezTo>
                    <a:cubicBezTo>
                      <a:pt x="75" y="45"/>
                      <a:pt x="75" y="43"/>
                      <a:pt x="75" y="43"/>
                    </a:cubicBezTo>
                    <a:cubicBezTo>
                      <a:pt x="75" y="29"/>
                      <a:pt x="71" y="19"/>
                      <a:pt x="64" y="11"/>
                    </a:cubicBezTo>
                    <a:cubicBezTo>
                      <a:pt x="57" y="4"/>
                      <a:pt x="49" y="0"/>
                      <a:pt x="38" y="0"/>
                    </a:cubicBezTo>
                    <a:close/>
                    <a:moveTo>
                      <a:pt x="15" y="35"/>
                    </a:moveTo>
                    <a:cubicBezTo>
                      <a:pt x="15" y="28"/>
                      <a:pt x="18" y="22"/>
                      <a:pt x="22" y="18"/>
                    </a:cubicBezTo>
                    <a:cubicBezTo>
                      <a:pt x="26" y="14"/>
                      <a:pt x="32" y="12"/>
                      <a:pt x="38" y="12"/>
                    </a:cubicBezTo>
                    <a:cubicBezTo>
                      <a:pt x="45" y="12"/>
                      <a:pt x="51" y="14"/>
                      <a:pt x="55" y="20"/>
                    </a:cubicBezTo>
                    <a:cubicBezTo>
                      <a:pt x="58" y="23"/>
                      <a:pt x="60" y="28"/>
                      <a:pt x="60" y="35"/>
                    </a:cubicBezTo>
                    <a:lnTo>
                      <a:pt x="15" y="3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64" name="í$lidè"/>
              <p:cNvSpPr/>
              <p:nvPr/>
            </p:nvSpPr>
            <p:spPr bwMode="auto">
              <a:xfrm>
                <a:off x="10457116" y="5675903"/>
                <a:ext cx="25400" cy="30163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65" name="iSļiḋé"/>
              <p:cNvSpPr/>
              <p:nvPr/>
            </p:nvSpPr>
            <p:spPr bwMode="auto">
              <a:xfrm>
                <a:off x="10457116" y="5733053"/>
                <a:ext cx="25400" cy="149225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66" name="íṩḷïḑe"/>
              <p:cNvSpPr/>
              <p:nvPr/>
            </p:nvSpPr>
            <p:spPr bwMode="auto">
              <a:xfrm>
                <a:off x="10520616" y="5675903"/>
                <a:ext cx="25400" cy="30163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67" name="i$ḷïḍè"/>
              <p:cNvSpPr/>
              <p:nvPr/>
            </p:nvSpPr>
            <p:spPr bwMode="auto">
              <a:xfrm>
                <a:off x="10488866" y="5733053"/>
                <a:ext cx="57150" cy="211138"/>
              </a:xfrm>
              <a:custGeom>
                <a:avLst/>
                <a:gdLst>
                  <a:gd name="T0" fmla="*/ 17 w 31"/>
                  <a:gd name="T1" fmla="*/ 85 h 114"/>
                  <a:gd name="T2" fmla="*/ 15 w 31"/>
                  <a:gd name="T3" fmla="*/ 99 h 114"/>
                  <a:gd name="T4" fmla="*/ 9 w 31"/>
                  <a:gd name="T5" fmla="*/ 102 h 114"/>
                  <a:gd name="T6" fmla="*/ 2 w 31"/>
                  <a:gd name="T7" fmla="*/ 101 h 114"/>
                  <a:gd name="T8" fmla="*/ 0 w 31"/>
                  <a:gd name="T9" fmla="*/ 113 h 114"/>
                  <a:gd name="T10" fmla="*/ 11 w 31"/>
                  <a:gd name="T11" fmla="*/ 114 h 114"/>
                  <a:gd name="T12" fmla="*/ 27 w 31"/>
                  <a:gd name="T13" fmla="*/ 107 h 114"/>
                  <a:gd name="T14" fmla="*/ 31 w 31"/>
                  <a:gd name="T15" fmla="*/ 86 h 114"/>
                  <a:gd name="T16" fmla="*/ 31 w 31"/>
                  <a:gd name="T17" fmla="*/ 0 h 114"/>
                  <a:gd name="T18" fmla="*/ 17 w 31"/>
                  <a:gd name="T19" fmla="*/ 0 h 114"/>
                  <a:gd name="T20" fmla="*/ 17 w 31"/>
                  <a:gd name="T21" fmla="*/ 85 h 1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31" h="114">
                    <a:moveTo>
                      <a:pt x="17" y="85"/>
                    </a:moveTo>
                    <a:cubicBezTo>
                      <a:pt x="17" y="93"/>
                      <a:pt x="17" y="98"/>
                      <a:pt x="15" y="99"/>
                    </a:cubicBezTo>
                    <a:cubicBezTo>
                      <a:pt x="14" y="101"/>
                      <a:pt x="12" y="102"/>
                      <a:pt x="9" y="102"/>
                    </a:cubicBezTo>
                    <a:cubicBezTo>
                      <a:pt x="7" y="102"/>
                      <a:pt x="5" y="102"/>
                      <a:pt x="2" y="101"/>
                    </a:cubicBezTo>
                    <a:cubicBezTo>
                      <a:pt x="0" y="113"/>
                      <a:pt x="0" y="113"/>
                      <a:pt x="0" y="113"/>
                    </a:cubicBezTo>
                    <a:cubicBezTo>
                      <a:pt x="3" y="114"/>
                      <a:pt x="7" y="114"/>
                      <a:pt x="11" y="114"/>
                    </a:cubicBezTo>
                    <a:cubicBezTo>
                      <a:pt x="18" y="114"/>
                      <a:pt x="24" y="112"/>
                      <a:pt x="27" y="107"/>
                    </a:cubicBezTo>
                    <a:cubicBezTo>
                      <a:pt x="30" y="103"/>
                      <a:pt x="31" y="96"/>
                      <a:pt x="31" y="86"/>
                    </a:cubicBezTo>
                    <a:cubicBezTo>
                      <a:pt x="31" y="0"/>
                      <a:pt x="31" y="0"/>
                      <a:pt x="31" y="0"/>
                    </a:cubicBezTo>
                    <a:cubicBezTo>
                      <a:pt x="17" y="0"/>
                      <a:pt x="17" y="0"/>
                      <a:pt x="17" y="0"/>
                    </a:cubicBezTo>
                    <a:lnTo>
                      <a:pt x="17" y="8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68" name="íṩliḋé"/>
              <p:cNvSpPr/>
              <p:nvPr/>
            </p:nvSpPr>
            <p:spPr bwMode="auto">
              <a:xfrm>
                <a:off x="10585703" y="5675903"/>
                <a:ext cx="25400" cy="30163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69" name="ísḷiďé"/>
              <p:cNvSpPr/>
              <p:nvPr/>
            </p:nvSpPr>
            <p:spPr bwMode="auto">
              <a:xfrm>
                <a:off x="10585703" y="5733053"/>
                <a:ext cx="25400" cy="149225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70" name="íṩļïḍe"/>
              <p:cNvSpPr/>
              <p:nvPr/>
            </p:nvSpPr>
            <p:spPr bwMode="auto">
              <a:xfrm>
                <a:off x="10649203" y="5729878"/>
                <a:ext cx="122238" cy="152400"/>
              </a:xfrm>
              <a:custGeom>
                <a:avLst/>
                <a:gdLst>
                  <a:gd name="T0" fmla="*/ 65 w 66"/>
                  <a:gd name="T1" fmla="*/ 20 h 83"/>
                  <a:gd name="T2" fmla="*/ 61 w 66"/>
                  <a:gd name="T3" fmla="*/ 10 h 83"/>
                  <a:gd name="T4" fmla="*/ 52 w 66"/>
                  <a:gd name="T5" fmla="*/ 3 h 83"/>
                  <a:gd name="T6" fmla="*/ 38 w 66"/>
                  <a:gd name="T7" fmla="*/ 0 h 83"/>
                  <a:gd name="T8" fmla="*/ 12 w 66"/>
                  <a:gd name="T9" fmla="*/ 14 h 83"/>
                  <a:gd name="T10" fmla="*/ 12 w 66"/>
                  <a:gd name="T11" fmla="*/ 2 h 83"/>
                  <a:gd name="T12" fmla="*/ 0 w 66"/>
                  <a:gd name="T13" fmla="*/ 2 h 83"/>
                  <a:gd name="T14" fmla="*/ 0 w 66"/>
                  <a:gd name="T15" fmla="*/ 83 h 83"/>
                  <a:gd name="T16" fmla="*/ 14 w 66"/>
                  <a:gd name="T17" fmla="*/ 83 h 83"/>
                  <a:gd name="T18" fmla="*/ 14 w 66"/>
                  <a:gd name="T19" fmla="*/ 39 h 83"/>
                  <a:gd name="T20" fmla="*/ 20 w 66"/>
                  <a:gd name="T21" fmla="*/ 18 h 83"/>
                  <a:gd name="T22" fmla="*/ 35 w 66"/>
                  <a:gd name="T23" fmla="*/ 12 h 83"/>
                  <a:gd name="T24" fmla="*/ 45 w 66"/>
                  <a:gd name="T25" fmla="*/ 15 h 83"/>
                  <a:gd name="T26" fmla="*/ 51 w 66"/>
                  <a:gd name="T27" fmla="*/ 21 h 83"/>
                  <a:gd name="T28" fmla="*/ 52 w 66"/>
                  <a:gd name="T29" fmla="*/ 34 h 83"/>
                  <a:gd name="T30" fmla="*/ 52 w 66"/>
                  <a:gd name="T31" fmla="*/ 83 h 83"/>
                  <a:gd name="T32" fmla="*/ 66 w 66"/>
                  <a:gd name="T33" fmla="*/ 83 h 83"/>
                  <a:gd name="T34" fmla="*/ 66 w 66"/>
                  <a:gd name="T35" fmla="*/ 33 h 83"/>
                  <a:gd name="T36" fmla="*/ 65 w 66"/>
                  <a:gd name="T37" fmla="*/ 20 h 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66" h="83">
                    <a:moveTo>
                      <a:pt x="65" y="20"/>
                    </a:moveTo>
                    <a:cubicBezTo>
                      <a:pt x="64" y="16"/>
                      <a:pt x="63" y="13"/>
                      <a:pt x="61" y="10"/>
                    </a:cubicBezTo>
                    <a:cubicBezTo>
                      <a:pt x="59" y="7"/>
                      <a:pt x="56" y="5"/>
                      <a:pt x="52" y="3"/>
                    </a:cubicBezTo>
                    <a:cubicBezTo>
                      <a:pt x="48" y="1"/>
                      <a:pt x="43" y="0"/>
                      <a:pt x="38" y="0"/>
                    </a:cubicBezTo>
                    <a:cubicBezTo>
                      <a:pt x="27" y="0"/>
                      <a:pt x="18" y="5"/>
                      <a:pt x="12" y="14"/>
                    </a:cubicBezTo>
                    <a:cubicBezTo>
                      <a:pt x="12" y="2"/>
                      <a:pt x="12" y="2"/>
                      <a:pt x="12" y="2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83"/>
                      <a:pt x="0" y="83"/>
                      <a:pt x="0" y="83"/>
                    </a:cubicBezTo>
                    <a:cubicBezTo>
                      <a:pt x="14" y="83"/>
                      <a:pt x="14" y="83"/>
                      <a:pt x="14" y="83"/>
                    </a:cubicBezTo>
                    <a:cubicBezTo>
                      <a:pt x="14" y="39"/>
                      <a:pt x="14" y="39"/>
                      <a:pt x="14" y="39"/>
                    </a:cubicBezTo>
                    <a:cubicBezTo>
                      <a:pt x="14" y="29"/>
                      <a:pt x="16" y="21"/>
                      <a:pt x="20" y="18"/>
                    </a:cubicBezTo>
                    <a:cubicBezTo>
                      <a:pt x="24" y="14"/>
                      <a:pt x="29" y="12"/>
                      <a:pt x="35" y="12"/>
                    </a:cubicBezTo>
                    <a:cubicBezTo>
                      <a:pt x="39" y="12"/>
                      <a:pt x="42" y="13"/>
                      <a:pt x="45" y="15"/>
                    </a:cubicBezTo>
                    <a:cubicBezTo>
                      <a:pt x="48" y="16"/>
                      <a:pt x="50" y="19"/>
                      <a:pt x="51" y="21"/>
                    </a:cubicBezTo>
                    <a:cubicBezTo>
                      <a:pt x="52" y="24"/>
                      <a:pt x="52" y="28"/>
                      <a:pt x="52" y="34"/>
                    </a:cubicBezTo>
                    <a:cubicBezTo>
                      <a:pt x="52" y="83"/>
                      <a:pt x="52" y="83"/>
                      <a:pt x="52" y="83"/>
                    </a:cubicBezTo>
                    <a:cubicBezTo>
                      <a:pt x="66" y="83"/>
                      <a:pt x="66" y="83"/>
                      <a:pt x="66" y="83"/>
                    </a:cubicBezTo>
                    <a:cubicBezTo>
                      <a:pt x="66" y="33"/>
                      <a:pt x="66" y="33"/>
                      <a:pt x="66" y="33"/>
                    </a:cubicBezTo>
                    <a:cubicBezTo>
                      <a:pt x="66" y="27"/>
                      <a:pt x="66" y="23"/>
                      <a:pt x="65" y="2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71" name="í$ľíḍê"/>
              <p:cNvSpPr/>
              <p:nvPr/>
            </p:nvSpPr>
            <p:spPr bwMode="auto">
              <a:xfrm>
                <a:off x="10800016" y="5729878"/>
                <a:ext cx="133350" cy="214313"/>
              </a:xfrm>
              <a:custGeom>
                <a:avLst/>
                <a:gdLst>
                  <a:gd name="T0" fmla="*/ 59 w 72"/>
                  <a:gd name="T1" fmla="*/ 2 h 116"/>
                  <a:gd name="T2" fmla="*/ 59 w 72"/>
                  <a:gd name="T3" fmla="*/ 12 h 116"/>
                  <a:gd name="T4" fmla="*/ 35 w 72"/>
                  <a:gd name="T5" fmla="*/ 0 h 116"/>
                  <a:gd name="T6" fmla="*/ 16 w 72"/>
                  <a:gd name="T7" fmla="*/ 6 h 116"/>
                  <a:gd name="T8" fmla="*/ 4 w 72"/>
                  <a:gd name="T9" fmla="*/ 21 h 116"/>
                  <a:gd name="T10" fmla="*/ 0 w 72"/>
                  <a:gd name="T11" fmla="*/ 42 h 116"/>
                  <a:gd name="T12" fmla="*/ 9 w 72"/>
                  <a:gd name="T13" fmla="*/ 71 h 116"/>
                  <a:gd name="T14" fmla="*/ 35 w 72"/>
                  <a:gd name="T15" fmla="*/ 83 h 116"/>
                  <a:gd name="T16" fmla="*/ 58 w 72"/>
                  <a:gd name="T17" fmla="*/ 73 h 116"/>
                  <a:gd name="T18" fmla="*/ 57 w 72"/>
                  <a:gd name="T19" fmla="*/ 90 h 116"/>
                  <a:gd name="T20" fmla="*/ 49 w 72"/>
                  <a:gd name="T21" fmla="*/ 101 h 116"/>
                  <a:gd name="T22" fmla="*/ 35 w 72"/>
                  <a:gd name="T23" fmla="*/ 105 h 116"/>
                  <a:gd name="T24" fmla="*/ 21 w 72"/>
                  <a:gd name="T25" fmla="*/ 101 h 116"/>
                  <a:gd name="T26" fmla="*/ 16 w 72"/>
                  <a:gd name="T27" fmla="*/ 92 h 116"/>
                  <a:gd name="T28" fmla="*/ 3 w 72"/>
                  <a:gd name="T29" fmla="*/ 90 h 116"/>
                  <a:gd name="T30" fmla="*/ 11 w 72"/>
                  <a:gd name="T31" fmla="*/ 110 h 116"/>
                  <a:gd name="T32" fmla="*/ 35 w 72"/>
                  <a:gd name="T33" fmla="*/ 116 h 116"/>
                  <a:gd name="T34" fmla="*/ 55 w 72"/>
                  <a:gd name="T35" fmla="*/ 112 h 116"/>
                  <a:gd name="T36" fmla="*/ 68 w 72"/>
                  <a:gd name="T37" fmla="*/ 99 h 116"/>
                  <a:gd name="T38" fmla="*/ 72 w 72"/>
                  <a:gd name="T39" fmla="*/ 72 h 116"/>
                  <a:gd name="T40" fmla="*/ 72 w 72"/>
                  <a:gd name="T41" fmla="*/ 2 h 116"/>
                  <a:gd name="T42" fmla="*/ 59 w 72"/>
                  <a:gd name="T43" fmla="*/ 2 h 116"/>
                  <a:gd name="T44" fmla="*/ 52 w 72"/>
                  <a:gd name="T45" fmla="*/ 65 h 116"/>
                  <a:gd name="T46" fmla="*/ 36 w 72"/>
                  <a:gd name="T47" fmla="*/ 72 h 116"/>
                  <a:gd name="T48" fmla="*/ 20 w 72"/>
                  <a:gd name="T49" fmla="*/ 65 h 116"/>
                  <a:gd name="T50" fmla="*/ 14 w 72"/>
                  <a:gd name="T51" fmla="*/ 41 h 116"/>
                  <a:gd name="T52" fmla="*/ 20 w 72"/>
                  <a:gd name="T53" fmla="*/ 19 h 116"/>
                  <a:gd name="T54" fmla="*/ 36 w 72"/>
                  <a:gd name="T55" fmla="*/ 12 h 116"/>
                  <a:gd name="T56" fmla="*/ 52 w 72"/>
                  <a:gd name="T57" fmla="*/ 19 h 116"/>
                  <a:gd name="T58" fmla="*/ 59 w 72"/>
                  <a:gd name="T59" fmla="*/ 42 h 116"/>
                  <a:gd name="T60" fmla="*/ 52 w 72"/>
                  <a:gd name="T61" fmla="*/ 65 h 1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72" h="116">
                    <a:moveTo>
                      <a:pt x="59" y="2"/>
                    </a:moveTo>
                    <a:cubicBezTo>
                      <a:pt x="59" y="12"/>
                      <a:pt x="59" y="12"/>
                      <a:pt x="59" y="12"/>
                    </a:cubicBezTo>
                    <a:cubicBezTo>
                      <a:pt x="53" y="4"/>
                      <a:pt x="45" y="0"/>
                      <a:pt x="35" y="0"/>
                    </a:cubicBezTo>
                    <a:cubicBezTo>
                      <a:pt x="28" y="0"/>
                      <a:pt x="22" y="2"/>
                      <a:pt x="16" y="6"/>
                    </a:cubicBezTo>
                    <a:cubicBezTo>
                      <a:pt x="11" y="9"/>
                      <a:pt x="7" y="14"/>
                      <a:pt x="4" y="21"/>
                    </a:cubicBezTo>
                    <a:cubicBezTo>
                      <a:pt x="1" y="27"/>
                      <a:pt x="0" y="34"/>
                      <a:pt x="0" y="42"/>
                    </a:cubicBezTo>
                    <a:cubicBezTo>
                      <a:pt x="0" y="53"/>
                      <a:pt x="3" y="63"/>
                      <a:pt x="9" y="71"/>
                    </a:cubicBezTo>
                    <a:cubicBezTo>
                      <a:pt x="15" y="79"/>
                      <a:pt x="24" y="83"/>
                      <a:pt x="35" y="83"/>
                    </a:cubicBezTo>
                    <a:cubicBezTo>
                      <a:pt x="44" y="83"/>
                      <a:pt x="51" y="80"/>
                      <a:pt x="58" y="73"/>
                    </a:cubicBezTo>
                    <a:cubicBezTo>
                      <a:pt x="58" y="82"/>
                      <a:pt x="57" y="88"/>
                      <a:pt x="57" y="90"/>
                    </a:cubicBezTo>
                    <a:cubicBezTo>
                      <a:pt x="55" y="95"/>
                      <a:pt x="53" y="99"/>
                      <a:pt x="49" y="101"/>
                    </a:cubicBezTo>
                    <a:cubicBezTo>
                      <a:pt x="46" y="104"/>
                      <a:pt x="41" y="105"/>
                      <a:pt x="35" y="105"/>
                    </a:cubicBezTo>
                    <a:cubicBezTo>
                      <a:pt x="29" y="105"/>
                      <a:pt x="24" y="104"/>
                      <a:pt x="21" y="101"/>
                    </a:cubicBezTo>
                    <a:cubicBezTo>
                      <a:pt x="18" y="99"/>
                      <a:pt x="17" y="96"/>
                      <a:pt x="16" y="92"/>
                    </a:cubicBezTo>
                    <a:cubicBezTo>
                      <a:pt x="3" y="90"/>
                      <a:pt x="3" y="90"/>
                      <a:pt x="3" y="90"/>
                    </a:cubicBezTo>
                    <a:cubicBezTo>
                      <a:pt x="2" y="99"/>
                      <a:pt x="5" y="105"/>
                      <a:pt x="11" y="110"/>
                    </a:cubicBezTo>
                    <a:cubicBezTo>
                      <a:pt x="17" y="114"/>
                      <a:pt x="25" y="116"/>
                      <a:pt x="35" y="116"/>
                    </a:cubicBezTo>
                    <a:cubicBezTo>
                      <a:pt x="43" y="116"/>
                      <a:pt x="50" y="115"/>
                      <a:pt x="55" y="112"/>
                    </a:cubicBezTo>
                    <a:cubicBezTo>
                      <a:pt x="61" y="109"/>
                      <a:pt x="65" y="104"/>
                      <a:pt x="68" y="99"/>
                    </a:cubicBezTo>
                    <a:cubicBezTo>
                      <a:pt x="70" y="94"/>
                      <a:pt x="72" y="85"/>
                      <a:pt x="72" y="72"/>
                    </a:cubicBezTo>
                    <a:cubicBezTo>
                      <a:pt x="72" y="2"/>
                      <a:pt x="72" y="2"/>
                      <a:pt x="72" y="2"/>
                    </a:cubicBezTo>
                    <a:lnTo>
                      <a:pt x="59" y="2"/>
                    </a:lnTo>
                    <a:close/>
                    <a:moveTo>
                      <a:pt x="52" y="65"/>
                    </a:moveTo>
                    <a:cubicBezTo>
                      <a:pt x="48" y="69"/>
                      <a:pt x="43" y="72"/>
                      <a:pt x="36" y="72"/>
                    </a:cubicBezTo>
                    <a:cubicBezTo>
                      <a:pt x="30" y="72"/>
                      <a:pt x="25" y="69"/>
                      <a:pt x="20" y="65"/>
                    </a:cubicBezTo>
                    <a:cubicBezTo>
                      <a:pt x="16" y="60"/>
                      <a:pt x="14" y="52"/>
                      <a:pt x="14" y="41"/>
                    </a:cubicBezTo>
                    <a:cubicBezTo>
                      <a:pt x="14" y="31"/>
                      <a:pt x="16" y="24"/>
                      <a:pt x="20" y="19"/>
                    </a:cubicBezTo>
                    <a:cubicBezTo>
                      <a:pt x="25" y="14"/>
                      <a:pt x="30" y="12"/>
                      <a:pt x="36" y="12"/>
                    </a:cubicBezTo>
                    <a:cubicBezTo>
                      <a:pt x="42" y="12"/>
                      <a:pt x="48" y="14"/>
                      <a:pt x="52" y="19"/>
                    </a:cubicBezTo>
                    <a:cubicBezTo>
                      <a:pt x="56" y="24"/>
                      <a:pt x="59" y="32"/>
                      <a:pt x="59" y="42"/>
                    </a:cubicBezTo>
                    <a:cubicBezTo>
                      <a:pt x="59" y="52"/>
                      <a:pt x="57" y="60"/>
                      <a:pt x="52" y="6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72" name="î$1ïḍè"/>
              <p:cNvSpPr/>
              <p:nvPr/>
            </p:nvSpPr>
            <p:spPr bwMode="auto">
              <a:xfrm>
                <a:off x="5231066" y="5675903"/>
                <a:ext cx="161925" cy="211138"/>
              </a:xfrm>
              <a:custGeom>
                <a:avLst/>
                <a:gdLst>
                  <a:gd name="T0" fmla="*/ 73 w 88"/>
                  <a:gd name="T1" fmla="*/ 65 h 114"/>
                  <a:gd name="T2" fmla="*/ 66 w 88"/>
                  <a:gd name="T3" fmla="*/ 93 h 114"/>
                  <a:gd name="T4" fmla="*/ 43 w 88"/>
                  <a:gd name="T5" fmla="*/ 101 h 114"/>
                  <a:gd name="T6" fmla="*/ 27 w 88"/>
                  <a:gd name="T7" fmla="*/ 97 h 114"/>
                  <a:gd name="T8" fmla="*/ 17 w 88"/>
                  <a:gd name="T9" fmla="*/ 86 h 114"/>
                  <a:gd name="T10" fmla="*/ 15 w 88"/>
                  <a:gd name="T11" fmla="*/ 65 h 114"/>
                  <a:gd name="T12" fmla="*/ 15 w 88"/>
                  <a:gd name="T13" fmla="*/ 0 h 114"/>
                  <a:gd name="T14" fmla="*/ 0 w 88"/>
                  <a:gd name="T15" fmla="*/ 0 h 114"/>
                  <a:gd name="T16" fmla="*/ 0 w 88"/>
                  <a:gd name="T17" fmla="*/ 65 h 114"/>
                  <a:gd name="T18" fmla="*/ 4 w 88"/>
                  <a:gd name="T19" fmla="*/ 93 h 114"/>
                  <a:gd name="T20" fmla="*/ 18 w 88"/>
                  <a:gd name="T21" fmla="*/ 109 h 114"/>
                  <a:gd name="T22" fmla="*/ 44 w 88"/>
                  <a:gd name="T23" fmla="*/ 114 h 114"/>
                  <a:gd name="T24" fmla="*/ 70 w 88"/>
                  <a:gd name="T25" fmla="*/ 108 h 114"/>
                  <a:gd name="T26" fmla="*/ 84 w 88"/>
                  <a:gd name="T27" fmla="*/ 92 h 114"/>
                  <a:gd name="T28" fmla="*/ 88 w 88"/>
                  <a:gd name="T29" fmla="*/ 65 h 114"/>
                  <a:gd name="T30" fmla="*/ 88 w 88"/>
                  <a:gd name="T31" fmla="*/ 0 h 114"/>
                  <a:gd name="T32" fmla="*/ 73 w 88"/>
                  <a:gd name="T33" fmla="*/ 0 h 114"/>
                  <a:gd name="T34" fmla="*/ 73 w 88"/>
                  <a:gd name="T35" fmla="*/ 65 h 1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88" h="114">
                    <a:moveTo>
                      <a:pt x="73" y="65"/>
                    </a:moveTo>
                    <a:cubicBezTo>
                      <a:pt x="73" y="79"/>
                      <a:pt x="71" y="88"/>
                      <a:pt x="66" y="93"/>
                    </a:cubicBezTo>
                    <a:cubicBezTo>
                      <a:pt x="62" y="98"/>
                      <a:pt x="54" y="101"/>
                      <a:pt x="43" y="101"/>
                    </a:cubicBezTo>
                    <a:cubicBezTo>
                      <a:pt x="37" y="101"/>
                      <a:pt x="31" y="100"/>
                      <a:pt x="27" y="97"/>
                    </a:cubicBezTo>
                    <a:cubicBezTo>
                      <a:pt x="22" y="95"/>
                      <a:pt x="19" y="91"/>
                      <a:pt x="17" y="86"/>
                    </a:cubicBezTo>
                    <a:cubicBezTo>
                      <a:pt x="16" y="82"/>
                      <a:pt x="15" y="75"/>
                      <a:pt x="15" y="65"/>
                    </a:cubicBezTo>
                    <a:cubicBezTo>
                      <a:pt x="15" y="0"/>
                      <a:pt x="15" y="0"/>
                      <a:pt x="15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65"/>
                      <a:pt x="0" y="65"/>
                      <a:pt x="0" y="65"/>
                    </a:cubicBezTo>
                    <a:cubicBezTo>
                      <a:pt x="0" y="77"/>
                      <a:pt x="1" y="86"/>
                      <a:pt x="4" y="93"/>
                    </a:cubicBezTo>
                    <a:cubicBezTo>
                      <a:pt x="7" y="100"/>
                      <a:pt x="12" y="105"/>
                      <a:pt x="18" y="109"/>
                    </a:cubicBezTo>
                    <a:cubicBezTo>
                      <a:pt x="25" y="112"/>
                      <a:pt x="34" y="114"/>
                      <a:pt x="44" y="114"/>
                    </a:cubicBezTo>
                    <a:cubicBezTo>
                      <a:pt x="55" y="114"/>
                      <a:pt x="64" y="112"/>
                      <a:pt x="70" y="108"/>
                    </a:cubicBezTo>
                    <a:cubicBezTo>
                      <a:pt x="77" y="104"/>
                      <a:pt x="82" y="98"/>
                      <a:pt x="84" y="92"/>
                    </a:cubicBezTo>
                    <a:cubicBezTo>
                      <a:pt x="87" y="85"/>
                      <a:pt x="88" y="76"/>
                      <a:pt x="88" y="65"/>
                    </a:cubicBezTo>
                    <a:cubicBezTo>
                      <a:pt x="88" y="0"/>
                      <a:pt x="88" y="0"/>
                      <a:pt x="88" y="0"/>
                    </a:cubicBezTo>
                    <a:cubicBezTo>
                      <a:pt x="73" y="0"/>
                      <a:pt x="73" y="0"/>
                      <a:pt x="73" y="0"/>
                    </a:cubicBezTo>
                    <a:lnTo>
                      <a:pt x="73" y="6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  <p:sp>
            <p:nvSpPr>
              <p:cNvPr id="73" name="ïṡļîḑê"/>
              <p:cNvSpPr/>
              <p:nvPr/>
            </p:nvSpPr>
            <p:spPr bwMode="auto">
              <a:xfrm>
                <a:off x="5435853" y="5729878"/>
                <a:ext cx="120650" cy="152400"/>
              </a:xfrm>
              <a:custGeom>
                <a:avLst/>
                <a:gdLst>
                  <a:gd name="T0" fmla="*/ 61 w 66"/>
                  <a:gd name="T1" fmla="*/ 10 h 83"/>
                  <a:gd name="T2" fmla="*/ 52 w 66"/>
                  <a:gd name="T3" fmla="*/ 3 h 83"/>
                  <a:gd name="T4" fmla="*/ 38 w 66"/>
                  <a:gd name="T5" fmla="*/ 0 h 83"/>
                  <a:gd name="T6" fmla="*/ 12 w 66"/>
                  <a:gd name="T7" fmla="*/ 14 h 83"/>
                  <a:gd name="T8" fmla="*/ 12 w 66"/>
                  <a:gd name="T9" fmla="*/ 2 h 83"/>
                  <a:gd name="T10" fmla="*/ 0 w 66"/>
                  <a:gd name="T11" fmla="*/ 2 h 83"/>
                  <a:gd name="T12" fmla="*/ 0 w 66"/>
                  <a:gd name="T13" fmla="*/ 83 h 83"/>
                  <a:gd name="T14" fmla="*/ 14 w 66"/>
                  <a:gd name="T15" fmla="*/ 83 h 83"/>
                  <a:gd name="T16" fmla="*/ 14 w 66"/>
                  <a:gd name="T17" fmla="*/ 39 h 83"/>
                  <a:gd name="T18" fmla="*/ 20 w 66"/>
                  <a:gd name="T19" fmla="*/ 18 h 83"/>
                  <a:gd name="T20" fmla="*/ 35 w 66"/>
                  <a:gd name="T21" fmla="*/ 12 h 83"/>
                  <a:gd name="T22" fmla="*/ 45 w 66"/>
                  <a:gd name="T23" fmla="*/ 15 h 83"/>
                  <a:gd name="T24" fmla="*/ 51 w 66"/>
                  <a:gd name="T25" fmla="*/ 21 h 83"/>
                  <a:gd name="T26" fmla="*/ 52 w 66"/>
                  <a:gd name="T27" fmla="*/ 34 h 83"/>
                  <a:gd name="T28" fmla="*/ 52 w 66"/>
                  <a:gd name="T29" fmla="*/ 83 h 83"/>
                  <a:gd name="T30" fmla="*/ 66 w 66"/>
                  <a:gd name="T31" fmla="*/ 83 h 83"/>
                  <a:gd name="T32" fmla="*/ 66 w 66"/>
                  <a:gd name="T33" fmla="*/ 33 h 83"/>
                  <a:gd name="T34" fmla="*/ 65 w 66"/>
                  <a:gd name="T35" fmla="*/ 20 h 83"/>
                  <a:gd name="T36" fmla="*/ 61 w 66"/>
                  <a:gd name="T37" fmla="*/ 10 h 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66" h="83">
                    <a:moveTo>
                      <a:pt x="61" y="10"/>
                    </a:moveTo>
                    <a:cubicBezTo>
                      <a:pt x="59" y="7"/>
                      <a:pt x="56" y="5"/>
                      <a:pt x="52" y="3"/>
                    </a:cubicBezTo>
                    <a:cubicBezTo>
                      <a:pt x="48" y="1"/>
                      <a:pt x="43" y="0"/>
                      <a:pt x="38" y="0"/>
                    </a:cubicBezTo>
                    <a:cubicBezTo>
                      <a:pt x="27" y="0"/>
                      <a:pt x="18" y="5"/>
                      <a:pt x="12" y="14"/>
                    </a:cubicBezTo>
                    <a:cubicBezTo>
                      <a:pt x="12" y="2"/>
                      <a:pt x="12" y="2"/>
                      <a:pt x="12" y="2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83"/>
                      <a:pt x="0" y="83"/>
                      <a:pt x="0" y="83"/>
                    </a:cubicBezTo>
                    <a:cubicBezTo>
                      <a:pt x="14" y="83"/>
                      <a:pt x="14" y="83"/>
                      <a:pt x="14" y="83"/>
                    </a:cubicBezTo>
                    <a:cubicBezTo>
                      <a:pt x="14" y="39"/>
                      <a:pt x="14" y="39"/>
                      <a:pt x="14" y="39"/>
                    </a:cubicBezTo>
                    <a:cubicBezTo>
                      <a:pt x="14" y="29"/>
                      <a:pt x="16" y="21"/>
                      <a:pt x="20" y="18"/>
                    </a:cubicBezTo>
                    <a:cubicBezTo>
                      <a:pt x="25" y="14"/>
                      <a:pt x="30" y="12"/>
                      <a:pt x="35" y="12"/>
                    </a:cubicBezTo>
                    <a:cubicBezTo>
                      <a:pt x="39" y="12"/>
                      <a:pt x="42" y="13"/>
                      <a:pt x="45" y="15"/>
                    </a:cubicBezTo>
                    <a:cubicBezTo>
                      <a:pt x="48" y="16"/>
                      <a:pt x="50" y="19"/>
                      <a:pt x="51" y="21"/>
                    </a:cubicBezTo>
                    <a:cubicBezTo>
                      <a:pt x="52" y="24"/>
                      <a:pt x="52" y="28"/>
                      <a:pt x="52" y="34"/>
                    </a:cubicBezTo>
                    <a:cubicBezTo>
                      <a:pt x="52" y="83"/>
                      <a:pt x="52" y="83"/>
                      <a:pt x="52" y="83"/>
                    </a:cubicBezTo>
                    <a:cubicBezTo>
                      <a:pt x="66" y="83"/>
                      <a:pt x="66" y="83"/>
                      <a:pt x="66" y="83"/>
                    </a:cubicBezTo>
                    <a:cubicBezTo>
                      <a:pt x="66" y="33"/>
                      <a:pt x="66" y="33"/>
                      <a:pt x="66" y="33"/>
                    </a:cubicBezTo>
                    <a:cubicBezTo>
                      <a:pt x="66" y="27"/>
                      <a:pt x="66" y="23"/>
                      <a:pt x="65" y="20"/>
                    </a:cubicBezTo>
                    <a:cubicBezTo>
                      <a:pt x="65" y="16"/>
                      <a:pt x="63" y="13"/>
                      <a:pt x="61" y="1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r"/>
                <a:endParaRPr sz="1350"/>
              </a:p>
            </p:txBody>
          </p:sp>
        </p:grpSp>
      </p:grpSp>
      <p:grpSp>
        <p:nvGrpSpPr>
          <p:cNvPr id="131" name="组合 130"/>
          <p:cNvGrpSpPr/>
          <p:nvPr userDrawn="1"/>
        </p:nvGrpSpPr>
        <p:grpSpPr>
          <a:xfrm>
            <a:off x="488124" y="-46297"/>
            <a:ext cx="533439" cy="937548"/>
            <a:chOff x="313666" y="-185194"/>
            <a:chExt cx="921996" cy="1215342"/>
          </a:xfrm>
        </p:grpSpPr>
        <p:pic>
          <p:nvPicPr>
            <p:cNvPr id="132" name="图片 131"/>
            <p:cNvPicPr>
              <a:picLocks noChangeAspect="1"/>
            </p:cNvPicPr>
            <p:nvPr userDrawn="1"/>
          </p:nvPicPr>
          <p:blipFill rotWithShape="1">
            <a:blip r:embed="rId1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4698" r="24746"/>
            <a:stretch>
              <a:fillRect/>
            </a:stretch>
          </p:blipFill>
          <p:spPr>
            <a:xfrm>
              <a:off x="313666" y="-185194"/>
              <a:ext cx="921996" cy="1215342"/>
            </a:xfrm>
            <a:prstGeom prst="rect">
              <a:avLst/>
            </a:prstGeom>
          </p:spPr>
        </p:pic>
        <p:sp>
          <p:nvSpPr>
            <p:cNvPr id="133" name="矩形: 圆角 132"/>
            <p:cNvSpPr/>
            <p:nvPr userDrawn="1"/>
          </p:nvSpPr>
          <p:spPr>
            <a:xfrm>
              <a:off x="313666" y="-185194"/>
              <a:ext cx="921996" cy="1215342"/>
            </a:xfrm>
            <a:prstGeom prst="roundRect">
              <a:avLst>
                <a:gd name="adj" fmla="val 0"/>
              </a:avLst>
            </a:prstGeom>
            <a:gradFill flip="none" rotWithShape="1">
              <a:gsLst>
                <a:gs pos="0">
                  <a:srgbClr val="A22B17">
                    <a:lumMod val="94000"/>
                    <a:lumOff val="6000"/>
                  </a:srgbClr>
                </a:gs>
                <a:gs pos="100000">
                  <a:srgbClr val="A22B17">
                    <a:alpha val="72000"/>
                    <a:lumMod val="85000"/>
                    <a:lumOff val="15000"/>
                  </a:srgb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zh-CN" altLang="en-US" sz="1350" dirty="0"/>
            </a:p>
          </p:txBody>
        </p:sp>
      </p:grp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07" r:id="rId1"/>
    <p:sldLayoutId id="2147483708" r:id="rId2"/>
    <p:sldLayoutId id="2147483709" r:id="rId3"/>
    <p:sldLayoutId id="2147483710" r:id="rId4"/>
    <p:sldLayoutId id="2147483711" r:id="rId5"/>
    <p:sldLayoutId id="2147483712" r:id="rId6"/>
    <p:sldLayoutId id="2147483713" r:id="rId7"/>
    <p:sldLayoutId id="2147483714" r:id="rId8"/>
    <p:sldLayoutId id="2147483715" r:id="rId9"/>
    <p:sldLayoutId id="2147483716" r:id="rId10"/>
    <p:sldLayoutId id="2147483717" r:id="rId11"/>
  </p:sldLayoutIdLst>
  <p:txStyles>
    <p:titleStyle>
      <a:lvl1pPr algn="ctr" defTabSz="914400" rtl="0" eaLnBrk="1" latinLnBrk="0" hangingPunct="1">
        <a:lnSpc>
          <a:spcPts val="5800"/>
        </a:lnSpc>
        <a:spcBef>
          <a:spcPct val="0"/>
        </a:spcBef>
        <a:buNone/>
        <a:defRPr sz="5400" kern="1200">
          <a:solidFill>
            <a:schemeClr val="tx2"/>
          </a:solidFill>
          <a:effectLst>
            <a:outerShdw blurRad="63500" dist="38100" dir="5400000" algn="t" rotWithShape="0">
              <a:prstClr val="black">
                <a:alpha val="25000"/>
              </a:prstClr>
            </a:outerShdw>
          </a:effectLst>
          <a:latin typeface="+mn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Courier New" panose="02070309020205020404" pitchFamily="49" charset="0"/>
        <a:buChar char="o"/>
        <a:defRPr sz="16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16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Courier New" panose="02070309020205020404" pitchFamily="49" charset="0"/>
        <a:buChar char="o"/>
        <a:defRPr sz="16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16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Courier New" panose="02070309020205020404" pitchFamily="49" charset="0"/>
        <a:buChar char="o"/>
        <a:defRPr sz="16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16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Courier New" panose="02070309020205020404" pitchFamily="49" charset="0"/>
        <a:buChar char="o"/>
        <a:defRPr sz="16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16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8876" name="标题占位符 1"/>
          <p:cNvSpPr>
            <a:spLocks noGrp="1"/>
          </p:cNvSpPr>
          <p:nvPr>
            <p:ph type="title"/>
          </p:nvPr>
        </p:nvSpPr>
        <p:spPr>
          <a:xfrm>
            <a:off x="628650" y="365125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1048877" name="文本占位符 2"/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zh-CN" altLang="en-US"/>
          </a:p>
        </p:txBody>
      </p:sp>
      <p:sp>
        <p:nvSpPr>
          <p:cNvPr id="1048878" name="日期占位符 3"/>
          <p:cNvSpPr>
            <a:spLocks noGrp="1"/>
          </p:cNvSpPr>
          <p:nvPr>
            <p:ph type="dt" sz="half" idx="2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997B5FA-0921-464F-AAE1-844C04324D75}" type="datetimeFigureOut">
              <a:rPr lang="zh-CN" altLang="en-US" smtClean="0"/>
            </a:fld>
            <a:endParaRPr lang="zh-CN" altLang="en-US"/>
          </a:p>
        </p:txBody>
      </p:sp>
      <p:sp>
        <p:nvSpPr>
          <p:cNvPr id="1048879" name="页脚占位符 4"/>
          <p:cNvSpPr>
            <a:spLocks noGrp="1"/>
          </p:cNvSpPr>
          <p:nvPr>
            <p:ph type="ftr" sz="quarter" idx="3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zh-CN" altLang="en-US"/>
          </a:p>
        </p:txBody>
      </p:sp>
      <p:sp>
        <p:nvSpPr>
          <p:cNvPr id="1048880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65CE74E-AB26-4998-AD42-012C4C1AD076}" type="slidenum">
              <a:rPr lang="zh-CN" altLang="en-US" smtClean="0"/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19" r:id="rId1"/>
    <p:sldLayoutId id="2147483720" r:id="rId2"/>
    <p:sldLayoutId id="2147483721" r:id="rId3"/>
    <p:sldLayoutId id="2147483722" r:id="rId4"/>
    <p:sldLayoutId id="2147483723" r:id="rId5"/>
    <p:sldLayoutId id="2147483724" r:id="rId6"/>
    <p:sldLayoutId id="2147483725" r:id="rId7"/>
    <p:sldLayoutId id="2147483726" r:id="rId8"/>
    <p:sldLayoutId id="2147483727" r:id="rId9"/>
    <p:sldLayoutId id="2147483728" r:id="rId10"/>
    <p:sldLayoutId id="2147483729" r:id="rId11"/>
    <p:sldLayoutId id="2147483730" r:id="rId12"/>
    <p:sldLayoutId id="2147483731" r:id="rId13"/>
    <p:sldLayoutId id="2147483732" r:id="rId14"/>
    <p:sldLayoutId id="2147483733" r:id="rId15"/>
    <p:sldLayoutId id="2147483734" r:id="rId16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6.xml"/><Relationship Id="rId2" Type="http://schemas.openxmlformats.org/officeDocument/2006/relationships/tags" Target="../tags/tag23.xml"/><Relationship Id="rId1" Type="http://schemas.openxmlformats.org/officeDocument/2006/relationships/tags" Target="../tags/tag22.xml"/></Relationships>
</file>

<file path=ppt/slides/_rels/slide10.xml.rels><?xml version="1.0" encoding="UTF-8" standalone="yes"?>
<Relationships xmlns="http://schemas.openxmlformats.org/package/2006/relationships"><Relationship Id="rId7" Type="http://schemas.openxmlformats.org/officeDocument/2006/relationships/slideLayout" Target="../slideLayouts/slideLayout42.xml"/><Relationship Id="rId6" Type="http://schemas.openxmlformats.org/officeDocument/2006/relationships/tags" Target="../tags/tag49.xml"/><Relationship Id="rId5" Type="http://schemas.microsoft.com/office/2007/relationships/diagramDrawing" Target="../diagrams/drawing4.xml"/><Relationship Id="rId4" Type="http://schemas.openxmlformats.org/officeDocument/2006/relationships/diagramColors" Target="../diagrams/colors4.xml"/><Relationship Id="rId3" Type="http://schemas.openxmlformats.org/officeDocument/2006/relationships/diagramQuickStyle" Target="../diagrams/quickStyle4.xml"/><Relationship Id="rId2" Type="http://schemas.openxmlformats.org/officeDocument/2006/relationships/diagramLayout" Target="../diagrams/layout4.xml"/><Relationship Id="rId1" Type="http://schemas.openxmlformats.org/officeDocument/2006/relationships/diagramData" Target="../diagrams/data4.xml"/></Relationships>
</file>

<file path=ppt/slides/_rels/slide11.xml.rels><?xml version="1.0" encoding="UTF-8" standalone="yes"?>
<Relationships xmlns="http://schemas.openxmlformats.org/package/2006/relationships"><Relationship Id="rId7" Type="http://schemas.openxmlformats.org/officeDocument/2006/relationships/slideLayout" Target="../slideLayouts/slideLayout42.xml"/><Relationship Id="rId6" Type="http://schemas.openxmlformats.org/officeDocument/2006/relationships/tags" Target="../tags/tag50.xml"/><Relationship Id="rId5" Type="http://schemas.microsoft.com/office/2007/relationships/diagramDrawing" Target="../diagrams/drawing5.xml"/><Relationship Id="rId4" Type="http://schemas.openxmlformats.org/officeDocument/2006/relationships/diagramColors" Target="../diagrams/colors5.xml"/><Relationship Id="rId3" Type="http://schemas.openxmlformats.org/officeDocument/2006/relationships/diagramQuickStyle" Target="../diagrams/quickStyle5.xml"/><Relationship Id="rId2" Type="http://schemas.openxmlformats.org/officeDocument/2006/relationships/diagramLayout" Target="../diagrams/layout5.xml"/><Relationship Id="rId1" Type="http://schemas.openxmlformats.org/officeDocument/2006/relationships/diagramData" Target="../diagrams/data5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44.xml"/><Relationship Id="rId1" Type="http://schemas.openxmlformats.org/officeDocument/2006/relationships/tags" Target="../tags/tag51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56.xml"/><Relationship Id="rId1" Type="http://schemas.openxmlformats.org/officeDocument/2006/relationships/tags" Target="../tags/tag5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9.xml"/><Relationship Id="rId1" Type="http://schemas.openxmlformats.org/officeDocument/2006/relationships/tags" Target="../tags/tag53.xml"/></Relationships>
</file>

<file path=ppt/slides/_rels/slide15.xml.rels><?xml version="1.0" encoding="UTF-8" standalone="yes"?>
<Relationships xmlns="http://schemas.openxmlformats.org/package/2006/relationships"><Relationship Id="rId7" Type="http://schemas.openxmlformats.org/officeDocument/2006/relationships/slideLayout" Target="../slideLayouts/slideLayout42.xml"/><Relationship Id="rId6" Type="http://schemas.openxmlformats.org/officeDocument/2006/relationships/tags" Target="../tags/tag54.xml"/><Relationship Id="rId5" Type="http://schemas.microsoft.com/office/2007/relationships/diagramDrawing" Target="../diagrams/drawing6.xml"/><Relationship Id="rId4" Type="http://schemas.openxmlformats.org/officeDocument/2006/relationships/diagramColors" Target="../diagrams/colors6.xml"/><Relationship Id="rId3" Type="http://schemas.openxmlformats.org/officeDocument/2006/relationships/diagramQuickStyle" Target="../diagrams/quickStyle6.xml"/><Relationship Id="rId2" Type="http://schemas.openxmlformats.org/officeDocument/2006/relationships/diagramLayout" Target="../diagrams/layout6.xml"/><Relationship Id="rId1" Type="http://schemas.openxmlformats.org/officeDocument/2006/relationships/diagramData" Target="../diagrams/data6.xml"/></Relationships>
</file>

<file path=ppt/slides/_rels/slide16.xml.rels><?xml version="1.0" encoding="UTF-8" standalone="yes"?>
<Relationships xmlns="http://schemas.openxmlformats.org/package/2006/relationships"><Relationship Id="rId9" Type="http://schemas.openxmlformats.org/officeDocument/2006/relationships/tags" Target="../tags/tag63.xml"/><Relationship Id="rId8" Type="http://schemas.openxmlformats.org/officeDocument/2006/relationships/tags" Target="../tags/tag62.xml"/><Relationship Id="rId7" Type="http://schemas.openxmlformats.org/officeDocument/2006/relationships/tags" Target="../tags/tag61.xml"/><Relationship Id="rId6" Type="http://schemas.openxmlformats.org/officeDocument/2006/relationships/tags" Target="../tags/tag60.xml"/><Relationship Id="rId5" Type="http://schemas.openxmlformats.org/officeDocument/2006/relationships/tags" Target="../tags/tag59.xml"/><Relationship Id="rId4" Type="http://schemas.openxmlformats.org/officeDocument/2006/relationships/tags" Target="../tags/tag58.xml"/><Relationship Id="rId3" Type="http://schemas.openxmlformats.org/officeDocument/2006/relationships/tags" Target="../tags/tag57.xml"/><Relationship Id="rId2" Type="http://schemas.openxmlformats.org/officeDocument/2006/relationships/tags" Target="../tags/tag56.xml"/><Relationship Id="rId13" Type="http://schemas.openxmlformats.org/officeDocument/2006/relationships/slideLayout" Target="../slideLayouts/slideLayout42.xml"/><Relationship Id="rId12" Type="http://schemas.openxmlformats.org/officeDocument/2006/relationships/tags" Target="../tags/tag66.xml"/><Relationship Id="rId11" Type="http://schemas.openxmlformats.org/officeDocument/2006/relationships/tags" Target="../tags/tag65.xml"/><Relationship Id="rId10" Type="http://schemas.openxmlformats.org/officeDocument/2006/relationships/tags" Target="../tags/tag64.xml"/><Relationship Id="rId1" Type="http://schemas.openxmlformats.org/officeDocument/2006/relationships/tags" Target="../tags/tag55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42.xml"/><Relationship Id="rId1" Type="http://schemas.openxmlformats.org/officeDocument/2006/relationships/tags" Target="../tags/tag67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56.xml"/><Relationship Id="rId1" Type="http://schemas.openxmlformats.org/officeDocument/2006/relationships/tags" Target="../tags/tag68.xml"/></Relationships>
</file>

<file path=ppt/slides/_rels/slide19.xml.rels><?xml version="1.0" encoding="UTF-8" standalone="yes"?>
<Relationships xmlns="http://schemas.openxmlformats.org/package/2006/relationships"><Relationship Id="rId6" Type="http://schemas.openxmlformats.org/officeDocument/2006/relationships/slideLayout" Target="../slideLayouts/slideLayout42.xml"/><Relationship Id="rId5" Type="http://schemas.openxmlformats.org/officeDocument/2006/relationships/image" Target="../media/image21.png"/><Relationship Id="rId4" Type="http://schemas.openxmlformats.org/officeDocument/2006/relationships/image" Target="../media/image20.jpeg"/><Relationship Id="rId3" Type="http://schemas.openxmlformats.org/officeDocument/2006/relationships/tags" Target="../tags/tag71.xml"/><Relationship Id="rId2" Type="http://schemas.openxmlformats.org/officeDocument/2006/relationships/tags" Target="../tags/tag70.xml"/><Relationship Id="rId1" Type="http://schemas.openxmlformats.org/officeDocument/2006/relationships/tags" Target="../tags/tag69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.xml"/><Relationship Id="rId7" Type="http://schemas.openxmlformats.org/officeDocument/2006/relationships/tags" Target="../tags/tag28.xml"/><Relationship Id="rId6" Type="http://schemas.openxmlformats.org/officeDocument/2006/relationships/tags" Target="../tags/tag27.xml"/><Relationship Id="rId5" Type="http://schemas.openxmlformats.org/officeDocument/2006/relationships/tags" Target="../tags/tag26.xml"/><Relationship Id="rId4" Type="http://schemas.openxmlformats.org/officeDocument/2006/relationships/image" Target="../media/image19.jpeg"/><Relationship Id="rId3" Type="http://schemas.openxmlformats.org/officeDocument/2006/relationships/tags" Target="../tags/tag25.xml"/><Relationship Id="rId2" Type="http://schemas.openxmlformats.org/officeDocument/2006/relationships/image" Target="../media/image18.jpeg"/><Relationship Id="rId1" Type="http://schemas.openxmlformats.org/officeDocument/2006/relationships/tags" Target="../tags/tag24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56.xml"/><Relationship Id="rId1" Type="http://schemas.openxmlformats.org/officeDocument/2006/relationships/tags" Target="../tags/tag72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9.xml"/><Relationship Id="rId1" Type="http://schemas.openxmlformats.org/officeDocument/2006/relationships/tags" Target="../tags/tag73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56.xml"/><Relationship Id="rId1" Type="http://schemas.openxmlformats.org/officeDocument/2006/relationships/tags" Target="../tags/tag74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9.xml"/><Relationship Id="rId1" Type="http://schemas.openxmlformats.org/officeDocument/2006/relationships/tags" Target="../tags/tag75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2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9.xml"/><Relationship Id="rId2" Type="http://schemas.openxmlformats.org/officeDocument/2006/relationships/tags" Target="../tags/tag76.xml"/><Relationship Id="rId1" Type="http://schemas.openxmlformats.org/officeDocument/2006/relationships/image" Target="../media/image22.jpeg"/></Relationships>
</file>

<file path=ppt/slides/_rels/slide26.xml.rels><?xml version="1.0" encoding="UTF-8" standalone="yes"?>
<Relationships xmlns="http://schemas.openxmlformats.org/package/2006/relationships"><Relationship Id="rId9" Type="http://schemas.openxmlformats.org/officeDocument/2006/relationships/tags" Target="../tags/tag82.xml"/><Relationship Id="rId8" Type="http://schemas.openxmlformats.org/officeDocument/2006/relationships/tags" Target="../tags/tag81.xml"/><Relationship Id="rId7" Type="http://schemas.openxmlformats.org/officeDocument/2006/relationships/image" Target="../media/image25.jpeg"/><Relationship Id="rId6" Type="http://schemas.openxmlformats.org/officeDocument/2006/relationships/tags" Target="../tags/tag80.xml"/><Relationship Id="rId5" Type="http://schemas.openxmlformats.org/officeDocument/2006/relationships/image" Target="../media/image24.jpeg"/><Relationship Id="rId4" Type="http://schemas.openxmlformats.org/officeDocument/2006/relationships/tags" Target="../tags/tag79.xml"/><Relationship Id="rId3" Type="http://schemas.openxmlformats.org/officeDocument/2006/relationships/image" Target="../media/image23.png"/><Relationship Id="rId2" Type="http://schemas.openxmlformats.org/officeDocument/2006/relationships/tags" Target="../tags/tag78.xml"/><Relationship Id="rId17" Type="http://schemas.openxmlformats.org/officeDocument/2006/relationships/slideLayout" Target="../slideLayouts/slideLayout29.xml"/><Relationship Id="rId16" Type="http://schemas.openxmlformats.org/officeDocument/2006/relationships/tags" Target="../tags/tag87.xml"/><Relationship Id="rId15" Type="http://schemas.openxmlformats.org/officeDocument/2006/relationships/image" Target="../media/image27.jpeg"/><Relationship Id="rId14" Type="http://schemas.openxmlformats.org/officeDocument/2006/relationships/tags" Target="../tags/tag86.xml"/><Relationship Id="rId13" Type="http://schemas.openxmlformats.org/officeDocument/2006/relationships/tags" Target="../tags/tag85.xml"/><Relationship Id="rId12" Type="http://schemas.openxmlformats.org/officeDocument/2006/relationships/tags" Target="../tags/tag84.xml"/><Relationship Id="rId11" Type="http://schemas.openxmlformats.org/officeDocument/2006/relationships/image" Target="../media/image26.jpeg"/><Relationship Id="rId10" Type="http://schemas.openxmlformats.org/officeDocument/2006/relationships/tags" Target="../tags/tag83.xml"/><Relationship Id="rId1" Type="http://schemas.openxmlformats.org/officeDocument/2006/relationships/tags" Target="../tags/tag77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9.xml"/><Relationship Id="rId1" Type="http://schemas.openxmlformats.org/officeDocument/2006/relationships/tags" Target="../tags/tag88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9.xml"/><Relationship Id="rId1" Type="http://schemas.openxmlformats.org/officeDocument/2006/relationships/tags" Target="../tags/tag89.xml"/></Relationships>
</file>

<file path=ppt/slides/_rels/slide29.xml.rels><?xml version="1.0" encoding="UTF-8" standalone="yes"?>
<Relationships xmlns="http://schemas.openxmlformats.org/package/2006/relationships"><Relationship Id="rId5" Type="http://schemas.openxmlformats.org/officeDocument/2006/relationships/slideLayout" Target="../slideLayouts/slideLayout29.xml"/><Relationship Id="rId4" Type="http://schemas.openxmlformats.org/officeDocument/2006/relationships/tags" Target="../tags/tag92.xml"/><Relationship Id="rId3" Type="http://schemas.openxmlformats.org/officeDocument/2006/relationships/tags" Target="../tags/tag91.xml"/><Relationship Id="rId2" Type="http://schemas.openxmlformats.org/officeDocument/2006/relationships/image" Target="../media/image28.jpeg"/><Relationship Id="rId1" Type="http://schemas.openxmlformats.org/officeDocument/2006/relationships/tags" Target="../tags/tag90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2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9.xml"/><Relationship Id="rId2" Type="http://schemas.openxmlformats.org/officeDocument/2006/relationships/tags" Target="../tags/tag93.xml"/><Relationship Id="rId1" Type="http://schemas.openxmlformats.org/officeDocument/2006/relationships/image" Target="../media/image29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42.xml"/><Relationship Id="rId1" Type="http://schemas.openxmlformats.org/officeDocument/2006/relationships/tags" Target="../tags/tag29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56.xml"/><Relationship Id="rId1" Type="http://schemas.openxmlformats.org/officeDocument/2006/relationships/tags" Target="../tags/tag30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42.xml"/><Relationship Id="rId1" Type="http://schemas.openxmlformats.org/officeDocument/2006/relationships/tags" Target="../tags/tag31.xml"/></Relationships>
</file>

<file path=ppt/slides/_rels/slide7.xml.rels><?xml version="1.0" encoding="UTF-8" standalone="yes"?>
<Relationships xmlns="http://schemas.openxmlformats.org/package/2006/relationships"><Relationship Id="rId9" Type="http://schemas.openxmlformats.org/officeDocument/2006/relationships/tags" Target="../tags/tag40.xml"/><Relationship Id="rId8" Type="http://schemas.openxmlformats.org/officeDocument/2006/relationships/tags" Target="../tags/tag39.xml"/><Relationship Id="rId7" Type="http://schemas.openxmlformats.org/officeDocument/2006/relationships/tags" Target="../tags/tag38.xml"/><Relationship Id="rId6" Type="http://schemas.openxmlformats.org/officeDocument/2006/relationships/tags" Target="../tags/tag37.xml"/><Relationship Id="rId5" Type="http://schemas.openxmlformats.org/officeDocument/2006/relationships/tags" Target="../tags/tag36.xml"/><Relationship Id="rId4" Type="http://schemas.openxmlformats.org/officeDocument/2006/relationships/tags" Target="../tags/tag35.xml"/><Relationship Id="rId3" Type="http://schemas.openxmlformats.org/officeDocument/2006/relationships/tags" Target="../tags/tag34.xml"/><Relationship Id="rId2" Type="http://schemas.openxmlformats.org/officeDocument/2006/relationships/tags" Target="../tags/tag33.xml"/><Relationship Id="rId16" Type="http://schemas.openxmlformats.org/officeDocument/2006/relationships/slideLayout" Target="../slideLayouts/slideLayout42.xml"/><Relationship Id="rId15" Type="http://schemas.openxmlformats.org/officeDocument/2006/relationships/tags" Target="../tags/tag46.xml"/><Relationship Id="rId14" Type="http://schemas.openxmlformats.org/officeDocument/2006/relationships/tags" Target="../tags/tag45.xml"/><Relationship Id="rId13" Type="http://schemas.openxmlformats.org/officeDocument/2006/relationships/tags" Target="../tags/tag44.xml"/><Relationship Id="rId12" Type="http://schemas.openxmlformats.org/officeDocument/2006/relationships/tags" Target="../tags/tag43.xml"/><Relationship Id="rId11" Type="http://schemas.openxmlformats.org/officeDocument/2006/relationships/tags" Target="../tags/tag42.xml"/><Relationship Id="rId10" Type="http://schemas.openxmlformats.org/officeDocument/2006/relationships/tags" Target="../tags/tag41.xml"/><Relationship Id="rId1" Type="http://schemas.openxmlformats.org/officeDocument/2006/relationships/tags" Target="../tags/tag32.xml"/></Relationships>
</file>

<file path=ppt/slides/_rels/slide8.xml.rels><?xml version="1.0" encoding="UTF-8" standalone="yes"?>
<Relationships xmlns="http://schemas.openxmlformats.org/package/2006/relationships"><Relationship Id="rId7" Type="http://schemas.openxmlformats.org/officeDocument/2006/relationships/slideLayout" Target="../slideLayouts/slideLayout42.xml"/><Relationship Id="rId6" Type="http://schemas.openxmlformats.org/officeDocument/2006/relationships/tags" Target="../tags/tag47.xml"/><Relationship Id="rId5" Type="http://schemas.microsoft.com/office/2007/relationships/diagramDrawing" Target="../diagrams/drawing1.xml"/><Relationship Id="rId4" Type="http://schemas.openxmlformats.org/officeDocument/2006/relationships/diagramColors" Target="../diagrams/colors1.xml"/><Relationship Id="rId3" Type="http://schemas.openxmlformats.org/officeDocument/2006/relationships/diagramQuickStyle" Target="../diagrams/quickStyle1.xml"/><Relationship Id="rId2" Type="http://schemas.openxmlformats.org/officeDocument/2006/relationships/diagramLayout" Target="../diagrams/layout1.xml"/><Relationship Id="rId1" Type="http://schemas.openxmlformats.org/officeDocument/2006/relationships/diagramData" Target="../diagrams/data1.xml"/></Relationships>
</file>

<file path=ppt/slides/_rels/slide9.xml.rels><?xml version="1.0" encoding="UTF-8" standalone="yes"?>
<Relationships xmlns="http://schemas.openxmlformats.org/package/2006/relationships"><Relationship Id="rId9" Type="http://schemas.openxmlformats.org/officeDocument/2006/relationships/diagramColors" Target="../diagrams/colors3.xml"/><Relationship Id="rId8" Type="http://schemas.openxmlformats.org/officeDocument/2006/relationships/diagramQuickStyle" Target="../diagrams/quickStyle3.xml"/><Relationship Id="rId7" Type="http://schemas.openxmlformats.org/officeDocument/2006/relationships/diagramLayout" Target="../diagrams/layout3.xml"/><Relationship Id="rId6" Type="http://schemas.openxmlformats.org/officeDocument/2006/relationships/diagramData" Target="../diagrams/data3.xml"/><Relationship Id="rId5" Type="http://schemas.microsoft.com/office/2007/relationships/diagramDrawing" Target="../diagrams/drawing2.xml"/><Relationship Id="rId4" Type="http://schemas.openxmlformats.org/officeDocument/2006/relationships/diagramColors" Target="../diagrams/colors2.xml"/><Relationship Id="rId3" Type="http://schemas.openxmlformats.org/officeDocument/2006/relationships/diagramQuickStyle" Target="../diagrams/quickStyle2.xml"/><Relationship Id="rId2" Type="http://schemas.openxmlformats.org/officeDocument/2006/relationships/diagramLayout" Target="../diagrams/layout2.xml"/><Relationship Id="rId12" Type="http://schemas.openxmlformats.org/officeDocument/2006/relationships/slideLayout" Target="../slideLayouts/slideLayout42.xml"/><Relationship Id="rId11" Type="http://schemas.openxmlformats.org/officeDocument/2006/relationships/tags" Target="../tags/tag48.xml"/><Relationship Id="rId10" Type="http://schemas.microsoft.com/office/2007/relationships/diagramDrawing" Target="../diagrams/drawing3.xml"/><Relationship Id="rId1" Type="http://schemas.openxmlformats.org/officeDocument/2006/relationships/diagramData" Target="../diagrams/data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9004" name="矩形 3"/>
          <p:cNvSpPr/>
          <p:nvPr>
            <p:custDataLst>
              <p:tags r:id="rId1"/>
            </p:custDataLst>
          </p:nvPr>
        </p:nvSpPr>
        <p:spPr>
          <a:xfrm>
            <a:off x="539750" y="1052830"/>
            <a:ext cx="8064500" cy="3310890"/>
          </a:xfrm>
          <a:prstGeom prst="rect">
            <a:avLst/>
          </a:prstGeom>
          <a:gradFill>
            <a:gsLst>
              <a:gs pos="0">
                <a:srgbClr val="C14635">
                  <a:alpha val="73000"/>
                </a:srgbClr>
              </a:gs>
              <a:gs pos="100000">
                <a:srgbClr val="CD523D">
                  <a:alpha val="17000"/>
                </a:srgbClr>
              </a:gs>
            </a:gsLst>
            <a:lin ang="5400000" scaled="0"/>
          </a:gradFill>
          <a:ln w="12700" cmpd="sng">
            <a:noFill/>
            <a:prstDash val="solid"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tIns="144000"/>
          <a:lstStyle/>
          <a:p>
            <a:pPr algn="ctr">
              <a:lnSpc>
                <a:spcPct val="150000"/>
              </a:lnSpc>
              <a:spcBef>
                <a:spcPts val="1800"/>
              </a:spcBef>
              <a:buClrTx/>
              <a:buSzTx/>
              <a:buFontTx/>
            </a:pPr>
            <a:r>
              <a:rPr lang="zh-CN" altLang="en-US" sz="3300" b="1" dirty="0">
                <a:latin typeface="楷体" panose="02010609060101010101" pitchFamily="49" charset="-122"/>
                <a:ea typeface="楷体" panose="02010609060101010101" pitchFamily="49" charset="-122"/>
                <a:cs typeface="+mj-cs"/>
              </a:rPr>
              <a:t>国家级精品课程</a:t>
            </a:r>
            <a:br>
              <a:rPr lang="en-US" altLang="zh-CN" sz="4400" b="1" dirty="0">
                <a:latin typeface="微软雅黑" panose="020B0503020204020204" pitchFamily="34" charset="-122"/>
                <a:ea typeface="微软雅黑" panose="020B0503020204020204" pitchFamily="34" charset="-122"/>
                <a:cs typeface="+mj-cs"/>
              </a:rPr>
            </a:br>
            <a:r>
              <a:rPr lang="zh-CN" altLang="en-US" sz="3300" b="1" dirty="0">
                <a:latin typeface="楷体" panose="02010609060101010101" pitchFamily="49" charset="-122"/>
                <a:ea typeface="楷体" panose="02010609060101010101" pitchFamily="49" charset="-122"/>
                <a:cs typeface="+mj-cs"/>
              </a:rPr>
              <a:t>首批国家级一流本科课程</a:t>
            </a:r>
            <a:endParaRPr lang="zh-CN" altLang="en-US" sz="3300" b="1" dirty="0">
              <a:latin typeface="楷体" panose="02010609060101010101" pitchFamily="49" charset="-122"/>
              <a:ea typeface="楷体" panose="02010609060101010101" pitchFamily="49" charset="-122"/>
              <a:cs typeface="+mj-cs"/>
            </a:endParaRPr>
          </a:p>
          <a:p>
            <a:pPr algn="ctr">
              <a:lnSpc>
                <a:spcPct val="150000"/>
              </a:lnSpc>
              <a:spcBef>
                <a:spcPts val="1800"/>
              </a:spcBef>
            </a:pPr>
            <a:r>
              <a:rPr lang="zh-CN" altLang="en-US" sz="4400" b="1" dirty="0">
                <a:latin typeface="微软雅黑" panose="020B0503020204020204" pitchFamily="34" charset="-122"/>
                <a:ea typeface="微软雅黑" panose="020B0503020204020204" pitchFamily="34" charset="-122"/>
                <a:cs typeface="+mj-cs"/>
                <a:sym typeface="+mn-ea"/>
              </a:rPr>
              <a:t>第三讲 社会实践考核与</a:t>
            </a:r>
            <a:r>
              <a:rPr lang="en-US" altLang="zh-CN" sz="4400" b="1" dirty="0">
                <a:latin typeface="微软雅黑" panose="020B0503020204020204" pitchFamily="34" charset="-122"/>
                <a:ea typeface="微软雅黑" panose="020B0503020204020204" pitchFamily="34" charset="-122"/>
                <a:cs typeface="+mj-cs"/>
              </a:rPr>
              <a:t>AI</a:t>
            </a:r>
            <a:r>
              <a:rPr lang="zh-CN" altLang="en-US" sz="4400" b="1" dirty="0">
                <a:latin typeface="微软雅黑" panose="020B0503020204020204" pitchFamily="34" charset="-122"/>
                <a:ea typeface="微软雅黑" panose="020B0503020204020204" pitchFamily="34" charset="-122"/>
                <a:cs typeface="+mj-cs"/>
              </a:rPr>
              <a:t>赋能</a:t>
            </a:r>
            <a:endParaRPr lang="zh-CN" altLang="en-US" sz="4400" b="1" dirty="0">
              <a:latin typeface="微软雅黑" panose="020B0503020204020204" pitchFamily="34" charset="-122"/>
              <a:ea typeface="微软雅黑" panose="020B0503020204020204" pitchFamily="34" charset="-122"/>
              <a:cs typeface="+mj-cs"/>
            </a:endParaRPr>
          </a:p>
          <a:p>
            <a:pPr algn="ctr"/>
            <a:endParaRPr lang="zh-CN" altLang="en-US" sz="3400" b="1" dirty="0">
              <a:latin typeface="微软雅黑" panose="020B0503020204020204" pitchFamily="34" charset="-122"/>
              <a:ea typeface="微软雅黑" panose="020B0503020204020204" pitchFamily="34" charset="-122"/>
              <a:cs typeface="+mj-cs"/>
            </a:endParaRPr>
          </a:p>
        </p:txBody>
      </p:sp>
      <p:sp>
        <p:nvSpPr>
          <p:cNvPr id="1049005" name="TextBox 2"/>
          <p:cNvSpPr txBox="1"/>
          <p:nvPr>
            <p:custDataLst>
              <p:tags r:id="rId2"/>
            </p:custDataLst>
          </p:nvPr>
        </p:nvSpPr>
        <p:spPr>
          <a:xfrm>
            <a:off x="2214563" y="4630738"/>
            <a:ext cx="4786312" cy="1245235"/>
          </a:xfrm>
          <a:prstGeom prst="rect">
            <a:avLst/>
          </a:prstGeom>
          <a:noFill/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9pPr>
          </a:lstStyle>
          <a:p>
            <a:pPr algn="ctr">
              <a:lnSpc>
                <a:spcPct val="150000"/>
              </a:lnSpc>
            </a:pPr>
            <a:r>
              <a:rPr lang="zh-CN" altLang="en-US" sz="2500" b="1" dirty="0">
                <a:solidFill>
                  <a:prstClr val="black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楷体" panose="02010609060101010101" pitchFamily="49" charset="-122"/>
                <a:ea typeface="楷体" panose="02010609060101010101" pitchFamily="49" charset="-122"/>
              </a:rPr>
              <a:t>“社会实践”课程组</a:t>
            </a:r>
            <a:endParaRPr lang="en-US" altLang="zh-CN" sz="2500" b="1" dirty="0">
              <a:solidFill>
                <a:prstClr val="black"/>
              </a:solidFill>
              <a:effectLst>
                <a:outerShdw blurRad="38100" dist="38100" dir="2700000" algn="tl">
                  <a:srgbClr val="C0C0C0"/>
                </a:outerShdw>
              </a:effectLst>
              <a:latin typeface="楷体" panose="02010609060101010101" pitchFamily="49" charset="-122"/>
              <a:ea typeface="楷体" panose="02010609060101010101" pitchFamily="49" charset="-122"/>
            </a:endParaRPr>
          </a:p>
          <a:p>
            <a:pPr algn="ctr">
              <a:lnSpc>
                <a:spcPct val="150000"/>
              </a:lnSpc>
            </a:pPr>
            <a:r>
              <a:rPr lang="en-US" altLang="zh-CN" sz="2500" b="1" dirty="0">
                <a:solidFill>
                  <a:prstClr val="black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楷体" panose="02010609060101010101" pitchFamily="49" charset="-122"/>
                <a:ea typeface="楷体" panose="02010609060101010101" pitchFamily="49" charset="-122"/>
              </a:rPr>
              <a:t>2025</a:t>
            </a:r>
            <a:r>
              <a:rPr lang="zh-CN" altLang="en-US" sz="2500" b="1" dirty="0">
                <a:solidFill>
                  <a:prstClr val="black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楷体" panose="02010609060101010101" pitchFamily="49" charset="-122"/>
                <a:ea typeface="楷体" panose="02010609060101010101" pitchFamily="49" charset="-122"/>
              </a:rPr>
              <a:t>年</a:t>
            </a:r>
            <a:r>
              <a:rPr lang="en-US" altLang="zh-CN" sz="2500" b="1" dirty="0">
                <a:solidFill>
                  <a:prstClr val="black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楷体" panose="02010609060101010101" pitchFamily="49" charset="-122"/>
                <a:ea typeface="楷体" panose="02010609060101010101" pitchFamily="49" charset="-122"/>
              </a:rPr>
              <a:t>5</a:t>
            </a:r>
            <a:r>
              <a:rPr lang="zh-CN" altLang="en-US" sz="2500" b="1" dirty="0">
                <a:solidFill>
                  <a:prstClr val="black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楷体" panose="02010609060101010101" pitchFamily="49" charset="-122"/>
                <a:ea typeface="楷体" panose="02010609060101010101" pitchFamily="49" charset="-122"/>
              </a:rPr>
              <a:t>月</a:t>
            </a:r>
            <a:endParaRPr lang="zh-CN" altLang="en-US" sz="2500" b="1" dirty="0">
              <a:solidFill>
                <a:prstClr val="black"/>
              </a:solidFill>
              <a:effectLst>
                <a:outerShdw blurRad="38100" dist="38100" dir="2700000" algn="tl">
                  <a:srgbClr val="C0C0C0"/>
                </a:outerShdw>
              </a:effectLst>
              <a:latin typeface="楷体" panose="02010609060101010101" pitchFamily="49" charset="-122"/>
              <a:ea typeface="楷体" panose="02010609060101010101" pitchFamily="49" charset="-122"/>
            </a:endParaRPr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图示 4"/>
          <p:cNvGraphicFramePr/>
          <p:nvPr/>
        </p:nvGraphicFramePr>
        <p:xfrm>
          <a:off x="0" y="6881836"/>
          <a:ext cx="9144000" cy="50004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" r:lo="rId2" r:qs="rId3" r:cs="rId4"/>
          </a:graphicData>
        </a:graphic>
      </p:graphicFrame>
      <p:sp>
        <p:nvSpPr>
          <p:cNvPr id="22" name="TextBox 21"/>
          <p:cNvSpPr txBox="1"/>
          <p:nvPr/>
        </p:nvSpPr>
        <p:spPr>
          <a:xfrm>
            <a:off x="755576" y="1976714"/>
            <a:ext cx="7477971" cy="1753235"/>
          </a:xfrm>
          <a:prstGeom prst="rect">
            <a:avLst/>
          </a:prstGeo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indent="306070" algn="just">
              <a:lnSpc>
                <a:spcPct val="150000"/>
              </a:lnSpc>
            </a:pPr>
            <a:r>
              <a:rPr lang="zh-CN" altLang="zh-CN" sz="1800" b="1" kern="100" dirty="0"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t>学校对社会实践答辩的要求</a:t>
            </a:r>
            <a:endParaRPr lang="zh-CN" altLang="zh-CN" sz="1800" kern="100" dirty="0">
              <a:effectLst/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indent="304800" algn="just">
              <a:lnSpc>
                <a:spcPct val="150000"/>
              </a:lnSpc>
            </a:pPr>
            <a:r>
              <a:rPr lang="en-US" altLang="zh-CN" sz="1800" kern="100" dirty="0"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t>1.</a:t>
            </a:r>
            <a:r>
              <a:rPr lang="zh-CN" altLang="zh-CN" sz="1800" kern="100" dirty="0"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t>提前统一提交答辩材料。</a:t>
            </a:r>
            <a:endParaRPr lang="zh-CN" altLang="zh-CN" sz="1800" kern="100" dirty="0">
              <a:effectLst/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indent="304800" algn="just">
              <a:lnSpc>
                <a:spcPct val="150000"/>
              </a:lnSpc>
            </a:pPr>
            <a:r>
              <a:rPr lang="en-US" altLang="zh-CN" sz="1800" kern="100" dirty="0"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t>2.</a:t>
            </a:r>
            <a:r>
              <a:rPr lang="zh-CN" altLang="zh-CN" sz="1800" kern="100" dirty="0"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t>答辩时自主展示</a:t>
            </a:r>
            <a:r>
              <a:rPr lang="zh-CN" sz="1800" kern="100" dirty="0"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t>＋</a:t>
            </a:r>
            <a:r>
              <a:rPr lang="zh-CN" altLang="zh-CN" sz="1800" kern="100" dirty="0"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t>教师提问。</a:t>
            </a:r>
            <a:endParaRPr lang="zh-CN" altLang="zh-CN" sz="1800" kern="100" dirty="0">
              <a:effectLst/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indent="304800" algn="just">
              <a:lnSpc>
                <a:spcPct val="150000"/>
              </a:lnSpc>
            </a:pPr>
            <a:r>
              <a:rPr lang="en-US" altLang="zh-CN" sz="1800" kern="100" dirty="0"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t>3.</a:t>
            </a:r>
            <a:r>
              <a:rPr lang="zh-CN" altLang="zh-CN" sz="1800" kern="100" dirty="0"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t>现场可携带辅助自己答辩的材料，但不要向评委教师发放材料。</a:t>
            </a:r>
            <a:endParaRPr lang="zh-CN" altLang="zh-CN" sz="1800" kern="100" dirty="0">
              <a:effectLst/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8" name="TextBox 5"/>
          <p:cNvSpPr txBox="1"/>
          <p:nvPr/>
        </p:nvSpPr>
        <p:spPr bwMode="auto">
          <a:xfrm>
            <a:off x="2950616" y="1199806"/>
            <a:ext cx="3242767" cy="461665"/>
          </a:xfrm>
          <a:prstGeom prst="rect">
            <a:avLst/>
          </a:pr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algn="ctr">
              <a:defRPr/>
            </a:pPr>
            <a:r>
              <a:rPr lang="zh-CN" altLang="en-US" sz="2400" b="1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答辩展示</a:t>
            </a:r>
            <a:endParaRPr lang="zh-CN" altLang="en-US" sz="2400" b="1" dirty="0">
              <a:solidFill>
                <a:srgbClr val="C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" name="TextBox 21"/>
          <p:cNvSpPr txBox="1"/>
          <p:nvPr/>
        </p:nvSpPr>
        <p:spPr>
          <a:xfrm>
            <a:off x="755575" y="4025157"/>
            <a:ext cx="7477971" cy="2117246"/>
          </a:xfrm>
          <a:prstGeom prst="rect">
            <a:avLst/>
          </a:prstGeo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indent="306070" algn="just">
              <a:lnSpc>
                <a:spcPct val="150000"/>
              </a:lnSpc>
            </a:pPr>
            <a:r>
              <a:rPr lang="zh-CN" altLang="zh-CN" sz="1800" b="1" kern="100" dirty="0"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t>答辩展示时的注意事项</a:t>
            </a:r>
            <a:endParaRPr lang="zh-CN" altLang="zh-CN" sz="1800" kern="100" dirty="0">
              <a:effectLst/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indent="304800" algn="just">
              <a:lnSpc>
                <a:spcPct val="150000"/>
              </a:lnSpc>
            </a:pPr>
            <a:r>
              <a:rPr lang="en-US" altLang="zh-CN" sz="1800" kern="100" dirty="0"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t>1.</a:t>
            </a:r>
            <a:r>
              <a:rPr lang="zh-CN" altLang="zh-CN" sz="1800" kern="100" dirty="0"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t>答辩充分准备，自信展示，紧扣主题、详略得当。</a:t>
            </a:r>
            <a:endParaRPr lang="zh-CN" altLang="zh-CN" sz="1800" kern="100" dirty="0">
              <a:effectLst/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indent="304800" algn="just">
              <a:lnSpc>
                <a:spcPct val="150000"/>
              </a:lnSpc>
            </a:pPr>
            <a:r>
              <a:rPr lang="en-US" altLang="zh-CN" sz="1800" kern="100" dirty="0"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t>2.</a:t>
            </a:r>
            <a:r>
              <a:rPr lang="zh-CN" altLang="zh-CN" sz="1800" kern="100" dirty="0"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t>社会实践答辩符合学校的规定时间（不超过</a:t>
            </a:r>
            <a:r>
              <a:rPr lang="en-US" altLang="zh-CN" sz="1800" kern="100" dirty="0"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t>3</a:t>
            </a:r>
            <a:r>
              <a:rPr lang="zh-CN" altLang="zh-CN" sz="1800" kern="100" dirty="0"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t>分钟），内容反映社会实践的过程与成果，呈现效果好。</a:t>
            </a:r>
            <a:endParaRPr lang="zh-CN" altLang="zh-CN" sz="1800" kern="100" dirty="0">
              <a:effectLst/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indent="304800" algn="just">
              <a:lnSpc>
                <a:spcPct val="150000"/>
              </a:lnSpc>
            </a:pPr>
            <a:r>
              <a:rPr lang="en-US" altLang="zh-CN" sz="1800" kern="100" dirty="0"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t>3.</a:t>
            </a:r>
            <a:r>
              <a:rPr lang="zh-CN" altLang="zh-CN" sz="1800" kern="100" dirty="0"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t>礼貌辩论，杜绝狡辩。</a:t>
            </a:r>
            <a:endParaRPr lang="zh-CN" altLang="zh-CN" sz="1800" kern="100" dirty="0">
              <a:effectLst/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" name="文本框 1"/>
          <p:cNvSpPr txBox="1"/>
          <p:nvPr>
            <p:custDataLst>
              <p:tags r:id="rId6"/>
            </p:custDataLst>
          </p:nvPr>
        </p:nvSpPr>
        <p:spPr>
          <a:xfrm>
            <a:off x="1115616" y="170138"/>
            <a:ext cx="5184576" cy="9220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zh-CN" altLang="en-US" sz="2700" dirty="0">
                <a:solidFill>
                  <a:srgbClr val="C14635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rPr>
              <a:t>第</a:t>
            </a:r>
            <a:r>
              <a:rPr lang="zh-CN" altLang="en-US" sz="2700" dirty="0">
                <a:solidFill>
                  <a:srgbClr val="C14635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rPr>
              <a:t>一章  社会实践的考核概述</a:t>
            </a:r>
            <a:endParaRPr lang="zh-CN" altLang="en-US" sz="2700" dirty="0">
              <a:solidFill>
                <a:srgbClr val="C14635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ctr"/>
            <a:endParaRPr lang="zh-CN" altLang="en-US" sz="2700" dirty="0">
              <a:solidFill>
                <a:srgbClr val="C14635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图示 4"/>
          <p:cNvGraphicFramePr/>
          <p:nvPr/>
        </p:nvGraphicFramePr>
        <p:xfrm>
          <a:off x="0" y="6881836"/>
          <a:ext cx="9144000" cy="50004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" r:lo="rId2" r:qs="rId3" r:cs="rId4"/>
          </a:graphicData>
        </a:graphic>
      </p:graphicFrame>
      <p:sp>
        <p:nvSpPr>
          <p:cNvPr id="22" name="TextBox 21"/>
          <p:cNvSpPr txBox="1"/>
          <p:nvPr/>
        </p:nvSpPr>
        <p:spPr>
          <a:xfrm>
            <a:off x="755576" y="2547981"/>
            <a:ext cx="7477971" cy="2532745"/>
          </a:xfrm>
          <a:prstGeom prst="rect">
            <a:avLst/>
          </a:prstGeo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indent="304800" algn="just">
              <a:lnSpc>
                <a:spcPct val="150000"/>
              </a:lnSpc>
            </a:pPr>
            <a:r>
              <a:rPr lang="en-US" altLang="zh-CN" sz="1800" kern="100" dirty="0"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t>   </a:t>
            </a:r>
            <a:r>
              <a:rPr lang="zh-CN" altLang="zh-CN" sz="1800" kern="100" dirty="0"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t>材料评阅是大学生社会实践考核评价最通用的方式。</a:t>
            </a:r>
            <a:r>
              <a:rPr lang="zh-CN" altLang="zh-CN" sz="1800" b="1" kern="100" dirty="0"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t>材料评阅，是指学校通过社会实践登记表、总结报告、实践日志、微电影、实践照片等材料的评阅，对大学生社会实践活动进行审查的考评方式。</a:t>
            </a:r>
            <a:endParaRPr lang="zh-CN" altLang="zh-CN" sz="1800" kern="100" dirty="0">
              <a:effectLst/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indent="304800" algn="just">
              <a:lnSpc>
                <a:spcPct val="150000"/>
              </a:lnSpc>
            </a:pPr>
            <a:r>
              <a:rPr lang="en-US" altLang="zh-CN" sz="1800" kern="100" dirty="0"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t>    </a:t>
            </a:r>
            <a:r>
              <a:rPr lang="zh-CN" altLang="zh-CN" sz="1800" kern="100" dirty="0"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t>应对社会实践材料评阅，主要从以下两方面入手。</a:t>
            </a:r>
            <a:endParaRPr lang="zh-CN" altLang="zh-CN" sz="1800" kern="100" dirty="0">
              <a:effectLst/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indent="306070" algn="just">
              <a:lnSpc>
                <a:spcPct val="150000"/>
              </a:lnSpc>
            </a:pPr>
            <a:r>
              <a:rPr lang="en-US" altLang="zh-CN" sz="1800" b="1" kern="100" dirty="0"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t>    </a:t>
            </a:r>
            <a:r>
              <a:rPr lang="zh-CN" altLang="zh-CN" sz="1800" b="1" kern="100" dirty="0"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t>注意材料内容与种类的完整</a:t>
            </a:r>
            <a:r>
              <a:rPr lang="zh-CN" altLang="zh-CN" sz="1800" kern="100" dirty="0"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t>。</a:t>
            </a:r>
            <a:endParaRPr lang="zh-CN" altLang="zh-CN" sz="1800" kern="100" dirty="0">
              <a:effectLst/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indent="306070" algn="just">
              <a:lnSpc>
                <a:spcPct val="150000"/>
              </a:lnSpc>
            </a:pPr>
            <a:r>
              <a:rPr lang="en-US" altLang="zh-CN" sz="1800" b="1" kern="100" dirty="0"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t>    </a:t>
            </a:r>
            <a:r>
              <a:rPr lang="zh-CN" altLang="zh-CN" sz="1800" b="1" kern="100" dirty="0"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t>注意材料格式与装帧的规范</a:t>
            </a:r>
            <a:r>
              <a:rPr lang="zh-CN" altLang="zh-CN" sz="1800" kern="100" dirty="0"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t>。</a:t>
            </a:r>
            <a:endParaRPr lang="zh-CN" altLang="zh-CN" sz="1800" kern="100" dirty="0">
              <a:effectLst/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8" name="TextBox 5"/>
          <p:cNvSpPr txBox="1"/>
          <p:nvPr/>
        </p:nvSpPr>
        <p:spPr bwMode="auto">
          <a:xfrm>
            <a:off x="2950616" y="1199806"/>
            <a:ext cx="3242767" cy="461665"/>
          </a:xfrm>
          <a:prstGeom prst="rect">
            <a:avLst/>
          </a:pr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algn="ctr">
              <a:defRPr/>
            </a:pPr>
            <a:r>
              <a:rPr lang="zh-CN" altLang="en-US" sz="2400" b="1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材料评阅</a:t>
            </a:r>
            <a:endParaRPr lang="zh-CN" altLang="en-US" sz="2400" b="1" dirty="0">
              <a:solidFill>
                <a:srgbClr val="C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" name="文本框 1"/>
          <p:cNvSpPr txBox="1"/>
          <p:nvPr>
            <p:custDataLst>
              <p:tags r:id="rId6"/>
            </p:custDataLst>
          </p:nvPr>
        </p:nvSpPr>
        <p:spPr>
          <a:xfrm>
            <a:off x="1115616" y="170138"/>
            <a:ext cx="5184576" cy="9220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zh-CN" altLang="en-US" sz="2700" dirty="0">
                <a:solidFill>
                  <a:srgbClr val="C14635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rPr>
              <a:t>第</a:t>
            </a:r>
            <a:r>
              <a:rPr lang="zh-CN" altLang="en-US" sz="2700" dirty="0">
                <a:solidFill>
                  <a:srgbClr val="C14635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rPr>
              <a:t>一章  社会实践的考核概述</a:t>
            </a:r>
            <a:endParaRPr lang="zh-CN" altLang="en-US" sz="2700" dirty="0">
              <a:solidFill>
                <a:srgbClr val="C14635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ctr"/>
            <a:endParaRPr lang="zh-CN" altLang="en-US" sz="2700" dirty="0">
              <a:solidFill>
                <a:srgbClr val="C14635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9081" name="îṡ1îḍe"/>
          <p:cNvSpPr/>
          <p:nvPr/>
        </p:nvSpPr>
        <p:spPr>
          <a:xfrm>
            <a:off x="2632075" y="1470025"/>
            <a:ext cx="3870960" cy="506730"/>
          </a:xfrm>
          <a:prstGeom prst="roundRect">
            <a:avLst/>
          </a:prstGeom>
          <a:gradFill flip="none" rotWithShape="1">
            <a:gsLst>
              <a:gs pos="0">
                <a:srgbClr val="A22B17">
                  <a:lumMod val="94000"/>
                  <a:lumOff val="6000"/>
                </a:srgbClr>
              </a:gs>
              <a:gs pos="100000">
                <a:srgbClr val="A22B17">
                  <a:alpha val="72000"/>
                  <a:lumMod val="85000"/>
                  <a:lumOff val="15000"/>
                </a:srgb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22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社会实践</a:t>
            </a:r>
            <a:r>
              <a:rPr lang="zh-CN" altLang="en-US" sz="22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考核</a:t>
            </a:r>
            <a:endParaRPr lang="zh-CN" altLang="en-US" sz="2200" b="1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049082" name="文本框 2"/>
          <p:cNvSpPr txBox="1"/>
          <p:nvPr/>
        </p:nvSpPr>
        <p:spPr>
          <a:xfrm>
            <a:off x="1817846" y="2187416"/>
            <a:ext cx="6495098" cy="5759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endParaRPr lang="zh-CN" altLang="en-US" dirty="0">
              <a:latin typeface="+mn-ea"/>
              <a:cs typeface="+mn-ea"/>
              <a:sym typeface="+mn-ea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zh-CN" altLang="en-US" sz="1350">
              <a:latin typeface="+mn-ea"/>
              <a:cs typeface="+mn-ea"/>
            </a:endParaRPr>
          </a:p>
        </p:txBody>
      </p:sp>
      <p:sp>
        <p:nvSpPr>
          <p:cNvPr id="1049083" name="圆角矩形 4"/>
          <p:cNvSpPr/>
          <p:nvPr/>
        </p:nvSpPr>
        <p:spPr>
          <a:xfrm>
            <a:off x="1149548" y="3668316"/>
            <a:ext cx="4505325" cy="607219"/>
          </a:xfrm>
          <a:prstGeom prst="rect">
            <a:avLst/>
          </a:prstGeom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102870" tIns="102870" rIns="102870" bIns="102870" spcCol="1270" anchor="ctr"/>
          <a:lstStyle/>
          <a:p>
            <a:pPr defTabSz="1600200">
              <a:lnSpc>
                <a:spcPct val="90000"/>
              </a:lnSpc>
              <a:spcAft>
                <a:spcPct val="35000"/>
              </a:spcAft>
            </a:pPr>
            <a:endParaRPr lang="zh-CN" altLang="en-US" sz="2700">
              <a:solidFill>
                <a:prstClr val="white"/>
              </a:solidFill>
            </a:endParaRPr>
          </a:p>
        </p:txBody>
      </p:sp>
      <p:sp>
        <p:nvSpPr>
          <p:cNvPr id="1049084" name="TextBox 15"/>
          <p:cNvSpPr txBox="1"/>
          <p:nvPr/>
        </p:nvSpPr>
        <p:spPr>
          <a:xfrm>
            <a:off x="648335" y="2458720"/>
            <a:ext cx="7838440" cy="3154045"/>
          </a:xfrm>
          <a:prstGeom prst="rect">
            <a:avLst/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 anchor="ctr" anchorCtr="0">
            <a:noAutofit/>
          </a:bodyPr>
          <a:lstStyle/>
          <a:p>
            <a:pPr indent="457200" algn="just">
              <a:lnSpc>
                <a:spcPct val="110000"/>
              </a:lnSpc>
              <a:buClrTx/>
              <a:buSzTx/>
              <a:buFontTx/>
            </a:pPr>
            <a:r>
              <a:rPr lang="zh-CN" altLang="en-US" sz="20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《社会实践》课程成绩评定实行百分制</a:t>
            </a:r>
            <a:r>
              <a:rPr lang="zh-CN" altLang="en-US" sz="20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，</a:t>
            </a:r>
            <a:r>
              <a:rPr lang="zh-CN" altLang="en-US" sz="20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团队实践成绩=理论授课</a:t>
            </a:r>
            <a:r>
              <a:rPr lang="en-US" altLang="zh-CN" sz="20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10%</a:t>
            </a:r>
            <a:r>
              <a:rPr lang="zh-CN" altLang="en-US" sz="20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，团队答辩</a:t>
            </a:r>
            <a:r>
              <a:rPr lang="en-US" altLang="zh-CN" sz="20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20%</a:t>
            </a:r>
            <a:r>
              <a:rPr lang="zh-CN" altLang="en-US" sz="20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，</a:t>
            </a:r>
            <a:r>
              <a:rPr lang="en-US" altLang="zh-CN" sz="20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《</a:t>
            </a:r>
            <a:r>
              <a:rPr lang="zh-CN" altLang="en-US" sz="20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社会实践登记表</a:t>
            </a:r>
            <a:r>
              <a:rPr lang="en-US" altLang="zh-CN" sz="20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》</a:t>
            </a:r>
            <a:r>
              <a:rPr lang="zh-CN" altLang="en-US" sz="20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及实践总结报告</a:t>
            </a:r>
            <a:r>
              <a:rPr lang="en-US" altLang="zh-CN" sz="20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50%</a:t>
            </a:r>
            <a:r>
              <a:rPr lang="zh-CN" altLang="en-US" sz="20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，“微电影”视频短片及社会实践照片共占</a:t>
            </a:r>
            <a:r>
              <a:rPr lang="en-US" altLang="zh-CN" sz="20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15%</a:t>
            </a:r>
            <a:r>
              <a:rPr lang="zh-CN" altLang="en-US" sz="20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，</a:t>
            </a:r>
            <a:r>
              <a:rPr lang="zh-CN" altLang="en-US" sz="2000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团队成员互评占</a:t>
            </a:r>
            <a:r>
              <a:rPr lang="en-US" altLang="zh-CN" sz="2000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5%</a:t>
            </a:r>
            <a:r>
              <a:rPr lang="zh-CN" altLang="en-US" sz="20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。个人实践成绩的各项占比为</a:t>
            </a:r>
            <a:r>
              <a:rPr lang="en-US" altLang="zh-CN" sz="20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:</a:t>
            </a:r>
            <a:r>
              <a:rPr lang="zh-CN" altLang="en-US" sz="20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理论授课</a:t>
            </a:r>
            <a:r>
              <a:rPr lang="en-US" altLang="zh-CN" sz="20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10%</a:t>
            </a:r>
            <a:r>
              <a:rPr lang="zh-CN" altLang="en-US" sz="20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，社会实践总结材料</a:t>
            </a:r>
            <a:r>
              <a:rPr lang="en-US" altLang="zh-CN" sz="20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75%</a:t>
            </a:r>
            <a:r>
              <a:rPr lang="zh-CN" altLang="en-US" sz="20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，“微电影”视频短片及社会实践照片</a:t>
            </a:r>
            <a:r>
              <a:rPr lang="en-US" altLang="zh-CN" sz="20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15%</a:t>
            </a:r>
            <a:r>
              <a:rPr lang="zh-CN" altLang="en-US" sz="20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。</a:t>
            </a:r>
            <a:r>
              <a:rPr lang="zh-CN" altLang="en-US" sz="20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学生</a:t>
            </a: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理论课</a:t>
            </a:r>
            <a:r>
              <a:rPr lang="zh-CN" altLang="en-US" sz="2000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到课及随堂考核情况</a:t>
            </a:r>
            <a:r>
              <a:rPr lang="zh-CN" altLang="en-US" sz="20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作为</a:t>
            </a:r>
            <a:r>
              <a:rPr lang="zh-CN" altLang="en-US" sz="2000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平时成绩</a:t>
            </a:r>
            <a:r>
              <a:rPr lang="zh-CN" altLang="en-US" sz="20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。共包括为</a:t>
            </a:r>
            <a:r>
              <a:rPr lang="en-US" altLang="zh-CN" sz="20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5</a:t>
            </a:r>
            <a:r>
              <a:rPr lang="zh-CN" altLang="en-US" sz="20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次理论授课，每次</a:t>
            </a:r>
            <a:r>
              <a:rPr lang="en-US" altLang="zh-CN" sz="20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2</a:t>
            </a:r>
            <a:r>
              <a:rPr lang="zh-CN" altLang="en-US" sz="20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分，总计</a:t>
            </a:r>
            <a:r>
              <a:rPr lang="en-US" altLang="zh-CN" sz="20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10</a:t>
            </a:r>
            <a:r>
              <a:rPr lang="zh-CN" altLang="en-US" sz="20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分。</a:t>
            </a:r>
            <a:endParaRPr lang="zh-CN" altLang="en-US" sz="2000" dirty="0">
              <a:solidFill>
                <a:prstClr val="black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  <a:sym typeface="+mn-ea"/>
            </a:endParaRPr>
          </a:p>
          <a:p>
            <a:pPr indent="457200" algn="just">
              <a:lnSpc>
                <a:spcPct val="110000"/>
              </a:lnSpc>
              <a:buClrTx/>
              <a:buSzTx/>
              <a:buFontTx/>
            </a:pPr>
            <a:r>
              <a:rPr lang="zh-CN" altLang="en-US" sz="2000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实践专项选择不同，评审侧重点有异。</a:t>
            </a:r>
            <a:endParaRPr lang="zh-CN" altLang="en-US" sz="2000" dirty="0">
              <a:solidFill>
                <a:srgbClr val="FF0000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  <a:sym typeface="+mn-ea"/>
            </a:endParaRPr>
          </a:p>
        </p:txBody>
      </p:sp>
      <p:sp>
        <p:nvSpPr>
          <p:cNvPr id="2" name="文本框 1"/>
          <p:cNvSpPr txBox="1"/>
          <p:nvPr>
            <p:custDataLst>
              <p:tags r:id="rId1"/>
            </p:custDataLst>
          </p:nvPr>
        </p:nvSpPr>
        <p:spPr>
          <a:xfrm>
            <a:off x="1115616" y="170138"/>
            <a:ext cx="5184576" cy="922020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pPr algn="ctr"/>
            <a:r>
              <a:rPr lang="zh-CN" altLang="en-US" sz="2700" dirty="0">
                <a:solidFill>
                  <a:srgbClr val="C14635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rPr>
              <a:t>第</a:t>
            </a:r>
            <a:r>
              <a:rPr lang="zh-CN" altLang="en-US" sz="2700" dirty="0">
                <a:solidFill>
                  <a:srgbClr val="C14635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rPr>
              <a:t>一章  社会实践的考核概述</a:t>
            </a:r>
            <a:endParaRPr lang="zh-CN" altLang="en-US" sz="2700" dirty="0">
              <a:solidFill>
                <a:srgbClr val="C14635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ctr"/>
            <a:endParaRPr lang="zh-CN" altLang="en-US" sz="2700" dirty="0">
              <a:solidFill>
                <a:srgbClr val="C14635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文本框 9"/>
          <p:cNvSpPr txBox="1"/>
          <p:nvPr/>
        </p:nvSpPr>
        <p:spPr>
          <a:xfrm>
            <a:off x="3410585" y="2061210"/>
            <a:ext cx="2079625" cy="7143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zh-CN" altLang="en-US" sz="4050" b="1" spc="600" dirty="0">
                <a:solidFill>
                  <a:srgbClr val="C00000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阿里巴巴普惠体 Heavy" panose="00020600040101010101" pitchFamily="18" charset="-122"/>
              </a:rPr>
              <a:t>第</a:t>
            </a:r>
            <a:r>
              <a:rPr lang="zh-CN" altLang="en-US" sz="4050" b="1" spc="600" dirty="0">
                <a:solidFill>
                  <a:srgbClr val="C00000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阿里巴巴普惠体 Heavy" panose="00020600040101010101" pitchFamily="18" charset="-122"/>
              </a:rPr>
              <a:t>二章</a:t>
            </a:r>
            <a:endParaRPr lang="zh-CN" altLang="en-US" sz="4050" b="1" spc="600" dirty="0">
              <a:solidFill>
                <a:srgbClr val="C00000"/>
              </a:solidFill>
              <a:effectLst/>
              <a:latin typeface="微软雅黑" panose="020B0503020204020204" pitchFamily="34" charset="-122"/>
              <a:ea typeface="微软雅黑" panose="020B0503020204020204" pitchFamily="34" charset="-122"/>
              <a:cs typeface="阿里巴巴普惠体 Heavy" panose="00020600040101010101" pitchFamily="18" charset="-122"/>
            </a:endParaRPr>
          </a:p>
        </p:txBody>
      </p:sp>
      <p:sp>
        <p:nvSpPr>
          <p:cNvPr id="11" name="矩形 10"/>
          <p:cNvSpPr/>
          <p:nvPr/>
        </p:nvSpPr>
        <p:spPr>
          <a:xfrm>
            <a:off x="1115695" y="3500755"/>
            <a:ext cx="7023735" cy="71437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Overflow="overflow" horzOverflow="overflow" vert="horz" wrap="square" numCol="1" spcCol="0" rtlCol="0" fromWordArt="0" anchor="ctr" anchorCtr="0" forceAA="0" compatLnSpc="1">
            <a:noAutofit/>
          </a:bodyPr>
          <a:lstStyle/>
          <a:p>
            <a:pPr lvl="0" algn="ctr">
              <a:lnSpc>
                <a:spcPct val="100000"/>
              </a:lnSpc>
              <a:buClrTx/>
              <a:buSzTx/>
              <a:buFontTx/>
            </a:pPr>
            <a:r>
              <a:rPr lang="zh-CN" altLang="en-US" sz="4400" b="1" dirty="0">
                <a:solidFill>
                  <a:srgbClr val="C00000"/>
                </a:solidFill>
                <a:latin typeface="宋体" panose="02010600030101010101" pitchFamily="2" charset="-122"/>
                <a:ea typeface="宋体" panose="02010600030101010101" pitchFamily="2" charset="-122"/>
                <a:sym typeface="+mn-ea"/>
              </a:rPr>
              <a:t>校级重点实践项目</a:t>
            </a:r>
            <a:endParaRPr lang="zh-CN" altLang="en-US" sz="4400" b="1" dirty="0">
              <a:solidFill>
                <a:srgbClr val="C00000"/>
              </a:solidFill>
              <a:latin typeface="宋体" panose="02010600030101010101" pitchFamily="2" charset="-122"/>
              <a:ea typeface="宋体" panose="02010600030101010101" pitchFamily="2" charset="-122"/>
              <a:sym typeface="+mn-ea"/>
            </a:endParaRPr>
          </a:p>
        </p:txBody>
      </p:sp>
      <p:cxnSp>
        <p:nvCxnSpPr>
          <p:cNvPr id="12" name="直接连接符 11"/>
          <p:cNvCxnSpPr/>
          <p:nvPr>
            <p:custDataLst>
              <p:tags r:id="rId1"/>
            </p:custDataLst>
          </p:nvPr>
        </p:nvCxnSpPr>
        <p:spPr>
          <a:xfrm flipV="1">
            <a:off x="1116561" y="3069138"/>
            <a:ext cx="6911975" cy="11430"/>
          </a:xfrm>
          <a:prstGeom prst="line">
            <a:avLst/>
          </a:prstGeom>
          <a:ln w="12700">
            <a:gradFill flip="none" rotWithShape="1">
              <a:gsLst>
                <a:gs pos="0">
                  <a:srgbClr val="CA351C">
                    <a:alpha val="0"/>
                  </a:srgbClr>
                </a:gs>
                <a:gs pos="100000">
                  <a:srgbClr val="CA351C"/>
                </a:gs>
              </a:gsLst>
              <a:lin ang="1080000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19" name="TextBox 18"/>
          <p:cNvSpPr txBox="1"/>
          <p:nvPr/>
        </p:nvSpPr>
        <p:spPr>
          <a:xfrm>
            <a:off x="490538" y="1041990"/>
            <a:ext cx="8153400" cy="553085"/>
          </a:xfrm>
          <a:prstGeom prst="rect">
            <a:avLst/>
          </a:prstGeom>
          <a:solidFill>
            <a:srgbClr val="C00000"/>
          </a:solidFill>
          <a:ln>
            <a:solidFill>
              <a:schemeClr val="accent3">
                <a:lumMod val="50000"/>
              </a:schemeClr>
            </a:solidFill>
          </a:ln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>
            <a:spAutoFit/>
          </a:bodyPr>
          <a:p>
            <a:pPr algn="ctr">
              <a:defRPr/>
            </a:pPr>
            <a:r>
              <a:rPr lang="en-US" altLang="zh-CN" sz="3000" b="1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“</a:t>
            </a:r>
            <a:r>
              <a:rPr lang="zh-CN" altLang="en-US" sz="3000" b="1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走进</a:t>
            </a:r>
            <a:r>
              <a:rPr lang="en-US" altLang="zh-CN" sz="3000" b="1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‘</a:t>
            </a:r>
            <a:r>
              <a:rPr lang="zh-CN" altLang="en-US" sz="3000" b="1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红色钢城</a:t>
            </a:r>
            <a:r>
              <a:rPr lang="en-US" altLang="zh-CN" sz="3000" b="1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’·</a:t>
            </a:r>
            <a:r>
              <a:rPr lang="zh-CN" altLang="en-US" sz="3000" b="1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传承</a:t>
            </a:r>
            <a:r>
              <a:rPr lang="en-US" altLang="zh-CN" sz="3000" b="1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‘</a:t>
            </a:r>
            <a:r>
              <a:rPr lang="zh-CN" altLang="en-US" sz="3000" b="1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钢铁精神</a:t>
            </a:r>
            <a:r>
              <a:rPr lang="en-US" altLang="zh-CN" sz="3000" b="1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’”</a:t>
            </a:r>
            <a:endParaRPr lang="en-US" altLang="zh-CN" sz="3000" b="1" dirty="0">
              <a:solidFill>
                <a:prstClr val="white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490855" y="1807845"/>
            <a:ext cx="8342630" cy="2714625"/>
          </a:xfrm>
          <a:prstGeom prst="rect">
            <a:avLst/>
          </a:prstGeo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wrap="square">
            <a:noAutofit/>
          </a:bodyPr>
          <a:lstStyle/>
          <a:p>
            <a:pPr algn="just" fontAlgn="auto">
              <a:lnSpc>
                <a:spcPct val="150000"/>
              </a:lnSpc>
              <a:buClrTx/>
              <a:buSzTx/>
              <a:buFontTx/>
            </a:pPr>
            <a:r>
              <a:rPr lang="zh-CN" altLang="en-US" sz="1600" b="1" kern="100" dirty="0">
                <a:solidFill>
                  <a:srgbClr val="C00000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t>项目内容：</a:t>
            </a:r>
            <a:endParaRPr lang="zh-CN" altLang="en-US" sz="1600" b="1" kern="100" dirty="0">
              <a:solidFill>
                <a:srgbClr val="C00000"/>
              </a:solidFill>
              <a:effectLst/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just" fontAlgn="auto">
              <a:lnSpc>
                <a:spcPct val="150000"/>
              </a:lnSpc>
              <a:buClrTx/>
              <a:buSzTx/>
              <a:buFontTx/>
            </a:pPr>
            <a:r>
              <a:rPr lang="zh-CN" altLang="en-US" sz="1600" kern="100" dirty="0"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t>专项基于</a:t>
            </a:r>
            <a:r>
              <a:rPr lang="zh-CN" altLang="en-US" sz="1600" b="1" kern="100" dirty="0"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t>八条路线、九所钢厂</a:t>
            </a:r>
            <a:r>
              <a:rPr lang="zh-CN" altLang="en-US" sz="1600" kern="100" dirty="0"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t>展开实践，</a:t>
            </a:r>
            <a:r>
              <a:rPr lang="zh-CN" altLang="en-US" sz="1600" b="1" kern="100" dirty="0"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t>预计组织</a:t>
            </a:r>
            <a:r>
              <a:rPr lang="en-US" altLang="zh-CN" sz="1600" b="1" kern="100" dirty="0"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t>8-10</a:t>
            </a:r>
            <a:r>
              <a:rPr lang="zh-CN" altLang="en-US" sz="1600" b="1" kern="100" dirty="0"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t>支实践团</a:t>
            </a:r>
            <a:r>
              <a:rPr lang="zh-CN" altLang="en-US" sz="1600" kern="100" dirty="0"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t>，招募学生</a:t>
            </a:r>
            <a:r>
              <a:rPr lang="en-US" altLang="zh-CN" sz="1600" kern="100" dirty="0"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t>80-100</a:t>
            </a:r>
            <a:r>
              <a:rPr lang="zh-CN" altLang="en-US" sz="1600" kern="100" dirty="0"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t>人</a:t>
            </a:r>
            <a:r>
              <a:rPr lang="zh-CN" altLang="en-US" sz="1600" kern="100" dirty="0"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t>。</a:t>
            </a:r>
            <a:endParaRPr lang="zh-CN" altLang="en-US" sz="1600" kern="100" dirty="0">
              <a:effectLst/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 algn="just" fontAlgn="auto">
              <a:lnSpc>
                <a:spcPct val="150000"/>
              </a:lnSpc>
              <a:buFont typeface="Wingdings" panose="05000000000000000000" charset="0"/>
              <a:buChar char="l"/>
            </a:pPr>
            <a:r>
              <a:rPr lang="zh-CN" altLang="en-US" sz="1600" b="1" kern="1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rPr>
              <a:t>铸</a:t>
            </a:r>
            <a:r>
              <a:rPr lang="en-US" altLang="zh-CN" sz="1600" b="1" kern="1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rPr>
              <a:t>“</a:t>
            </a:r>
            <a:r>
              <a:rPr lang="zh-CN" altLang="en-US" sz="1600" b="1" kern="1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rPr>
              <a:t>钢铁之魂</a:t>
            </a:r>
            <a:r>
              <a:rPr lang="en-US" altLang="zh-CN" sz="1600" b="1" kern="1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rPr>
              <a:t>”</a:t>
            </a:r>
            <a:r>
              <a:rPr lang="zh-CN" altLang="en-US" sz="1600" b="1" kern="1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rPr>
              <a:t>红色寻访：</a:t>
            </a:r>
            <a:r>
              <a:rPr lang="zh-CN" altLang="en-US" sz="1600" kern="100" dirty="0"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t>收集红色经典故事；采访代表人物</a:t>
            </a:r>
            <a:endParaRPr lang="zh-CN" altLang="en-US" sz="1600" kern="100" dirty="0">
              <a:effectLst/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 algn="just" fontAlgn="auto">
              <a:lnSpc>
                <a:spcPct val="150000"/>
              </a:lnSpc>
              <a:buFont typeface="Wingdings" panose="05000000000000000000" charset="0"/>
              <a:buChar char="l"/>
            </a:pPr>
            <a:r>
              <a:rPr lang="zh-CN" altLang="en-US" sz="1600" b="1" kern="1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rPr>
              <a:t>走</a:t>
            </a:r>
            <a:r>
              <a:rPr lang="en-US" altLang="zh-CN" sz="1600" b="1" kern="1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rPr>
              <a:t>“</a:t>
            </a:r>
            <a:r>
              <a:rPr lang="zh-CN" altLang="en-US" sz="1600" b="1" kern="1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rPr>
              <a:t>钢铁之路</a:t>
            </a:r>
            <a:r>
              <a:rPr lang="en-US" altLang="zh-CN" sz="1600" b="1" kern="1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rPr>
              <a:t>”</a:t>
            </a:r>
            <a:r>
              <a:rPr lang="zh-CN" altLang="en-US" sz="1600" b="1" kern="1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rPr>
              <a:t>调查研究：</a:t>
            </a:r>
            <a:r>
              <a:rPr lang="zh-CN" altLang="en-US" sz="1600" kern="100" dirty="0"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t>开展实地调研，通过参观交流、认识实习等方式，体验炼钢、轧钢等生产环节</a:t>
            </a:r>
            <a:endParaRPr lang="zh-CN" altLang="en-US" sz="1600" kern="100" dirty="0">
              <a:effectLst/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 algn="just" fontAlgn="auto">
              <a:lnSpc>
                <a:spcPct val="150000"/>
              </a:lnSpc>
              <a:buFont typeface="Wingdings" panose="05000000000000000000" charset="0"/>
              <a:buChar char="l"/>
            </a:pPr>
            <a:r>
              <a:rPr lang="zh-CN" altLang="en-US" sz="1600" b="1" kern="1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rPr>
              <a:t>淬</a:t>
            </a:r>
            <a:r>
              <a:rPr lang="en-US" altLang="zh-CN" sz="1600" b="1" kern="1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rPr>
              <a:t>“</a:t>
            </a:r>
            <a:r>
              <a:rPr lang="zh-CN" altLang="en-US" sz="1600" b="1" kern="1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rPr>
              <a:t>钢铁之志</a:t>
            </a:r>
            <a:r>
              <a:rPr lang="en-US" altLang="zh-CN" sz="1600" b="1" kern="1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rPr>
              <a:t>”</a:t>
            </a:r>
            <a:r>
              <a:rPr lang="zh-CN" altLang="en-US" sz="1600" b="1" kern="1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rPr>
              <a:t>科技服务：</a:t>
            </a:r>
            <a:r>
              <a:rPr lang="zh-CN" altLang="en-US" sz="1600" kern="100" dirty="0"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t>发挥专业优势，助力企业破解</a:t>
            </a:r>
            <a:r>
              <a:rPr lang="en-US" altLang="zh-CN" sz="1600" kern="100" dirty="0"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t>“</a:t>
            </a:r>
            <a:r>
              <a:rPr lang="zh-CN" altLang="en-US" sz="1600" kern="100" dirty="0"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t>卡脖子</a:t>
            </a:r>
            <a:r>
              <a:rPr lang="en-US" altLang="zh-CN" sz="1600" kern="100" dirty="0"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t>”</a:t>
            </a:r>
            <a:r>
              <a:rPr lang="zh-CN" altLang="en-US" sz="1600" kern="100" dirty="0"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t>技术难题</a:t>
            </a:r>
            <a:endParaRPr lang="zh-CN" altLang="en-US" sz="1600" kern="100" dirty="0">
              <a:effectLst/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 algn="just" fontAlgn="auto">
              <a:lnSpc>
                <a:spcPct val="150000"/>
              </a:lnSpc>
              <a:buFont typeface="Wingdings" panose="05000000000000000000" charset="0"/>
              <a:buChar char="l"/>
            </a:pPr>
            <a:r>
              <a:rPr lang="zh-CN" altLang="en-US" sz="1600" b="1" kern="1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rPr>
              <a:t>溯</a:t>
            </a:r>
            <a:r>
              <a:rPr lang="en-US" altLang="zh-CN" sz="1600" b="1" kern="1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rPr>
              <a:t>“</a:t>
            </a:r>
            <a:r>
              <a:rPr lang="zh-CN" altLang="en-US" sz="1600" b="1" kern="1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rPr>
              <a:t>钢铁之源</a:t>
            </a:r>
            <a:r>
              <a:rPr lang="en-US" altLang="zh-CN" sz="1600" b="1" kern="1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rPr>
              <a:t>”</a:t>
            </a:r>
            <a:r>
              <a:rPr lang="zh-CN" altLang="en-US" sz="1600" b="1" kern="1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rPr>
              <a:t>精神传承：</a:t>
            </a:r>
            <a:r>
              <a:rPr lang="zh-CN" altLang="en-US" sz="1600" kern="100" dirty="0"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t>围绕钢厂历史和钢厂所在地周边的红色资源展开系列调研</a:t>
            </a:r>
            <a:endParaRPr lang="zh-CN" altLang="en-US" sz="1600" kern="100" dirty="0">
              <a:effectLst/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indent="0" algn="just" fontAlgn="auto">
              <a:lnSpc>
                <a:spcPct val="150000"/>
              </a:lnSpc>
            </a:pPr>
            <a:endParaRPr lang="zh-CN" altLang="en-US" sz="1600" b="1" kern="1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indent="0" algn="just" fontAlgn="auto">
              <a:lnSpc>
                <a:spcPct val="150000"/>
              </a:lnSpc>
            </a:pPr>
            <a:endParaRPr lang="zh-CN" altLang="en-US" sz="1600" kern="100" dirty="0">
              <a:effectLst/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" name="TextBox 21"/>
          <p:cNvSpPr txBox="1"/>
          <p:nvPr/>
        </p:nvSpPr>
        <p:spPr>
          <a:xfrm>
            <a:off x="490855" y="4857750"/>
            <a:ext cx="8342630" cy="1187450"/>
          </a:xfrm>
          <a:prstGeom prst="rect">
            <a:avLst/>
          </a:prstGeo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wrap="square">
            <a:noAutofit/>
          </a:bodyPr>
          <a:p>
            <a:pPr indent="0" algn="just" fontAlgn="auto">
              <a:lnSpc>
                <a:spcPct val="150000"/>
              </a:lnSpc>
            </a:pPr>
            <a:r>
              <a:rPr lang="zh-CN" altLang="en-US" sz="1600" b="1" kern="100" dirty="0">
                <a:solidFill>
                  <a:srgbClr val="C00000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t>预期成果：</a:t>
            </a:r>
            <a:endParaRPr lang="zh-CN" altLang="en-US" sz="1600" b="1" kern="100" dirty="0">
              <a:solidFill>
                <a:srgbClr val="C00000"/>
              </a:solidFill>
              <a:effectLst/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indent="0" algn="just" fontAlgn="auto">
              <a:lnSpc>
                <a:spcPct val="150000"/>
              </a:lnSpc>
            </a:pPr>
            <a:r>
              <a:rPr lang="zh-CN" altLang="en-US" sz="1600" b="1" kern="1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rPr>
              <a:t>调研成果</a:t>
            </a:r>
            <a:r>
              <a:rPr lang="en-US" altLang="zh-CN" sz="1600" kern="100" dirty="0"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t>——</a:t>
            </a:r>
            <a:r>
              <a:rPr lang="zh-CN" altLang="en-US" sz="1600" kern="100" dirty="0"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t>系列专题报告；</a:t>
            </a:r>
            <a:r>
              <a:rPr lang="zh-CN" altLang="en-US" sz="1600" b="1" kern="1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rPr>
              <a:t>传播成果</a:t>
            </a:r>
            <a:r>
              <a:rPr lang="en-US" altLang="zh-CN" sz="1600" kern="100" dirty="0"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t>——</a:t>
            </a:r>
            <a:r>
              <a:rPr lang="zh-CN" altLang="en-US" sz="1600" kern="100" dirty="0"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t>微电影、系列宣讲视频</a:t>
            </a:r>
            <a:r>
              <a:rPr lang="zh-CN" altLang="en-US" sz="1600" kern="100" dirty="0"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t>等；</a:t>
            </a:r>
            <a:r>
              <a:rPr lang="zh-CN" altLang="en-US" sz="1600" b="1" kern="1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rPr>
              <a:t>衍生成果</a:t>
            </a:r>
            <a:r>
              <a:rPr lang="en-US" altLang="zh-CN" sz="1600" kern="100" dirty="0"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t>——</a:t>
            </a:r>
            <a:r>
              <a:rPr lang="zh-CN" altLang="en-US" sz="1600" kern="100" dirty="0"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t>图文展示板、宣传海报</a:t>
            </a:r>
            <a:r>
              <a:rPr lang="zh-CN" altLang="en-US" sz="1600" kern="100" dirty="0"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t>等</a:t>
            </a:r>
            <a:endParaRPr lang="zh-CN" altLang="en-US" sz="1600" kern="100" dirty="0">
              <a:effectLst/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" name="文本框 3"/>
          <p:cNvSpPr txBox="1"/>
          <p:nvPr>
            <p:custDataLst>
              <p:tags r:id="rId1"/>
            </p:custDataLst>
          </p:nvPr>
        </p:nvSpPr>
        <p:spPr>
          <a:xfrm>
            <a:off x="1115616" y="170138"/>
            <a:ext cx="5184576" cy="506730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pPr algn="ctr"/>
            <a:r>
              <a:rPr lang="zh-CN" altLang="en-US" sz="2700" dirty="0">
                <a:solidFill>
                  <a:srgbClr val="C14635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rPr>
              <a:t>第二</a:t>
            </a:r>
            <a:r>
              <a:rPr lang="zh-CN" altLang="en-US" sz="2700" dirty="0">
                <a:solidFill>
                  <a:srgbClr val="C14635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rPr>
              <a:t>章  校级重点实践项目</a:t>
            </a:r>
            <a:endParaRPr lang="zh-CN" altLang="en-US" sz="2700" dirty="0">
              <a:solidFill>
                <a:srgbClr val="C14635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" name="文本框 2"/>
          <p:cNvSpPr txBox="1"/>
          <p:nvPr/>
        </p:nvSpPr>
        <p:spPr>
          <a:xfrm>
            <a:off x="1688465" y="6135370"/>
            <a:ext cx="5767070" cy="398780"/>
          </a:xfrm>
          <a:prstGeom prst="rect">
            <a:avLst/>
          </a:prstGeom>
        </p:spPr>
        <p:txBody>
          <a:bodyPr wrap="square">
            <a:spAutoFit/>
          </a:bodyPr>
          <a:p>
            <a:pPr marL="0" indent="0" algn="just" defTabSz="266700">
              <a:spcBef>
                <a:spcPct val="0"/>
              </a:spcBef>
              <a:spcAft>
                <a:spcPct val="0"/>
              </a:spcAft>
            </a:pPr>
            <a:r>
              <a:rPr lang="zh-CN" altLang="en-US" sz="2000" b="1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有报名意向同学可进入QQ答疑群（566342731）</a:t>
            </a:r>
            <a:endParaRPr lang="zh-CN" altLang="en-US" sz="1600">
              <a:latin typeface="仿宋_GB2312" panose="02010609030101010101" charset="-122"/>
              <a:ea typeface="仿宋_GB2312" panose="02010609030101010101" charset="-122"/>
            </a:endParaRPr>
          </a:p>
        </p:txBody>
      </p:sp>
    </p:spTree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图示 4"/>
          <p:cNvGraphicFramePr/>
          <p:nvPr/>
        </p:nvGraphicFramePr>
        <p:xfrm>
          <a:off x="0" y="6881836"/>
          <a:ext cx="9144000" cy="50004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" r:lo="rId2" r:qs="rId3" r:cs="rId4"/>
          </a:graphicData>
        </a:graphic>
      </p:graphicFrame>
      <p:sp>
        <p:nvSpPr>
          <p:cNvPr id="20" name="TextBox 19"/>
          <p:cNvSpPr txBox="1"/>
          <p:nvPr/>
        </p:nvSpPr>
        <p:spPr>
          <a:xfrm>
            <a:off x="1696085" y="1752600"/>
            <a:ext cx="5751830" cy="1198880"/>
          </a:xfrm>
          <a:prstGeom prst="rect">
            <a:avLst/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marL="342900" indent="-342900" algn="l">
              <a:lnSpc>
                <a:spcPct val="120000"/>
              </a:lnSpc>
              <a:buFont typeface="Wingdings" panose="05000000000000000000" charset="0"/>
              <a:buChar char="Ø"/>
              <a:defRPr/>
            </a:pPr>
            <a:r>
              <a:rPr lang="zh-CN" altLang="en-US" sz="2000" b="1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烽火记忆</a:t>
            </a:r>
            <a:r>
              <a:rPr lang="en-US" altLang="zh-CN" sz="2000" b="1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——</a:t>
            </a:r>
            <a:r>
              <a:rPr lang="zh-CN" altLang="en-US" sz="2000" b="1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开展</a:t>
            </a:r>
            <a:r>
              <a:rPr lang="en-US" altLang="zh-CN" sz="2000" b="1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“</a:t>
            </a:r>
            <a:r>
              <a:rPr lang="zh-CN" altLang="en-US" sz="2000" b="1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七个一</a:t>
            </a:r>
            <a:r>
              <a:rPr lang="en-US" altLang="zh-CN" sz="2000" b="1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”</a:t>
            </a:r>
            <a:r>
              <a:rPr lang="zh-CN" altLang="en-US" sz="2000" b="1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主题研学活动</a:t>
            </a:r>
            <a:endParaRPr lang="zh-CN" altLang="en-US" sz="2000" b="1" dirty="0">
              <a:solidFill>
                <a:prstClr val="black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342900" indent="-342900" algn="l">
              <a:lnSpc>
                <a:spcPct val="120000"/>
              </a:lnSpc>
              <a:buFont typeface="Wingdings" panose="05000000000000000000" charset="0"/>
              <a:buChar char="Ø"/>
              <a:defRPr/>
            </a:pPr>
            <a:r>
              <a:rPr lang="zh-CN" altLang="en-US" sz="2000" b="1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红色基因</a:t>
            </a:r>
            <a:r>
              <a:rPr lang="en-US" altLang="zh-CN" sz="2000" b="1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——</a:t>
            </a:r>
            <a:r>
              <a:rPr lang="zh-CN" altLang="en-US" sz="2000" b="1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探索红色抗战资源的现实价值</a:t>
            </a:r>
            <a:endParaRPr lang="zh-CN" altLang="en-US" sz="2000" b="1" dirty="0">
              <a:solidFill>
                <a:prstClr val="black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342900" indent="-342900" algn="l">
              <a:lnSpc>
                <a:spcPct val="120000"/>
              </a:lnSpc>
              <a:buFont typeface="Wingdings" panose="05000000000000000000" charset="0"/>
              <a:buChar char="Ø"/>
              <a:defRPr/>
            </a:pPr>
            <a:r>
              <a:rPr lang="zh-CN" altLang="en-US" sz="2000" b="1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精神传承</a:t>
            </a:r>
            <a:r>
              <a:rPr lang="en-US" altLang="zh-CN" sz="2000" b="1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——</a:t>
            </a:r>
            <a:r>
              <a:rPr lang="zh-CN" altLang="en-US" sz="2000" b="1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开展革命老区专项志愿服务活动</a:t>
            </a:r>
            <a:endParaRPr lang="zh-CN" altLang="en-US" sz="2000" b="1" dirty="0">
              <a:solidFill>
                <a:prstClr val="black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491490" y="3171825"/>
            <a:ext cx="8152130" cy="3126740"/>
          </a:xfrm>
          <a:prstGeom prst="rect">
            <a:avLst/>
          </a:prstGeo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wrap="square">
            <a:noAutofit/>
          </a:bodyPr>
          <a:lstStyle/>
          <a:p>
            <a:pPr>
              <a:lnSpc>
                <a:spcPct val="120000"/>
              </a:lnSpc>
              <a:defRPr/>
            </a:pPr>
            <a:r>
              <a:rPr lang="zh-CN" altLang="en-US" b="1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预期成果：</a:t>
            </a:r>
            <a:endParaRPr lang="en-US" altLang="zh-CN" b="1" dirty="0">
              <a:solidFill>
                <a:srgbClr val="C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20000"/>
              </a:lnSpc>
              <a:defRPr/>
            </a:pPr>
            <a:r>
              <a:rPr lang="en-US" altLang="zh-CN" b="1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1.</a:t>
            </a:r>
            <a:r>
              <a:rPr lang="zh-CN" altLang="en-US" b="1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调研成果：</a:t>
            </a:r>
            <a:r>
              <a:rPr lang="zh-CN" altLang="en-US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在深入开展文献整理、人物访谈、实地调研、志愿服务等实践活动的基础上，撰写一篇调研报告，字数一般不超过</a:t>
            </a:r>
            <a:r>
              <a:rPr lang="en-US" altLang="zh-CN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8000</a:t>
            </a:r>
            <a:r>
              <a:rPr lang="zh-CN" altLang="en-US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字。</a:t>
            </a:r>
            <a:endParaRPr lang="zh-CN" altLang="en-US" dirty="0">
              <a:solidFill>
                <a:prstClr val="black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20000"/>
              </a:lnSpc>
              <a:defRPr/>
            </a:pPr>
            <a:r>
              <a:rPr lang="en-US" altLang="zh-CN" b="1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2.</a:t>
            </a:r>
            <a:r>
              <a:rPr lang="zh-CN" altLang="en-US" b="1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传播成果：</a:t>
            </a:r>
            <a:r>
              <a:rPr lang="zh-CN" altLang="en-US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制作《赓续抗战精神》系列短视频，在</a:t>
            </a:r>
            <a:r>
              <a:rPr lang="en-US" altLang="zh-CN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B</a:t>
            </a:r>
            <a:r>
              <a:rPr lang="zh-CN" altLang="en-US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站、抖音、微信视频号等平台传播。</a:t>
            </a:r>
            <a:endParaRPr lang="zh-CN" altLang="en-US" dirty="0">
              <a:solidFill>
                <a:prstClr val="black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20000"/>
              </a:lnSpc>
              <a:defRPr/>
            </a:pPr>
            <a:r>
              <a:rPr lang="en-US" altLang="zh-CN" b="1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3.</a:t>
            </a:r>
            <a:r>
              <a:rPr lang="zh-CN" altLang="en-US" b="1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衍生成果：</a:t>
            </a:r>
            <a:r>
              <a:rPr lang="zh-CN" altLang="en-US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设计融合抗战文物和当代中国精神的红色文创产品等，体现实践成果的创新性与实用性。</a:t>
            </a:r>
            <a:endParaRPr lang="zh-CN" altLang="en-US" dirty="0">
              <a:solidFill>
                <a:prstClr val="black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20000"/>
              </a:lnSpc>
              <a:defRPr/>
            </a:pPr>
            <a:r>
              <a:rPr lang="en-US" altLang="zh-CN" b="1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4.</a:t>
            </a:r>
            <a:r>
              <a:rPr lang="zh-CN" altLang="en-US" b="1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教学成果：</a:t>
            </a:r>
            <a:r>
              <a:rPr lang="zh-CN" altLang="en-US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将调研案例转化为思政教育资源，开发</a:t>
            </a:r>
            <a:r>
              <a:rPr lang="en-US" altLang="zh-CN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“</a:t>
            </a:r>
            <a:r>
              <a:rPr lang="zh-CN" altLang="en-US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赓续抗战精神</a:t>
            </a:r>
            <a:r>
              <a:rPr lang="en-US" altLang="zh-CN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”</a:t>
            </a:r>
            <a:r>
              <a:rPr lang="zh-CN" altLang="en-US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数字资源，助力学校数字马院虚拟仿真课程的发展</a:t>
            </a:r>
            <a:endParaRPr lang="zh-CN" altLang="en-US" dirty="0">
              <a:solidFill>
                <a:prstClr val="black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" name="文本框 3"/>
          <p:cNvSpPr txBox="1"/>
          <p:nvPr>
            <p:custDataLst>
              <p:tags r:id="rId6"/>
            </p:custDataLst>
          </p:nvPr>
        </p:nvSpPr>
        <p:spPr>
          <a:xfrm>
            <a:off x="1115616" y="170138"/>
            <a:ext cx="5184576" cy="506730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pPr algn="ctr"/>
            <a:r>
              <a:rPr lang="zh-CN" altLang="en-US" sz="2700" dirty="0">
                <a:solidFill>
                  <a:srgbClr val="C14635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rPr>
              <a:t>第二</a:t>
            </a:r>
            <a:r>
              <a:rPr lang="zh-CN" altLang="en-US" sz="2700" dirty="0">
                <a:solidFill>
                  <a:srgbClr val="C14635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rPr>
              <a:t>章  校级重点实践项目</a:t>
            </a:r>
            <a:endParaRPr lang="zh-CN" altLang="en-US" sz="2700" dirty="0">
              <a:solidFill>
                <a:srgbClr val="C14635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490538" y="1039450"/>
            <a:ext cx="8153400" cy="553085"/>
          </a:xfrm>
          <a:prstGeom prst="rect">
            <a:avLst/>
          </a:prstGeom>
          <a:solidFill>
            <a:srgbClr val="C00000"/>
          </a:solidFill>
          <a:ln>
            <a:solidFill>
              <a:schemeClr val="accent3">
                <a:lumMod val="50000"/>
              </a:schemeClr>
            </a:solidFill>
          </a:ln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>
            <a:spAutoFit/>
          </a:bodyPr>
          <a:p>
            <a:pPr algn="ctr">
              <a:defRPr/>
            </a:pPr>
            <a:r>
              <a:rPr lang="en-US" altLang="zh-CN" sz="3000" b="1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“</a:t>
            </a:r>
            <a:r>
              <a:rPr lang="zh-CN" altLang="en-US" sz="3000" b="1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重走抗战路，赓续民族魂</a:t>
            </a:r>
            <a:r>
              <a:rPr lang="en-US" altLang="zh-CN" sz="3000" b="1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”</a:t>
            </a:r>
            <a:endParaRPr lang="en-US" altLang="zh-CN" sz="3000" b="1" dirty="0">
              <a:solidFill>
                <a:prstClr val="white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" name="文本框 1"/>
          <p:cNvSpPr txBox="1"/>
          <p:nvPr/>
        </p:nvSpPr>
        <p:spPr>
          <a:xfrm>
            <a:off x="1663700" y="6369050"/>
            <a:ext cx="6526530" cy="398780"/>
          </a:xfrm>
          <a:prstGeom prst="rect">
            <a:avLst/>
          </a:prstGeom>
        </p:spPr>
        <p:txBody>
          <a:bodyPr wrap="square">
            <a:spAutoFit/>
          </a:bodyPr>
          <a:p>
            <a:pPr marL="0" indent="0" algn="just" defTabSz="266700">
              <a:spcBef>
                <a:spcPct val="0"/>
              </a:spcBef>
              <a:spcAft>
                <a:spcPct val="0"/>
              </a:spcAft>
            </a:pPr>
            <a:r>
              <a:rPr lang="zh-CN" altLang="en-US" sz="2000" b="1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有报名意向同学可进入QQ答疑群（1043561075）</a:t>
            </a:r>
            <a:endParaRPr lang="zh-CN" altLang="en-US" sz="1600">
              <a:latin typeface="仿宋_GB2312" panose="02010609030101010101" charset="-122"/>
              <a:ea typeface="仿宋_GB2312" panose="02010609030101010101" charset="-122"/>
            </a:endParaRPr>
          </a:p>
        </p:txBody>
      </p:sp>
    </p:spTree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文本框 3"/>
          <p:cNvSpPr txBox="1"/>
          <p:nvPr>
            <p:custDataLst>
              <p:tags r:id="rId1"/>
            </p:custDataLst>
          </p:nvPr>
        </p:nvSpPr>
        <p:spPr>
          <a:xfrm>
            <a:off x="1115616" y="170138"/>
            <a:ext cx="5184576" cy="506730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pPr algn="ctr"/>
            <a:r>
              <a:rPr lang="zh-CN" altLang="en-US" sz="2700" dirty="0">
                <a:solidFill>
                  <a:srgbClr val="C14635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rPr>
              <a:t>第二</a:t>
            </a:r>
            <a:r>
              <a:rPr lang="zh-CN" altLang="en-US" sz="2700" dirty="0">
                <a:solidFill>
                  <a:srgbClr val="C14635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rPr>
              <a:t>章  校级重点实践项目</a:t>
            </a:r>
            <a:endParaRPr lang="zh-CN" altLang="en-US" sz="2700" dirty="0">
              <a:solidFill>
                <a:srgbClr val="C14635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490538" y="1262970"/>
            <a:ext cx="8153400" cy="553085"/>
          </a:xfrm>
          <a:prstGeom prst="rect">
            <a:avLst/>
          </a:prstGeom>
          <a:solidFill>
            <a:srgbClr val="C00000"/>
          </a:solidFill>
          <a:ln>
            <a:solidFill>
              <a:schemeClr val="accent3">
                <a:lumMod val="50000"/>
              </a:schemeClr>
            </a:solidFill>
          </a:ln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>
            <a:spAutoFit/>
          </a:bodyPr>
          <a:p>
            <a:pPr algn="ctr">
              <a:defRPr/>
            </a:pPr>
            <a:r>
              <a:rPr lang="en-US" altLang="zh-CN" sz="3000" b="1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“</a:t>
            </a:r>
            <a:r>
              <a:rPr lang="zh-CN" altLang="en-US" sz="3000" b="1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追寻领袖足迹</a:t>
            </a:r>
            <a:r>
              <a:rPr lang="en-US" altLang="zh-CN" sz="3000" b="1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·</a:t>
            </a:r>
            <a:r>
              <a:rPr lang="zh-CN" altLang="en-US" sz="3000" b="1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体悟伟大变革</a:t>
            </a:r>
            <a:r>
              <a:rPr lang="en-US" altLang="zh-CN" sz="3000" b="1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”</a:t>
            </a:r>
            <a:endParaRPr lang="en-US" altLang="zh-CN" sz="3000" b="1" dirty="0">
              <a:solidFill>
                <a:prstClr val="white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pSp>
        <p:nvGrpSpPr>
          <p:cNvPr id="39940" name="组合 35"/>
          <p:cNvGrpSpPr/>
          <p:nvPr>
            <p:custDataLst>
              <p:tags r:id="rId2"/>
            </p:custDataLst>
          </p:nvPr>
        </p:nvGrpSpPr>
        <p:grpSpPr bwMode="auto">
          <a:xfrm>
            <a:off x="184785" y="2021209"/>
            <a:ext cx="8692515" cy="5889626"/>
            <a:chOff x="248752" y="1984220"/>
            <a:chExt cx="8289422" cy="5012493"/>
          </a:xfrm>
        </p:grpSpPr>
        <p:sp>
          <p:nvSpPr>
            <p:cNvPr id="10" name="AutoShape 4"/>
            <p:cNvSpPr/>
            <p:nvPr>
              <p:custDataLst>
                <p:tags r:id="rId3"/>
              </p:custDataLst>
            </p:nvPr>
          </p:nvSpPr>
          <p:spPr bwMode="white">
            <a:xfrm>
              <a:off x="5052608" y="3075349"/>
              <a:ext cx="3334783" cy="2746467"/>
            </a:xfrm>
            <a:prstGeom prst="roundRect">
              <a:avLst>
                <a:gd name="adj" fmla="val 4784"/>
              </a:avLst>
            </a:prstGeom>
            <a:solidFill>
              <a:schemeClr val="bg1">
                <a:alpha val="60000"/>
              </a:schemeClr>
            </a:solidFill>
            <a:ln w="38100">
              <a:gradFill>
                <a:gsLst>
                  <a:gs pos="50000">
                    <a:srgbClr val="6EFF01"/>
                  </a:gs>
                  <a:gs pos="100000">
                    <a:srgbClr val="0F5000"/>
                  </a:gs>
                </a:gsLst>
                <a:lin ang="5400000" scaled="0"/>
              </a:gradFill>
            </a:ln>
            <a:effectLst>
              <a:outerShdw blurRad="225425" dist="38100" dir="5220000" algn="ctr">
                <a:srgbClr val="000000">
                  <a:alpha val="33000"/>
                </a:srgbClr>
              </a:outerShdw>
            </a:effectLst>
            <a:scene3d>
              <a:camera prst="orthographicFront"/>
              <a:lightRig rig="flat" dir="t"/>
            </a:scene3d>
            <a:sp3d contourW="19050">
              <a:bevelT w="101600" prst="divot"/>
              <a:bevelB w="0" h="0"/>
              <a:contourClr>
                <a:schemeClr val="bg1"/>
              </a:contourClr>
            </a:sp3d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anchor="ctr"/>
            <a:p>
              <a:pPr marL="0" lvl="2" algn="ctr" defTabSz="0" fontAlgn="ctr">
                <a:buClr>
                  <a:srgbClr val="FF0000"/>
                </a:buClr>
                <a:buSzPct val="70000"/>
                <a:buFont typeface="Wingdings" panose="05000000000000000000" pitchFamily="2" charset="2"/>
                <a:buChar char="n"/>
                <a:tabLst>
                  <a:tab pos="136525" algn="l"/>
                </a:tabLst>
                <a:defRPr/>
              </a:pPr>
              <a:endParaRPr lang="zh-CN" altLang="en-US" sz="14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grpSp>
          <p:nvGrpSpPr>
            <p:cNvPr id="39944" name="组合 21"/>
            <p:cNvGrpSpPr/>
            <p:nvPr/>
          </p:nvGrpSpPr>
          <p:grpSpPr bwMode="auto">
            <a:xfrm>
              <a:off x="248752" y="1984220"/>
              <a:ext cx="8289422" cy="5012493"/>
              <a:chOff x="248752" y="1984220"/>
              <a:chExt cx="8289422" cy="5012493"/>
            </a:xfrm>
          </p:grpSpPr>
          <p:sp>
            <p:nvSpPr>
              <p:cNvPr id="15" name="AutoShape 4"/>
              <p:cNvSpPr/>
              <p:nvPr>
                <p:custDataLst>
                  <p:tags r:id="rId4"/>
                </p:custDataLst>
              </p:nvPr>
            </p:nvSpPr>
            <p:spPr bwMode="white">
              <a:xfrm>
                <a:off x="423757" y="3075349"/>
                <a:ext cx="4456874" cy="2757276"/>
              </a:xfrm>
              <a:prstGeom prst="roundRect">
                <a:avLst>
                  <a:gd name="adj" fmla="val 7012"/>
                </a:avLst>
              </a:prstGeom>
              <a:solidFill>
                <a:schemeClr val="bg1">
                  <a:alpha val="60000"/>
                </a:schemeClr>
              </a:solidFill>
              <a:ln w="38100">
                <a:gradFill>
                  <a:gsLst>
                    <a:gs pos="50000">
                      <a:srgbClr val="00DFF6"/>
                    </a:gs>
                    <a:gs pos="100000">
                      <a:srgbClr val="002774"/>
                    </a:gs>
                  </a:gsLst>
                  <a:lin ang="5400000" scaled="0"/>
                </a:gradFill>
              </a:ln>
              <a:effectLst>
                <a:outerShdw blurRad="225425" dist="38100" dir="5220000" algn="ctr">
                  <a:srgbClr val="000000">
                    <a:alpha val="33000"/>
                  </a:srgbClr>
                </a:outerShdw>
              </a:effectLst>
              <a:scene3d>
                <a:camera prst="orthographicFront"/>
                <a:lightRig rig="flat" dir="t"/>
              </a:scene3d>
              <a:sp3d contourW="19050">
                <a:bevelT w="101600" prst="divot"/>
                <a:bevelB w="0" h="0"/>
                <a:contourClr>
                  <a:schemeClr val="bg1"/>
                </a:contourClr>
              </a:sp3d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anchor="ctr"/>
              <a:p>
                <a:pPr marL="0" lvl="2" algn="ctr" defTabSz="0" fontAlgn="ctr">
                  <a:buClr>
                    <a:srgbClr val="FF0000"/>
                  </a:buClr>
                  <a:buSzPct val="70000"/>
                  <a:buFont typeface="Wingdings" panose="05000000000000000000" pitchFamily="2" charset="2"/>
                  <a:buChar char="n"/>
                  <a:tabLst>
                    <a:tab pos="136525" algn="l"/>
                  </a:tabLst>
                  <a:defRPr/>
                </a:pPr>
                <a:endParaRPr lang="zh-CN" altLang="en-US" sz="1400" dirty="0">
                  <a:solidFill>
                    <a:prstClr val="black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18" name="矩形 25"/>
              <p:cNvSpPr/>
              <p:nvPr>
                <p:custDataLst>
                  <p:tags r:id="rId5"/>
                </p:custDataLst>
              </p:nvPr>
            </p:nvSpPr>
            <p:spPr>
              <a:xfrm>
                <a:off x="352907" y="1984220"/>
                <a:ext cx="8185267" cy="493953"/>
              </a:xfrm>
              <a:prstGeom prst="rect">
                <a:avLst/>
              </a:prstGeom>
            </p:spPr>
            <p:txBody>
              <a:bodyPr wrap="square">
                <a:noAutofit/>
              </a:bodyPr>
              <a:p>
                <a:pPr indent="0" fontAlgn="auto">
                  <a:lnSpc>
                    <a:spcPct val="100000"/>
                  </a:lnSpc>
                  <a:defRPr/>
                </a:pPr>
                <a:r>
                  <a:rPr lang="zh-CN" altLang="en-US" sz="2000" b="1" dirty="0">
                    <a:solidFill>
                      <a:srgbClr val="C00000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探寻乡村共富实践图景</a:t>
                </a:r>
                <a:r>
                  <a:rPr lang="en-US" altLang="zh-CN" sz="2000" b="1" dirty="0">
                    <a:solidFill>
                      <a:srgbClr val="C00000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  </a:t>
                </a:r>
                <a:r>
                  <a:rPr lang="en-US" altLang="zh-CN" sz="2000" b="1" dirty="0">
                    <a:solidFill>
                      <a:srgbClr val="C00000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  </a:t>
                </a:r>
                <a:r>
                  <a:rPr lang="zh-CN" altLang="en-US" sz="2000" b="1" dirty="0">
                    <a:solidFill>
                      <a:srgbClr val="C00000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探访企业创新发展样本</a:t>
                </a:r>
                <a:r>
                  <a:rPr lang="en-US" altLang="zh-CN" sz="2000" b="1" dirty="0">
                    <a:solidFill>
                      <a:srgbClr val="C00000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     </a:t>
                </a:r>
                <a:r>
                  <a:rPr lang="zh-CN" altLang="en-US" sz="2000" b="1" dirty="0">
                    <a:solidFill>
                      <a:srgbClr val="C00000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解锁基层善治幸福样本</a:t>
                </a:r>
                <a:endParaRPr lang="zh-CN" altLang="en-US" sz="2000" b="1" dirty="0">
                  <a:solidFill>
                    <a:srgbClr val="C00000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2" name="AutoShape 3"/>
              <p:cNvSpPr/>
              <p:nvPr>
                <p:custDataLst>
                  <p:tags r:id="rId6"/>
                </p:custDataLst>
              </p:nvPr>
            </p:nvSpPr>
            <p:spPr bwMode="auto">
              <a:xfrm>
                <a:off x="1816341" y="2455505"/>
                <a:ext cx="1790940" cy="573419"/>
              </a:xfrm>
              <a:prstGeom prst="roundRect">
                <a:avLst/>
              </a:prstGeom>
              <a:gradFill flip="none" rotWithShape="1">
                <a:gsLst>
                  <a:gs pos="0">
                    <a:srgbClr val="0070C0"/>
                  </a:gs>
                  <a:gs pos="90000">
                    <a:srgbClr val="001B50"/>
                  </a:gs>
                </a:gsLst>
                <a:lin ang="2700000" scaled="1"/>
                <a:tileRect/>
              </a:gradFill>
              <a:ln w="25400">
                <a:noFill/>
              </a:ln>
              <a:effectLst>
                <a:outerShdw blurRad="225425" dist="38100" dir="5220000" algn="ctr">
                  <a:srgbClr val="000000">
                    <a:alpha val="33000"/>
                  </a:srgbClr>
                </a:outerShdw>
              </a:effectLst>
              <a:scene3d>
                <a:camera prst="orthographicFront"/>
                <a:lightRig rig="flat" dir="t"/>
              </a:scene3d>
              <a:sp3d contourW="19050">
                <a:bevelT prst="convex"/>
                <a:bevelB w="0" h="0"/>
                <a:contourClr>
                  <a:srgbClr val="AFEAFF"/>
                </a:contourClr>
              </a:sp3d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anchor="ctr"/>
              <a:p>
                <a:pPr algn="ctr" fontAlgn="ctr">
                  <a:buClr>
                    <a:srgbClr val="FF0000"/>
                  </a:buClr>
                  <a:buSzPct val="70000"/>
                  <a:buFont typeface="Wingdings" panose="05000000000000000000" pitchFamily="2" charset="2"/>
                  <a:buChar char="u"/>
                  <a:defRPr/>
                </a:pPr>
                <a:endParaRPr lang="zh-CN" altLang="zh-CN" sz="1600" b="1" dirty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20" name="AutoShape 3"/>
              <p:cNvSpPr/>
              <p:nvPr>
                <p:custDataLst>
                  <p:tags r:id="rId7"/>
                </p:custDataLst>
              </p:nvPr>
            </p:nvSpPr>
            <p:spPr bwMode="auto">
              <a:xfrm>
                <a:off x="5738843" y="2445933"/>
                <a:ext cx="2006391" cy="564232"/>
              </a:xfrm>
              <a:prstGeom prst="roundRect">
                <a:avLst/>
              </a:prstGeom>
              <a:gradFill flip="none" rotWithShape="1">
                <a:gsLst>
                  <a:gs pos="0">
                    <a:srgbClr val="4DB400"/>
                  </a:gs>
                  <a:gs pos="90000">
                    <a:srgbClr val="164101"/>
                  </a:gs>
                </a:gsLst>
                <a:lin ang="2700000" scaled="1"/>
                <a:tileRect/>
              </a:gradFill>
              <a:ln w="25400">
                <a:noFill/>
              </a:ln>
              <a:effectLst>
                <a:outerShdw blurRad="225425" dist="38100" dir="5220000" algn="ctr">
                  <a:srgbClr val="000000">
                    <a:alpha val="33000"/>
                  </a:srgbClr>
                </a:outerShdw>
              </a:effectLst>
              <a:scene3d>
                <a:camera prst="orthographicFront"/>
                <a:lightRig rig="flat" dir="t"/>
              </a:scene3d>
              <a:sp3d contourW="19050">
                <a:bevelT prst="convex"/>
                <a:bevelB w="0" h="0"/>
                <a:contourClr>
                  <a:schemeClr val="bg1"/>
                </a:contourClr>
              </a:sp3d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anchor="ctr"/>
              <a:p>
                <a:pPr algn="ctr" fontAlgn="ctr">
                  <a:buClr>
                    <a:srgbClr val="FF0000"/>
                  </a:buClr>
                  <a:buSzPct val="70000"/>
                  <a:buFont typeface="Wingdings" panose="05000000000000000000" pitchFamily="2" charset="2"/>
                  <a:buChar char="u"/>
                  <a:defRPr/>
                </a:pPr>
                <a:endParaRPr lang="zh-CN" altLang="zh-CN" sz="1600" b="1" dirty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21" name="TextBox 20">
                <a:hlinkClick r:id="" action="ppaction://noaction"/>
              </p:cNvPr>
              <p:cNvSpPr txBox="1"/>
              <p:nvPr>
                <p:custDataLst>
                  <p:tags r:id="rId8"/>
                </p:custDataLst>
              </p:nvPr>
            </p:nvSpPr>
            <p:spPr bwMode="auto">
              <a:xfrm>
                <a:off x="1905565" y="2483578"/>
                <a:ext cx="1690705" cy="434206"/>
              </a:xfrm>
              <a:prstGeom prst="roundRect">
                <a:avLst/>
              </a:prstGeom>
              <a:noFill/>
              <a:scene3d>
                <a:camera prst="orthographicFront"/>
                <a:lightRig rig="threePt" dir="t"/>
              </a:scene3d>
              <a:sp3d/>
            </p:spPr>
            <p:txBody>
              <a:bodyPr wrap="square">
                <a:spAutoFit/>
              </a:bodyPr>
              <a:p>
                <a:pPr algn="ctr">
                  <a:buClr>
                    <a:srgbClr val="0000FF"/>
                  </a:buClr>
                  <a:defRPr/>
                </a:pPr>
                <a:r>
                  <a:rPr lang="zh-CN" altLang="en-US" sz="2400" b="1" dirty="0">
                    <a:solidFill>
                      <a:prstClr val="white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预期成果</a:t>
                </a:r>
                <a:endParaRPr lang="zh-CN" altLang="en-US" sz="2400" b="1" dirty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22" name="TextBox 21">
                <a:hlinkClick r:id="" action="ppaction://noaction"/>
              </p:cNvPr>
              <p:cNvSpPr txBox="1"/>
              <p:nvPr>
                <p:custDataLst>
                  <p:tags r:id="rId9"/>
                </p:custDataLst>
              </p:nvPr>
            </p:nvSpPr>
            <p:spPr bwMode="auto">
              <a:xfrm>
                <a:off x="5597604" y="2516544"/>
                <a:ext cx="2278698" cy="289671"/>
              </a:xfrm>
              <a:prstGeom prst="roundRect">
                <a:avLst/>
              </a:prstGeom>
              <a:noFill/>
              <a:scene3d>
                <a:camera prst="orthographicFront"/>
                <a:lightRig rig="threePt" dir="t"/>
              </a:scene3d>
              <a:sp3d/>
            </p:spPr>
            <p:txBody>
              <a:bodyPr>
                <a:noAutofit/>
              </a:bodyPr>
              <a:p>
                <a:pPr algn="ctr">
                  <a:buClr>
                    <a:srgbClr val="0000FF"/>
                  </a:buClr>
                  <a:defRPr/>
                </a:pPr>
                <a:r>
                  <a:rPr lang="zh-CN" altLang="en-US" sz="2400" b="1" dirty="0">
                    <a:solidFill>
                      <a:prstClr val="white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报名要求</a:t>
                </a:r>
                <a:endParaRPr lang="zh-CN" altLang="en-US" sz="2400" b="1" dirty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23" name="矩形 25"/>
              <p:cNvSpPr/>
              <p:nvPr>
                <p:custDataLst>
                  <p:tags r:id="rId10"/>
                </p:custDataLst>
              </p:nvPr>
            </p:nvSpPr>
            <p:spPr>
              <a:xfrm>
                <a:off x="424363" y="3075349"/>
                <a:ext cx="4456268" cy="2745927"/>
              </a:xfrm>
              <a:prstGeom prst="rect">
                <a:avLst/>
              </a:prstGeom>
            </p:spPr>
            <p:txBody>
              <a:bodyPr wrap="square">
                <a:noAutofit/>
              </a:bodyPr>
              <a:p>
                <a:pPr>
                  <a:lnSpc>
                    <a:spcPct val="150000"/>
                  </a:lnSpc>
                  <a:defRPr/>
                </a:pPr>
                <a:r>
                  <a:rPr lang="en-US" altLang="zh-CN" sz="1600" dirty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1.</a:t>
                </a:r>
                <a:r>
                  <a:rPr lang="zh-CN" altLang="en-US" sz="1600" dirty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调研成果：深入开展人物访谈和文献整理，形成</a:t>
                </a:r>
                <a:r>
                  <a:rPr lang="en-US" altLang="zh-CN" sz="1600" dirty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1</a:t>
                </a:r>
                <a:r>
                  <a:rPr lang="zh-CN" altLang="en-US" sz="1600" dirty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篇字数</a:t>
                </a:r>
                <a:r>
                  <a:rPr lang="zh-CN" altLang="en-US" sz="1600" b="1" dirty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不少于</a:t>
                </a:r>
                <a:r>
                  <a:rPr lang="en-US" altLang="zh-CN" sz="1600" b="1" dirty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8000</a:t>
                </a:r>
                <a:r>
                  <a:rPr lang="zh-CN" altLang="en-US" sz="1600" b="1" dirty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字的访谈报告</a:t>
                </a:r>
                <a:r>
                  <a:rPr lang="zh-CN" altLang="en-US" sz="1600" dirty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。</a:t>
                </a:r>
                <a:endParaRPr lang="zh-CN" altLang="en-US" sz="1600" dirty="0"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  <a:p>
                <a:pPr>
                  <a:lnSpc>
                    <a:spcPct val="150000"/>
                  </a:lnSpc>
                  <a:defRPr/>
                </a:pPr>
                <a:r>
                  <a:rPr lang="en-US" altLang="zh-CN" sz="1600" dirty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2.</a:t>
                </a:r>
                <a:r>
                  <a:rPr lang="zh-CN" altLang="en-US" sz="1600" dirty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传播成果：</a:t>
                </a:r>
                <a:r>
                  <a:rPr lang="zh-CN" altLang="en-US" sz="1600" b="1" dirty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至少制作一个短视频</a:t>
                </a:r>
                <a:r>
                  <a:rPr lang="zh-CN" altLang="en-US" sz="1600" dirty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，生动展现实践地的发展变化，并在新媒体平台传播。</a:t>
                </a:r>
                <a:endParaRPr lang="zh-CN" altLang="en-US" sz="1600" dirty="0"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  <a:p>
                <a:pPr>
                  <a:lnSpc>
                    <a:spcPct val="150000"/>
                  </a:lnSpc>
                  <a:defRPr/>
                </a:pPr>
                <a:r>
                  <a:rPr lang="en-US" altLang="zh-CN" sz="1600" dirty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3.</a:t>
                </a:r>
                <a:r>
                  <a:rPr lang="zh-CN" altLang="en-US" sz="1600" dirty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衍生成果：结合实地调研和文献研究，形成一份</a:t>
                </a:r>
                <a:r>
                  <a:rPr lang="zh-CN" altLang="en-US" sz="1600" b="1" dirty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不少于</a:t>
                </a:r>
                <a:r>
                  <a:rPr lang="en-US" altLang="zh-CN" sz="1600" b="1" dirty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3000</a:t>
                </a:r>
                <a:r>
                  <a:rPr lang="zh-CN" altLang="en-US" sz="1600" b="1" dirty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字的调研报告</a:t>
                </a:r>
                <a:r>
                  <a:rPr lang="zh-CN" altLang="en-US" sz="1600" dirty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，并提交实践单位参考。</a:t>
                </a:r>
                <a:endParaRPr lang="zh-CN" altLang="en-US" sz="1600" dirty="0"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  <a:p>
                <a:pPr>
                  <a:lnSpc>
                    <a:spcPct val="150000"/>
                  </a:lnSpc>
                  <a:defRPr/>
                </a:pPr>
                <a:r>
                  <a:rPr lang="en-US" altLang="zh-CN" sz="1600" dirty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4.</a:t>
                </a:r>
                <a:r>
                  <a:rPr lang="zh-CN" altLang="en-US" sz="1600" dirty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教学成果：将实践调研成果</a:t>
                </a:r>
                <a:r>
                  <a:rPr lang="zh-CN" altLang="en-US" sz="1600" b="1" dirty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转化为思政教育素材和资源</a:t>
                </a:r>
                <a:r>
                  <a:rPr lang="zh-CN" altLang="en-US" sz="1600" dirty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，促进学校思想政治理论课教学改革。</a:t>
                </a:r>
                <a:endParaRPr lang="zh-CN" altLang="en-US" sz="1600" dirty="0"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24" name="矩形 25"/>
              <p:cNvSpPr/>
              <p:nvPr>
                <p:custDataLst>
                  <p:tags r:id="rId11"/>
                </p:custDataLst>
              </p:nvPr>
            </p:nvSpPr>
            <p:spPr>
              <a:xfrm>
                <a:off x="5052608" y="3074809"/>
                <a:ext cx="3334783" cy="3921904"/>
              </a:xfrm>
              <a:prstGeom prst="rect">
                <a:avLst/>
              </a:prstGeom>
            </p:spPr>
            <p:txBody>
              <a:bodyPr wrap="square">
                <a:noAutofit/>
              </a:bodyPr>
              <a:p>
                <a:pPr>
                  <a:lnSpc>
                    <a:spcPct val="150000"/>
                  </a:lnSpc>
                  <a:defRPr/>
                </a:pPr>
                <a:r>
                  <a:rPr lang="zh-CN" altLang="en-US" sz="2000" dirty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      </a:t>
                </a:r>
                <a:r>
                  <a:rPr lang="zh-CN" altLang="en-US" sz="1600" dirty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 沿着习近平总书记国内调研考察足迹，开展实践活动，每支团队原则上选择一个省（区、市）为单位进行线路设计，每条线路覆盖的点位数不少于五个，且覆盖到农村、企业、社区，</a:t>
                </a:r>
                <a:r>
                  <a:rPr lang="zh-CN" altLang="en-US" sz="1600" b="1" dirty="0">
                    <a:solidFill>
                      <a:srgbClr val="FF0000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有报名意向同学可进入QQ答疑群（1047509252）</a:t>
                </a:r>
                <a:endParaRPr lang="zh-CN" altLang="en-US" sz="1600" b="1" dirty="0">
                  <a:solidFill>
                    <a:srgbClr val="FF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25" name="圆角矩形 30"/>
              <p:cNvSpPr/>
              <p:nvPr>
                <p:custDataLst>
                  <p:tags r:id="rId12"/>
                </p:custDataLst>
              </p:nvPr>
            </p:nvSpPr>
            <p:spPr>
              <a:xfrm>
                <a:off x="248752" y="2464659"/>
                <a:ext cx="8209489" cy="3471725"/>
              </a:xfrm>
              <a:prstGeom prst="roundRect">
                <a:avLst>
                  <a:gd name="adj" fmla="val 9098"/>
                </a:avLst>
              </a:prstGeom>
              <a:noFill/>
              <a:ln>
                <a:solidFill>
                  <a:schemeClr val="bg1">
                    <a:lumMod val="85000"/>
                  </a:schemeClr>
                </a:solidFill>
                <a:prstDash val="dash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p>
                <a:pPr algn="ctr">
                  <a:defRPr/>
                </a:pPr>
                <a:endParaRPr lang="zh-CN" altLang="en-US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</p:grpSp>
      </p:grpSp>
    </p:spTree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圆角矩形 4"/>
          <p:cNvSpPr/>
          <p:nvPr/>
        </p:nvSpPr>
        <p:spPr>
          <a:xfrm>
            <a:off x="1568450" y="3707448"/>
            <a:ext cx="6007100" cy="809625"/>
          </a:xfrm>
          <a:prstGeom prst="rect">
            <a:avLst/>
          </a:prstGeom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137160" tIns="137160" rIns="137160" bIns="137160" spcCol="1270" anchor="ctr"/>
          <a:lstStyle/>
          <a:p>
            <a:pPr defTabSz="1600200">
              <a:lnSpc>
                <a:spcPct val="90000"/>
              </a:lnSpc>
              <a:spcAft>
                <a:spcPct val="35000"/>
              </a:spcAft>
              <a:defRPr/>
            </a:pPr>
            <a:endParaRPr lang="zh-CN" altLang="en-US" sz="3600">
              <a:solidFill>
                <a:prstClr val="white"/>
              </a:solidFill>
            </a:endParaRPr>
          </a:p>
        </p:txBody>
      </p:sp>
      <p:grpSp>
        <p:nvGrpSpPr>
          <p:cNvPr id="10250" name="组合 12"/>
          <p:cNvGrpSpPr/>
          <p:nvPr/>
        </p:nvGrpSpPr>
        <p:grpSpPr bwMode="auto">
          <a:xfrm>
            <a:off x="396240" y="2037978"/>
            <a:ext cx="8193405" cy="1535430"/>
            <a:chOff x="406400" y="2709863"/>
            <a:chExt cx="8193405" cy="1535430"/>
          </a:xfrm>
        </p:grpSpPr>
        <p:sp>
          <p:nvSpPr>
            <p:cNvPr id="10256" name="TextBox 7"/>
            <p:cNvSpPr txBox="1"/>
            <p:nvPr/>
          </p:nvSpPr>
          <p:spPr bwMode="auto">
            <a:xfrm>
              <a:off x="827405" y="2996883"/>
              <a:ext cx="7772400" cy="1248410"/>
            </a:xfrm>
            <a:prstGeom prst="rect">
              <a:avLst/>
            </a:prstGeom>
            <a:solidFill>
              <a:schemeClr val="bg1"/>
            </a:solidFill>
            <a:ln w="25400" algn="ctr">
              <a:solidFill>
                <a:srgbClr val="0066CC"/>
              </a:solidFill>
              <a:miter lim="800000"/>
            </a:ln>
          </p:spPr>
          <p:txBody>
            <a:bodyPr>
              <a:noAutofit/>
            </a:bodyPr>
            <a:lstStyle>
              <a:lvl1pPr indent="457200">
                <a:defRPr>
                  <a:solidFill>
                    <a:schemeClr val="tx1"/>
                  </a:solidFill>
                  <a:latin typeface="Calibri" panose="020F0502020204030204" charset="0"/>
                  <a:ea typeface="宋体" panose="02010600030101010101" pitchFamily="2" charset="-122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anose="020F0502020204030204" charset="0"/>
                  <a:ea typeface="宋体" panose="02010600030101010101" pitchFamily="2" charset="-122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anose="020F0502020204030204" charset="0"/>
                  <a:ea typeface="宋体" panose="02010600030101010101" pitchFamily="2" charset="-122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anose="020F0502020204030204" charset="0"/>
                  <a:ea typeface="宋体" panose="02010600030101010101" pitchFamily="2" charset="-122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anose="020F0502020204030204" charset="0"/>
                  <a:ea typeface="宋体" panose="02010600030101010101" pitchFamily="2" charset="-122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charset="0"/>
                  <a:ea typeface="宋体" panose="02010600030101010101" pitchFamily="2" charset="-122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charset="0"/>
                  <a:ea typeface="宋体" panose="02010600030101010101" pitchFamily="2" charset="-122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charset="0"/>
                  <a:ea typeface="宋体" panose="02010600030101010101" pitchFamily="2" charset="-122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charset="0"/>
                  <a:ea typeface="宋体" panose="02010600030101010101" pitchFamily="2" charset="-122"/>
                </a:defRPr>
              </a:lvl9pPr>
            </a:lstStyle>
            <a:p>
              <a:pPr>
                <a:lnSpc>
                  <a:spcPct val="130000"/>
                </a:lnSpc>
              </a:pPr>
              <a:r>
                <a:rPr lang="en-US" altLang="zh-CN" sz="2000" dirty="0">
                  <a:solidFill>
                    <a:srgbClr val="00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1.</a:t>
              </a:r>
              <a:r>
                <a:rPr lang="zh-CN" altLang="en-US" sz="2000" dirty="0">
                  <a:solidFill>
                    <a:srgbClr val="00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深入挖掘实践地的</a:t>
              </a:r>
              <a:r>
                <a:rPr lang="zh-CN" altLang="en-US" sz="2000" b="1" dirty="0">
                  <a:solidFill>
                    <a:srgbClr val="00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生动故事</a:t>
              </a:r>
              <a:r>
                <a:rPr lang="zh-CN" altLang="en-US" sz="2000" dirty="0">
                  <a:solidFill>
                    <a:srgbClr val="00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，通过戏曲创作的方式予以展现</a:t>
              </a:r>
              <a:endParaRPr lang="zh-CN" altLang="en-US" sz="20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>
                <a:lnSpc>
                  <a:spcPct val="130000"/>
                </a:lnSpc>
              </a:pPr>
              <a:r>
                <a:rPr lang="en-US" altLang="zh-CN" sz="2000" dirty="0">
                  <a:solidFill>
                    <a:srgbClr val="00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2.</a:t>
              </a:r>
              <a:r>
                <a:rPr lang="zh-CN" altLang="en-US" sz="2000" dirty="0">
                  <a:solidFill>
                    <a:srgbClr val="00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前往实践地</a:t>
              </a:r>
              <a:r>
                <a:rPr lang="zh-CN" altLang="en-US" sz="2000" b="1" dirty="0">
                  <a:solidFill>
                    <a:srgbClr val="00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开展戏曲讲座、展演</a:t>
              </a:r>
              <a:r>
                <a:rPr lang="zh-CN" altLang="en-US" sz="2000" dirty="0">
                  <a:solidFill>
                    <a:srgbClr val="00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等，邀请演员进行戏曲表演、教学等</a:t>
              </a:r>
              <a:endParaRPr lang="zh-CN" altLang="en-US" sz="20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3" name="TextBox 22"/>
            <p:cNvSpPr txBox="1"/>
            <p:nvPr/>
          </p:nvSpPr>
          <p:spPr>
            <a:xfrm>
              <a:off x="406400" y="2709863"/>
              <a:ext cx="876300" cy="768350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solidFill>
                <a:schemeClr val="tx2">
                  <a:lumMod val="40000"/>
                  <a:lumOff val="60000"/>
                </a:schemeClr>
              </a:solidFill>
            </a:ln>
          </p:spPr>
          <p:style>
            <a:lnRef idx="1">
              <a:schemeClr val="accent2"/>
            </a:lnRef>
            <a:fillRef idx="2">
              <a:schemeClr val="accent2"/>
            </a:fillRef>
            <a:effectRef idx="1">
              <a:schemeClr val="accent2"/>
            </a:effectRef>
            <a:fontRef idx="minor">
              <a:schemeClr val="dk1"/>
            </a:fontRef>
          </p:style>
          <p:txBody>
            <a:bodyPr>
              <a:spAutoFit/>
            </a:bodyPr>
            <a:lstStyle/>
            <a:p>
              <a:pPr algn="ctr">
                <a:defRPr/>
              </a:pPr>
              <a:r>
                <a:rPr lang="zh-CN" altLang="en-US" sz="2200" b="1" dirty="0">
                  <a:solidFill>
                    <a:prstClr val="black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项目</a:t>
              </a:r>
              <a:r>
                <a:rPr lang="zh-CN" altLang="en-US" sz="2200" b="1" dirty="0">
                  <a:solidFill>
                    <a:prstClr val="black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内容</a:t>
              </a:r>
              <a:endParaRPr lang="zh-CN" altLang="en-US" sz="2200" b="1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10251" name="组合 15"/>
          <p:cNvGrpSpPr/>
          <p:nvPr/>
        </p:nvGrpSpPr>
        <p:grpSpPr bwMode="auto">
          <a:xfrm>
            <a:off x="396240" y="3925426"/>
            <a:ext cx="8258810" cy="2376170"/>
            <a:chOff x="340420" y="4998403"/>
            <a:chExt cx="8258810" cy="2376170"/>
          </a:xfrm>
        </p:grpSpPr>
        <p:sp>
          <p:nvSpPr>
            <p:cNvPr id="10254" name="TextBox 8"/>
            <p:cNvSpPr txBox="1"/>
            <p:nvPr/>
          </p:nvSpPr>
          <p:spPr bwMode="auto">
            <a:xfrm>
              <a:off x="826830" y="5522278"/>
              <a:ext cx="7772400" cy="1852295"/>
            </a:xfrm>
            <a:prstGeom prst="rect">
              <a:avLst/>
            </a:prstGeom>
            <a:solidFill>
              <a:schemeClr val="bg1"/>
            </a:solidFill>
            <a:ln w="25400" algn="ctr">
              <a:solidFill>
                <a:srgbClr val="0066CC"/>
              </a:solidFill>
              <a:miter lim="800000"/>
            </a:ln>
          </p:spPr>
          <p:txBody>
            <a:bodyPr wrap="square">
              <a:noAutofit/>
            </a:bodyPr>
            <a:lstStyle>
              <a:lvl1pPr indent="457200">
                <a:defRPr>
                  <a:solidFill>
                    <a:schemeClr val="tx1"/>
                  </a:solidFill>
                  <a:latin typeface="Calibri" panose="020F0502020204030204" charset="0"/>
                  <a:ea typeface="宋体" panose="02010600030101010101" pitchFamily="2" charset="-122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anose="020F0502020204030204" charset="0"/>
                  <a:ea typeface="宋体" panose="02010600030101010101" pitchFamily="2" charset="-122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anose="020F0502020204030204" charset="0"/>
                  <a:ea typeface="宋体" panose="02010600030101010101" pitchFamily="2" charset="-122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anose="020F0502020204030204" charset="0"/>
                  <a:ea typeface="宋体" panose="02010600030101010101" pitchFamily="2" charset="-122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anose="020F0502020204030204" charset="0"/>
                  <a:ea typeface="宋体" panose="02010600030101010101" pitchFamily="2" charset="-122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charset="0"/>
                  <a:ea typeface="宋体" panose="02010600030101010101" pitchFamily="2" charset="-122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charset="0"/>
                  <a:ea typeface="宋体" panose="02010600030101010101" pitchFamily="2" charset="-122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charset="0"/>
                  <a:ea typeface="宋体" panose="02010600030101010101" pitchFamily="2" charset="-122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charset="0"/>
                  <a:ea typeface="宋体" panose="02010600030101010101" pitchFamily="2" charset="-122"/>
                </a:defRPr>
              </a:lvl9pPr>
            </a:lstStyle>
            <a:p>
              <a:pPr>
                <a:lnSpc>
                  <a:spcPct val="140000"/>
                </a:lnSpc>
              </a:pPr>
              <a:r>
                <a:rPr lang="en-US" altLang="zh-CN" sz="2000" dirty="0">
                  <a:solidFill>
                    <a:srgbClr val="00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1.</a:t>
              </a:r>
              <a:r>
                <a:rPr lang="zh-CN" altLang="en-US" sz="2000" b="1" dirty="0">
                  <a:solidFill>
                    <a:srgbClr val="00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调研成果。</a:t>
              </a:r>
              <a:r>
                <a:rPr lang="zh-CN" altLang="en-US" sz="2000" dirty="0">
                  <a:solidFill>
                    <a:srgbClr val="00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撰写</a:t>
              </a:r>
              <a:r>
                <a:rPr lang="zh-CN" altLang="en-US" sz="2000" b="1" dirty="0">
                  <a:solidFill>
                    <a:srgbClr val="00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调研报告</a:t>
              </a:r>
              <a:r>
                <a:rPr lang="zh-CN" altLang="en-US" sz="2000" dirty="0">
                  <a:solidFill>
                    <a:srgbClr val="00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《地方戏曲传承现状与发展建议》。</a:t>
              </a:r>
              <a:endParaRPr lang="zh-CN" altLang="en-US" sz="20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>
                <a:lnSpc>
                  <a:spcPct val="140000"/>
                </a:lnSpc>
              </a:pPr>
              <a:r>
                <a:rPr lang="en-US" altLang="zh-CN" sz="2000" dirty="0">
                  <a:solidFill>
                    <a:srgbClr val="00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2.</a:t>
              </a:r>
              <a:r>
                <a:rPr lang="zh-CN" altLang="en-US" sz="2000" b="1" dirty="0">
                  <a:solidFill>
                    <a:srgbClr val="00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传播成果。</a:t>
              </a:r>
              <a:r>
                <a:rPr lang="zh-CN" altLang="en-US" sz="2000" dirty="0">
                  <a:solidFill>
                    <a:srgbClr val="00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制作戏曲文化的传承发展的</a:t>
              </a:r>
              <a:r>
                <a:rPr lang="zh-CN" altLang="en-US" sz="2000" b="1" dirty="0">
                  <a:solidFill>
                    <a:srgbClr val="00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微电影、系列宣讲视频</a:t>
              </a:r>
              <a:r>
                <a:rPr lang="zh-CN" altLang="en-US" sz="2000" dirty="0">
                  <a:solidFill>
                    <a:srgbClr val="00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。</a:t>
              </a:r>
              <a:endParaRPr lang="zh-CN" altLang="en-US" sz="20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>
                <a:lnSpc>
                  <a:spcPct val="140000"/>
                </a:lnSpc>
              </a:pPr>
              <a:r>
                <a:rPr lang="en-US" altLang="zh-CN" sz="2000" dirty="0">
                  <a:solidFill>
                    <a:srgbClr val="00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3.</a:t>
              </a:r>
              <a:r>
                <a:rPr lang="zh-CN" altLang="en-US" sz="2000" b="1" dirty="0">
                  <a:solidFill>
                    <a:srgbClr val="00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衍生成果。</a:t>
              </a:r>
              <a:r>
                <a:rPr lang="zh-CN" altLang="en-US" sz="2000" dirty="0">
                  <a:solidFill>
                    <a:srgbClr val="00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结合地方特色，创作形成</a:t>
              </a:r>
              <a:r>
                <a:rPr lang="zh-CN" altLang="en-US" sz="2000" b="1" dirty="0">
                  <a:solidFill>
                    <a:srgbClr val="00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原创戏曲作品与歌词曲词等文化艺术作品</a:t>
              </a:r>
              <a:r>
                <a:rPr lang="zh-CN" altLang="en-US" sz="2000" dirty="0">
                  <a:solidFill>
                    <a:srgbClr val="00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。</a:t>
              </a:r>
              <a:endParaRPr lang="zh-CN" altLang="en-US" sz="20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6" name="TextBox 25"/>
            <p:cNvSpPr txBox="1"/>
            <p:nvPr/>
          </p:nvSpPr>
          <p:spPr>
            <a:xfrm>
              <a:off x="340420" y="4998403"/>
              <a:ext cx="941705" cy="768350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solidFill>
                <a:schemeClr val="tx2">
                  <a:lumMod val="40000"/>
                  <a:lumOff val="60000"/>
                </a:schemeClr>
              </a:solidFill>
              <a:miter lim="800000"/>
            </a:ln>
          </p:spPr>
          <p:style>
            <a:lnRef idx="1">
              <a:schemeClr val="accent2"/>
            </a:lnRef>
            <a:fillRef idx="2">
              <a:schemeClr val="accent2"/>
            </a:fillRef>
            <a:effectRef idx="1">
              <a:schemeClr val="accent2"/>
            </a:effectRef>
            <a:fontRef idx="minor">
              <a:schemeClr val="dk1"/>
            </a:fontRef>
          </p:style>
          <p:txBody>
            <a:bodyPr wrap="square">
              <a:spAutoFit/>
            </a:bodyPr>
            <a:lstStyle/>
            <a:p>
              <a:pPr algn="ctr">
                <a:defRPr/>
              </a:pPr>
              <a:r>
                <a:rPr lang="zh-CN" altLang="en-US" sz="2200" b="1" dirty="0">
                  <a:solidFill>
                    <a:prstClr val="black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预期成果</a:t>
              </a:r>
              <a:endParaRPr lang="zh-CN" altLang="en-US" sz="2200" b="1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sp>
        <p:nvSpPr>
          <p:cNvPr id="6" name="文本框 5"/>
          <p:cNvSpPr txBox="1"/>
          <p:nvPr>
            <p:custDataLst>
              <p:tags r:id="rId1"/>
            </p:custDataLst>
          </p:nvPr>
        </p:nvSpPr>
        <p:spPr>
          <a:xfrm>
            <a:off x="1115616" y="170138"/>
            <a:ext cx="5184576" cy="506730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pPr algn="ctr"/>
            <a:r>
              <a:rPr lang="zh-CN" altLang="en-US" sz="2700" dirty="0">
                <a:solidFill>
                  <a:srgbClr val="C14635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rPr>
              <a:t>第二</a:t>
            </a:r>
            <a:r>
              <a:rPr lang="zh-CN" altLang="en-US" sz="2700" dirty="0">
                <a:solidFill>
                  <a:srgbClr val="C14635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rPr>
              <a:t>章  校级重点实践项目</a:t>
            </a:r>
            <a:endParaRPr lang="zh-CN" altLang="en-US" sz="2700" dirty="0">
              <a:solidFill>
                <a:srgbClr val="C14635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7" name="TextBox 18"/>
          <p:cNvSpPr txBox="1"/>
          <p:nvPr/>
        </p:nvSpPr>
        <p:spPr>
          <a:xfrm>
            <a:off x="490538" y="1262970"/>
            <a:ext cx="8153400" cy="553085"/>
          </a:xfrm>
          <a:prstGeom prst="rect">
            <a:avLst/>
          </a:prstGeom>
          <a:solidFill>
            <a:srgbClr val="C00000"/>
          </a:solidFill>
          <a:ln>
            <a:solidFill>
              <a:schemeClr val="accent3">
                <a:lumMod val="50000"/>
              </a:schemeClr>
            </a:solidFill>
          </a:ln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>
            <a:spAutoFit/>
          </a:bodyPr>
          <a:p>
            <a:pPr algn="ctr">
              <a:defRPr/>
            </a:pPr>
            <a:r>
              <a:rPr lang="en-US" altLang="zh-CN" sz="3000" b="1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“</a:t>
            </a:r>
            <a:r>
              <a:rPr lang="zh-CN" altLang="en-US" sz="3000" b="1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戏曲文化的传承发展</a:t>
            </a:r>
            <a:r>
              <a:rPr lang="en-US" altLang="zh-CN" sz="3000" b="1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”</a:t>
            </a:r>
            <a:endParaRPr lang="en-US" altLang="zh-CN" sz="3000" b="1" dirty="0">
              <a:solidFill>
                <a:prstClr val="white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" name="文本框 1"/>
          <p:cNvSpPr txBox="1"/>
          <p:nvPr/>
        </p:nvSpPr>
        <p:spPr>
          <a:xfrm>
            <a:off x="1568450" y="6408420"/>
            <a:ext cx="5576570" cy="398780"/>
          </a:xfrm>
          <a:prstGeom prst="rect">
            <a:avLst/>
          </a:prstGeom>
          <a:solidFill>
            <a:schemeClr val="bg1"/>
          </a:solidFill>
          <a:ln w="25400" algn="ctr">
            <a:noFill/>
            <a:miter lim="800000"/>
          </a:ln>
        </p:spPr>
        <p:txBody>
          <a:bodyPr wrap="square" anchor="t">
            <a:spAutoFit/>
          </a:bodyPr>
          <a:p>
            <a:pPr algn="just"/>
            <a:r>
              <a:rPr lang="zh-CN" altLang="en-US" sz="2000" b="1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有报名意向同学可进入</a:t>
            </a:r>
            <a:r>
              <a:rPr lang="en-US" altLang="zh-CN" sz="2000" b="1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QQ</a:t>
            </a:r>
            <a:r>
              <a:rPr lang="zh-CN" altLang="en-US" sz="2000" b="1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答疑群（</a:t>
            </a:r>
            <a:r>
              <a:rPr lang="en-US" altLang="zh-CN" sz="2000" b="1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653564533</a:t>
            </a:r>
            <a:r>
              <a:rPr lang="zh-CN" altLang="en-US" sz="2000" b="1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）</a:t>
            </a:r>
            <a:endParaRPr lang="zh-CN" altLang="en-US" sz="2000" b="1" dirty="0" smtClean="0">
              <a:solidFill>
                <a:srgbClr val="FF0000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+mn-ea"/>
            </a:endParaRPr>
          </a:p>
        </p:txBody>
      </p:sp>
    </p:spTree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文本框 9"/>
          <p:cNvSpPr txBox="1"/>
          <p:nvPr/>
        </p:nvSpPr>
        <p:spPr>
          <a:xfrm>
            <a:off x="3410585" y="2061210"/>
            <a:ext cx="2079625" cy="7143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zh-CN" altLang="en-US" sz="4050" b="1" spc="600" dirty="0">
                <a:solidFill>
                  <a:srgbClr val="C00000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阿里巴巴普惠体 Heavy" panose="00020600040101010101" pitchFamily="18" charset="-122"/>
              </a:rPr>
              <a:t>第三</a:t>
            </a:r>
            <a:r>
              <a:rPr lang="zh-CN" altLang="en-US" sz="4050" b="1" spc="600" dirty="0">
                <a:solidFill>
                  <a:srgbClr val="C00000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阿里巴巴普惠体 Heavy" panose="00020600040101010101" pitchFamily="18" charset="-122"/>
              </a:rPr>
              <a:t>章</a:t>
            </a:r>
            <a:endParaRPr lang="zh-CN" altLang="en-US" sz="4050" b="1" spc="600" dirty="0">
              <a:solidFill>
                <a:srgbClr val="C00000"/>
              </a:solidFill>
              <a:effectLst/>
              <a:latin typeface="微软雅黑" panose="020B0503020204020204" pitchFamily="34" charset="-122"/>
              <a:ea typeface="微软雅黑" panose="020B0503020204020204" pitchFamily="34" charset="-122"/>
              <a:cs typeface="阿里巴巴普惠体 Heavy" panose="00020600040101010101" pitchFamily="18" charset="-122"/>
            </a:endParaRPr>
          </a:p>
        </p:txBody>
      </p:sp>
      <p:sp>
        <p:nvSpPr>
          <p:cNvPr id="11" name="矩形 10"/>
          <p:cNvSpPr/>
          <p:nvPr/>
        </p:nvSpPr>
        <p:spPr>
          <a:xfrm>
            <a:off x="1115695" y="3500755"/>
            <a:ext cx="7023735" cy="71437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Overflow="overflow" horzOverflow="overflow" vert="horz" wrap="square" numCol="1" spcCol="0" rtlCol="0" fromWordArt="0" anchor="ctr" anchorCtr="0" forceAA="0" compatLnSpc="1">
            <a:noAutofit/>
          </a:bodyPr>
          <a:lstStyle/>
          <a:p>
            <a:pPr lvl="0" algn="ctr">
              <a:lnSpc>
                <a:spcPct val="100000"/>
              </a:lnSpc>
              <a:buClrTx/>
              <a:buSzTx/>
              <a:buFontTx/>
            </a:pPr>
            <a:r>
              <a:rPr lang="en-US" altLang="zh-CN" sz="4400" b="1" dirty="0">
                <a:solidFill>
                  <a:srgbClr val="C00000"/>
                </a:solidFill>
                <a:latin typeface="宋体" panose="02010600030101010101" pitchFamily="2" charset="-122"/>
                <a:ea typeface="宋体" panose="02010600030101010101" pitchFamily="2" charset="-122"/>
                <a:sym typeface="+mn-ea"/>
              </a:rPr>
              <a:t>AI</a:t>
            </a:r>
            <a:r>
              <a:rPr lang="zh-CN" altLang="en-US" sz="4400" b="1" dirty="0">
                <a:solidFill>
                  <a:srgbClr val="C00000"/>
                </a:solidFill>
                <a:latin typeface="宋体" panose="02010600030101010101" pitchFamily="2" charset="-122"/>
                <a:ea typeface="宋体" panose="02010600030101010101" pitchFamily="2" charset="-122"/>
                <a:sym typeface="+mn-ea"/>
              </a:rPr>
              <a:t>技术赋能大学生社会实践的路径探索与模式创新</a:t>
            </a:r>
            <a:endParaRPr lang="zh-CN" altLang="en-US" sz="4400" b="1" dirty="0">
              <a:solidFill>
                <a:srgbClr val="C00000"/>
              </a:solidFill>
              <a:latin typeface="宋体" panose="02010600030101010101" pitchFamily="2" charset="-122"/>
              <a:ea typeface="宋体" panose="02010600030101010101" pitchFamily="2" charset="-122"/>
              <a:sym typeface="+mn-ea"/>
            </a:endParaRPr>
          </a:p>
        </p:txBody>
      </p:sp>
      <p:cxnSp>
        <p:nvCxnSpPr>
          <p:cNvPr id="12" name="直接连接符 11"/>
          <p:cNvCxnSpPr/>
          <p:nvPr>
            <p:custDataLst>
              <p:tags r:id="rId1"/>
            </p:custDataLst>
          </p:nvPr>
        </p:nvCxnSpPr>
        <p:spPr>
          <a:xfrm flipV="1">
            <a:off x="1116561" y="3069138"/>
            <a:ext cx="6911975" cy="11430"/>
          </a:xfrm>
          <a:prstGeom prst="line">
            <a:avLst/>
          </a:prstGeom>
          <a:ln w="12700">
            <a:gradFill flip="none" rotWithShape="1">
              <a:gsLst>
                <a:gs pos="0">
                  <a:srgbClr val="CA351C">
                    <a:alpha val="0"/>
                  </a:srgbClr>
                </a:gs>
                <a:gs pos="100000">
                  <a:srgbClr val="CA351C"/>
                </a:gs>
              </a:gsLst>
              <a:lin ang="1080000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文本框 3"/>
          <p:cNvSpPr txBox="1"/>
          <p:nvPr>
            <p:custDataLst>
              <p:tags r:id="rId1"/>
            </p:custDataLst>
          </p:nvPr>
        </p:nvSpPr>
        <p:spPr>
          <a:xfrm>
            <a:off x="1115616" y="170138"/>
            <a:ext cx="5184576" cy="506730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pPr algn="ctr"/>
            <a:r>
              <a:rPr lang="en-US" altLang="zh-CN" sz="2700" b="1" dirty="0">
                <a:solidFill>
                  <a:srgbClr val="C00000"/>
                </a:solidFill>
                <a:latin typeface="宋体" panose="02010600030101010101" pitchFamily="2" charset="-122"/>
                <a:ea typeface="宋体" panose="02010600030101010101" pitchFamily="2" charset="-122"/>
                <a:sym typeface="+mn-ea"/>
              </a:rPr>
              <a:t>AI</a:t>
            </a:r>
            <a:r>
              <a:rPr lang="zh-CN" altLang="en-US" sz="2700" b="1" dirty="0">
                <a:solidFill>
                  <a:srgbClr val="C00000"/>
                </a:solidFill>
                <a:latin typeface="宋体" panose="02010600030101010101" pitchFamily="2" charset="-122"/>
                <a:ea typeface="宋体" panose="02010600030101010101" pitchFamily="2" charset="-122"/>
                <a:sym typeface="+mn-ea"/>
              </a:rPr>
              <a:t>技术赋能社会实践的</a:t>
            </a:r>
            <a:r>
              <a:rPr lang="zh-CN" altLang="en-US" sz="2700" b="1" dirty="0">
                <a:solidFill>
                  <a:srgbClr val="C00000"/>
                </a:solidFill>
                <a:latin typeface="宋体" panose="02010600030101010101" pitchFamily="2" charset="-122"/>
                <a:ea typeface="宋体" panose="02010600030101010101" pitchFamily="2" charset="-122"/>
                <a:sym typeface="+mn-ea"/>
              </a:rPr>
              <a:t>重要性</a:t>
            </a:r>
            <a:endParaRPr lang="zh-CN" altLang="en-US" sz="2700" b="1" dirty="0">
              <a:solidFill>
                <a:srgbClr val="C00000"/>
              </a:solidFill>
              <a:latin typeface="宋体" panose="02010600030101010101" pitchFamily="2" charset="-122"/>
              <a:ea typeface="宋体" panose="02010600030101010101" pitchFamily="2" charset="-122"/>
              <a:sym typeface="+mn-ea"/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490538" y="1262970"/>
            <a:ext cx="8153400" cy="553085"/>
          </a:xfrm>
          <a:prstGeom prst="rect">
            <a:avLst/>
          </a:prstGeom>
          <a:solidFill>
            <a:srgbClr val="C00000"/>
          </a:solidFill>
          <a:ln>
            <a:solidFill>
              <a:schemeClr val="accent3">
                <a:lumMod val="50000"/>
              </a:schemeClr>
            </a:solidFill>
          </a:ln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>
            <a:spAutoFit/>
          </a:bodyPr>
          <a:p>
            <a:pPr algn="ctr">
              <a:defRPr/>
            </a:pPr>
            <a:r>
              <a:rPr lang="zh-CN" altLang="en-US" sz="3000" b="1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人工智能引领新一轮科技革命和产业变革</a:t>
            </a:r>
            <a:endParaRPr lang="zh-CN" altLang="en-US" sz="3000" b="1" dirty="0">
              <a:solidFill>
                <a:prstClr val="white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pSp>
        <p:nvGrpSpPr>
          <p:cNvPr id="39944" name="组合 21"/>
          <p:cNvGrpSpPr/>
          <p:nvPr/>
        </p:nvGrpSpPr>
        <p:grpSpPr bwMode="auto">
          <a:xfrm rot="0">
            <a:off x="2870835" y="4028442"/>
            <a:ext cx="5767070" cy="3013075"/>
            <a:chOff x="3252297" y="1942999"/>
            <a:chExt cx="5205944" cy="3922127"/>
          </a:xfrm>
        </p:grpSpPr>
        <p:sp>
          <p:nvSpPr>
            <p:cNvPr id="24" name="矩形 25"/>
            <p:cNvSpPr/>
            <p:nvPr>
              <p:custDataLst>
                <p:tags r:id="rId2"/>
              </p:custDataLst>
            </p:nvPr>
          </p:nvSpPr>
          <p:spPr>
            <a:xfrm>
              <a:off x="3351463" y="1942999"/>
              <a:ext cx="5058628" cy="3922127"/>
            </a:xfrm>
            <a:prstGeom prst="rect">
              <a:avLst/>
            </a:prstGeom>
          </p:spPr>
          <p:txBody>
            <a:bodyPr wrap="square">
              <a:noAutofit/>
            </a:bodyPr>
            <a:p>
              <a:pPr>
                <a:lnSpc>
                  <a:spcPct val="150000"/>
                </a:lnSpc>
                <a:defRPr/>
              </a:pPr>
              <a:r>
                <a:rPr lang="zh-CN" altLang="en-US" sz="1600" b="1" dirty="0">
                  <a:solidFill>
                    <a:srgbClr val="C0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从自身学习成长的角度：</a:t>
              </a:r>
              <a:r>
                <a:rPr lang="en-US" altLang="zh-CN" sz="1600" b="1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黑体" panose="02010609060101010101" charset="-122"/>
                  <a:ea typeface="黑体" panose="02010609060101010101" charset="-122"/>
                  <a:cs typeface="黑体" panose="02010609060101010101" charset="-122"/>
                </a:rPr>
                <a:t>AI</a:t>
              </a:r>
              <a:r>
                <a:rPr lang="zh-CN" altLang="en-US" sz="1600" b="1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黑体" panose="02010609060101010101" charset="-122"/>
                  <a:ea typeface="黑体" panose="02010609060101010101" charset="-122"/>
                  <a:cs typeface="黑体" panose="02010609060101010101" charset="-122"/>
                </a:rPr>
                <a:t>技术的广泛应用是大势所趋，尽早熟练掌握相关方法和应用，将对未来学习、实践、工作产生深远的正向推动作用。</a:t>
              </a:r>
              <a:endParaRPr lang="zh-CN" altLang="en-US" sz="1600" b="1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>
                <a:lnSpc>
                  <a:spcPct val="150000"/>
                </a:lnSpc>
                <a:defRPr/>
              </a:pPr>
              <a:r>
                <a:rPr lang="zh-CN" altLang="en-US" sz="1600" b="1" dirty="0">
                  <a:solidFill>
                    <a:srgbClr val="C0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从服务社会发展的角度：</a:t>
              </a:r>
              <a:r>
                <a:rPr lang="zh-CN" altLang="en-US" sz="1600" b="1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黑体" panose="02010609060101010101" charset="-122"/>
                  <a:ea typeface="黑体" panose="02010609060101010101" charset="-122"/>
                  <a:cs typeface="黑体" panose="02010609060101010101" charset="-122"/>
                </a:rPr>
                <a:t>合理使用</a:t>
              </a:r>
              <a:r>
                <a:rPr lang="en-US" altLang="zh-CN" sz="1600" b="1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黑体" panose="02010609060101010101" charset="-122"/>
                  <a:ea typeface="黑体" panose="02010609060101010101" charset="-122"/>
                  <a:cs typeface="黑体" panose="02010609060101010101" charset="-122"/>
                  <a:sym typeface="+mn-ea"/>
                </a:rPr>
                <a:t>AI</a:t>
              </a:r>
              <a:r>
                <a:rPr lang="zh-CN" altLang="en-US" sz="1600" b="1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黑体" panose="02010609060101010101" charset="-122"/>
                  <a:ea typeface="黑体" panose="02010609060101010101" charset="-122"/>
                  <a:cs typeface="黑体" panose="02010609060101010101" charset="-122"/>
                  <a:sym typeface="+mn-ea"/>
                </a:rPr>
                <a:t>技术</a:t>
              </a:r>
              <a:r>
                <a:rPr lang="zh-CN" altLang="en-US" sz="1600" b="1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黑体" panose="02010609060101010101" charset="-122"/>
                  <a:ea typeface="黑体" panose="02010609060101010101" charset="-122"/>
                  <a:cs typeface="黑体" panose="02010609060101010101" charset="-122"/>
                </a:rPr>
                <a:t>能够在众多场景下高效解决实际问题，大学生应当将自身所长积极应用于服务社会发展。</a:t>
              </a:r>
              <a:endParaRPr lang="zh-CN" altLang="en-US" sz="16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黑体" panose="02010609060101010101" charset="-122"/>
                <a:ea typeface="黑体" panose="02010609060101010101" charset="-122"/>
                <a:cs typeface="黑体" panose="02010609060101010101" charset="-122"/>
              </a:endParaRPr>
            </a:p>
          </p:txBody>
        </p:sp>
        <p:sp>
          <p:nvSpPr>
            <p:cNvPr id="25" name="圆角矩形 30"/>
            <p:cNvSpPr/>
            <p:nvPr>
              <p:custDataLst>
                <p:tags r:id="rId3"/>
              </p:custDataLst>
            </p:nvPr>
          </p:nvSpPr>
          <p:spPr>
            <a:xfrm>
              <a:off x="3252297" y="2017389"/>
              <a:ext cx="5205944" cy="2918657"/>
            </a:xfrm>
            <a:prstGeom prst="roundRect">
              <a:avLst>
                <a:gd name="adj" fmla="val 9098"/>
              </a:avLst>
            </a:prstGeom>
            <a:noFill/>
            <a:ln>
              <a:solidFill>
                <a:schemeClr val="bg1">
                  <a:lumMod val="85000"/>
                </a:schemeClr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p>
              <a:pPr algn="ctr">
                <a:defRPr/>
              </a:pPr>
              <a:endParaRPr lang="zh-CN" altLang="en-US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pic>
        <p:nvPicPr>
          <p:cNvPr id="3" name="图片 2"/>
          <p:cNvPicPr/>
          <p:nvPr/>
        </p:nvPicPr>
        <p:blipFill>
          <a:blip r:embed="rId4"/>
          <a:stretch>
            <a:fillRect/>
          </a:stretch>
        </p:blipFill>
        <p:spPr>
          <a:xfrm>
            <a:off x="490855" y="1904365"/>
            <a:ext cx="2155825" cy="4423410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grpSp>
        <p:nvGrpSpPr>
          <p:cNvPr id="12" name="组合 11"/>
          <p:cNvGrpSpPr/>
          <p:nvPr/>
        </p:nvGrpSpPr>
        <p:grpSpPr>
          <a:xfrm>
            <a:off x="2793365" y="1904365"/>
            <a:ext cx="5844540" cy="1927860"/>
            <a:chOff x="4399" y="2999"/>
            <a:chExt cx="9204" cy="3036"/>
          </a:xfrm>
        </p:grpSpPr>
        <p:pic>
          <p:nvPicPr>
            <p:cNvPr id="7" name="图片 6"/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4399" y="2999"/>
              <a:ext cx="9204" cy="3037"/>
            </a:xfrm>
            <a:prstGeom prst="rect">
              <a:avLst/>
            </a:prstGeom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  <p:sp>
          <p:nvSpPr>
            <p:cNvPr id="8" name="圆角矩形 7"/>
            <p:cNvSpPr/>
            <p:nvPr/>
          </p:nvSpPr>
          <p:spPr>
            <a:xfrm>
              <a:off x="8630" y="3496"/>
              <a:ext cx="4833" cy="307"/>
            </a:xfrm>
            <a:prstGeom prst="roundRect">
              <a:avLst/>
            </a:prstGeom>
            <a:noFill/>
            <a:ln>
              <a:solidFill>
                <a:srgbClr val="C00000"/>
              </a:solidFill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  <p:style>
            <a:lnRef idx="2">
              <a:schemeClr val="accent1">
                <a:lumMod val="75000"/>
              </a:schemeClr>
            </a:lnRef>
            <a:fillRef idx="1">
              <a:schemeClr val="accent1"/>
            </a:fillRef>
            <a:effectRef idx="0">
              <a:srgbClr val="FFFFFF"/>
            </a:effectRef>
            <a:fontRef idx="minor">
              <a:schemeClr val="lt1"/>
            </a:fontRef>
          </p:style>
          <p:txBody>
            <a:bodyPr rtlCol="0" anchor="ctr"/>
            <a:p>
              <a:pPr algn="ctr"/>
              <a:endParaRPr lang="zh-CN" altLang="en-US"/>
            </a:p>
          </p:txBody>
        </p:sp>
        <p:sp>
          <p:nvSpPr>
            <p:cNvPr id="9" name="圆角矩形 8"/>
            <p:cNvSpPr/>
            <p:nvPr/>
          </p:nvSpPr>
          <p:spPr>
            <a:xfrm>
              <a:off x="4399" y="3889"/>
              <a:ext cx="733" cy="307"/>
            </a:xfrm>
            <a:prstGeom prst="roundRect">
              <a:avLst/>
            </a:prstGeom>
            <a:noFill/>
            <a:ln>
              <a:solidFill>
                <a:srgbClr val="C00000"/>
              </a:solidFill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  <p:style>
            <a:lnRef idx="2">
              <a:schemeClr val="accent1">
                <a:lumMod val="75000"/>
              </a:schemeClr>
            </a:lnRef>
            <a:fillRef idx="1">
              <a:schemeClr val="accent1"/>
            </a:fillRef>
            <a:effectRef idx="0">
              <a:srgbClr val="FFFFFF"/>
            </a:effectRef>
            <a:fontRef idx="minor">
              <a:schemeClr val="lt1"/>
            </a:fontRef>
          </p:style>
          <p:txBody>
            <a:bodyPr rtlCol="0" anchor="ctr"/>
            <a:p>
              <a:pPr algn="ctr"/>
              <a:endParaRPr lang="zh-CN" altLang="en-US"/>
            </a:p>
          </p:txBody>
        </p:sp>
        <p:sp>
          <p:nvSpPr>
            <p:cNvPr id="11" name="圆角矩形 10"/>
            <p:cNvSpPr/>
            <p:nvPr/>
          </p:nvSpPr>
          <p:spPr>
            <a:xfrm>
              <a:off x="5552" y="5589"/>
              <a:ext cx="7692" cy="307"/>
            </a:xfrm>
            <a:prstGeom prst="roundRect">
              <a:avLst/>
            </a:prstGeom>
            <a:noFill/>
            <a:ln>
              <a:solidFill>
                <a:srgbClr val="C00000"/>
              </a:solidFill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  <p:style>
            <a:lnRef idx="2">
              <a:schemeClr val="accent1">
                <a:lumMod val="75000"/>
              </a:schemeClr>
            </a:lnRef>
            <a:fillRef idx="1">
              <a:schemeClr val="accent1"/>
            </a:fillRef>
            <a:effectRef idx="0">
              <a:srgbClr val="FFFFFF"/>
            </a:effectRef>
            <a:fontRef idx="minor">
              <a:schemeClr val="lt1"/>
            </a:fontRef>
          </p:style>
          <p:txBody>
            <a:bodyPr rtlCol="0" anchor="ctr"/>
            <a:p>
              <a:pPr algn="ctr"/>
              <a:endParaRPr lang="zh-CN" altLang="en-US"/>
            </a:p>
          </p:txBody>
        </p:sp>
      </p:grp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" name="矩形 132"/>
          <p:cNvSpPr/>
          <p:nvPr/>
        </p:nvSpPr>
        <p:spPr>
          <a:xfrm>
            <a:off x="1310640" y="4245610"/>
            <a:ext cx="2774315" cy="525145"/>
          </a:xfrm>
          <a:prstGeom prst="rect">
            <a:avLst/>
          </a:prstGeom>
          <a:gradFill flip="none" rotWithShape="1">
            <a:gsLst>
              <a:gs pos="0">
                <a:srgbClr val="A22B17">
                  <a:lumMod val="94000"/>
                  <a:lumOff val="6000"/>
                </a:srgbClr>
              </a:gs>
              <a:gs pos="100000">
                <a:srgbClr val="A22B17">
                  <a:alpha val="72000"/>
                  <a:lumMod val="85000"/>
                  <a:lumOff val="15000"/>
                </a:srgb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Overflow="overflow" horzOverflow="overflow" vert="horz" wrap="square" numCol="1" spcCol="0" rtlCol="0" fromWordArt="0" anchor="ctr" anchorCtr="0" forceAA="0" compatLnSpc="1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21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  <a:sym typeface="+mn-ea"/>
            </a:endParaRPr>
          </a:p>
        </p:txBody>
      </p:sp>
      <p:pic>
        <p:nvPicPr>
          <p:cNvPr id="3" name="图片 2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2"/>
          <a:stretch>
            <a:fillRect/>
          </a:stretch>
        </p:blipFill>
        <p:spPr>
          <a:xfrm>
            <a:off x="1049655" y="748030"/>
            <a:ext cx="3265805" cy="3265805"/>
          </a:xfrm>
          <a:prstGeom prst="rect">
            <a:avLst/>
          </a:prstGeom>
        </p:spPr>
      </p:pic>
      <p:pic>
        <p:nvPicPr>
          <p:cNvPr id="7" name="图片 6"/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4"/>
          <a:stretch>
            <a:fillRect/>
          </a:stretch>
        </p:blipFill>
        <p:spPr>
          <a:xfrm>
            <a:off x="4859655" y="789940"/>
            <a:ext cx="3225165" cy="3225165"/>
          </a:xfrm>
          <a:prstGeom prst="rect">
            <a:avLst/>
          </a:prstGeom>
        </p:spPr>
      </p:pic>
      <p:sp>
        <p:nvSpPr>
          <p:cNvPr id="5" name="矩形 4"/>
          <p:cNvSpPr/>
          <p:nvPr/>
        </p:nvSpPr>
        <p:spPr>
          <a:xfrm>
            <a:off x="1471930" y="4373880"/>
            <a:ext cx="2413000" cy="32321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Overflow="overflow" horzOverflow="overflow" vert="horz" wrap="square" numCol="1" spcCol="0" rtlCol="0" fromWordArt="0" anchor="ctr" anchorCtr="0" forceAA="0" compatLnSpc="1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  <a:sym typeface="+mn-ea"/>
              </a:rPr>
              <a:t>北科大青年</a:t>
            </a:r>
            <a:endParaRPr kumimoji="0" lang="zh-CN" altLang="en-US" sz="2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  <a:sym typeface="+mn-ea"/>
            </a:endParaRPr>
          </a:p>
        </p:txBody>
      </p:sp>
      <p:sp>
        <p:nvSpPr>
          <p:cNvPr id="6" name="文本框 5"/>
          <p:cNvSpPr txBox="1"/>
          <p:nvPr>
            <p:custDataLst>
              <p:tags r:id="rId5"/>
            </p:custDataLst>
          </p:nvPr>
        </p:nvSpPr>
        <p:spPr>
          <a:xfrm>
            <a:off x="4747895" y="4251325"/>
            <a:ext cx="3389630" cy="525145"/>
          </a:xfrm>
          <a:prstGeom prst="rect">
            <a:avLst/>
          </a:prstGeom>
          <a:gradFill>
            <a:gsLst>
              <a:gs pos="0">
                <a:srgbClr val="A22B17">
                  <a:lumMod val="90000"/>
                  <a:lumOff val="10000"/>
                </a:srgbClr>
              </a:gs>
              <a:gs pos="100000">
                <a:srgbClr val="A22B17">
                  <a:alpha val="72000"/>
                  <a:lumMod val="92000"/>
                  <a:lumOff val="8000"/>
                </a:srgbClr>
              </a:gs>
            </a:gsLst>
            <a:lin ang="5400000" scaled="1"/>
          </a:gradFill>
        </p:spPr>
        <p:txBody>
          <a:bodyPr wrap="square" rtlCol="0">
            <a:noAutofit/>
          </a:bodyPr>
          <a:lstStyle>
            <a:defPPr>
              <a:defRPr lang="zh-CN"/>
            </a:defPPr>
            <a:lvl1pPr algn="ctr">
              <a:defRPr sz="1600">
                <a:solidFill>
                  <a:srgbClr val="F2C68E"/>
                </a:solidFill>
                <a:latin typeface="思源宋体 CN Heavy" panose="02020900000000000000" pitchFamily="18" charset="-122"/>
                <a:ea typeface="思源宋体 CN Heavy" panose="02020900000000000000" pitchFamily="18" charset="-122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2700" b="0" i="0" u="none" strike="noStrike" kern="1200" cap="none" spc="0" normalizeH="0" baseline="0" noProof="0" dirty="0">
              <a:ln>
                <a:noFill/>
              </a:ln>
              <a:solidFill>
                <a:srgbClr val="F2C68E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15" name="矩形 14"/>
          <p:cNvSpPr/>
          <p:nvPr>
            <p:custDataLst>
              <p:tags r:id="rId6"/>
            </p:custDataLst>
          </p:nvPr>
        </p:nvSpPr>
        <p:spPr>
          <a:xfrm>
            <a:off x="4819650" y="4373880"/>
            <a:ext cx="3291840" cy="32321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Overflow="overflow" horzOverflow="overflow" vert="horz" wrap="square" numCol="1" spcCol="0" rtlCol="0" fromWordArt="0" anchor="ctr" anchorCtr="0" forceAA="0" compatLnSpc="1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  <a:sym typeface="+mn-ea"/>
              </a:rPr>
              <a:t>北科大实践志愿小博士</a:t>
            </a:r>
            <a:endParaRPr kumimoji="0" lang="zh-CN" altLang="en-US" sz="2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  <a:sym typeface="+mn-ea"/>
            </a:endParaRPr>
          </a:p>
        </p:txBody>
      </p:sp>
      <p:sp>
        <p:nvSpPr>
          <p:cNvPr id="17" name="文本框 16"/>
          <p:cNvSpPr txBox="1"/>
          <p:nvPr>
            <p:custDataLst>
              <p:tags r:id="rId7"/>
            </p:custDataLst>
          </p:nvPr>
        </p:nvSpPr>
        <p:spPr>
          <a:xfrm>
            <a:off x="1764030" y="5012690"/>
            <a:ext cx="6520180" cy="1125855"/>
          </a:xfrm>
          <a:prstGeom prst="rect">
            <a:avLst/>
          </a:prstGeom>
          <a:noFill/>
        </p:spPr>
        <p:txBody>
          <a:bodyPr wrap="square" rtlCol="0">
            <a:noAutofit/>
            <a:scene3d>
              <a:camera prst="orthographicFront"/>
              <a:lightRig rig="threePt" dir="t"/>
            </a:scene3d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1600" b="1" i="0" u="none" strike="noStrike" kern="1200" cap="none" spc="0" normalizeH="0" baseline="0" noProof="0" dirty="0">
                <a:solidFill>
                  <a:prstClr val="black"/>
                </a:solidFill>
                <a:effectLst>
                  <a:outerShdw blurRad="38100" dist="19050" dir="2700000" algn="tl" rotWithShape="0">
                    <a:prstClr val="black">
                      <a:alpha val="40000"/>
                    </a:prstClr>
                  </a:outerShdw>
                </a:effectLst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1.</a:t>
            </a:r>
            <a:r>
              <a:rPr kumimoji="0" lang="zh-CN" altLang="en-US" sz="1600" b="1" i="0" u="none" strike="noStrike" kern="1200" cap="none" spc="0" normalizeH="0" baseline="0" noProof="0" dirty="0">
                <a:solidFill>
                  <a:prstClr val="black"/>
                </a:solidFill>
                <a:effectLst>
                  <a:outerShdw blurRad="38100" dist="19050" dir="2700000" algn="tl" rotWithShape="0">
                    <a:prstClr val="black">
                      <a:alpha val="40000"/>
                    </a:prstClr>
                  </a:outerShdw>
                </a:effectLst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扫描关注微信公众号“北科大青年”“北科大实践志愿小博士”</a:t>
            </a:r>
            <a:endParaRPr kumimoji="0" lang="en-US" altLang="zh-CN" sz="1600" b="1" i="0" u="none" strike="noStrike" kern="1200" cap="none" spc="0" normalizeH="0" baseline="0" noProof="0" dirty="0">
              <a:solidFill>
                <a:prstClr val="black"/>
              </a:solidFill>
              <a:effectLst>
                <a:outerShdw blurRad="38100" dist="19050" dir="2700000" algn="tl" rotWithShape="0">
                  <a:prstClr val="black">
                    <a:alpha val="40000"/>
                  </a:prstClr>
                </a:outerShdw>
              </a:effectLst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  <a:sym typeface="+mn-ea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altLang="zh-CN" sz="1600" b="1" i="0" u="none" strike="noStrike" kern="1200" cap="none" spc="0" normalizeH="0" baseline="0" noProof="0" dirty="0">
              <a:solidFill>
                <a:prstClr val="black"/>
              </a:solidFill>
              <a:effectLst>
                <a:outerShdw blurRad="38100" dist="19050" dir="2700000" algn="tl" rotWithShape="0">
                  <a:prstClr val="black">
                    <a:alpha val="40000"/>
                  </a:prstClr>
                </a:outerShdw>
              </a:effectLst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1600" b="1" i="0" u="none" strike="noStrike" kern="1200" cap="none" spc="0" normalizeH="0" baseline="0" noProof="0" dirty="0">
                <a:solidFill>
                  <a:prstClr val="black"/>
                </a:solidFill>
                <a:effectLst>
                  <a:outerShdw blurRad="38100" dist="19050" dir="2700000" algn="tl" rotWithShape="0">
                    <a:prstClr val="black">
                      <a:alpha val="40000"/>
                    </a:prstClr>
                  </a:outerShdw>
                </a:effectLst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2.</a:t>
            </a:r>
            <a:r>
              <a:rPr kumimoji="0" lang="zh-CN" altLang="en-US" sz="1600" b="1" i="0" u="none" strike="noStrike" kern="1200" cap="none" spc="0" normalizeH="0" baseline="0" noProof="0" dirty="0">
                <a:solidFill>
                  <a:prstClr val="black"/>
                </a:solidFill>
                <a:effectLst>
                  <a:outerShdw blurRad="38100" dist="19050" dir="2700000" algn="tl" rotWithShape="0">
                    <a:prstClr val="black">
                      <a:alpha val="40000"/>
                    </a:prstClr>
                  </a:outerShdw>
                </a:effectLst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社会实践相关讯息在两个公众号均有发布，敬请关注</a:t>
            </a:r>
            <a:endParaRPr kumimoji="0" lang="zh-CN" altLang="en-US" sz="1600" b="1" i="0" u="none" strike="noStrike" kern="1200" cap="none" spc="0" normalizeH="0" baseline="0" noProof="0" dirty="0">
              <a:solidFill>
                <a:prstClr val="black"/>
              </a:solidFill>
              <a:effectLst>
                <a:outerShdw blurRad="38100" dist="19050" dir="2700000" algn="tl" rotWithShape="0">
                  <a:prstClr val="black">
                    <a:alpha val="40000"/>
                  </a:prstClr>
                </a:outerShdw>
              </a:effectLst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  <a:p>
            <a:pPr marL="0" marR="0" lvl="0" indent="0" algn="ctr" defTabSz="4572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600" b="1" i="0" u="none" strike="noStrike" kern="1200" cap="none" spc="0" normalizeH="0" baseline="0" noProof="0" dirty="0">
              <a:solidFill>
                <a:prstClr val="black"/>
              </a:solidFill>
              <a:effectLst>
                <a:outerShdw blurRad="38100" dist="19050" dir="2700000" algn="tl" rotWithShape="0">
                  <a:prstClr val="black">
                    <a:alpha val="40000"/>
                  </a:prstClr>
                </a:outerShdw>
              </a:effectLst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</p:txBody>
      </p:sp>
    </p:spTree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文本框 9"/>
          <p:cNvSpPr txBox="1"/>
          <p:nvPr/>
        </p:nvSpPr>
        <p:spPr>
          <a:xfrm>
            <a:off x="3167063" y="2061210"/>
            <a:ext cx="2809875" cy="7143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zh-CN" altLang="en-US" sz="4050" b="1" spc="600" dirty="0">
                <a:solidFill>
                  <a:srgbClr val="C00000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阿里巴巴普惠体 Heavy" panose="00020600040101010101" pitchFamily="18" charset="-122"/>
              </a:rPr>
              <a:t>第一</a:t>
            </a:r>
            <a:r>
              <a:rPr lang="zh-CN" altLang="en-US" sz="4050" b="1" spc="600" dirty="0">
                <a:solidFill>
                  <a:srgbClr val="C00000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阿里巴巴普惠体 Heavy" panose="00020600040101010101" pitchFamily="18" charset="-122"/>
              </a:rPr>
              <a:t>部分</a:t>
            </a:r>
            <a:endParaRPr lang="zh-CN" altLang="en-US" sz="4050" b="1" spc="600" dirty="0">
              <a:solidFill>
                <a:srgbClr val="C00000"/>
              </a:solidFill>
              <a:effectLst/>
              <a:latin typeface="微软雅黑" panose="020B0503020204020204" pitchFamily="34" charset="-122"/>
              <a:ea typeface="微软雅黑" panose="020B0503020204020204" pitchFamily="34" charset="-122"/>
              <a:cs typeface="阿里巴巴普惠体 Heavy" panose="00020600040101010101" pitchFamily="18" charset="-122"/>
            </a:endParaRPr>
          </a:p>
        </p:txBody>
      </p:sp>
      <p:sp>
        <p:nvSpPr>
          <p:cNvPr id="11" name="矩形 10"/>
          <p:cNvSpPr/>
          <p:nvPr/>
        </p:nvSpPr>
        <p:spPr>
          <a:xfrm>
            <a:off x="1115695" y="3500755"/>
            <a:ext cx="7023735" cy="71437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Overflow="overflow" horzOverflow="overflow" vert="horz" wrap="square" numCol="1" spcCol="0" rtlCol="0" fromWordArt="0" anchor="ctr" anchorCtr="0" forceAA="0" compatLnSpc="1">
            <a:noAutofit/>
          </a:bodyPr>
          <a:lstStyle/>
          <a:p>
            <a:pPr lvl="0" algn="ctr">
              <a:lnSpc>
                <a:spcPct val="100000"/>
              </a:lnSpc>
              <a:buClrTx/>
              <a:buSzTx/>
              <a:buFontTx/>
            </a:pPr>
            <a:r>
              <a:rPr lang="zh-CN" altLang="en-US" sz="4400" b="1" dirty="0">
                <a:solidFill>
                  <a:srgbClr val="C00000"/>
                </a:solidFill>
                <a:latin typeface="宋体" panose="02010600030101010101" pitchFamily="2" charset="-122"/>
                <a:ea typeface="宋体" panose="02010600030101010101" pitchFamily="2" charset="-122"/>
                <a:sym typeface="+mn-ea"/>
              </a:rPr>
              <a:t>常用的</a:t>
            </a:r>
            <a:r>
              <a:rPr lang="en-US" altLang="zh-CN" sz="4400" b="1" dirty="0">
                <a:solidFill>
                  <a:srgbClr val="C00000"/>
                </a:solidFill>
                <a:latin typeface="宋体" panose="02010600030101010101" pitchFamily="2" charset="-122"/>
                <a:ea typeface="宋体" panose="02010600030101010101" pitchFamily="2" charset="-122"/>
                <a:sym typeface="+mn-ea"/>
              </a:rPr>
              <a:t>AI</a:t>
            </a:r>
            <a:r>
              <a:rPr lang="zh-CN" altLang="en-US" sz="4400" b="1" dirty="0">
                <a:solidFill>
                  <a:srgbClr val="C00000"/>
                </a:solidFill>
                <a:latin typeface="宋体" panose="02010600030101010101" pitchFamily="2" charset="-122"/>
                <a:ea typeface="宋体" panose="02010600030101010101" pitchFamily="2" charset="-122"/>
                <a:sym typeface="+mn-ea"/>
              </a:rPr>
              <a:t>工具</a:t>
            </a:r>
            <a:endParaRPr lang="zh-CN" altLang="en-US" sz="4400" b="1" dirty="0">
              <a:solidFill>
                <a:srgbClr val="C00000"/>
              </a:solidFill>
              <a:latin typeface="宋体" panose="02010600030101010101" pitchFamily="2" charset="-122"/>
              <a:ea typeface="宋体" panose="02010600030101010101" pitchFamily="2" charset="-122"/>
              <a:sym typeface="+mn-ea"/>
            </a:endParaRPr>
          </a:p>
        </p:txBody>
      </p:sp>
      <p:cxnSp>
        <p:nvCxnSpPr>
          <p:cNvPr id="12" name="直接连接符 11"/>
          <p:cNvCxnSpPr/>
          <p:nvPr>
            <p:custDataLst>
              <p:tags r:id="rId1"/>
            </p:custDataLst>
          </p:nvPr>
        </p:nvCxnSpPr>
        <p:spPr>
          <a:xfrm flipV="1">
            <a:off x="1116561" y="3069138"/>
            <a:ext cx="6911975" cy="11430"/>
          </a:xfrm>
          <a:prstGeom prst="line">
            <a:avLst/>
          </a:prstGeom>
          <a:ln w="12700">
            <a:gradFill flip="none" rotWithShape="1">
              <a:gsLst>
                <a:gs pos="0">
                  <a:srgbClr val="CA351C">
                    <a:alpha val="0"/>
                  </a:srgbClr>
                </a:gs>
                <a:gs pos="100000">
                  <a:srgbClr val="CA351C"/>
                </a:gs>
              </a:gsLst>
              <a:lin ang="1080000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2" name="文本框 1"/>
          <p:cNvSpPr txBox="1"/>
          <p:nvPr/>
        </p:nvSpPr>
        <p:spPr>
          <a:xfrm>
            <a:off x="1478280" y="1945640"/>
            <a:ext cx="6019165" cy="967740"/>
          </a:xfrm>
          <a:prstGeom prst="rect">
            <a:avLst/>
          </a:prstGeom>
          <a:noFill/>
        </p:spPr>
        <p:txBody>
          <a:bodyPr wrap="square" rtlCol="0">
            <a:noAutofit/>
          </a:bodyPr>
          <a:p>
            <a:pPr indent="0" algn="ctr" fontAlgn="auto">
              <a:lnSpc>
                <a:spcPct val="125000"/>
              </a:lnSpc>
              <a:buFont typeface="Wingdings" panose="05000000000000000000" charset="0"/>
              <a:buNone/>
            </a:pPr>
            <a:r>
              <a:rPr lang="zh-CN" altLang="en-US" sz="2000" dirty="0">
                <a:solidFill>
                  <a:schemeClr val="tx1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t>DeepSeek（https://chat.deepseek.com/）</a:t>
            </a:r>
            <a:endParaRPr lang="zh-CN" altLang="en-US" sz="2000" dirty="0">
              <a:solidFill>
                <a:schemeClr val="tx1"/>
              </a:solidFill>
              <a:effectLst/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indent="0" algn="ctr" fontAlgn="auto">
              <a:lnSpc>
                <a:spcPct val="125000"/>
              </a:lnSpc>
              <a:buFont typeface="Wingdings" panose="05000000000000000000" charset="0"/>
              <a:buNone/>
            </a:pPr>
            <a:r>
              <a:rPr lang="zh-CN" altLang="en-US" sz="2000" dirty="0">
                <a:solidFill>
                  <a:schemeClr val="tx1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t>豆包（https://www.doubao.com/chat/）</a:t>
            </a:r>
            <a:endParaRPr lang="zh-CN" altLang="en-US" sz="2000" dirty="0">
              <a:solidFill>
                <a:schemeClr val="tx1"/>
              </a:solidFill>
              <a:effectLst/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342900" indent="-342900" algn="ctr" fontAlgn="auto">
              <a:lnSpc>
                <a:spcPct val="125000"/>
              </a:lnSpc>
              <a:buFont typeface="Wingdings" panose="05000000000000000000" charset="0"/>
              <a:buChar char="l"/>
            </a:pPr>
            <a:endParaRPr lang="zh-CN" altLang="en-US" sz="2000" dirty="0">
              <a:solidFill>
                <a:schemeClr val="tx1"/>
              </a:solidFill>
              <a:effectLst/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ctr" fontAlgn="auto">
              <a:lnSpc>
                <a:spcPct val="125000"/>
              </a:lnSpc>
            </a:pPr>
            <a:endParaRPr lang="zh-CN" altLang="en-US" sz="2000" dirty="0">
              <a:solidFill>
                <a:schemeClr val="tx1"/>
              </a:solidFill>
              <a:effectLst/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342900" indent="-342900" algn="ctr" fontAlgn="auto">
              <a:lnSpc>
                <a:spcPct val="125000"/>
              </a:lnSpc>
              <a:buFont typeface="Wingdings" panose="05000000000000000000" charset="0"/>
              <a:buChar char="l"/>
            </a:pPr>
            <a:endParaRPr lang="zh-CN" altLang="en-US" sz="2000" dirty="0">
              <a:solidFill>
                <a:schemeClr val="tx1"/>
              </a:solidFill>
              <a:effectLst/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" name="文本框 3"/>
          <p:cNvSpPr txBox="1"/>
          <p:nvPr>
            <p:custDataLst>
              <p:tags r:id="rId1"/>
            </p:custDataLst>
          </p:nvPr>
        </p:nvSpPr>
        <p:spPr>
          <a:xfrm>
            <a:off x="1115695" y="170180"/>
            <a:ext cx="5499735" cy="887095"/>
          </a:xfrm>
          <a:prstGeom prst="rect">
            <a:avLst/>
          </a:prstGeom>
          <a:noFill/>
        </p:spPr>
        <p:txBody>
          <a:bodyPr wrap="square" rtlCol="0">
            <a:noAutofit/>
          </a:bodyPr>
          <a:p>
            <a:pPr algn="ctr"/>
            <a:r>
              <a:rPr lang="zh-CN" altLang="en-US" sz="2700" dirty="0">
                <a:solidFill>
                  <a:srgbClr val="C14635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rPr>
              <a:t>第三章  </a:t>
            </a:r>
            <a:r>
              <a:rPr lang="zh-CN" altLang="en-US" sz="2700" dirty="0">
                <a:solidFill>
                  <a:srgbClr val="C14635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AI技术赋能大学生社会</a:t>
            </a:r>
            <a:endParaRPr lang="zh-CN" altLang="en-US" sz="2700" dirty="0">
              <a:solidFill>
                <a:srgbClr val="C14635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微软雅黑" panose="020B0503020204020204" pitchFamily="34" charset="-122"/>
              <a:ea typeface="微软雅黑" panose="020B0503020204020204" pitchFamily="34" charset="-122"/>
              <a:sym typeface="+mn-ea"/>
            </a:endParaRPr>
          </a:p>
          <a:p>
            <a:pPr algn="ctr"/>
            <a:r>
              <a:rPr lang="en-US" altLang="zh-CN" sz="2700" dirty="0">
                <a:solidFill>
                  <a:srgbClr val="C14635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               </a:t>
            </a:r>
            <a:r>
              <a:rPr lang="zh-CN" altLang="en-US" sz="2700" dirty="0">
                <a:solidFill>
                  <a:srgbClr val="C14635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实践路径探索与模式创新</a:t>
            </a:r>
            <a:endParaRPr lang="zh-CN" altLang="en-US" sz="2700" dirty="0">
              <a:solidFill>
                <a:srgbClr val="C14635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ctr"/>
            <a:endParaRPr lang="zh-CN" altLang="en-US" sz="2700" dirty="0">
              <a:solidFill>
                <a:srgbClr val="C14635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049081" name="îṡ1îḍe"/>
          <p:cNvSpPr/>
          <p:nvPr/>
        </p:nvSpPr>
        <p:spPr>
          <a:xfrm>
            <a:off x="1553210" y="1403350"/>
            <a:ext cx="5869940" cy="496570"/>
          </a:xfrm>
          <a:prstGeom prst="roundRect">
            <a:avLst/>
          </a:prstGeom>
          <a:gradFill flip="none" rotWithShape="1">
            <a:gsLst>
              <a:gs pos="0">
                <a:srgbClr val="A22B17">
                  <a:lumMod val="94000"/>
                  <a:lumOff val="6000"/>
                </a:srgbClr>
              </a:gs>
              <a:gs pos="100000">
                <a:srgbClr val="A22B17">
                  <a:alpha val="72000"/>
                  <a:lumMod val="85000"/>
                  <a:lumOff val="15000"/>
                </a:srgb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indent="0" algn="ctr" fontAlgn="auto">
              <a:lnSpc>
                <a:spcPct val="150000"/>
              </a:lnSpc>
            </a:pPr>
            <a:r>
              <a:rPr lang="zh-CN" altLang="en-US" sz="2200" b="1" dirty="0">
                <a:solidFill>
                  <a:schemeClr val="bg1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文本类工具（文字处理、创意、头脑风暴）</a:t>
            </a:r>
            <a:endParaRPr lang="zh-CN" altLang="en-US" sz="2200" b="1" dirty="0">
              <a:solidFill>
                <a:schemeClr val="bg1"/>
              </a:solidFill>
              <a:effectLst/>
              <a:latin typeface="微软雅黑" panose="020B0503020204020204" pitchFamily="34" charset="-122"/>
              <a:ea typeface="微软雅黑" panose="020B0503020204020204" pitchFamily="34" charset="-122"/>
              <a:sym typeface="+mn-ea"/>
            </a:endParaRPr>
          </a:p>
        </p:txBody>
      </p:sp>
      <p:sp>
        <p:nvSpPr>
          <p:cNvPr id="3" name="îṡ1îḍe"/>
          <p:cNvSpPr/>
          <p:nvPr/>
        </p:nvSpPr>
        <p:spPr>
          <a:xfrm>
            <a:off x="1553210" y="2838450"/>
            <a:ext cx="5869940" cy="496570"/>
          </a:xfrm>
          <a:prstGeom prst="roundRect">
            <a:avLst/>
          </a:prstGeom>
          <a:gradFill flip="none" rotWithShape="1">
            <a:gsLst>
              <a:gs pos="0">
                <a:srgbClr val="A22B17">
                  <a:lumMod val="94000"/>
                  <a:lumOff val="6000"/>
                </a:srgbClr>
              </a:gs>
              <a:gs pos="100000">
                <a:srgbClr val="A22B17">
                  <a:alpha val="72000"/>
                  <a:lumMod val="85000"/>
                  <a:lumOff val="15000"/>
                </a:srgb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indent="0" algn="ctr" fontAlgn="auto">
              <a:lnSpc>
                <a:spcPct val="150000"/>
              </a:lnSpc>
            </a:pPr>
            <a:r>
              <a:rPr lang="zh-CN" altLang="en-US" sz="2200" b="1" dirty="0">
                <a:effectLst/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其他工具（图片、视频、声音等）</a:t>
            </a:r>
            <a:endParaRPr lang="zh-CN" altLang="en-US" sz="2200" b="1" dirty="0">
              <a:solidFill>
                <a:schemeClr val="bg1"/>
              </a:solidFill>
              <a:effectLst/>
              <a:latin typeface="微软雅黑" panose="020B0503020204020204" pitchFamily="34" charset="-122"/>
              <a:ea typeface="微软雅黑" panose="020B0503020204020204" pitchFamily="34" charset="-122"/>
              <a:sym typeface="+mn-ea"/>
            </a:endParaRPr>
          </a:p>
        </p:txBody>
      </p:sp>
      <p:sp>
        <p:nvSpPr>
          <p:cNvPr id="5" name="文本框 4"/>
          <p:cNvSpPr txBox="1"/>
          <p:nvPr/>
        </p:nvSpPr>
        <p:spPr>
          <a:xfrm>
            <a:off x="2228215" y="3361690"/>
            <a:ext cx="4518660" cy="2861310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pPr marL="342900" indent="-342900" algn="l" fontAlgn="auto">
              <a:lnSpc>
                <a:spcPct val="125000"/>
              </a:lnSpc>
              <a:buFont typeface="Wingdings" panose="05000000000000000000" charset="0"/>
              <a:buChar char="l"/>
            </a:pPr>
            <a:r>
              <a:rPr lang="zh-CN" altLang="en-US" b="1" dirty="0">
                <a:solidFill>
                  <a:srgbClr val="C00000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图片、视频类素材生成：</a:t>
            </a:r>
            <a:endParaRPr lang="zh-CN" altLang="en-US" b="1" dirty="0">
              <a:solidFill>
                <a:srgbClr val="C00000"/>
              </a:solidFill>
              <a:effectLst/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l" fontAlgn="auto">
              <a:lnSpc>
                <a:spcPct val="125000"/>
              </a:lnSpc>
            </a:pPr>
            <a:r>
              <a:rPr lang="zh-CN" altLang="en-US" dirty="0">
                <a:effectLst/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豆包（https://www.doubao.com/chat/）</a:t>
            </a:r>
            <a:endParaRPr lang="zh-CN" altLang="en-US" dirty="0">
              <a:solidFill>
                <a:schemeClr val="tx1"/>
              </a:solidFill>
              <a:effectLst/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l" fontAlgn="auto">
              <a:lnSpc>
                <a:spcPct val="125000"/>
              </a:lnSpc>
            </a:pPr>
            <a:r>
              <a:rPr lang="zh-CN" altLang="en-US" dirty="0">
                <a:effectLst/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可灵AI（https://app.klingai.com/cn/）</a:t>
            </a:r>
            <a:endParaRPr lang="zh-CN" altLang="en-US" dirty="0">
              <a:solidFill>
                <a:schemeClr val="tx1"/>
              </a:solidFill>
              <a:effectLst/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342900" indent="-342900" algn="l" fontAlgn="auto">
              <a:lnSpc>
                <a:spcPct val="125000"/>
              </a:lnSpc>
              <a:buFont typeface="Wingdings" panose="05000000000000000000" charset="0"/>
              <a:buChar char="l"/>
            </a:pPr>
            <a:r>
              <a:rPr lang="zh-CN" altLang="en-US" b="1" dirty="0">
                <a:solidFill>
                  <a:srgbClr val="C00000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语音实时转写：</a:t>
            </a:r>
            <a:endParaRPr lang="zh-CN" altLang="en-US" b="1" dirty="0">
              <a:solidFill>
                <a:srgbClr val="C00000"/>
              </a:solidFill>
              <a:effectLst/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l" fontAlgn="auto">
              <a:lnSpc>
                <a:spcPct val="125000"/>
              </a:lnSpc>
            </a:pPr>
            <a:r>
              <a:rPr lang="zh-CN" altLang="en-US" dirty="0">
                <a:effectLst/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讯飞听见（https://www.iflyrec.com/）</a:t>
            </a:r>
            <a:endParaRPr lang="zh-CN" altLang="en-US" dirty="0">
              <a:solidFill>
                <a:schemeClr val="tx1"/>
              </a:solidFill>
              <a:effectLst/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342900" indent="-342900" algn="l" fontAlgn="auto">
              <a:lnSpc>
                <a:spcPct val="125000"/>
              </a:lnSpc>
              <a:buFont typeface="Wingdings" panose="05000000000000000000" charset="0"/>
              <a:buChar char="l"/>
            </a:pPr>
            <a:r>
              <a:rPr lang="zh-CN" altLang="en-US" b="1" dirty="0">
                <a:solidFill>
                  <a:srgbClr val="C00000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PPT制作：</a:t>
            </a:r>
            <a:endParaRPr lang="zh-CN" altLang="en-US" b="1" dirty="0">
              <a:solidFill>
                <a:srgbClr val="C00000"/>
              </a:solidFill>
              <a:effectLst/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l" fontAlgn="auto">
              <a:lnSpc>
                <a:spcPct val="125000"/>
              </a:lnSpc>
            </a:pPr>
            <a:r>
              <a:rPr lang="zh-CN" altLang="en-US" dirty="0">
                <a:effectLst/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Kimi（https://kimi.moonshot.cn/）</a:t>
            </a:r>
            <a:endParaRPr lang="zh-CN" altLang="en-US" dirty="0">
              <a:solidFill>
                <a:schemeClr val="tx1"/>
              </a:solidFill>
              <a:effectLst/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l" fontAlgn="auto">
              <a:lnSpc>
                <a:spcPct val="125000"/>
              </a:lnSpc>
            </a:pPr>
            <a:endParaRPr lang="zh-CN" altLang="en-US"/>
          </a:p>
        </p:txBody>
      </p:sp>
      <p:sp>
        <p:nvSpPr>
          <p:cNvPr id="6" name="文本框 5"/>
          <p:cNvSpPr txBox="1"/>
          <p:nvPr/>
        </p:nvSpPr>
        <p:spPr>
          <a:xfrm>
            <a:off x="1224915" y="5948680"/>
            <a:ext cx="6526530" cy="398780"/>
          </a:xfrm>
          <a:prstGeom prst="rect">
            <a:avLst/>
          </a:prstGeom>
        </p:spPr>
        <p:txBody>
          <a:bodyPr wrap="square">
            <a:spAutoFit/>
          </a:bodyPr>
          <a:p>
            <a:pPr marL="0" indent="0" algn="ctr" defTabSz="266700">
              <a:spcBef>
                <a:spcPct val="0"/>
              </a:spcBef>
              <a:spcAft>
                <a:spcPct val="0"/>
              </a:spcAft>
            </a:pPr>
            <a:r>
              <a:rPr lang="zh-CN" altLang="en-US" sz="2000" b="1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注意甄别</a:t>
            </a:r>
            <a:r>
              <a:rPr lang="en-US" altLang="zh-CN" sz="2000" b="1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AI</a:t>
            </a:r>
            <a:r>
              <a:rPr lang="zh-CN" altLang="en-US" sz="2000" b="1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生成内容的真实性、</a:t>
            </a:r>
            <a:r>
              <a:rPr lang="zh-CN" altLang="en-US" sz="2000" b="1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合理性！</a:t>
            </a:r>
            <a:endParaRPr lang="zh-CN" altLang="en-US" sz="2000" b="1" dirty="0">
              <a:solidFill>
                <a:srgbClr val="FF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文本框 9"/>
          <p:cNvSpPr txBox="1"/>
          <p:nvPr/>
        </p:nvSpPr>
        <p:spPr>
          <a:xfrm>
            <a:off x="3225800" y="2061210"/>
            <a:ext cx="2692400" cy="7143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zh-CN" altLang="en-US" sz="4050" b="1" spc="600" dirty="0">
                <a:solidFill>
                  <a:srgbClr val="C00000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阿里巴巴普惠体 Heavy" panose="00020600040101010101" pitchFamily="18" charset="-122"/>
              </a:rPr>
              <a:t>第二</a:t>
            </a:r>
            <a:r>
              <a:rPr lang="zh-CN" altLang="en-US" sz="4050" b="1" spc="600" dirty="0">
                <a:solidFill>
                  <a:srgbClr val="C00000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阿里巴巴普惠体 Heavy" panose="00020600040101010101" pitchFamily="18" charset="-122"/>
              </a:rPr>
              <a:t>部分</a:t>
            </a:r>
            <a:endParaRPr lang="zh-CN" altLang="en-US" sz="4050" b="1" spc="600" dirty="0">
              <a:solidFill>
                <a:srgbClr val="C00000"/>
              </a:solidFill>
              <a:effectLst/>
              <a:latin typeface="微软雅黑" panose="020B0503020204020204" pitchFamily="34" charset="-122"/>
              <a:ea typeface="微软雅黑" panose="020B0503020204020204" pitchFamily="34" charset="-122"/>
              <a:cs typeface="阿里巴巴普惠体 Heavy" panose="00020600040101010101" pitchFamily="18" charset="-122"/>
            </a:endParaRPr>
          </a:p>
        </p:txBody>
      </p:sp>
      <p:sp>
        <p:nvSpPr>
          <p:cNvPr id="11" name="矩形 10"/>
          <p:cNvSpPr/>
          <p:nvPr/>
        </p:nvSpPr>
        <p:spPr>
          <a:xfrm>
            <a:off x="1115695" y="3500755"/>
            <a:ext cx="7023735" cy="71437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Overflow="overflow" horzOverflow="overflow" vert="horz" wrap="square" numCol="1" spcCol="0" rtlCol="0" fromWordArt="0" anchor="ctr" anchorCtr="0" forceAA="0" compatLnSpc="1">
            <a:noAutofit/>
          </a:bodyPr>
          <a:lstStyle/>
          <a:p>
            <a:pPr lvl="0" algn="ctr">
              <a:lnSpc>
                <a:spcPct val="100000"/>
              </a:lnSpc>
              <a:buClrTx/>
              <a:buSzTx/>
              <a:buFontTx/>
            </a:pPr>
            <a:r>
              <a:rPr lang="zh-CN" altLang="en-US" sz="4400" b="1" dirty="0">
                <a:solidFill>
                  <a:srgbClr val="C00000"/>
                </a:solidFill>
                <a:latin typeface="宋体" panose="02010600030101010101" pitchFamily="2" charset="-122"/>
                <a:ea typeface="宋体" panose="02010600030101010101" pitchFamily="2" charset="-122"/>
                <a:sym typeface="+mn-ea"/>
              </a:rPr>
              <a:t>应用实例</a:t>
            </a:r>
            <a:endParaRPr lang="zh-CN" altLang="en-US" sz="4400" b="1" dirty="0">
              <a:solidFill>
                <a:srgbClr val="C00000"/>
              </a:solidFill>
              <a:latin typeface="宋体" panose="02010600030101010101" pitchFamily="2" charset="-122"/>
              <a:ea typeface="宋体" panose="02010600030101010101" pitchFamily="2" charset="-122"/>
              <a:sym typeface="+mn-ea"/>
            </a:endParaRPr>
          </a:p>
        </p:txBody>
      </p:sp>
      <p:cxnSp>
        <p:nvCxnSpPr>
          <p:cNvPr id="12" name="直接连接符 11"/>
          <p:cNvCxnSpPr/>
          <p:nvPr>
            <p:custDataLst>
              <p:tags r:id="rId1"/>
            </p:custDataLst>
          </p:nvPr>
        </p:nvCxnSpPr>
        <p:spPr>
          <a:xfrm flipV="1">
            <a:off x="1116561" y="3069138"/>
            <a:ext cx="6911975" cy="11430"/>
          </a:xfrm>
          <a:prstGeom prst="line">
            <a:avLst/>
          </a:prstGeom>
          <a:ln w="12700">
            <a:gradFill flip="none" rotWithShape="1">
              <a:gsLst>
                <a:gs pos="0">
                  <a:srgbClr val="CA351C">
                    <a:alpha val="0"/>
                  </a:srgbClr>
                </a:gs>
                <a:gs pos="100000">
                  <a:srgbClr val="CA351C"/>
                </a:gs>
              </a:gsLst>
              <a:lin ang="1080000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2" name="文本框 1"/>
          <p:cNvSpPr txBox="1"/>
          <p:nvPr/>
        </p:nvSpPr>
        <p:spPr>
          <a:xfrm>
            <a:off x="2893060" y="1910715"/>
            <a:ext cx="3705225" cy="4947285"/>
          </a:xfrm>
          <a:prstGeom prst="rect">
            <a:avLst/>
          </a:prstGeom>
          <a:noFill/>
        </p:spPr>
        <p:txBody>
          <a:bodyPr wrap="square" rtlCol="0">
            <a:noAutofit/>
          </a:bodyPr>
          <a:p>
            <a:pPr marL="457200" indent="-457200" algn="l" fontAlgn="auto">
              <a:lnSpc>
                <a:spcPct val="150000"/>
              </a:lnSpc>
              <a:buFont typeface="+mj-lt"/>
              <a:buAutoNum type="arabicPeriod"/>
            </a:pPr>
            <a:r>
              <a:rPr lang="zh-CN" altLang="en-US" sz="2400" dirty="0">
                <a:solidFill>
                  <a:schemeClr val="tx1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t>社会实践智能选题</a:t>
            </a:r>
            <a:endParaRPr lang="zh-CN" altLang="en-US" sz="2400" dirty="0">
              <a:solidFill>
                <a:schemeClr val="tx1"/>
              </a:solidFill>
              <a:effectLst/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457200" indent="-457200" algn="l" fontAlgn="auto">
              <a:lnSpc>
                <a:spcPct val="150000"/>
              </a:lnSpc>
              <a:buFont typeface="+mj-lt"/>
              <a:buAutoNum type="arabicPeriod"/>
            </a:pPr>
            <a:r>
              <a:rPr lang="zh-CN" altLang="en-US" sz="2400" dirty="0">
                <a:solidFill>
                  <a:schemeClr val="tx1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t>匹配实践资源</a:t>
            </a:r>
            <a:endParaRPr lang="zh-CN" altLang="en-US" sz="2400" dirty="0">
              <a:solidFill>
                <a:schemeClr val="tx1"/>
              </a:solidFill>
              <a:effectLst/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457200" indent="-457200" algn="l" fontAlgn="auto">
              <a:lnSpc>
                <a:spcPct val="150000"/>
              </a:lnSpc>
              <a:buFont typeface="+mj-lt"/>
              <a:buAutoNum type="arabicPeriod"/>
            </a:pPr>
            <a:r>
              <a:rPr lang="zh-CN" altLang="en-US" sz="2400" dirty="0">
                <a:solidFill>
                  <a:schemeClr val="tx1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t>录音数据处理</a:t>
            </a:r>
            <a:endParaRPr lang="zh-CN" altLang="en-US" sz="2400" dirty="0">
              <a:solidFill>
                <a:schemeClr val="tx1"/>
              </a:solidFill>
              <a:effectLst/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457200" indent="-457200" algn="l" fontAlgn="auto">
              <a:lnSpc>
                <a:spcPct val="150000"/>
              </a:lnSpc>
              <a:buFont typeface="+mj-lt"/>
              <a:buAutoNum type="arabicPeriod"/>
            </a:pPr>
            <a:r>
              <a:rPr lang="zh-CN" altLang="en-US" sz="2400" dirty="0">
                <a:solidFill>
                  <a:schemeClr val="tx1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t>图片、视频素材生成</a:t>
            </a:r>
            <a:endParaRPr lang="zh-CN" altLang="en-US" sz="2400" dirty="0">
              <a:solidFill>
                <a:schemeClr val="tx1"/>
              </a:solidFill>
              <a:effectLst/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457200" indent="-457200" algn="l" fontAlgn="auto">
              <a:lnSpc>
                <a:spcPct val="150000"/>
              </a:lnSpc>
              <a:buFont typeface="+mj-lt"/>
              <a:buAutoNum type="arabicPeriod"/>
            </a:pPr>
            <a:r>
              <a:rPr lang="zh-CN" altLang="en-US" sz="2400" dirty="0">
                <a:solidFill>
                  <a:schemeClr val="tx1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t>图表生成，</a:t>
            </a:r>
            <a:r>
              <a:rPr lang="en-US" altLang="zh-CN" sz="2400" dirty="0">
                <a:solidFill>
                  <a:schemeClr val="tx1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t>PPT</a:t>
            </a:r>
            <a:r>
              <a:rPr lang="zh-CN" altLang="en-US" sz="2400" dirty="0">
                <a:solidFill>
                  <a:schemeClr val="tx1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t>制作等</a:t>
            </a:r>
            <a:endParaRPr lang="zh-CN" altLang="en-US" sz="2400" dirty="0">
              <a:solidFill>
                <a:schemeClr val="tx1"/>
              </a:solidFill>
              <a:effectLst/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457200" indent="-457200" algn="l" fontAlgn="auto">
              <a:lnSpc>
                <a:spcPct val="150000"/>
              </a:lnSpc>
              <a:buFont typeface="+mj-lt"/>
              <a:buAutoNum type="arabicPeriod"/>
            </a:pPr>
            <a:r>
              <a:rPr lang="zh-CN" altLang="en-US" sz="2400" dirty="0">
                <a:solidFill>
                  <a:schemeClr val="tx1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t>实践报告生成</a:t>
            </a:r>
            <a:endParaRPr lang="zh-CN" altLang="en-US" sz="2400" dirty="0">
              <a:solidFill>
                <a:schemeClr val="tx1"/>
              </a:solidFill>
              <a:effectLst/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049081" name="îṡ1îḍe"/>
          <p:cNvSpPr/>
          <p:nvPr/>
        </p:nvSpPr>
        <p:spPr>
          <a:xfrm>
            <a:off x="2632075" y="1287145"/>
            <a:ext cx="3870960" cy="506730"/>
          </a:xfrm>
          <a:prstGeom prst="roundRect">
            <a:avLst/>
          </a:prstGeom>
          <a:gradFill flip="none" rotWithShape="1">
            <a:gsLst>
              <a:gs pos="0">
                <a:srgbClr val="A22B17">
                  <a:lumMod val="94000"/>
                  <a:lumOff val="6000"/>
                </a:srgbClr>
              </a:gs>
              <a:gs pos="100000">
                <a:srgbClr val="A22B17">
                  <a:alpha val="72000"/>
                  <a:lumMod val="85000"/>
                  <a:lumOff val="15000"/>
                </a:srgb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r>
              <a:rPr lang="zh-CN" altLang="en-US" sz="2200" b="1" dirty="0">
                <a:effectLst/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应用实例</a:t>
            </a:r>
            <a:endParaRPr lang="zh-CN" altLang="en-US" sz="2200" b="1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" name="文本框 2"/>
          <p:cNvSpPr txBox="1"/>
          <p:nvPr>
            <p:custDataLst>
              <p:tags r:id="rId1"/>
            </p:custDataLst>
          </p:nvPr>
        </p:nvSpPr>
        <p:spPr>
          <a:xfrm>
            <a:off x="1115695" y="170180"/>
            <a:ext cx="5499735" cy="887095"/>
          </a:xfrm>
          <a:prstGeom prst="rect">
            <a:avLst/>
          </a:prstGeom>
          <a:noFill/>
        </p:spPr>
        <p:txBody>
          <a:bodyPr wrap="square" rtlCol="0">
            <a:noAutofit/>
          </a:bodyPr>
          <a:p>
            <a:pPr algn="ctr"/>
            <a:r>
              <a:rPr lang="zh-CN" altLang="en-US" sz="2700" dirty="0">
                <a:solidFill>
                  <a:srgbClr val="C14635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rPr>
              <a:t>第三章  </a:t>
            </a:r>
            <a:r>
              <a:rPr lang="zh-CN" altLang="en-US" sz="2700" dirty="0">
                <a:solidFill>
                  <a:srgbClr val="C14635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AI技术赋能大学生社会</a:t>
            </a:r>
            <a:endParaRPr lang="zh-CN" altLang="en-US" sz="2700" dirty="0">
              <a:solidFill>
                <a:srgbClr val="C14635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微软雅黑" panose="020B0503020204020204" pitchFamily="34" charset="-122"/>
              <a:ea typeface="微软雅黑" panose="020B0503020204020204" pitchFamily="34" charset="-122"/>
              <a:sym typeface="+mn-ea"/>
            </a:endParaRPr>
          </a:p>
          <a:p>
            <a:pPr algn="ctr"/>
            <a:r>
              <a:rPr lang="en-US" altLang="zh-CN" sz="2700" dirty="0">
                <a:solidFill>
                  <a:srgbClr val="C14635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               </a:t>
            </a:r>
            <a:r>
              <a:rPr lang="zh-CN" altLang="en-US" sz="2700" dirty="0">
                <a:solidFill>
                  <a:srgbClr val="C14635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实践路径探索与模式创新</a:t>
            </a:r>
            <a:endParaRPr lang="zh-CN" altLang="en-US" sz="2700" dirty="0">
              <a:solidFill>
                <a:srgbClr val="C14635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ctr"/>
            <a:endParaRPr lang="zh-CN" altLang="en-US" sz="2700" dirty="0">
              <a:solidFill>
                <a:srgbClr val="C14635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6" name="文本框 5"/>
          <p:cNvSpPr txBox="1"/>
          <p:nvPr/>
        </p:nvSpPr>
        <p:spPr>
          <a:xfrm>
            <a:off x="1032510" y="5549900"/>
            <a:ext cx="7078980" cy="706755"/>
          </a:xfrm>
          <a:prstGeom prst="rect">
            <a:avLst/>
          </a:prstGeom>
        </p:spPr>
        <p:txBody>
          <a:bodyPr wrap="square">
            <a:spAutoFit/>
          </a:bodyPr>
          <a:p>
            <a:pPr marL="0" indent="0" algn="ctr" defTabSz="266700">
              <a:spcBef>
                <a:spcPct val="0"/>
              </a:spcBef>
              <a:spcAft>
                <a:spcPct val="0"/>
              </a:spcAft>
            </a:pPr>
            <a:r>
              <a:rPr lang="en-US" altLang="zh-CN" sz="2000" b="1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AI</a:t>
            </a:r>
            <a:r>
              <a:rPr lang="zh-CN" altLang="en-US" sz="2000" b="1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技术应当应用于提升实践的效率和质量，切忌完全使用</a:t>
            </a:r>
            <a:r>
              <a:rPr lang="en-US" altLang="zh-CN" sz="2000" b="1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AI</a:t>
            </a:r>
            <a:r>
              <a:rPr lang="zh-CN" altLang="en-US" sz="2000" b="1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代替独立思考，杜绝报告全文</a:t>
            </a:r>
            <a:r>
              <a:rPr lang="en-US" altLang="zh-CN" sz="2000" b="1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AI</a:t>
            </a:r>
            <a:r>
              <a:rPr lang="zh-CN" altLang="en-US" sz="2000" b="1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生成等</a:t>
            </a:r>
            <a:r>
              <a:rPr lang="zh-CN" altLang="en-US" sz="2000" b="1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行为！</a:t>
            </a:r>
            <a:endParaRPr lang="zh-CN" altLang="en-US" sz="2000" b="1" dirty="0">
              <a:solidFill>
                <a:srgbClr val="FF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文本框 17"/>
          <p:cNvSpPr txBox="1"/>
          <p:nvPr/>
        </p:nvSpPr>
        <p:spPr>
          <a:xfrm>
            <a:off x="1067435" y="260985"/>
            <a:ext cx="2163445" cy="5067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>
              <a:buClrTx/>
              <a:buSzTx/>
              <a:buFontTx/>
            </a:pPr>
            <a:r>
              <a:rPr lang="zh-CN" altLang="en-US" sz="2700" dirty="0">
                <a:solidFill>
                  <a:srgbClr val="C14635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思维导图</a:t>
            </a:r>
            <a:endParaRPr lang="zh-CN" altLang="en-US" sz="2700" dirty="0">
              <a:solidFill>
                <a:srgbClr val="C14635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微软雅黑" panose="020B0503020204020204" pitchFamily="34" charset="-122"/>
              <a:ea typeface="微软雅黑" panose="020B0503020204020204" pitchFamily="34" charset="-122"/>
              <a:sym typeface="+mn-ea"/>
            </a:endParaRPr>
          </a:p>
        </p:txBody>
      </p:sp>
      <p:sp>
        <p:nvSpPr>
          <p:cNvPr id="3" name="矩形: 圆角 4"/>
          <p:cNvSpPr/>
          <p:nvPr/>
        </p:nvSpPr>
        <p:spPr>
          <a:xfrm>
            <a:off x="775456" y="3249860"/>
            <a:ext cx="2238375" cy="385445"/>
          </a:xfrm>
          <a:prstGeom prst="roundRect">
            <a:avLst/>
          </a:prstGeom>
          <a:solidFill>
            <a:srgbClr val="C14635"/>
          </a:solidFill>
          <a:ln>
            <a:solidFill>
              <a:srgbClr val="E46D0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350" b="1" dirty="0">
                <a:latin typeface="微软雅黑" panose="020B0503020204020204" pitchFamily="34" charset="-122"/>
                <a:ea typeface="微软雅黑" panose="020B0503020204020204" pitchFamily="34" charset="-122"/>
                <a:cs typeface="+mj-cs"/>
                <a:sym typeface="+mn-ea"/>
              </a:rPr>
              <a:t>社会实践考核与</a:t>
            </a:r>
            <a:r>
              <a:rPr lang="en-US" altLang="zh-CN" sz="1350" b="1" dirty="0">
                <a:latin typeface="微软雅黑" panose="020B0503020204020204" pitchFamily="34" charset="-122"/>
                <a:ea typeface="微软雅黑" panose="020B0503020204020204" pitchFamily="34" charset="-122"/>
                <a:cs typeface="+mj-cs"/>
                <a:sym typeface="+mn-ea"/>
              </a:rPr>
              <a:t>AI</a:t>
            </a:r>
            <a:r>
              <a:rPr lang="zh-CN" altLang="en-US" sz="1350" b="1" dirty="0">
                <a:latin typeface="微软雅黑" panose="020B0503020204020204" pitchFamily="34" charset="-122"/>
                <a:ea typeface="微软雅黑" panose="020B0503020204020204" pitchFamily="34" charset="-122"/>
                <a:cs typeface="+mj-cs"/>
                <a:sym typeface="+mn-ea"/>
              </a:rPr>
              <a:t>赋能</a:t>
            </a:r>
            <a:endParaRPr lang="zh-CN" altLang="en-US" sz="1350" b="1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6" name="标注: 弯曲线形 5"/>
          <p:cNvSpPr/>
          <p:nvPr/>
        </p:nvSpPr>
        <p:spPr>
          <a:xfrm>
            <a:off x="3426460" y="1848485"/>
            <a:ext cx="1774190" cy="323850"/>
          </a:xfrm>
          <a:prstGeom prst="borderCallout2">
            <a:avLst>
              <a:gd name="adj1" fmla="val 55490"/>
              <a:gd name="adj2" fmla="val 4366"/>
              <a:gd name="adj3" fmla="val 55490"/>
              <a:gd name="adj4" fmla="val -10379"/>
              <a:gd name="adj5" fmla="val 421764"/>
              <a:gd name="adj6" fmla="val -50250"/>
            </a:avLst>
          </a:prstGeom>
          <a:solidFill>
            <a:srgbClr val="C14635"/>
          </a:solidFill>
          <a:ln>
            <a:solidFill>
              <a:srgbClr val="C1463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35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社会实践的考核概述</a:t>
            </a:r>
            <a:endParaRPr lang="zh-CN" altLang="en-US" sz="1350" b="1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cxnSp>
        <p:nvCxnSpPr>
          <p:cNvPr id="56" name="直接连接符 55"/>
          <p:cNvCxnSpPr/>
          <p:nvPr/>
        </p:nvCxnSpPr>
        <p:spPr>
          <a:xfrm flipV="1">
            <a:off x="5191039" y="2086496"/>
            <a:ext cx="291465" cy="1905"/>
          </a:xfrm>
          <a:prstGeom prst="line">
            <a:avLst/>
          </a:prstGeom>
          <a:ln w="28575">
            <a:solidFill>
              <a:srgbClr val="C1463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4" name="矩形 53"/>
          <p:cNvSpPr/>
          <p:nvPr/>
        </p:nvSpPr>
        <p:spPr>
          <a:xfrm>
            <a:off x="3538167" y="4357701"/>
            <a:ext cx="1643380" cy="431800"/>
          </a:xfrm>
          <a:prstGeom prst="rect">
            <a:avLst/>
          </a:prstGeom>
          <a:solidFill>
            <a:srgbClr val="C14635"/>
          </a:solidFill>
          <a:ln>
            <a:solidFill>
              <a:srgbClr val="C1463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35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AI</a:t>
            </a:r>
            <a:r>
              <a:rPr lang="zh-CN" altLang="en-US" sz="135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赋能</a:t>
            </a:r>
            <a:r>
              <a:rPr lang="zh-CN" altLang="en-US" sz="135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社会实践</a:t>
            </a:r>
            <a:endParaRPr lang="zh-CN" altLang="en-US" sz="1350" b="1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3" name="左中括号 12"/>
          <p:cNvSpPr/>
          <p:nvPr/>
        </p:nvSpPr>
        <p:spPr>
          <a:xfrm>
            <a:off x="5482590" y="1405255"/>
            <a:ext cx="200660" cy="1576070"/>
          </a:xfrm>
          <a:prstGeom prst="leftBracket">
            <a:avLst/>
          </a:prstGeom>
          <a:noFill/>
          <a:ln w="28575">
            <a:solidFill>
              <a:srgbClr val="C1463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zh-CN" altLang="en-US" sz="1350" b="1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5" name="矩形 14"/>
          <p:cNvSpPr/>
          <p:nvPr/>
        </p:nvSpPr>
        <p:spPr>
          <a:xfrm>
            <a:off x="5641340" y="1068705"/>
            <a:ext cx="2110740" cy="546735"/>
          </a:xfrm>
          <a:prstGeom prst="rect">
            <a:avLst/>
          </a:prstGeom>
          <a:solidFill>
            <a:schemeClr val="bg1"/>
          </a:solidFill>
          <a:ln>
            <a:solidFill>
              <a:srgbClr val="E46D0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hangingPunct="1"/>
            <a:r>
              <a:rPr lang="zh-CN" altLang="en-US" sz="1400" b="1" dirty="0">
                <a:solidFill>
                  <a:schemeClr val="tx1"/>
                </a:solidFill>
              </a:rPr>
              <a:t>社会实践考核评价</a:t>
            </a:r>
            <a:endParaRPr lang="zh-CN" altLang="en-US" sz="1400" b="1" dirty="0">
              <a:solidFill>
                <a:schemeClr val="tx1"/>
              </a:solidFill>
            </a:endParaRPr>
          </a:p>
          <a:p>
            <a:pPr algn="ctr" eaLnBrk="1" hangingPunct="1"/>
            <a:r>
              <a:rPr lang="zh-CN" altLang="en-US" sz="1400" b="1" dirty="0">
                <a:solidFill>
                  <a:schemeClr val="tx1"/>
                </a:solidFill>
              </a:rPr>
              <a:t>的目的与意义</a:t>
            </a:r>
            <a:endParaRPr lang="zh-CN" altLang="en-US" sz="1400" b="1" dirty="0">
              <a:solidFill>
                <a:schemeClr val="tx1"/>
              </a:solidFill>
            </a:endParaRPr>
          </a:p>
        </p:txBody>
      </p:sp>
      <p:sp>
        <p:nvSpPr>
          <p:cNvPr id="16" name="矩形 15"/>
          <p:cNvSpPr/>
          <p:nvPr/>
        </p:nvSpPr>
        <p:spPr>
          <a:xfrm>
            <a:off x="5647690" y="2773045"/>
            <a:ext cx="2104390" cy="520700"/>
          </a:xfrm>
          <a:prstGeom prst="rect">
            <a:avLst/>
          </a:prstGeom>
          <a:solidFill>
            <a:schemeClr val="bg1"/>
          </a:solidFill>
          <a:ln>
            <a:solidFill>
              <a:srgbClr val="E46D0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hangingPunct="1"/>
            <a:r>
              <a:rPr lang="zh-CN" altLang="en-US" sz="1400" b="1" dirty="0">
                <a:solidFill>
                  <a:schemeClr val="tx1"/>
                </a:solidFill>
              </a:rPr>
              <a:t>社会实践的考核方式与应对方法</a:t>
            </a:r>
            <a:endParaRPr lang="zh-CN" altLang="en-US" sz="1400" b="1" dirty="0">
              <a:solidFill>
                <a:schemeClr val="tx1"/>
              </a:solidFill>
            </a:endParaRPr>
          </a:p>
        </p:txBody>
      </p:sp>
      <p:cxnSp>
        <p:nvCxnSpPr>
          <p:cNvPr id="26" name="直接连接符 25"/>
          <p:cNvCxnSpPr/>
          <p:nvPr/>
        </p:nvCxnSpPr>
        <p:spPr>
          <a:xfrm>
            <a:off x="2572038" y="3649114"/>
            <a:ext cx="736600" cy="915035"/>
          </a:xfrm>
          <a:prstGeom prst="line">
            <a:avLst/>
          </a:prstGeom>
          <a:solidFill>
            <a:srgbClr val="C14635"/>
          </a:solidFill>
          <a:ln>
            <a:solidFill>
              <a:srgbClr val="C1463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28" name="直接连接符 27"/>
          <p:cNvCxnSpPr/>
          <p:nvPr/>
        </p:nvCxnSpPr>
        <p:spPr>
          <a:xfrm>
            <a:off x="3311426" y="4563441"/>
            <a:ext cx="241017" cy="0"/>
          </a:xfrm>
          <a:prstGeom prst="line">
            <a:avLst/>
          </a:prstGeom>
          <a:solidFill>
            <a:srgbClr val="C14635"/>
          </a:solidFill>
          <a:ln>
            <a:solidFill>
              <a:srgbClr val="C1463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29" name="直接连接符 28"/>
          <p:cNvCxnSpPr/>
          <p:nvPr/>
        </p:nvCxnSpPr>
        <p:spPr>
          <a:xfrm>
            <a:off x="5097530" y="4657267"/>
            <a:ext cx="524646" cy="0"/>
          </a:xfrm>
          <a:prstGeom prst="line">
            <a:avLst/>
          </a:prstGeom>
          <a:ln w="28575">
            <a:solidFill>
              <a:srgbClr val="C1463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左中括号 29"/>
          <p:cNvSpPr/>
          <p:nvPr/>
        </p:nvSpPr>
        <p:spPr>
          <a:xfrm>
            <a:off x="5608369" y="4211471"/>
            <a:ext cx="261572" cy="1080504"/>
          </a:xfrm>
          <a:prstGeom prst="leftBracket">
            <a:avLst/>
          </a:prstGeom>
          <a:noFill/>
          <a:ln w="28575">
            <a:solidFill>
              <a:srgbClr val="C1463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zh-CN" altLang="en-US" sz="1350" b="1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1" name="矩形 30"/>
          <p:cNvSpPr/>
          <p:nvPr/>
        </p:nvSpPr>
        <p:spPr>
          <a:xfrm>
            <a:off x="5647690" y="1926590"/>
            <a:ext cx="2110105" cy="535305"/>
          </a:xfrm>
          <a:prstGeom prst="rect">
            <a:avLst/>
          </a:prstGeom>
          <a:solidFill>
            <a:schemeClr val="bg1"/>
          </a:solidFill>
          <a:ln>
            <a:solidFill>
              <a:srgbClr val="E46D0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hangingPunct="1"/>
            <a:r>
              <a:rPr lang="zh-CN" altLang="en-US" sz="1400" b="1" dirty="0">
                <a:solidFill>
                  <a:schemeClr val="tx1"/>
                </a:solidFill>
                <a:sym typeface="+mn-ea"/>
              </a:rPr>
              <a:t>社会实践考核评价</a:t>
            </a:r>
            <a:endParaRPr lang="zh-CN" altLang="en-US" sz="1400" b="1" dirty="0">
              <a:solidFill>
                <a:schemeClr val="tx1"/>
              </a:solidFill>
            </a:endParaRPr>
          </a:p>
          <a:p>
            <a:pPr algn="ctr" eaLnBrk="1" hangingPunct="1"/>
            <a:r>
              <a:rPr lang="zh-CN" altLang="en-US" sz="1400" b="1" dirty="0">
                <a:solidFill>
                  <a:schemeClr val="tx1"/>
                </a:solidFill>
                <a:sym typeface="+mn-ea"/>
              </a:rPr>
              <a:t>的内容</a:t>
            </a:r>
            <a:endParaRPr lang="zh-CN" altLang="en-US" sz="1400" b="1" dirty="0">
              <a:solidFill>
                <a:schemeClr val="tx1"/>
              </a:solidFill>
            </a:endParaRPr>
          </a:p>
        </p:txBody>
      </p:sp>
      <p:sp>
        <p:nvSpPr>
          <p:cNvPr id="61" name="矩形 60"/>
          <p:cNvSpPr/>
          <p:nvPr/>
        </p:nvSpPr>
        <p:spPr>
          <a:xfrm>
            <a:off x="5808980" y="5060950"/>
            <a:ext cx="2109470" cy="473075"/>
          </a:xfrm>
          <a:prstGeom prst="rect">
            <a:avLst/>
          </a:prstGeom>
          <a:solidFill>
            <a:schemeClr val="bg1"/>
          </a:solidFill>
          <a:ln>
            <a:solidFill>
              <a:srgbClr val="E46D0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hangingPunct="1"/>
            <a:r>
              <a:rPr lang="zh-CN" altLang="en-US" sz="1400" b="1" dirty="0">
                <a:solidFill>
                  <a:schemeClr val="tx1"/>
                </a:solidFill>
              </a:rPr>
              <a:t>应用实例</a:t>
            </a:r>
            <a:endParaRPr lang="zh-CN" altLang="en-US" sz="1400" b="1" dirty="0">
              <a:solidFill>
                <a:schemeClr val="tx1"/>
              </a:solidFill>
            </a:endParaRPr>
          </a:p>
        </p:txBody>
      </p:sp>
      <p:sp>
        <p:nvSpPr>
          <p:cNvPr id="2" name="矩形 1"/>
          <p:cNvSpPr/>
          <p:nvPr/>
        </p:nvSpPr>
        <p:spPr>
          <a:xfrm>
            <a:off x="5809011" y="3974402"/>
            <a:ext cx="2110108" cy="473075"/>
          </a:xfrm>
          <a:prstGeom prst="rect">
            <a:avLst/>
          </a:prstGeom>
          <a:solidFill>
            <a:schemeClr val="bg1"/>
          </a:solidFill>
          <a:ln>
            <a:solidFill>
              <a:srgbClr val="E46D0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 eaLnBrk="1" hangingPunct="1"/>
            <a:r>
              <a:rPr lang="zh-CN" altLang="en-US" sz="1400" b="1" dirty="0">
                <a:solidFill>
                  <a:schemeClr val="tx1"/>
                </a:solidFill>
              </a:rPr>
              <a:t>常用的</a:t>
            </a:r>
            <a:r>
              <a:rPr lang="en-US" altLang="zh-CN" sz="1400" b="1" dirty="0">
                <a:solidFill>
                  <a:schemeClr val="tx1"/>
                </a:solidFill>
              </a:rPr>
              <a:t>AI</a:t>
            </a:r>
            <a:r>
              <a:rPr lang="zh-CN" altLang="en-US" sz="1400" b="1" dirty="0">
                <a:solidFill>
                  <a:schemeClr val="tx1"/>
                </a:solidFill>
              </a:rPr>
              <a:t>工具</a:t>
            </a:r>
            <a:endParaRPr lang="zh-CN" altLang="en-US" sz="1400" b="1" dirty="0">
              <a:solidFill>
                <a:schemeClr val="tx1"/>
              </a:solidFill>
            </a:endParaRPr>
          </a:p>
        </p:txBody>
      </p:sp>
      <p:sp>
        <p:nvSpPr>
          <p:cNvPr id="4" name="矩形 3"/>
          <p:cNvSpPr/>
          <p:nvPr/>
        </p:nvSpPr>
        <p:spPr>
          <a:xfrm>
            <a:off x="3508957" y="3218511"/>
            <a:ext cx="1643380" cy="431800"/>
          </a:xfrm>
          <a:prstGeom prst="rect">
            <a:avLst/>
          </a:prstGeom>
          <a:solidFill>
            <a:srgbClr val="C14635"/>
          </a:solidFill>
          <a:ln>
            <a:solidFill>
              <a:srgbClr val="C1463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r>
              <a:rPr lang="zh-CN" altLang="en-US" sz="135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校级重点</a:t>
            </a:r>
            <a:r>
              <a:rPr lang="zh-CN" altLang="en-US" sz="135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项目</a:t>
            </a:r>
            <a:endParaRPr lang="zh-CN" altLang="en-US" sz="1350" b="1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cxnSp>
        <p:nvCxnSpPr>
          <p:cNvPr id="5" name="直接连接符 4"/>
          <p:cNvCxnSpPr>
            <a:stCxn id="3" idx="3"/>
            <a:endCxn id="4" idx="1"/>
          </p:cNvCxnSpPr>
          <p:nvPr/>
        </p:nvCxnSpPr>
        <p:spPr>
          <a:xfrm flipV="1">
            <a:off x="3013998" y="3434484"/>
            <a:ext cx="495300" cy="8255"/>
          </a:xfrm>
          <a:prstGeom prst="line">
            <a:avLst/>
          </a:prstGeom>
          <a:solidFill>
            <a:srgbClr val="C14635"/>
          </a:solidFill>
          <a:ln>
            <a:solidFill>
              <a:srgbClr val="C1463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</p:spTree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圆角矩形 4"/>
          <p:cNvSpPr/>
          <p:nvPr/>
        </p:nvSpPr>
        <p:spPr>
          <a:xfrm>
            <a:off x="1568450" y="3748088"/>
            <a:ext cx="6007100" cy="809625"/>
          </a:xfrm>
          <a:prstGeom prst="rect">
            <a:avLst/>
          </a:prstGeom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137160" tIns="137160" rIns="137160" bIns="137160" spcCol="1270" anchor="ctr"/>
          <a:lstStyle/>
          <a:p>
            <a:pPr defTabSz="1600200">
              <a:lnSpc>
                <a:spcPct val="90000"/>
              </a:lnSpc>
              <a:spcAft>
                <a:spcPct val="35000"/>
              </a:spcAft>
              <a:defRPr/>
            </a:pPr>
            <a:endParaRPr lang="zh-CN" altLang="en-US" sz="3600">
              <a:solidFill>
                <a:prstClr val="white"/>
              </a:solidFill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353695" y="2728595"/>
            <a:ext cx="5299075" cy="2120900"/>
          </a:xfrm>
          <a:prstGeom prst="rect">
            <a:avLst/>
          </a:prstGeom>
          <a:ln>
            <a:solidFill>
              <a:srgbClr val="EF720B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>
            <a:noAutofit/>
          </a:bodyPr>
          <a:lstStyle/>
          <a:p>
            <a:pPr marL="535305" indent="-535305">
              <a:spcAft>
                <a:spcPts val="1200"/>
              </a:spcAft>
              <a:buFontTx/>
              <a:buAutoNum type="arabicPeriod"/>
              <a:defRPr/>
            </a:pPr>
            <a:r>
              <a:rPr lang="zh-CN" altLang="en-US" sz="24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社会实践考核评价的标准是什么？</a:t>
            </a:r>
            <a:endParaRPr lang="zh-CN" altLang="en-US" sz="2400" dirty="0">
              <a:solidFill>
                <a:prstClr val="black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535305" indent="-535305">
              <a:spcAft>
                <a:spcPts val="1200"/>
              </a:spcAft>
              <a:buFontTx/>
              <a:buAutoNum type="arabicPeriod"/>
              <a:defRPr/>
            </a:pPr>
            <a:r>
              <a:rPr lang="zh-CN" altLang="en-US" sz="24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我校采用的考评方式是什么？</a:t>
            </a:r>
            <a:endParaRPr lang="zh-CN" altLang="en-US" sz="2400" dirty="0">
              <a:solidFill>
                <a:prstClr val="black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535305" indent="-535305">
              <a:spcAft>
                <a:spcPts val="1200"/>
              </a:spcAft>
              <a:buFontTx/>
              <a:buAutoNum type="arabicPeriod"/>
              <a:defRPr/>
            </a:pPr>
            <a:r>
              <a:rPr lang="zh-CN" altLang="en-US" sz="24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校级重点项目</a:t>
            </a:r>
            <a:r>
              <a:rPr lang="zh-CN" altLang="en-US" sz="24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有哪些？</a:t>
            </a:r>
            <a:endParaRPr lang="zh-CN" altLang="en-US" sz="2400" dirty="0">
              <a:solidFill>
                <a:prstClr val="black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535305" indent="-535305">
              <a:spcAft>
                <a:spcPts val="1200"/>
              </a:spcAft>
              <a:buFontTx/>
              <a:buAutoNum type="arabicPeriod"/>
              <a:defRPr/>
            </a:pPr>
            <a:r>
              <a:rPr lang="zh-CN" altLang="en-US" sz="24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常用的</a:t>
            </a:r>
            <a:r>
              <a:rPr lang="en-US" altLang="zh-CN" sz="24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AI</a:t>
            </a:r>
            <a:r>
              <a:rPr lang="zh-CN" altLang="en-US" sz="24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工具</a:t>
            </a:r>
            <a:r>
              <a:rPr lang="zh-CN" altLang="en-US" sz="24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有哪些？</a:t>
            </a:r>
            <a:endParaRPr lang="zh-CN" altLang="en-US" sz="2400" dirty="0">
              <a:solidFill>
                <a:prstClr val="black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7" name="图片 6"/>
          <p:cNvPicPr>
            <a:picLocks noChangeAspect="1"/>
          </p:cNvPicPr>
          <p:nvPr/>
        </p:nvPicPr>
        <p:blipFill>
          <a:blip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68035" y="1916430"/>
            <a:ext cx="3060065" cy="2434590"/>
          </a:xfrm>
          <a:prstGeom prst="rect">
            <a:avLst/>
          </a:prstGeom>
        </p:spPr>
      </p:pic>
      <p:sp>
        <p:nvSpPr>
          <p:cNvPr id="2" name="文本框 1"/>
          <p:cNvSpPr txBox="1"/>
          <p:nvPr>
            <p:custDataLst>
              <p:tags r:id="rId2"/>
            </p:custDataLst>
          </p:nvPr>
        </p:nvSpPr>
        <p:spPr>
          <a:xfrm>
            <a:off x="-684584" y="195977"/>
            <a:ext cx="6552728" cy="52197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zh-CN" altLang="en-US" sz="2800" dirty="0">
                <a:solidFill>
                  <a:srgbClr val="C14635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rPr>
              <a:t>课后思考与作业</a:t>
            </a:r>
            <a:endParaRPr lang="zh-CN" altLang="en-US" sz="2700" dirty="0">
              <a:solidFill>
                <a:srgbClr val="C14635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矩形 6"/>
          <p:cNvSpPr/>
          <p:nvPr>
            <p:custDataLst>
              <p:tags r:id="rId1"/>
            </p:custDataLst>
          </p:nvPr>
        </p:nvSpPr>
        <p:spPr>
          <a:xfrm>
            <a:off x="369094" y="1203008"/>
            <a:ext cx="5107781" cy="4298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lang="zh-CN" altLang="en-US" sz="2200" b="1" noProof="0" dirty="0">
                <a:ln>
                  <a:noFill/>
                </a:ln>
                <a:solidFill>
                  <a:srgbClr val="CE3A21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社会实践参考用书及资料</a:t>
            </a:r>
            <a:endParaRPr lang="zh-CN" altLang="en-US" sz="2200" b="1" noProof="0" dirty="0">
              <a:ln>
                <a:noFill/>
              </a:ln>
              <a:solidFill>
                <a:srgbClr val="CE3A21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grpSp>
        <p:nvGrpSpPr>
          <p:cNvPr id="15" name="组合 14"/>
          <p:cNvGrpSpPr/>
          <p:nvPr/>
        </p:nvGrpSpPr>
        <p:grpSpPr>
          <a:xfrm>
            <a:off x="369094" y="1925479"/>
            <a:ext cx="8478401" cy="3833138"/>
            <a:chOff x="116" y="1951"/>
            <a:chExt cx="19198" cy="9015"/>
          </a:xfrm>
        </p:grpSpPr>
        <p:pic>
          <p:nvPicPr>
            <p:cNvPr id="2" name="图片 1"/>
            <p:cNvPicPr>
              <a:picLocks noChangeAspect="1"/>
            </p:cNvPicPr>
            <p:nvPr>
              <p:custDataLst>
                <p:tags r:id="rId2"/>
              </p:custDataLst>
            </p:nvPr>
          </p:nvPicPr>
          <p:blipFill>
            <a:blip r:embed="rId3"/>
            <a:stretch>
              <a:fillRect/>
            </a:stretch>
          </p:blipFill>
          <p:spPr>
            <a:xfrm>
              <a:off x="116" y="1951"/>
              <a:ext cx="3649" cy="5090"/>
            </a:xfrm>
            <a:prstGeom prst="rect">
              <a:avLst/>
            </a:prstGeom>
            <a:effectLst/>
          </p:spPr>
        </p:pic>
        <p:pic>
          <p:nvPicPr>
            <p:cNvPr id="4" name="图片 3"/>
            <p:cNvPicPr>
              <a:picLocks noChangeAspect="1"/>
            </p:cNvPicPr>
            <p:nvPr>
              <p:custDataLst>
                <p:tags r:id="rId4"/>
              </p:custDataLst>
            </p:nvPr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749" y="2069"/>
              <a:ext cx="3583" cy="5181"/>
            </a:xfrm>
            <a:prstGeom prst="roundRect">
              <a:avLst>
                <a:gd name="adj" fmla="val 8594"/>
              </a:avLst>
            </a:prstGeom>
            <a:solidFill>
              <a:srgbClr val="FFFFFF">
                <a:shade val="85000"/>
              </a:srgbClr>
            </a:solidFill>
            <a:ln>
              <a:noFill/>
            </a:ln>
            <a:effectLst/>
          </p:spPr>
        </p:pic>
        <p:pic>
          <p:nvPicPr>
            <p:cNvPr id="5" name="图片 4"/>
            <p:cNvPicPr>
              <a:picLocks noChangeAspect="1"/>
            </p:cNvPicPr>
            <p:nvPr>
              <p:custDataLst>
                <p:tags r:id="rId6"/>
              </p:custDataLst>
            </p:nvPr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5556" y="2069"/>
              <a:ext cx="3577" cy="5182"/>
            </a:xfrm>
            <a:prstGeom prst="roundRect">
              <a:avLst>
                <a:gd name="adj" fmla="val 8594"/>
              </a:avLst>
            </a:prstGeom>
            <a:solidFill>
              <a:srgbClr val="FFFFFF">
                <a:shade val="85000"/>
              </a:srgbClr>
            </a:solidFill>
            <a:ln>
              <a:noFill/>
            </a:ln>
            <a:effectLst/>
          </p:spPr>
        </p:pic>
        <p:grpSp>
          <p:nvGrpSpPr>
            <p:cNvPr id="6" name="组合 5"/>
            <p:cNvGrpSpPr/>
            <p:nvPr/>
          </p:nvGrpSpPr>
          <p:grpSpPr>
            <a:xfrm>
              <a:off x="7741" y="2069"/>
              <a:ext cx="11573" cy="8897"/>
              <a:chOff x="6418" y="2009"/>
              <a:chExt cx="11573" cy="8897"/>
            </a:xfrm>
          </p:grpSpPr>
          <p:cxnSp>
            <p:nvCxnSpPr>
              <p:cNvPr id="251" name="PA-直接连接符 183"/>
              <p:cNvCxnSpPr/>
              <p:nvPr>
                <p:custDataLst>
                  <p:tags r:id="rId8"/>
                </p:custDataLst>
              </p:nvPr>
            </p:nvCxnSpPr>
            <p:spPr>
              <a:xfrm>
                <a:off x="14400" y="7522"/>
                <a:ext cx="0" cy="2951"/>
              </a:xfrm>
              <a:prstGeom prst="line">
                <a:avLst/>
              </a:prstGeom>
              <a:ln>
                <a:gradFill>
                  <a:gsLst>
                    <a:gs pos="0">
                      <a:srgbClr val="A22B17">
                        <a:alpha val="54000"/>
                      </a:srgbClr>
                    </a:gs>
                    <a:gs pos="60000">
                      <a:srgbClr val="A22B17">
                        <a:alpha val="0"/>
                      </a:srgbClr>
                    </a:gs>
                  </a:gsLst>
                  <a:lin ang="5400000" scaled="1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4" name="矩形 13"/>
              <p:cNvSpPr/>
              <p:nvPr>
                <p:custDataLst>
                  <p:tags r:id="rId9"/>
                </p:custDataLst>
              </p:nvPr>
            </p:nvSpPr>
            <p:spPr>
              <a:xfrm>
                <a:off x="14402" y="7742"/>
                <a:ext cx="3589" cy="2788"/>
              </a:xfrm>
              <a:prstGeom prst="rect">
                <a:avLst/>
              </a:prstGeom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wrap="square">
                <a:noAutofit/>
              </a:bodyPr>
              <a:lstStyle/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/>
                </a:pPr>
                <a:r>
                  <a:rPr kumimoji="0" lang="zh-CN" altLang="en-US" sz="12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楷体" panose="02010609060101010101" pitchFamily="49" charset="-122"/>
                    <a:ea typeface="楷体" panose="02010609060101010101" pitchFamily="49" charset="-122"/>
                    <a:cs typeface="Times New Roman" panose="02020603050405020304" pitchFamily="18" charset="0"/>
                  </a:rPr>
                  <a:t>团中央学校部、全国学联秘书处</a:t>
                </a:r>
                <a:r>
                  <a:rPr kumimoji="0" lang="en-US" altLang="zh-CN" sz="12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C00000"/>
                    </a:solidFill>
                    <a:effectLst/>
                    <a:uLnTx/>
                    <a:uFillTx/>
                    <a:latin typeface="楷体" panose="02010609060101010101" pitchFamily="49" charset="-122"/>
                    <a:ea typeface="楷体" panose="02010609060101010101" pitchFamily="49" charset="-122"/>
                    <a:cs typeface="Times New Roman" panose="02020603050405020304" pitchFamily="18" charset="0"/>
                  </a:rPr>
                  <a:t>:《</a:t>
                </a:r>
                <a:r>
                  <a:rPr kumimoji="0" lang="zh-CN" altLang="en-US" sz="12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C00000"/>
                    </a:solidFill>
                    <a:effectLst/>
                    <a:uLnTx/>
                    <a:uFillTx/>
                    <a:latin typeface="楷体" panose="02010609060101010101" pitchFamily="49" charset="-122"/>
                    <a:ea typeface="楷体" panose="02010609060101010101" pitchFamily="49" charset="-122"/>
                    <a:cs typeface="Times New Roman" panose="02020603050405020304" pitchFamily="18" charset="0"/>
                  </a:rPr>
                  <a:t>青春实践路</a:t>
                </a:r>
                <a:r>
                  <a:rPr kumimoji="0" lang="en-US" altLang="zh-CN" sz="12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C00000"/>
                    </a:solidFill>
                    <a:effectLst/>
                    <a:uLnTx/>
                    <a:uFillTx/>
                    <a:latin typeface="楷体" panose="02010609060101010101" pitchFamily="49" charset="-122"/>
                    <a:ea typeface="楷体" panose="02010609060101010101" pitchFamily="49" charset="-122"/>
                    <a:cs typeface="Times New Roman" panose="02020603050405020304" pitchFamily="18" charset="0"/>
                  </a:rPr>
                  <a:t>——“</a:t>
                </a:r>
                <a:r>
                  <a:rPr kumimoji="0" lang="zh-CN" altLang="en-US" sz="12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C00000"/>
                    </a:solidFill>
                    <a:effectLst/>
                    <a:uLnTx/>
                    <a:uFillTx/>
                    <a:latin typeface="楷体" panose="02010609060101010101" pitchFamily="49" charset="-122"/>
                    <a:ea typeface="楷体" panose="02010609060101010101" pitchFamily="49" charset="-122"/>
                    <a:cs typeface="Times New Roman" panose="02020603050405020304" pitchFamily="18" charset="0"/>
                  </a:rPr>
                  <a:t>三下乡”社会实践活动指南</a:t>
                </a:r>
                <a:r>
                  <a:rPr kumimoji="0" lang="en-US" altLang="zh-CN" sz="12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C00000"/>
                    </a:solidFill>
                    <a:effectLst/>
                    <a:uLnTx/>
                    <a:uFillTx/>
                    <a:latin typeface="楷体" panose="02010609060101010101" pitchFamily="49" charset="-122"/>
                    <a:ea typeface="楷体" panose="02010609060101010101" pitchFamily="49" charset="-122"/>
                    <a:cs typeface="Times New Roman" panose="02020603050405020304" pitchFamily="18" charset="0"/>
                  </a:rPr>
                  <a:t>》</a:t>
                </a:r>
                <a:r>
                  <a:rPr kumimoji="0" lang="en-US" altLang="zh-CN" sz="12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楷体" panose="02010609060101010101" pitchFamily="49" charset="-122"/>
                    <a:ea typeface="楷体" panose="02010609060101010101" pitchFamily="49" charset="-122"/>
                    <a:cs typeface="Times New Roman" panose="02020603050405020304" pitchFamily="18" charset="0"/>
                  </a:rPr>
                  <a:t>,</a:t>
                </a:r>
                <a:r>
                  <a:rPr kumimoji="0" lang="zh-CN" altLang="en-US" sz="12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楷体" panose="02010609060101010101" pitchFamily="49" charset="-122"/>
                    <a:ea typeface="楷体" panose="02010609060101010101" pitchFamily="49" charset="-122"/>
                    <a:cs typeface="Times New Roman" panose="02020603050405020304" pitchFamily="18" charset="0"/>
                  </a:rPr>
                  <a:t>电子工业出版社</a:t>
                </a:r>
                <a:r>
                  <a:rPr kumimoji="0" lang="en-US" altLang="zh-CN" sz="12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楷体" panose="02010609060101010101" pitchFamily="49" charset="-122"/>
                    <a:ea typeface="楷体" panose="02010609060101010101" pitchFamily="49" charset="-122"/>
                    <a:cs typeface="Times New Roman" panose="02020603050405020304" pitchFamily="18" charset="0"/>
                  </a:rPr>
                  <a:t>2017</a:t>
                </a:r>
                <a:r>
                  <a:rPr kumimoji="0" lang="zh-CN" altLang="en-US" sz="12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楷体" panose="02010609060101010101" pitchFamily="49" charset="-122"/>
                    <a:ea typeface="楷体" panose="02010609060101010101" pitchFamily="49" charset="-122"/>
                    <a:cs typeface="Times New Roman" panose="02020603050405020304" pitchFamily="18" charset="0"/>
                  </a:rPr>
                  <a:t>年版</a:t>
                </a:r>
                <a:r>
                  <a:rPr kumimoji="0" lang="en-US" altLang="zh-CN" sz="12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楷体" panose="02010609060101010101" pitchFamily="49" charset="-122"/>
                    <a:ea typeface="楷体" panose="02010609060101010101" pitchFamily="49" charset="-122"/>
                    <a:cs typeface="Times New Roman" panose="02020603050405020304" pitchFamily="18" charset="0"/>
                  </a:rPr>
                  <a:t>.</a:t>
                </a:r>
                <a:endParaRPr kumimoji="0" lang="en-US" altLang="zh-CN" sz="12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楷体" panose="02010609060101010101" pitchFamily="49" charset="-122"/>
                  <a:ea typeface="楷体" panose="02010609060101010101" pitchFamily="49" charset="-122"/>
                  <a:cs typeface="Times New Roman" panose="02020603050405020304" pitchFamily="18" charset="0"/>
                </a:endParaRPr>
              </a:p>
            </p:txBody>
          </p:sp>
          <p:pic>
            <p:nvPicPr>
              <p:cNvPr id="3" name="图片 2"/>
              <p:cNvPicPr>
                <a:picLocks noChangeAspect="1"/>
              </p:cNvPicPr>
              <p:nvPr>
                <p:custDataLst>
                  <p:tags r:id="rId10"/>
                </p:custDataLst>
              </p:nvPr>
            </p:nvPicPr>
            <p:blipFill>
              <a:blip r:embed="rId11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6418" y="2009"/>
                <a:ext cx="3784" cy="5089"/>
              </a:xfrm>
              <a:prstGeom prst="roundRect">
                <a:avLst>
                  <a:gd name="adj" fmla="val 8594"/>
                </a:avLst>
              </a:prstGeom>
              <a:solidFill>
                <a:srgbClr val="FFFFFF">
                  <a:shade val="85000"/>
                </a:srgbClr>
              </a:solidFill>
              <a:ln>
                <a:noFill/>
              </a:ln>
              <a:effectLst/>
            </p:spPr>
          </p:pic>
          <p:sp>
            <p:nvSpPr>
              <p:cNvPr id="8" name="矩形 7"/>
              <p:cNvSpPr/>
              <p:nvPr>
                <p:custDataLst>
                  <p:tags r:id="rId12"/>
                </p:custDataLst>
              </p:nvPr>
            </p:nvSpPr>
            <p:spPr>
              <a:xfrm>
                <a:off x="6696" y="7742"/>
                <a:ext cx="3468" cy="1952"/>
              </a:xfrm>
              <a:prstGeom prst="rect">
                <a:avLst/>
              </a:prstGeom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wrap="square">
                <a:spAutoFit/>
              </a:bodyPr>
              <a:lstStyle/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/>
                </a:pPr>
                <a:r>
                  <a:rPr kumimoji="0" lang="zh-CN" altLang="en-US" sz="12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楷体" panose="02010609060101010101" pitchFamily="49" charset="-122"/>
                    <a:ea typeface="楷体" panose="02010609060101010101" pitchFamily="49" charset="-122"/>
                    <a:cs typeface="Times New Roman" panose="02020603050405020304" pitchFamily="18" charset="0"/>
                  </a:rPr>
                  <a:t>刘晓东：</a:t>
                </a:r>
                <a:r>
                  <a:rPr kumimoji="0" lang="en-US" altLang="zh-CN" sz="12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C00000"/>
                    </a:solidFill>
                    <a:effectLst/>
                    <a:uLnTx/>
                    <a:uFillTx/>
                    <a:latin typeface="楷体" panose="02010609060101010101" pitchFamily="49" charset="-122"/>
                    <a:ea typeface="楷体" panose="02010609060101010101" pitchFamily="49" charset="-122"/>
                    <a:cs typeface="Times New Roman" panose="02020603050405020304" pitchFamily="18" charset="0"/>
                  </a:rPr>
                  <a:t>《</a:t>
                </a:r>
                <a:r>
                  <a:rPr kumimoji="0" lang="zh-CN" altLang="en-US" sz="12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C00000"/>
                    </a:solidFill>
                    <a:effectLst/>
                    <a:uLnTx/>
                    <a:uFillTx/>
                    <a:latin typeface="楷体" panose="02010609060101010101" pitchFamily="49" charset="-122"/>
                    <a:ea typeface="楷体" panose="02010609060101010101" pitchFamily="49" charset="-122"/>
                    <a:cs typeface="Times New Roman" panose="02020603050405020304" pitchFamily="18" charset="0"/>
                  </a:rPr>
                  <a:t>大学生社会实践理论与实务</a:t>
                </a:r>
                <a:r>
                  <a:rPr kumimoji="0" lang="en-US" altLang="zh-CN" sz="12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C00000"/>
                    </a:solidFill>
                    <a:effectLst/>
                    <a:uLnTx/>
                    <a:uFillTx/>
                    <a:latin typeface="楷体" panose="02010609060101010101" pitchFamily="49" charset="-122"/>
                    <a:ea typeface="楷体" panose="02010609060101010101" pitchFamily="49" charset="-122"/>
                    <a:cs typeface="Times New Roman" panose="02020603050405020304" pitchFamily="18" charset="0"/>
                  </a:rPr>
                  <a:t>》</a:t>
                </a:r>
                <a:r>
                  <a:rPr kumimoji="0" lang="zh-CN" altLang="en-US" sz="12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楷体" panose="02010609060101010101" pitchFamily="49" charset="-122"/>
                    <a:ea typeface="楷体" panose="02010609060101010101" pitchFamily="49" charset="-122"/>
                    <a:cs typeface="Times New Roman" panose="02020603050405020304" pitchFamily="18" charset="0"/>
                  </a:rPr>
                  <a:t>，高等教育出版社</a:t>
                </a:r>
                <a:r>
                  <a:rPr kumimoji="0" lang="en-US" altLang="zh-CN" sz="12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楷体" panose="02010609060101010101" pitchFamily="49" charset="-122"/>
                    <a:ea typeface="楷体" panose="02010609060101010101" pitchFamily="49" charset="-122"/>
                    <a:cs typeface="Times New Roman" panose="02020603050405020304" pitchFamily="18" charset="0"/>
                  </a:rPr>
                  <a:t>2014</a:t>
                </a:r>
                <a:r>
                  <a:rPr kumimoji="0" lang="zh-CN" altLang="en-US" sz="12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楷体" panose="02010609060101010101" pitchFamily="49" charset="-122"/>
                    <a:ea typeface="楷体" panose="02010609060101010101" pitchFamily="49" charset="-122"/>
                    <a:cs typeface="Times New Roman" panose="02020603050405020304" pitchFamily="18" charset="0"/>
                  </a:rPr>
                  <a:t>年版</a:t>
                </a:r>
                <a:endParaRPr kumimoji="0" lang="zh-CN" alt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宋体" panose="02010600030101010101" pitchFamily="2" charset="-122"/>
                  <a:cs typeface="+mn-cs"/>
                </a:endParaRPr>
              </a:p>
            </p:txBody>
          </p:sp>
          <p:sp>
            <p:nvSpPr>
              <p:cNvPr id="13" name="矩形 12"/>
              <p:cNvSpPr/>
              <p:nvPr>
                <p:custDataLst>
                  <p:tags r:id="rId13"/>
                </p:custDataLst>
              </p:nvPr>
            </p:nvSpPr>
            <p:spPr>
              <a:xfrm>
                <a:off x="10510" y="7742"/>
                <a:ext cx="3547" cy="3164"/>
              </a:xfrm>
              <a:prstGeom prst="rect">
                <a:avLst/>
              </a:prstGeom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wrap="square">
                <a:noAutofit/>
              </a:bodyPr>
              <a:lstStyle/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/>
                </a:pPr>
                <a:r>
                  <a:rPr kumimoji="0" lang="zh-CN" altLang="en-US" sz="1200" b="1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楷体" panose="02010609060101010101" pitchFamily="49" charset="-122"/>
                    <a:ea typeface="楷体" panose="02010609060101010101" pitchFamily="49" charset="-122"/>
                    <a:cs typeface="Times New Roman" panose="02020603050405020304" pitchFamily="18" charset="0"/>
                  </a:rPr>
                  <a:t>北京科技大学“社会实践”课程</a:t>
                </a:r>
                <a:r>
                  <a:rPr kumimoji="0" lang="zh-CN" altLang="en-US" sz="12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楷体" panose="02010609060101010101" pitchFamily="49" charset="-122"/>
                    <a:ea typeface="楷体" panose="02010609060101010101" pitchFamily="49" charset="-122"/>
                    <a:cs typeface="Times New Roman" panose="02020603050405020304" pitchFamily="18" charset="0"/>
                  </a:rPr>
                  <a:t>组</a:t>
                </a:r>
                <a:r>
                  <a:rPr kumimoji="0" lang="en-US" altLang="zh-CN" sz="12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C00000"/>
                    </a:solidFill>
                    <a:effectLst/>
                    <a:uLnTx/>
                    <a:uFillTx/>
                    <a:latin typeface="楷体" panose="02010609060101010101" pitchFamily="49" charset="-122"/>
                    <a:ea typeface="楷体" panose="02010609060101010101" pitchFamily="49" charset="-122"/>
                    <a:cs typeface="Times New Roman" panose="02020603050405020304" pitchFamily="18" charset="0"/>
                  </a:rPr>
                  <a:t>:《</a:t>
                </a:r>
                <a:r>
                  <a:rPr kumimoji="0" lang="zh-CN" altLang="en-US" sz="12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C00000"/>
                    </a:solidFill>
                    <a:effectLst/>
                    <a:uLnTx/>
                    <a:uFillTx/>
                    <a:latin typeface="楷体" panose="02010609060101010101" pitchFamily="49" charset="-122"/>
                    <a:ea typeface="楷体" panose="02010609060101010101" pitchFamily="49" charset="-122"/>
                    <a:cs typeface="Times New Roman" panose="02020603050405020304" pitchFamily="18" charset="0"/>
                  </a:rPr>
                  <a:t>实践绘就最美青春</a:t>
                </a:r>
                <a:r>
                  <a:rPr kumimoji="0" lang="en-US" altLang="zh-CN" sz="12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C00000"/>
                    </a:solidFill>
                    <a:effectLst/>
                    <a:uLnTx/>
                    <a:uFillTx/>
                    <a:latin typeface="楷体" panose="02010609060101010101" pitchFamily="49" charset="-122"/>
                    <a:ea typeface="楷体" panose="02010609060101010101" pitchFamily="49" charset="-122"/>
                    <a:cs typeface="Times New Roman" panose="02020603050405020304" pitchFamily="18" charset="0"/>
                  </a:rPr>
                  <a:t>——</a:t>
                </a:r>
                <a:r>
                  <a:rPr kumimoji="0" lang="zh-CN" altLang="en-US" sz="12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C00000"/>
                    </a:solidFill>
                    <a:effectLst/>
                    <a:uLnTx/>
                    <a:uFillTx/>
                    <a:latin typeface="楷体" panose="02010609060101010101" pitchFamily="49" charset="-122"/>
                    <a:ea typeface="楷体" panose="02010609060101010101" pitchFamily="49" charset="-122"/>
                    <a:cs typeface="Times New Roman" panose="02020603050405020304" pitchFamily="18" charset="0"/>
                  </a:rPr>
                  <a:t>党的十八大以来北科大青年服务国家实践风采录</a:t>
                </a:r>
                <a:r>
                  <a:rPr kumimoji="0" lang="en-US" altLang="zh-CN" sz="12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C00000"/>
                    </a:solidFill>
                    <a:effectLst/>
                    <a:uLnTx/>
                    <a:uFillTx/>
                    <a:latin typeface="楷体" panose="02010609060101010101" pitchFamily="49" charset="-122"/>
                    <a:ea typeface="楷体" panose="02010609060101010101" pitchFamily="49" charset="-122"/>
                    <a:cs typeface="Times New Roman" panose="02020603050405020304" pitchFamily="18" charset="0"/>
                  </a:rPr>
                  <a:t>》</a:t>
                </a:r>
                <a:r>
                  <a:rPr kumimoji="0" lang="en-US" altLang="zh-CN" sz="12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楷体" panose="02010609060101010101" pitchFamily="49" charset="-122"/>
                    <a:ea typeface="楷体" panose="02010609060101010101" pitchFamily="49" charset="-122"/>
                    <a:cs typeface="Times New Roman" panose="02020603050405020304" pitchFamily="18" charset="0"/>
                  </a:rPr>
                  <a:t>,</a:t>
                </a:r>
                <a:r>
                  <a:rPr kumimoji="0" lang="zh-CN" altLang="en-US" sz="12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楷体" panose="02010609060101010101" pitchFamily="49" charset="-122"/>
                    <a:ea typeface="楷体" panose="02010609060101010101" pitchFamily="49" charset="-122"/>
                    <a:cs typeface="Times New Roman" panose="02020603050405020304" pitchFamily="18" charset="0"/>
                  </a:rPr>
                  <a:t>电子工业出版社</a:t>
                </a:r>
                <a:r>
                  <a:rPr kumimoji="0" lang="en-US" altLang="zh-CN" sz="12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楷体" panose="02010609060101010101" pitchFamily="49" charset="-122"/>
                    <a:ea typeface="楷体" panose="02010609060101010101" pitchFamily="49" charset="-122"/>
                    <a:cs typeface="Times New Roman" panose="02020603050405020304" pitchFamily="18" charset="0"/>
                  </a:rPr>
                  <a:t>2017</a:t>
                </a:r>
                <a:r>
                  <a:rPr kumimoji="0" lang="zh-CN" altLang="en-US" sz="12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楷体" panose="02010609060101010101" pitchFamily="49" charset="-122"/>
                    <a:ea typeface="楷体" panose="02010609060101010101" pitchFamily="49" charset="-122"/>
                    <a:cs typeface="Times New Roman" panose="02020603050405020304" pitchFamily="18" charset="0"/>
                  </a:rPr>
                  <a:t>年版</a:t>
                </a:r>
                <a:r>
                  <a:rPr kumimoji="0" lang="en-US" altLang="zh-CN" sz="12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楷体" panose="02010609060101010101" pitchFamily="49" charset="-122"/>
                    <a:ea typeface="楷体" panose="02010609060101010101" pitchFamily="49" charset="-122"/>
                    <a:cs typeface="Times New Roman" panose="02020603050405020304" pitchFamily="18" charset="0"/>
                  </a:rPr>
                  <a:t>.</a:t>
                </a:r>
                <a:endParaRPr kumimoji="0" lang="en-US" altLang="zh-CN" sz="12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楷体" panose="02010609060101010101" pitchFamily="49" charset="-122"/>
                  <a:ea typeface="楷体" panose="02010609060101010101" pitchFamily="49" charset="-122"/>
                  <a:cs typeface="Times New Roman" panose="02020603050405020304" pitchFamily="18" charset="0"/>
                </a:endParaRPr>
              </a:p>
            </p:txBody>
          </p:sp>
        </p:grpSp>
        <p:sp>
          <p:nvSpPr>
            <p:cNvPr id="9" name="矩形 8"/>
            <p:cNvSpPr/>
            <p:nvPr>
              <p:custDataLst>
                <p:tags r:id="rId14"/>
              </p:custDataLst>
            </p:nvPr>
          </p:nvSpPr>
          <p:spPr>
            <a:xfrm>
              <a:off x="200" y="7801"/>
              <a:ext cx="3468" cy="1517"/>
            </a:xfrm>
            <a:prstGeom prst="rect">
              <a:avLst/>
            </a:prstGeom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wrap="square">
              <a:spAutoFit/>
            </a:bodyPr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r>
                <a:rPr kumimoji="0" lang="en-US" altLang="zh-CN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C00000"/>
                  </a:solidFill>
                  <a:effectLst/>
                  <a:uLnTx/>
                  <a:uFillTx/>
                  <a:latin typeface="楷体" panose="02010609060101010101" pitchFamily="49" charset="-122"/>
                  <a:ea typeface="楷体" panose="02010609060101010101" pitchFamily="49" charset="-122"/>
                  <a:cs typeface="Times New Roman" panose="02020603050405020304" pitchFamily="18" charset="0"/>
                </a:rPr>
                <a:t>《</a:t>
              </a:r>
              <a:r>
                <a:rPr kumimoji="0" lang="zh-CN" altLang="zh-CN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C00000"/>
                  </a:solidFill>
                  <a:effectLst/>
                  <a:uLnTx/>
                  <a:uFillTx/>
                  <a:latin typeface="楷体" panose="02010609060101010101" pitchFamily="49" charset="-122"/>
                  <a:ea typeface="楷体" panose="02010609060101010101" pitchFamily="49" charset="-122"/>
                  <a:cs typeface="Times New Roman" panose="02020603050405020304" pitchFamily="18" charset="0"/>
                </a:rPr>
                <a:t>习近平与大学生朋友们</a:t>
              </a:r>
              <a:r>
                <a:rPr kumimoji="0" lang="en-US" altLang="zh-CN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C00000"/>
                  </a:solidFill>
                  <a:effectLst/>
                  <a:uLnTx/>
                  <a:uFillTx/>
                  <a:latin typeface="楷体" panose="02010609060101010101" pitchFamily="49" charset="-122"/>
                  <a:ea typeface="楷体" panose="02010609060101010101" pitchFamily="49" charset="-122"/>
                  <a:cs typeface="Times New Roman" panose="02020603050405020304" pitchFamily="18" charset="0"/>
                </a:rPr>
                <a:t>》</a:t>
              </a:r>
              <a:r>
                <a:rPr kumimoji="0" lang="zh-CN" alt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楷体" panose="02010609060101010101" pitchFamily="49" charset="-122"/>
                  <a:ea typeface="楷体" panose="02010609060101010101" pitchFamily="49" charset="-122"/>
                  <a:cs typeface="Times New Roman" panose="02020603050405020304" pitchFamily="18" charset="0"/>
                </a:rPr>
                <a:t>，中国青年出版社</a:t>
              </a:r>
              <a:r>
                <a:rPr kumimoji="0" lang="en-US" altLang="zh-CN" sz="12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楷体" panose="02010609060101010101" pitchFamily="49" charset="-122"/>
                  <a:ea typeface="楷体" panose="02010609060101010101" pitchFamily="49" charset="-122"/>
                  <a:cs typeface="Times New Roman" panose="02020603050405020304" pitchFamily="18" charset="0"/>
                </a:rPr>
                <a:t>2020</a:t>
              </a:r>
              <a:r>
                <a:rPr kumimoji="0" lang="zh-CN" alt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楷体" panose="02010609060101010101" pitchFamily="49" charset="-122"/>
                  <a:ea typeface="楷体" panose="02010609060101010101" pitchFamily="49" charset="-122"/>
                  <a:cs typeface="Times New Roman" panose="02020603050405020304" pitchFamily="18" charset="0"/>
                </a:rPr>
                <a:t>年版</a:t>
              </a:r>
              <a:endParaRPr kumimoji="0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宋体" panose="02010600030101010101" pitchFamily="2" charset="-122"/>
                <a:cs typeface="+mn-cs"/>
              </a:endParaRPr>
            </a:p>
          </p:txBody>
        </p:sp>
        <p:pic>
          <p:nvPicPr>
            <p:cNvPr id="10" name="图片 9" descr="微信图片_20230410152924"/>
            <p:cNvPicPr>
              <a:picLocks noChangeAspect="1"/>
            </p:cNvPicPr>
            <p:nvPr/>
          </p:nvPicPr>
          <p:blipFill>
            <a:blip r:embed="rId15"/>
            <a:stretch>
              <a:fillRect/>
            </a:stretch>
          </p:blipFill>
          <p:spPr>
            <a:xfrm>
              <a:off x="3989" y="2069"/>
              <a:ext cx="3528" cy="5029"/>
            </a:xfrm>
            <a:prstGeom prst="rect">
              <a:avLst/>
            </a:prstGeom>
          </p:spPr>
        </p:pic>
        <p:sp>
          <p:nvSpPr>
            <p:cNvPr id="11" name="文本框 10"/>
            <p:cNvSpPr txBox="1"/>
            <p:nvPr/>
          </p:nvSpPr>
          <p:spPr>
            <a:xfrm>
              <a:off x="3989" y="7801"/>
              <a:ext cx="3708" cy="1894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accent1"/>
              </a:solidFill>
            </a:ln>
          </p:spPr>
          <p:txBody>
            <a:bodyPr wrap="square" rtlCol="0">
              <a:noAutofit/>
            </a:bodyPr>
            <a:lstStyle/>
            <a:p>
              <a:pPr algn="l"/>
              <a:r>
                <a:rPr lang="zh-CN" altLang="en-US" sz="1200" b="1" dirty="0">
                  <a:solidFill>
                    <a:prstClr val="black"/>
                  </a:solidFill>
                  <a:latin typeface="楷体" panose="02010609060101010101" pitchFamily="49" charset="-122"/>
                  <a:ea typeface="楷体" panose="02010609060101010101" pitchFamily="49" charset="-122"/>
                  <a:cs typeface="Times New Roman" panose="02020603050405020304" pitchFamily="18" charset="0"/>
                </a:rPr>
                <a:t>王鹂：</a:t>
              </a:r>
              <a:r>
                <a:rPr lang="zh-CN" altLang="en-US" sz="1200" b="1" dirty="0">
                  <a:solidFill>
                    <a:srgbClr val="C00000"/>
                  </a:solidFill>
                  <a:latin typeface="楷体" panose="02010609060101010101" pitchFamily="49" charset="-122"/>
                  <a:ea typeface="楷体" panose="02010609060101010101" pitchFamily="49" charset="-122"/>
                  <a:cs typeface="Times New Roman" panose="02020603050405020304" pitchFamily="18" charset="0"/>
                </a:rPr>
                <a:t>《大学生社会实践选题指导》</a:t>
              </a:r>
              <a:r>
                <a:rPr lang="zh-CN" altLang="en-US" sz="1200" b="1" dirty="0">
                  <a:solidFill>
                    <a:prstClr val="black"/>
                  </a:solidFill>
                  <a:latin typeface="楷体" panose="02010609060101010101" pitchFamily="49" charset="-122"/>
                  <a:ea typeface="楷体" panose="02010609060101010101" pitchFamily="49" charset="-122"/>
                  <a:cs typeface="Times New Roman" panose="02020603050405020304" pitchFamily="18" charset="0"/>
                </a:rPr>
                <a:t>，冶金工业出版社2022年版</a:t>
              </a:r>
              <a:endParaRPr lang="zh-CN" altLang="en-US" sz="1200" b="1" dirty="0">
                <a:solidFill>
                  <a:prstClr val="black"/>
                </a:solidFill>
                <a:latin typeface="楷体" panose="02010609060101010101" pitchFamily="49" charset="-122"/>
                <a:ea typeface="楷体" panose="02010609060101010101" pitchFamily="49" charset="-122"/>
                <a:cs typeface="Times New Roman" panose="02020603050405020304" pitchFamily="18" charset="0"/>
              </a:endParaRPr>
            </a:p>
          </p:txBody>
        </p:sp>
      </p:grpSp>
      <p:sp>
        <p:nvSpPr>
          <p:cNvPr id="12" name="文本框 11"/>
          <p:cNvSpPr txBox="1"/>
          <p:nvPr>
            <p:custDataLst>
              <p:tags r:id="rId16"/>
            </p:custDataLst>
          </p:nvPr>
        </p:nvSpPr>
        <p:spPr>
          <a:xfrm>
            <a:off x="1188244" y="188365"/>
            <a:ext cx="4746542" cy="5067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l">
              <a:buClrTx/>
              <a:buSzTx/>
              <a:buFontTx/>
            </a:pPr>
            <a:r>
              <a:rPr lang="zh-CN" altLang="en-US" sz="2700" dirty="0">
                <a:solidFill>
                  <a:srgbClr val="C14635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重点参考书目</a:t>
            </a:r>
            <a:endParaRPr lang="zh-CN" altLang="en-US" sz="2700" dirty="0">
              <a:solidFill>
                <a:srgbClr val="C14635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  <a:sym typeface="+mn-ea"/>
            </a:endParaRPr>
          </a:p>
        </p:txBody>
      </p:sp>
    </p:spTree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îṡ1îḍe"/>
          <p:cNvSpPr/>
          <p:nvPr/>
        </p:nvSpPr>
        <p:spPr>
          <a:xfrm>
            <a:off x="1315085" y="1230630"/>
            <a:ext cx="6416040" cy="577850"/>
          </a:xfrm>
          <a:prstGeom prst="roundRect">
            <a:avLst/>
          </a:prstGeom>
          <a:gradFill flip="none" rotWithShape="1">
            <a:gsLst>
              <a:gs pos="0">
                <a:srgbClr val="A22B17">
                  <a:lumMod val="94000"/>
                  <a:lumOff val="6000"/>
                </a:srgbClr>
              </a:gs>
              <a:gs pos="100000">
                <a:srgbClr val="A22B17">
                  <a:alpha val="72000"/>
                  <a:lumMod val="85000"/>
                  <a:lumOff val="15000"/>
                </a:srgb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 fontAlgn="base" hangingPunct="0">
              <a:spcBef>
                <a:spcPts val="0"/>
              </a:spcBef>
              <a:spcAft>
                <a:spcPts val="0"/>
              </a:spcAft>
            </a:pPr>
            <a:r>
              <a:rPr lang="zh-CN" altLang="en-US" sz="2400" b="1" kern="1200" dirty="0">
                <a:solidFill>
                  <a:schemeClr val="bg1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t>社会实践相关参考用书及资料</a:t>
            </a:r>
            <a:endParaRPr lang="zh-CN" altLang="en-US" sz="2400" b="1" kern="1200" dirty="0">
              <a:solidFill>
                <a:schemeClr val="bg1"/>
              </a:solidFill>
              <a:effectLst/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" name="Rectangle 1"/>
          <p:cNvSpPr/>
          <p:nvPr/>
        </p:nvSpPr>
        <p:spPr bwMode="auto">
          <a:xfrm>
            <a:off x="692785" y="2343785"/>
            <a:ext cx="7954645" cy="3558540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lIns="40468" tIns="28566" bIns="47610" anchor="ctr"/>
          <a:lstStyle/>
          <a:p>
            <a:pPr marL="87630" eaLnBrk="1" hangingPunct="1">
              <a:lnSpc>
                <a:spcPct val="120000"/>
              </a:lnSpc>
              <a:spcBef>
                <a:spcPts val="300"/>
              </a:spcBef>
              <a:defRPr/>
            </a:pPr>
            <a:r>
              <a:rPr lang="en-US" altLang="zh-CN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1.</a:t>
            </a:r>
            <a:r>
              <a:rPr lang="zh-CN" altLang="en-US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陈曦：</a:t>
            </a:r>
            <a:r>
              <a:rPr lang="en-US" altLang="zh-CN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《</a:t>
            </a:r>
            <a:r>
              <a:rPr lang="zh-CN" altLang="en-US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大学生社会实践教程</a:t>
            </a:r>
            <a:r>
              <a:rPr lang="en-US" altLang="zh-CN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》</a:t>
            </a:r>
            <a:r>
              <a:rPr lang="zh-CN" altLang="en-US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，机械工程出版社</a:t>
            </a:r>
            <a:r>
              <a:rPr lang="en-US" altLang="zh-CN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2006</a:t>
            </a:r>
            <a:r>
              <a:rPr lang="zh-CN" altLang="en-US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年版</a:t>
            </a:r>
            <a:r>
              <a:rPr lang="en-US" altLang="zh-CN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.</a:t>
            </a:r>
            <a:endParaRPr lang="zh-CN" altLang="en-US" dirty="0">
              <a:solidFill>
                <a:prstClr val="black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Times New Roman" panose="02020603050405020304" pitchFamily="18" charset="0"/>
            </a:endParaRPr>
          </a:p>
          <a:p>
            <a:pPr marL="87630" eaLnBrk="1" hangingPunct="1">
              <a:lnSpc>
                <a:spcPct val="120000"/>
              </a:lnSpc>
              <a:spcBef>
                <a:spcPts val="300"/>
              </a:spcBef>
              <a:defRPr/>
            </a:pPr>
            <a:r>
              <a:rPr lang="en-US" altLang="zh-CN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2.</a:t>
            </a:r>
            <a:r>
              <a:rPr lang="zh-CN" altLang="en-US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胡树祥、吴满意</a:t>
            </a:r>
            <a:r>
              <a:rPr lang="en-US" altLang="zh-CN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:《</a:t>
            </a:r>
            <a:r>
              <a:rPr lang="zh-CN" altLang="en-US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大学生社会实践教育理论与方法</a:t>
            </a:r>
            <a:r>
              <a:rPr lang="en-US" altLang="zh-CN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》,</a:t>
            </a:r>
            <a:r>
              <a:rPr lang="zh-CN" altLang="en-US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人民出版社</a:t>
            </a:r>
            <a:r>
              <a:rPr lang="en-US" altLang="zh-CN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.</a:t>
            </a:r>
            <a:endParaRPr lang="zh-CN" altLang="en-US" dirty="0">
              <a:solidFill>
                <a:prstClr val="black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Times New Roman" panose="02020603050405020304" pitchFamily="18" charset="0"/>
            </a:endParaRPr>
          </a:p>
          <a:p>
            <a:pPr marL="87630" eaLnBrk="1" hangingPunct="1">
              <a:lnSpc>
                <a:spcPct val="120000"/>
              </a:lnSpc>
              <a:spcBef>
                <a:spcPts val="300"/>
              </a:spcBef>
              <a:defRPr/>
            </a:pPr>
            <a:r>
              <a:rPr lang="en-US" altLang="zh-CN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3.</a:t>
            </a:r>
            <a:r>
              <a:rPr lang="zh-CN" altLang="en-US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陈曦</a:t>
            </a:r>
            <a:r>
              <a:rPr lang="en-US" altLang="zh-CN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:《</a:t>
            </a:r>
            <a:r>
              <a:rPr lang="zh-CN" altLang="en-US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大学生志愿服务</a:t>
            </a:r>
            <a:r>
              <a:rPr lang="en-US" altLang="zh-CN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》,</a:t>
            </a:r>
            <a:r>
              <a:rPr lang="zh-CN" altLang="en-US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冶金工业出版社</a:t>
            </a:r>
            <a:r>
              <a:rPr lang="en-US" altLang="zh-CN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2009</a:t>
            </a:r>
            <a:r>
              <a:rPr lang="zh-CN" altLang="en-US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年版</a:t>
            </a:r>
            <a:r>
              <a:rPr lang="en-US" altLang="zh-CN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.</a:t>
            </a:r>
            <a:endParaRPr lang="zh-CN" altLang="en-US" dirty="0">
              <a:solidFill>
                <a:prstClr val="black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Times New Roman" panose="02020603050405020304" pitchFamily="18" charset="0"/>
            </a:endParaRPr>
          </a:p>
          <a:p>
            <a:pPr marL="87630" eaLnBrk="1" hangingPunct="1">
              <a:lnSpc>
                <a:spcPct val="120000"/>
              </a:lnSpc>
              <a:spcBef>
                <a:spcPts val="300"/>
              </a:spcBef>
              <a:defRPr/>
            </a:pPr>
            <a:r>
              <a:rPr lang="en-US" altLang="zh-CN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4.</a:t>
            </a:r>
            <a:r>
              <a:rPr lang="zh-CN" altLang="en-US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张钟汝、顾青</a:t>
            </a:r>
            <a:r>
              <a:rPr lang="en-US" altLang="zh-CN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:《</a:t>
            </a:r>
            <a:r>
              <a:rPr lang="zh-CN" altLang="en-US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助老服务志愿者手册</a:t>
            </a:r>
            <a:r>
              <a:rPr lang="en-US" altLang="zh-CN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》,</a:t>
            </a:r>
            <a:r>
              <a:rPr lang="zh-CN" altLang="en-US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中国社会出版社</a:t>
            </a:r>
            <a:r>
              <a:rPr lang="en-US" altLang="zh-CN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2008</a:t>
            </a:r>
            <a:r>
              <a:rPr lang="zh-CN" altLang="en-US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年版</a:t>
            </a:r>
            <a:r>
              <a:rPr lang="en-US" altLang="zh-CN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.</a:t>
            </a:r>
            <a:endParaRPr lang="zh-CN" altLang="en-US" dirty="0">
              <a:solidFill>
                <a:prstClr val="black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Times New Roman" panose="02020603050405020304" pitchFamily="18" charset="0"/>
            </a:endParaRPr>
          </a:p>
          <a:p>
            <a:pPr marL="87630" eaLnBrk="1" hangingPunct="1">
              <a:lnSpc>
                <a:spcPct val="120000"/>
              </a:lnSpc>
              <a:spcBef>
                <a:spcPts val="300"/>
              </a:spcBef>
              <a:defRPr/>
            </a:pPr>
            <a:r>
              <a:rPr lang="en-US" altLang="zh-CN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5.</a:t>
            </a:r>
            <a:r>
              <a:rPr lang="zh-CN" altLang="en-US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范伟达、范冰</a:t>
            </a:r>
            <a:r>
              <a:rPr lang="en-US" altLang="zh-CN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:《</a:t>
            </a:r>
            <a:r>
              <a:rPr lang="zh-CN" altLang="en-US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社会调查研究方法</a:t>
            </a:r>
            <a:r>
              <a:rPr lang="en-US" altLang="zh-CN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》,</a:t>
            </a:r>
            <a:r>
              <a:rPr lang="zh-CN" altLang="en-US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复旦大学出版社</a:t>
            </a:r>
            <a:r>
              <a:rPr lang="en-US" altLang="zh-CN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2010</a:t>
            </a:r>
            <a:r>
              <a:rPr lang="zh-CN" altLang="en-US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年版</a:t>
            </a:r>
            <a:r>
              <a:rPr lang="en-US" altLang="zh-CN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.</a:t>
            </a:r>
            <a:r>
              <a:rPr lang="zh-CN" altLang="en-US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 </a:t>
            </a:r>
            <a:endParaRPr lang="en-US" altLang="zh-CN" dirty="0">
              <a:solidFill>
                <a:prstClr val="black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Times New Roman" panose="02020603050405020304" pitchFamily="18" charset="0"/>
            </a:endParaRPr>
          </a:p>
          <a:p>
            <a:pPr marL="87630" eaLnBrk="1" hangingPunct="1">
              <a:lnSpc>
                <a:spcPct val="120000"/>
              </a:lnSpc>
              <a:spcBef>
                <a:spcPts val="300"/>
              </a:spcBef>
              <a:defRPr/>
            </a:pPr>
            <a:r>
              <a:rPr lang="en-US" altLang="zh-CN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6.</a:t>
            </a:r>
            <a:r>
              <a:rPr lang="zh-CN" altLang="en-US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张建：</a:t>
            </a:r>
            <a:r>
              <a:rPr lang="en-US" altLang="zh-CN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《</a:t>
            </a:r>
            <a:r>
              <a:rPr lang="zh-CN" altLang="en-US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应用写作</a:t>
            </a:r>
            <a:r>
              <a:rPr lang="en-US" altLang="zh-CN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》</a:t>
            </a:r>
            <a:r>
              <a:rPr lang="zh-CN" altLang="en-US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，高等教育出版社</a:t>
            </a:r>
            <a:r>
              <a:rPr lang="en-US" altLang="zh-CN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2008</a:t>
            </a:r>
            <a:r>
              <a:rPr lang="zh-CN" altLang="en-US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年版</a:t>
            </a:r>
            <a:r>
              <a:rPr lang="en-US" altLang="zh-CN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.</a:t>
            </a:r>
            <a:endParaRPr lang="en-US" altLang="zh-CN" dirty="0">
              <a:solidFill>
                <a:prstClr val="black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Times New Roman" panose="02020603050405020304" pitchFamily="18" charset="0"/>
            </a:endParaRPr>
          </a:p>
          <a:p>
            <a:pPr marL="87630" eaLnBrk="1" hangingPunct="1">
              <a:lnSpc>
                <a:spcPct val="120000"/>
              </a:lnSpc>
              <a:spcBef>
                <a:spcPts val="300"/>
              </a:spcBef>
              <a:defRPr/>
            </a:pPr>
            <a:r>
              <a:rPr lang="en-US" altLang="zh-CN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7.</a:t>
            </a:r>
            <a:r>
              <a:rPr lang="zh-CN" altLang="en-US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盛希贵：</a:t>
            </a:r>
            <a:r>
              <a:rPr lang="en-US" altLang="zh-CN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《</a:t>
            </a:r>
            <a:r>
              <a:rPr lang="zh-CN" altLang="en-US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新闻摄影实务</a:t>
            </a:r>
            <a:r>
              <a:rPr lang="en-US" altLang="zh-CN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》</a:t>
            </a:r>
            <a:r>
              <a:rPr lang="zh-CN" altLang="en-US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，北京大学出版社</a:t>
            </a:r>
            <a:r>
              <a:rPr lang="en-US" altLang="zh-CN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2010</a:t>
            </a:r>
            <a:r>
              <a:rPr lang="zh-CN" altLang="en-US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年版</a:t>
            </a:r>
            <a:r>
              <a:rPr lang="en-US" altLang="zh-CN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.</a:t>
            </a:r>
            <a:endParaRPr lang="zh-CN" altLang="en-US" dirty="0">
              <a:solidFill>
                <a:prstClr val="black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Times New Roman" panose="02020603050405020304" pitchFamily="18" charset="0"/>
            </a:endParaRPr>
          </a:p>
        </p:txBody>
      </p:sp>
      <p:sp>
        <p:nvSpPr>
          <p:cNvPr id="12" name="文本框 11"/>
          <p:cNvSpPr txBox="1"/>
          <p:nvPr>
            <p:custDataLst>
              <p:tags r:id="rId1"/>
            </p:custDataLst>
          </p:nvPr>
        </p:nvSpPr>
        <p:spPr>
          <a:xfrm>
            <a:off x="1188244" y="188365"/>
            <a:ext cx="4746542" cy="5067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l">
              <a:buClrTx/>
              <a:buSzTx/>
              <a:buFontTx/>
            </a:pPr>
            <a:r>
              <a:rPr lang="zh-CN" altLang="en-US" sz="2700" dirty="0">
                <a:solidFill>
                  <a:srgbClr val="C14635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参考资料列表</a:t>
            </a:r>
            <a:endParaRPr lang="zh-CN" altLang="en-US" sz="2700" dirty="0">
              <a:solidFill>
                <a:srgbClr val="C14635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  <a:sym typeface="+mn-ea"/>
            </a:endParaRPr>
          </a:p>
        </p:txBody>
      </p:sp>
    </p:spTree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îṡ1îḍe"/>
          <p:cNvSpPr/>
          <p:nvPr/>
        </p:nvSpPr>
        <p:spPr>
          <a:xfrm>
            <a:off x="1315085" y="1236345"/>
            <a:ext cx="6366510" cy="671830"/>
          </a:xfrm>
          <a:prstGeom prst="roundRect">
            <a:avLst/>
          </a:prstGeom>
          <a:gradFill flip="none" rotWithShape="1">
            <a:gsLst>
              <a:gs pos="0">
                <a:srgbClr val="A22B17">
                  <a:lumMod val="94000"/>
                  <a:lumOff val="6000"/>
                </a:srgbClr>
              </a:gs>
              <a:gs pos="100000">
                <a:srgbClr val="A22B17">
                  <a:alpha val="72000"/>
                  <a:lumMod val="85000"/>
                  <a:lumOff val="15000"/>
                </a:srgb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 fontAlgn="base" hangingPunct="0">
              <a:spcBef>
                <a:spcPts val="0"/>
              </a:spcBef>
              <a:spcAft>
                <a:spcPts val="0"/>
              </a:spcAft>
            </a:pPr>
            <a:r>
              <a:rPr lang="zh-CN" altLang="en-US" sz="2400" b="1" kern="1200" dirty="0">
                <a:solidFill>
                  <a:schemeClr val="bg1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t>社会实践建议阅读文献及图书</a:t>
            </a:r>
            <a:endParaRPr lang="zh-CN" altLang="en-US" sz="2400" b="1" kern="1200" dirty="0">
              <a:solidFill>
                <a:schemeClr val="bg1"/>
              </a:solidFill>
              <a:effectLst/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" name="Rectangle 1"/>
          <p:cNvSpPr/>
          <p:nvPr/>
        </p:nvSpPr>
        <p:spPr bwMode="auto">
          <a:xfrm>
            <a:off x="554990" y="2361565"/>
            <a:ext cx="8248650" cy="3631565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lIns="40468" tIns="28566" bIns="47610" anchor="ctr"/>
          <a:lstStyle/>
          <a:p>
            <a:pPr marL="87630" eaLnBrk="1" hangingPunct="1">
              <a:lnSpc>
                <a:spcPct val="120000"/>
              </a:lnSpc>
              <a:spcBef>
                <a:spcPts val="300"/>
              </a:spcBef>
              <a:defRPr/>
            </a:pPr>
            <a:r>
              <a:rPr lang="en-US" altLang="zh-CN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1.</a:t>
            </a:r>
            <a:r>
              <a:rPr lang="zh-CN" altLang="en-US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习近平：</a:t>
            </a:r>
            <a:r>
              <a:rPr lang="en-US" altLang="zh-CN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《</a:t>
            </a:r>
            <a:r>
              <a:rPr lang="zh-CN" altLang="en-US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习近平总书记系列重要讲话读本（</a:t>
            </a:r>
            <a:r>
              <a:rPr lang="en-US" altLang="zh-CN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2016</a:t>
            </a:r>
            <a:r>
              <a:rPr lang="zh-CN" altLang="en-US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年版）</a:t>
            </a:r>
            <a:r>
              <a:rPr lang="en-US" altLang="zh-CN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》,</a:t>
            </a:r>
            <a:r>
              <a:rPr lang="zh-CN" altLang="en-US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学习出版社、人民出版社</a:t>
            </a:r>
            <a:r>
              <a:rPr lang="en-US" altLang="zh-CN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2016</a:t>
            </a:r>
            <a:r>
              <a:rPr lang="zh-CN" altLang="en-US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年版</a:t>
            </a:r>
            <a:r>
              <a:rPr lang="en-US" altLang="zh-CN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.</a:t>
            </a:r>
            <a:endParaRPr lang="en-US" altLang="zh-CN" dirty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Times New Roman" panose="02020603050405020304" pitchFamily="18" charset="0"/>
            </a:endParaRPr>
          </a:p>
          <a:p>
            <a:pPr marL="87630" eaLnBrk="1" hangingPunct="1">
              <a:lnSpc>
                <a:spcPct val="120000"/>
              </a:lnSpc>
              <a:spcBef>
                <a:spcPts val="300"/>
              </a:spcBef>
              <a:defRPr/>
            </a:pPr>
            <a:r>
              <a:rPr lang="en-US" altLang="zh-CN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2.</a:t>
            </a:r>
            <a:r>
              <a:rPr lang="zh-CN" altLang="en-US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习近平：</a:t>
            </a:r>
            <a:r>
              <a:rPr lang="en-US" altLang="zh-CN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《</a:t>
            </a:r>
            <a:r>
              <a:rPr lang="zh-CN" altLang="en-US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习近平扶贫论述摘编</a:t>
            </a:r>
            <a:r>
              <a:rPr lang="en-US" altLang="zh-CN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》</a:t>
            </a:r>
            <a:r>
              <a:rPr lang="zh-CN" altLang="en-US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，中央文献出版社</a:t>
            </a:r>
            <a:r>
              <a:rPr lang="en-US" altLang="zh-CN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2018</a:t>
            </a:r>
            <a:r>
              <a:rPr lang="zh-CN" altLang="en-US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年版</a:t>
            </a:r>
            <a:r>
              <a:rPr lang="en-US" altLang="zh-CN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.</a:t>
            </a:r>
            <a:endParaRPr lang="en-US" altLang="zh-CN" dirty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Times New Roman" panose="02020603050405020304" pitchFamily="18" charset="0"/>
            </a:endParaRPr>
          </a:p>
          <a:p>
            <a:pPr marL="87630" eaLnBrk="1" hangingPunct="1">
              <a:lnSpc>
                <a:spcPct val="120000"/>
              </a:lnSpc>
              <a:spcBef>
                <a:spcPts val="300"/>
              </a:spcBef>
              <a:defRPr/>
            </a:pPr>
            <a:r>
              <a:rPr lang="en-US" altLang="zh-CN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3.</a:t>
            </a:r>
            <a:r>
              <a:rPr lang="zh-CN" altLang="en-US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水延凯：</a:t>
            </a:r>
            <a:r>
              <a:rPr lang="en-US" altLang="zh-CN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《</a:t>
            </a:r>
            <a:r>
              <a:rPr lang="zh-CN" altLang="en-US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社会调查教程</a:t>
            </a:r>
            <a:r>
              <a:rPr lang="en-US" altLang="zh-CN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》</a:t>
            </a:r>
            <a:r>
              <a:rPr lang="zh-CN" altLang="en-US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（第六版），中国人民大学出版社</a:t>
            </a:r>
            <a:r>
              <a:rPr lang="en-US" altLang="zh-CN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2014</a:t>
            </a:r>
            <a:r>
              <a:rPr lang="zh-CN" altLang="en-US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年版</a:t>
            </a:r>
            <a:r>
              <a:rPr lang="en-US" altLang="zh-CN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.</a:t>
            </a:r>
            <a:endParaRPr lang="en-US" altLang="zh-CN" dirty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Times New Roman" panose="02020603050405020304" pitchFamily="18" charset="0"/>
            </a:endParaRPr>
          </a:p>
          <a:p>
            <a:pPr marL="87630" eaLnBrk="1" hangingPunct="1">
              <a:lnSpc>
                <a:spcPct val="120000"/>
              </a:lnSpc>
              <a:spcBef>
                <a:spcPts val="300"/>
              </a:spcBef>
              <a:defRPr/>
            </a:pPr>
            <a:r>
              <a:rPr lang="en-US" altLang="zh-CN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4.</a:t>
            </a:r>
            <a:r>
              <a:rPr lang="zh-CN" altLang="en-US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风笑天：</a:t>
            </a:r>
            <a:r>
              <a:rPr lang="en-US" altLang="zh-CN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《</a:t>
            </a:r>
            <a:r>
              <a:rPr lang="zh-CN" altLang="en-US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社会研究方法</a:t>
            </a:r>
            <a:r>
              <a:rPr lang="en-US" altLang="zh-CN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》</a:t>
            </a:r>
            <a:r>
              <a:rPr lang="zh-CN" altLang="en-US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，中国人民大学出版社</a:t>
            </a:r>
            <a:r>
              <a:rPr lang="en-US" altLang="zh-CN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2018</a:t>
            </a:r>
            <a:r>
              <a:rPr lang="zh-CN" altLang="en-US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年版</a:t>
            </a:r>
            <a:r>
              <a:rPr lang="en-US" altLang="zh-CN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.</a:t>
            </a:r>
            <a:endParaRPr lang="en-US" altLang="zh-CN" dirty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Times New Roman" panose="02020603050405020304" pitchFamily="18" charset="0"/>
            </a:endParaRPr>
          </a:p>
          <a:p>
            <a:pPr marL="87630" eaLnBrk="1" hangingPunct="1">
              <a:lnSpc>
                <a:spcPct val="120000"/>
              </a:lnSpc>
              <a:spcBef>
                <a:spcPts val="300"/>
              </a:spcBef>
              <a:defRPr/>
            </a:pPr>
            <a:r>
              <a:rPr lang="en-US" altLang="zh-CN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5.《</a:t>
            </a:r>
            <a:r>
              <a:rPr lang="zh-CN" altLang="en-US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学生伤害事故处理办法</a:t>
            </a:r>
            <a:r>
              <a:rPr lang="en-US" altLang="zh-CN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》</a:t>
            </a:r>
            <a:r>
              <a:rPr lang="zh-CN" altLang="en-US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（教育部令第</a:t>
            </a:r>
            <a:r>
              <a:rPr lang="en-US" altLang="zh-CN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12</a:t>
            </a:r>
            <a:r>
              <a:rPr lang="zh-CN" altLang="en-US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号令）</a:t>
            </a:r>
            <a:r>
              <a:rPr lang="en-US" altLang="zh-CN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.</a:t>
            </a:r>
            <a:endParaRPr lang="en-US" altLang="zh-CN" dirty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Times New Roman" panose="02020603050405020304" pitchFamily="18" charset="0"/>
            </a:endParaRPr>
          </a:p>
          <a:p>
            <a:pPr marL="87630" eaLnBrk="1" hangingPunct="1">
              <a:lnSpc>
                <a:spcPct val="120000"/>
              </a:lnSpc>
              <a:spcBef>
                <a:spcPts val="300"/>
              </a:spcBef>
              <a:defRPr/>
            </a:pPr>
            <a:r>
              <a:rPr lang="en-US" altLang="zh-CN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6.《</a:t>
            </a:r>
            <a:r>
              <a:rPr lang="zh-CN" altLang="en-US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文后参考文献著录规则</a:t>
            </a:r>
            <a:r>
              <a:rPr lang="en-US" altLang="zh-CN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》</a:t>
            </a:r>
            <a:r>
              <a:rPr lang="zh-CN" altLang="en-US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（中华人民共和国国家标准</a:t>
            </a:r>
            <a:r>
              <a:rPr lang="en-US" altLang="zh-CN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GB/T 7714-2005</a:t>
            </a:r>
            <a:r>
              <a:rPr lang="zh-CN" altLang="en-US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）</a:t>
            </a:r>
            <a:r>
              <a:rPr lang="en-US" altLang="zh-CN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.</a:t>
            </a:r>
            <a:endParaRPr lang="en-US" altLang="zh-CN" dirty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Times New Roman" panose="02020603050405020304" pitchFamily="18" charset="0"/>
            </a:endParaRPr>
          </a:p>
          <a:p>
            <a:pPr marL="87630" eaLnBrk="1" hangingPunct="1">
              <a:lnSpc>
                <a:spcPct val="120000"/>
              </a:lnSpc>
              <a:spcBef>
                <a:spcPts val="300"/>
              </a:spcBef>
              <a:defRPr/>
            </a:pPr>
            <a:r>
              <a:rPr lang="en-US" altLang="zh-CN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7.</a:t>
            </a:r>
            <a:r>
              <a:rPr lang="zh-CN" altLang="en-US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教育部社会科学委员会学风建设委员会：</a:t>
            </a:r>
            <a:r>
              <a:rPr lang="en-US" altLang="zh-CN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《</a:t>
            </a:r>
            <a:r>
              <a:rPr lang="zh-CN" altLang="en-US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高校人文社会科学学术规范指南</a:t>
            </a:r>
            <a:r>
              <a:rPr lang="en-US" altLang="zh-CN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》</a:t>
            </a:r>
            <a:r>
              <a:rPr lang="zh-CN" altLang="en-US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，高等教育出版社</a:t>
            </a:r>
            <a:r>
              <a:rPr lang="en-US" altLang="zh-CN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2009</a:t>
            </a:r>
            <a:r>
              <a:rPr lang="zh-CN" altLang="en-US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年版</a:t>
            </a:r>
            <a:r>
              <a:rPr lang="en-US" altLang="zh-CN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.</a:t>
            </a:r>
            <a:endParaRPr lang="en-US" altLang="zh-CN" dirty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Times New Roman" panose="02020603050405020304" pitchFamily="18" charset="0"/>
            </a:endParaRPr>
          </a:p>
        </p:txBody>
      </p:sp>
      <p:sp>
        <p:nvSpPr>
          <p:cNvPr id="12" name="文本框 11"/>
          <p:cNvSpPr txBox="1"/>
          <p:nvPr>
            <p:custDataLst>
              <p:tags r:id="rId1"/>
            </p:custDataLst>
          </p:nvPr>
        </p:nvSpPr>
        <p:spPr>
          <a:xfrm>
            <a:off x="1188244" y="188365"/>
            <a:ext cx="4746542" cy="5067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l">
              <a:buClrTx/>
              <a:buSzTx/>
              <a:buFontTx/>
            </a:pPr>
            <a:r>
              <a:rPr lang="zh-CN" altLang="en-US" sz="2700" dirty="0">
                <a:solidFill>
                  <a:srgbClr val="C14635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参考资料列表</a:t>
            </a:r>
            <a:endParaRPr lang="zh-CN" altLang="en-US" sz="2700" dirty="0">
              <a:solidFill>
                <a:srgbClr val="C14635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  <a:sym typeface="+mn-ea"/>
            </a:endParaRPr>
          </a:p>
        </p:txBody>
      </p:sp>
    </p:spTree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1"/>
          <p:cNvSpPr/>
          <p:nvPr/>
        </p:nvSpPr>
        <p:spPr bwMode="auto">
          <a:xfrm>
            <a:off x="3574215" y="1213888"/>
            <a:ext cx="5368192" cy="485013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40468" tIns="28566" bIns="47610" anchor="ctr">
            <a:spAutoFit/>
          </a:bodyPr>
          <a:lstStyle>
            <a:lvl1pPr indent="127000"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charset="0"/>
              </a:defRPr>
            </a:lvl9pPr>
          </a:lstStyle>
          <a:p>
            <a:pPr indent="0" algn="r">
              <a:spcBef>
                <a:spcPts val="600"/>
              </a:spcBef>
              <a:buNone/>
              <a:defRPr/>
            </a:pPr>
            <a:r>
              <a:rPr lang="zh-CN" altLang="en-US" sz="1600" b="1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○ </a:t>
            </a:r>
            <a:r>
              <a:rPr kumimoji="0" lang="zh-CN" alt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北京科技大学社会实践课程网</a:t>
            </a:r>
            <a:r>
              <a:rPr kumimoji="0" lang="en-US" altLang="zh-CN" sz="16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http://ishijian.ustb.edu.cn/</a:t>
            </a:r>
            <a:endParaRPr kumimoji="0" lang="zh-CN" altLang="en-US" sz="1600" b="1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  <a:p>
            <a:pPr marL="0" marR="0" lvl="0" indent="0" algn="r" defTabSz="914400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zh-CN" alt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376092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○ </a:t>
            </a:r>
            <a:r>
              <a:rPr kumimoji="0" lang="zh-CN" altLang="en-US" sz="1600" b="1" i="0" u="none" strike="noStrike" kern="1200" cap="none" spc="0" normalizeH="0" baseline="0" noProof="0" dirty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图书馆资源</a:t>
            </a:r>
            <a:endParaRPr kumimoji="0" lang="zh-CN" altLang="en-US" sz="1600" b="1" i="0" u="none" strike="noStrike" kern="1200" cap="none" spc="0" normalizeH="0" baseline="0" noProof="0" dirty="0">
              <a:ln>
                <a:noFill/>
              </a:ln>
              <a:solidFill>
                <a:schemeClr val="bg1">
                  <a:lumMod val="50000"/>
                </a:schemeClr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  <a:p>
            <a:pPr marL="0" marR="0" lvl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     北京科技大学图书馆 </a:t>
            </a: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http://lib.ustb.edu.cn/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  <a:p>
            <a:pPr marL="0" marR="0" lvl="0" indent="0" algn="r" defTabSz="914400" rtl="0" eaLnBrk="0" fontAlgn="base" latinLnBrk="0" hangingPunct="0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en-US" altLang="zh-CN" sz="1600" b="1" i="0" u="none" strike="noStrike" kern="1200" cap="none" spc="0" normalizeH="0" baseline="0" noProof="0" dirty="0">
                <a:ln>
                  <a:noFill/>
                </a:ln>
                <a:solidFill>
                  <a:srgbClr val="376092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○ </a:t>
            </a:r>
            <a:r>
              <a:rPr kumimoji="0" lang="zh-CN" altLang="en-US" sz="1600" b="1" i="0" u="none" strike="noStrike" kern="1200" cap="none" spc="0" normalizeH="0" baseline="0" noProof="0" dirty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文献数据库资源</a:t>
            </a:r>
            <a:endParaRPr kumimoji="0" lang="zh-CN" altLang="en-US" sz="1600" b="1" i="0" u="none" strike="noStrike" kern="1200" cap="none" spc="0" normalizeH="0" baseline="0" noProof="0" dirty="0">
              <a:ln>
                <a:noFill/>
              </a:ln>
              <a:solidFill>
                <a:schemeClr val="bg1">
                  <a:lumMod val="50000"/>
                </a:schemeClr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  <a:p>
            <a:pPr marL="0" marR="0" lvl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     中国知网 </a:t>
            </a: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http://www.cnki.net/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  <a:p>
            <a:pPr marL="0" marR="0" lvl="0" indent="0" algn="r" defTabSz="914400" rtl="0" eaLnBrk="0" fontAlgn="base" latinLnBrk="0" hangingPunct="0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en-US" altLang="zh-CN" sz="1600" b="1" i="0" u="none" strike="noStrike" kern="1200" cap="none" spc="0" normalizeH="0" baseline="0" noProof="0" dirty="0">
                <a:ln>
                  <a:noFill/>
                </a:ln>
                <a:solidFill>
                  <a:srgbClr val="376092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○ </a:t>
            </a:r>
            <a:r>
              <a:rPr kumimoji="0" lang="zh-CN" altLang="en-US" sz="1600" b="1" i="0" u="none" strike="noStrike" kern="1200" cap="none" spc="0" normalizeH="0" baseline="0" noProof="0" dirty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公益志愿信息资源</a:t>
            </a:r>
            <a:endParaRPr kumimoji="0" lang="zh-CN" altLang="en-US" sz="1600" b="1" i="0" u="none" strike="noStrike" kern="1200" cap="none" spc="0" normalizeH="0" baseline="0" noProof="0" dirty="0">
              <a:ln>
                <a:noFill/>
              </a:ln>
              <a:solidFill>
                <a:schemeClr val="bg1">
                  <a:lumMod val="50000"/>
                </a:schemeClr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  <a:p>
            <a:pPr marL="0" marR="0" lvl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中国青年志愿者网 </a:t>
            </a: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http://www.zgzyz.org.cn/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  <a:p>
            <a:pPr marL="0" marR="0" lvl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中国扶贫基金会 </a:t>
            </a: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http://www.cfpa.org.cn/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  <a:p>
            <a:pPr marL="0" marR="0" lvl="0" indent="0" algn="r" defTabSz="914400" rtl="0" eaLnBrk="0" fontAlgn="base" latinLnBrk="0" hangingPunct="0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en-US" altLang="zh-CN" sz="1600" b="1" i="0" u="none" strike="noStrike" kern="1200" cap="none" spc="0" normalizeH="0" baseline="0" noProof="0" dirty="0">
                <a:ln>
                  <a:noFill/>
                </a:ln>
                <a:solidFill>
                  <a:srgbClr val="376092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○ </a:t>
            </a:r>
            <a:r>
              <a:rPr kumimoji="0" lang="zh-CN" altLang="en-US" sz="1600" b="1" i="0" u="none" strike="noStrike" kern="1200" cap="none" spc="0" normalizeH="0" baseline="0" noProof="0" dirty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主要时事新闻网站</a:t>
            </a:r>
            <a:endParaRPr kumimoji="0" lang="zh-CN" altLang="en-US" sz="1600" b="1" i="0" u="none" strike="noStrike" kern="1200" cap="none" spc="0" normalizeH="0" baseline="0" noProof="0" dirty="0">
              <a:ln>
                <a:noFill/>
              </a:ln>
              <a:solidFill>
                <a:schemeClr val="bg1">
                  <a:lumMod val="50000"/>
                </a:schemeClr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  <a:p>
            <a:pPr marL="0" marR="0" lvl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     新华网 </a:t>
            </a: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http://www.xinhuanet.com/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  <a:p>
            <a:pPr marL="0" marR="0" lvl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     人民网 </a:t>
            </a: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http://www.people.com.cn/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  <a:p>
            <a:pPr marL="0" marR="0" lvl="0" indent="0" algn="r" defTabSz="914400" rtl="0" eaLnBrk="0" fontAlgn="base" latinLnBrk="0" hangingPunct="0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en-US" altLang="zh-CN" sz="1600" b="1" i="0" u="none" strike="noStrike" kern="1200" cap="none" spc="0" normalizeH="0" baseline="0" noProof="0" dirty="0">
                <a:ln>
                  <a:noFill/>
                </a:ln>
                <a:solidFill>
                  <a:srgbClr val="376092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○ </a:t>
            </a:r>
            <a:r>
              <a:rPr kumimoji="0" lang="zh-CN" altLang="en-US" sz="1600" b="1" i="0" u="none" strike="noStrike" kern="1200" cap="none" spc="0" normalizeH="0" baseline="0" noProof="0" dirty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就业实习信息资源</a:t>
            </a:r>
            <a:endParaRPr kumimoji="0" lang="zh-CN" altLang="en-US" sz="1600" b="1" i="0" u="none" strike="noStrike" kern="1200" cap="none" spc="0" normalizeH="0" baseline="0" noProof="0" dirty="0">
              <a:ln>
                <a:noFill/>
              </a:ln>
              <a:solidFill>
                <a:schemeClr val="bg1">
                  <a:lumMod val="50000"/>
                </a:schemeClr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  <a:p>
            <a:pPr marL="0" marR="0" lvl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     中国国家人才网 </a:t>
            </a: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http://www.newjobs.com.cn/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  <a:p>
            <a:pPr marL="0" marR="0" lvl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     智联招聘 </a:t>
            </a: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http://www.zhaopin.com/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  <a:p>
            <a:pPr marL="0" marR="0" lvl="0" indent="0" algn="r" defTabSz="914400" rtl="0" eaLnBrk="0" fontAlgn="base" latinLnBrk="0" hangingPunct="0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en-US" altLang="zh-CN" sz="1600" b="1" i="0" u="none" strike="noStrike" kern="1200" cap="none" spc="0" normalizeH="0" baseline="0" noProof="0" dirty="0">
                <a:ln>
                  <a:noFill/>
                </a:ln>
                <a:solidFill>
                  <a:srgbClr val="376092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○ </a:t>
            </a:r>
            <a:r>
              <a:rPr kumimoji="0" lang="zh-CN" altLang="en-US" sz="1600" b="1" i="0" u="none" strike="noStrike" kern="1200" cap="none" spc="0" normalizeH="0" baseline="0" noProof="0" dirty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摄影摄像资源</a:t>
            </a:r>
            <a:endParaRPr kumimoji="0" lang="zh-CN" altLang="en-US" sz="1600" b="1" i="0" u="none" strike="noStrike" kern="1200" cap="none" spc="0" normalizeH="0" baseline="0" noProof="0" dirty="0">
              <a:ln>
                <a:noFill/>
              </a:ln>
              <a:solidFill>
                <a:schemeClr val="bg1">
                  <a:lumMod val="50000"/>
                </a:schemeClr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  <a:p>
            <a:pPr marL="0" marR="0" lvl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     人民图片网 </a:t>
            </a: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http://vip.people.com.cn/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pic>
        <p:nvPicPr>
          <p:cNvPr id="131074" name="Picture 2" descr="C:\Documents and Settings\liyang\桌面\11年操作指南封面.JPG"/>
          <p:cNvPicPr>
            <a:picLocks noChangeAspect="1" noChangeArrowheads="1"/>
          </p:cNvPicPr>
          <p:nvPr>
            <p:custDataLst>
              <p:tags r:id="rId1"/>
            </p:custDataLst>
          </p:nvPr>
        </p:nvPicPr>
        <p:blipFill>
          <a:blip r:embed="rId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2955" t="52785" r="16425" b="1112"/>
          <a:stretch>
            <a:fillRect/>
          </a:stretch>
        </p:blipFill>
        <p:spPr bwMode="auto">
          <a:xfrm>
            <a:off x="28575" y="2588101"/>
            <a:ext cx="3731895" cy="295941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矩形 4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312420" y="1689100"/>
            <a:ext cx="3164205" cy="398780"/>
          </a:xfrm>
          <a:prstGeom prst="rect">
            <a:avLst/>
          </a:prstGeom>
          <a:solidFill>
            <a:srgbClr val="C00000"/>
          </a:solidFill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zh-CN" altLang="en-US" sz="2000" b="1" dirty="0">
                <a:solidFill>
                  <a:schemeClr val="bg1"/>
                </a:solidFill>
                <a:ea typeface="微软雅黑" panose="020B0503020204020204" pitchFamily="34" charset="-122"/>
                <a:cs typeface="+mn-ea"/>
                <a:sym typeface="+mn-lt"/>
              </a:rPr>
              <a:t>社会实践相关网络资源</a:t>
            </a:r>
            <a:endParaRPr lang="zh-CN" altLang="en-US" sz="2000" b="1" dirty="0">
              <a:solidFill>
                <a:schemeClr val="bg1"/>
              </a:solidFill>
              <a:ea typeface="微软雅黑" panose="020B0503020204020204" pitchFamily="34" charset="-122"/>
              <a:cs typeface="+mn-ea"/>
              <a:sym typeface="+mn-lt"/>
            </a:endParaRPr>
          </a:p>
        </p:txBody>
      </p:sp>
      <p:sp>
        <p:nvSpPr>
          <p:cNvPr id="12" name="文本框 11"/>
          <p:cNvSpPr txBox="1"/>
          <p:nvPr>
            <p:custDataLst>
              <p:tags r:id="rId4"/>
            </p:custDataLst>
          </p:nvPr>
        </p:nvSpPr>
        <p:spPr>
          <a:xfrm>
            <a:off x="1188244" y="188365"/>
            <a:ext cx="4746542" cy="5067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l">
              <a:buClrTx/>
              <a:buSzTx/>
              <a:buFontTx/>
            </a:pPr>
            <a:r>
              <a:rPr lang="zh-CN" altLang="en-US" sz="2700" dirty="0">
                <a:solidFill>
                  <a:srgbClr val="C14635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参考资料列表</a:t>
            </a:r>
            <a:endParaRPr lang="zh-CN" altLang="en-US" sz="2700" dirty="0">
              <a:solidFill>
                <a:srgbClr val="C14635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  <a:sym typeface="+mn-ea"/>
            </a:endParaRPr>
          </a:p>
        </p:txBody>
      </p: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文本框 17"/>
          <p:cNvSpPr txBox="1"/>
          <p:nvPr/>
        </p:nvSpPr>
        <p:spPr>
          <a:xfrm>
            <a:off x="1067435" y="260985"/>
            <a:ext cx="2163445" cy="5067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>
              <a:buClrTx/>
              <a:buSzTx/>
              <a:buFontTx/>
            </a:pPr>
            <a:r>
              <a:rPr lang="zh-CN" altLang="en-US" sz="2700" dirty="0">
                <a:solidFill>
                  <a:srgbClr val="C14635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思维导图</a:t>
            </a:r>
            <a:endParaRPr lang="zh-CN" altLang="en-US" sz="2700" dirty="0">
              <a:solidFill>
                <a:srgbClr val="C14635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微软雅黑" panose="020B0503020204020204" pitchFamily="34" charset="-122"/>
              <a:ea typeface="微软雅黑" panose="020B0503020204020204" pitchFamily="34" charset="-122"/>
              <a:sym typeface="+mn-ea"/>
            </a:endParaRPr>
          </a:p>
        </p:txBody>
      </p:sp>
      <p:sp>
        <p:nvSpPr>
          <p:cNvPr id="3" name="矩形: 圆角 4"/>
          <p:cNvSpPr/>
          <p:nvPr/>
        </p:nvSpPr>
        <p:spPr>
          <a:xfrm>
            <a:off x="775456" y="3249860"/>
            <a:ext cx="2238375" cy="385445"/>
          </a:xfrm>
          <a:prstGeom prst="roundRect">
            <a:avLst/>
          </a:prstGeom>
          <a:solidFill>
            <a:srgbClr val="C14635"/>
          </a:solidFill>
          <a:ln>
            <a:solidFill>
              <a:srgbClr val="E46D0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350" b="1" dirty="0">
                <a:latin typeface="微软雅黑" panose="020B0503020204020204" pitchFamily="34" charset="-122"/>
                <a:ea typeface="微软雅黑" panose="020B0503020204020204" pitchFamily="34" charset="-122"/>
                <a:cs typeface="+mj-cs"/>
                <a:sym typeface="+mn-ea"/>
              </a:rPr>
              <a:t>社会实践考核与</a:t>
            </a:r>
            <a:r>
              <a:rPr lang="en-US" altLang="zh-CN" sz="1350" b="1" dirty="0">
                <a:latin typeface="微软雅黑" panose="020B0503020204020204" pitchFamily="34" charset="-122"/>
                <a:ea typeface="微软雅黑" panose="020B0503020204020204" pitchFamily="34" charset="-122"/>
                <a:cs typeface="+mj-cs"/>
                <a:sym typeface="+mn-ea"/>
              </a:rPr>
              <a:t>AI</a:t>
            </a:r>
            <a:r>
              <a:rPr lang="zh-CN" altLang="en-US" sz="1350" b="1" dirty="0">
                <a:latin typeface="微软雅黑" panose="020B0503020204020204" pitchFamily="34" charset="-122"/>
                <a:ea typeface="微软雅黑" panose="020B0503020204020204" pitchFamily="34" charset="-122"/>
                <a:cs typeface="+mj-cs"/>
                <a:sym typeface="+mn-ea"/>
              </a:rPr>
              <a:t>赋能</a:t>
            </a:r>
            <a:endParaRPr lang="zh-CN" altLang="en-US" sz="1350" b="1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6" name="标注: 弯曲线形 5"/>
          <p:cNvSpPr/>
          <p:nvPr/>
        </p:nvSpPr>
        <p:spPr>
          <a:xfrm>
            <a:off x="3426460" y="1848485"/>
            <a:ext cx="1774190" cy="323850"/>
          </a:xfrm>
          <a:prstGeom prst="borderCallout2">
            <a:avLst>
              <a:gd name="adj1" fmla="val 55490"/>
              <a:gd name="adj2" fmla="val 4366"/>
              <a:gd name="adj3" fmla="val 55490"/>
              <a:gd name="adj4" fmla="val -10379"/>
              <a:gd name="adj5" fmla="val 421764"/>
              <a:gd name="adj6" fmla="val -50250"/>
            </a:avLst>
          </a:prstGeom>
          <a:solidFill>
            <a:srgbClr val="C14635"/>
          </a:solidFill>
          <a:ln>
            <a:solidFill>
              <a:srgbClr val="C1463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35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社会实践的考核概述</a:t>
            </a:r>
            <a:endParaRPr lang="zh-CN" altLang="en-US" sz="1350" b="1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cxnSp>
        <p:nvCxnSpPr>
          <p:cNvPr id="56" name="直接连接符 55"/>
          <p:cNvCxnSpPr/>
          <p:nvPr/>
        </p:nvCxnSpPr>
        <p:spPr>
          <a:xfrm flipV="1">
            <a:off x="5191039" y="2086496"/>
            <a:ext cx="291465" cy="1905"/>
          </a:xfrm>
          <a:prstGeom prst="line">
            <a:avLst/>
          </a:prstGeom>
          <a:ln w="28575">
            <a:solidFill>
              <a:srgbClr val="C1463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4" name="矩形 53"/>
          <p:cNvSpPr/>
          <p:nvPr/>
        </p:nvSpPr>
        <p:spPr>
          <a:xfrm>
            <a:off x="3538167" y="4357701"/>
            <a:ext cx="1643380" cy="431800"/>
          </a:xfrm>
          <a:prstGeom prst="rect">
            <a:avLst/>
          </a:prstGeom>
          <a:solidFill>
            <a:srgbClr val="C14635"/>
          </a:solidFill>
          <a:ln>
            <a:solidFill>
              <a:srgbClr val="C1463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35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AI</a:t>
            </a:r>
            <a:r>
              <a:rPr lang="zh-CN" altLang="en-US" sz="135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赋能</a:t>
            </a:r>
            <a:r>
              <a:rPr lang="zh-CN" altLang="en-US" sz="135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社会实践</a:t>
            </a:r>
            <a:endParaRPr lang="zh-CN" altLang="en-US" sz="1350" b="1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3" name="左中括号 12"/>
          <p:cNvSpPr/>
          <p:nvPr/>
        </p:nvSpPr>
        <p:spPr>
          <a:xfrm>
            <a:off x="5482590" y="1405255"/>
            <a:ext cx="200660" cy="1576070"/>
          </a:xfrm>
          <a:prstGeom prst="leftBracket">
            <a:avLst/>
          </a:prstGeom>
          <a:noFill/>
          <a:ln w="28575">
            <a:solidFill>
              <a:srgbClr val="C1463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zh-CN" altLang="en-US" sz="1350" b="1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5" name="矩形 14"/>
          <p:cNvSpPr/>
          <p:nvPr/>
        </p:nvSpPr>
        <p:spPr>
          <a:xfrm>
            <a:off x="5641340" y="1068705"/>
            <a:ext cx="2110740" cy="546735"/>
          </a:xfrm>
          <a:prstGeom prst="rect">
            <a:avLst/>
          </a:prstGeom>
          <a:solidFill>
            <a:schemeClr val="bg1"/>
          </a:solidFill>
          <a:ln>
            <a:solidFill>
              <a:srgbClr val="E46D0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hangingPunct="1"/>
            <a:r>
              <a:rPr lang="zh-CN" altLang="en-US" sz="1400" b="1" dirty="0">
                <a:solidFill>
                  <a:schemeClr val="tx1"/>
                </a:solidFill>
              </a:rPr>
              <a:t>社会实践考核评价</a:t>
            </a:r>
            <a:endParaRPr lang="zh-CN" altLang="en-US" sz="1400" b="1" dirty="0">
              <a:solidFill>
                <a:schemeClr val="tx1"/>
              </a:solidFill>
            </a:endParaRPr>
          </a:p>
          <a:p>
            <a:pPr algn="ctr" eaLnBrk="1" hangingPunct="1"/>
            <a:r>
              <a:rPr lang="zh-CN" altLang="en-US" sz="1400" b="1" dirty="0">
                <a:solidFill>
                  <a:schemeClr val="tx1"/>
                </a:solidFill>
              </a:rPr>
              <a:t>的目的与意义</a:t>
            </a:r>
            <a:endParaRPr lang="zh-CN" altLang="en-US" sz="1400" b="1" dirty="0">
              <a:solidFill>
                <a:schemeClr val="tx1"/>
              </a:solidFill>
            </a:endParaRPr>
          </a:p>
        </p:txBody>
      </p:sp>
      <p:sp>
        <p:nvSpPr>
          <p:cNvPr id="16" name="矩形 15"/>
          <p:cNvSpPr/>
          <p:nvPr/>
        </p:nvSpPr>
        <p:spPr>
          <a:xfrm>
            <a:off x="5647690" y="2773045"/>
            <a:ext cx="2104390" cy="520700"/>
          </a:xfrm>
          <a:prstGeom prst="rect">
            <a:avLst/>
          </a:prstGeom>
          <a:solidFill>
            <a:schemeClr val="bg1"/>
          </a:solidFill>
          <a:ln>
            <a:solidFill>
              <a:srgbClr val="E46D0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hangingPunct="1"/>
            <a:r>
              <a:rPr lang="zh-CN" altLang="en-US" sz="1400" b="1" dirty="0">
                <a:solidFill>
                  <a:schemeClr val="tx1"/>
                </a:solidFill>
              </a:rPr>
              <a:t>社会实践的考核方式与应对方法</a:t>
            </a:r>
            <a:endParaRPr lang="zh-CN" altLang="en-US" sz="1400" b="1" dirty="0">
              <a:solidFill>
                <a:schemeClr val="tx1"/>
              </a:solidFill>
            </a:endParaRPr>
          </a:p>
        </p:txBody>
      </p:sp>
      <p:cxnSp>
        <p:nvCxnSpPr>
          <p:cNvPr id="26" name="直接连接符 25"/>
          <p:cNvCxnSpPr/>
          <p:nvPr/>
        </p:nvCxnSpPr>
        <p:spPr>
          <a:xfrm>
            <a:off x="2572038" y="3649114"/>
            <a:ext cx="736600" cy="915035"/>
          </a:xfrm>
          <a:prstGeom prst="line">
            <a:avLst/>
          </a:prstGeom>
          <a:solidFill>
            <a:srgbClr val="C14635"/>
          </a:solidFill>
          <a:ln>
            <a:solidFill>
              <a:srgbClr val="C1463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28" name="直接连接符 27"/>
          <p:cNvCxnSpPr/>
          <p:nvPr/>
        </p:nvCxnSpPr>
        <p:spPr>
          <a:xfrm>
            <a:off x="3311426" y="4563441"/>
            <a:ext cx="241017" cy="0"/>
          </a:xfrm>
          <a:prstGeom prst="line">
            <a:avLst/>
          </a:prstGeom>
          <a:solidFill>
            <a:srgbClr val="C14635"/>
          </a:solidFill>
          <a:ln>
            <a:solidFill>
              <a:srgbClr val="C1463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29" name="直接连接符 28"/>
          <p:cNvCxnSpPr/>
          <p:nvPr/>
        </p:nvCxnSpPr>
        <p:spPr>
          <a:xfrm>
            <a:off x="5097530" y="4657267"/>
            <a:ext cx="524646" cy="0"/>
          </a:xfrm>
          <a:prstGeom prst="line">
            <a:avLst/>
          </a:prstGeom>
          <a:ln w="28575">
            <a:solidFill>
              <a:srgbClr val="C1463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左中括号 29"/>
          <p:cNvSpPr/>
          <p:nvPr/>
        </p:nvSpPr>
        <p:spPr>
          <a:xfrm>
            <a:off x="5608369" y="4211471"/>
            <a:ext cx="261572" cy="1080504"/>
          </a:xfrm>
          <a:prstGeom prst="leftBracket">
            <a:avLst/>
          </a:prstGeom>
          <a:noFill/>
          <a:ln w="28575">
            <a:solidFill>
              <a:srgbClr val="C1463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zh-CN" altLang="en-US" sz="1350" b="1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1" name="矩形 30"/>
          <p:cNvSpPr/>
          <p:nvPr/>
        </p:nvSpPr>
        <p:spPr>
          <a:xfrm>
            <a:off x="5647690" y="1926590"/>
            <a:ext cx="2110105" cy="535305"/>
          </a:xfrm>
          <a:prstGeom prst="rect">
            <a:avLst/>
          </a:prstGeom>
          <a:solidFill>
            <a:schemeClr val="bg1"/>
          </a:solidFill>
          <a:ln>
            <a:solidFill>
              <a:srgbClr val="E46D0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hangingPunct="1"/>
            <a:r>
              <a:rPr lang="zh-CN" altLang="en-US" sz="1400" b="1" dirty="0">
                <a:solidFill>
                  <a:schemeClr val="tx1"/>
                </a:solidFill>
                <a:sym typeface="+mn-ea"/>
              </a:rPr>
              <a:t>社会实践考核评价</a:t>
            </a:r>
            <a:endParaRPr lang="zh-CN" altLang="en-US" sz="1400" b="1" dirty="0">
              <a:solidFill>
                <a:schemeClr val="tx1"/>
              </a:solidFill>
            </a:endParaRPr>
          </a:p>
          <a:p>
            <a:pPr algn="ctr" eaLnBrk="1" hangingPunct="1"/>
            <a:r>
              <a:rPr lang="zh-CN" altLang="en-US" sz="1400" b="1" dirty="0">
                <a:solidFill>
                  <a:schemeClr val="tx1"/>
                </a:solidFill>
                <a:sym typeface="+mn-ea"/>
              </a:rPr>
              <a:t>的内容</a:t>
            </a:r>
            <a:endParaRPr lang="zh-CN" altLang="en-US" sz="1400" b="1" dirty="0">
              <a:solidFill>
                <a:schemeClr val="tx1"/>
              </a:solidFill>
            </a:endParaRPr>
          </a:p>
        </p:txBody>
      </p:sp>
      <p:sp>
        <p:nvSpPr>
          <p:cNvPr id="61" name="矩形 60"/>
          <p:cNvSpPr/>
          <p:nvPr/>
        </p:nvSpPr>
        <p:spPr>
          <a:xfrm>
            <a:off x="5808980" y="5060950"/>
            <a:ext cx="2109470" cy="473075"/>
          </a:xfrm>
          <a:prstGeom prst="rect">
            <a:avLst/>
          </a:prstGeom>
          <a:solidFill>
            <a:schemeClr val="bg1"/>
          </a:solidFill>
          <a:ln>
            <a:solidFill>
              <a:srgbClr val="E46D0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hangingPunct="1"/>
            <a:r>
              <a:rPr lang="zh-CN" altLang="en-US" sz="1400" b="1" dirty="0">
                <a:solidFill>
                  <a:schemeClr val="tx1"/>
                </a:solidFill>
              </a:rPr>
              <a:t>应用实例</a:t>
            </a:r>
            <a:endParaRPr lang="zh-CN" altLang="en-US" sz="1400" b="1" dirty="0">
              <a:solidFill>
                <a:schemeClr val="tx1"/>
              </a:solidFill>
            </a:endParaRPr>
          </a:p>
        </p:txBody>
      </p:sp>
      <p:sp>
        <p:nvSpPr>
          <p:cNvPr id="2" name="矩形 1"/>
          <p:cNvSpPr/>
          <p:nvPr/>
        </p:nvSpPr>
        <p:spPr>
          <a:xfrm>
            <a:off x="5809011" y="3974402"/>
            <a:ext cx="2110108" cy="473075"/>
          </a:xfrm>
          <a:prstGeom prst="rect">
            <a:avLst/>
          </a:prstGeom>
          <a:solidFill>
            <a:schemeClr val="bg1"/>
          </a:solidFill>
          <a:ln>
            <a:solidFill>
              <a:srgbClr val="E46D0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 eaLnBrk="1" hangingPunct="1"/>
            <a:r>
              <a:rPr lang="zh-CN" altLang="en-US" sz="1400" b="1" dirty="0">
                <a:solidFill>
                  <a:schemeClr val="tx1"/>
                </a:solidFill>
              </a:rPr>
              <a:t>常用的</a:t>
            </a:r>
            <a:r>
              <a:rPr lang="en-US" altLang="zh-CN" sz="1400" b="1" dirty="0">
                <a:solidFill>
                  <a:schemeClr val="tx1"/>
                </a:solidFill>
              </a:rPr>
              <a:t>AI</a:t>
            </a:r>
            <a:r>
              <a:rPr lang="zh-CN" altLang="en-US" sz="1400" b="1" dirty="0">
                <a:solidFill>
                  <a:schemeClr val="tx1"/>
                </a:solidFill>
              </a:rPr>
              <a:t>工具</a:t>
            </a:r>
            <a:endParaRPr lang="zh-CN" altLang="en-US" sz="1400" b="1" dirty="0">
              <a:solidFill>
                <a:schemeClr val="tx1"/>
              </a:solidFill>
            </a:endParaRPr>
          </a:p>
        </p:txBody>
      </p:sp>
      <p:sp>
        <p:nvSpPr>
          <p:cNvPr id="4" name="矩形 3"/>
          <p:cNvSpPr/>
          <p:nvPr/>
        </p:nvSpPr>
        <p:spPr>
          <a:xfrm>
            <a:off x="3508957" y="3218511"/>
            <a:ext cx="1643380" cy="431800"/>
          </a:xfrm>
          <a:prstGeom prst="rect">
            <a:avLst/>
          </a:prstGeom>
          <a:solidFill>
            <a:srgbClr val="C14635"/>
          </a:solidFill>
          <a:ln>
            <a:solidFill>
              <a:srgbClr val="C1463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r>
              <a:rPr lang="zh-CN" altLang="en-US" sz="135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校级重点</a:t>
            </a:r>
            <a:r>
              <a:rPr lang="zh-CN" altLang="en-US" sz="135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项目</a:t>
            </a:r>
            <a:endParaRPr lang="zh-CN" altLang="en-US" sz="1350" b="1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cxnSp>
        <p:nvCxnSpPr>
          <p:cNvPr id="5" name="直接连接符 4"/>
          <p:cNvCxnSpPr>
            <a:stCxn id="3" idx="3"/>
            <a:endCxn id="4" idx="1"/>
          </p:cNvCxnSpPr>
          <p:nvPr/>
        </p:nvCxnSpPr>
        <p:spPr>
          <a:xfrm flipV="1">
            <a:off x="3013998" y="3434484"/>
            <a:ext cx="495300" cy="8255"/>
          </a:xfrm>
          <a:prstGeom prst="line">
            <a:avLst/>
          </a:prstGeom>
          <a:solidFill>
            <a:srgbClr val="C14635"/>
          </a:solidFill>
          <a:ln>
            <a:solidFill>
              <a:srgbClr val="C1463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</p:spTree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3"/>
          <p:cNvSpPr/>
          <p:nvPr/>
        </p:nvSpPr>
        <p:spPr bwMode="auto">
          <a:xfrm>
            <a:off x="1059815" y="2998788"/>
            <a:ext cx="7023100" cy="3105150"/>
          </a:xfrm>
          <a:prstGeom prst="rect">
            <a:avLst/>
          </a:prstGeo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wrap="square" anchor="ctr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20000"/>
              </a:lnSpc>
              <a:spcBef>
                <a:spcPts val="40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zh-CN" alt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办公地点：</a:t>
            </a:r>
            <a:r>
              <a:rPr kumimoji="0" lang="zh-CN" alt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学生活动中心</a:t>
            </a:r>
            <a:r>
              <a:rPr kumimoji="0" lang="en-US" altLang="zh-CN" sz="16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7#215        62334634    </a:t>
            </a:r>
            <a:endParaRPr kumimoji="0" lang="en-US" altLang="zh-CN" sz="16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Times New Roman" panose="02020603050405020304" pitchFamily="18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20000"/>
              </a:lnSpc>
              <a:spcBef>
                <a:spcPts val="40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zh-CN" alt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上班时间：周一 </a:t>
            </a:r>
            <a:r>
              <a:rPr kumimoji="0" lang="en-US" altLang="zh-CN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~ </a:t>
            </a:r>
            <a:r>
              <a:rPr kumimoji="0" lang="zh-CN" alt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周五</a:t>
            </a:r>
            <a:endParaRPr kumimoji="0" lang="en-US" altLang="zh-CN" sz="1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Times New Roman" panose="02020603050405020304" pitchFamily="18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20000"/>
              </a:lnSpc>
              <a:spcBef>
                <a:spcPts val="40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en-US" altLang="zh-CN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                </a:t>
            </a:r>
            <a:r>
              <a:rPr kumimoji="0" lang="zh-CN" alt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上午</a:t>
            </a:r>
            <a:r>
              <a:rPr kumimoji="0" lang="en-US" altLang="zh-CN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8:00~11:30 </a:t>
            </a:r>
            <a:r>
              <a:rPr kumimoji="0" lang="zh-CN" alt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下午</a:t>
            </a:r>
            <a:r>
              <a:rPr kumimoji="0" lang="en-US" altLang="zh-CN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14:00~17:00</a:t>
            </a:r>
            <a:endParaRPr kumimoji="0" lang="en-US" altLang="zh-CN" sz="1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Times New Roman" panose="02020603050405020304" pitchFamily="18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20000"/>
              </a:lnSpc>
              <a:spcBef>
                <a:spcPts val="40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zh-CN" alt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电子信箱：</a:t>
            </a:r>
            <a:r>
              <a:rPr kumimoji="0" lang="en-US" altLang="zh-CN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ustbsjb@126.com </a:t>
            </a:r>
            <a:endParaRPr kumimoji="0" lang="en-US" altLang="zh-CN" sz="1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Times New Roman" panose="02020603050405020304" pitchFamily="18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20000"/>
              </a:lnSpc>
              <a:spcBef>
                <a:spcPts val="40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zh-CN" alt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大学生社会实践</a:t>
            </a:r>
            <a:r>
              <a:rPr kumimoji="0" lang="zh-CN" alt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课程网：</a:t>
            </a:r>
            <a:r>
              <a:rPr kumimoji="0" lang="en-US" altLang="zh-CN" sz="16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http://ishijian.ustb.edu.cn </a:t>
            </a:r>
            <a:endParaRPr kumimoji="0" lang="en-US" altLang="zh-CN" sz="16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Times New Roman" panose="02020603050405020304" pitchFamily="18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20000"/>
              </a:lnSpc>
              <a:spcBef>
                <a:spcPts val="40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zh-CN" alt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北京科技大学社会实践管理信息系统：</a:t>
            </a:r>
            <a:r>
              <a:rPr kumimoji="0" lang="en-US" altLang="zh-CN" sz="16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https://e.ustb.edu.cn/v2/matter/start?id=1105</a:t>
            </a:r>
            <a:r>
              <a:rPr kumimoji="0" lang="en-US" altLang="zh-CN" sz="16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  </a:t>
            </a:r>
            <a:r>
              <a:rPr kumimoji="0" lang="en-US" altLang="zh-CN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 </a:t>
            </a:r>
            <a:endParaRPr kumimoji="0" lang="en-US" altLang="zh-CN" sz="1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Times New Roman" panose="02020603050405020304" pitchFamily="18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20000"/>
              </a:lnSpc>
              <a:spcBef>
                <a:spcPts val="40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zh-CN" alt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官方新浪微博：</a:t>
            </a:r>
            <a:r>
              <a:rPr kumimoji="0" lang="zh-CN" alt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北科大青年</a:t>
            </a:r>
            <a:endParaRPr kumimoji="0" lang="en-US" altLang="zh-CN" sz="16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Times New Roman" panose="02020603050405020304" pitchFamily="18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20000"/>
              </a:lnSpc>
              <a:spcBef>
                <a:spcPts val="40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zh-CN" alt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微信平台：</a:t>
            </a:r>
            <a:r>
              <a:rPr kumimoji="0" lang="zh-CN" alt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北科大青年、北科大实践志愿小博士</a:t>
            </a:r>
            <a:endParaRPr kumimoji="0" lang="zh-CN" altLang="en-US" sz="16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Times New Roman" panose="02020603050405020304" pitchFamily="18" charset="0"/>
            </a:endParaRPr>
          </a:p>
        </p:txBody>
      </p:sp>
      <p:pic>
        <p:nvPicPr>
          <p:cNvPr id="6" name="图片 5"/>
          <p:cNvPicPr>
            <a:picLocks noChangeAspect="1"/>
          </p:cNvPicPr>
          <p:nvPr/>
        </p:nvPicPr>
        <p:blipFill>
          <a:blip r:embed="rId1"/>
          <a:srcRect b="21563"/>
          <a:stretch>
            <a:fillRect/>
          </a:stretch>
        </p:blipFill>
        <p:spPr>
          <a:xfrm>
            <a:off x="2576671" y="1195301"/>
            <a:ext cx="3819049" cy="1524476"/>
          </a:xfrm>
          <a:prstGeom prst="rect">
            <a:avLst/>
          </a:prstGeom>
        </p:spPr>
      </p:pic>
      <p:sp>
        <p:nvSpPr>
          <p:cNvPr id="3" name="文本框 2"/>
          <p:cNvSpPr txBox="1"/>
          <p:nvPr/>
        </p:nvSpPr>
        <p:spPr>
          <a:xfrm>
            <a:off x="12011025" y="3726815"/>
            <a:ext cx="3048000" cy="3683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zh-CN" altLang="en-US"/>
          </a:p>
        </p:txBody>
      </p:sp>
      <p:sp>
        <p:nvSpPr>
          <p:cNvPr id="12" name="文本框 11"/>
          <p:cNvSpPr txBox="1"/>
          <p:nvPr>
            <p:custDataLst>
              <p:tags r:id="rId2"/>
            </p:custDataLst>
          </p:nvPr>
        </p:nvSpPr>
        <p:spPr>
          <a:xfrm>
            <a:off x="1188244" y="188365"/>
            <a:ext cx="4746542" cy="5067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l">
              <a:buClrTx/>
              <a:buSzTx/>
              <a:buFontTx/>
            </a:pPr>
            <a:r>
              <a:rPr lang="zh-CN" altLang="en-US" sz="2700" dirty="0">
                <a:solidFill>
                  <a:srgbClr val="C14635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校团委实践部联系方式</a:t>
            </a:r>
            <a:endParaRPr lang="zh-CN" altLang="en-US" sz="2700" dirty="0">
              <a:solidFill>
                <a:srgbClr val="C14635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  <a:sym typeface="+mn-ea"/>
            </a:endParaRPr>
          </a:p>
        </p:txBody>
      </p:sp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文本框 1"/>
          <p:cNvSpPr txBox="1"/>
          <p:nvPr>
            <p:custDataLst>
              <p:tags r:id="rId1"/>
            </p:custDataLst>
          </p:nvPr>
        </p:nvSpPr>
        <p:spPr>
          <a:xfrm>
            <a:off x="1187450" y="194628"/>
            <a:ext cx="1789271" cy="5067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zh-CN" altLang="en-US" sz="2700" dirty="0">
                <a:solidFill>
                  <a:srgbClr val="C14635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rPr>
              <a:t>课程导入</a:t>
            </a:r>
            <a:endParaRPr lang="zh-CN" altLang="en-US" sz="2700" dirty="0">
              <a:solidFill>
                <a:srgbClr val="C14635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" name="îṡ1îḍe"/>
          <p:cNvSpPr/>
          <p:nvPr/>
        </p:nvSpPr>
        <p:spPr>
          <a:xfrm>
            <a:off x="2699782" y="1090319"/>
            <a:ext cx="3744436" cy="480060"/>
          </a:xfrm>
          <a:prstGeom prst="roundRect">
            <a:avLst/>
          </a:prstGeom>
          <a:gradFill flip="none" rotWithShape="1">
            <a:gsLst>
              <a:gs pos="0">
                <a:srgbClr val="A22B17">
                  <a:lumMod val="94000"/>
                  <a:lumOff val="6000"/>
                </a:srgbClr>
              </a:gs>
              <a:gs pos="100000">
                <a:srgbClr val="A22B17">
                  <a:alpha val="72000"/>
                  <a:lumMod val="85000"/>
                  <a:lumOff val="15000"/>
                </a:srgb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21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社会实践考核与</a:t>
            </a:r>
            <a:r>
              <a:rPr lang="en-US" altLang="zh-CN" sz="21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AI</a:t>
            </a:r>
            <a:r>
              <a:rPr lang="zh-CN" altLang="en-US" sz="21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赋能</a:t>
            </a:r>
            <a:endParaRPr lang="zh-CN" altLang="en-US" sz="21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5" name="文本框 4"/>
          <p:cNvSpPr txBox="1"/>
          <p:nvPr/>
        </p:nvSpPr>
        <p:spPr bwMode="auto">
          <a:xfrm>
            <a:off x="957248" y="1959029"/>
            <a:ext cx="7416824" cy="4050030"/>
          </a:xfrm>
          <a:prstGeom prst="rect">
            <a:avLst/>
          </a:prstGeom>
          <a:noFill/>
          <a:ln w="25400" algn="ctr">
            <a:noFill/>
            <a:miter lim="800000"/>
          </a:ln>
        </p:spPr>
        <p:txBody>
          <a:bodyPr wrap="square">
            <a:spAutoFit/>
          </a:bodyPr>
          <a:lstStyle/>
          <a:p>
            <a:pPr eaLnBrk="1" fontAlgn="auto" hangingPunct="1">
              <a:lnSpc>
                <a:spcPct val="130000"/>
              </a:lnSpc>
            </a:pPr>
            <a:r>
              <a:rPr lang="zh-CN" altLang="en-US" sz="2200" dirty="0">
                <a:solidFill>
                  <a:srgbClr val="C14635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课程概述：</a:t>
            </a:r>
            <a:endParaRPr lang="en-US" altLang="zh-CN" sz="2200" dirty="0">
              <a:solidFill>
                <a:srgbClr val="C14635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eaLnBrk="1" fontAlgn="auto" hangingPunct="1">
              <a:lnSpc>
                <a:spcPct val="130000"/>
              </a:lnSpc>
            </a:pPr>
            <a:r>
              <a:rPr lang="zh-CN" altLang="en-US" sz="2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      </a:t>
            </a:r>
            <a:r>
              <a:rPr lang="zh-CN" altLang="en-US" sz="22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本章主要内容为社会实践的考核与</a:t>
            </a:r>
            <a:r>
              <a:rPr lang="en-US" altLang="zh-CN" sz="22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AI</a:t>
            </a:r>
            <a:r>
              <a:rPr lang="zh-CN" altLang="en-US" sz="22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赋能，包括社会实践考核的目的与意义、社会实践考核评价的内容、社会实践的考核方式与应对方法和</a:t>
            </a:r>
            <a:r>
              <a:rPr lang="en-US" altLang="zh-CN" sz="22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AI</a:t>
            </a:r>
            <a:r>
              <a:rPr lang="zh-CN" altLang="en-US" sz="22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赋能社会实践的方法两个部分</a:t>
            </a:r>
            <a:r>
              <a:rPr lang="zh-CN" altLang="en-US" sz="22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。</a:t>
            </a:r>
            <a:endParaRPr lang="zh-CN" altLang="en-US" sz="2200" dirty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eaLnBrk="1" fontAlgn="auto" hangingPunct="1">
              <a:lnSpc>
                <a:spcPct val="130000"/>
              </a:lnSpc>
            </a:pPr>
            <a:r>
              <a:rPr lang="zh-CN" altLang="en-US" sz="2200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教学目的和要求：</a:t>
            </a:r>
            <a:endParaRPr lang="en-US" altLang="zh-CN" sz="2200" dirty="0">
              <a:solidFill>
                <a:srgbClr val="C14635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0" indent="0" eaLnBrk="1" fontAlgn="auto" hangingPunct="1">
              <a:lnSpc>
                <a:spcPct val="130000"/>
              </a:lnSpc>
            </a:pPr>
            <a:r>
              <a:rPr lang="en-US" altLang="zh-CN" sz="2200" dirty="0">
                <a:solidFill>
                  <a:srgbClr val="C14635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     </a:t>
            </a:r>
            <a:r>
              <a:rPr lang="zh-CN" altLang="en-US" sz="22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要求学生学习社会实践考核的目的意义，了解社会实践考核评价的标准，了解各种社会实践考评的方式并掌握应对方法，掌握</a:t>
            </a:r>
            <a:r>
              <a:rPr lang="en-US" altLang="zh-CN" sz="22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AI</a:t>
            </a:r>
            <a:r>
              <a:rPr lang="zh-CN" altLang="en-US" sz="22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赋能社会实践的方法</a:t>
            </a:r>
            <a:r>
              <a:rPr lang="zh-CN" altLang="en-US" sz="22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。</a:t>
            </a:r>
            <a:endParaRPr lang="zh-CN" altLang="en-US" sz="2200" dirty="0">
              <a:solidFill>
                <a:prstClr val="black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文本框 9"/>
          <p:cNvSpPr txBox="1"/>
          <p:nvPr/>
        </p:nvSpPr>
        <p:spPr>
          <a:xfrm>
            <a:off x="3410585" y="2061210"/>
            <a:ext cx="2079625" cy="7143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zh-CN" altLang="en-US" sz="4050" b="1" spc="600" dirty="0">
                <a:solidFill>
                  <a:srgbClr val="C00000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阿里巴巴普惠体 Heavy" panose="00020600040101010101" pitchFamily="18" charset="-122"/>
              </a:rPr>
              <a:t>第一章</a:t>
            </a:r>
            <a:endParaRPr lang="zh-CN" altLang="en-US" sz="4050" b="1" spc="600" dirty="0">
              <a:solidFill>
                <a:srgbClr val="C00000"/>
              </a:solidFill>
              <a:effectLst/>
              <a:latin typeface="微软雅黑" panose="020B0503020204020204" pitchFamily="34" charset="-122"/>
              <a:ea typeface="微软雅黑" panose="020B0503020204020204" pitchFamily="34" charset="-122"/>
              <a:cs typeface="阿里巴巴普惠体 Heavy" panose="00020600040101010101" pitchFamily="18" charset="-122"/>
            </a:endParaRPr>
          </a:p>
        </p:txBody>
      </p:sp>
      <p:sp>
        <p:nvSpPr>
          <p:cNvPr id="11" name="矩形 10"/>
          <p:cNvSpPr/>
          <p:nvPr/>
        </p:nvSpPr>
        <p:spPr>
          <a:xfrm>
            <a:off x="1115695" y="3500755"/>
            <a:ext cx="7023735" cy="71437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Overflow="overflow" horzOverflow="overflow" vert="horz" wrap="square" numCol="1" spcCol="0" rtlCol="0" fromWordArt="0" anchor="ctr" anchorCtr="0" forceAA="0" compatLnSpc="1">
            <a:noAutofit/>
          </a:bodyPr>
          <a:lstStyle/>
          <a:p>
            <a:pPr lvl="0" algn="ctr">
              <a:lnSpc>
                <a:spcPct val="100000"/>
              </a:lnSpc>
              <a:buClrTx/>
              <a:buSzTx/>
              <a:buFontTx/>
            </a:pPr>
            <a:r>
              <a:rPr lang="zh-CN" altLang="en-US" sz="4400" b="1" dirty="0">
                <a:solidFill>
                  <a:srgbClr val="C00000"/>
                </a:solidFill>
                <a:latin typeface="宋体" panose="02010600030101010101" pitchFamily="2" charset="-122"/>
                <a:ea typeface="宋体" panose="02010600030101010101" pitchFamily="2" charset="-122"/>
                <a:sym typeface="+mn-ea"/>
              </a:rPr>
              <a:t>社会实践的考核概述</a:t>
            </a:r>
            <a:endParaRPr lang="zh-CN" altLang="en-US" sz="4400" b="1" dirty="0">
              <a:solidFill>
                <a:srgbClr val="C00000"/>
              </a:solidFill>
              <a:latin typeface="宋体" panose="02010600030101010101" pitchFamily="2" charset="-122"/>
              <a:ea typeface="宋体" panose="02010600030101010101" pitchFamily="2" charset="-122"/>
              <a:sym typeface="+mn-ea"/>
            </a:endParaRPr>
          </a:p>
        </p:txBody>
      </p:sp>
      <p:cxnSp>
        <p:nvCxnSpPr>
          <p:cNvPr id="12" name="直接连接符 11"/>
          <p:cNvCxnSpPr/>
          <p:nvPr>
            <p:custDataLst>
              <p:tags r:id="rId1"/>
            </p:custDataLst>
          </p:nvPr>
        </p:nvCxnSpPr>
        <p:spPr>
          <a:xfrm flipV="1">
            <a:off x="1116561" y="3069138"/>
            <a:ext cx="6911975" cy="11430"/>
          </a:xfrm>
          <a:prstGeom prst="line">
            <a:avLst/>
          </a:prstGeom>
          <a:ln w="12700">
            <a:gradFill flip="none" rotWithShape="1">
              <a:gsLst>
                <a:gs pos="0">
                  <a:srgbClr val="CA351C">
                    <a:alpha val="0"/>
                  </a:srgbClr>
                </a:gs>
                <a:gs pos="100000">
                  <a:srgbClr val="CA351C"/>
                </a:gs>
              </a:gsLst>
              <a:lin ang="1080000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圆角矩形 4"/>
          <p:cNvSpPr/>
          <p:nvPr/>
        </p:nvSpPr>
        <p:spPr>
          <a:xfrm>
            <a:off x="1568450" y="3748088"/>
            <a:ext cx="6007100" cy="809625"/>
          </a:xfrm>
          <a:prstGeom prst="rect">
            <a:avLst/>
          </a:prstGeom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137160" tIns="137160" rIns="137160" bIns="137160" spcCol="1270" anchor="ctr"/>
          <a:lstStyle/>
          <a:p>
            <a:pPr defTabSz="1600200">
              <a:lnSpc>
                <a:spcPct val="90000"/>
              </a:lnSpc>
              <a:spcAft>
                <a:spcPct val="35000"/>
              </a:spcAft>
              <a:defRPr/>
            </a:pPr>
            <a:endParaRPr lang="zh-CN" altLang="en-US" sz="3600">
              <a:solidFill>
                <a:prstClr val="white"/>
              </a:solidFill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490538" y="1506810"/>
            <a:ext cx="8153400" cy="554038"/>
          </a:xfrm>
          <a:prstGeom prst="rect">
            <a:avLst/>
          </a:prstGeom>
          <a:solidFill>
            <a:srgbClr val="C00000"/>
          </a:solidFill>
          <a:ln>
            <a:solidFill>
              <a:schemeClr val="accent3">
                <a:lumMod val="50000"/>
              </a:schemeClr>
            </a:solidFill>
          </a:ln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>
            <a:spAutoFit/>
          </a:bodyPr>
          <a:lstStyle/>
          <a:p>
            <a:pPr algn="ctr">
              <a:defRPr/>
            </a:pPr>
            <a:r>
              <a:rPr lang="zh-CN" altLang="en-US" sz="3000" b="1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社会实践考核评价的目的与意义</a:t>
            </a:r>
            <a:endParaRPr lang="zh-CN" altLang="zh-CN" sz="3000" b="1" dirty="0">
              <a:solidFill>
                <a:prstClr val="white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0249" name="TextBox 6"/>
          <p:cNvSpPr txBox="1"/>
          <p:nvPr/>
        </p:nvSpPr>
        <p:spPr bwMode="auto">
          <a:xfrm>
            <a:off x="484188" y="2165955"/>
            <a:ext cx="8153400" cy="400110"/>
          </a:xfrm>
          <a:prstGeom prst="rect">
            <a:avLst/>
          </a:prstGeom>
          <a:solidFill>
            <a:schemeClr val="bg1">
              <a:alpha val="70195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9pPr>
          </a:lstStyle>
          <a:p>
            <a:r>
              <a:rPr lang="zh-CN" altLang="en-US" sz="2000" dirty="0">
                <a:solidFill>
                  <a:srgbClr val="0D0D0D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目的：对高校（组织者）与大学生（参与者）来说是不同的</a:t>
            </a:r>
            <a:endParaRPr lang="zh-CN" altLang="en-US" sz="2000" dirty="0">
              <a:solidFill>
                <a:srgbClr val="0D0D0D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pSp>
        <p:nvGrpSpPr>
          <p:cNvPr id="10250" name="组合 12"/>
          <p:cNvGrpSpPr/>
          <p:nvPr/>
        </p:nvGrpSpPr>
        <p:grpSpPr bwMode="auto">
          <a:xfrm>
            <a:off x="307975" y="2780928"/>
            <a:ext cx="8193088" cy="1302067"/>
            <a:chOff x="406400" y="2709863"/>
            <a:chExt cx="8193088" cy="1302067"/>
          </a:xfrm>
        </p:grpSpPr>
        <p:sp>
          <p:nvSpPr>
            <p:cNvPr id="10256" name="TextBox 7"/>
            <p:cNvSpPr txBox="1"/>
            <p:nvPr/>
          </p:nvSpPr>
          <p:spPr bwMode="auto">
            <a:xfrm>
              <a:off x="827088" y="2997200"/>
              <a:ext cx="7772400" cy="1014730"/>
            </a:xfrm>
            <a:prstGeom prst="rect">
              <a:avLst/>
            </a:prstGeom>
            <a:solidFill>
              <a:schemeClr val="bg1"/>
            </a:solidFill>
            <a:ln w="25400" algn="ctr">
              <a:solidFill>
                <a:srgbClr val="0066CC"/>
              </a:solidFill>
              <a:miter lim="800000"/>
            </a:ln>
          </p:spPr>
          <p:txBody>
            <a:bodyPr>
              <a:spAutoFit/>
            </a:bodyPr>
            <a:lstStyle>
              <a:lvl1pPr indent="457200">
                <a:defRPr>
                  <a:solidFill>
                    <a:schemeClr val="tx1"/>
                  </a:solidFill>
                  <a:latin typeface="Calibri" panose="020F0502020204030204" charset="0"/>
                  <a:ea typeface="宋体" panose="02010600030101010101" pitchFamily="2" charset="-122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anose="020F0502020204030204" charset="0"/>
                  <a:ea typeface="宋体" panose="02010600030101010101" pitchFamily="2" charset="-122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anose="020F0502020204030204" charset="0"/>
                  <a:ea typeface="宋体" panose="02010600030101010101" pitchFamily="2" charset="-122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anose="020F0502020204030204" charset="0"/>
                  <a:ea typeface="宋体" panose="02010600030101010101" pitchFamily="2" charset="-122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anose="020F0502020204030204" charset="0"/>
                  <a:ea typeface="宋体" panose="02010600030101010101" pitchFamily="2" charset="-122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charset="0"/>
                  <a:ea typeface="宋体" panose="02010600030101010101" pitchFamily="2" charset="-122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charset="0"/>
                  <a:ea typeface="宋体" panose="02010600030101010101" pitchFamily="2" charset="-122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charset="0"/>
                  <a:ea typeface="宋体" panose="02010600030101010101" pitchFamily="2" charset="-122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charset="0"/>
                  <a:ea typeface="宋体" panose="02010600030101010101" pitchFamily="2" charset="-122"/>
                </a:defRPr>
              </a:lvl9pPr>
            </a:lstStyle>
            <a:p>
              <a:r>
                <a:rPr lang="zh-CN" altLang="zh-CN" sz="2000" dirty="0">
                  <a:solidFill>
                    <a:srgbClr val="00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高校通过组织社会实践的考核评价，进一步掌握学生社会实践的情况，考查学生通过社会实践所获得的能力，审查社会实践是否独立、有效完成，总结社会实践工作中经验与不足。</a:t>
              </a:r>
              <a:endParaRPr lang="zh-CN" altLang="zh-CN" sz="20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3" name="TextBox 22"/>
            <p:cNvSpPr txBox="1"/>
            <p:nvPr/>
          </p:nvSpPr>
          <p:spPr>
            <a:xfrm>
              <a:off x="406400" y="2709863"/>
              <a:ext cx="876300" cy="430887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solidFill>
                <a:schemeClr val="tx2">
                  <a:lumMod val="40000"/>
                  <a:lumOff val="60000"/>
                </a:schemeClr>
              </a:solidFill>
            </a:ln>
          </p:spPr>
          <p:style>
            <a:lnRef idx="1">
              <a:schemeClr val="accent2"/>
            </a:lnRef>
            <a:fillRef idx="2">
              <a:schemeClr val="accent2"/>
            </a:fillRef>
            <a:effectRef idx="1">
              <a:schemeClr val="accent2"/>
            </a:effectRef>
            <a:fontRef idx="minor">
              <a:schemeClr val="dk1"/>
            </a:fontRef>
          </p:style>
          <p:txBody>
            <a:bodyPr>
              <a:spAutoFit/>
            </a:bodyPr>
            <a:lstStyle/>
            <a:p>
              <a:pPr algn="ctr">
                <a:defRPr/>
              </a:pPr>
              <a:r>
                <a:rPr lang="zh-CN" altLang="en-US" sz="2200" b="1" dirty="0">
                  <a:solidFill>
                    <a:prstClr val="black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高校</a:t>
              </a:r>
              <a:endParaRPr lang="zh-CN" altLang="en-US" sz="2200" b="1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10251" name="组合 15"/>
          <p:cNvGrpSpPr/>
          <p:nvPr/>
        </p:nvGrpSpPr>
        <p:grpSpPr bwMode="auto">
          <a:xfrm>
            <a:off x="251520" y="4653136"/>
            <a:ext cx="8259068" cy="1274425"/>
            <a:chOff x="340420" y="4754563"/>
            <a:chExt cx="8259068" cy="1274425"/>
          </a:xfrm>
        </p:grpSpPr>
        <p:sp>
          <p:nvSpPr>
            <p:cNvPr id="10254" name="TextBox 8"/>
            <p:cNvSpPr txBox="1"/>
            <p:nvPr/>
          </p:nvSpPr>
          <p:spPr bwMode="auto">
            <a:xfrm>
              <a:off x="827088" y="5013325"/>
              <a:ext cx="7772400" cy="1015663"/>
            </a:xfrm>
            <a:prstGeom prst="rect">
              <a:avLst/>
            </a:prstGeom>
            <a:solidFill>
              <a:schemeClr val="bg1"/>
            </a:solidFill>
            <a:ln w="25400" algn="ctr">
              <a:solidFill>
                <a:srgbClr val="0066CC"/>
              </a:solidFill>
              <a:miter lim="800000"/>
            </a:ln>
          </p:spPr>
          <p:txBody>
            <a:bodyPr wrap="square">
              <a:spAutoFit/>
            </a:bodyPr>
            <a:lstStyle>
              <a:lvl1pPr indent="457200">
                <a:defRPr>
                  <a:solidFill>
                    <a:schemeClr val="tx1"/>
                  </a:solidFill>
                  <a:latin typeface="Calibri" panose="020F0502020204030204" charset="0"/>
                  <a:ea typeface="宋体" panose="02010600030101010101" pitchFamily="2" charset="-122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anose="020F0502020204030204" charset="0"/>
                  <a:ea typeface="宋体" panose="02010600030101010101" pitchFamily="2" charset="-122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anose="020F0502020204030204" charset="0"/>
                  <a:ea typeface="宋体" panose="02010600030101010101" pitchFamily="2" charset="-122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anose="020F0502020204030204" charset="0"/>
                  <a:ea typeface="宋体" panose="02010600030101010101" pitchFamily="2" charset="-122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anose="020F0502020204030204" charset="0"/>
                  <a:ea typeface="宋体" panose="02010600030101010101" pitchFamily="2" charset="-122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charset="0"/>
                  <a:ea typeface="宋体" panose="02010600030101010101" pitchFamily="2" charset="-122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charset="0"/>
                  <a:ea typeface="宋体" panose="02010600030101010101" pitchFamily="2" charset="-122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charset="0"/>
                  <a:ea typeface="宋体" panose="02010600030101010101" pitchFamily="2" charset="-122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charset="0"/>
                  <a:ea typeface="宋体" panose="02010600030101010101" pitchFamily="2" charset="-122"/>
                </a:defRPr>
              </a:lvl9pPr>
            </a:lstStyle>
            <a:p>
              <a:r>
                <a:rPr lang="zh-CN" altLang="en-US" sz="2000" dirty="0">
                  <a:solidFill>
                    <a:srgbClr val="00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 从大学生参与社会实践的角度来讲，参与考核评价的直接目的是顺利通过。因此，大学生必须要了解学校组织社会实践考核评价的目的、采用的评价方法，然后有针对性地做准备。</a:t>
              </a:r>
              <a:endParaRPr lang="zh-CN" altLang="zh-CN" sz="20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6" name="TextBox 25"/>
            <p:cNvSpPr txBox="1"/>
            <p:nvPr/>
          </p:nvSpPr>
          <p:spPr>
            <a:xfrm>
              <a:off x="340420" y="4754563"/>
              <a:ext cx="1152128" cy="430887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solidFill>
                <a:schemeClr val="tx2">
                  <a:lumMod val="40000"/>
                  <a:lumOff val="60000"/>
                </a:schemeClr>
              </a:solidFill>
              <a:miter lim="800000"/>
            </a:ln>
          </p:spPr>
          <p:style>
            <a:lnRef idx="1">
              <a:schemeClr val="accent2"/>
            </a:lnRef>
            <a:fillRef idx="2">
              <a:schemeClr val="accent2"/>
            </a:fillRef>
            <a:effectRef idx="1">
              <a:schemeClr val="accent2"/>
            </a:effectRef>
            <a:fontRef idx="minor">
              <a:schemeClr val="dk1"/>
            </a:fontRef>
          </p:style>
          <p:txBody>
            <a:bodyPr wrap="square">
              <a:spAutoFit/>
            </a:bodyPr>
            <a:lstStyle/>
            <a:p>
              <a:pPr algn="ctr">
                <a:defRPr/>
              </a:pPr>
              <a:r>
                <a:rPr lang="zh-CN" altLang="en-US" sz="2200" b="1" dirty="0">
                  <a:solidFill>
                    <a:prstClr val="black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大学生</a:t>
              </a:r>
              <a:endParaRPr lang="zh-CN" altLang="en-US" sz="2200" b="1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sp>
        <p:nvSpPr>
          <p:cNvPr id="3" name="文本框 2"/>
          <p:cNvSpPr txBox="1"/>
          <p:nvPr>
            <p:custDataLst>
              <p:tags r:id="rId1"/>
            </p:custDataLst>
          </p:nvPr>
        </p:nvSpPr>
        <p:spPr>
          <a:xfrm>
            <a:off x="1115616" y="170138"/>
            <a:ext cx="5184576" cy="9220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zh-CN" altLang="en-US" sz="2700" dirty="0">
                <a:solidFill>
                  <a:srgbClr val="C14635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rPr>
              <a:t>第</a:t>
            </a:r>
            <a:r>
              <a:rPr lang="zh-CN" altLang="en-US" sz="2700" dirty="0">
                <a:solidFill>
                  <a:srgbClr val="C14635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rPr>
              <a:t>一章  社会实践的考核概述</a:t>
            </a:r>
            <a:endParaRPr lang="zh-CN" altLang="en-US" sz="2700" dirty="0">
              <a:solidFill>
                <a:srgbClr val="C14635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ctr"/>
            <a:endParaRPr lang="zh-CN" altLang="en-US" sz="2700" dirty="0">
              <a:solidFill>
                <a:srgbClr val="C14635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pSp>
        <p:nvGrpSpPr>
          <p:cNvPr id="2" name="组合 13"/>
          <p:cNvGrpSpPr/>
          <p:nvPr/>
        </p:nvGrpSpPr>
        <p:grpSpPr>
          <a:xfrm>
            <a:off x="2555776" y="904038"/>
            <a:ext cx="4314855" cy="473391"/>
            <a:chOff x="0" y="0"/>
            <a:chExt cx="6096000" cy="1085760"/>
          </a:xfrm>
          <a:scene3d>
            <a:camera prst="orthographicFront"/>
            <a:lightRig rig="chilly" dir="t"/>
          </a:scene3d>
        </p:grpSpPr>
        <p:sp>
          <p:nvSpPr>
            <p:cNvPr id="4" name="圆角矩形 18"/>
            <p:cNvSpPr/>
            <p:nvPr/>
          </p:nvSpPr>
          <p:spPr>
            <a:xfrm>
              <a:off x="0" y="0"/>
              <a:ext cx="6096000" cy="1085760"/>
            </a:xfrm>
            <a:prstGeom prst="roundRect">
              <a:avLst/>
            </a:prstGeom>
          </p:spPr>
          <p:style>
            <a:lnRef idx="1">
              <a:schemeClr val="accent2"/>
            </a:lnRef>
            <a:fillRef idx="2">
              <a:schemeClr val="accent2"/>
            </a:fillRef>
            <a:effectRef idx="1">
              <a:schemeClr val="accent2"/>
            </a:effectRef>
            <a:fontRef idx="minor">
              <a:schemeClr val="dk1"/>
            </a:fontRef>
          </p:style>
        </p:sp>
        <p:sp>
          <p:nvSpPr>
            <p:cNvPr id="5" name="圆角矩形 4"/>
            <p:cNvSpPr/>
            <p:nvPr/>
          </p:nvSpPr>
          <p:spPr>
            <a:xfrm>
              <a:off x="53002" y="53002"/>
              <a:ext cx="5989997" cy="979755"/>
            </a:xfrm>
            <a:prstGeom prst="rect">
              <a:avLst/>
            </a:prstGeom>
          </p:spPr>
          <p:style>
            <a:lnRef idx="1">
              <a:schemeClr val="accent6"/>
            </a:lnRef>
            <a:fillRef idx="2">
              <a:schemeClr val="accent6"/>
            </a:fillRef>
            <a:effectRef idx="1">
              <a:schemeClr val="accent6"/>
            </a:effectRef>
            <a:fontRef idx="minor">
              <a:schemeClr val="dk1"/>
            </a:fontRef>
          </p:style>
          <p:txBody>
            <a:bodyPr spcFirstLastPara="0" vert="horz" wrap="square" lIns="163830" tIns="163830" rIns="163830" bIns="163830" numCol="1" spcCol="1270" anchor="ctr" anchorCtr="0">
              <a:noAutofit/>
            </a:bodyPr>
            <a:lstStyle/>
            <a:p>
              <a:pPr lvl="0" algn="ctr" defTabSz="1911350">
                <a:lnSpc>
                  <a:spcPct val="90000"/>
                </a:lnSpc>
                <a:spcAft>
                  <a:spcPct val="35000"/>
                </a:spcAft>
              </a:pPr>
              <a:r>
                <a:rPr lang="zh-CN" altLang="en-US" sz="2000" b="1" kern="1200" dirty="0">
                  <a:solidFill>
                    <a:srgbClr val="C0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社会实践考核评价概述</a:t>
              </a:r>
              <a:endParaRPr lang="zh-CN" altLang="en-US" sz="2000" b="1" kern="1200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9940" name="组合 35"/>
          <p:cNvGrpSpPr/>
          <p:nvPr>
            <p:custDataLst>
              <p:tags r:id="rId1"/>
            </p:custDataLst>
          </p:nvPr>
        </p:nvGrpSpPr>
        <p:grpSpPr bwMode="auto">
          <a:xfrm>
            <a:off x="464344" y="2808882"/>
            <a:ext cx="8215312" cy="3500438"/>
            <a:chOff x="428625" y="1997901"/>
            <a:chExt cx="7918450" cy="3471863"/>
          </a:xfrm>
        </p:grpSpPr>
        <p:sp>
          <p:nvSpPr>
            <p:cNvPr id="10" name="AutoShape 4"/>
            <p:cNvSpPr/>
            <p:nvPr>
              <p:custDataLst>
                <p:tags r:id="rId2"/>
              </p:custDataLst>
            </p:nvPr>
          </p:nvSpPr>
          <p:spPr bwMode="white">
            <a:xfrm>
              <a:off x="5764029" y="2715995"/>
              <a:ext cx="2340000" cy="2341612"/>
            </a:xfrm>
            <a:prstGeom prst="roundRect">
              <a:avLst>
                <a:gd name="adj" fmla="val 4784"/>
              </a:avLst>
            </a:prstGeom>
            <a:solidFill>
              <a:schemeClr val="bg1">
                <a:alpha val="60000"/>
              </a:schemeClr>
            </a:solidFill>
            <a:ln w="38100">
              <a:gradFill>
                <a:gsLst>
                  <a:gs pos="50000">
                    <a:srgbClr val="6EFF01"/>
                  </a:gs>
                  <a:gs pos="100000">
                    <a:srgbClr val="0F5000"/>
                  </a:gs>
                </a:gsLst>
                <a:lin ang="5400000" scaled="0"/>
              </a:gradFill>
            </a:ln>
            <a:effectLst>
              <a:outerShdw blurRad="225425" dist="38100" dir="5220000" algn="ctr">
                <a:srgbClr val="000000">
                  <a:alpha val="33000"/>
                </a:srgbClr>
              </a:outerShdw>
            </a:effectLst>
            <a:scene3d>
              <a:camera prst="orthographicFront"/>
              <a:lightRig rig="flat" dir="t"/>
            </a:scene3d>
            <a:sp3d contourW="19050">
              <a:bevelT w="101600" prst="divot"/>
              <a:bevelB w="0" h="0"/>
              <a:contourClr>
                <a:schemeClr val="bg1"/>
              </a:contourClr>
            </a:sp3d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lvl="2" algn="ctr" defTabSz="0" fontAlgn="ctr">
                <a:buClr>
                  <a:srgbClr val="FF0000"/>
                </a:buClr>
                <a:buSzPct val="70000"/>
                <a:buFont typeface="Wingdings" panose="05000000000000000000" pitchFamily="2" charset="2"/>
                <a:buChar char="n"/>
                <a:tabLst>
                  <a:tab pos="136525" algn="l"/>
                </a:tabLst>
                <a:defRPr/>
              </a:pPr>
              <a:endParaRPr lang="zh-CN" altLang="en-US" sz="14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grpSp>
          <p:nvGrpSpPr>
            <p:cNvPr id="39944" name="组合 21"/>
            <p:cNvGrpSpPr/>
            <p:nvPr/>
          </p:nvGrpSpPr>
          <p:grpSpPr bwMode="auto">
            <a:xfrm>
              <a:off x="428625" y="1997901"/>
              <a:ext cx="7918450" cy="3471863"/>
              <a:chOff x="428625" y="1997901"/>
              <a:chExt cx="7918450" cy="3471863"/>
            </a:xfrm>
          </p:grpSpPr>
          <p:sp>
            <p:nvSpPr>
              <p:cNvPr id="14" name="AutoShape 4"/>
              <p:cNvSpPr/>
              <p:nvPr>
                <p:custDataLst>
                  <p:tags r:id="rId3"/>
                </p:custDataLst>
              </p:nvPr>
            </p:nvSpPr>
            <p:spPr bwMode="white">
              <a:xfrm>
                <a:off x="661606" y="2715995"/>
                <a:ext cx="2340000" cy="2341612"/>
              </a:xfrm>
              <a:prstGeom prst="roundRect">
                <a:avLst>
                  <a:gd name="adj" fmla="val 5304"/>
                </a:avLst>
              </a:prstGeom>
              <a:solidFill>
                <a:schemeClr val="bg1">
                  <a:alpha val="60000"/>
                </a:schemeClr>
              </a:solidFill>
              <a:ln w="38100">
                <a:gradFill>
                  <a:gsLst>
                    <a:gs pos="50000">
                      <a:srgbClr val="FFCF01"/>
                    </a:gs>
                    <a:gs pos="100000">
                      <a:srgbClr val="E22000"/>
                    </a:gs>
                  </a:gsLst>
                  <a:lin ang="5400000" scaled="0"/>
                </a:gradFill>
              </a:ln>
              <a:effectLst>
                <a:outerShdw blurRad="225425" dist="38100" dir="5220000" algn="ctr">
                  <a:srgbClr val="000000">
                    <a:alpha val="33000"/>
                  </a:srgbClr>
                </a:outerShdw>
              </a:effectLst>
              <a:scene3d>
                <a:camera prst="orthographicFront"/>
                <a:lightRig rig="flat" dir="t"/>
              </a:scene3d>
              <a:sp3d contourW="19050">
                <a:bevelT w="101600" prst="divot"/>
                <a:bevelB w="0" h="0"/>
                <a:contourClr>
                  <a:schemeClr val="bg1"/>
                </a:contourClr>
              </a:sp3d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marL="0" lvl="2" algn="ctr" defTabSz="0" fontAlgn="ctr">
                  <a:buClr>
                    <a:srgbClr val="FF0000"/>
                  </a:buClr>
                  <a:buSzPct val="70000"/>
                  <a:buFont typeface="Wingdings" panose="05000000000000000000" pitchFamily="2" charset="2"/>
                  <a:buChar char="n"/>
                  <a:tabLst>
                    <a:tab pos="136525" algn="l"/>
                  </a:tabLst>
                  <a:defRPr/>
                </a:pPr>
                <a:endParaRPr lang="zh-CN" altLang="en-US" sz="1400" dirty="0">
                  <a:solidFill>
                    <a:prstClr val="black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15" name="AutoShape 4"/>
              <p:cNvSpPr/>
              <p:nvPr>
                <p:custDataLst>
                  <p:tags r:id="rId4"/>
                </p:custDataLst>
              </p:nvPr>
            </p:nvSpPr>
            <p:spPr bwMode="white">
              <a:xfrm>
                <a:off x="3212818" y="2715995"/>
                <a:ext cx="2340000" cy="2341612"/>
              </a:xfrm>
              <a:prstGeom prst="roundRect">
                <a:avLst>
                  <a:gd name="adj" fmla="val 7012"/>
                </a:avLst>
              </a:prstGeom>
              <a:solidFill>
                <a:schemeClr val="bg1">
                  <a:alpha val="60000"/>
                </a:schemeClr>
              </a:solidFill>
              <a:ln w="38100">
                <a:gradFill>
                  <a:gsLst>
                    <a:gs pos="50000">
                      <a:srgbClr val="00DFF6"/>
                    </a:gs>
                    <a:gs pos="100000">
                      <a:srgbClr val="002774"/>
                    </a:gs>
                  </a:gsLst>
                  <a:lin ang="5400000" scaled="0"/>
                </a:gradFill>
              </a:ln>
              <a:effectLst>
                <a:outerShdw blurRad="225425" dist="38100" dir="5220000" algn="ctr">
                  <a:srgbClr val="000000">
                    <a:alpha val="33000"/>
                  </a:srgbClr>
                </a:outerShdw>
              </a:effectLst>
              <a:scene3d>
                <a:camera prst="orthographicFront"/>
                <a:lightRig rig="flat" dir="t"/>
              </a:scene3d>
              <a:sp3d contourW="19050">
                <a:bevelT w="101600" prst="divot"/>
                <a:bevelB w="0" h="0"/>
                <a:contourClr>
                  <a:schemeClr val="bg1"/>
                </a:contourClr>
              </a:sp3d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marL="0" lvl="2" algn="ctr" defTabSz="0" fontAlgn="ctr">
                  <a:buClr>
                    <a:srgbClr val="FF0000"/>
                  </a:buClr>
                  <a:buSzPct val="70000"/>
                  <a:buFont typeface="Wingdings" panose="05000000000000000000" pitchFamily="2" charset="2"/>
                  <a:buChar char="n"/>
                  <a:tabLst>
                    <a:tab pos="136525" algn="l"/>
                  </a:tabLst>
                  <a:defRPr/>
                </a:pPr>
                <a:endParaRPr lang="zh-CN" altLang="en-US" sz="1400" dirty="0">
                  <a:solidFill>
                    <a:prstClr val="black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16" name="AutoShape 3"/>
              <p:cNvSpPr/>
              <p:nvPr>
                <p:custDataLst>
                  <p:tags r:id="rId5"/>
                </p:custDataLst>
              </p:nvPr>
            </p:nvSpPr>
            <p:spPr bwMode="auto">
              <a:xfrm>
                <a:off x="828420" y="2350570"/>
                <a:ext cx="2006372" cy="762016"/>
              </a:xfrm>
              <a:prstGeom prst="roundRect">
                <a:avLst/>
              </a:prstGeom>
              <a:gradFill flip="none" rotWithShape="1">
                <a:gsLst>
                  <a:gs pos="0">
                    <a:srgbClr val="FF0000"/>
                  </a:gs>
                  <a:gs pos="90000">
                    <a:srgbClr val="C00000"/>
                  </a:gs>
                </a:gsLst>
                <a:lin ang="2700000" scaled="1"/>
                <a:tileRect/>
              </a:gradFill>
              <a:ln w="25400">
                <a:noFill/>
              </a:ln>
              <a:effectLst>
                <a:outerShdw blurRad="225425" dist="38100" dir="5220000" algn="ctr">
                  <a:srgbClr val="000000">
                    <a:alpha val="33000"/>
                  </a:srgbClr>
                </a:outerShdw>
              </a:effectLst>
              <a:scene3d>
                <a:camera prst="orthographicFront"/>
                <a:lightRig rig="flat" dir="t"/>
              </a:scene3d>
              <a:sp3d extrusionH="304800" contourW="19050">
                <a:bevelT prst="convex"/>
                <a:bevelB w="0" h="0"/>
                <a:contourClr>
                  <a:srgbClr val="FFE593"/>
                </a:contourClr>
              </a:sp3d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fontAlgn="ctr">
                  <a:buClr>
                    <a:srgbClr val="FF0000"/>
                  </a:buClr>
                  <a:buSzPct val="70000"/>
                  <a:buFont typeface="Wingdings" panose="05000000000000000000" pitchFamily="2" charset="2"/>
                  <a:buChar char="u"/>
                  <a:defRPr/>
                </a:pPr>
                <a:endParaRPr lang="zh-CN" altLang="zh-CN" sz="1600" b="1" dirty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17" name="TextBox 16">
                <a:hlinkClick r:id="" action="ppaction://noaction"/>
              </p:cNvPr>
              <p:cNvSpPr txBox="1"/>
              <p:nvPr>
                <p:custDataLst>
                  <p:tags r:id="rId6"/>
                </p:custDataLst>
              </p:nvPr>
            </p:nvSpPr>
            <p:spPr bwMode="auto">
              <a:xfrm>
                <a:off x="815921" y="2473202"/>
                <a:ext cx="1904773" cy="510778"/>
              </a:xfrm>
              <a:prstGeom prst="roundRect">
                <a:avLst/>
              </a:prstGeom>
              <a:noFill/>
              <a:scene3d>
                <a:camera prst="orthographicFront"/>
                <a:lightRig rig="threePt" dir="t"/>
              </a:scene3d>
              <a:sp3d/>
            </p:spPr>
            <p:txBody>
              <a:bodyPr>
                <a:spAutoFit/>
              </a:bodyPr>
              <a:lstStyle/>
              <a:p>
                <a:pPr algn="ctr">
                  <a:buClr>
                    <a:srgbClr val="0000FF"/>
                  </a:buClr>
                  <a:defRPr/>
                </a:pPr>
                <a:r>
                  <a:rPr lang="zh-CN" altLang="en-US" sz="2400" b="1" dirty="0">
                    <a:solidFill>
                      <a:prstClr val="white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首先</a:t>
                </a:r>
                <a:endParaRPr lang="zh-CN" altLang="en-US" sz="2400" b="1" dirty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18" name="矩形 25"/>
              <p:cNvSpPr/>
              <p:nvPr>
                <p:custDataLst>
                  <p:tags r:id="rId7"/>
                </p:custDataLst>
              </p:nvPr>
            </p:nvSpPr>
            <p:spPr>
              <a:xfrm>
                <a:off x="640396" y="3135980"/>
                <a:ext cx="2360081" cy="1922199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>
                  <a:lnSpc>
                    <a:spcPct val="150000"/>
                  </a:lnSpc>
                  <a:defRPr/>
                </a:pPr>
                <a:r>
                  <a:rPr lang="zh-CN" altLang="en-US" sz="2000" dirty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       社会实践考评是一个增长知识、加强交流学习的过程。</a:t>
                </a:r>
                <a:endParaRPr lang="zh-CN" altLang="en-US" sz="2000" dirty="0"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19" name="AutoShape 3"/>
              <p:cNvSpPr/>
              <p:nvPr>
                <p:custDataLst>
                  <p:tags r:id="rId8"/>
                </p:custDataLst>
              </p:nvPr>
            </p:nvSpPr>
            <p:spPr bwMode="auto">
              <a:xfrm>
                <a:off x="3353906" y="2350570"/>
                <a:ext cx="2006372" cy="762016"/>
              </a:xfrm>
              <a:prstGeom prst="roundRect">
                <a:avLst/>
              </a:prstGeom>
              <a:gradFill flip="none" rotWithShape="1">
                <a:gsLst>
                  <a:gs pos="0">
                    <a:srgbClr val="0070C0"/>
                  </a:gs>
                  <a:gs pos="90000">
                    <a:srgbClr val="001B50"/>
                  </a:gs>
                </a:gsLst>
                <a:lin ang="2700000" scaled="1"/>
                <a:tileRect/>
              </a:gradFill>
              <a:ln w="25400">
                <a:noFill/>
              </a:ln>
              <a:effectLst>
                <a:outerShdw blurRad="225425" dist="38100" dir="5220000" algn="ctr">
                  <a:srgbClr val="000000">
                    <a:alpha val="33000"/>
                  </a:srgbClr>
                </a:outerShdw>
              </a:effectLst>
              <a:scene3d>
                <a:camera prst="orthographicFront"/>
                <a:lightRig rig="flat" dir="t"/>
              </a:scene3d>
              <a:sp3d contourW="19050">
                <a:bevelT prst="convex"/>
                <a:bevelB w="0" h="0"/>
                <a:contourClr>
                  <a:srgbClr val="AFEAFF"/>
                </a:contourClr>
              </a:sp3d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fontAlgn="ctr">
                  <a:buClr>
                    <a:srgbClr val="FF0000"/>
                  </a:buClr>
                  <a:buSzPct val="70000"/>
                  <a:buFont typeface="Wingdings" panose="05000000000000000000" pitchFamily="2" charset="2"/>
                  <a:buChar char="u"/>
                  <a:defRPr/>
                </a:pPr>
                <a:endParaRPr lang="zh-CN" altLang="zh-CN" sz="1600" b="1" dirty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20" name="AutoShape 3"/>
              <p:cNvSpPr/>
              <p:nvPr>
                <p:custDataLst>
                  <p:tags r:id="rId9"/>
                </p:custDataLst>
              </p:nvPr>
            </p:nvSpPr>
            <p:spPr bwMode="auto">
              <a:xfrm>
                <a:off x="5893906" y="2350570"/>
                <a:ext cx="2006372" cy="762016"/>
              </a:xfrm>
              <a:prstGeom prst="roundRect">
                <a:avLst/>
              </a:prstGeom>
              <a:gradFill flip="none" rotWithShape="1">
                <a:gsLst>
                  <a:gs pos="0">
                    <a:srgbClr val="4DB400"/>
                  </a:gs>
                  <a:gs pos="90000">
                    <a:srgbClr val="164101"/>
                  </a:gs>
                </a:gsLst>
                <a:lin ang="2700000" scaled="1"/>
                <a:tileRect/>
              </a:gradFill>
              <a:ln w="25400">
                <a:noFill/>
              </a:ln>
              <a:effectLst>
                <a:outerShdw blurRad="225425" dist="38100" dir="5220000" algn="ctr">
                  <a:srgbClr val="000000">
                    <a:alpha val="33000"/>
                  </a:srgbClr>
                </a:outerShdw>
              </a:effectLst>
              <a:scene3d>
                <a:camera prst="orthographicFront"/>
                <a:lightRig rig="flat" dir="t"/>
              </a:scene3d>
              <a:sp3d contourW="19050">
                <a:bevelT prst="convex"/>
                <a:bevelB w="0" h="0"/>
                <a:contourClr>
                  <a:schemeClr val="bg1"/>
                </a:contourClr>
              </a:sp3d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fontAlgn="ctr">
                  <a:buClr>
                    <a:srgbClr val="FF0000"/>
                  </a:buClr>
                  <a:buSzPct val="70000"/>
                  <a:buFont typeface="Wingdings" panose="05000000000000000000" pitchFamily="2" charset="2"/>
                  <a:buChar char="u"/>
                  <a:defRPr/>
                </a:pPr>
                <a:endParaRPr lang="zh-CN" altLang="zh-CN" sz="1600" b="1" dirty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21" name="TextBox 20">
                <a:hlinkClick r:id="" action="ppaction://noaction"/>
              </p:cNvPr>
              <p:cNvSpPr txBox="1"/>
              <p:nvPr>
                <p:custDataLst>
                  <p:tags r:id="rId10"/>
                </p:custDataLst>
              </p:nvPr>
            </p:nvSpPr>
            <p:spPr bwMode="auto">
              <a:xfrm>
                <a:off x="3173375" y="2473202"/>
                <a:ext cx="2278743" cy="510778"/>
              </a:xfrm>
              <a:prstGeom prst="roundRect">
                <a:avLst/>
              </a:prstGeom>
              <a:noFill/>
              <a:scene3d>
                <a:camera prst="orthographicFront"/>
                <a:lightRig rig="threePt" dir="t"/>
              </a:scene3d>
              <a:sp3d/>
            </p:spPr>
            <p:txBody>
              <a:bodyPr>
                <a:spAutoFit/>
              </a:bodyPr>
              <a:lstStyle/>
              <a:p>
                <a:pPr algn="ctr">
                  <a:buClr>
                    <a:srgbClr val="0000FF"/>
                  </a:buClr>
                  <a:defRPr/>
                </a:pPr>
                <a:r>
                  <a:rPr lang="zh-CN" altLang="en-US" sz="2400" b="1" dirty="0">
                    <a:solidFill>
                      <a:prstClr val="white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其次</a:t>
                </a:r>
                <a:endParaRPr lang="zh-CN" altLang="en-US" sz="2400" b="1" dirty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22" name="TextBox 21">
                <a:hlinkClick r:id="" action="ppaction://noaction"/>
              </p:cNvPr>
              <p:cNvSpPr txBox="1"/>
              <p:nvPr>
                <p:custDataLst>
                  <p:tags r:id="rId11"/>
                </p:custDataLst>
              </p:nvPr>
            </p:nvSpPr>
            <p:spPr bwMode="auto">
              <a:xfrm>
                <a:off x="5752416" y="2473202"/>
                <a:ext cx="2278743" cy="510778"/>
              </a:xfrm>
              <a:prstGeom prst="roundRect">
                <a:avLst/>
              </a:prstGeom>
              <a:noFill/>
              <a:scene3d>
                <a:camera prst="orthographicFront"/>
                <a:lightRig rig="threePt" dir="t"/>
              </a:scene3d>
              <a:sp3d/>
            </p:spPr>
            <p:txBody>
              <a:bodyPr>
                <a:spAutoFit/>
              </a:bodyPr>
              <a:lstStyle/>
              <a:p>
                <a:pPr algn="ctr">
                  <a:buClr>
                    <a:srgbClr val="0000FF"/>
                  </a:buClr>
                  <a:defRPr/>
                </a:pPr>
                <a:r>
                  <a:rPr lang="zh-CN" altLang="en-US" sz="2400" b="1" dirty="0">
                    <a:solidFill>
                      <a:prstClr val="white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最后</a:t>
                </a:r>
                <a:endParaRPr lang="zh-CN" altLang="en-US" sz="2400" b="1" dirty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23" name="矩形 25"/>
              <p:cNvSpPr/>
              <p:nvPr>
                <p:custDataLst>
                  <p:tags r:id="rId12"/>
                </p:custDataLst>
              </p:nvPr>
            </p:nvSpPr>
            <p:spPr>
              <a:xfrm>
                <a:off x="3168420" y="3104278"/>
                <a:ext cx="2410200" cy="1922199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>
                  <a:lnSpc>
                    <a:spcPct val="150000"/>
                  </a:lnSpc>
                  <a:defRPr/>
                </a:pPr>
                <a:r>
                  <a:rPr lang="zh-CN" altLang="en-US" sz="2000" dirty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       社会实践考评是展示大学生才能、勇气、雄心、智慧、风度的好时机。</a:t>
                </a:r>
                <a:endParaRPr lang="zh-CN" altLang="en-US" sz="2000" dirty="0"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24" name="矩形 25"/>
              <p:cNvSpPr/>
              <p:nvPr>
                <p:custDataLst>
                  <p:tags r:id="rId13"/>
                </p:custDataLst>
              </p:nvPr>
            </p:nvSpPr>
            <p:spPr>
              <a:xfrm>
                <a:off x="5726348" y="3089258"/>
                <a:ext cx="2557244" cy="1922199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>
                  <a:lnSpc>
                    <a:spcPct val="150000"/>
                  </a:lnSpc>
                  <a:defRPr/>
                </a:pPr>
                <a:r>
                  <a:rPr lang="zh-CN" altLang="en-US" sz="2000" dirty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       社会实践考评还是向有关专家学习、请求实践成果转化指导的好机会。</a:t>
                </a:r>
                <a:endParaRPr lang="zh-CN" altLang="en-US" sz="2000" dirty="0"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25" name="圆角矩形 30"/>
              <p:cNvSpPr/>
              <p:nvPr>
                <p:custDataLst>
                  <p:tags r:id="rId14"/>
                </p:custDataLst>
              </p:nvPr>
            </p:nvSpPr>
            <p:spPr>
              <a:xfrm>
                <a:off x="428625" y="1997901"/>
                <a:ext cx="7918450" cy="3471863"/>
              </a:xfrm>
              <a:prstGeom prst="roundRect">
                <a:avLst>
                  <a:gd name="adj" fmla="val 9098"/>
                </a:avLst>
              </a:prstGeom>
              <a:noFill/>
              <a:ln>
                <a:solidFill>
                  <a:schemeClr val="bg1">
                    <a:lumMod val="85000"/>
                  </a:schemeClr>
                </a:solidFill>
                <a:prstDash val="dash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zh-CN" altLang="en-US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</p:grpSp>
      </p:grpSp>
      <p:sp>
        <p:nvSpPr>
          <p:cNvPr id="27" name="矩形 26"/>
          <p:cNvSpPr/>
          <p:nvPr/>
        </p:nvSpPr>
        <p:spPr>
          <a:xfrm>
            <a:off x="527050" y="908720"/>
            <a:ext cx="8215312" cy="1512169"/>
          </a:xfrm>
          <a:prstGeom prst="rect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anchor="ctr"/>
          <a:lstStyle/>
          <a:p>
            <a:pPr indent="457200" algn="just">
              <a:lnSpc>
                <a:spcPct val="130000"/>
              </a:lnSpc>
              <a:defRPr/>
            </a:pPr>
            <a:r>
              <a:rPr lang="zh-CN" altLang="en-US" sz="22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顺利通过考评，固然是大学生参加社会实践考核评价所追求的目的</a:t>
            </a:r>
            <a:r>
              <a:rPr lang="zh-CN" altLang="en-US" sz="20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，</a:t>
            </a:r>
            <a:r>
              <a:rPr lang="zh-CN" altLang="en-US" sz="22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但如果仅局限在这一点认识上</a:t>
            </a:r>
            <a:r>
              <a:rPr lang="zh-CN" altLang="en-US" sz="20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，</a:t>
            </a:r>
            <a:r>
              <a:rPr lang="zh-CN" altLang="en-US" sz="22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态度就过于消极应付</a:t>
            </a:r>
            <a:r>
              <a:rPr lang="zh-CN" altLang="en-US" sz="20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。</a:t>
            </a:r>
            <a:r>
              <a:rPr lang="zh-CN" altLang="en-US" sz="22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社会实践的考核评价对于大学生来说</a:t>
            </a:r>
            <a:r>
              <a:rPr lang="zh-CN" altLang="en-US" sz="20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，</a:t>
            </a:r>
            <a:r>
              <a:rPr lang="zh-CN" altLang="en-US" sz="22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还是具有非常重要的</a:t>
            </a:r>
            <a:r>
              <a:rPr lang="zh-CN" altLang="en-US" sz="2200" b="1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意义</a:t>
            </a:r>
            <a:r>
              <a:rPr lang="zh-CN" altLang="en-US" sz="22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的</a:t>
            </a:r>
            <a:r>
              <a:rPr lang="zh-CN" altLang="en-US" sz="20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。</a:t>
            </a:r>
            <a:endParaRPr lang="zh-CN" altLang="en-US" sz="2000" dirty="0">
              <a:solidFill>
                <a:prstClr val="black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" name="文本框 2"/>
          <p:cNvSpPr txBox="1"/>
          <p:nvPr>
            <p:custDataLst>
              <p:tags r:id="rId15"/>
            </p:custDataLst>
          </p:nvPr>
        </p:nvSpPr>
        <p:spPr>
          <a:xfrm>
            <a:off x="1115616" y="170138"/>
            <a:ext cx="5184576" cy="922020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pPr algn="ctr"/>
            <a:r>
              <a:rPr lang="zh-CN" altLang="en-US" sz="2700" dirty="0">
                <a:solidFill>
                  <a:srgbClr val="C14635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rPr>
              <a:t>第</a:t>
            </a:r>
            <a:r>
              <a:rPr lang="zh-CN" altLang="en-US" sz="2700" dirty="0">
                <a:solidFill>
                  <a:srgbClr val="C14635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rPr>
              <a:t>一章  社会实践的考核概述</a:t>
            </a:r>
            <a:endParaRPr lang="zh-CN" altLang="en-US" sz="2700" dirty="0">
              <a:solidFill>
                <a:srgbClr val="C14635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ctr"/>
            <a:endParaRPr lang="zh-CN" altLang="en-US" sz="2700" dirty="0">
              <a:solidFill>
                <a:srgbClr val="C14635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图示 7"/>
          <p:cNvGraphicFramePr/>
          <p:nvPr/>
        </p:nvGraphicFramePr>
        <p:xfrm>
          <a:off x="1208459" y="3131744"/>
          <a:ext cx="6727082" cy="302433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" r:lo="rId2" r:qs="rId3" r:cs="rId4"/>
          </a:graphicData>
        </a:graphic>
      </p:graphicFrame>
      <p:sp>
        <p:nvSpPr>
          <p:cNvPr id="2" name="矩形 1"/>
          <p:cNvSpPr/>
          <p:nvPr/>
        </p:nvSpPr>
        <p:spPr>
          <a:xfrm>
            <a:off x="755576" y="1484784"/>
            <a:ext cx="7560840" cy="1446550"/>
          </a:xfrm>
          <a:prstGeom prst="rect">
            <a:avLst/>
          </a:pr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indent="536575"/>
            <a:r>
              <a:rPr lang="zh-CN" altLang="zh-CN" sz="2200" kern="100" dirty="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社会实践的考核评价是否客观、全面、具有科学性与权威性，取决于考核评价的标准。学生社会实践活动效果的优劣也要依托于考评标准来评判。评价标准的设计要坚持教育性为主导，以育人为本，</a:t>
            </a:r>
            <a:r>
              <a:rPr lang="zh-CN" altLang="zh-CN" sz="2200" kern="100" dirty="0">
                <a:solidFill>
                  <a:srgbClr val="B8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科学、系统、规范</a:t>
            </a:r>
            <a:r>
              <a:rPr lang="zh-CN" altLang="zh-CN" sz="2200" kern="100" dirty="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。</a:t>
            </a:r>
            <a:endParaRPr lang="zh-CN" altLang="en-US" sz="22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pSp>
        <p:nvGrpSpPr>
          <p:cNvPr id="3" name="组合 13"/>
          <p:cNvGrpSpPr/>
          <p:nvPr/>
        </p:nvGrpSpPr>
        <p:grpSpPr>
          <a:xfrm>
            <a:off x="2555776" y="904038"/>
            <a:ext cx="4314855" cy="473391"/>
            <a:chOff x="0" y="0"/>
            <a:chExt cx="6096000" cy="1085760"/>
          </a:xfrm>
          <a:scene3d>
            <a:camera prst="orthographicFront"/>
            <a:lightRig rig="chilly" dir="t"/>
          </a:scene3d>
        </p:grpSpPr>
        <p:sp>
          <p:nvSpPr>
            <p:cNvPr id="4" name="圆角矩形 18"/>
            <p:cNvSpPr/>
            <p:nvPr/>
          </p:nvSpPr>
          <p:spPr>
            <a:xfrm>
              <a:off x="0" y="0"/>
              <a:ext cx="6096000" cy="1085760"/>
            </a:xfrm>
            <a:prstGeom prst="roundRect">
              <a:avLst/>
            </a:prstGeom>
          </p:spPr>
          <p:style>
            <a:lnRef idx="1">
              <a:schemeClr val="accent2"/>
            </a:lnRef>
            <a:fillRef idx="2">
              <a:schemeClr val="accent2"/>
            </a:fillRef>
            <a:effectRef idx="1">
              <a:schemeClr val="accent2"/>
            </a:effectRef>
            <a:fontRef idx="minor">
              <a:schemeClr val="dk1"/>
            </a:fontRef>
          </p:style>
        </p:sp>
        <p:sp>
          <p:nvSpPr>
            <p:cNvPr id="6" name="圆角矩形 4"/>
            <p:cNvSpPr/>
            <p:nvPr/>
          </p:nvSpPr>
          <p:spPr>
            <a:xfrm>
              <a:off x="53002" y="53002"/>
              <a:ext cx="5989997" cy="979755"/>
            </a:xfrm>
            <a:prstGeom prst="rect">
              <a:avLst/>
            </a:prstGeom>
          </p:spPr>
          <p:style>
            <a:lnRef idx="1">
              <a:schemeClr val="accent6"/>
            </a:lnRef>
            <a:fillRef idx="2">
              <a:schemeClr val="accent6"/>
            </a:fillRef>
            <a:effectRef idx="1">
              <a:schemeClr val="accent6"/>
            </a:effectRef>
            <a:fontRef idx="minor">
              <a:schemeClr val="dk1"/>
            </a:fontRef>
          </p:style>
          <p:txBody>
            <a:bodyPr spcFirstLastPara="0" vert="horz" wrap="square" lIns="163830" tIns="163830" rIns="163830" bIns="163830" numCol="1" spcCol="1270" anchor="ctr" anchorCtr="0">
              <a:noAutofit/>
            </a:bodyPr>
            <a:lstStyle/>
            <a:p>
              <a:pPr lvl="0" algn="ctr" defTabSz="1911350">
                <a:lnSpc>
                  <a:spcPct val="90000"/>
                </a:lnSpc>
                <a:spcAft>
                  <a:spcPct val="35000"/>
                </a:spcAft>
              </a:pPr>
              <a:r>
                <a:rPr lang="zh-CN" altLang="en-US" sz="2000" b="1" kern="1200" dirty="0">
                  <a:solidFill>
                    <a:srgbClr val="C0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社会实践考核评价概述</a:t>
              </a:r>
              <a:endParaRPr lang="zh-CN" altLang="en-US" sz="2000" b="1" kern="1200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sp>
        <p:nvSpPr>
          <p:cNvPr id="7" name="文本框 6"/>
          <p:cNvSpPr txBox="1"/>
          <p:nvPr>
            <p:custDataLst>
              <p:tags r:id="rId6"/>
            </p:custDataLst>
          </p:nvPr>
        </p:nvSpPr>
        <p:spPr>
          <a:xfrm>
            <a:off x="1115616" y="170138"/>
            <a:ext cx="5184576" cy="9220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zh-CN" altLang="en-US" sz="2700" dirty="0">
                <a:solidFill>
                  <a:srgbClr val="C14635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rPr>
              <a:t>第</a:t>
            </a:r>
            <a:r>
              <a:rPr lang="zh-CN" altLang="en-US" sz="2700" dirty="0">
                <a:solidFill>
                  <a:srgbClr val="C14635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rPr>
              <a:t>一章  社会实践的考核概述</a:t>
            </a:r>
            <a:endParaRPr lang="zh-CN" altLang="en-US" sz="2700" dirty="0">
              <a:solidFill>
                <a:srgbClr val="C14635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ctr"/>
            <a:endParaRPr lang="zh-CN" altLang="en-US" sz="2700" dirty="0">
              <a:solidFill>
                <a:srgbClr val="C14635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图示 4"/>
          <p:cNvGraphicFramePr/>
          <p:nvPr/>
        </p:nvGraphicFramePr>
        <p:xfrm>
          <a:off x="0" y="6739596"/>
          <a:ext cx="9144000" cy="50004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" r:lo="rId2" r:qs="rId3" r:cs="rId4"/>
          </a:graphicData>
        </a:graphic>
      </p:graphicFrame>
      <p:sp>
        <p:nvSpPr>
          <p:cNvPr id="20" name="TextBox 19"/>
          <p:cNvSpPr txBox="1"/>
          <p:nvPr/>
        </p:nvSpPr>
        <p:spPr>
          <a:xfrm>
            <a:off x="262381" y="2712881"/>
            <a:ext cx="2773511" cy="1538370"/>
          </a:xfrm>
          <a:prstGeom prst="rect">
            <a:avLst/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>
              <a:lnSpc>
                <a:spcPct val="120000"/>
              </a:lnSpc>
              <a:defRPr/>
            </a:pPr>
            <a:r>
              <a:rPr lang="zh-CN" altLang="en-US" sz="20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必要的材料包括：</a:t>
            </a:r>
            <a:r>
              <a:rPr lang="zh-CN" altLang="en-US" sz="2000" b="1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答辩材料（幻灯片、视频等多媒体材料），答辩讲稿提纲或自述提示</a:t>
            </a:r>
            <a:r>
              <a:rPr lang="zh-CN" altLang="en-US" sz="20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等。</a:t>
            </a:r>
            <a:endParaRPr lang="en-US" altLang="zh-CN" sz="2000" dirty="0">
              <a:solidFill>
                <a:prstClr val="black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6070132" y="2544209"/>
            <a:ext cx="2808312" cy="1938020"/>
          </a:xfrm>
          <a:prstGeom prst="rect">
            <a:avLst/>
          </a:prstGeo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>
              <a:lnSpc>
                <a:spcPct val="120000"/>
              </a:lnSpc>
              <a:defRPr/>
            </a:pPr>
            <a:r>
              <a:rPr lang="zh-CN" altLang="en-US" sz="20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指学校通过</a:t>
            </a:r>
            <a:r>
              <a:rPr lang="zh-CN" altLang="en-US" sz="2000" b="1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基层服务事迹、登记表、报告</a:t>
            </a:r>
            <a:r>
              <a:rPr lang="zh-CN" altLang="en-US" sz="20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等材料的评阅，对大学生社会实践活动进行审查的考评方式。</a:t>
            </a:r>
            <a:endParaRPr lang="en-US" altLang="zh-CN" sz="2000" dirty="0">
              <a:solidFill>
                <a:prstClr val="black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aphicFrame>
        <p:nvGraphicFramePr>
          <p:cNvPr id="21" name="图示 20"/>
          <p:cNvGraphicFramePr/>
          <p:nvPr/>
        </p:nvGraphicFramePr>
        <p:xfrm>
          <a:off x="3045894" y="1462825"/>
          <a:ext cx="2895294" cy="300785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6" r:lo="rId7" r:qs="rId8" r:cs="rId9"/>
          </a:graphicData>
        </a:graphic>
      </p:graphicFrame>
      <p:grpSp>
        <p:nvGrpSpPr>
          <p:cNvPr id="2" name="组合 13"/>
          <p:cNvGrpSpPr/>
          <p:nvPr/>
        </p:nvGrpSpPr>
        <p:grpSpPr>
          <a:xfrm>
            <a:off x="211060" y="1331995"/>
            <a:ext cx="8667306" cy="473391"/>
            <a:chOff x="0" y="0"/>
            <a:chExt cx="6096000" cy="1085760"/>
          </a:xfrm>
          <a:scene3d>
            <a:camera prst="orthographicFront"/>
            <a:lightRig rig="chilly" dir="t"/>
          </a:scene3d>
        </p:grpSpPr>
        <p:sp>
          <p:nvSpPr>
            <p:cNvPr id="3" name="圆角矩形 18"/>
            <p:cNvSpPr/>
            <p:nvPr/>
          </p:nvSpPr>
          <p:spPr>
            <a:xfrm>
              <a:off x="0" y="0"/>
              <a:ext cx="6096000" cy="1085760"/>
            </a:xfrm>
            <a:prstGeom prst="roundRect">
              <a:avLst/>
            </a:prstGeom>
          </p:spPr>
          <p:style>
            <a:lnRef idx="1">
              <a:schemeClr val="accent2"/>
            </a:lnRef>
            <a:fillRef idx="2">
              <a:schemeClr val="accent2"/>
            </a:fillRef>
            <a:effectRef idx="1">
              <a:schemeClr val="accent2"/>
            </a:effectRef>
            <a:fontRef idx="minor">
              <a:schemeClr val="dk1"/>
            </a:fontRef>
          </p:style>
        </p:sp>
        <p:sp>
          <p:nvSpPr>
            <p:cNvPr id="6" name="圆角矩形 4"/>
            <p:cNvSpPr/>
            <p:nvPr/>
          </p:nvSpPr>
          <p:spPr>
            <a:xfrm>
              <a:off x="53002" y="53002"/>
              <a:ext cx="5989997" cy="979755"/>
            </a:xfrm>
            <a:prstGeom prst="rect">
              <a:avLst/>
            </a:prstGeom>
          </p:spPr>
          <p:style>
            <a:lnRef idx="1">
              <a:schemeClr val="accent6"/>
            </a:lnRef>
            <a:fillRef idx="2">
              <a:schemeClr val="accent6"/>
            </a:fillRef>
            <a:effectRef idx="1">
              <a:schemeClr val="accent6"/>
            </a:effectRef>
            <a:fontRef idx="minor">
              <a:schemeClr val="dk1"/>
            </a:fontRef>
          </p:style>
          <p:txBody>
            <a:bodyPr spcFirstLastPara="0" vert="horz" wrap="square" lIns="163830" tIns="163830" rIns="163830" bIns="163830" numCol="1" spcCol="1270" anchor="ctr" anchorCtr="0">
              <a:noAutofit/>
            </a:bodyPr>
            <a:lstStyle/>
            <a:p>
              <a:pPr lvl="0" algn="ctr" defTabSz="1911350">
                <a:lnSpc>
                  <a:spcPct val="90000"/>
                </a:lnSpc>
                <a:spcAft>
                  <a:spcPct val="35000"/>
                </a:spcAft>
              </a:pPr>
              <a:r>
                <a:rPr lang="zh-CN" altLang="en-US" sz="2000" b="1" dirty="0">
                  <a:solidFill>
                    <a:prstClr val="black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两种考评方式与应对方法：</a:t>
              </a:r>
              <a:r>
                <a:rPr lang="zh-CN" altLang="en-US" sz="2000" b="1" kern="1200" dirty="0">
                  <a:solidFill>
                    <a:srgbClr val="C0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答辩展示</a:t>
              </a:r>
              <a:r>
                <a:rPr lang="zh-CN" altLang="en-US" sz="2000" b="1" dirty="0">
                  <a:solidFill>
                    <a:prstClr val="black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和</a:t>
              </a:r>
              <a:r>
                <a:rPr lang="zh-CN" altLang="en-US" sz="2000" b="1" kern="1200" dirty="0">
                  <a:solidFill>
                    <a:srgbClr val="C0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材料评阅</a:t>
              </a:r>
              <a:endParaRPr lang="zh-CN" altLang="en-US" sz="2000" b="1" kern="1200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sp>
        <p:nvSpPr>
          <p:cNvPr id="7" name="文本框 6"/>
          <p:cNvSpPr txBox="1"/>
          <p:nvPr>
            <p:custDataLst>
              <p:tags r:id="rId11"/>
            </p:custDataLst>
          </p:nvPr>
        </p:nvSpPr>
        <p:spPr>
          <a:xfrm>
            <a:off x="1115616" y="170138"/>
            <a:ext cx="5184576" cy="9220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zh-CN" altLang="en-US" sz="2700" dirty="0">
                <a:solidFill>
                  <a:srgbClr val="C14635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rPr>
              <a:t>第</a:t>
            </a:r>
            <a:r>
              <a:rPr lang="zh-CN" altLang="en-US" sz="2700" dirty="0">
                <a:solidFill>
                  <a:srgbClr val="C14635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rPr>
              <a:t>一章  社会实践的考核概述</a:t>
            </a:r>
            <a:endParaRPr lang="zh-CN" altLang="en-US" sz="2700" dirty="0">
              <a:solidFill>
                <a:srgbClr val="C14635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ctr"/>
            <a:endParaRPr lang="zh-CN" altLang="en-US" sz="2700" dirty="0">
              <a:solidFill>
                <a:srgbClr val="C14635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8" name="文本框 7"/>
          <p:cNvSpPr txBox="1"/>
          <p:nvPr/>
        </p:nvSpPr>
        <p:spPr>
          <a:xfrm>
            <a:off x="287020" y="4715510"/>
            <a:ext cx="8592185" cy="1938020"/>
          </a:xfrm>
          <a:prstGeom prst="rect">
            <a:avLst/>
          </a:prstGeom>
          <a:noFill/>
          <a:ln w="25400" algn="ctr">
            <a:solidFill>
              <a:srgbClr val="C00000"/>
            </a:solidFill>
            <a:miter lim="800000"/>
          </a:ln>
        </p:spPr>
        <p:txBody>
          <a:bodyPr wrap="square">
            <a:spAutoFit/>
          </a:bodyPr>
          <a:p>
            <a:pPr algn="ctr"/>
            <a:r>
              <a:rPr lang="en-US" altLang="zh-CN" sz="2000" dirty="0" smtClean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2025</a:t>
            </a:r>
            <a:r>
              <a:rPr lang="zh-CN" altLang="en-US" sz="2000" dirty="0" smtClean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年北京科技大学学生暑期社会实践将区分不同的实践专项进行评分</a:t>
            </a:r>
            <a:endParaRPr lang="zh-CN" altLang="en-US" sz="2000" dirty="0" smtClean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  <a:p>
            <a:pPr marL="342900" indent="-342900" algn="ctr">
              <a:buFont typeface="Arial" panose="020B0604020202020204" pitchFamily="34" charset="0"/>
              <a:buChar char="•"/>
            </a:pPr>
            <a:r>
              <a:rPr lang="zh-CN" altLang="en-US" sz="2000" dirty="0" smtClean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红色寻访赓续青年足迹</a:t>
            </a:r>
            <a:endParaRPr lang="zh-CN" altLang="en-US" sz="2000" dirty="0" smtClean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  <a:p>
            <a:pPr marL="342900" indent="-342900" algn="ctr">
              <a:buFont typeface="Arial" panose="020B0604020202020204" pitchFamily="34" charset="0"/>
              <a:buChar char="•"/>
            </a:pPr>
            <a:r>
              <a:rPr lang="zh-CN" altLang="en-US" sz="2000" dirty="0" smtClean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乡村振兴彰显青年担当</a:t>
            </a:r>
            <a:endParaRPr lang="zh-CN" altLang="en-US" sz="2000" dirty="0" smtClean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  <a:p>
            <a:pPr marL="342900" indent="-342900" algn="ctr">
              <a:buFont typeface="Arial" panose="020B0604020202020204" pitchFamily="34" charset="0"/>
              <a:buChar char="•"/>
            </a:pPr>
            <a:r>
              <a:rPr lang="zh-CN" altLang="en-US" sz="2000" dirty="0" smtClean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文化传承贡献青年力量</a:t>
            </a:r>
            <a:endParaRPr lang="zh-CN" altLang="en-US" sz="2000" dirty="0" smtClean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  <a:p>
            <a:pPr marL="342900" indent="-342900" algn="ctr">
              <a:buFont typeface="Arial" panose="020B0604020202020204" pitchFamily="34" charset="0"/>
              <a:buChar char="•"/>
            </a:pPr>
            <a:r>
              <a:rPr lang="zh-CN" altLang="en-US" sz="2000" dirty="0" smtClean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科技创新发挥青年才智</a:t>
            </a:r>
            <a:endParaRPr lang="zh-CN" altLang="en-US" sz="2000" dirty="0" smtClean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  <a:p>
            <a:pPr marL="342900" indent="-342900" algn="ctr">
              <a:buFont typeface="Arial" panose="020B0604020202020204" pitchFamily="34" charset="0"/>
              <a:buChar char="•"/>
            </a:pPr>
            <a:r>
              <a:rPr lang="zh-CN" altLang="en-US" sz="2000" dirty="0" smtClean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社会服务践行青年使命</a:t>
            </a:r>
            <a:endParaRPr lang="zh-CN" altLang="en-US" sz="2000" dirty="0" smtClean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</p:txBody>
      </p:sp>
    </p:spTree>
  </p:cSld>
  <p:clrMapOvr>
    <a:masterClrMapping/>
  </p:clrMapOvr>
</p:sld>
</file>

<file path=ppt/tags/tag1.xml><?xml version="1.0" encoding="utf-8"?>
<p:tagLst xmlns:p="http://schemas.openxmlformats.org/presentationml/2006/main">
  <p:tag name="KSO_WM_BEAUTIFY_FLAG" val=""/>
</p:tagLst>
</file>

<file path=ppt/tags/tag10.xml><?xml version="1.0" encoding="utf-8"?>
<p:tagLst xmlns:p="http://schemas.openxmlformats.org/presentationml/2006/main">
  <p:tag name="PA" val="v5.2.11"/>
</p:tagLst>
</file>

<file path=ppt/tags/tag11.xml><?xml version="1.0" encoding="utf-8"?>
<p:tagLst xmlns:p="http://schemas.openxmlformats.org/presentationml/2006/main">
  <p:tag name="PA" val="v5.2.11"/>
</p:tagLst>
</file>

<file path=ppt/tags/tag12.xml><?xml version="1.0" encoding="utf-8"?>
<p:tagLst xmlns:p="http://schemas.openxmlformats.org/presentationml/2006/main">
  <p:tag name="KSO_WM_BEAUTIFY_FLAG" val=""/>
</p:tagLst>
</file>

<file path=ppt/tags/tag13.xml><?xml version="1.0" encoding="utf-8"?>
<p:tagLst xmlns:p="http://schemas.openxmlformats.org/presentationml/2006/main">
  <p:tag name="KSO_WM_BEAUTIFY_FLAG" val=""/>
</p:tagLst>
</file>

<file path=ppt/tags/tag14.xml><?xml version="1.0" encoding="utf-8"?>
<p:tagLst xmlns:p="http://schemas.openxmlformats.org/presentationml/2006/main">
  <p:tag name="PA" val="v5.2.11"/>
</p:tagLst>
</file>

<file path=ppt/tags/tag15.xml><?xml version="1.0" encoding="utf-8"?>
<p:tagLst xmlns:p="http://schemas.openxmlformats.org/presentationml/2006/main">
  <p:tag name="PA" val="v5.2.11"/>
</p:tagLst>
</file>

<file path=ppt/tags/tag16.xml><?xml version="1.0" encoding="utf-8"?>
<p:tagLst xmlns:p="http://schemas.openxmlformats.org/presentationml/2006/main">
  <p:tag name="PA" val="v5.2.11"/>
</p:tagLst>
</file>

<file path=ppt/tags/tag17.xml><?xml version="1.0" encoding="utf-8"?>
<p:tagLst xmlns:p="http://schemas.openxmlformats.org/presentationml/2006/main">
  <p:tag name="PA" val="v5.2.11"/>
</p:tagLst>
</file>

<file path=ppt/tags/tag18.xml><?xml version="1.0" encoding="utf-8"?>
<p:tagLst xmlns:p="http://schemas.openxmlformats.org/presentationml/2006/main">
  <p:tag name="PA" val="v5.2.11"/>
</p:tagLst>
</file>

<file path=ppt/tags/tag19.xml><?xml version="1.0" encoding="utf-8"?>
<p:tagLst xmlns:p="http://schemas.openxmlformats.org/presentationml/2006/main">
  <p:tag name="PA" val="v5.2.11"/>
</p:tagLst>
</file>

<file path=ppt/tags/tag2.xml><?xml version="1.0" encoding="utf-8"?>
<p:tagLst xmlns:p="http://schemas.openxmlformats.org/presentationml/2006/main">
  <p:tag name="KSO_WM_BEAUTIFY_FLAG" val=""/>
</p:tagLst>
</file>

<file path=ppt/tags/tag20.xml><?xml version="1.0" encoding="utf-8"?>
<p:tagLst xmlns:p="http://schemas.openxmlformats.org/presentationml/2006/main">
  <p:tag name="PA" val="v5.2.11"/>
</p:tagLst>
</file>

<file path=ppt/tags/tag21.xml><?xml version="1.0" encoding="utf-8"?>
<p:tagLst xmlns:p="http://schemas.openxmlformats.org/presentationml/2006/main">
  <p:tag name="PA" val="v5.2.11"/>
</p:tagLst>
</file>

<file path=ppt/tags/tag22.xml><?xml version="1.0" encoding="utf-8"?>
<p:tagLst xmlns:p="http://schemas.openxmlformats.org/presentationml/2006/main">
  <p:tag name="KSO_WM_BEAUTIFY_FLAG" val=""/>
</p:tagLst>
</file>

<file path=ppt/tags/tag23.xml><?xml version="1.0" encoding="utf-8"?>
<p:tagLst xmlns:p="http://schemas.openxmlformats.org/presentationml/2006/main">
  <p:tag name="KSO_WM_BEAUTIFY_FLAG" val=""/>
</p:tagLst>
</file>

<file path=ppt/tags/tag24.xml><?xml version="1.0" encoding="utf-8"?>
<p:tagLst xmlns:p="http://schemas.openxmlformats.org/presentationml/2006/main">
  <p:tag name="KSO_WM_BEAUTIFY_FLAG" val=""/>
</p:tagLst>
</file>

<file path=ppt/tags/tag25.xml><?xml version="1.0" encoding="utf-8"?>
<p:tagLst xmlns:p="http://schemas.openxmlformats.org/presentationml/2006/main">
  <p:tag name="KSO_WM_BEAUTIFY_FLAG" val=""/>
</p:tagLst>
</file>

<file path=ppt/tags/tag26.xml><?xml version="1.0" encoding="utf-8"?>
<p:tagLst xmlns:p="http://schemas.openxmlformats.org/presentationml/2006/main">
  <p:tag name="KSO_WM_BEAUTIFY_FLAG" val=""/>
</p:tagLst>
</file>

<file path=ppt/tags/tag27.xml><?xml version="1.0" encoding="utf-8"?>
<p:tagLst xmlns:p="http://schemas.openxmlformats.org/presentationml/2006/main">
  <p:tag name="KSO_WM_BEAUTIFY_FLAG" val=""/>
</p:tagLst>
</file>

<file path=ppt/tags/tag28.xml><?xml version="1.0" encoding="utf-8"?>
<p:tagLst xmlns:p="http://schemas.openxmlformats.org/presentationml/2006/main">
  <p:tag name="KSO_WM_BEAUTIFY_FLAG" val=""/>
</p:tagLst>
</file>

<file path=ppt/tags/tag29.xml><?xml version="1.0" encoding="utf-8"?>
<p:tagLst xmlns:p="http://schemas.openxmlformats.org/presentationml/2006/main">
  <p:tag name="KSO_WM_BEAUTIFY_FLAG" val=""/>
</p:tagLst>
</file>

<file path=ppt/tags/tag3.xml><?xml version="1.0" encoding="utf-8"?>
<p:tagLst xmlns:p="http://schemas.openxmlformats.org/presentationml/2006/main">
  <p:tag name="KSO_WM_BEAUTIFY_FLAG" val=""/>
</p:tagLst>
</file>

<file path=ppt/tags/tag30.xml><?xml version="1.0" encoding="utf-8"?>
<p:tagLst xmlns:p="http://schemas.openxmlformats.org/presentationml/2006/main">
  <p:tag name="KSO_WM_BEAUTIFY_FLAG" val=""/>
</p:tagLst>
</file>

<file path=ppt/tags/tag31.xml><?xml version="1.0" encoding="utf-8"?>
<p:tagLst xmlns:p="http://schemas.openxmlformats.org/presentationml/2006/main">
  <p:tag name="KSO_WM_BEAUTIFY_FLAG" val=""/>
</p:tagLst>
</file>

<file path=ppt/tags/tag32.xml><?xml version="1.0" encoding="utf-8"?>
<p:tagLst xmlns:p="http://schemas.openxmlformats.org/presentationml/2006/main">
  <p:tag name="KSO_WM_DIAGRAM_VIRTUALLY_FRAME" val="{&quot;height&quot;:275.6250393700788,&quot;left&quot;:36.56251968503937,&quot;top&quot;:221.17181102362207,&quot;width&quot;:646.8749606299212}"/>
</p:tagLst>
</file>

<file path=ppt/tags/tag33.xml><?xml version="1.0" encoding="utf-8"?>
<p:tagLst xmlns:p="http://schemas.openxmlformats.org/presentationml/2006/main">
  <p:tag name="THINKCELLSHAPEDONOTDELETE" val="pKOZHO13yzUCaepRpRzBw5w"/>
  <p:tag name="KSO_WM_DIAGRAM_VIRTUALLY_FRAME" val="{&quot;height&quot;:275.6250393700788,&quot;left&quot;:36.56251968503937,&quot;top&quot;:221.17181102362207,&quot;width&quot;:646.8749606299212}"/>
</p:tagLst>
</file>

<file path=ppt/tags/tag34.xml><?xml version="1.0" encoding="utf-8"?>
<p:tagLst xmlns:p="http://schemas.openxmlformats.org/presentationml/2006/main">
  <p:tag name="THINKCELLSHAPEDONOTDELETE" val="pKOZHO13yzUCaepRpRzBw5w"/>
  <p:tag name="KSO_WM_DIAGRAM_VIRTUALLY_FRAME" val="{&quot;height&quot;:275.6250393700788,&quot;left&quot;:36.56251968503937,&quot;top&quot;:221.17181102362207,&quot;width&quot;:646.8749606299212}"/>
</p:tagLst>
</file>

<file path=ppt/tags/tag35.xml><?xml version="1.0" encoding="utf-8"?>
<p:tagLst xmlns:p="http://schemas.openxmlformats.org/presentationml/2006/main">
  <p:tag name="THINKCELLSHAPEDONOTDELETE" val="pKOZHO13yzUCaepRpRzBw5w"/>
  <p:tag name="KSO_WM_DIAGRAM_VIRTUALLY_FRAME" val="{&quot;height&quot;:275.6250393700788,&quot;left&quot;:36.56251968503937,&quot;top&quot;:221.17181102362207,&quot;width&quot;:646.8749606299212}"/>
</p:tagLst>
</file>

<file path=ppt/tags/tag36.xml><?xml version="1.0" encoding="utf-8"?>
<p:tagLst xmlns:p="http://schemas.openxmlformats.org/presentationml/2006/main">
  <p:tag name="KSO_WM_DIAGRAM_VIRTUALLY_FRAME" val="{&quot;height&quot;:275.6250393700788,&quot;left&quot;:36.56251968503937,&quot;top&quot;:221.17181102362207,&quot;width&quot;:646.8749606299212}"/>
</p:tagLst>
</file>

<file path=ppt/tags/tag37.xml><?xml version="1.0" encoding="utf-8"?>
<p:tagLst xmlns:p="http://schemas.openxmlformats.org/presentationml/2006/main">
  <p:tag name="KSO_WM_DIAGRAM_VIRTUALLY_FRAME" val="{&quot;height&quot;:275.6250393700788,&quot;left&quot;:36.56251968503937,&quot;top&quot;:221.17181102362207,&quot;width&quot;:646.8749606299212}"/>
</p:tagLst>
</file>

<file path=ppt/tags/tag38.xml><?xml version="1.0" encoding="utf-8"?>
<p:tagLst xmlns:p="http://schemas.openxmlformats.org/presentationml/2006/main">
  <p:tag name="KSO_WM_DIAGRAM_VIRTUALLY_FRAME" val="{&quot;height&quot;:275.6250393700788,&quot;left&quot;:36.56251968503937,&quot;top&quot;:221.17181102362207,&quot;width&quot;:646.8749606299212}"/>
</p:tagLst>
</file>

<file path=ppt/tags/tag39.xml><?xml version="1.0" encoding="utf-8"?>
<p:tagLst xmlns:p="http://schemas.openxmlformats.org/presentationml/2006/main">
  <p:tag name="KSO_WM_DIAGRAM_VIRTUALLY_FRAME" val="{&quot;height&quot;:275.6250393700788,&quot;left&quot;:36.56251968503937,&quot;top&quot;:221.17181102362207,&quot;width&quot;:646.8749606299212}"/>
</p:tagLst>
</file>

<file path=ppt/tags/tag4.xml><?xml version="1.0" encoding="utf-8"?>
<p:tagLst xmlns:p="http://schemas.openxmlformats.org/presentationml/2006/main">
  <p:tag name="PA" val="v5.2.11"/>
</p:tagLst>
</file>

<file path=ppt/tags/tag40.xml><?xml version="1.0" encoding="utf-8"?>
<p:tagLst xmlns:p="http://schemas.openxmlformats.org/presentationml/2006/main">
  <p:tag name="KSO_WM_DIAGRAM_VIRTUALLY_FRAME" val="{&quot;height&quot;:275.6250393700788,&quot;left&quot;:36.56251968503937,&quot;top&quot;:221.17181102362207,&quot;width&quot;:646.8749606299212}"/>
</p:tagLst>
</file>

<file path=ppt/tags/tag41.xml><?xml version="1.0" encoding="utf-8"?>
<p:tagLst xmlns:p="http://schemas.openxmlformats.org/presentationml/2006/main">
  <p:tag name="KSO_WM_DIAGRAM_VIRTUALLY_FRAME" val="{&quot;height&quot;:275.6250393700788,&quot;left&quot;:36.56251968503937,&quot;top&quot;:221.17181102362207,&quot;width&quot;:646.8749606299212}"/>
</p:tagLst>
</file>

<file path=ppt/tags/tag42.xml><?xml version="1.0" encoding="utf-8"?>
<p:tagLst xmlns:p="http://schemas.openxmlformats.org/presentationml/2006/main">
  <p:tag name="KSO_WM_DIAGRAM_VIRTUALLY_FRAME" val="{&quot;height&quot;:275.6250393700788,&quot;left&quot;:36.56251968503937,&quot;top&quot;:221.17181102362207,&quot;width&quot;:646.8749606299212}"/>
</p:tagLst>
</file>

<file path=ppt/tags/tag43.xml><?xml version="1.0" encoding="utf-8"?>
<p:tagLst xmlns:p="http://schemas.openxmlformats.org/presentationml/2006/main">
  <p:tag name="KSO_WM_DIAGRAM_VIRTUALLY_FRAME" val="{&quot;height&quot;:275.6250393700788,&quot;left&quot;:36.56251968503937,&quot;top&quot;:221.17181102362207,&quot;width&quot;:646.8749606299212}"/>
</p:tagLst>
</file>

<file path=ppt/tags/tag44.xml><?xml version="1.0" encoding="utf-8"?>
<p:tagLst xmlns:p="http://schemas.openxmlformats.org/presentationml/2006/main">
  <p:tag name="KSO_WM_DIAGRAM_VIRTUALLY_FRAME" val="{&quot;height&quot;:275.6250393700788,&quot;left&quot;:36.56251968503937,&quot;top&quot;:221.17181102362207,&quot;width&quot;:646.8749606299212}"/>
</p:tagLst>
</file>

<file path=ppt/tags/tag45.xml><?xml version="1.0" encoding="utf-8"?>
<p:tagLst xmlns:p="http://schemas.openxmlformats.org/presentationml/2006/main">
  <p:tag name="KSO_WM_DIAGRAM_VIRTUALLY_FRAME" val="{&quot;height&quot;:275.6250393700788,&quot;left&quot;:36.56251968503937,&quot;top&quot;:221.17181102362207,&quot;width&quot;:646.8749606299212}"/>
</p:tagLst>
</file>

<file path=ppt/tags/tag46.xml><?xml version="1.0" encoding="utf-8"?>
<p:tagLst xmlns:p="http://schemas.openxmlformats.org/presentationml/2006/main">
  <p:tag name="KSO_WM_BEAUTIFY_FLAG" val=""/>
</p:tagLst>
</file>

<file path=ppt/tags/tag47.xml><?xml version="1.0" encoding="utf-8"?>
<p:tagLst xmlns:p="http://schemas.openxmlformats.org/presentationml/2006/main">
  <p:tag name="KSO_WM_BEAUTIFY_FLAG" val=""/>
</p:tagLst>
</file>

<file path=ppt/tags/tag48.xml><?xml version="1.0" encoding="utf-8"?>
<p:tagLst xmlns:p="http://schemas.openxmlformats.org/presentationml/2006/main">
  <p:tag name="KSO_WM_BEAUTIFY_FLAG" val=""/>
</p:tagLst>
</file>

<file path=ppt/tags/tag49.xml><?xml version="1.0" encoding="utf-8"?>
<p:tagLst xmlns:p="http://schemas.openxmlformats.org/presentationml/2006/main">
  <p:tag name="KSO_WM_BEAUTIFY_FLAG" val=""/>
</p:tagLst>
</file>

<file path=ppt/tags/tag5.xml><?xml version="1.0" encoding="utf-8"?>
<p:tagLst xmlns:p="http://schemas.openxmlformats.org/presentationml/2006/main">
  <p:tag name="PA" val="v5.2.11"/>
</p:tagLst>
</file>

<file path=ppt/tags/tag50.xml><?xml version="1.0" encoding="utf-8"?>
<p:tagLst xmlns:p="http://schemas.openxmlformats.org/presentationml/2006/main">
  <p:tag name="KSO_WM_BEAUTIFY_FLAG" val=""/>
</p:tagLst>
</file>

<file path=ppt/tags/tag51.xml><?xml version="1.0" encoding="utf-8"?>
<p:tagLst xmlns:p="http://schemas.openxmlformats.org/presentationml/2006/main">
  <p:tag name="KSO_WM_BEAUTIFY_FLAG" val=""/>
</p:tagLst>
</file>

<file path=ppt/tags/tag52.xml><?xml version="1.0" encoding="utf-8"?>
<p:tagLst xmlns:p="http://schemas.openxmlformats.org/presentationml/2006/main">
  <p:tag name="KSO_WM_BEAUTIFY_FLAG" val=""/>
</p:tagLst>
</file>

<file path=ppt/tags/tag53.xml><?xml version="1.0" encoding="utf-8"?>
<p:tagLst xmlns:p="http://schemas.openxmlformats.org/presentationml/2006/main">
  <p:tag name="KSO_WM_BEAUTIFY_FLAG" val=""/>
</p:tagLst>
</file>

<file path=ppt/tags/tag54.xml><?xml version="1.0" encoding="utf-8"?>
<p:tagLst xmlns:p="http://schemas.openxmlformats.org/presentationml/2006/main">
  <p:tag name="KSO_WM_BEAUTIFY_FLAG" val=""/>
</p:tagLst>
</file>

<file path=ppt/tags/tag55.xml><?xml version="1.0" encoding="utf-8"?>
<p:tagLst xmlns:p="http://schemas.openxmlformats.org/presentationml/2006/main">
  <p:tag name="KSO_WM_BEAUTIFY_FLAG" val=""/>
</p:tagLst>
</file>

<file path=ppt/tags/tag56.xml><?xml version="1.0" encoding="utf-8"?>
<p:tagLst xmlns:p="http://schemas.openxmlformats.org/presentationml/2006/main">
  <p:tag name="KSO_WM_DIAGRAM_VIRTUALLY_FRAME" val="{&quot;height&quot;:275.6250393700788,&quot;left&quot;:36.56251968503937,&quot;top&quot;:221.17181102362207,&quot;width&quot;:646.8749606299212}"/>
</p:tagLst>
</file>

<file path=ppt/tags/tag57.xml><?xml version="1.0" encoding="utf-8"?>
<p:tagLst xmlns:p="http://schemas.openxmlformats.org/presentationml/2006/main">
  <p:tag name="THINKCELLSHAPEDONOTDELETE" val="pKOZHO13yzUCaepRpRzBw5w"/>
  <p:tag name="KSO_WM_DIAGRAM_VIRTUALLY_FRAME" val="{&quot;height&quot;:275.6250393700788,&quot;left&quot;:36.56251968503937,&quot;top&quot;:221.17181102362207,&quot;width&quot;:646.8749606299212}"/>
</p:tagLst>
</file>

<file path=ppt/tags/tag58.xml><?xml version="1.0" encoding="utf-8"?>
<p:tagLst xmlns:p="http://schemas.openxmlformats.org/presentationml/2006/main">
  <p:tag name="THINKCELLSHAPEDONOTDELETE" val="pKOZHO13yzUCaepRpRzBw5w"/>
  <p:tag name="KSO_WM_DIAGRAM_VIRTUALLY_FRAME" val="{&quot;height&quot;:275.6250393700788,&quot;left&quot;:36.56251968503937,&quot;top&quot;:221.17181102362207,&quot;width&quot;:646.8749606299212}"/>
</p:tagLst>
</file>

<file path=ppt/tags/tag59.xml><?xml version="1.0" encoding="utf-8"?>
<p:tagLst xmlns:p="http://schemas.openxmlformats.org/presentationml/2006/main">
  <p:tag name="KSO_WM_DIAGRAM_VIRTUALLY_FRAME" val="{&quot;height&quot;:275.6250393700788,&quot;left&quot;:36.56251968503937,&quot;top&quot;:221.17181102362207,&quot;width&quot;:646.8749606299212}"/>
</p:tagLst>
</file>

<file path=ppt/tags/tag6.xml><?xml version="1.0" encoding="utf-8"?>
<p:tagLst xmlns:p="http://schemas.openxmlformats.org/presentationml/2006/main">
  <p:tag name="PA" val="v5.2.11"/>
</p:tagLst>
</file>

<file path=ppt/tags/tag60.xml><?xml version="1.0" encoding="utf-8"?>
<p:tagLst xmlns:p="http://schemas.openxmlformats.org/presentationml/2006/main">
  <p:tag name="KSO_WM_DIAGRAM_VIRTUALLY_FRAME" val="{&quot;height&quot;:275.6250393700788,&quot;left&quot;:36.56251968503937,&quot;top&quot;:221.17181102362207,&quot;width&quot;:646.8749606299212}"/>
</p:tagLst>
</file>

<file path=ppt/tags/tag61.xml><?xml version="1.0" encoding="utf-8"?>
<p:tagLst xmlns:p="http://schemas.openxmlformats.org/presentationml/2006/main">
  <p:tag name="KSO_WM_DIAGRAM_VIRTUALLY_FRAME" val="{&quot;height&quot;:275.6250393700788,&quot;left&quot;:36.56251968503937,&quot;top&quot;:221.17181102362207,&quot;width&quot;:646.8749606299212}"/>
</p:tagLst>
</file>

<file path=ppt/tags/tag62.xml><?xml version="1.0" encoding="utf-8"?>
<p:tagLst xmlns:p="http://schemas.openxmlformats.org/presentationml/2006/main">
  <p:tag name="KSO_WM_DIAGRAM_VIRTUALLY_FRAME" val="{&quot;height&quot;:275.6250393700788,&quot;left&quot;:36.56251968503937,&quot;top&quot;:221.17181102362207,&quot;width&quot;:646.8749606299212}"/>
</p:tagLst>
</file>

<file path=ppt/tags/tag63.xml><?xml version="1.0" encoding="utf-8"?>
<p:tagLst xmlns:p="http://schemas.openxmlformats.org/presentationml/2006/main">
  <p:tag name="KSO_WM_DIAGRAM_VIRTUALLY_FRAME" val="{&quot;height&quot;:275.6250393700788,&quot;left&quot;:36.56251968503937,&quot;top&quot;:221.17181102362207,&quot;width&quot;:646.8749606299212}"/>
</p:tagLst>
</file>

<file path=ppt/tags/tag64.xml><?xml version="1.0" encoding="utf-8"?>
<p:tagLst xmlns:p="http://schemas.openxmlformats.org/presentationml/2006/main">
  <p:tag name="KSO_WM_DIAGRAM_VIRTUALLY_FRAME" val="{&quot;height&quot;:275.6250393700788,&quot;left&quot;:36.56251968503937,&quot;top&quot;:221.17181102362207,&quot;width&quot;:646.8749606299212}"/>
</p:tagLst>
</file>

<file path=ppt/tags/tag65.xml><?xml version="1.0" encoding="utf-8"?>
<p:tagLst xmlns:p="http://schemas.openxmlformats.org/presentationml/2006/main">
  <p:tag name="KSO_WM_DIAGRAM_VIRTUALLY_FRAME" val="{&quot;height&quot;:275.6250393700788,&quot;left&quot;:36.56251968503937,&quot;top&quot;:221.17181102362207,&quot;width&quot;:646.8749606299212}"/>
</p:tagLst>
</file>

<file path=ppt/tags/tag66.xml><?xml version="1.0" encoding="utf-8"?>
<p:tagLst xmlns:p="http://schemas.openxmlformats.org/presentationml/2006/main">
  <p:tag name="KSO_WM_DIAGRAM_VIRTUALLY_FRAME" val="{&quot;height&quot;:275.6250393700788,&quot;left&quot;:36.56251968503937,&quot;top&quot;:221.17181102362207,&quot;width&quot;:646.8749606299212}"/>
</p:tagLst>
</file>

<file path=ppt/tags/tag67.xml><?xml version="1.0" encoding="utf-8"?>
<p:tagLst xmlns:p="http://schemas.openxmlformats.org/presentationml/2006/main">
  <p:tag name="KSO_WM_BEAUTIFY_FLAG" val=""/>
</p:tagLst>
</file>

<file path=ppt/tags/tag68.xml><?xml version="1.0" encoding="utf-8"?>
<p:tagLst xmlns:p="http://schemas.openxmlformats.org/presentationml/2006/main">
  <p:tag name="KSO_WM_BEAUTIFY_FLAG" val=""/>
</p:tagLst>
</file>

<file path=ppt/tags/tag69.xml><?xml version="1.0" encoding="utf-8"?>
<p:tagLst xmlns:p="http://schemas.openxmlformats.org/presentationml/2006/main">
  <p:tag name="KSO_WM_BEAUTIFY_FLAG" val=""/>
</p:tagLst>
</file>

<file path=ppt/tags/tag7.xml><?xml version="1.0" encoding="utf-8"?>
<p:tagLst xmlns:p="http://schemas.openxmlformats.org/presentationml/2006/main">
  <p:tag name="PA" val="v5.2.11"/>
</p:tagLst>
</file>

<file path=ppt/tags/tag70.xml><?xml version="1.0" encoding="utf-8"?>
<p:tagLst xmlns:p="http://schemas.openxmlformats.org/presentationml/2006/main">
  <p:tag name="KSO_WM_DIAGRAM_VIRTUALLY_FRAME" val="{&quot;height&quot;:275.6250393700788,&quot;left&quot;:36.56251968503937,&quot;top&quot;:221.17181102362207,&quot;width&quot;:646.8749606299212}"/>
</p:tagLst>
</file>

<file path=ppt/tags/tag71.xml><?xml version="1.0" encoding="utf-8"?>
<p:tagLst xmlns:p="http://schemas.openxmlformats.org/presentationml/2006/main">
  <p:tag name="KSO_WM_DIAGRAM_VIRTUALLY_FRAME" val="{&quot;height&quot;:275.6250393700788,&quot;left&quot;:36.56251968503937,&quot;top&quot;:221.17181102362207,&quot;width&quot;:646.8749606299212}"/>
</p:tagLst>
</file>

<file path=ppt/tags/tag72.xml><?xml version="1.0" encoding="utf-8"?>
<p:tagLst xmlns:p="http://schemas.openxmlformats.org/presentationml/2006/main">
  <p:tag name="KSO_WM_BEAUTIFY_FLAG" val=""/>
</p:tagLst>
</file>

<file path=ppt/tags/tag73.xml><?xml version="1.0" encoding="utf-8"?>
<p:tagLst xmlns:p="http://schemas.openxmlformats.org/presentationml/2006/main">
  <p:tag name="KSO_WM_BEAUTIFY_FLAG" val=""/>
</p:tagLst>
</file>

<file path=ppt/tags/tag74.xml><?xml version="1.0" encoding="utf-8"?>
<p:tagLst xmlns:p="http://schemas.openxmlformats.org/presentationml/2006/main">
  <p:tag name="KSO_WM_BEAUTIFY_FLAG" val=""/>
</p:tagLst>
</file>

<file path=ppt/tags/tag75.xml><?xml version="1.0" encoding="utf-8"?>
<p:tagLst xmlns:p="http://schemas.openxmlformats.org/presentationml/2006/main">
  <p:tag name="KSO_WM_BEAUTIFY_FLAG" val=""/>
</p:tagLst>
</file>

<file path=ppt/tags/tag76.xml><?xml version="1.0" encoding="utf-8"?>
<p:tagLst xmlns:p="http://schemas.openxmlformats.org/presentationml/2006/main">
  <p:tag name="KSO_WM_BEAUTIFY_FLAG" val=""/>
</p:tagLst>
</file>

<file path=ppt/tags/tag77.xml><?xml version="1.0" encoding="utf-8"?>
<p:tagLst xmlns:p="http://schemas.openxmlformats.org/presentationml/2006/main">
  <p:tag name="KSO_WM_BEAUTIFY_FLAG" val=""/>
</p:tagLst>
</file>

<file path=ppt/tags/tag78.xml><?xml version="1.0" encoding="utf-8"?>
<p:tagLst xmlns:p="http://schemas.openxmlformats.org/presentationml/2006/main">
  <p:tag name="KSO_WM_UNIT_PLACING_PICTURE_USER_VIEWPORT" val="{&quot;height&quot;:10455,&quot;width&quot;:7500}"/>
  <p:tag name="KSO_WM_BEAUTIFY_FLAG" val=""/>
</p:tagLst>
</file>

<file path=ppt/tags/tag79.xml><?xml version="1.0" encoding="utf-8"?>
<p:tagLst xmlns:p="http://schemas.openxmlformats.org/presentationml/2006/main">
  <p:tag name="KSO_WM_UNIT_PLACING_PICTURE_USER_VIEWPORT" val="{&quot;height&quot;:5181,&quot;width&quot;:3583}"/>
  <p:tag name="KSO_WM_BEAUTIFY_FLAG" val=""/>
</p:tagLst>
</file>

<file path=ppt/tags/tag8.xml><?xml version="1.0" encoding="utf-8"?>
<p:tagLst xmlns:p="http://schemas.openxmlformats.org/presentationml/2006/main">
  <p:tag name="PA" val="v5.2.11"/>
</p:tagLst>
</file>

<file path=ppt/tags/tag80.xml><?xml version="1.0" encoding="utf-8"?>
<p:tagLst xmlns:p="http://schemas.openxmlformats.org/presentationml/2006/main">
  <p:tag name="KSO_WM_UNIT_PLACING_PICTURE_USER_VIEWPORT" val="{&quot;height&quot;:3865,&quot;width&quot;:2668}"/>
  <p:tag name="KSO_WM_BEAUTIFY_FLAG" val=""/>
</p:tagLst>
</file>

<file path=ppt/tags/tag81.xml><?xml version="1.0" encoding="utf-8"?>
<p:tagLst xmlns:p="http://schemas.openxmlformats.org/presentationml/2006/main">
  <p:tag name="PA" val="v5.2.11"/>
</p:tagLst>
</file>

<file path=ppt/tags/tag82.xml><?xml version="1.0" encoding="utf-8"?>
<p:tagLst xmlns:p="http://schemas.openxmlformats.org/presentationml/2006/main">
  <p:tag name="KSO_WM_BEAUTIFY_FLAG" val=""/>
</p:tagLst>
</file>

<file path=ppt/tags/tag83.xml><?xml version="1.0" encoding="utf-8"?>
<p:tagLst xmlns:p="http://schemas.openxmlformats.org/presentationml/2006/main">
  <p:tag name="KSO_WM_UNIT_PLACING_PICTURE_USER_VIEWPORT" val="{&quot;height&quot;:3780,&quot;width&quot;:2812}"/>
  <p:tag name="KSO_WM_BEAUTIFY_FLAG" val=""/>
</p:tagLst>
</file>

<file path=ppt/tags/tag84.xml><?xml version="1.0" encoding="utf-8"?>
<p:tagLst xmlns:p="http://schemas.openxmlformats.org/presentationml/2006/main">
  <p:tag name="KSO_WM_BEAUTIFY_FLAG" val=""/>
</p:tagLst>
</file>

<file path=ppt/tags/tag85.xml><?xml version="1.0" encoding="utf-8"?>
<p:tagLst xmlns:p="http://schemas.openxmlformats.org/presentationml/2006/main">
  <p:tag name="KSO_WM_BEAUTIFY_FLAG" val=""/>
</p:tagLst>
</file>

<file path=ppt/tags/tag86.xml><?xml version="1.0" encoding="utf-8"?>
<p:tagLst xmlns:p="http://schemas.openxmlformats.org/presentationml/2006/main">
  <p:tag name="KSO_WM_BEAUTIFY_FLAG" val=""/>
</p:tagLst>
</file>

<file path=ppt/tags/tag87.xml><?xml version="1.0" encoding="utf-8"?>
<p:tagLst xmlns:p="http://schemas.openxmlformats.org/presentationml/2006/main">
  <p:tag name="KSO_WM_BEAUTIFY_FLAG" val=""/>
</p:tagLst>
</file>

<file path=ppt/tags/tag88.xml><?xml version="1.0" encoding="utf-8"?>
<p:tagLst xmlns:p="http://schemas.openxmlformats.org/presentationml/2006/main">
  <p:tag name="KSO_WM_BEAUTIFY_FLAG" val=""/>
</p:tagLst>
</file>

<file path=ppt/tags/tag89.xml><?xml version="1.0" encoding="utf-8"?>
<p:tagLst xmlns:p="http://schemas.openxmlformats.org/presentationml/2006/main">
  <p:tag name="KSO_WM_BEAUTIFY_FLAG" val=""/>
</p:tagLst>
</file>

<file path=ppt/tags/tag9.xml><?xml version="1.0" encoding="utf-8"?>
<p:tagLst xmlns:p="http://schemas.openxmlformats.org/presentationml/2006/main">
  <p:tag name="PA" val="v5.2.11"/>
</p:tagLst>
</file>

<file path=ppt/tags/tag90.xml><?xml version="1.0" encoding="utf-8"?>
<p:tagLst xmlns:p="http://schemas.openxmlformats.org/presentationml/2006/main">
  <p:tag name="KSO_WM_BEAUTIFY_FLAG" val=""/>
</p:tagLst>
</file>

<file path=ppt/tags/tag91.xml><?xml version="1.0" encoding="utf-8"?>
<p:tagLst xmlns:p="http://schemas.openxmlformats.org/presentationml/2006/main">
  <p:tag name="KSO_WM_BEAUTIFY_FLAG" val=""/>
</p:tagLst>
</file>

<file path=ppt/tags/tag92.xml><?xml version="1.0" encoding="utf-8"?>
<p:tagLst xmlns:p="http://schemas.openxmlformats.org/presentationml/2006/main">
  <p:tag name="KSO_WM_BEAUTIFY_FLAG" val=""/>
</p:tagLst>
</file>

<file path=ppt/tags/tag93.xml><?xml version="1.0" encoding="utf-8"?>
<p:tagLst xmlns:p="http://schemas.openxmlformats.org/presentationml/2006/main">
  <p:tag name="KSO_WM_BEAUTIFY_FLAG" val=""/>
</p:tagLst>
</file>

<file path=ppt/tags/tag94.xml><?xml version="1.0" encoding="utf-8"?>
<p:tagLst xmlns:p="http://schemas.openxmlformats.org/presentationml/2006/main">
  <p:tag name="KSO_WPP_MARK_KEY" val="64975439-a10e-4e89-b489-94df08bcb883"/>
  <p:tag name="COMMONDATA" val="eyJoZGlkIjoiZTU2NjI5ZDFkZjY2NTU5OWI3MmRkOGI5ZjE5ZjE2YTUifQ=="/>
  <p:tag name="resource_record_key" val="{&quot;10&quot;:[4394287,50038715],&quot;65&quot;:[20234979],&quot;70&quot;:[3328101]}"/>
</p:tagLst>
</file>

<file path=ppt/theme/_rels/theme5.xml.rels><?xml version="1.0" encoding="UTF-8" standalone="yes"?>
<Relationships xmlns="http://schemas.openxmlformats.org/package/2006/relationships"><Relationship Id="rId1" Type="http://schemas.openxmlformats.org/officeDocument/2006/relationships/image" Target="../media/image17.jpeg"/></Relationships>
</file>

<file path=ppt/theme/theme1.xml><?xml version="1.0" encoding="utf-8"?>
<a:theme xmlns:a="http://schemas.openxmlformats.org/drawingml/2006/main" name="4_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等线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微软雅黑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微软雅黑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2_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微软雅黑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微软雅黑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 algn="l">
          <a:defRPr sz="7200" dirty="0">
            <a:gradFill flip="none" rotWithShape="1">
              <a:gsLst>
                <a:gs pos="0">
                  <a:srgbClr val="F2C68E"/>
                </a:gs>
                <a:gs pos="99000">
                  <a:srgbClr val="F2C68E">
                    <a:lumMod val="62000"/>
                    <a:lumOff val="38000"/>
                  </a:srgbClr>
                </a:gs>
              </a:gsLst>
              <a:lin ang="0" scaled="1"/>
              <a:tileRect/>
            </a:gradFill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  <a:latin typeface="思源宋体 CN Heavy" panose="02020900000000000000" pitchFamily="18" charset="-122"/>
            <a:ea typeface="思源宋体 CN Heavy" panose="02020900000000000000" pitchFamily="18" charset="-122"/>
          </a:defRPr>
        </a:defPPr>
      </a:lstStyle>
    </a:txDef>
  </a:objectDefaul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1_Office 主题​​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 bwMode="auto">
        <a:solidFill>
          <a:schemeClr val="bg1"/>
        </a:solidFill>
        <a:ln w="25400" algn="ctr">
          <a:solidFill>
            <a:srgbClr val="C00000"/>
          </a:solidFill>
          <a:miter lim="800000"/>
        </a:ln>
      </a:spPr>
      <a:bodyPr wrap="square">
        <a:spAutoFit/>
      </a:bodyPr>
      <a:lstStyle>
        <a:defPPr algn="just">
          <a:defRPr sz="2400" dirty="0" smtClean="0">
            <a:solidFill>
              <a:srgbClr val="000000"/>
            </a:solidFill>
            <a:latin typeface="楷体_GB2312" panose="02010609030101010101" pitchFamily="49" charset="-122"/>
            <a:ea typeface="楷体_GB2312" panose="02010609030101010101" pitchFamily="49" charset="-122"/>
          </a:defRPr>
        </a:defPPr>
      </a:lstStyle>
    </a:txDef>
  </a:objectDefaul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主管人员">
  <a:themeElements>
    <a:clrScheme name="主管人员">
      <a:dk1>
        <a:sysClr val="windowText" lastClr="000000"/>
      </a:dk1>
      <a:lt1>
        <a:sysClr val="window" lastClr="FFFFFF"/>
      </a:lt1>
      <a:dk2>
        <a:srgbClr val="2F5897"/>
      </a:dk2>
      <a:lt2>
        <a:srgbClr val="E4E9EF"/>
      </a:lt2>
      <a:accent1>
        <a:srgbClr val="6076B4"/>
      </a:accent1>
      <a:accent2>
        <a:srgbClr val="9C5252"/>
      </a:accent2>
      <a:accent3>
        <a:srgbClr val="E68422"/>
      </a:accent3>
      <a:accent4>
        <a:srgbClr val="846648"/>
      </a:accent4>
      <a:accent5>
        <a:srgbClr val="63891F"/>
      </a:accent5>
      <a:accent6>
        <a:srgbClr val="758085"/>
      </a:accent6>
      <a:hlink>
        <a:srgbClr val="3399FF"/>
      </a:hlink>
      <a:folHlink>
        <a:srgbClr val="B2B2B2"/>
      </a:folHlink>
    </a:clrScheme>
    <a:fontScheme name="主管人员">
      <a:majorFont>
        <a:latin typeface="Century Gothic"/>
        <a:ea typeface=""/>
        <a:cs typeface=""/>
        <a:font script="Jpan" typeface="HGｺﾞｼｯｸM"/>
        <a:font script="Hang" typeface="HY중고딕"/>
        <a:font script="Hans" typeface="幼圆"/>
        <a:font script="Hant" typeface="微軟正黑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Palatino Linotype"/>
        <a:ea typeface=""/>
        <a:cs typeface=""/>
        <a:font script="Jpan" typeface="HGS明朝E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Browalli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inorFont>
    </a:fontScheme>
    <a:fmtScheme name="主管人员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8575" cap="flat" cmpd="sng" algn="ctr">
          <a:solidFill>
            <a:schemeClr val="phClr"/>
          </a:solidFill>
          <a:prstDash val="solid"/>
        </a:ln>
        <a:ln w="508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50000">
              <a:schemeClr val="phClr">
                <a:tint val="80000"/>
                <a:satMod val="250000"/>
              </a:schemeClr>
            </a:gs>
            <a:gs pos="76000">
              <a:schemeClr val="phClr">
                <a:tint val="90000"/>
                <a:shade val="90000"/>
                <a:satMod val="200000"/>
              </a:schemeClr>
            </a:gs>
            <a:gs pos="92000">
              <a:schemeClr val="phClr">
                <a:tint val="90000"/>
                <a:shade val="70000"/>
                <a:satMod val="250000"/>
              </a:schemeClr>
            </a:gs>
          </a:gsLst>
          <a:path path="circle">
            <a:fillToRect l="50000" t="50000" r="50000" b="50000"/>
          </a:path>
        </a:gradFill>
        <a:blipFill>
          <a:blip xmlns:r="http://schemas.openxmlformats.org/officeDocument/2006/relationships" r:embed="rId1">
            <a:duotone>
              <a:schemeClr val="phClr">
                <a:tint val="95000"/>
              </a:schemeClr>
              <a:schemeClr val="phClr">
                <a:shade val="90000"/>
              </a:schemeClr>
            </a:duotone>
          </a:blip>
          <a:tile tx="0" ty="0" sx="100000" sy="100000" flip="none" algn="tl"/>
        </a:blip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1_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微软雅黑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微软雅黑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7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8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等线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5172</Words>
  <Application>WPS 演示</Application>
  <PresentationFormat>全屏显示(4:3)</PresentationFormat>
  <Paragraphs>373</Paragraphs>
  <Slides>30</Slides>
  <Notes>2</Notes>
  <HiddenSlides>0</HiddenSlides>
  <MMClips>0</MMClips>
  <ScaleCrop>false</ScaleCrop>
  <HeadingPairs>
    <vt:vector size="6" baseType="variant">
      <vt:variant>
        <vt:lpstr>已用的字体</vt:lpstr>
      </vt:variant>
      <vt:variant>
        <vt:i4>24</vt:i4>
      </vt:variant>
      <vt:variant>
        <vt:lpstr>主题</vt:lpstr>
      </vt:variant>
      <vt:variant>
        <vt:i4>6</vt:i4>
      </vt:variant>
      <vt:variant>
        <vt:lpstr>幻灯片标题</vt:lpstr>
      </vt:variant>
      <vt:variant>
        <vt:i4>30</vt:i4>
      </vt:variant>
    </vt:vector>
  </HeadingPairs>
  <TitlesOfParts>
    <vt:vector size="60" baseType="lpstr">
      <vt:lpstr>Arial</vt:lpstr>
      <vt:lpstr>宋体</vt:lpstr>
      <vt:lpstr>Wingdings</vt:lpstr>
      <vt:lpstr>思源宋体 CN Heavy</vt:lpstr>
      <vt:lpstr>微软雅黑</vt:lpstr>
      <vt:lpstr>优设标题黑</vt:lpstr>
      <vt:lpstr>黑体</vt:lpstr>
      <vt:lpstr>思源宋体 CN Medium</vt:lpstr>
      <vt:lpstr>楷体_GB2312</vt:lpstr>
      <vt:lpstr>Century Gothic</vt:lpstr>
      <vt:lpstr>Courier New</vt:lpstr>
      <vt:lpstr>楷体</vt:lpstr>
      <vt:lpstr>Calibri</vt:lpstr>
      <vt:lpstr>阿里巴巴普惠体 Heavy</vt:lpstr>
      <vt:lpstr>华文楷体</vt:lpstr>
      <vt:lpstr>Times New Roman</vt:lpstr>
      <vt:lpstr>Arial Unicode MS</vt:lpstr>
      <vt:lpstr>Wingdings</vt:lpstr>
      <vt:lpstr>仿宋_GB2312</vt:lpstr>
      <vt:lpstr>Calibri</vt:lpstr>
      <vt:lpstr>Palatino Linotype</vt:lpstr>
      <vt:lpstr>幼圆</vt:lpstr>
      <vt:lpstr>等线 Light</vt:lpstr>
      <vt:lpstr>等线</vt:lpstr>
      <vt:lpstr>4_Office 主题​​</vt:lpstr>
      <vt:lpstr>Office 主题</vt:lpstr>
      <vt:lpstr>2_Office 主题</vt:lpstr>
      <vt:lpstr>1_Office 主题​​</vt:lpstr>
      <vt:lpstr>主管人员</vt:lpstr>
      <vt:lpstr>1_Office 主题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奕博 王</dc:creator>
  <cp:lastModifiedBy>诶诶诶微信名叫什么好呢</cp:lastModifiedBy>
  <cp:revision>211</cp:revision>
  <dcterms:created xsi:type="dcterms:W3CDTF">2020-12-29T13:24:00Z</dcterms:created>
  <dcterms:modified xsi:type="dcterms:W3CDTF">2025-05-12T02:57:0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ICV">
    <vt:lpwstr>5368923BB53444F39F2A848082BB8576_13</vt:lpwstr>
  </property>
  <property fmtid="{D5CDD505-2E9C-101B-9397-08002B2CF9AE}" pid="3" name="KSOProductBuildVer">
    <vt:lpwstr>2052-12.1.0.20784</vt:lpwstr>
  </property>
</Properties>
</file>